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2.xml" ContentType="application/vnd.openxmlformats-officedocument.theme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3.xml" ContentType="application/vnd.openxmlformats-officedocument.theme+xml"/>
  <Override PartName="/ppt/slideLayouts/slideLayout19.xml" ContentType="application/vnd.openxmlformats-officedocument.presentationml.slideLayout+xml"/>
  <Override PartName="/ppt/theme/theme4.xml" ContentType="application/vnd.openxmlformats-officedocument.theme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theme/theme5.xml" ContentType="application/vnd.openxmlformats-officedocument.theme+xml"/>
  <Override PartName="/ppt/theme/theme6.xml" ContentType="application/vnd.openxmlformats-officedocument.them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heme/themeOverride1.xml" ContentType="application/vnd.openxmlformats-officedocument.themeOverride+xml"/>
  <Override PartName="/ppt/charts/chartEx1.xml" ContentType="application/vnd.ms-office.chartex+xml"/>
  <Override PartName="/ppt/charts/style2.xml" ContentType="application/vnd.ms-office.chartstyle+xml"/>
  <Override PartName="/ppt/charts/colors2.xml" ContentType="application/vnd.ms-office.chartcolorstyle+xml"/>
  <Override PartName="/ppt/charts/chartEx2.xml" ContentType="application/vnd.ms-office.chartex+xml"/>
  <Override PartName="/ppt/charts/style3.xml" ContentType="application/vnd.ms-office.chartstyle+xml"/>
  <Override PartName="/ppt/charts/colors3.xml" ContentType="application/vnd.ms-office.chartcolorstyle+xml"/>
  <Override PartName="/ppt/charts/chart2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charts/chartEx3.xml" ContentType="application/vnd.ms-office.chartex+xml"/>
  <Override PartName="/ppt/charts/style5.xml" ContentType="application/vnd.ms-office.chartstyle+xml"/>
  <Override PartName="/ppt/charts/colors5.xml" ContentType="application/vnd.ms-office.chartcolorstyl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4"/>
    <p:sldMasterId id="2147483666" r:id="rId5"/>
    <p:sldMasterId id="2147483674" r:id="rId6"/>
    <p:sldMasterId id="2147483680" r:id="rId7"/>
    <p:sldMasterId id="2147483682" r:id="rId8"/>
  </p:sldMasterIdLst>
  <p:notesMasterIdLst>
    <p:notesMasterId r:id="rId25"/>
  </p:notesMasterIdLst>
  <p:sldIdLst>
    <p:sldId id="4511" r:id="rId9"/>
    <p:sldId id="4508" r:id="rId10"/>
    <p:sldId id="4509" r:id="rId11"/>
    <p:sldId id="4507" r:id="rId12"/>
    <p:sldId id="261" r:id="rId13"/>
    <p:sldId id="262" r:id="rId14"/>
    <p:sldId id="4510" r:id="rId15"/>
    <p:sldId id="276" r:id="rId16"/>
    <p:sldId id="288" r:id="rId17"/>
    <p:sldId id="4512" r:id="rId18"/>
    <p:sldId id="4375" r:id="rId19"/>
    <p:sldId id="4367" r:id="rId20"/>
    <p:sldId id="4368" r:id="rId21"/>
    <p:sldId id="275" r:id="rId22"/>
    <p:sldId id="273" r:id="rId23"/>
    <p:sldId id="257" r:id="rId24"/>
  </p:sldIdLst>
  <p:sldSz cx="12192000" cy="6858000"/>
  <p:notesSz cx="9859963" cy="6797675"/>
  <p:defaultTextStyle>
    <a:defPPr>
      <a:defRPr lang="it-IT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>
      <p:cViewPr varScale="1">
        <p:scale>
          <a:sx n="63" d="100"/>
          <a:sy n="63" d="100"/>
        </p:scale>
        <p:origin x="365" y="62"/>
      </p:cViewPr>
      <p:guideLst>
        <p:guide orient="horz" pos="2880"/>
        <p:guide pos="216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slide" Target="slides/slide5.xml"/><Relationship Id="rId18" Type="http://schemas.openxmlformats.org/officeDocument/2006/relationships/slide" Target="slides/slide10.xml"/><Relationship Id="rId26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slide" Target="slides/slide13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4.xml"/><Relationship Id="rId17" Type="http://schemas.openxmlformats.org/officeDocument/2006/relationships/slide" Target="slides/slide9.xml"/><Relationship Id="rId25" Type="http://schemas.openxmlformats.org/officeDocument/2006/relationships/notesMaster" Target="notesMasters/notes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8.xml"/><Relationship Id="rId20" Type="http://schemas.openxmlformats.org/officeDocument/2006/relationships/slide" Target="slides/slide12.xml"/><Relationship Id="rId29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3.xml"/><Relationship Id="rId24" Type="http://schemas.openxmlformats.org/officeDocument/2006/relationships/slide" Target="slides/slide16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7.xml"/><Relationship Id="rId23" Type="http://schemas.openxmlformats.org/officeDocument/2006/relationships/slide" Target="slides/slide15.xml"/><Relationship Id="rId28" Type="http://schemas.openxmlformats.org/officeDocument/2006/relationships/theme" Target="theme/theme1.xml"/><Relationship Id="rId10" Type="http://schemas.openxmlformats.org/officeDocument/2006/relationships/slide" Target="slides/slide2.xml"/><Relationship Id="rId19" Type="http://schemas.openxmlformats.org/officeDocument/2006/relationships/slide" Target="slides/slide1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1.xml"/><Relationship Id="rId14" Type="http://schemas.openxmlformats.org/officeDocument/2006/relationships/slide" Target="slides/slide6.xml"/><Relationship Id="rId22" Type="http://schemas.openxmlformats.org/officeDocument/2006/relationships/slide" Target="slides/slide14.xml"/><Relationship Id="rId27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.xml"/><Relationship Id="rId2" Type="http://schemas.microsoft.com/office/2011/relationships/chartColorStyle" Target="colors1.xml"/><Relationship Id="rId1" Type="http://schemas.microsoft.com/office/2011/relationships/chartStyle" Target="style1.xml"/><Relationship Id="rId4" Type="http://schemas.openxmlformats.org/officeDocument/2006/relationships/oleObject" Target="../embeddings/oleObject1.bin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oleObject" Target="https://creditosportivo.sharepoint.com/sites/CDG-controllodigestione/Documenti%20condivisi/General/Supporto%20organi%20statutari/2022/202201%20DG%20-%20Intervento%20Scuola%20politica/Documenti%20a%20supporto/CNE311%2031.12.21.xlsx" TargetMode="External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Ex1.xml.rels><?xml version="1.0" encoding="UTF-8" standalone="yes"?>
<Relationships xmlns="http://schemas.openxmlformats.org/package/2006/relationships"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Ex2.xml.rels><?xml version="1.0" encoding="UTF-8" standalone="yes"?>
<Relationships xmlns="http://schemas.openxmlformats.org/package/2006/relationships"><Relationship Id="rId3" Type="http://schemas.microsoft.com/office/2011/relationships/chartColorStyle" Target="colors3.xml"/><Relationship Id="rId2" Type="http://schemas.microsoft.com/office/2011/relationships/chartStyle" Target="style3.xml"/><Relationship Id="rId1" Type="http://schemas.openxmlformats.org/officeDocument/2006/relationships/oleObject" Target="https://creditosportivo.sharepoint.com/sites/CDG-controllodigestione/Documenti%20condivisi/General/Supporto%20organi%20statutari/2022/202201%20DG%20-%20Intervento%20Scuola%20politica/Documenti%20a%20supporto/20211231114539_REPORT_IMPEGNI_SU_FONDO.xlsx" TargetMode="External"/></Relationships>
</file>

<file path=ppt/charts/_rels/chartEx3.xml.rels><?xml version="1.0" encoding="UTF-8" standalone="yes"?>
<Relationships xmlns="http://schemas.openxmlformats.org/package/2006/relationships"><Relationship Id="rId3" Type="http://schemas.microsoft.com/office/2011/relationships/chartColorStyle" Target="colors5.xml"/><Relationship Id="rId2" Type="http://schemas.microsoft.com/office/2011/relationships/chartStyle" Target="style5.xml"/><Relationship Id="rId1" Type="http://schemas.openxmlformats.org/officeDocument/2006/relationships/oleObject" Target="https://creditosportivo.sharepoint.com/sites/CDG-controllodigestione/Documenti%20condivisi/General/Presentazioni%20istituzionali/20211231/20211231114539_REPORT_IMPEGNI_SU_FONDO.xlsx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2.2746482232913232E-2"/>
          <c:y val="2.4659647550341172E-2"/>
          <c:w val="0.95450703553417349"/>
          <c:h val="0.80076444199357999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'[Grafico in Microsoft PowerPoint]storico erogazioni'!$B$27</c:f>
              <c:strCache>
                <c:ptCount val="1"/>
                <c:pt idx="0">
                  <c:v>Enti territoriali</c:v>
                </c:pt>
              </c:strCache>
            </c:strRef>
          </c:tx>
          <c:spPr>
            <a:solidFill>
              <a:schemeClr val="accent6">
                <a:lumMod val="50000"/>
              </a:schemeClr>
            </a:solidFill>
            <a:ln>
              <a:solidFill>
                <a:schemeClr val="accent6">
                  <a:lumMod val="50000"/>
                </a:schemeClr>
              </a:solidFill>
            </a:ln>
            <a:effectLst/>
          </c:spPr>
          <c:invertIfNegative val="0"/>
          <c:cat>
            <c:strRef>
              <c:f>'[Grafico in Microsoft PowerPoint]storico erogazioni'!$C$25:$M$26</c:f>
              <c:strCache>
                <c:ptCount val="11"/>
                <c:pt idx="0">
                  <c:v>2011</c:v>
                </c:pt>
                <c:pt idx="1">
                  <c:v>2012</c:v>
                </c:pt>
                <c:pt idx="2">
                  <c:v>2013</c:v>
                </c:pt>
                <c:pt idx="3">
                  <c:v>2014</c:v>
                </c:pt>
                <c:pt idx="4">
                  <c:v>2015</c:v>
                </c:pt>
                <c:pt idx="5">
                  <c:v>2016</c:v>
                </c:pt>
                <c:pt idx="6">
                  <c:v>2017</c:v>
                </c:pt>
                <c:pt idx="7">
                  <c:v>2018</c:v>
                </c:pt>
                <c:pt idx="8">
                  <c:v>2019</c:v>
                </c:pt>
                <c:pt idx="9">
                  <c:v>2020</c:v>
                </c:pt>
                <c:pt idx="10">
                  <c:v>2021</c:v>
                </c:pt>
              </c:strCache>
            </c:strRef>
          </c:cat>
          <c:val>
            <c:numRef>
              <c:f>'[Grafico in Microsoft PowerPoint]storico erogazioni'!$C$27:$M$27</c:f>
              <c:numCache>
                <c:formatCode>0.0</c:formatCode>
                <c:ptCount val="11"/>
                <c:pt idx="0">
                  <c:v>72.518036109999997</c:v>
                </c:pt>
                <c:pt idx="1">
                  <c:v>28.02543884</c:v>
                </c:pt>
                <c:pt idx="2">
                  <c:v>19.949057610000001</c:v>
                </c:pt>
                <c:pt idx="3">
                  <c:v>21.75386039</c:v>
                </c:pt>
                <c:pt idx="4">
                  <c:v>57.063402570000001</c:v>
                </c:pt>
                <c:pt idx="5">
                  <c:v>104.24334279999998</c:v>
                </c:pt>
                <c:pt idx="6">
                  <c:v>173.74623495999995</c:v>
                </c:pt>
                <c:pt idx="7">
                  <c:v>166.39938499000002</c:v>
                </c:pt>
                <c:pt idx="8">
                  <c:v>188.77288199999998</c:v>
                </c:pt>
                <c:pt idx="9">
                  <c:v>150.6</c:v>
                </c:pt>
                <c:pt idx="10">
                  <c:v>179.0280050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F51-46B2-80EC-F1627ABBC16A}"/>
            </c:ext>
          </c:extLst>
        </c:ser>
        <c:ser>
          <c:idx val="1"/>
          <c:order val="1"/>
          <c:tx>
            <c:strRef>
              <c:f>'[Grafico in Microsoft PowerPoint]storico erogazioni'!$B$28</c:f>
              <c:strCache>
                <c:ptCount val="1"/>
                <c:pt idx="0">
                  <c:v>CONI e Federazioni</c:v>
                </c:pt>
              </c:strCache>
            </c:strRef>
          </c:tx>
          <c:spPr>
            <a:solidFill>
              <a:schemeClr val="accent6">
                <a:lumMod val="75000"/>
              </a:schemeClr>
            </a:solidFill>
            <a:ln>
              <a:solidFill>
                <a:schemeClr val="accent6">
                  <a:lumMod val="75000"/>
                </a:schemeClr>
              </a:solidFill>
            </a:ln>
            <a:effectLst/>
          </c:spPr>
          <c:invertIfNegative val="0"/>
          <c:cat>
            <c:strRef>
              <c:f>'[Grafico in Microsoft PowerPoint]storico erogazioni'!$C$25:$M$26</c:f>
              <c:strCache>
                <c:ptCount val="11"/>
                <c:pt idx="0">
                  <c:v>2011</c:v>
                </c:pt>
                <c:pt idx="1">
                  <c:v>2012</c:v>
                </c:pt>
                <c:pt idx="2">
                  <c:v>2013</c:v>
                </c:pt>
                <c:pt idx="3">
                  <c:v>2014</c:v>
                </c:pt>
                <c:pt idx="4">
                  <c:v>2015</c:v>
                </c:pt>
                <c:pt idx="5">
                  <c:v>2016</c:v>
                </c:pt>
                <c:pt idx="6">
                  <c:v>2017</c:v>
                </c:pt>
                <c:pt idx="7">
                  <c:v>2018</c:v>
                </c:pt>
                <c:pt idx="8">
                  <c:v>2019</c:v>
                </c:pt>
                <c:pt idx="9">
                  <c:v>2020</c:v>
                </c:pt>
                <c:pt idx="10">
                  <c:v>2021</c:v>
                </c:pt>
              </c:strCache>
            </c:strRef>
          </c:cat>
          <c:val>
            <c:numRef>
              <c:f>'[Grafico in Microsoft PowerPoint]storico erogazioni'!$C$28:$M$28</c:f>
              <c:numCache>
                <c:formatCode>0.0</c:formatCode>
                <c:ptCount val="11"/>
                <c:pt idx="0">
                  <c:v>17.63173115</c:v>
                </c:pt>
                <c:pt idx="1">
                  <c:v>8.1932111699999997</c:v>
                </c:pt>
                <c:pt idx="2">
                  <c:v>8.4726125500000009</c:v>
                </c:pt>
                <c:pt idx="3">
                  <c:v>6.3361501900000006</c:v>
                </c:pt>
                <c:pt idx="4">
                  <c:v>7.0423916500000008</c:v>
                </c:pt>
                <c:pt idx="5">
                  <c:v>79.22</c:v>
                </c:pt>
                <c:pt idx="6">
                  <c:v>13.734171529999999</c:v>
                </c:pt>
                <c:pt idx="7">
                  <c:v>17.292026379999999</c:v>
                </c:pt>
                <c:pt idx="8">
                  <c:v>9.1857583700000003</c:v>
                </c:pt>
                <c:pt idx="9">
                  <c:v>4.2</c:v>
                </c:pt>
                <c:pt idx="10">
                  <c:v>2.526776570000000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FF51-46B2-80EC-F1627ABBC16A}"/>
            </c:ext>
          </c:extLst>
        </c:ser>
        <c:ser>
          <c:idx val="2"/>
          <c:order val="2"/>
          <c:tx>
            <c:strRef>
              <c:f>'[Grafico in Microsoft PowerPoint]storico erogazioni'!$B$29</c:f>
              <c:strCache>
                <c:ptCount val="1"/>
                <c:pt idx="0">
                  <c:v>Parrocchie ed Enti Religiosi</c:v>
                </c:pt>
              </c:strCache>
            </c:strRef>
          </c:tx>
          <c:spPr>
            <a:solidFill>
              <a:schemeClr val="accent6">
                <a:lumMod val="60000"/>
                <a:lumOff val="40000"/>
              </a:schemeClr>
            </a:solidFill>
            <a:ln>
              <a:solidFill>
                <a:schemeClr val="accent6">
                  <a:lumMod val="60000"/>
                  <a:lumOff val="40000"/>
                </a:schemeClr>
              </a:solidFill>
            </a:ln>
            <a:effectLst/>
          </c:spPr>
          <c:invertIfNegative val="0"/>
          <c:cat>
            <c:strRef>
              <c:f>'[Grafico in Microsoft PowerPoint]storico erogazioni'!$C$25:$M$26</c:f>
              <c:strCache>
                <c:ptCount val="11"/>
                <c:pt idx="0">
                  <c:v>2011</c:v>
                </c:pt>
                <c:pt idx="1">
                  <c:v>2012</c:v>
                </c:pt>
                <c:pt idx="2">
                  <c:v>2013</c:v>
                </c:pt>
                <c:pt idx="3">
                  <c:v>2014</c:v>
                </c:pt>
                <c:pt idx="4">
                  <c:v>2015</c:v>
                </c:pt>
                <c:pt idx="5">
                  <c:v>2016</c:v>
                </c:pt>
                <c:pt idx="6">
                  <c:v>2017</c:v>
                </c:pt>
                <c:pt idx="7">
                  <c:v>2018</c:v>
                </c:pt>
                <c:pt idx="8">
                  <c:v>2019</c:v>
                </c:pt>
                <c:pt idx="9">
                  <c:v>2020</c:v>
                </c:pt>
                <c:pt idx="10">
                  <c:v>2021</c:v>
                </c:pt>
              </c:strCache>
            </c:strRef>
          </c:cat>
          <c:val>
            <c:numRef>
              <c:f>'[Grafico in Microsoft PowerPoint]storico erogazioni'!$C$29:$M$29</c:f>
              <c:numCache>
                <c:formatCode>0.0</c:formatCode>
                <c:ptCount val="11"/>
                <c:pt idx="0">
                  <c:v>2.8096609300000002</c:v>
                </c:pt>
                <c:pt idx="1">
                  <c:v>2.0132004000000001</c:v>
                </c:pt>
                <c:pt idx="2">
                  <c:v>1.0048929200000001</c:v>
                </c:pt>
                <c:pt idx="3">
                  <c:v>2.0536912599999999</c:v>
                </c:pt>
                <c:pt idx="4">
                  <c:v>0.25019999999999998</c:v>
                </c:pt>
                <c:pt idx="5">
                  <c:v>0.89947934000000007</c:v>
                </c:pt>
                <c:pt idx="6">
                  <c:v>0.66706839000000007</c:v>
                </c:pt>
                <c:pt idx="7">
                  <c:v>0.98995770999999988</c:v>
                </c:pt>
                <c:pt idx="8">
                  <c:v>3.1199555299999999</c:v>
                </c:pt>
                <c:pt idx="9">
                  <c:v>1.3</c:v>
                </c:pt>
                <c:pt idx="10">
                  <c:v>0.7434756799999999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FF51-46B2-80EC-F1627ABBC16A}"/>
            </c:ext>
          </c:extLst>
        </c:ser>
        <c:ser>
          <c:idx val="3"/>
          <c:order val="3"/>
          <c:tx>
            <c:strRef>
              <c:f>'[Grafico in Microsoft PowerPoint]storico erogazioni'!$B$30</c:f>
              <c:strCache>
                <c:ptCount val="1"/>
                <c:pt idx="0">
                  <c:v>Famiglie consumatrici</c:v>
                </c:pt>
              </c:strCache>
            </c:strRef>
          </c:tx>
          <c:spPr>
            <a:solidFill>
              <a:schemeClr val="accent6">
                <a:lumMod val="40000"/>
                <a:lumOff val="60000"/>
              </a:schemeClr>
            </a:solidFill>
            <a:ln>
              <a:solidFill>
                <a:schemeClr val="accent6">
                  <a:lumMod val="40000"/>
                  <a:lumOff val="60000"/>
                </a:schemeClr>
              </a:solidFill>
            </a:ln>
            <a:effectLst/>
          </c:spPr>
          <c:invertIfNegative val="0"/>
          <c:cat>
            <c:strRef>
              <c:f>'[Grafico in Microsoft PowerPoint]storico erogazioni'!$C$25:$M$26</c:f>
              <c:strCache>
                <c:ptCount val="11"/>
                <c:pt idx="0">
                  <c:v>2011</c:v>
                </c:pt>
                <c:pt idx="1">
                  <c:v>2012</c:v>
                </c:pt>
                <c:pt idx="2">
                  <c:v>2013</c:v>
                </c:pt>
                <c:pt idx="3">
                  <c:v>2014</c:v>
                </c:pt>
                <c:pt idx="4">
                  <c:v>2015</c:v>
                </c:pt>
                <c:pt idx="5">
                  <c:v>2016</c:v>
                </c:pt>
                <c:pt idx="6">
                  <c:v>2017</c:v>
                </c:pt>
                <c:pt idx="7">
                  <c:v>2018</c:v>
                </c:pt>
                <c:pt idx="8">
                  <c:v>2019</c:v>
                </c:pt>
                <c:pt idx="9">
                  <c:v>2020</c:v>
                </c:pt>
                <c:pt idx="10">
                  <c:v>2021</c:v>
                </c:pt>
              </c:strCache>
            </c:strRef>
          </c:cat>
          <c:val>
            <c:numRef>
              <c:f>'[Grafico in Microsoft PowerPoint]storico erogazioni'!$C$30:$M$30</c:f>
              <c:numCache>
                <c:formatCode>0.0</c:formatCode>
                <c:ptCount val="11"/>
                <c:pt idx="0">
                  <c:v>1.5</c:v>
                </c:pt>
                <c:pt idx="1">
                  <c:v>1.3</c:v>
                </c:pt>
                <c:pt idx="2">
                  <c:v>1.83</c:v>
                </c:pt>
                <c:pt idx="3">
                  <c:v>1.23</c:v>
                </c:pt>
                <c:pt idx="4">
                  <c:v>1.5</c:v>
                </c:pt>
                <c:pt idx="5">
                  <c:v>2.3397885</c:v>
                </c:pt>
                <c:pt idx="6">
                  <c:v>2.1236120999999999</c:v>
                </c:pt>
                <c:pt idx="7">
                  <c:v>3.0193300000000001</c:v>
                </c:pt>
                <c:pt idx="8">
                  <c:v>2.6108084599999999</c:v>
                </c:pt>
                <c:pt idx="9">
                  <c:v>2.5499999999999998</c:v>
                </c:pt>
                <c:pt idx="10">
                  <c:v>3.0396624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FF51-46B2-80EC-F1627ABBC16A}"/>
            </c:ext>
          </c:extLst>
        </c:ser>
        <c:ser>
          <c:idx val="4"/>
          <c:order val="4"/>
          <c:tx>
            <c:strRef>
              <c:f>'[Grafico in Microsoft PowerPoint]storico erogazioni'!$B$31</c:f>
              <c:strCache>
                <c:ptCount val="1"/>
                <c:pt idx="0">
                  <c:v>Universita' e CUS</c:v>
                </c:pt>
              </c:strCache>
            </c:strRef>
          </c:tx>
          <c:spPr>
            <a:solidFill>
              <a:schemeClr val="accent6">
                <a:lumMod val="20000"/>
                <a:lumOff val="80000"/>
              </a:schemeClr>
            </a:solidFill>
            <a:ln>
              <a:solidFill>
                <a:schemeClr val="accent6">
                  <a:lumMod val="20000"/>
                  <a:lumOff val="80000"/>
                </a:schemeClr>
              </a:solidFill>
            </a:ln>
            <a:effectLst/>
          </c:spPr>
          <c:invertIfNegative val="0"/>
          <c:cat>
            <c:strRef>
              <c:f>'[Grafico in Microsoft PowerPoint]storico erogazioni'!$C$25:$M$26</c:f>
              <c:strCache>
                <c:ptCount val="11"/>
                <c:pt idx="0">
                  <c:v>2011</c:v>
                </c:pt>
                <c:pt idx="1">
                  <c:v>2012</c:v>
                </c:pt>
                <c:pt idx="2">
                  <c:v>2013</c:v>
                </c:pt>
                <c:pt idx="3">
                  <c:v>2014</c:v>
                </c:pt>
                <c:pt idx="4">
                  <c:v>2015</c:v>
                </c:pt>
                <c:pt idx="5">
                  <c:v>2016</c:v>
                </c:pt>
                <c:pt idx="6">
                  <c:v>2017</c:v>
                </c:pt>
                <c:pt idx="7">
                  <c:v>2018</c:v>
                </c:pt>
                <c:pt idx="8">
                  <c:v>2019</c:v>
                </c:pt>
                <c:pt idx="9">
                  <c:v>2020</c:v>
                </c:pt>
                <c:pt idx="10">
                  <c:v>2021</c:v>
                </c:pt>
              </c:strCache>
            </c:strRef>
          </c:cat>
          <c:val>
            <c:numRef>
              <c:f>'[Grafico in Microsoft PowerPoint]storico erogazioni'!$C$31:$M$31</c:f>
              <c:numCache>
                <c:formatCode>0.0</c:formatCode>
                <c:ptCount val="11"/>
                <c:pt idx="0">
                  <c:v>0</c:v>
                </c:pt>
                <c:pt idx="1">
                  <c:v>4.6500000000000004</c:v>
                </c:pt>
                <c:pt idx="2">
                  <c:v>0.16</c:v>
                </c:pt>
                <c:pt idx="3">
                  <c:v>0</c:v>
                </c:pt>
                <c:pt idx="4">
                  <c:v>0.5</c:v>
                </c:pt>
                <c:pt idx="5">
                  <c:v>0</c:v>
                </c:pt>
                <c:pt idx="6">
                  <c:v>0.32172914000000002</c:v>
                </c:pt>
                <c:pt idx="7">
                  <c:v>13.686565999999999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FF51-46B2-80EC-F1627ABBC16A}"/>
            </c:ext>
          </c:extLst>
        </c:ser>
        <c:ser>
          <c:idx val="5"/>
          <c:order val="5"/>
          <c:tx>
            <c:strRef>
              <c:f>'[Grafico in Microsoft PowerPoint]storico erogazioni'!$B$32</c:f>
              <c:strCache>
                <c:ptCount val="1"/>
                <c:pt idx="0">
                  <c:v>Imprese</c:v>
                </c:pt>
              </c:strCache>
            </c:strRef>
          </c:tx>
          <c:spPr>
            <a:solidFill>
              <a:srgbClr val="922626"/>
            </a:solidFill>
            <a:ln>
              <a:solidFill>
                <a:srgbClr val="922626"/>
              </a:solidFill>
            </a:ln>
            <a:effectLst/>
          </c:spPr>
          <c:invertIfNegative val="0"/>
          <c:cat>
            <c:strRef>
              <c:f>'[Grafico in Microsoft PowerPoint]storico erogazioni'!$C$25:$M$26</c:f>
              <c:strCache>
                <c:ptCount val="11"/>
                <c:pt idx="0">
                  <c:v>2011</c:v>
                </c:pt>
                <c:pt idx="1">
                  <c:v>2012</c:v>
                </c:pt>
                <c:pt idx="2">
                  <c:v>2013</c:v>
                </c:pt>
                <c:pt idx="3">
                  <c:v>2014</c:v>
                </c:pt>
                <c:pt idx="4">
                  <c:v>2015</c:v>
                </c:pt>
                <c:pt idx="5">
                  <c:v>2016</c:v>
                </c:pt>
                <c:pt idx="6">
                  <c:v>2017</c:v>
                </c:pt>
                <c:pt idx="7">
                  <c:v>2018</c:v>
                </c:pt>
                <c:pt idx="8">
                  <c:v>2019</c:v>
                </c:pt>
                <c:pt idx="9">
                  <c:v>2020</c:v>
                </c:pt>
                <c:pt idx="10">
                  <c:v>2021</c:v>
                </c:pt>
              </c:strCache>
            </c:strRef>
          </c:cat>
          <c:val>
            <c:numRef>
              <c:f>'[Grafico in Microsoft PowerPoint]storico erogazioni'!$C$32:$M$32</c:f>
              <c:numCache>
                <c:formatCode>0.0</c:formatCode>
                <c:ptCount val="11"/>
                <c:pt idx="0">
                  <c:v>186.31571696</c:v>
                </c:pt>
                <c:pt idx="1">
                  <c:v>82.16760549</c:v>
                </c:pt>
                <c:pt idx="2">
                  <c:v>46.961265640000001</c:v>
                </c:pt>
                <c:pt idx="3">
                  <c:v>87.280302050000003</c:v>
                </c:pt>
                <c:pt idx="4">
                  <c:v>57.94978467</c:v>
                </c:pt>
                <c:pt idx="5">
                  <c:v>55.550095140000003</c:v>
                </c:pt>
                <c:pt idx="6">
                  <c:v>59.096963849999995</c:v>
                </c:pt>
                <c:pt idx="7">
                  <c:v>69.577588599999999</c:v>
                </c:pt>
                <c:pt idx="8">
                  <c:v>83.907191269999998</c:v>
                </c:pt>
                <c:pt idx="9">
                  <c:v>55.2</c:v>
                </c:pt>
                <c:pt idx="10">
                  <c:v>80.34251735000000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FF51-46B2-80EC-F1627ABBC16A}"/>
            </c:ext>
          </c:extLst>
        </c:ser>
        <c:ser>
          <c:idx val="6"/>
          <c:order val="6"/>
          <c:tx>
            <c:strRef>
              <c:f>'[Grafico in Microsoft PowerPoint]storico erogazioni'!$B$33</c:f>
              <c:strCache>
                <c:ptCount val="1"/>
                <c:pt idx="0">
                  <c:v>No Profit</c:v>
                </c:pt>
              </c:strCache>
            </c:strRef>
          </c:tx>
          <c:spPr>
            <a:solidFill>
              <a:srgbClr val="DF8080"/>
            </a:solidFill>
            <a:ln>
              <a:solidFill>
                <a:srgbClr val="DF8080"/>
              </a:solidFill>
            </a:ln>
            <a:effectLst/>
          </c:spPr>
          <c:invertIfNegative val="0"/>
          <c:cat>
            <c:strRef>
              <c:f>'[Grafico in Microsoft PowerPoint]storico erogazioni'!$C$25:$M$26</c:f>
              <c:strCache>
                <c:ptCount val="11"/>
                <c:pt idx="0">
                  <c:v>2011</c:v>
                </c:pt>
                <c:pt idx="1">
                  <c:v>2012</c:v>
                </c:pt>
                <c:pt idx="2">
                  <c:v>2013</c:v>
                </c:pt>
                <c:pt idx="3">
                  <c:v>2014</c:v>
                </c:pt>
                <c:pt idx="4">
                  <c:v>2015</c:v>
                </c:pt>
                <c:pt idx="5">
                  <c:v>2016</c:v>
                </c:pt>
                <c:pt idx="6">
                  <c:v>2017</c:v>
                </c:pt>
                <c:pt idx="7">
                  <c:v>2018</c:v>
                </c:pt>
                <c:pt idx="8">
                  <c:v>2019</c:v>
                </c:pt>
                <c:pt idx="9">
                  <c:v>2020</c:v>
                </c:pt>
                <c:pt idx="10">
                  <c:v>2021</c:v>
                </c:pt>
              </c:strCache>
            </c:strRef>
          </c:cat>
          <c:val>
            <c:numRef>
              <c:f>'[Grafico in Microsoft PowerPoint]storico erogazioni'!$C$33:$M$33</c:f>
              <c:numCache>
                <c:formatCode>0.0</c:formatCode>
                <c:ptCount val="11"/>
                <c:pt idx="0">
                  <c:v>16.789974189999999</c:v>
                </c:pt>
                <c:pt idx="1">
                  <c:v>19.999776150000002</c:v>
                </c:pt>
                <c:pt idx="2">
                  <c:v>7.0578499900000002</c:v>
                </c:pt>
                <c:pt idx="3">
                  <c:v>18.843090350000001</c:v>
                </c:pt>
                <c:pt idx="4">
                  <c:v>7.1399151099999996</c:v>
                </c:pt>
                <c:pt idx="5">
                  <c:v>31.5</c:v>
                </c:pt>
                <c:pt idx="6">
                  <c:v>9.1783617900000003</c:v>
                </c:pt>
                <c:pt idx="7">
                  <c:v>8.7795554400000011</c:v>
                </c:pt>
                <c:pt idx="8">
                  <c:v>11.740826109999999</c:v>
                </c:pt>
                <c:pt idx="9">
                  <c:v>5.4</c:v>
                </c:pt>
                <c:pt idx="10">
                  <c:v>11.38360602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FF51-46B2-80EC-F1627ABBC16A}"/>
            </c:ext>
          </c:extLst>
        </c:ser>
        <c:ser>
          <c:idx val="7"/>
          <c:order val="7"/>
          <c:tx>
            <c:strRef>
              <c:f>'[Grafico in Microsoft PowerPoint]storico erogazioni'!$B$34</c:f>
              <c:strCache>
                <c:ptCount val="1"/>
                <c:pt idx="0">
                  <c:v>liquidità garantita</c:v>
                </c:pt>
              </c:strCache>
            </c:strRef>
          </c:tx>
          <c:spPr>
            <a:pattFill prst="ltUpDiag">
              <a:fgClr>
                <a:schemeClr val="accent1">
                  <a:lumMod val="75000"/>
                </a:schemeClr>
              </a:fgClr>
              <a:bgClr>
                <a:schemeClr val="bg1"/>
              </a:bgClr>
            </a:pattFill>
            <a:ln>
              <a:solidFill>
                <a:schemeClr val="accent1">
                  <a:lumMod val="75000"/>
                </a:schemeClr>
              </a:solidFill>
            </a:ln>
            <a:effectLst/>
          </c:spPr>
          <c:invertIfNegative val="0"/>
          <c:cat>
            <c:strRef>
              <c:f>'[Grafico in Microsoft PowerPoint]storico erogazioni'!$C$25:$M$26</c:f>
              <c:strCache>
                <c:ptCount val="11"/>
                <c:pt idx="0">
                  <c:v>2011</c:v>
                </c:pt>
                <c:pt idx="1">
                  <c:v>2012</c:v>
                </c:pt>
                <c:pt idx="2">
                  <c:v>2013</c:v>
                </c:pt>
                <c:pt idx="3">
                  <c:v>2014</c:v>
                </c:pt>
                <c:pt idx="4">
                  <c:v>2015</c:v>
                </c:pt>
                <c:pt idx="5">
                  <c:v>2016</c:v>
                </c:pt>
                <c:pt idx="6">
                  <c:v>2017</c:v>
                </c:pt>
                <c:pt idx="7">
                  <c:v>2018</c:v>
                </c:pt>
                <c:pt idx="8">
                  <c:v>2019</c:v>
                </c:pt>
                <c:pt idx="9">
                  <c:v>2020</c:v>
                </c:pt>
                <c:pt idx="10">
                  <c:v>2021</c:v>
                </c:pt>
              </c:strCache>
            </c:strRef>
          </c:cat>
          <c:val>
            <c:numRef>
              <c:f>'[Grafico in Microsoft PowerPoint]storico erogazioni'!$C$34:$M$34</c:f>
              <c:numCache>
                <c:formatCode>0.0</c:formatCode>
                <c:ptCount val="11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103.7</c:v>
                </c:pt>
                <c:pt idx="10">
                  <c:v>64.96317999999999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FF51-46B2-80EC-F1627ABBC16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2092707327"/>
        <c:axId val="1931354031"/>
      </c:barChart>
      <c:lineChart>
        <c:grouping val="standard"/>
        <c:varyColors val="0"/>
        <c:ser>
          <c:idx val="8"/>
          <c:order val="8"/>
          <c:tx>
            <c:strRef>
              <c:f>'[Grafico in Microsoft PowerPoint]storico erogazioni'!$B$35</c:f>
              <c:strCache>
                <c:ptCount val="1"/>
                <c:pt idx="0">
                  <c:v>Totale</c:v>
                </c:pt>
              </c:strCache>
            </c:strRef>
          </c:tx>
          <c:spPr>
            <a:ln w="3175" cap="rnd">
              <a:solidFill>
                <a:schemeClr val="accent3">
                  <a:lumMod val="60000"/>
                </a:schemeClr>
              </a:solidFill>
              <a:round/>
            </a:ln>
            <a:effectLst/>
          </c:spPr>
          <c:marker>
            <c:symbol val="square"/>
            <c:size val="5"/>
            <c:spPr>
              <a:solidFill>
                <a:schemeClr val="accent3">
                  <a:lumMod val="60000"/>
                </a:schemeClr>
              </a:solidFill>
              <a:ln w="3175">
                <a:solidFill>
                  <a:schemeClr val="accent3">
                    <a:lumMod val="60000"/>
                  </a:schemeClr>
                </a:solidFill>
              </a:ln>
              <a:effectLst/>
            </c:spPr>
          </c:marker>
          <c:dLbls>
            <c:dLbl>
              <c:idx val="1"/>
              <c:layout>
                <c:manualLayout>
                  <c:x val="-1.7768145122882273E-2"/>
                  <c:y val="-3.4976948871017481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FF51-46B2-80EC-F1627ABBC16A}"/>
                </c:ext>
              </c:extLst>
            </c:dLbl>
            <c:dLbl>
              <c:idx val="4"/>
              <c:layout>
                <c:manualLayout>
                  <c:x val="-5.7057523525186969E-2"/>
                  <c:y val="-3.2332181158674818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FF51-46B2-80EC-F1627ABBC16A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900" b="0" i="0" u="none" strike="noStrike" kern="1200" baseline="0">
                    <a:solidFill>
                      <a:schemeClr val="bg2">
                        <a:lumMod val="50000"/>
                      </a:schemeClr>
                    </a:solidFill>
                    <a:latin typeface="Trebuchet MS" panose="020B0603020202020204" pitchFamily="34" charset="0"/>
                    <a:ea typeface="+mn-ea"/>
                    <a:cs typeface="+mn-cs"/>
                  </a:defRPr>
                </a:pPr>
                <a:endParaRPr lang="it-IT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[Grafico in Microsoft PowerPoint]storico erogazioni'!$C$25:$M$26</c:f>
              <c:strCache>
                <c:ptCount val="11"/>
                <c:pt idx="0">
                  <c:v>2011</c:v>
                </c:pt>
                <c:pt idx="1">
                  <c:v>2012</c:v>
                </c:pt>
                <c:pt idx="2">
                  <c:v>2013</c:v>
                </c:pt>
                <c:pt idx="3">
                  <c:v>2014</c:v>
                </c:pt>
                <c:pt idx="4">
                  <c:v>2015</c:v>
                </c:pt>
                <c:pt idx="5">
                  <c:v>2016</c:v>
                </c:pt>
                <c:pt idx="6">
                  <c:v>2017</c:v>
                </c:pt>
                <c:pt idx="7">
                  <c:v>2018</c:v>
                </c:pt>
                <c:pt idx="8">
                  <c:v>2019</c:v>
                </c:pt>
                <c:pt idx="9">
                  <c:v>2020</c:v>
                </c:pt>
                <c:pt idx="10">
                  <c:v>2021</c:v>
                </c:pt>
              </c:strCache>
            </c:strRef>
          </c:cat>
          <c:val>
            <c:numRef>
              <c:f>'[Grafico in Microsoft PowerPoint]storico erogazioni'!$C$35:$M$35</c:f>
              <c:numCache>
                <c:formatCode>0.0</c:formatCode>
                <c:ptCount val="11"/>
                <c:pt idx="0">
                  <c:v>297.56511934000002</c:v>
                </c:pt>
                <c:pt idx="1">
                  <c:v>146.34923205000001</c:v>
                </c:pt>
                <c:pt idx="2">
                  <c:v>85.435678709999991</c:v>
                </c:pt>
                <c:pt idx="3">
                  <c:v>137.49709424000002</c:v>
                </c:pt>
                <c:pt idx="4">
                  <c:v>131.445694</c:v>
                </c:pt>
                <c:pt idx="5">
                  <c:v>273.75270577999993</c:v>
                </c:pt>
                <c:pt idx="6">
                  <c:v>258.86814175999996</c:v>
                </c:pt>
                <c:pt idx="7">
                  <c:v>279.74440912000006</c:v>
                </c:pt>
                <c:pt idx="8">
                  <c:v>299.33742173999997</c:v>
                </c:pt>
                <c:pt idx="9">
                  <c:v>322.95000000000005</c:v>
                </c:pt>
                <c:pt idx="10">
                  <c:v>342.0272231899999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A-FF51-46B2-80EC-F1627ABBC16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092707327"/>
        <c:axId val="1931354031"/>
      </c:lineChart>
      <c:catAx>
        <c:axId val="2092707327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bg2">
                    <a:lumMod val="50000"/>
                  </a:schemeClr>
                </a:solidFill>
                <a:latin typeface="Trebuchet MS" panose="020B0603020202020204" pitchFamily="34" charset="0"/>
                <a:ea typeface="+mn-ea"/>
                <a:cs typeface="+mn-cs"/>
              </a:defRPr>
            </a:pPr>
            <a:endParaRPr lang="it-IT"/>
          </a:p>
        </c:txPr>
        <c:crossAx val="1931354031"/>
        <c:crosses val="autoZero"/>
        <c:auto val="1"/>
        <c:lblAlgn val="ctr"/>
        <c:lblOffset val="100"/>
        <c:noMultiLvlLbl val="0"/>
      </c:catAx>
      <c:valAx>
        <c:axId val="1931354031"/>
        <c:scaling>
          <c:orientation val="minMax"/>
        </c:scaling>
        <c:delete val="0"/>
        <c:axPos val="l"/>
        <c:numFmt formatCode="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" b="0" i="0" u="none" strike="noStrike" kern="1200" baseline="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</a:defRPr>
            </a:pPr>
            <a:endParaRPr lang="it-IT"/>
          </a:p>
        </c:txPr>
        <c:crossAx val="2092707327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8.3427649008590413E-2"/>
          <c:y val="0.91677117203923941"/>
          <c:w val="0.83314453915903797"/>
          <c:h val="8.3228827960760546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700" b="0" i="0" u="none" strike="noStrike" kern="1200" baseline="0">
              <a:solidFill>
                <a:schemeClr val="bg2">
                  <a:lumMod val="50000"/>
                </a:schemeClr>
              </a:solidFill>
              <a:latin typeface="Trebuchet MS" panose="020B0603020202020204" pitchFamily="34" charset="0"/>
              <a:ea typeface="+mn-ea"/>
              <a:cs typeface="+mn-cs"/>
            </a:defRPr>
          </a:pPr>
          <a:endParaRPr lang="it-IT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bg2">
              <a:lumMod val="50000"/>
            </a:schemeClr>
          </a:solidFill>
          <a:latin typeface="Trebuchet MS" panose="020B0603020202020204" pitchFamily="34" charset="0"/>
        </a:defRPr>
      </a:pPr>
      <a:endParaRPr lang="it-IT"/>
    </a:p>
  </c:txPr>
  <c:externalData r:id="rId4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dPt>
            <c:idx val="0"/>
            <c:bubble3D val="0"/>
            <c:spPr>
              <a:solidFill>
                <a:srgbClr val="00803A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8822-4160-9F16-C77E540E57BA}"/>
              </c:ext>
            </c:extLst>
          </c:dPt>
          <c:dPt>
            <c:idx val="1"/>
            <c:bubble3D val="0"/>
            <c:spPr>
              <a:solidFill>
                <a:schemeClr val="bg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8822-4160-9F16-C77E540E57BA}"/>
              </c:ext>
            </c:extLst>
          </c:dPt>
          <c:cat>
            <c:strRef>
              <c:f>Foglio1!$N$12473:$N$12474</c:f>
              <c:strCache>
                <c:ptCount val="2"/>
                <c:pt idx="0">
                  <c:v>Garantiti</c:v>
                </c:pt>
                <c:pt idx="1">
                  <c:v>Non garantiti</c:v>
                </c:pt>
              </c:strCache>
            </c:strRef>
          </c:cat>
          <c:val>
            <c:numRef>
              <c:f>Foglio1!$O$12473:$O$12474</c:f>
              <c:numCache>
                <c:formatCode>#,##0.00</c:formatCode>
                <c:ptCount val="2"/>
                <c:pt idx="0">
                  <c:v>1709852848.5500009</c:v>
                </c:pt>
                <c:pt idx="1">
                  <c:v>280967533.430001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8822-4160-9F16-C77E540E57B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45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it-IT"/>
    </a:p>
  </c:txPr>
  <c:externalData r:id="rId3">
    <c:autoUpdate val="0"/>
  </c:externalData>
</c:chartSpace>
</file>

<file path=ppt/charts/chartEx1.xml><?xml version="1.0" encoding="utf-8"?>
<cx:chartSpace xmlns:a="http://schemas.openxmlformats.org/drawingml/2006/main" xmlns:r="http://schemas.openxmlformats.org/officeDocument/2006/relationships" xmlns:cx="http://schemas.microsoft.com/office/drawing/2014/chartex">
  <cx:chart>
    <cx:plotArea>
      <cx:plotAreaRegion/>
    </cx:plotArea>
  </cx:chart>
</cx:chartSpace>
</file>

<file path=ppt/charts/chartEx2.xml><?xml version="1.0" encoding="utf-8"?>
<cx:chartSpace xmlns:a="http://schemas.openxmlformats.org/drawingml/2006/main" xmlns:r="http://schemas.openxmlformats.org/officeDocument/2006/relationships" xmlns:cx="http://schemas.microsoft.com/office/drawing/2014/chartex">
  <cx:chartData>
    <cx:externalData r:id="rId1" cx:autoUpdate="0"/>
    <cx:data id="0">
      <cx:strDim type="cat">
        <cx:f>'Distribuzione territoriale'!$B$3:$B$22</cx:f>
        <cx:nf>'Distribuzione territoriale'!$B$2</cx:nf>
        <cx:lvl ptCount="20" name="Regione">
          <cx:pt idx="0">Abruzzo</cx:pt>
          <cx:pt idx="1">Basilicata</cx:pt>
          <cx:pt idx="2">Calabria</cx:pt>
          <cx:pt idx="3">Campania</cx:pt>
          <cx:pt idx="4">Emilia-Romagna</cx:pt>
          <cx:pt idx="5">Friuli-Venezia Giulia</cx:pt>
          <cx:pt idx="6">Lazio</cx:pt>
          <cx:pt idx="7">Liguria</cx:pt>
          <cx:pt idx="8">Lombardia</cx:pt>
          <cx:pt idx="9">Marche</cx:pt>
          <cx:pt idx="10">Molise</cx:pt>
          <cx:pt idx="11">Piemonte</cx:pt>
          <cx:pt idx="12">Puglia</cx:pt>
          <cx:pt idx="13">Sardegna</cx:pt>
          <cx:pt idx="14">Sicilia</cx:pt>
          <cx:pt idx="15">Toscana</cx:pt>
          <cx:pt idx="16">Trentino-Alto Adige/Südtirol</cx:pt>
          <cx:pt idx="17">Umbria</cx:pt>
          <cx:pt idx="18">Valle d'Aosta/Vallée d'Aoste</cx:pt>
          <cx:pt idx="19">Veneto</cx:pt>
        </cx:lvl>
      </cx:strDim>
      <cx:numDim type="colorVal">
        <cx:f>'Distribuzione territoriale'!$E$3:$E$22</cx:f>
        <cx:nf>'Distribuzione territoriale'!$E$2</cx:nf>
        <cx:lvl ptCount="20" formatCode="#.##0,0" name="Importo">
          <cx:pt idx="0">2.2599319912694025</cx:pt>
          <cx:pt idx="1">1.0786417918661604</cx:pt>
          <cx:pt idx="2">1.1587653666745317</cx:pt>
          <cx:pt idx="3">1.4209869387261613</cx:pt>
          <cx:pt idx="4">2.8166653412742737</cx:pt>
          <cx:pt idx="5">3.1001822706427742</cx:pt>
          <cx:pt idx="6">7.493090795248289</cx:pt>
          <cx:pt idx="7">2.445184211999381</cx:pt>
          <cx:pt idx="8">1.835786291393104</cx:pt>
          <cx:pt idx="9">3.6035711329857247</cx:pt>
          <cx:pt idx="10">1.0533684003071757</cx:pt>
          <cx:pt idx="11">2.2580407467230574</cx:pt>
          <cx:pt idx="12">1.4810193867115495</cx:pt>
          <cx:pt idx="13">2.2917604795842128</cx:pt>
          <cx:pt idx="14">1.5133319058568946</cx:pt>
          <cx:pt idx="15">3.516510893303709</cx:pt>
          <cx:pt idx="16">1.1707601492185338</cx:pt>
          <cx:pt idx="17">3.0446518120011277</cx:pt>
          <cx:pt idx="18">2.5223831282386029</cx:pt>
          <cx:pt idx="19">1.9994537797007286</cx:pt>
        </cx:lvl>
      </cx:numDim>
    </cx:data>
  </cx:chartData>
  <cx:chart>
    <cx:plotArea>
      <cx:plotAreaRegion>
        <cx:series layoutId="regionMap" uniqueId="{14DE1BFA-743F-4224-B47F-4D84A1C065C3}">
          <cx:tx>
            <cx:txData>
              <cx:f>'Distribuzione territoriale'!$E$2</cx:f>
              <cx:v>Importo</cx:v>
            </cx:txData>
          </cx:tx>
          <cx:dataId val="0"/>
          <cx:layoutPr>
            <cx:geography cultureLanguage="it-IT" cultureRegion="IT" attribution="Con tecnologia Bing">
              <cx:geoCache provider="{E9337A44-BEBE-4D9F-B70C-5C5E7DAFC167}">
                <cx:binary>lHpXk962tuVfcflppmpgE0Q+dc59AMMXOgdJLb2w1K0WIwBGMPz62Wxpji37XPtOSfVVkyBIhB3W
Whv/fFn+8dK8fu5/Wkxjh3+8LP/6uRjH9h+//jq8FK/m8/CLKV96N7iv4y8vzvzqvn4tX15//dJ/
nkub/xoGmP76Unzux9fl5//6J7wtf3Xx5/FzYsdyXO+m1369fx2mZhz+svW/afzp9e01j2v7+q+f
X9xkx/11eensz9+bTl/+9XOI2c8//fr7V3xvvP5soN8DDPRz6/rXP/V5/TyM//oZB/SXQIVCSq54
KFXAf/5pfv3WQn5hCrOAKyaDQEj880/W9WMBnX6hQsLDimOJqZQB/fmnwU3fmjDnBEMT/PIwJPjf
K3PrmjV39t9r8f36JzuZW1facYAXM3hT++25fXIwLEEUYVSREIc0YPsg2pfP9zCr/fH/Qwz3oplq
d8CKHoxqz202+2hqZVoUTsvFV5qvz032uW6/VI1Il0GkW0WdXvvwqibVZ8rw+8qEd6h1RKNieT83
d+2cY83YXERkmHSn3Gt4QDxoNMPkZtjCOHB5avMXUXW3wmjBa6/NJq7LiR72j1RhFQXm0Qe20EO/
NboNQo3L4iLf0NlnTbKtTeJ7p8UQarqhBA/0ELT2ofbykdFn03ZR8GFs5KmYbLSsNqKUn6zoozU/
CW8/zR2L+DDFwkP/3kRtyNNtFCeL84vW5xfVnCX9QqOy5EfZmGi/FnV+EcjPJca6GrOkWu77JtTc
Wo1nq8tVnHzzPG8+7qfnnNAD3qx2sDW84tGM7+fS6Y1ZLUyo93dQzg5Z1lzOEut2dg9K1l9RS6Ox
MwnC6NyTc77wazXM192i0mZLWD1d5mg5Lj1fdN+pa6t41BuUDHXzdQ6STZHjuNJjtercLQe28hPG
wXo1mkxPjHV6olusVvE4j+FdI6uvZW7HpAxplGfqQLft/SyaqGs4LE2ol8ZpVJokZ1myT6UPnuup
SbICJftKsYWngp69HGLB7fNgzOU42I+ObQmlz25j10iyNDdS/867/oPFiv9grxzzgHNMGAfD/dFe
/VIMjWGrO8zZGmirQu180UYlbxIYToHK57/+Httf+EcHEYGURNBQhVSC//7eQdSQUytL7g6Lt1FR
O63yKV7r9nYeWbROedqVPKqliRw/o/KhKdB5qy8DMr6nobmsQnakXEasuRtysAd5Uu7LalnE5nRu
m2+WULz0jBz4jJKmrQ/ZfG4bcd1xeVowvc5Qf5bkw4jpsV/4qRtZpUNJrnLeRGDqKBQpn3g6TKEO
Vxr5wiQETGsA29zmqOdKW2/BTPML2BeydA+tOqOJwZ5b7WEK5UIPf71k5D8tmWKhgOAmIFph8uOS
WRyGhQ+cO0wI6yYDdyra45wvmqpc+/YDmNLcPG8kT3fjzw5T/hQUPqaLiYIMPKB/BucSyiQLz5Ld
Z5aKHpvV6ilHiaymeA5pusjIV+YwPHV0iae1T5Ziu56HOWpzGu8frpG4DomJkKSHdfTx30zyPxmi
YnsYZlgRQuWPk5xVHtR0mt0BNiHP/NWy0gP3U+xGE3UdhJTZpk276MrZaLImKZS5CNmzrFFSF89a
Kntb4TGes/ugby4bZqJ6AfcC43rbwvZ+37JQTHFTD4k0p3bNzosXacCuQjqcFslOe2uxiHRt/24L
Q8hxf7J6xUmgFKQGLPA++9+nhRaVdmYLWH3VPA8uYis9SRYkZT91Oi/4ydHsvEkIZ+vzHnPAtib2
Smp8Q02TdBWE0RUlWWvicBq0J81lBwa6B0q37IYpLtrOpH+9JSz4j4PmDPIZF0Eg90n9ftBNR3if
DzBoiLUjGuMF+VhyFs2GHvdQsVof18bHG44z1OlW1JcE2yRQ4poICFzN9UzLE6IiWqqnqQQHnPiV
vOmX5/JdlnXgK5D8POQoCkF/uJ9qk+ze7wiYZF1cZX3x3kGmWjesvWLRYhM+glPzKbYbORbCxxYe
DQoW1aVIRzDSHMM9x9LVDU+7N/71ioR79v5j8FKC0EBQDGHmrf13K9LwLauJadxhX4UG8bTv5SmE
XWA41Hv0GOuo1CUy0TyzqO9DXTU2qvcUDFMM3Me5erdHK1lYTT2PJvG3lrYHgz8PkUtKiJQMyz/4
EWtbgGUYhtguPGoDCJAwVFhxkoW6xla3sIp4aJJ1aS6r0kZ7yt+WLCHsYlk+dbCFXcdTxCAMQpZE
azQjCBiiSXjeJH+9nG9W/+NYaQBITXCBGQlY8AewtMHK+WwDryDFxTaSezdMiYEdFT1PHSTYOV+P
YTBHpThgiRIyWk2y6WoPsfV4Tec6Jp39m4SI/4zgYFCwu0RhGFtIwx+tfu7CDK09A6sHnAMTj/aV
MwIl3TLFeW4SOpkIrHUPnJdb6255l1+gmV//9eLQP9vaj+P4Q9TvwnwxHYZEWW99tJkhopIdcgNo
Rt7Dfs4Ma1e97KjNcsBNsI27IUrEj8Nd7YeE9LWuFY12e5vKKe63T66+NAOG52/K5Qps+SyG52We
43E9t/x59yVZW921w6Ebi2gdxHXWm2R3wX2yHkzao/rTxKb3fzNX/udFJ2rH7EoKDigE/2HRTV2y
ruyRPczbdp0R+BDMSw3Femg9Spyom0j1qkt533YApWigF9k+SLddDJLGe3zaCDt2CILEYN8CyKSa
yyFno/YliseGpjKb7SHv+ZG75qtFC7wCUGvhuxgtGdEUAFglqjbyvLl0gh433CRtOQcA/mxUdUJq
2bCDClhEwAAGBp8qDdMK7ZA6xXN936E6mTdxMv1DXUPCbM2nN8AvsjAyJe50gdhRGXka+mch+fWK
ZAkuCtaVQ9TKXyouka4hc+24cS1brk2dp5Az05He9zK82y3RWnbcMf2erPah7oPZPbbJAEiy8cpT
Gw2SRR0ziYSFZHnMtjHKSpmuxr7BE2/pHWPtE2/cg1VAB/YsSWuix9nevnk/4BkxNJ98y49d8FkK
k1gMeVbhuz01A4F5Q9WoSSz4hC2vmSq0Fe/W8pST+z1TSDPoYLwf+xhgc7SE4hRwgHQFOy70nrDs
3BTHDm8XYZE9BjWxh67HjUaeNqe1kJotS6QUpMOO0uO+u3K6HfPq4DJ6NJmMK5PHWz/J2K0l1TYc
n8p+1WVnL4vK93qd24/D9OwAYsNKIdxcBrWPC3IfKBNxwyMY5T7yoMURpp1GPYsookdWuVs/2tt1
vd9v7Vuzd1whReUBMBAIm/tgEMFaDvw0dvkXXrE7lQ1P+/Me5VcdRU81xH/WjVeFhWerro0M7OkW
ZIC1QsijcngLxCvwLhgkD+lxnX3MMI/K4L6Z7q27D8D29o1YITDvBrHzOyZQZB9VyQ4kCA98EVFV
Fxe7n4QU8iUWqQDcugeneegOkFhKwU67xezgrVjAhk00TrMGAp12bQkpOUy4hGt14v2X/fO9ZQcU
2gh7iPYQT97QOdh73tvIBvCN/g09mr5JQkEj0ULm8Pc5UEJTs6NbzO2I+bWt/FU32U90M5dDxo/T
Ih53rrl2Y0zFhYJIsttE3eWpm8EmxPK+k3Wy28dqmivKNAaLn0aTTGOZ9H12IDK/yBvY+QK6CFfo
1aFzgJqDMVtkGU/5aC4BPBFNxuUKEHRaUq/HbEkaCXO14nqs2YEBL91nqbIsmWqZ7ru272gJ5LML
yWHPczMEj25AyRr6q91j2mmK931QatGiCWK/JB6ChpfitGd/h82lAgK3tEW65vRIMPh2riegnFO4
2488ZdI++AruWRX3wXTFuUkwRS9Ggb2XLYscRQn4fufAtTksC9gOXLoN8Ot0T9Yp3lxxkZU8LfLr
tfYnI8zljjoq2qUlDkgktykAviYcOAOfo7peVTT1Rk91V2lTiU/Z1E6HxbDLagDuRL8MmS9S0DEu
uTKXuXHrwTjXxFNWxI0y/Gyhj+pzrp0ouC4mo0nYlLHhhQUr7VNcZJtuhyZq3FSkOHTX1SyXqC9E
GKnV2djnLfxkEcK2i7K2vQllNmo5smPYzc9+I6cWN1y/PZvhctA4Lx9LW98WtC4OgeqLNJzXqyFU
99ZgoqXsWMzmsI7yMrxyuOcxREPA0JCgxyyPJzUwPS8V117QWwuxCdSA8OgHs0Y4KFncCpGYtgFg
sZhcd2Vh9D7Jt3GO7NxlgYF5hrDF3aax4Taavf3KrbG6QeFVg+fyiFhxlQfZRyKNjUkxrHpgXFeM
QbqZprPkbZuqjcdyHO0hRKWKy7742Hl7qJAr027Ovs5+W3RBQnQoLTr6ZiDa8Pm5GQKSTrldIkhE
cTX4ApYGIjCathe8jTyxW/5h9ZCd88HEM7NhUkrbAWKDr4GU0XY0bgt6dKONmr5MXd28mB6fDKmj
zWZPbZMnziyXQSliYRpYkousq04o3P4OOu1Z+kc8B1k8BNRJeaAYqGk/QidUMkVzChwuQ8CiOgi5
wO+FM99ApgWVBEin8M859XEmsgQp/HdD+E9AQgQQIRiVQJffOM3vEHowlH7KN+kO3InrqRwuippp
IelxBuQSUHJHNwxJto9zcIrdtW2NDis4K2CAuzdU8+s33fT228S/qYMvrl37Mi++C6f/vvyvR2fg
/z/3Pr/d3JXX366u/p9k+8enfugE3/n+4V2w/eHiT+rt78XV/2nj/0y8pbDc/712Gzmbu5/+130c
/e/fq7d7p2/iLcG/AMwHXA06GRWEE8C038Xb8JcQNKhQCUYwBqkDWr6Lt+wXIsGcFGwn4cCrQmj6
Lt4iTH6hjHGhpCJArKHx/0u9xYDvfzBhCZ8OgdqFDP6FjADr/dGEi7laxiKUhTZj30LwogOQn6yM
e1MMuu07QNnLBpx23HqNOnIGPFBGQ+PWVJVTtCwrjgsZvigEEh/mfXCuRLMBjFltXKHOnjHkrjWS
A42yzC1HPuXuzMaVaYvEGCuFbpphOkzbGiQrFawBAALIxis7xDnN64RP0mjgRGvKyuwdayQ7T6bf
4rqxoAzXQXt++1mHpjurNb9p58nruhxGTYL1rq5IkHZN/jk3PU9cuL2GK0g9LJ+687x34YLNupt6
AD2oyY6ua0GAmdpUOPZ12nTYlfYMdLvZWH4mLerOBofff0rbAzLOxNHbptbLOtlkGLdElOV8ZNvQ
Q9KtC42XkTQA0DZ7dhCmh8KffVUtsSvsqFE7943OTUVTivg13RdHoZi0hTy9XVRl685vfxV9Dcp3
jVOHsDt3JijiEUoCWozYn9D0MPbeHLd6TIUNljPE/Y+BcQCmxplGwP0iUvPbMOfvsdtAG88/V2uz
RlPYdxEeNy2UGKKiAmxJ6rbVhKEsVk3+YR6y7eAl6qKiv19DQZLN4KSuw1NJcHcbjIduseiULeOF
b9f8gNh0Awmh1ZhQd8yHTVwSsdza6avCBdMA6cL4wFV429VlFsFUkIaKBwDxXjXncgRh3laVdmwK
z+swPq1G3G25qG+rDfRjca3MIciKEzEl0v0c5AeQvhQo/qGH8dVxZ/BHgQDUKVwnZu6ARXt6W07h
a7Y1VZTzAezm4dgLT9+3fHYRn5Y2BuDfJ3PTJu0yfCF1SPXmZnbwJn+ybQ34uAVsUS6FzlDW6qyD
1E735LUCHaFr1ADnuhDIXUPRpdQeF8Whz4ImQl2eTKJ+4EU76FWNYTIVwWnoxi7pKCnjuqDxOKj1
se5bEpl8/dIqKGNU85brkA/Lh0bcyXUZ9VLgzy1r+2iajvlkFECrgYCef8JVvp5U3iZB0D71nr0A
eJDaNt1HNmSr3vL5NLv16CEERH6bhJ4r49J1HSJD2jpm3Qee0yUaeODidZiuEepPPWdTVPu2jtYG
OMmWDUCnekiiVX9RlnrbNhBLUfcevEDppuZbypbq0M2MRANZ22SJxq1e9byRIqIVjwsxqKifrqt9
EHkfXo5qXbXogerkBXs/84Ec55Gcs8FWeq0zlyBhddWr9ciHstIDkb22nfeR5eyhYeP1CtshXY6O
gbddWi9O04Z9avvyrsrf4aChcTlNeghZfbRyGzQUWbKLlgXPRYa+jJXYnuiAR+DB9DKDUs1ZKNRr
1RQgoLfZp1aUkzZtja5yqgY9VHaLy7mnaUALd5rWrE7y6r0qi3dhndkLu04kmjm9kYBfwrKT1wNe
r6zfqF4p7LuSC+hLDc4ONXfpVFB1WygIlNt8xKTrI4vJGjdt/yFYQfYdAikOjQNLDIo5qiQE0n6T
EXXTCWLjQyjbKSUNzK5jL8INfVwWQx9lrjs0Fb0MZy+Pk7Dv5FpVhxEBqVkzFE+k6BII5kUiC3U1
SF/EuKcnhUwVl5V77fMuHbbVx0vb1icIyI3uR/bAlEtgZRSIAJbFhiwAQUGNXr08jB7PGlLYAqnh
3OQdPlZovKywKDQoofxiXVvN3NmKENh634YJCYavwcICbXzIYoJpFCxtHmO8qzQDeTc0U+JbNR5n
Bs49kzzJ2HIBkoKM0nYL2gSXUB8ZZCAuADveqC33Oqgqns48wsCHQGMwV2aSL7KeTdxZKDxOPn8E
haSFAdPskOVjFBR9CdWN6VM9kpd8O4xlyCOI5h+oy/t4JfYBapxKB5ZOByRAQwwh+biBJjL045Uk
JGpge13riyfMyysF/HirjTjMeHnPg+HW+nI8zVkAflevFxuq7k1uHm2z4QQElXTr5iZ2+cDiQI7D
sWyJATmLfoCc0h2zoE8rZfOkIyxBpFniDPs1CiaIxaXvqA5LWAsbAy2RkcBZHuVue27w6+ReNi8/
kbwLIumHWW/jeJqa+aGUm0toex9UZUxqlWS0c5Eqs4cexFodtORFLNMKRCdYIx7Q8gz193sU6gwv
ebS6GvDhVEPZU+JPWdN9EGqGYOFfs6xu41nhSbtMee3DuogyENP1rkukewY0BB1q1QWA26FMm4/+
VEkX4820ER0DFLf8Br4sE1pZmVYIyl8SyrxqRqkBirTMZRhhVevCleuRzeJlIf5lxuh9WGMCRao+
3ocyL/V7aWl3wsMVz4lLCtMSXYrq5FXPDqJaY8RxGAUNQfFCc71J/1F48QWYaXBshyGL6v42KHtQ
pJm0MW+n9RzO92sXDhc9QiVogVbGGSTQsGnkVXYOSRCAbI9fTEfWBHAUqN4cqgKk8KWu2o9lTYZL
2H3YYxXoFgNRb9ehSkKy1toubtBhNb2oxjxXo/C628oxufB5GEaAULp4Ax8FUgjoR433yG3trqMX
UTnhJw+EEqBQAHe2U7WQPm0XFG+defYoA6Iz9xE2NCHTdOmnLotCwDbJwKHKZxiatVLtNd7aLJLE
fZjmodam6I6iqV3adMUN8ct4m2dSb4MbdV3PKg0RBUemqIpVv3XJWIHvVw5fhy2o6YW1j+tYS1CU
ZJPSORsjix6rxvTaZC5IMQeKP3FbxARFWdA2Z9Jh2E45QN4Y1iUCBfwr6DhJX3uUAg+5W4d8TTI0
+EhmYPNdCZV432OwdUmTNyvbYzyG5UiyuNlCetNmPShZrtNlkN8D0nQn11oQhkeZZvX2kK0oiBzI
nc5BGi6rEWqGQxvoQYqvprS7dJzBiQCDxwQbp7vc4aMLZBWBs0kIKgJtUyoySQGHkMd6BeTWhTed
CecL1i8uKSGog5KBhrjMwzzm3puoL9VrI8ZGj+V0nK27qpB9BHvvd3ByCLPtaWryOa2AoI8OazLP
mgebXkc36S2oQVKdYD5+FbXehBOxGcZbXuI5JmyB4k5F3FWt5Id6JqBs+RwosDytA26jtrlXYd7G
2I8QVaE0NXcOX1SOfsKMHSEUmaNRF5mEfAvHJqpqLM9StXAmI/cJIeLEUXkainMBO3asSFhd8Oa5
h20eGjDSbAqjbFZPc6fAvuAEwcDyNtrWIYibXuaAK0EKG+fhaawKE2UC57HH26Z9NQSJIsC+gctc
1HMNYG0FDaNb50RmbDriBZwEzWGCZkHS2sEJieKF2CKDQOFpjLvCnMNKt/IRwSmCDEpvCV66Msbo
rmJBAXa35lEP9J+IKR04KCoTIlvUAY6y69NiZpU4NMPpn5MXcxWTHkVDGXZxBRJKlPEpO3Me1IkI
GNPZZLXpaRm3ox42DGiDovBgqiTv+wsy++dt2dJtA4Y0A+yMpK1k3AAaJJU90Qa8e0ZFFXkQWiI7
8ippfP8ClrzA6DsBgsA0wVGP28BvLbClZUox6C6L558z2SQ5KcZ0HNosDtZ0HZkeJz898WAEDMYo
aKtmulyhOlFwELmDzgYAMtvHIvRg+7Wlus+bXot6qVI5ZmUq2Cc+Txcjuqu7d3gOp7PbEOig4QT6
krzzI4j0s2dNOmd9WpI6uCir5dLkoLD3HRwpkVuPI1UP98NmNM9AW1yC+WWTxNw4Nz1PY9jqQQX4
XRZc+RG5ePE1nDDBI6hJW9imSNV1komeHNosw8dOsD4SPSrPQ92eZFhJ3Yosu2rmGQobnd/AqMbT
wnMH3lFdFtzERC7iVI7FE5s9vgG5H5TccQ5jsg3mVAJ9ABDdBLozlYd6IjGHtZ+gpMqHNAM97cWL
SmdV+w7hankeVfVUwCamXg386Fq1i2DoQ4E9u8tHc+rlMcMEH0ergDEsWREtbVbe52YcD+DjwMBk
tHQquKZM2Bg4xnCv6uKjqeHsztQDqvE06Yy5EBa1yYAKDPp0aW4EKkClRupxKGcHljV9ycOyv5l8
c2W5fEVq7q6JOmQb325c6V8LhF9U3atL1QumFz75g+jweIBLwKU5cCnvIerY4JXSNow7liONC1Co
TW+hbA7AzUx+vVuh9mxY9TDb52nzsEVuu4aY7s+0hZMccqkc5G1Tn0352gm36WxUImEt55c45HMX
L4uB6mLroICy33z7Iftf66ygZFTLkl4Gh9/avvUa1plfuqIWl37rwmidZxsr4juv326+Nf/WZ8S5
uuDBY2iq/vsTrWSdSouOAjxouvD3nb99uOe4vFiQi749+fayBYfQH+R+BdqmN9+m8duI3/76NooO
g0CQCfXtkeDtu2/N34cv7aaVmEjy20h/G/i3YYZrv5yWajt9G89b87fevPItRDHcpm+v/G0t3i45
qkTcDYxoVTfFw4g+VnmRJe02fCCdeMqmeb2m0B61I6RvHMryHLD1qsDzccF21iHK5LWCE3JJFRTl
wVV9VLZN8AiKZpuAoLimHeLVEc5gTZFRxc1i+d009c1nEMabYHu3LSS8KVRjr0dgQW5o2jszBZ+G
YuyiPC+AtgSdunv7yWgeVfmiboQL1R3xmbzCFJ/e2tCEcg1AooNYKIH6KzomAuoPDxWfq/u5vWd0
i8jcf1YqxCfPnHrIh+CTr+Esm4RjO8RX7F1mC8A4Mp+/Xa7WHisPWa8P0Hhoc9Q/+rqajtl6NsAc
o6Hy5n1OQKgc+ChilGEDaj2QqBxV+ML2S6W3jmz3c3PdQnS6g1M0AG67LTzkxULuqqE+DcStSQfn
NuCkBPBppdwNwIgLOg7ylpS8jz2l6ljWQ/CedXLVo5P+EurtVZxBZeFAHf2MfN/pcZhQCqfw8Pu6
FltUb9KcAx4FNss+8MAfbMPPYSvUjUTBkICoV+nSkcO6bD4iFFZErNUIwWOeNBwNc7dLOG1XATIT
qC3ZLVSey/dTXUZTUGxfZxvcDTYDwkcpuhKouauWOfyqAgAFxZwnnmB02jh/AmKli9bhz+WC82Rp
LDpP1YzOIAh9hWpCrQexdC9j39+oltNYeTh2AkutItyu4Q5AiphNU/0y7hhJlR+NG5KZdjJaxf8l
4kyaI+W5JfyLiEAgpi1DzWWXh/bQG6LbdoMEAgkBEvr1X9Z7F3dT4XY77CoQ0jmZTx5UOv7Gp6Oo
ubd3lpCnuMHxFktqwD8mpIpq/2FlfP2Jm/luzP1O0dkdJCFQlaTaclqjElRb+jRoKg+z9uJ8pmGA
ipeu77gq5RZ7wW+iJr8aM/zSnrXrm1XdvvUz9VQ37Eu6jO1ZC72FDyEM1+HSjeP4KLxWHIOZYveT
wfgSdn0NlS6eYSixv0Z4r3Jm3aHlHN3igmp1mNqntGYAjRIQNcFQly4Jw7NMoToKWPpww21w6Tz6
0aXTshsCRk++Yd+d8wFl6Lbu8h6FBJiCewXo9clWGj+EVLaouJResBQ1bKCH9P7ismS6MNyLae5d
GbUernKfjReiY1tpYlFURHI489op+PUScsvWf3A8dvth7WAKj8l2/u+rjCeQEkQHSw17fUfxudsh
+BER1Aw/CdsH4s/tg7+sJ4J6kThcHD96UdTnV+IVsWuzvI5adMd14BfeioZOz74uI+wbIBzs05wR
82Rjvy30bN+sw6pqPQ9t/YJKvSV8usxh+971jp43DWOZt+RhhtGF4x6WutvkXDitd7pLSya28Wpk
1LyQWE/HsKGw79n2tQRcnm2s2udwomEBwIbvu1GYy2TUbbIaYt66drnn9EcHvarSlkOZonw8bG4N
bwFU7xK2SVtxmrHSsTWtsObDm6FJVqQpQzk3thBpzfDgog39Nu/E8LC6tAoFRNplgM07xemcR3Mt
L2h7vZ0XRO+Bo/bEZNIL0AdkP25CnqxH1gMoqncY2UPubXMLennJXnqzZnjURw9lwVC/oBU9Zkkb
VZ0/BYAn0Nt5es52U6C369i+L6xmZ68d+HlSNq6SBs1h3/DfS6PYzlObOrnNezG8a/brgB/opo7n
XdjLMshGL08hwJ6HJBV7G7jnzEnv5N1f/vuqNT3uswqXapaJdxr875W2aBN7OD4KAtt1EaMpcTiA
4xCrn7PWi/cwDAsfOijWX4c2NCS3xflFHEKIz7YsONn6MzGmr0ib8SsAr6+IWgiZab/dElnxGjLk
MHP13HXYP4kf69zzTFR2huY+toODngMsjcHaB3/rVBFy8avX2790/JspTa69HsvIurZS3fyN7s48
mDoaynpZecmtl10WSvDSA4kYiHtqZexO/P4iwjiG6FTzfIWSG0xxsgvZ2p8XTvvzlpnmhPuXT4ML
zoGTbD+066eIpb3ev/AnQu+F8r5flL6E4d8tIuaK1Xin7sRDgsKqIl5LC+mi6Ao8T0fpSWZ63QVk
+Fz0cMhU/JXO8ug1IAeyDBgWC2GDS9bean+0UDuWLG+ndWc4e5xCXKruF4naFiYjHuY22PlejS1Z
X8dknatZrb+8vkOfEolXn8PFnxMIN36kfjvun3r0N1sSfLkIC8usIC8klEfoU6BdNgUTfr1Kbz22
vQR7nT0xP6djOOZMGGjQDbAGxdm3SLtfYoRiXmfLWaIFW8nvvoYIlMfBJosxmh8zqPZoK9pdKKOj
SSnJA7eCL4FBojdxTMR0cAuwmKAaMvovSnQe87e0XSeowPbWd+5moSM7vwxXtLYJPN58kmmW86wv
2rgr68583P96V3dlPG6q4PBsvb4thm5Ch8we5i276WQMS6+D7JMsETaSDR0BxSKBa12QJD353L9l
6GigPOF4jmtTTY7yItPnkLCPOASboVZfFAtOJn+OgzNZ62MQ1bBXelQ7mw8r5Q5iEtkcZ2cfo1W/
xFz9Rpvw0qzk7JbFQv4HwelZYK+BScqQq2OQbnO5alwnj+fTvaZEQ17DyoHO36/DE8D0yoey/FAn
y3m8n7oNVdC6IvoGbXEqGvUaL+QCNXi51CAmNAspylL6Y4YE3n2/3AVRtCsNDItcWQW1MspeIb5p
+NMvohZB0ZHgH9PmZCcPm/Nw9J0CUWn5W0QbUbyCZM8eVzVkFVH7Orbb8xYN15BP6KPBKWwp1CcV
pxfHk4O3hde+f8q8sLId0DUdeCHSAiYAKjC+Zz6LK1q7JU8a8dS1ozmYlEOwkz52ZZPXrTujrAbx
vQ1hiefNa0J7WUe1XRaVBqicfsciKcxiGqh1dnruu+nQpGCXhi7iSGcMj3M0Hx1+1RQ0HGkLD00Z
qRd495TmPey8ELuRVli/YYgKrgMaYP0vhSM6wPZzGVd3wbvNlyXFuzIozJdp2MGQhMI0RmCqvG7v
4VCOQmdfh3W/4O2cVGMrUDxv3DU9xF0oDX0WPKUO99m+Uy7aA4G6DqGG/lUzfdnQyHlt1Yg4Phq0
Z8A7VlJ0QK3BfkDUxHMFv54nDHpM/XX3oirxLEMjkLSQFxl3UGvS1eQdTN8cPbob5IWMSV8GgG9K
vvqfjjYvfrq0VSJB0qmkH441fl/RNTBEGWoHCGeniafZO49Iqe291/QYrVwohvc2EqQICFlPIk0h
AYYePTrZHix+ruyQkcp7K0ipaNOCkLLNkXTqy+vYcsPSCY66pj+w9bI8G7weHGnKn50f/vMYTinm
Q7jy1l29yuAsg4zBMGOQHVBTnudwQiQA7tMhVvJMmCFF3QXNbk1Wc20Umv6eg6jr7WQesO+6axJT
sFtjW+9k59g+MirOo+ma1j3WESE97nKKM12KeYdqwaJJI36JIyM1WwZEUyfI+QxnLcjzuPW/mw0X
8rOvzTdlFKwRS05TM33GBorqtAReLug0l7NrL3PjSTz2i4SpYUQeMZLgKQsCuFdK7VbSFUks2WHp
1/l9XXNC1DGmWf20iPCNCt6chlgdDagq7F5ulzUuKrM6w3McwkvWG8zT1JNzGWwKWkjSr6eZBhPc
qxQrCPRsgSAZe2zMxIswErZIk5Yd5F3ixK4NKzLv02QqZ47HLlU3gjYcuSMS7FMXLvsOrOVOeF5U
oXyp4aCXba2DIlZ4qDgOsXyC8l7Wjn/P7fjce2nw2CnkMdwU/fNj/meOZ0QBNDnEK66kkvKVptuV
tAjJRdlH4ImL4ikkwJFDBKu7XagWRDxWvpv64TlRCy9ot9h8ZOwFiwKmWdTJa8DZ19gGb17/6Cb1
0LUoTGBWpRXSaG0xOpvlLOybfGCRy32bXWsyfNcu/MwgQrR++AFBOyhrBmt3Ssy4m9WM3wxn6jSj
KuGRBSwuTH/ZsOAL5a+yRBXf5XTxsmO/zOho+1Hhrc4KeFtzNFG07PtBvozr/MyhLTqbDicx93/E
FE453ZrKD9az9ZebMem0W7IZSq+PLiHr+6qPgrYA7hsfWudUHq9tVvRSTzhYUWh3JHsaAV4WazDs
5nqGp0KHbzfCY5sBIkyGtWWcIm9gtXdTfucX4Gaesom+ebP6a5J2yWMCa5Jo79imYJSimOWDwT1L
Z/rVRlsetVoBee9O3FvxZlBYa8hlY9eh5D9aiz07YAMrF56loCuWl3AgI+REJi6hY94u7Uu54dQQ
wViJDdZCEnboA7Zoh6YyLNOM/WlCf98t2z4M2uOSNB52nAbXOx0/SWumsgNFkftbXSqz9bkdBd9B
SUQt1f6rmUB27Q6SEQ+mGEN6ZMs9Ov2CumgPQvk4bEexVTBvuwczxfxhun+FXc0rqY78ogHLEOAh
xDfTLMBqRywn/+8H/3v57z+CXusimY0rRe/qs9m8KE9XDn6ZZ6gcefYCFGY5DMMAVraHZwPz3c+2
P1HHuyqANjy3utvZuo9Kb1v/hl6gUWgTRPv0DXeUnj2g35kNy3m6M3Rh/Z5t57WzCTZ9c4iH2i8j
BqBBmL8BIl6FFT5w5RFC/kKjsfR7DQsfuGHcLv1+tQPa2jaGaitwwoKRpAPgrbBp8EeN+kIHAjSO
taitWNPjzJ/a8+BHb4wv4yMfmmaPFhGk4Fr4Wvz2UE3mjG1TMXeiq0IXrwVCn9sD5Mr1tMThpZO+
/5CqaT8Q9ou3XnjoJ7QP3uY9hne+nyO7eFi0np4l8VcUdDgmJSoiTcP2kUOWFmJLf8wkPsRk3POc
0qt0gO58HX6aBhW7AeIK4IKcaB2+UIFHN+OBKPX2OoxNtksXlNAaZM4y6kfsTTuY4PV5q7NLzLO/
wxhw5MkotrhpvJH4u1N3e0fCq4ZnfY7qaKxAM6GgCzeUdkt75lJ8CVhhaE9vOtBvZkoR+6yHrdwk
A3LZlysbfulZfVgfRbua+vY0h8CmdXjqFDo5btNbY8VvqnUlY7Kj9QxtHCiFhshP4jydLtM4frQw
qVpp97XMZKG89DPgH0kdPgY8+CdCKKy1QLIxxsM4dvTFe2E6rgveao5bE+jcjPrFMBglQ93v5jT8
3XEBLBgn5NMczpVT229YEFBkoh9vHJ41SS5Sht8CjgucARuXauVHQ9sHEZNul1oGS1QhkKTYr3YE
CRKvQB2z8Sk229tGwwMzDoHjjeU0GYaKf7fhsqPcvyS1ioBdM3DKyMggq4lzEGUB9JOZ+G9xIsdK
RnGT69YcOq9+7vvwh+OZK5eIfsWkicqJFjBRahjvdMLhHdyEji88QuMqqXjoePYHCcy/esYmq+Rg
c7jAu3GcZwAQFrRxEoy7YarGOXYXs7f99gOkFM6nJTWCoYBjtr4H9/ONTtGWzST1sXcGUZ/m2Bsb
7OT9V+L2PULo+WBrAO8/gE8UxbTf9+ivChKqck7/KXQLcFigB8T4NNuw9JBJGlfGAcorf0GcLtZd
dgCzC1VO0AtD4OJ5QxUro769V6vLXgtX1pRogMvxu9yACAGvHQ6eTBAA2chjLyDVG578ioVKdwLb
VXBivkkKsUjvjW38c0RI9WdD6my5g0Kt6LZHppkFdaCyR2JAKbNwgCqx+AwQjfByEHBeHjVtcPHX
ei2gydy8cXTfck6e6tUN76mHeFeAQ7FqJ8SUFTJ1l4zwGrpxsrzSBNScdrDCyPy60abebWGcHAmC
0TfSgmwGtSC/1zLZqPhOwn4segEYosEOMxAeVl4/e2fkGFL4/NEfIdMF9IhGYkVGZyCf9be20wuw
qvGdk15XeHrny7y10SUDZTMZCsLGrvYc1yhCGzi8cbuF34lBtepHPX9p+hNPu7vSAgRnpulTmsCi
Nua4goX71mv9TV0cvbbag1QCDvoYUsQPlMHNCiWR3+g6qW/fYUg86RQl3thp8rbVDnKoL9DHENpU
YaSb27i1dBfRhRXRGJFC23HdtWnYloiHI7bxtx99+ErYQR/s7A2HCRHwKlqF+/AIev6lXZZHuC9x
ZVOdgLaw5qT9QqB/U94kH0wol8PqWr3zYB/8TpcU9XrHP4RuksMQQt4E4XteJq4q5I4Pjjfi0CTw
+ibb28K26EI2gffG5HJqFNenSbED8bsnb94Odb2AZlTeH6f5kbkHVHTnOYv4KZgRyaSz2YMJ8iq6
TtdBQQKAHJSrdNIIU4uHCVykAT5/7y4Z3hR6/aHBGRY1u5nU+bwuqEx7dQugt11pgpxAk0ymCjqG
9cqC164bPrc5YWci03PWaHryOvCSKyV75EpeZ8L3XFB96QWrxs2EIBKR1oonWzAlD34Ynvq4ASxW
v9ot8pDhWrNrqoVF9xl8jYSIHLb36+IWhgLTwI8MG+9iub7Xpw4YHqrIS+ZqWmma/R4n3d/JqP0A
FO5RacRNNKLpfnRbY/dDmuDkrPzj3HEl6vey0pOwwAkWQDM9olYb5KZcbFB6MkD3EWnxqTP6soYg
ICLo+pW+azkLlNQKp6WBYgg6kiSI3YY2/ICImoErm03CzyBRZW6GhpTdgALEc8lTOw/p7b+XdBaI
LCu458soz3Si6skRWAy0r1K2GjCl8NIcDfbADLdTbVzeKwEdtMmqnln1EIevBqGqwxTxh3GFmewt
AsfQIKGBuz99QNrzdM+iJCLugW9E77qJg0tGwfFkDEkJBmyQr+hpg4k8kVp+cqjYBne+9DtwMUZT
d0GUoZ5iuaMwIUsqVQ/Etv3e5s+sVlNFYE8Wz/GMOOyIZbA0hFzH/hba3jvGXaSRus7bIPKOKzO/
fNejyOkGgqeCRdXEku2xTc10HWOLFLNOzuAOS4KWE3HVwVbdENZVFkwIMxqwGmOUJjuwA1MZBiUb
AS20SGcsLob+BlwDoxy8w912WaY071GQ7ltL9CndS1/0N+jsLMe/czWuSUElcaXxHpIw+d5qtb1s
MUwwHy4vAhAYBqBUW4AjzF5B9F9QT8OSJ5GDsBNqAxyNHWXrWA6wJsJuaavImBcxrmOV4tTvvGUr
SR1OxyjF2AQifgEBe0/IyKqWT4DlYKItb43p0fXFMSDhRMCgoapYqNoOPCBj6QYPWxsYlRFtwLLB
/LYOWy3BTocI4KB30JYe256+LkbsVg14b2p8WHtNIWm4nMJYPwZDM5+ERCLwTo9kF4VI2/51BRRS
TDrCFQDy0enXegg/uEzryzJpVo6uz4pobSpjNrRQ8ApGgRYD4jv6DNBycI/nfbCgjKtnU3UEuYcg
Dh2+KrN2/PamOrr0iXcWG9LOqlujoxjsgcUp6Kywd+joNsglUI5ONACgEYRRSfqwL1Kzb7Cp5P3i
X4clvpkOyYppsgfXggCFdlqQ2gQnPXc/bQOoc7DSVAbF3CAQp2PAPsoI5t71/18Cq+udoJBQJg97
g41qt2sQOnmMyVJIMcTnmLgvPiP+PDkjq3uMbnXmZRYtgr9WJiXMJCuSf+MdA+wHoBhKKhAgyPNj
nIU/I62VnLaa95AcNP41gLCk5rOGJlSYDCVb0sXY9UV9BrMoq6CJjg28LrSvuPYcRl9o8WcHPaaH
xK4leGaY8yN75qz79lIyVesqNtAL/MnnApahn1jkbabHJELOpOZYYguGcgT8b0z6o9RD9zywds7r
tC2ncS5oRq4CBzo8djwHNWDVSa3tXknjldusECFjEz+sSgNRgLI6zed6i0ZEI3mU6yF74ZDkdiLb
dA7nXsSQ3P1xDs9+/WZSnyCEGuCWrij21PNdDNAQ7jfnR7uoHzGPoR0/FKqdwvrgTRxI3jZePmnd
xGWmRJlu64DRJVhmbuiLxh8WSEkf3LnoJOCzJRnWqIbJf7WmPjLoGfmGQqRc5g2SFUBAxuLuEFEA
VgbhzMapO3MFrMqbgYM40x8pS9KLl3R/QY19+22b5Q3EUID50w1ljKqiJfHyJX0L7tMhBKh31oKe
84bhispdYRU+8TW9YlIBisKufkPqYcmnTb0l/jA8svang9XZ+gJVtU6yK/S0vzJi4YvQ7EIlh0VB
miS3jX/JGgjVYevJXTv/KNFuxWqmFUxyny82HEGmgZudRvEusj7KZfYZuaAHFDaM2GS650guiA9r
7KKsI+1djQk8izBfgEIzGtDmCjSkTcsytC+ioJGqEUdgdx1KHBUPf8Wt+egiiCcKeI4XTflkI+8k
GVSa6EDq6EUk8y9YSd99S9khhPQDaERWkN8hfOoRzop+kmt3RHHQwVcht76Zz22L5KnJEAVyLD01
Y7zknDdBkQBfgRqqgNx6Lg8t+WDdquBCoNEyQMplIH+pqQbtkwS2kCEizkLYRxv34E8aeDI2S8N7
zXewKzpcQkfEHhGF8/iMCglouO1ZBxbUEnAC6cHjfJfwKTpmHYWngStC1QzHJUQcDtNG4K/QaR9x
gOsNcHDbPuNUCEvZk98ZaMBEpW/RwJAM5MGTydoJXS8tUQ8/d8pOpRfIowwRKvuSmzxrvx4OFo0r
8Pb9Wmvo51H8EE04DwB6wvSKMxAlbN5Ddf+DkwokY6z+2QCRwskmvOgEFm3DnlHO7QF2vaDNfUtY
iJQjMqZQhOCUD1fbxJARQr7kQYuRHqnATA8M3Mh/USCSICR+UAgjxvmELALoJyj9BYyWGG0oyqje
nZgXovkR+iAYoCcK1xikpqx3QQqoCmb2Wz1Fb4lh63O4LjhpoEHZf1inPoYMwRMFiEPhQEforEY/
X+P5LXWRrVr/vgE0CvyP0Q8NEX+JhQZqLXZLEarzOABvFQHeURCyJzXRfwQGfCGhrALgx6EQBI+j
QT3FWgWoXg0f1KTYNego8xgJDkBqASYkbSBv+zUyBSrVMccQASFXdHGuiKe5KVqGKUyudgmUs/Dm
UUgKg6Ko89fvFVtKjpjRXG4O6QNEQR+amCXYBZOXaNBNgUkpIXwtt5uYxfmejlMeKRAbyT00vwHa
T6W5ebHE0caGN06HO7zSVVy6BtML3JERZDU0z64oXIBwDyBWmmevnicgvoNGOdCBlewRmnY6fdc0
QPrsHsT1OCumsVxTxHi9UdygXfGqvpsyAa+mgJNCgXYretyhIsH4orzdgMHjCCgSVHo5wOwWy/lQ
d3fpjeE3Nm38tqlprlrVxEU9BNizIhDQWwjAIJnjx9oGDz4H4JjGa41scILzBVnioDlw09RlKqdr
3I0n0WAWA8BhHKHQjfMwbX7XtQGTPanTVIdVvCLaR5Y0w4ge2e+7/kEr7LFDgP4cHeEx8vzPscu+
epxzpZeQ3aQnJCLxYNaZD6lfifdkxZ7GIr8alqAc5vVDkWTdWW4Oy2tQQzPDVKuT2raP/z4di+gK
WLYDQZ/0H3LQV4dzNu9mSFQzKVNomoPDZwz9eYdMCSZcQP2r1jHcEW/7GmIfAOp0GqE9XTJzpNl+
8F7CCUHXUGM3zNh8SqIFCYE0Gw9I3I7FxNlVoVa7zmYNisFdJ+MBUgp5Pg8GdjAFlAjF6bmZumfs
lrjR8wQpGiHYe+7AU2DOAgEbQSOXhCFRCTwa4b5qmqB+W/lvNBgzCif7JHXY7VRNsvzWkB46lTdc
Zje+2XA5shVPDED5A7ohhEb9qEEANHgGAPDHB33m4PLpjV7NDCZJRus5629DkLlyrJFj4zFDwxN4
53G1mPCiWe4jsfFI7zV/4EpIA/DS5U5A2gl6Xjq3ftgMQ3cs/tSkg0fQzMgAeCSBjxEcrEfPGYGa
qKi7bbDSKupDZZJDFaYnBqqMYmqWC8IPfFuAfqkR0vanI1rMr7YcoOzvUiCeFaYjYKWCQinCmEEB
FqihY5BgHntbQ57tmkZCKEFMKJfkaauFyE34xRAgAKBLc7j4lz4Oj2bttrLDkQwaw0vGuuhZrXBz
4Dg4n1QSAxo274hwNS29xr7QQJsdxik1EWoFyt2LHi0qfyjgrg29QyPCb0rdhKAPAPKhvfARemjA
sZj0QMu2pY8im9+Q/bvNE+gwMi66XD0Fp7215/v9T5OIFxa4GB0QhrbLg1m2DzVsD1zpBZMb5Glh
rC/8DplpFb72aEuAn72mXf2DeS4ViMxgN61y70KFoU8zwI9+p2iWXEmGb6iFnCMBucjCmCwyfwLA
3o3nCU31Yer9R7ORAwQDhCyy9AutaGFc8GBlWqFGe3N8e1sJttEtA+buIV0Xt2cqB2wOYxDmuuZn
pL/IboFOmiNNA80Ru3yNfRnSSXDh/nrUEXaK1vd+QK3H+znOsa99tW260xbw/DQXZPZFyVE93fNJ
D+YGW2Q+gAEDZESiisIpJiZ9q0E1L+sMGAgP1JEK99CN3bOfdeDVCawBgRjZTh7irP1usNDR3rSI
RvgvId0wAUBBSmy0KelQ/9QBThtE4/FMx9mxwdMKnjjti3mGLSITsGcpbT5YvO5ZFCr0KYAKMWnw
oCGywQPXaE8A2WGu0jbEJt9aeV1Z8JBhGM4h/emXIPm/CxCJ8LGtk1yjx9lnIdCGZrXHpMHz0/Lw
QIYFDwDo5j5OYaXwGwB+RDGz9ggNF9GWET/f4YxAmlrkEwtuZr1PCFxqmJYaadFpvCQfmAzy4Ssz
ntwscWmVvAA4echgYuXZinQbjsF9SCU9rEK7PSB/3eKyYHIdCj/nYDiL4ZSgPNhLKS6bsCcyoCSB
68zwlzJQbjF2BjOgqQ8EwVWcYdF39ElLbivSdy+C+4ALA7of7mREgrD7shoDsADA+jYPX129fOgY
+2o3Izl0n1uyGADk4SweQD/owpLuc+3MH0PHDKn/uvL77M/Ymycctkkx32UjghUCNeG9SyEAszj8
9EP6wum05AzKfU0+zJxgT5jsY+Z7rnDJHOaRyE4UWQ2Ez9BRBDOo/Y3j6vGNY1QUmeq8c/oZYk29
66T7EMs2HDqGYzPFOQvn08u92f/C0B70pHr5h4LkC00ddDB74hhK8djYPVTrqkswU6BFgLeae687
LLxBcHTe5oMzBFaDtCE2lbR5pCCNFAdIqdDzoWPEWEFMmFkysJygLb1E0DMPULrJJDw6MfDKybRD
/sfC70iXs1kCTDdk5NKq9ETxmECvKMZ5jK7x5P9yIEaQ2PB8bMHZQXF7wEQfULBJ9hVlcsrjcPu3
8eQrG6bfPTOIKmN4xehj1AiH8lZ4zFYcBXWQIfwC8TZXZKiPq/0zZ5SXmnkytxGSUpEGMR3aF0YZ
fnrBGq7PAiMF8tlBqkm4ebEOUVlAo7CYQMVI/pzI5le0ydPWoNBu1OdIsD9GCsnK1A7HTfg3Q8ZX
iyGUDaqc+5iSl2X1i6B3XanJ8oGTF813XGDqxGOdpc8xbf5qPXglA5RAvYMi7AJI9E+Cw18LfAjP
63/xZPuYVacLbr+SpQg2l7cGjzqyPj8CNSEUwkeMaMDsq3ray3Y520idYBs+gUw8rONY0hpXItW4
uJBtKV1h3l6Dbd9EuJvZOqB02neiB+i08E85+e8Icz7PaKHRFe8wcO97wSJs2P10hjhDqkni81JZ
vyYRDs+2jjCjCM9e/NUly0en6qsXjIcYz2gOgeysI46wjO89tTb7SkH4A2YGKBM3CGY69s35dnMe
jqsGzqVvX0gQSjRmsPTmTgK2KKZ6fKNL/+MSv5p6r4WR5G4Jh1GV9LtaICEaDfay+WqPiu45wews
0iMmC6kkx+ijseQEKYMZaebNYX9DQ/k/ks5kuXEk2aJfBLPAGMCWBGdSM5UqbWBSpoQhMATm4evf
Qb9FZ3e1WVVJJBDhfv3e40CJyjCuyHS5AwC9DMNqJjb4nfYRPlffLo5kq3eWAXcUM8hpkR7GrcA7
9YNxi6S4YqQ4+rLgK0NhXA9hX323esYGIx+ZNYaopowbidMnPFbk2fMNXFdnE2n/R0b6ZdYmdupy
2foYayoX8SHoPpnSXJ0u3zIGe+1pYZWFypypduM43UcTjZTKwE2NxI13MwRRmFVhY3KqM8hMwsgl
v+0F7V+9b9v4ZSkunhQ3HC4wI48IlR991F0KY2FswNvaUROTLo6ZqbRnu+P1QJAKK9swNovXMzCI
xc71HUafcXKfCqqZBrNm5Oqz8zn74nN8j8jgcTisCI7+7Lrxv3isTopJoxf7N7cPgm1bEZxx2k/s
MoRbKPlMKSI6Z81B3WAk0norI3GtnfwpY7RUx+47DtxXSAHHVAq5ia36gOVpX9refXGKx7yWtBlE
SFyHf449Z49ywW1kxUgknfUxdxT9iVh2RfNZzLweA1r7Vg7dv2561LH8GcAB7EVEEU+TvG3yBbiI
GrdrgddY6j55zkUZ5Ufi8rwnaqdz7DAeZ3kZcNmNfXUC+XvO8+ivbFBFje5iuB8TWenOLU4tIZGo
3PopDpK8WJ0yxl9RMCFsBaPMPM7D2tOPXcKlPpfcWlFOcDi4LQMQjk4EZ54uM+kufjxcGN4S2o4I
00xWOJbZuwnClvTMdr0W5JA9LnnxCYsVvCryX5T7f7kP6zTmNeGe4dD6KXP/oyIhiOBhH6YB5zXK
6ohalgzj1cyMLytwy11Up9+BizLjuwO1f312ULNVuvwplqzZtA7IKI7046SCd3sBVGXZO91HJB2i
4Lno0ntslX+gFnoY3RPUsfI3cdsL0zLcpszmiWvjlOFAOra6/c8tGgo4qqFaF2u+BqtiMLY0yoxs
L7WYnwzsreQs3muLQ3dcL/1imd8TjgVzTlG9ouvYt/XW6ftXjAvnBMYlUmJ+69p3aGQn34dSUU/y
kc74ZjcxbJpgeo168x2DcLSpRfleV3vC9fiWYb7OrSbpFNziITqqyk+2WVofcw/KI7I3d/ryp5vT
HfH3j1obmzSOOpS48alV1ePYEcrKH0rYkTjoor/CHJ7qMvpsFGQBj2/IqIN3362OTt99WEnyCjkm
oUPXSHRv44zzwpmLe2l5P9n4z7fih8mn1XTVPyePgm2R88gE4NTiqV2jX+903twnM7d/joyitoIq
UAXit3eEgh0BPCFIyB369ns/Eo6ZTI+4bBfdJA+S0ZGoNdT0NEfyGTSwjWFlvzQ+d/ZU3H1vdJnK
iW1TQ9RrJQedZ/R7ww6esde9uC2ibNyNF8wFWGMq+30hZUZyWe15iP73NRm6pB8XfGFVgkGfY22T
Tt47oekfV3A5GNTRfTA8l1W1H7v8wcry36RBRXtr/eVX5YOxqcfptfvFRWeek2R8tdt7qeY3M++4
StPmKQq+vJkLXRQpYrdPal0fpWBg0g8Q6AassxYC8nY91WAgpegA60vklMnDPMmOR2iXJ5zD1jZV
jOIhIpwYXHKoH7pVDekKlZ8qRBbhPGlBgLDs902jUftt/49lG+cqnULf5MsfFiKdmc1RCxTkNbNi
k8hf+Ucl7aElyoeff+tGmp+zlfRR9akLGGvzmZcOCnafHsys/+cQ+8FTC+mRp2CXorlZCNVOReJ7
zxyuQK82boYzPU0Z1igr5fvPJxQcW720SXnOa0Ia40zVXeBvCQL7bnT53u7jjaoV1g4azsLgquEp
TJbouzChYKYWn27AvHORrzxeByUmRhSZ81A59mse89YtGk1szt+8LsH2YXc4hK9z2h5if+S4HopP
XWTfoxe9BdJ/rwEgbJ17m/CKVPl0Xsou2uNlZO5GzrtIKHXMJYiwUBpvMfajZCqOVs/r14No5WXd
onkAVVhyxtqS05PRXS7uPeXVoZHpS0MbPGLvWW2LzNDxAlpa7KXFj5hl6Wcx+oAr8nGbm/LFtZbX
vJD3NLiXFX5Ip7U+eggbh2wwzymwbEtWn50vqr2ZLrfI8hiLeOs4uuUaXCLAitYDwv5znabfnRM9
GPzs1cAX1FEAlVRt26TA79hproWmTPkf/i6au4s1xGulOlEBvZaM0G+ZyzdtDMXjjBYQof12k/tX
CzluAd62+Bc2NunsjW+TA8S1ZPUbrYLXxWNiOXvYY72ueiR3x/yiwzdtYLy37FPLQRbHNBjEDuAe
z9eknX5cw7j2pfFX19mjau2flti7V6sLZuAMlyIFbE2K3MDWEcOESbI2PThWcGcmU0GLXVuMqO1u
/JK3rBcBhtr4ts2q7tkeOYxFBpTVbLhfC6/B1DU/2R3T64wcPPomX2EhugfHN14CqiU7kxUmgn4v
BFFoaxqQRRbEZgqBkN7wXi2ms1ErmK90MPAUrXtyZFWHeYoaXST4OIK5uGQSaxQiO0pNn+6FmXy1
XludLE+9RqXzO1ujtR9EwkWf0jXyt+DhUcYV2PU/L/lEaVlFkekHXwOI/4/YnAh6iFem4a8jHupZ
9/mmrZubNbwx+2Du7isFPhF2/BLjg8twv0Q5uvF0E3ZJ+JSvcXEE3oHaPOAnFTQm0ceQ5+PZRcAx
V0Rx0Z0k3ICw72lT/Nn+8RYkYc/rTrPOtgvfa56Kq02PvUEdVeHEtEqM6kHmVUSmrZUHApdHp40E
TsDm10nVJpb6MzfiX7TCdZg5onrqdu90PhZf0/tY3GrCrbN3lOM9jOYvXg8I8as/SCmg346wR1w/
mtZvBV92BDoC3Ke5uksPj4cYzRCBJt2apHrCGIe6mdrvWkqNhbzbUqpEm6ipPpeXEq8z5i7evTmH
QhDl/YddGfx+agzjkcI8gnLAvxrdT3FHoaq1OdaldFxH7j/kLM52A6uANOHVSXEzJeWRZO2dfO8G
F6y/94BGTVK/1YovHfXehhFKfaPWA0usuueE7XTTtQh1ztu4QklBu4bpBI/gkOjgMfWC/mCuhwdD
Nmzs1l+zKz+9nFnq3O0J9L+7Xa4PZVn5/AbduAGJo7cGk7e4Wu8h/8HKqXzgZiIDlTumAebGA1wp
aqSirK+f5np86lGJisQMHnLHfnFqC71sSHEPRMXJVs+x+y38LiAdFPDBI+lmODwdgOK36Cobz3ge
7fTHLfWu9umy0zXZo7QRJh1hBYZkZi2pPQvLelJd+50qYlkz7kPiQfhSpc+gxWZuVYJEQYff8FvZ
6M6IfG3WbQoMRhdgJoQECEN4lp0QK0JknLxP1Cb0z6QuDyk5ybvsk7sGQh+6Uv34RfeKbdJDKdzi
9acppP9INGdqsBom4iXD3JR9+7EL0CKOOdL9Dzf3PqqYJqxsgy+xwK0CuRMGpv1UGXYHi3vfCRfl
LbM4KnuiZiqruRQbpq26OIDmgYqA940IvWW25amkmUki3NHK0QdMDLfOZPpL5PjdMRnHIhyrvHhn
JoOW0FmyZGbdI59n3q42JOxIPJvHUlaXkafoyRogYlbBc0zeCQCRWLZOg7erSotnI/GfakdiT/UH
huB2hOli2ie9ZImEWx+76UV3CwMPPiwIRVfcnPQhBBC3ZuJHfKJXtDHzv5YAY4rafx9YFwH0gCB9
2hqPGk0pBuPQaQguImE6kxnMXJr6ZVTzsNZ8MlzahO95hg+Q2teCQmfDz0HKYGQg4MBadeH4+hai
teMG78jVvACmjM9ZnALkQ/RN9dsS+SaHiKN3swruVu34D5kkQcodDfw5WjGu4yuIww0JXsWUCW1I
CT4k6WLAEkSCcTdkr86SfuW9vsBzuPU9VUUUdWeXbQdhOWGh6biAxJDt0vaox4y+7WVEO/Rse22i
p/xkSHyViEe+vcoLOXGUqAOGhgTKlpEGPm9/NRzjoheKymDe8nRlqBXWNXX718EDb4BUfLFz96yM
dtoVFANyVopwp4hPxBmT0CE7yI2QvYwDoaF8HmkEGvyzPnfPIcPnOtb9a+Mm5t4d7jUZjydljn9K
hMaUqebWKvG9LaitMSXTi5IKRbhqu4NsX8woKIF7E4iH9E88k5zdNiYRvxHQzEaP+6P0SrKscWuH
qkl/+yQ5Jt487ew6ArgwtQShGuhXLDpQHnQVsykeW+hsmzFR9tldCAAEw8gh3bm7YWYemykC3NFM
JhxrN6EbLqC6vkp/8o9g8ZpdbjAlUmRoluE/0wh2IiH8pDoRo4OsN1APjteVT1Nihy0zHNIxHaCh
EqRLKUPXz07ZhI+41dCfiSG/LLFTICsnBlNfJvBjJdCzoWTTK90KqtoKnss2022EkpH+pF7r7M1I
/Qem/oa8O5bI0FIheFoYKDeTMrc2cTocjG59IVKytyOmwtM/M9buceinj9LA+cpbE+L+8C+Zix6T
Zl6w077eN3WnYL96eDySnaEk/61LFWK+6ocAo2lZWEe56BkjqI3zijInwSC1a/4svnYPY9E3ey8G
nJP+G4xhPLl9GuBNsnHIWcSHa5n9Gcr4F1fKmzs5ip6UGUVXTTXJHhKi2Kn6KthGhdnueqaQTuMG
L53o7J3S11mm1bGsTsUqelYq/tcGhzWH4JpVsy0gZ9xmCmPbWh6qlt+aZTKvfWd/zWX3US6Ts3W7
2CUFe/j/Ct6rxI7sLb2Kyfst3CZs7a+2we+hZsSBLh1fTQz9lF8RQe4vkuHjCUffssnM+V/XEWxH
+ojaFaDE0Q59M8jCmiElWf2P3Cg+cI3MVmSe2pGjdFiTZC40mNEJ/XQ1v9IDFPCLl0bdB2YVx2kU
5raanZfMorp2TJykFa2uqNPzorvhaHvU4SVZQKOwb72scn7Msjt6HJF7wmYPbpvkYTbDQoIVRjke
HTwpHZhXDP+VaVBlOX2yRXbZpyT2Yyg0YYsaj/JMY2QMt8YhujaBGWWO767oZV7oiRHcDrJlmORx
T8mx1tC9Q/M/Tr9Nn7/Pq2G4KSIZag3iGDfXf3J51hqLw5gtdG26hdTTXfpZfnn5/OFzt2zM3yCm
KgVP8D3PfHpDOx88kNn4HDiaIy+WYRr5P/GUvSU4EcOgG/d+ghqfjCiBZH4rIX/iZqkOFb0EtzFv
lokxF6sfGA11kXNikjto/U2F9gcA0SGyYQzDuDd9zDi+318tv0UCJpzKD1NNVDxJEYGPSOrzlDwL
SU2oCzxuyyC7XYPNfTtI+Vu78V9PNu9egX8pXUdTxvhskCbben5+bMaGyeVQnnplowCJKFTRhNpQ
6m4XLLwxz3qZy50edciuKnmjZN1n9XzPFjKpBgnlsWp25dzweZ/9AYlTkQ4gPOmjNi6LQsT98ql9
tI73lmsduxgNrm+ieSuD+X0axnyf98uuXhgtByjLDDghFJqXJEXsVB4u0LaBqcMIJQFrxN9GrPjB
ahuyTbV/ycd+uQj9qXwDaFdt8zYVvnHNVcAcdSQIMrTfbmTX1Ijk3we3kND9pmUTzzU8NwPHU9D8
J3GQGgGGdBzsyzaNiT3pNnS8qrgbuBlxtLCXiId20mdBPBVMOK+BlRH1bzobEKXG4eD/N41wbLye
1or52HbAlLaZ06E6K87FAUPY1szaj9K2OCiQmJKS9iFrbH7q0UWG40xYNRvljXcgNM159Nsf7afR
3h69Dx21xi3pJD7ANNhYzUfSxjtlQ0izBuuoGTNq7ClU1YsdDgh1B+6FGVSEgQ2vInjDzpDEJV8S
uzT9bbkcZ9EfLAEaUej6E5MTjH8HYkDHhL9zODfFGogdBdMz/K5jL/K9Z/qfjKjtMCtLtYHNcU+9
6cPGxHFwZus6xkfhTd8JvP11Z9SfbMy+GxwpQizjtYPRBvjrK/MmWKBBe846/rHR6Ozj0cqOS+T+
RLTeLHsK+8RwDoEjmFoSgzddEndEH8HsyG56IGKsjrMpMC7EZreR9iOlfHeMCc3nHRiKNs/zUCne
de1Oj6hdIwaj/FuInIjKPWgfzEh8Gby+V1J+hyHzwZRLf7W9iHPXim+YmIwiMrWA/0hprrAMQkjI
DqWDTK6obFCNhWfE6FpZzTwfhCashqesMV+Bma3zxvI0tIAz6eZshbq/FNYmzu/xAMgLFqu5X+bk
U7RgmPrYN0LL5/VaZ0b0Rc1mUSQW1Oy9YxU+M3JiZxXzi61Nh1Aa/4ji/22dP33Wkt1Wy4uuWrIs
TtXxXUNdN2tASU5/SYVFW5+DzYFcA0iFpU5m5fcHKPOPZJRXIEwF5Ktw3lXDlH3VwpuLsdQvNtO5
g3Cfe4pqj8dEeAhHBEH01s+rE7z65FxF8U1Q18AJ45tqDft5HpJ/TUnEvAbtDNa2NEFls45JlXSK
2oq+geBluzboaarw6zEa58HvrXcm3qh/6RMWdDL/FdEXiERbP+YOzKXAKmXPrJtQkPgldclAkAb/
Tvxtr8vFHCM3dyNOQ+n6mJNx+tJ+8bPWQh9a6gtAFMkPaIk4rIzoktcGUmRHf+Iz2ZjSdeA2LO4V
abg7Rz2g+jHtPiAJwPK0kl8EkXMAJXI3CIoqj56qcAiLN72wKYah16qI9E9aXbOYfpR0BcOUGW87
gabjJMWXldWvdZrdkxiT2eShVnHvOSHtdSWeJ+mXjyKdgm15cVKBscQf3+ccMSZ1n4RtZqQmOJoQ
f8IhwEsHS/ZYWVUf6hjXcCCdkzsQauYJxMg8FVR6zYMZEFIoJb+ONeGOoYhJ0LXIAXkIp7bwkfMh
e3Uqy0PJIzCN0oCej0LZBONwHPN8Ofj43Ha91/8mFRH6nGt360h/wDze8/ThEQ7VSrNb7PJTxrDL
/TQVh9QSB8JFNNkZgXnlDMe0jtMtj7g51MxosvRlqPV0YaEAju5wpIs7R6iT9rc/1s5Dq5uTE7NX
APEuJruAM99X2S4xeeV0Nvx1jOmb6tz8NCpvW0/m2ctml5tmHmFiVi9cZOnG9sgaZnolr8/GR57V
jzUNfZgP6UuawezFbhma6/clMGdFTEF6c6qOQzu8DXYL7dRe94/U5iXGcnmWsUdwoExO6NOSbqTp
sfkAPna2DZrCZiFtQp9MT1nG/9LRWI5u1YT1zHggXriTiqrfJVEQHDwjsXaJ+9hlub0tbSc7FEOM
HQM0HYMBpXcy4qHAQjhxTWa/tg67cm7PbjJrbMbltI8jBsp8JmXSvE1OoV6GBUEG8+LDCDKVQE6O
VO/nr31gswMP3s2gjpLhCS5nYP3TaC4MfBwa3SAJB9P2jw7YxWPTpMvGVekHQm9yIGTRQ7qF9Gf1
bBfTvHibaklkmI98f4vvE8ggUuKQli1asAK1N5HaKWdwKenDSjJg4wN9lOuNYbvi87BNu7t8rBfo
bMt3HQO6NA902+nOdmAf+G3yr2KxDwLeV+6Yz20m4HeKJgUD8S/tsSxq2/e2ayzd7F4WdNx90aTl
1XCxDlWA/vqpYPkUQwXtD6+4sjcYO+o3TrKdqCQhltQ6N5AfwybReKFEybPlU+WK+kY9LHHOyOTk
PHpNIlZrHlEenGTbgCRYyt28CXQlmAiTop6da2w+5Nl6BGbWgw274qBcNo4M3VUa3X7A/HJo4+xe
knbaWCO/IP8vOWIJxgnUbauykGWe3UOPy2vOWV6RV0a2A9WJl/ieBOLkWCUfg6acNbsJE7cyc8RY
zPnDF8a97ki0O8VIm0GYkFOzF2p+7TFmM/7o/G3SueZOOO6wnTrkLMeq8AuM78GQOxccdJYsukO5
rO7UovnA6ELSssFLK0Z8U6s3J6V7BQD5MDHt3WdMjbfSUOZZ92rjo2BxXFCZIWNzLnxkvf6ig7bZ
qJDLME4Q2LJq2ZIjfWcT5yUqx4xUV27t9EOHgHHCrtaUjbqZfvy81p18DcJ/tIxb1i710cZRkDd8
ZoIA4BlW+4ckVISWiP0yxmJLSJhyulROsR3i+Jg4FeQYIvBL9A+jk33NzM/ez4bT4CFxJPpnnLHs
t6ItHx1l/ZsW1KQS8Xtm4t+nMZjNGp+IPb8NenzQg0yQ+dPxQJjn2SFBdugTjAytmMB5nZ0O2nnT
O/+itj7pfgIi7RstgUCCGAvm7EgwD6ooIGWGWTqZF8pW/QQhi6kfzqht4/cnMczeru8j5ySCUm8B
xcYtz2+VggW2kYrzuX22pJxQuIKvbsXfMdswu54tSY3RhMnK20L7upZjZfHoZ8yox+Vg9bI+rNkY
uuS6JXDePWqwq+FkPA89WfkahCLjKLbqZQCESV79xKS5ssZnVnP3LQeewDi9G66VhX3FlhRUAe7S
xZx3vntPVMdJR44fi73B/C6d/dOSfLR12R/NSvlo7NMz9PfgkPr1f6Ju3tOk9A9p3pHKGe19molj
YZKSW6j0mCNm1xZ4+qa2+R5za6p3eS+BM/fJY8MqumO8bk+CiQZ8VUK0aHAdV4U1X8xZ7yfV/MqB
q1Y3EnY0dCImOzunAbMAbQMavmiBFDBVI3+xEjqXf6gV0anpU9ZrzXUZoj8SLEoLZ48XoM/R0qW3
DFe3WNR+NgOkHN1z4w4W47RMhV2g3uZSPdpS1CdgQqsPh5u20J049qCWNoVFy59fYO+4N+Dim6HM
nBMj2qiFiECMLd5Wxbr8xQASauoQjxOIu+4Vuj42GjG+2cvwgFuPI7CqL76EeIFXjqWNxR2Ssdhp
A6MP6oXeyMLEy54k7S5iE9dGWpF1m6NnR+LrM3oqmKn7OwyJccr6/Pd//wGrdZaM+rE29zflED8a
2YZV+oW952rGP+pFMGHqoNxGefmVjKgCMG88k1iJH3v13V3luSqDyiI7ODhtQuNcCzKTBTV2a+dA
gtpbAWUc/Q4sMzmtDyoM6F+U80Ui2WhrXRwb/R4L6xMuZ3SbvHlm3wu9IRsR97gJdnWyPNUa9r9H
RoxqBbOpaD5h0XenKnV/ed/kVnTZuGUZyw1S/XdtlMTQrJdFFTAfUm7tBNsCSW479GaXrQ/T7O8o
FXz0R8piQh94sH1MyFoNV8MjFUbimnqA7T+WzZGHe4dtNOWuM8RPNVkxZovqb7Tq05X0UiQAN3iw
gG5SqiCkVLjVtp7HWti0AGlp0932pYPXdMForGp7RoG2/QOjSKziQBRQ6WgwKryaiiN+l+XTk1Uk
E0VYkBAOnt1tkCsijSPYUK2qHWH8u2pheazD8FhGn4Rb9nFFKmvCR1RLEAZiKoiTTD5J8QgUHgOv
1dfRhP7CFoXJGZ7TInlUlDSMio9Kpn/YzgaiLMLeGwRq3henoaN4LPSDlSD9RiO/M8ZsMOcRMYXA
Q+nedR6agTUCB2NbmT6YfXvLzOC7QyHj9SVurD08cH02PAUDV0g58A8XSV8dW8n4ujcPlg/pFdkE
4D7u62BgPKUC9vCi2z6PPvRwb+GFGF23OP/vj8KJL5JB+sFuagIzQ8/GJPZIVQV06J4JDDZFFhdw
XLpu8Lft8oFKiDGRZUSP2SzKQwCQEU2ewewo3qA/bNhHd0s4Tf3EG/a8o6xs1AClx6n9ZXXJr2nn
N4xa0Vn79oOlxIEAeBsKt9LbzCRhD9iuoIudSWUgY4Rkdci+GV4X2o15aMv81GVdfyl69ho2HSJl
TU63AV7JUgsf1FZ5aVuzwpYm/pakwo8F18/ap+CbccUDtW/Bzo81aiizcE7iYk/Kjl0lff4sCxgT
fV6hyevpX92S2xQlswyPumjrxmOyH8z8qWBwQ+YRKEtFg1bYOQIkoHXp4bDwJ6wg0JA4fo3/8LuG
njRYAJWJx8qWap9CeHqSRXIYKfpWrwMDbE2aEvzcFUezvclH99mlrqdtqDbs/mCSg+q1j//rpoU+
qon/NHbFiMftDsp3x8eiZsdfHcM+W5nVnl/tJunhpYnfTFbYsd5A53u/HcVThOq2rYypZqQKiqGA
uRT5KU8m/NvGqsljKO4cadXHQFY8oahPmIIP9WD8Mc45z9Cbaxln+DZbe+qucVLn17IGg+W3cbrT
mTcD78mGK1OD5wS2ECkgNnpYMvivc+bjTG8tOIwtQ+iwMaJ9hSEytKLZIZ4wbfOE4fggW7ZFp6bA
bdb728yyKibXQ4Rdm1z94IGw7skRcbCviKxoeCYwm26DRf5h9IZDw4Z0qlb4NIdgS58DZhTWGgfa
+twR4jLgVBFuZLwnIUYWJisKIiZeGzxWJZmR4m+HMmfkwytYVPaptRXO4do7Wb0W24ypAPEYfOvW
kj3UVuh6uLRQiMkui12sIc4JrxHn1qv3gZHp00h7nWSWfHLngb6zAgyk3edEYpTE3hRnzruZ1sa3
aJ2rBFDJP2IlmHTEYnQ7mwBV5al3it8m8sl5qkdCDOmx81ghsgICbSbzF3uJTNjqNR1K3V9kpf+B
qTEI2pJAVbH1F/XLZY+WNENGP8WlEx5OJ62xBq11mQDbzL+O5BvUtdti6i9Xe4wvgsn4anrjU49A
FmbJgKn2xXu85DuscVvmZ+Nf4ZIjMKaRFemsFMytYpfLlF12/t+09PKwYPXsMbY6suGYgaBFVNXz
8oWxZsd7RUJkHZyNwrFwk1m4T0gb0y+j/XqLdw2gnxoq81+9fqnf/E6MDOvxuyW16/LCBezvq7hH
zIWKWfg4beOAsoZ1DdV1aiH/Dd18CZZxbzlRe1KmmVzN+kVPoiblUR3tArObdqCOoeq3N+SsHtlX
GGEVuPlJmpKgkLdlX9CMqzPmzPchKbu9PMTpCmT0IYY5rEVHwV047kVyKwYKMQO8keV5C3JYe/Sz
pj8XwtQ3kTnBuZitXaz6/JFYV7lLGXtmbrH6eZh3RVX6Xkq7f1imGlWJt4WeJyB1AIwHHfq5RyY7
VFwZh8qm6UDlhOtdDITWO/02qf5fq1N1LoexPQDCpy5qy18oAEy+GCxF8WjeJDovLAkmqU1AFd3a
JtYA6PvMTGg60O36Xyd6jIWZ/RAnhA7/7JAYz2z9krMB7FEMGOIWThWNzznWM69EGxzthbjrOtS3
1AwPAi5W4AFySHNXvuEnKZBeJghEybBg1hAPOieG07je5+wka6itHO6rJEGVs47tS9qj0oPxbQRk
jsF+sBUU8WMIHkcdq0+8va9YU+JT1kHF8H1zxTF4DpJezxCjQfp3cCRkea4vYA4RrcHWTo91Y301
Ce8EzMxxK9zVXknyexMN4n0CCXnq24LdoYXITty+rFsKUDwBGow0yWhWqiShRMDhXvVeeYhMTCBF
5YmzaS0Kph5jJLQiquW4CiMbGo+MnCeSGvnBQedcHZHFoal+/NQDSTku7I1aSAXm4pTnU/9alGLD
Qr8k1JXu3pQ3eZvIcecQwjLPsa2WMANUfgsszMUajXlvsE51q7WtT6Awg7AUzYRnP5XQHCP/Hjsp
RBC/X212zFJ9u4s/oBrt68a8JQ5pJ88AWFIn+clMUpTHEaNJN6btvctZL9rCH0Wn4S9tcyx2DEbT
Q6yH9s4KCULlhGQHUOj7DKD5nbjVtKt8vtr//aVgrRSdau4d/veXJOfInkT3ZFEpezOFC491by38
NH2EO8vAuahLNllbFFseoutzamYP7bJujPQ6dVmWxtrH0ppPi0mznPu6x34ew6YRY/FFjP+wNL36
xWBHcM3dBeTKP5OJkJ6su2Xvj2vlRtUR2rNdv/Kq5ZD5CpzEE4Ew1k7hFs1k+yVa/5ha9tkFvfPu
zyaC2UQ8wOdDCQ2c+y8AjB+KUwLV53Xs2TsrDCa/cZn+ybpZP/TUBnQnIv1jt/uhUANEZEAUK9Ep
Gttmv7bW526kk3ILXEzYNJOrUbdW2OSYI8vcHs56/YOYlr+JFqzS80LmyhA9FsSyGQ5+zz7Sgb2c
BywUy8P//qiyGsNJYcE9CZhK4MH/UQiFrAh4bVunf/rfH32csUs8UzlD4BwEpREY21nH+oT3Z4e5
Kto6qZVQT8FHC5bueQnqXx1ZbJZgc4OVC/eCzCV8iCdx3OGj0pCqXPgaEPC8kyzKfYK+z+aZ9JRB
QETjt9WVraoPRV8458arj7Wdz+f//YFi9RqN/DIWySIc8+zGTP103nEaQjasqKQwv9x6m0wSS0Df
OVKZOeW5gaOHU7ILivgYlJQh5tBaIBz1LQYcdyhJqx/AWr6V2pweCbZS+7jEeHDjM7ijrSa659SH
volXQ0PVnbOMz0ov9tGuXGinhToNfvzAXGd8Jsh6b00mEpNi5N+nj6iJjzXH7HmgtUi7+La4zesC
U/1RT/ktK7JxLwP0nS4wgvP/cXVmPXEz0db+RSXZVS4Ptz23u4EGAiHcWECC53n2rz+PefWdI303
VoMSErrtql17r/WsyZYMqcP2SRrR/AKsEzMptQ24tPIeTwjypsBazt5C1UiJWJJPtDdSii+FGoGi
fSP1iElfNe2F1mf10Cr72RSDb5NkEW4UWlgqOVAlk7FcM+4nSjAvPONb+R1zDN8mo6727Eju09LA
lm2/MHDbqIPXSz0esxmdYm/b9wwIk19WO504+5JjOSDzs6wg8ieHrZ8lGHqdFV+6OHxFhzc+85CV
SI2eRG9WJ8yG5oOXec9Yhns205UMSgEL+7Wgjil+GSQfb0WUfXcZNswQY8qGbd7Yic775Dag1VWU
pJN0AKLq8dkySPNIZCZ9RWdMq7C/b0MKXzVKfRCezK9pW6Pr0D3TnWU4Rk1lYSaOrS1xhwKUnnfC
cfFOalxwmmT31A+tPknDvJZ5Oj6lQa3uwmi+D8nO25poc3ZWPo7YzpeZLImE/p8NPiNFD9qI+WwV
2nxWZXO0wdMVMIP9vCBCueiMC6iGcz3jJOkRlx+ho1wNWGw7iBV/hec9zJIPctawqYo6QG01qz2o
qPwiBsCVNQ6RIxKB3AD0Z4XdnVOY7Bt4uIU5Q1AWxqM0mbJOLVFy/COfSRZkFzNqIpbMYNh7cM/2
Ya3AN5OEfDdl6Cq6yuCXB4eSmNG9y7hfoz65xB2DKLpM/5TLWRGzer0tx+6tL+THIGdxkmDHaLBA
0EzxGxOkFVXq1wKu+OxE1dpXT8eTCQp40wa4kKC7H+k+4BHAkGbXo4OCBunquMSM1DN+zbKyf1sz
dtcelG/LbuhXtnzp0GzT/qEfYBdMP8qKI3mZ2KClS0CDZIFxZpuyS1RMzXbCEfkEkuo0N7lazYnI
X4Wgj5hMBtQvJuBuh6ihWR66gLMxhgVz75F4AhCCUoMuVbCtpdoFEeurl0e/MJDklCIi/DPuRmKF
tp5S5waj6dGxUxZrK+uISRH3Q0gs7Bh67wXkvH0DtCzBCfeLWKQ7J/PLMRR3sT3CtZma7OT1nNbh
bzG3707Mui9BR/M8JyhDsaLsyk6enZ9PnSiQVSiHY34ArdW2v3RcN35aYrdrV6F6FMNqjkuaYm5H
oHLv5QoqG12MgLIRFxlOt2I1PEfmH7Tbz6mInHPjuTQhp5GRYkn9XUR09XlaSHgWN9s959IV214i
qOXsQd5ypCeiAul5xsWDUBNT6zm7hmA793A5yIBPmaSn9gbM+i62FtLdK5J/eZPumrx85mnKGcm6
C34b248d5BhZwzHeGoSD9ZuTUd8v1aUHUqMC8ziJzCWNCCuxF/YPTYVckJLk3QgGHEplaO9Bcb5J
7bmHNEeYTGaXZ9TXNgLSpesQ6JF5nkluPxbIx5phGk71WD3OlrR9BR/fqmOHkaH31hkmHBlVU5Kt
HZ+iyJ5VXDwNzuIvAzZQ4nwPUWvuwDU2Z8g80SU/4aBp9wqQKoJe77YijW6tdB0mQQ5QVBVgKVUE
HgURt8ncv0H7CIWDQ9H+wrSEO2v+NIZUnqyRiPtReUQUALQxKtSXMhzQYLNtYS1/JYcBjkMZkvOk
a85RQM2qkAGr3YhTM0nSGXN9nM0FhU+lcDO77kc6w7NzTURSwaPioIu60dyTA3dZcEMlA0aH1eR4
jAbv/T+fyuydhOXuCfYYd3XMGFfUt6KMlpMRt2fTIAIpyUFiWx6INFNQNBt/cuttcP8xHKPwMPGR
55x2MQMXZoTz3hyfhs856LI71m202G341rbZdO+E3neiUcVTayDUFMCnVTuXn7IO4DUw/Uf8da8L
hpP14v4OQu/Gvs30XIhlp3oe78ZwPgm5wjeWTvuxqnzG5iwRmpRS5qcuMdibcIR0jltmg2JAsXHe
9bXhc7bCdMaJd9elwQlb+eqIAq1ZhHrgSD3U+wTEiVKmcQgxhQPQi240nw9O59Lt7Qk1hSLyvNZi
wcQCnI5UwVLG/lhR8U5B65PogL0xNYKbm8tnuLmUxCJ9LHPoem7RW1cGgoISqPmbxIPY2416D7R8
FAlRNSyxyDTSF28ODovpj17HetWUky/y9GNqGF/JyPpXk1C1Gyc/XfXDkqy0owsp59CAgzb6+MWG
+sKSVnxoMDDbChHYnkp8i17sj0pn3GhJ4B4XgYkiavM3qhrzu0+vMTXRf8J1S7ffUkMdSVitjhWj
z32YQTcC1GTuFqxI25ARbOaZN7o57S4vLULFrPjddkjsqdz6KYmS1VhHNFUFG3pjNHo6dmixxj6u
LkkN4MJC6BAlJYQYr2Ze0AygjSHyI52qykPansuas15k1qduwQQmJh6hZUxf0no1xHfvVLvHdilQ
9DdQdTn34e/TB2XVz1qWAwLVED9E2J8STbuil/VnN6PKZ8a0S3oDrySIcBAi411mmNOL5eEZq343
bkJQD0IdX/mQIz9YXSny5uVvnRWgYDjP04ofboHidkbBNyzcSW6y7YgFg6/Y+LE9s3N06a/ahNmX
EdUQkXAyNN9VVtNuDDGJ2SKDRqPHN9RF6s5DBC/qLxDTBQsFKtiYDtCIb/FKmNbjUg1nOrUwdjqa
sY0p/slo3xrfubWcagriCbfp1lLuxxrrCWmLUUXU1MycxMTTsmKbzOlmG4zasE5GGAer3zxRa/FO
zwpIcX4OOg05XrfO3iuOSxlnhK1aHBjNhpZ2V26DuHnRsayI1MWvS5v6jDmB1qNDpmrWkThuD5RE
iYiXfbUGZVYxkb2c7+jj8F5pIRkpePZ9mKPonZqRo+P82uKLozszHaFOcFhe7HMOCWYsuwQKquSR
MnloE1LERvu10WKfthMPFF9toAn8U12M/2SYr95Q+XmASiHX97ADuifPxlKQKiAGRdcfvbZ9NuM/
Tg2QpOnsR1Lg/5q1fgl1+hqX90Pn0BHPH4ysq3aF0xzjpTw7DgJm+mlDQLAXEJ3zJCx69uBANARb
z7zSbf2DLQ1yEgjcR3qWzLYRlu2sBA20kdmvqR+U8DAoDh7dJvlY7OCLadbN7O27iY4xDyo73aKm
WxtFn0aA5xR7TGu/hgl22SZ5ETp+gt/2GrcZJO4/y5B/G2n3FhbtIzk4iFNBykQ0mwlVTh/h0wEe
0+Nz1UVnDLe+RKjkYuOgk2peGxP7iDBuUtm0UrxdPpbgRhWHeybxJAzcUx5QJBClQ8DQqQmx4Ixf
1hI96xYRiRiKbqsURh0r/julIHNMg2U4G4mDMOEj4cqlPUN28SZML0aHJiU2cdbZglhHkyGoJBCQ
qHijvYUjqqEwZljpquwqEwSscWOGW/rIPmNDJBFOel7lrex+1aaW/JNlRwdx5BjNtOB9VuV71Sl7
HxSPwAKf3TD7K0DuJu7yhvKEwWp5FDNxoBm+6h0wPdUF5dEcvS2/9QUnr0WvhBjvpVg8klOyx0h1
nyYaIDsEFjgSgxDb76WZYzALV1BWGL8bLIYAFRFt63tvDFHyzZsWb4QHv95qDAQlbBX5riIp9EBG
BZsB83G3re/sVZIG241iVhV76tRtY+b0bxNxWbLgqgPyaOvZ2y+l3/RIj7FKoX0q+Ow5tbmrarLN
jNfWma/DZN8VgvVeBX9HZD+keT9MCksYEmxMzQ47FnONG1m4N3tczhTQ4BVztM6oIKEjvSlsE3Ut
niEofog5fSX+EsBuxKKxuHiQR4wKeADj72E2DsZqIkxhIQR27Wc6fXGVeU+mXbefoxmwBT1/xDXn
3OOh58F/LHI33xV2egg8DhQclvjcG0pmFJbs5Lhvsjb46AokvEGjwAraC/2TNATmwTreGAgrcsID
lEFZTizVwAxKfcYFmbXpQGNLVEC6aOnfa42wAPm+C+oofMp77xd7rdy8RBGjf0eh8Q+vwml3cmCq
2yTGG/csU7cKCQx878F2QLLHGKIpVvwKysVBi4zYSExwA3F8ukZEWcasS2xNpCVhPg5rJGaJwnar
6CUOI1qvMTZe0x4WkK135UxEOaAFur23QsV6pzOGpbmOXsfJ/OzTheFz0+ZbrKY321zfaaT2DmIM
ZokzRQ+g3DU4eIIFHZb8pAQB8Z2HFWMb7fWi4BC6TcP/hl6LQSY7hTv1OpkqbONI8Zis7WxkCZDu
B9JULYGXFFDZLQQbM6eQCwF5Z9BQW7kn1Zo1aApIGUV0SxXvxsTIIzlHVri+/Lm0YwOmZr383/f+
exVotSn6MGKsuGa725wBfLv7JRQCaxEBidO4uH27As/nrpdxFOM+L4t/pBxFFzdI0rUMw5G8QJIi
TYrBhJnEyWGaLI6Y0uC8koFnq1FpbDoXQYSdt/O2rNR8KZnF6nHWe5Bt73VLaq5K8ZrGPTkY0bi2
dG0O/4RNtIdcGXKfUfNvZ8tRdyzftPuFehlQ9f6BNWXvBisujkU/3BcuXNrRdaCerK/QpVrHOUz2
Jb6B+y4FbEsIXv41VYz77ezFJRn7j+qojPCIP+AcAyNdpOdIld47c1h9aTAeVMnyYTYT54Yojw+B
cnnb06K4YYUict7ujMPPl6lrfXRz2cCugyGG1uJX3QbXegmnN4Q2Da4uy5QbBnWCsDbX5w6mvUNn
gfNPYZzAqNAEU5g5KBLeBmkGv5ch/h2ojEZnzsTD4S+ryOWOlQt9Vaf1hUNWTBH2lwy2xd2EfBNI
g7kPmtZa871Q2eS6uV9pZJtMJGByQ94a1bU3kzSdQ6SQXxfxdBl0isacrbAIE3lXCoLd1OJLxGc7
nHyQzOeeVzFEiVkap8RxmbvXxWl24xOxIt/WiivGz4ahICJpFUHvVuNVJs3Cm4/IC/ek+zypotNH
0U2HwGoZSyQLcS46CX4R1JfC8SWYa872a60dL66NlJR6MpybYcesaEtM4RfCtPGk5G9ae8tjjZ3y
uW5Sf2RzAa9SOwe7a8JDCOIPbvzBdlNnY1Ck73LTadBo3hzKYFpjvEM9Zp5NTNvWZxsOz3Zi400I
yUIqKZqIqcK5v2akhX2DHbxFG1dBb7nT5nQSjWvuxgUQWBF+VIuNlmyRXwPky10RURJo7VaAxrjQ
0uRSwA0Ya4ZTacjR5Od7TiZR4ZOcRvcj7a1DXdbuvs0s+qrefZ0PyaYuFlKzJf0nLwT2P8FQ24Gg
fR0jGR7LPjKJC0H4Qr97V7fVYSZoCOVNAFkDdwcnli83qiRGFNd5RxJ/nBtZ/BlYbqSy9H1ckr4W
5PegBDbaiVbbceC7tef5pUfHFPkL7ZwAWMRXyghphwrvNXe6v2rmWJxwVjtUEi9RyEDXoH55Nt2+
9CfCSbJo/BTzfJNhd+2GsNhHsIavxWSBZmpGEAyhy8xShNRmo4ANkckzpI8rYRiQrhqXMLmhLy8/
X3b9GVMbxX5pP81Krzoz7nhzxQLO42vPQedYdlNwn+Fe+O9id+EHGhixxxa4iWenerIhWcIOltZO
0xIB2AbH5NDkU34L6SBTQi/7UlXDoc2zpyIhuWLD+YVBreHN+7DjeTdIAtkwzZnhw9b5pSfVxFUF
1d5Q+GbbipR6hK9/Ltlk5Pt05eibPCGxphuvEtx0eLFKf1gvP6/+7/LzPbCCmJmHAGGnUZKBNo0J
1CiBsqOGg+hDq3N9vOQgshMy7HMVwZtsI6f2I5mgdXJWPamFblWgcj4nBD7MnsLbWq0f6M/FzobA
h9d+nm1LHBMsUeeeWz1safFtPIYG11TWBvJnphSUP/Se+5rBROqDLtW4xLB9JNPEsoHYAg+ybvzO
HDEahGXj4yjEdIO62COg7rLAMybTetAF4g15D8UbjtIsh22O83EbYQpAUcycre0KA06yQJ1Qo1Sf
GSldoDPW/11gU0vU65yGh8j6xp7f7VPtrFLbhcb4lC6+Cc/nSBT4VVtTipxQ/JknfH+LRp4zim1N
Oim2s/eRTYAmKapTxmTMExDp20bHt5riMi/md+YRz4oyLQPzThZlQmWjViBxNvM/QccLz5mGCbK6
uzmKgDbbj0YtxkPdfVdAxB5abb4N6HdF0gMEig6L/G0mDoirhfe1QSi0VW79HC85yhpyFFPVnbPU
PCgUTLQKtl0p/aRHOK8oELTy2xoBWjFhZmgOBEfS4/f+zSMlzxKWL6OCXNHQB2UoCXY2gN1eXOqa
jyYvPVoAp3HoEU01AXNPqnuPZKGUgXCcgP+mBn+eKuuGcOY4o/pypoL2uSQH3JrOxqgfvDD/lEH0
rloSd+YAdUR5chLet84ji03YChDqdJSK3iIV8AsIHfRzNEQyphYBvpVwjmgFX3IPYmkVBv+I2Lq6
buenmJt7p4eOt6IXl/CFKRxm43HZW4aB0HTwtZpv0w8Mo3pIiZPdRH3yEifTt1mCX2vwndqVFnjM
glNjuF9GqhGnBl+Fid3GaEfYNKF3CgfkqdYNFfQxRBbk2NgJreqBjMKlyQ6TrL4dpznAIQ5OUcdb
mFT3CoFDNFAI9pXD4IIIjmk2HuvgMNrRcIIX8D4aEJNk/MJ9Qgg9GSSpo3/BWWFXquWtcEhFZR87
ekHxiaOV+QIMda3MlwqFKeiAClEaFRxMhXBjodSKnMTPqujJzRtWuCk4GH8tg7dOr2/z+l7FSUfA
NfMWm/9z6NS/x/FeePrJ40y6YfM/NXmcwS44kizEDW3yMQA25Ngg31tgb7HdJQfheP+qKX2Km+Ax
VM6JxYB9rOaWHEdO5aEs30ESvNWzepfpO3XuBaUPrXWNLTzBJLYbowppMfBVnSmaJJlxw4CC+4Jc
oCgfPsyYm6MeFC6J5Jv5xavNMXUeudvBjv/SrQixKnIWUDH6ZsAVdW8zyA05kneP1DX3aP/9OhPP
iTDDg50IOqZVfUEncVSFyd2m+VT5gHBJwsvjOcIfUnUPCcqhMRNXza2/MU19l1aJyVyeInM2rYVj
Kb5rOk+cIMjb48xQdgSl5A92GTwLz2ALM3oal4FxDFSF4DknhI7axQnpacSRAUCINygnPbjvuAG1
AlgQYOmkn8mngRF47T4F96MB2tIzce6Y9FtVhDS5Jj4ayxxAs2Ajev59ZhcrrRbLrQHI63n+lRZx
t31B5wCT1bsOAlrfBPCGBf5dyf5NtPWRfG6aN523McHdDLP7hGpgV9oaQ7eIPp1KHFtBzqI0D6Au
TnOLLaaWpcS8yn+WwNGDbKq9kpgSc/IBHCu6eWl9cjEE4B+BCeySsYivmAx058m71cAkt2Ts0KxZ
Hu18+Q5rcYYsh+oQeZ2WLrg00Pjp8NTZVkQCjHE14FKpVhLcHFybxf2IwTvM8kvkeK+M+pNVrUfM
H/yuE7RN04gTv1pP+ug0fF0ygA4Y3BE6uBEa6TGZuywAAyPoZPlySkBM6uyif92EgfmHFCxXXguw
42xhIERX0l7KWD533H92Xr0Nwdsc8mcZl0c7Ik7XzA1SJVuT31W+AMkDKijQXyZswJ5CIW40kvSb
+bQMuCaihg6MSHZuj/U5HG4thTk1NA+psGgR29WqKpyivULNPEj+9uTQOAqcZzCyHIceSDH+kiHi
wUnVySlPbX6JybqU0MjUaIx+YE3vbsndMlHtE2jnHuy5BwNkIZvuhod8BfKwYKH2/F7on6OgiEiD
ZAe0WInpN3YHnVfXqbS/cwx6vCFiM2va11ZRvLt4jY4li583u19pY3pgZBg7dk8uIXmYy0DKpVjj
6FjiT3Yi/lESSkbGJTieg3y7xC1hs3Vk79vU/lrvPCIdjhG9NlBDw3uPjRldl8nWw4Jtp+ZtTOuH
2GViWiColjOmZOYZnbVGV2Kh3hRHmh+fog9vRbbKINwZ7TMfUlsKRJGkKQDp/LRz3lAL7eysoRA3
y/A+6GeAl29CUXImLHxbGHpU3OtPVNZwQ3tNN74JT26PWyfpzG7rmjZHrIBTznRITkq4MMFWeTFH
gocMeINXjyv/xN4FgvhNNQHK7l3v2PVdR6nN8hhp9ZFDdmGDNtwsXf32NdOA5VlgawXoWbDKwBNT
MF8SKwX4YKNYzh6KOz15zFgkTbHau8YcDhMC6GdFRSeX2ld9fWyDkoAby2c4tus7HHh2rvF+Am7e
t+atYlyzbRaJDdosL3Q0VrTT2O7otVTDY+2+C271ukOL7/6a8RoJDTOWyMUVKlf6AfPgzTDjjbAH
3GDpk1OHTwrTRJz00Lvp7Wbeq7PU6LxclDS6e5Bexx4PGJBK6XEAIlJ4A6QV+zX2yDENxufGNvZd
OP9G0K/2QYT3BXlu1RPQV0ORo69KmlhJ66/IiUQN1WfiRn+1adEXI/k+AbEtVs0dFeTVIxUVLztD
JHEMU+sZiK4dsMJ5DviVxIHwtzz3tGgFJoss+qwSsAEqZbKn5bFmcpXbJY6U8lwI69oUORApwMWb
Pp+ujZ2fvJA7aibzdWVBzLBHjr1x/7OsLJB1tXL8JP7nuTRsitF8baKB3Ej54WbtIavh+qSh9zot
xiNUrCR9R95Oz014p2RK/iboAbIJqZEeBcmAwb+McN3xbxVQ6NW23dLRwf6+yH/hDP2pwA7fEMrg
ZGeIMQWEcQ5lgMnE6CMwaBjkTRLT6Myj45lAAtKy8OtU3trnGbnUqDn019NfwP2Ut3XxsrQeyBoN
wEt60DnOaz1chcxwu1GdWq96iUf9KUVdn2sVYgNZYG2OuftY2LTBNLxsmZh/igacwGgNOKOGFcav
7XMV2v+iKJsxn6N0dixt0GgzJmbi9XE08HS5JtszJLAEZgr9HQSXOztxYa8TtOrPpvlvsUzv6JnD
oz1N9qGyIqZmMiDrbuZzshVosKrzlx76CUqBT5GmF+I3HD+PXSIYgY+QD43YXMEet1pkDZ5r3g1K
nEMrEWeyz25xwCnKNsJqz9/fyNXA6z1kGopIG7UtTVBKAc+EW9zbw9nhRJoOybErpvhYuUtyoMBf
kZ0PCBM8f4yC4jAM0yemXyjhugZd5+mX3mmibacjCY1z3JkUwp2g/5g4DOVBv0b7ihMJVPQcSdkU
VfhIQNAdZDjl+zAKdgwphpclMP400K92fYOXPk/ENp4ZR6OJxK/EuQbBKBhJHY/OtcsKegTaoN2Q
xvKC8LnYUczH27bJr4TtxQSbcl6vwfOICvvKYA/lloJx52rrd20EFT09gUCW7cpNnwkITUEPhNSJ
UXbnVAATppA6pgQAFBbD33FAFWHaYHoTUFeUZExtBuDRE48pG1nkIjbJIoSwcDXNpdvmKJVBtD9Z
Q/qcG+hQ28U9xBXg0zrvXlX14/RPPnjzkb5WiASKvLllHhHhC1Qpkl+3xVwSwXqKXTONr7ZL02Eq
jl2mr0nUOMdqQbSwnpvdevjGl5tyOCP3TrXPUG9X+4D3jzZftJNFQeNjsCrfdJjY/FyW/3318+X/
90fqLIQR2rAtx6WLP4PfuDz3zP2Tlh29rxhIp3IB4IiGrsueGgEk3KFgQJYPatfaDxFvopbMH3pj
ms4ReqrE5bDZQPxKj3HRUJjSfelSaR6xTIsbMO3kvGKgZucPozOPFlZ30al1aCOa4nFV3gJh7COG
jUQ5sVBJz75zs6lgmN8Nu6knGcTpj6OKiL+OC0SH/fhYukpig7WAIJIo6LCvc6tgZSE3BIxTH+PO
qrDRl5QdsX7FLPESTvIuqa07Sw7P1PUwyE2yi1DZFYVJzRBCzOgAUAiE5zttlA+9qJ9b7qgGOrnV
eJyocQXabXAnaY1uA4FyGHO/sY0Kxke4o2qlTgY+ZNyl6d/YufVsrYeyc4A6K/0MovcLo+2vrAIG
sMjxX2UMIcg17ysoQcd0ZxlLyOPTUzgk5tkLW4bo66XpA3pAZfBnmQ7Y/ziYAuPaIm1/cGV4xlro
Q0q+FzFgkKojJgEhSF2yCA8YFbDvJfBOojvTLEB0eomPpvp+iLrvbByto1hH2N5DOCO/nFjI9uWC
UMUT4yV0Z7+H1YNA6QkBFaNFt2OhB1aN3wd7pAQ2xFgy7khpDONfRq+fqDMQo0zJW0b4J8yf27wi
cFtmSgRjpCTb91dUEQ+j0fa3YMHQHJTTHy9lMuAt0xGN+iVIDWZPJeAGVZ+kK89lCzNtoane6Pps
rqEhK/bXMoq/fWNfp3hmktY+pF3yOvXLSdb6Vgb3Ls49YATlM6CDVzs0B56f77RPGJEpBORtbjC+
bphxvEPTQBOxDNUuTChhhnVmBw/XpJgNkuoTOPUBSwNtjxxas9QNNKmy3kRevHM9Jm7FJJ+Z3+NE
C2nQEcFb3EntoHTDraXX/XRk8d0YQSJ8mt/lrvI+3QibS+H1QGiCge90YNiCEqtNExtPQWJ9VHNQ
EPA6qTOwCxCZMba2IDnaqbcik1EoBYbX+EKbtHV+Xuo4Ax7b9FDBAs85ZqY+92srtRN14f80VX9e
/XzPO42h68FqwadRSme66ErfSbeKjzb4WJ7XtdkUWdO9FvbfkUEpMcz0oPr/bURNogZtOTc0mP/f
90PSSo7BOB5JJczGi27n2jcTy++btDg6JtwiaL9tbb/h5oI3I3fSNV8orJHuImpCqg1CsNHAbcC2
7JKkeNLV/KYy85ckOIL1lpEcMaspJojNz8+WqeD8VxDfAtGOHTOOmv2kgW6XZa5JL46rPy5h6yQi
VJpPqCOcLnRRgdegRzlUAt0ebbJoPCYraz4zNeh0KKMJAz5upjXDvIX20U97BPbsoRYprEtDh7jg
521NFscWOf1cijMRz9FpilJ7x0zpSg7SaCTLTXndi9nY7XnNot/YY0KmkqiB1fOEnSZQe1NqrbBq
3Jt4Qzl9heTGo/pbJW0Y8zmaOIE4RrHD5GngoJ6gXqAvAogtCq8L0rpYuHBxQYDWk6oOup5YnaZy
OtE3uQuC0GXITyr4ikNHwmLuiemu/KLrOjJBvDg+di7zWopX/+fCD6z+e2Wtf87D6LaFdg9Eb/3y
5/J/f+7nS6OdbD788lihjPKp7MNNLQIMvAtBJrXzHOUWbuv/bdPWpAv77Xr5+d7Plz+vUH+CCp2n
889Xig3gvz+mfvq8PVitOJdIpJLVm7Neaoxkfrlefr4sMG0T7QfMqLRHB57bBGysw9tUthF+sAa6
17DQsJjN8b8fYq3bo7f+JMNV5SHsvecxrJh0jW1u+sytjf8uTmi+xPCg1zbFWidszMKGTEF8OfwS
fPaYjwzoTfNvMbZf2SLKQ+ByuF3m+DBPnPElGVsNzMIlJHhqXJ4XEz4Tgxd6PNjdbcDmFtQZAhOB
GNL4/BVN6kgsEJrDXWzL3q+pmUwWXeLHlt9VUj7iXzZUfYgm19lHS87o6RuYNd+M3DePoL7Qdu7q
Nr7x3rwaIUflZtrHWX23pMQPiZm/4Oj8GqfGcrCtf9aM104Py1damu7OXMJbRg/U6r342E9kTLqV
PHZjtqLp/J/fw+mq81B2J+bWX1013VQApc+S2k+C+SAE5spQ/00Ut7hSC2lhOK93Cjc9/ceZzdsc
tl30NnXEONDl+EDwSFfPocyq8QxRJjHuzRCFOZpbm+zPQ0UgymPg8rzV994sPHAHZC/06lGBgmN3
UF0H5iB1P5q8ZS8CvDGWzeMs6ZNiXFi4exuCKOqPomkfaeS3u4QPcxMtwxGqgB80yOpNN3pTr7gd
zzQPxhRMshE7zT50vntQQPfAhd29WKTcLJF+nuC4Hpgtv5KfkvqiwVkTe9kXuze670dQkR/uZPyu
exCMvZzeyyh3sYf1981Utdi9ZfQY5ckR/84XbH0Ark2Nbb0hBs9VfyMbQgYRRf2xdh/F8iadBhrZ
sgxbVWaXRj9T0gGZ1hx4LSN3jpbr0PRN1bkwOIsTLB2dkKIdcnhiR+Ay2Z7Emy3zCFJNUosD5BI3
1yr8xkC0M23JjaHG92KNY8ybl9LD1YD5llDMRJ1yd/mTNOLShfjii5JCc2wROsV2j1GAAvFnkB0G
kBsjxppoJ9dslpS0zHjF21soy6S3js+7C2IT4r6X6OzNy5XpdM+IEiinl0jsUSQqe8hoW1xTMG4o
k6x44KxUEX/lUINmCPcHjxgIJtlE/1hvXUS/qZPokxoHr5wpAnXo7qrOxWU4QZiY29+1EBzacvwO
Fa3FmcxKVFFrtQ1XaMSKuIE1QKPXRH6flla+86zyWLT9X1U385nNmYkDNDNPM+NV0NimIUFlNXrF
IYUfXI0HfHGMnbzsyXI86hQhPzua42YV3dv6tKxh7GWY/4kGwzh69vxrqkVGqBwh5ll+Goi7PgJT
V5sKPAo12TzvPRp2oVEfmNnzkEHM2+VOAVy1DMjFhhWPkRN3U1TV+zEErtc5J9ZjWjFxEp/UwMOM
gbc61YnL7L8gbMtyaRO7KScU/SgsHkBp1nfFkOjdEOE7cDmcbVCUxoBLyICw4oOcNFaXkB9kty+K
fgaTB3qlJmXsoVPxIUvs8LIkxLX2JZsgECW8MBnm0az/V3unLF0nePy+GCAM3yiX8EHlKQRn51bV
nNqmGFF22MmvWDVfAxl8QAKYIsXpwZCEREKX7rBxQn16NKyROxZC8hbp8tklYQIKV7Q3qrMtFxqJ
BMoRUVtnHqeejp5DJCKyS8egPwVxqdiC43O5goKJFpF4d5gVEqnAiChXJqopvS7KtqTH9gDfHT+s
/h45DvhLCNIEktpDZBHhNLvTneXipZrcydsP92Tk0YXR7d5p+9+Ja77LquWmmGlGNHR9i1F/uyhx
Ys/7PTAQ3o4pfajRU09O9tedCKXiRDRwkMVlNzWPOvYQJtEcUg54nb5YuaIj541oCR+D7A4NRrOh
ZUVGX4DvKrp0LSDnqUfdzSpMCFlrwIg2FFi+0YGX+T+Mndlu7EiWZX8lEM/NLONgHAoVCbR8dpe7
5uHqhdB0ORrnyfj1vajMrkIWUI1GZip1Q7oKF500O3bO3mu/tOg/SPxxt9TOd7Rtt6NpPRRBgU/b
jp5LM2KgbeqMmdwqdkyMk6RqXZl2xYpkSb2ZkNXK9iV1ifDwjNckMPKNMeovmRP9refl1L1zE51u
raW8KAAkmHBpjTGIcIFMv0w00SgaAJzZK8PzbsMqf7dTsK0kQD/AHd31Zvkx2N5L3bjEBpV0uwSm
yf7RcTwkVa3zHKjq92jDEZqCdj05LVA5urxXxInCucmPyPCptazmfhDZDbC/e4nuAXllIBj0Ko95
VfleEG3iTJLuLDgbJhQGuTbjSioSbQCfIZpsvXSbDvVayex3rOWTORR4XAb0JUY1k4FhStAE465B
UYvKwieMqb+2hfcAiDM/Oal1N3TVjds67n40u3LjWeVtUQ+vyFzIIWKCgh+cwXBlrhmQsoGD39lR
0d8EhWlsCx93fjPCDFWkaPuIGKTFmB7TTLal1t15TBx9236SPfGmPG7aiJmhxN5R9HCv2rTj7PNG
QsOR9nm4kSbDIbQSqE8lsYbVzKJVdTx307R432BIDiaJfdIwu3X+NiZaoKeEcpmOY3XVL1zG2QLQ
aRTjbawXjHA/HAFzEuMjmcyUk8dNcuSGq2IOrm1gn3XEkj+7JrPNqGaEr9AXpceJ5OGQpjDeWW+4
zvPhrbC3aquqottUkuOzCyWxdeb+oDqTpnOxtoDkLD+HvPmqA3AFQ3KF0Dbzx2oHHjdZzSPsK8VY
c5eU9Fc43Qp6R6AXI8f45Ck39pl56cvw2RJmsrbxZ/BQo4sUJEDl04BibuN0pIipPCg3NSoggGu7
zAXtq9VbodnVDT95GG1r35D2yjbh7Uc1wTydsIdFHjBHx0NrTdgTrN1K3BpJuPdbTAVdlk8bq+81
p0cmYQwIXtMY8qSTpQjrEIGfSuIskLbRrazar4FS/tSQ6CUSjqt+Dh4qLMRj5Iycp5hxMG8ou/U8
5KfOWnARXnqZkjZaq4pplzTKp4AEz0MxthBcS/k8szXSVzcIvYE/CHf7Jmyh4NLXR1kylziRHYVT
2SrWTibugcVOD04GESmeu+cCNdBWMszu+ImhQRmcVvXaRvcOaYpQTqx2uzCtvxq72/rS1FemD88G
zi1TwOmuLjHGt6Rb06sJjnbLHMPOspSxL1Wxpy2byQGABSwD5FUAc+nD+rsZi1+hzD51NkS09crH
IQyi6zH/JXywHyXKKxpmQbziTDHs+nBRBkJl7MtsJxj2bWko4v+e/HzdCeJsDRpaV472yUaS/qEy
1ao3GOxhi4mxSDTlrYzpN9XB1xQ0MwIANklifdakbFOVw32eGU4CxvLWuowfZ5EEp6ztrkd4flsw
p9ZeobOeR4cHKkI6F+betUfXU43y1UWUtUWCvuL0OhwAjCsUcvC7sNEwpKmnY+/FzQ2J5SM1Qq0n
+xpGEk1Bz2KG5cOx9fyIAxm+I8wCX5hX502zZHMXIR1jkwZbZ0qE4oJwvBRZuF/+pta+yaPizh/Z
0Ap0BJhhubozz82msS1QDD07sGVxNPI+vLasdl7fYORpw4eQj1f9S67YzNEKR6TomNMRwl1E4Mz1
FKhfsDSinW6nazoID76jbzpFTDz42YnHxb9oUUmay+K+65xg21IXHen6sI7lABMaQPt+Sdc+tYrT
6Lj3oRNJQgjIzS61zZX2opNuedFBJXEQAssAUgeJCDLtTJIWXgyDJc9xwd0vC6hi3jIKkJeBhfA9
05xfo5Jc+ke4GdHeJsmcOVeBTCKvWDrBAtVTgU05ibik7NigsPQ+d/0v+BDpybDpc7oWWo0c9Qkj
I7mykA0iuRJLCUn13bqw6YcZKpts7W3lOU8VrS+70sbK8piJWL38CAg/JAu7ORitWBVTzsSNxt/V
uOK5gDITWOccDcOWAqAp+/RcNVWCHwdGhsPwduvKiek33vSUyOBHQs1WhfNlBbZ6dUoCa9yMl1Fl
/sHAlzmoX67hAIdADdaLBoC7cdsq/1equuDBMi3s5GlzO3jNcFR+U96MPmMdGuZEcOUfHtGdV/MS
A6WYD9DygmxqBJnaJZo1okxVve8RIBKNbeQPrjGtRg1eE0gOnxVgH708+TXqqL8Fp01GwB6hCMSb
GHNYjElGDZZ37KalQdAJQBoG9GShW9guyQIbvfcxXC3owZwrnL3kBrtCQBb2zpInD2EzDDhb7Kvr
MQuwNbQjEwDEqVeJQzIkka/FVg+ug7RrvIOhKYhHiLGzer7el3AM69yCcjThfYvkMqWBELBe7Epu
lWFEd0oFaaonHxoNIRnWVPsG1PAgZTzlYCz13FFzHqFEl36AJot0FccYrtueU6Zo4aGTUp1dKUzc
SE7v+R6qAsd9IW+HaEacfmUzMQoK2TqXA3YIhuqqyhcWgQOnGS7lqsTIum67b47xFSjrdKXmVpJr
rTBWA42X3Ca7XGFk9EBdd3FggFdHmtCN3bYMW9ISyn4VcGEhGhFLGcbnyk2PxOdidk4csiFGPJVD
dmzqAKAnjFNeHkKLNidxwB2GgFUlH/bMmNFCZPl+ahhlSs7AhSb1zMQBcBVnhrH3QGUGvrpEg7mn
4BI7Q4EaqoU6DrjA/JmceidZcfqYD9KOT4YBRY0zABzmMNyDILwmFfsO7vFH5dYp+UjQ7rq6OjFJ
0pYrDy2jSVWFd6jUk60pUJr0Ae9a2CKMnvJmX9Aa3oaJwXIY5E9tK/qVmbg0HrORLbNcyDk2Difs
gDg992Lw6RZK+HFmRCYAKELqvwYVcHA3YaRZJ/3wYQYFdFzXsTHoZHO2C5rquay7YNt4g7yyGEwF
KCk960Y5Ce3SpAngw0efQTO+toxxB7izVC/hc68xD0SueBwEaId+mhYQ5qR3JswOI6WJZy1LN9mc
zzq9JxyKQSrNBxoCaO+C7oaePj6DzkSjNhd3E02UU28+RnNckjgy0pA3n0CnNOtkoXkbpkkLkyB1
OHD+c+TgJ+3m6YbCPVtVA/y6ERpxIfShNZx9UtXPcTh9uRgU8tgA+I25XTu0N8cJcFGWvQ+jSaac
ILvYFjWpbCG05RxbRYKOgUAyzOxp7R28ViLNzRmuGGj/IuduVsyyS+ZSAewRBjosA4A63ib7O/RB
ZyTRY5pUr0HHlSgycWPNS3Yn7yI1TPUgfcVkEyX/1WRE3wR93YwbU1v6QABQsEWr/NQUZranPRxD
3fC3JcKHDeSPTahQxQkgv9sSZj9mggNMh3mLNfatNrM7RshrL/Hkyp94wkwlMVOU/m0zEH9FxMZ1
pZmJTp6GkclCwJendZUY+ARRa21IekG5ynkIYiBLgrcgedAUWTbz9Py3bkhwtL3l3D4gaByibakQ
+48BIWh1QeXNL8F2UWzoYdgrIseejZEenpEqkFgMkKbB7Y8Ooy1yp6CEy2VnSlSCUy29xbRK6uAU
3qs6PUy1ou5FRtzwvGTdCMLfVMGCSg4RpDo7at0qZqw7R2vIgs0OOe9HAf5wUxrXXulgJ4u0SaAH
gkoVXOyULG1Hy2TdMO5gRbCJSJXGVWypaIPKn1CniEVCZ+NW0yAbpUhxijHzVk0z7ueYmo/zx9zz
oLoQypEXn1DvnXsZZ+ugYAZtI5RuLBI7CVc9T+W5Tox+HRXsG64LCqBtl2G/vvRG/gWjDlAAcnXH
uKus4Y0kdGM7sJ8Sl1T/KHHahEyAgei0NlL1Oq6uF5FhxBo6+hDY3Mx9ydzoI+gQToW1944uEU64
wwgui83gquX8yqmd6R7nsSSbCVVmcZipp42xu0artqitsZqny83qcX6qAgIOTObHA0CUcpmratlG
22IIzqTZdntjynDszr/Q3kH/AelHXyDCANlH2zac1CmKszOySELO7LrfDFXwSqHi7qcwIcPSeg2Z
OKeUhNvaIYxpmtg7CXjSKJcnAQW6l9yBuiDGzaA1l1DrTAVbrsMJCPf3JzZubK0GgrGABYizaog6
nP3PmT7nIo+2mMtAH4TwAzmRQB5UsIWWbn5WWLdO0KB1oZ2+AyGzxt7CIIrRy1U7dtFVk0f3Uk3p
TcqpMJYaDv80v6qlP+YM5CcUaNQXugvPOUnw+65yL7Uez3AGzJWBkCHxPWbn9oIvCNGZwzFj/m1s
MLVyBJQMmWx8lsQcwffKIRsIYtMb3O54rDJsjkrvYsyqWm3mntCYdglyKi0dE1ZeERZDaxPokQ+p
7TyhuL9SfQ+lCsD5uoUyW7kLQ6V+VDOwFavLfzeyecHZfkhduiVNGhsr2NKbfJoEQkj9MtqsX75j
HyAHfcRAO4ME8Rv21lyO0D4JZExpy12465763v1qsUataURuRgkgPTcVbR3fMlfVyM7HQT8SaLNT
CT/QjiZO1LmfIG2A88R59wn9H/xKuYx4vGDtGCo/KPsN+PBtSbGzjarw/TVwJTCZIq6vJxxp5QIA
r9LkmCNBQkFxZ9X+U5JNr/GA2BHXnbxqqhENg6SvmEp5b9ojrSdjGZ3TC6hLjrUZDZGVoTwET6OM
dqNE4miltdyREfPIg0dpS9BCFSIwSRN1Y9snd4lLkEZv7aZoZgnN1nZObPDEGA4Wro/SoW935Zzf
0TTF/oO04Uehjp6P4kOCqMhNg2rcsqLTpCe5ikaiCKx2vBZK9gc6UuFUD1sdU2h61mqAcL2htXiO
M44bIwNDL6FR1NDI3ceqQypq2L+ofOdTXr21+VJuzsWwcbK7qKQTlU53JLT53G4SrYZ4x4j8hQn5
RSV0Wzivo1jSyUsPXHAfecOeuIVoFfqze6TheNXZzV5MZn4h121r+hPHL6e6jSKO4SNm2DU0WHej
LFWtk0F7a1N6J/7X7kOrn/ZzjdMyiMnIGop7vQDzndgwQHGiMUFwtIswulzFNkt8Gw0feUF92BHh
pSJsjrbjykU1cPQdlHvwWxkgi3XSGNV2kNOXBX2rjmnBkYqngXlQ288taloi5NLDQCwQjot14+AA
z/0x4HmlCxigmLaxLw/MjFbjb2Vw6u7BC9s8H5y4gnU7Km5Lg9FZe2yhiHAfEwjgi+o5Z2rJhjS4
m4WBwZKzCBvzBEbhh0R8/ehnICyk89QWrdrbQv7OBO54icd/MjEikoN3II7cjiJaPnH4TOooMyQc
52jMDmnfWKvUAC9l+qY+0H8kS2k6uA7n3BByycbTEN5bwMuGH7j7XAQMq2lUpgI9kduifTNyNHol
cyJMS+EWU8BT7IlfgfI+J+Gfm9q+Nefx3c0zkPrY4jgUmt+mRVEHw4AJr4Plp75MHtDSqoOgZlQ4
Piqe0CEFU1jjCwSCfGzZqrYumIkrwU5QZDn9tSwJd0CKXmPh3EctTDgxRduB0ZDswXOYIfAjGsb+
xmyxWIY3xMkyAnEQxLeiOUeJ92aD6IbBIm/IgPrC13ZNqPWdYBa8rTTTPX+0Tj13CeOUubzSOT1S
zdnUqbH4Ow1TK6zWJAofIMMlV2VAlYPYynMYApcWFVzRjvSPKCYDown35C4BMw7fG58kIk9P38iI
6g2atZUY2oNlZSVpZH11FU+SF4hZd9dHVXoTxeaHVjykspzfY5NpZZh3B1Mz3jVppeNv1wMGFz77
+aCoa45IgVDRF6xiaNRFPkGEQQjpTTtD5BinGUatBy/Yano1Z5Xc0FPwd35Fm8ysmI4TG6ZXeV1P
u9DQN0PFqklCibdPGvFhsi3tRAkRom2bG0TeKanalr31xoZRYUQz0O2VvwSGOfuochH8DqwgcQlv
n70AX5aOb9BG30rilNE+wMarfX9bzPi75DSVO1Sp75kr7F2JwtXCMxn3XFXdeTsG3u9mgEwo9UeS
CFxgTLLWX2avgNYU9lc65TccQU8G+tArr0mnEzEW9WG01YvRzOZROGwvqI+eEE8GK3rCsDvjJrlk
WF/qDmSInLS+N36Vjh2tDaGt/ZRw9U4O3Md1p4gtTrrqnPB+bet6Vps6UBBzMFvFqrik+S62gVwG
FUdD03KMjQzkQXTJfWD0xG4spigQEJw25vJ3nPJqi3JaFe6QbZriBi/5/ZT64bqyXmSpIQRG1SUK
kFlIG4bpUFpfKm/MVeyTWG7z1Bl9INd1x9rRWLl5lZl6R7ihb2NOBXCDr4WObV1Hb5bnfDFBhK2j
KKUrI93VMdctWAgBpo3yzrLMW0uSwaksl5SN7hNa77zR+KfGERGBJep7MkYmjvBINvVkfIDwSBju
pLBCayu9riRyIXg2GwadhKDlwlhxvSk+CNFjfGUywnaT+BpcG7JuQO9zihl76AF+DC59aHySIAtE
tM+65NL03kNbhQt2CCyJz+wnacpt0Zm//KmGngvQCtOKf8WQTe2CMiawIOKm63VNi1Cl+7aOrRsc
wMkg3Zsl6AAynbu3bSqhTB20H16LopDcdTx+QqTgT3znRiJnps5DTnGg/wT60pvh1CMwXaGlu297
5nfLWwaLfyZxm6MSUgHwj+l0wUw5lzSnKSJbWmBOQDQcY8UuXWPFYEz9k9UavqjG3Ge6fk0ZesyI
ZlC55hvZwAUZHeb7yB+u6OzTVDY4bUyFf/BgR7slwig5jpuhE/MN7frFX9FXTwiT35rEPiTg8e8d
xz7XTfGKVipehTSDEc8SxFlzJt5IhG7W9NrPnb/H6wZ0MEWgXE6UmxFhz5ZxT5SVuNUUK4GU1RYD
3YdtZZADAW4cISw6K7RF+Bxi8wZ2yu/hIuw22TC55NHBvgCGUqB4A/AC7AiOGhcNqwZifh60WhJA
3bg7qSykbEzm2bIefNvB9W6u3QDLaWjmCDbnLN3JpvG2AAJRMBUlY/ux9s7Wovu3Bwfq2xAW3EPJ
9wiKgAOAQ1hckWiin0gHxYmOft026NsxMO6aYF8SzMDJzTh0bkxG5427qNC5LFY3/cilweQEoD1k
kR/byGEDU9OpKc1FtZetzBjmg2i7PbzdaQ2HjpSNFMSuZYNB9Wv3fgCg1iJP3hP0hraICBRM9JzI
SFYg340VtkwaFgS7306uHXPgs1doo75sFysDY5Rm59qEl43um5W0ajsDI1lbtXmhYxVsku3YYXQi
wBycl1sBUUZBDLnmuu8YpUZE+q0xM/xCmM6/TPdE6S7sTNZrv1bEt0yTTfNoBxYPXBb7294oQgri
Tu8j3t1dw4ipnOZdFxfhjsDafdyHKJHcuV4jfdhj43ign6o5gIEox4GAE2Dk9MBw42rsGM/yzN6R
uqkIGKBhMbrpTeNn1qolCpmmA/0wclDlNnJsHAM1+6BDcx6n0hs2VJj0qnyLEWhSOW1Hpuv0I367
bgLJb3QfhOi/J8kRuZxQWxn39Dphu1XxMxwWatbCe9XwCtfzMub0sppSmVpka1c48mfGojtBEgVB
0ydOX8UhGN3rJYKAysaFj+ZvhA6sY4hZ+8quygs1EIEqOMBWolfvVo23vfGI4hyt8WgW44t1Bo8x
7MBHM+TLkG47HvD4YDrnuNM2QCYM3AxkmlY5gXaIcWxQwKsZdSblP7yleS7uhXTCnV4J5SbrfqJ4
BnPiHccZtxrJ0ttUfk3gN4Br4I8RIQIX5swr1Y5Hr6XtLaXr0Z8USItxW+BKMOwofSxy61Fjhyc+
PjsYWcgjZInPTNsInfdTp88pUQmrIl3khQGNKgWgzHbpkVTYJPoKDloupm/SWkg3YXQQUbrQbphH
WBBi3OQ9j2VkWlc5J1aj4JQ+m7mx9owRMQGLiZnhQbW3g5Oe55ynHfk5G001P5vkhBZjBrzbHo9N
xlLhWc4z61u0ilux8YoQWGbxUDNbhWXdIIpuHGCYrOM6yF9H+JfrLDoHpvsZCPCATqnXUg43HPhr
UnG4PefBW6ugfLYk+Xm+IZgIWDTb4w6GXkOsoGO16yhAUcfCd980AWJ5uHAljYIsIVIKuwWHM1/e
9AO/XdXRtKq7hglscRlD/DccaYDzAIzqU1KW3XIjaOyg4BMEVmzAexBFC4WmQ7XRRCmCYR8BZZOw
uQ+L1tal0reNL1kbCYj0/ouCca07vOGaZv0a3v/eOi6/Z55bkHDyZxtm6FWw4N9VjF45a15QUnK2
LpNPC8WS2Zaf+Bq2sAUi0lzi674N5XoGzdKY83U7NPLAwHkeyTMjUNjSBL/jUDiUmGdt1CLbuOaK
0PJ8AF5pbpIR/ogftTeTYX/aIIlhu+SfZg5wIXGL10WqGjgOT2Mrafsjq7ScEb1A0xN0FuKmCMBN
biNJgyAh6xjeOYtOnAl33Q2ofgwz/yhSpi9j6BksqIzlxoATEvwpzlpegE+/RP/25x//9vf/+LfP
6d+j7xJMto7Kov37f/Dnz7LSTRLF3X/749/PySfSl/J39/PX/vPb/vUv/f2xVPz3//kt/+MPWl7O
f/5c/vX/fHnr9+79X/6wKTpWtLv+u9H335Dku5/XwC+yfOf/7xf/+P75KY+6+v7rz8+yL7rlp0VJ
Wfz5zy8dvv760/m5Tv+4TMtP/+eXLu+Kv/W/8+i7Sd7/2/d/v7fdX3+a5t+42NIJHMH/kS3BTxq/
l68Y/t9cD9SjEL7rukFgmcGff4DP7+K//rS9vwlfepYQPNyoXCRfast++ZLp/y1whUA5Lywhheeb
f/7fX/tf3r//ej//KIg7L8kRav/605WW9ecf1T/e6OUX86zlZUmffxWUTEf6rsnXP9/vwcjw/eb/
qiv+M1fxkUPply3nfdEX98obsdgpKM9TXkP+wK5Tc5C/NoslRZUjxjaEDrtFRI4ozHcxzOkUDPKC
Pidm/jrKHlxLlZcumspLVNnbnky8U+vN9JsZ16x6u7yYzO0OfqqLi+HV3kb3gIHakPLT58CZ0Y1c
i1mNlHkQ5nyZnrh+X7Gu3Z2P+fAMjb7ZU8m+pX3VndOGrpHgoR5J2U3I0LuYVpiTn8Te4jkNtUsW
Z5cZN0su84+wE4oggGrEf014gMip8bV9wBhtgrWos3MfvOSAArwQ7lIq9QxiDUuNLmR94aBibFFZ
IUbsSSYRI+PhYjzYlvB3dkcGDspZmBsVE+WEOdW57nErpPlhmMyL1TFamwdKLFXDQInn6fLzwe+D
6UKDF0SY7Zvb0LKIcx3wAtVlj+CoJBV0nC3cVu7wO468aI85s7yo2oPN9XOBrbrdzslAFWIxfoxn
LlLaWQhcfy5FjKmNLzMyGURHPlZVAgoLjOzSeE9hNCRnjjbJ5efSh31bbYA2oHvL2n6T25RYshvc
s1Xl//zw88cK9y0lLBxhlXnMoZ5Qvxnn2nJ8MoNNna4BE0G6W/5htnxwcHJAjDSvO9p0F453FBBq
KFn0WodpV3ZIvM472/AYzj+fIQjyzlXUk9tRzpuAJDyYmNo468I3zj+f/XwQITG/mInWTkVIY+dp
RhQg8cJz0NMgN1zG06JvDvUmM6O7n1+Q2sWielh8bWYQLrEc4fnnMyz1cGNtxHrL652XG2cmYWcX
cq6DBGvAYYjdjPSYnz8j+CPM05CMcMh+6QE+vBJgYa+GBIWMNth/wCaWKPlhonfARY5dT4OktO0O
RRSHG5HH5sGf2FDdBQNX4RR8T5v2ZlA+ToaJWbut2hjSVHyKo15sBBxZhtAuu97I4LnvEoe296jO
bhJhm/MrcrHpc9KadJ4IJFaY8Rz10mX2NzXs8G04X8h7iRqhpN7B7LgyR6/4wPnFuDEEnB40E0Gw
JYPgcZLDvZhCb+MWGGzw0rnAXMk2zZ10PGDpGUA6szE7bgDbPUyLleWG068iuTeG/hKbDmJrGjRp
vvwesRHeMmPP3ky8gUS+BBUHzYyIqwRDat6b2VmnWXycdT9s+yHaQKlh5jnVuKOrqL4bDescuYox
RB+Un4ECkj899LJgjNyHHeuXkT7WXnt0HA49WR16mK5JtLTR5JcRrEo3UC44KrWQTkVyaAMmNXaE
aDtJ6/ID48eG9a343ZXFrV9EL7BZwzvLJeFx8gSk07DEsepATR2Xf+abrX8tapRzmQHKHGUvIp+B
vtxMLSTMzNtrBYvRqooHSv3gYaCNepXNb74s/N9FpB+Ap4ePQZvQKEZx4dmWcSuYwpMCVWxqHcwX
Ju9IrtvxMyFX46BjL74Q65hvsrIsnjALkjHc6fChlZCJYnTBgec2v608fhzquX6NECmul8Z8Dizj
wOSWjvpydJKA38yJY7k8cgiP1pUK9AYOAr0PYFGae8H3us9EVdNxCMPbJiC/jTy8eDm5nHpgca9d
X5Aa53sgaQ4k8WJp7wfcPAwY30hpXTdplz8PKTRdRfHt2pN7h7mzPERdfJuiFCE6qJiePKGeC7Kz
NnEN5QZEDSBnrW7tybvRUsh9Lpflxmz8NVKh/mBUj90c/oJu3JzCuLulzxHf+XI4E1K58pQA91ff
UfUK4qcJF4f0LV/T9Gn2PhJDyKc2rOW1klsEeS4TQlu/gjmY1sF8W+ihOfi+MmlysCACJIrs15LQ
ki3oqTeAY9zpPDTk+zzMs7Od2wEtCM0/WliDfhZoHaqB94QhUnJgXY9JFMAsyRAIgzhOQ+7QEcMb
xrknc5S8m21+qCuL2CEkckQIGC4vmJcTONDbIkzdWts+6Ck32iFf9QlnT/eEWLWbKod0hEESLXRa
EYaaKk1YLhj3OBb+K6f2L7VkAAqDpGYL5PKdUgU+KX6ZXpb44Kr0tshCoueYqb9C6Xy2x6C8S4zU
3zftwF6GbC2bKvNVIIHYjvUQ74bKBs6CJC3Ii9tRGj6Q7sa4QdzMuJ8BJ+WkXV1TMZ7Z/RToVben
OdCQEtmGxou7ZIUn8J+dIWe7RYdynfqwYnrLj558iTYrY2zMhQnIz2PmIIILQDuEwQNgwDHow0OR
umINib+F5ZGMu6iBT+7FpTzPlmvdWG18L5jqua4YLz5gU7ZjeuPZEkNoTP63rLAbEXEKIzE1sh0y
E+iPrlE+QggBlxi7rwSA4P2i099Ry29QRXSvTsBmHAJCvxTCG3ajXw3rxNJgtYXxGqg52M2iHDeE
SdQ/71o5fvq1Wd3WXUWEF+3PAzqxc0kTiKBF+9FtmAMNfLax2g/H9PPXqlffdhP3p0FPZz+ynHtE
BzcpSxcuARx6+PofwRbCblte/mSrJ8KdhzueGFoDjX32CnAqZG+/2mNb7Cr01lsIEkBAcjM694l8
D9t5vCVAsro3Q30LB/83TCtvD5nzLWiIOYaRAtmJCbSw+m+tcFvCQ7Va463zRrU3LAMMQl7Pd9kw
nPKZnL3lVYfglnZgL7aBD7qMM4sFICt+b9zCvg3SYZv5SXAJkubWhcv2OhtjuEMdUCHLhXQ10ld6
8RkUo5ZvonOdq9cSwxSNqi/R8WIp897iBYllyhaTI8gftNDI01K/fO1QeDB5z20S09F+LU9PHCiH
tA3/jAF5oZLxy3nM1u/qsXsu3RMSwfrFwqizXHfk+ImCwyOjfjPbNBcr1VAJTuynqsryQxBi3xbx
6wyH6xrGELkeZZK81kZtrBkfPE+KJAoP8BI0Bu6TtA2eUJNmdlHiOg3djas5XRaF9eCo0VsVfeaA
xYcmPFRoBH5+ckymN36t9Cs2TTwDYWU8Wdy0YRpNr7nIgsNUzQd3BpLvuLXzokZqIDuZTh1a6GMB
AnZZxQox5C9IPo+z29eHkrY7O2DM25Kmw5XJ6xQth/AEGwQsTEgBnvavJ9QH9w1F8ypDwLWdQv0b
pSNBS+3ylPo4PO05A+EdIz6j9fbo9g0qZXu4A/huYVxiu1DFgh8z+5dRCAzM7Lzglwm0HBH3YmXS
8gQrEU4bLb2TYuxSopN5sf1d58QSecapQOp/bu3RZB5Vn9LMVCdC0xWuQN9fK5GA2YvVttZd/YTF
aB159g4egwtXImlvx9T+ldqzf8ADUq8F0/pdFhTZ1qxq9YoiglIxZo9kUwxO3kQp4MDMMOKBq0LW
EHM6BUmlI4B0qFrzKA0ZAbhQmMRot+6slHKJvXEHMSJ8mAwyBIsRQMAsurdUOOnrkNjtjuxlBXTe
3MbuYoQ1qgGjIs9gbLvdi5djErCcU6Ap62alknOgI5iTLD0vYHM9iIYIuHTwEAaxfo5Znx2aGjcp
CalPNHHRRATPMNfsW9yY+Yl2k4aTwLtlJqRv0WuZrkxVpWsMwQoHeItHFHz3Nf3rY0pK8D37NOvy
II4RjJFDbVJWSty8R24QmJBWMLzwxHM5OXoEvc6x0C3vjWF9O26T3UxbBa7subUeC2b5L6ySG4uO
yiEQovjHFoKokD1hIR2qdMlCDTOUWkIT2KGDW4n+/GpwsuRSXlmGX7/gf4l6f7xua3BQHZvmJY8X
bwDZapcgZyGYy7naCUYISJmQa2FtoIVEBUmOWkDauMlccwCyGEiKmiBJs+vGW/j77Jjh6L9kMIeo
9AVQLKAWFrpm0BX17E6XriWYm3zUG1nXH2Yfstg7IEd1D2MOLnd2ZeLp3wwhZApzVs2+R4WMp8kF
x4xRcANWzToQDEbjLPUROztwMCzCYlNCiOQQo5V1vk3TtfcSLeU6mftxp4kV3hJ9lK/avAtPnAWA
KL9NPaPZpgroQVpFsMkE39mea8+u7mNdXEtRj2d6NOu+tj9h9RQvharvIol6054T8kdV9Ba3dGCz
kZuyqkxA7BOBx7DP8J3P7nNZefoAToXk74w3Gu2Yx4EY0xGCTE3o3TS1b8qgD5y7mX0qquk1ock2
fkeNMh5+PsTe9OYWoXGt4IGuUtI79ppQg42wHWdTmdp4oI3pk8RlvluEGz6AUfF22ok+LOLuduQ1
IBWLkKKlScmtKctTsHCrBY6MfOnFo6GxkY838TGtvIvond//h6vzWo5cB7bsFzEC9OSryvsqefUL
oy29Aw1Afv0s6sxM3LgvDJX6nG6pigSQmXuvnRlab6g8omPb8R911ryrqPNoE7ITOorgr+5koUFq
HLtYwdhLf7J9/chMYT2nU2WdCgJ5Zg+oa8V8+2eFoFmBhHoTdlOgeiEE27bVRjVD+8MFBmAQpHTN
g/yHVRmCEj21oNOjqIHO+YlLZMbaCERnHbb5i851e8uccGc0sKPqsXB23mAojIjtWwlbOdONurgO
YznkmIYTyxNYyW3NdPkpgfC4MuEXuYKPABfbOQ0ZFjY9gUBZAn/PT/dZfvFmH2ajIgkuFvNBpfq5
T4wOVcj0DB3jXhk+EvlyfLUoRe7fl7GEqwcqBs0gke5PxJOFNxSE4XaMnJawKWCVbmV4hOMV+bNo
4ZO5zgypJasUHyMikzmwy60hTdR4POuoGRw4MpNzDiQsm8Yw9wQl/tFuiHOUQww2atZyDxhEN8ws
PG2uH05AY71vzRrhkegx5hF/MHeIIO1T2WrrIfHZ0nCgVUAcydxbbwjhAyTCA2LUIfhQZd+cqxTP
igWhYl3LrjjbQ74O2ggGsYlbm4bYRsakfDcLwsswru2Q1fcmbd97rwr3NL14IJfPc2AkLSZfvwd1
164aSSRj0oIklGgMX4xWnQj4myDL5DjkTLxNfjVqgjObr22vyMKxUiwHHircA1PRejN6bEik+kap
Dc8hQf3XTy2OyP9/aZyR0DxT7QQwLwQv0Y3fAiEqD8XeMtBWmzRj43mUO8dX06s9MjqXOOMdJlkC
l38+TtkFfNWfQqKPbvFCVKI5Idsz4/45FAzQ8D2xAqZosAMBhXpME2zPg9P8d+mWr/KYYZ0Fyx3/
Wzcc+mbf+Bcmai9j46IJSuU1RUTr9q8+ZejRGog4fyoNsz5OCCeOQtnuTrewqWjSRT4mrEgNCEqJ
zvFmuNT9Yse0CxuxBFEPafzeaj/cmKk+Bl12xqsH6GWkACIT02JC/JVijXRovk9G82lrVtW5jNQG
xptzyEYwWnqOWM5D1swpS18C0f/1I1zx9KrEmcH2LS3jpXsG6VvluTykqQGK0UfZYqaNeVaYdock
L/7MZKo+FfZkvoDxdnfCWvTHVrfyW9CT5Ke/cizYsAaJ32UHlIf9Qz10YP71dO7jsdRvmKGoXYNo
enaL4TGgS4xa65IQ6v7OODt5iv3afjUmKbY2hrhjE7A2FTw3PexMKGLWD2IGktei8k54lerP0Gaf
AOsZnjhNp9fYVOU6baqR+leEG1+CxyJKhkyX5Gz1WLCcIPsIQDM90VmTlyIy5XmGvrOJS0syYMjP
lkAYRlx4/4AZ+QWUxHkzhpFs2cDdOY6ZnaWV1BtoLYhR3JlQm/HqGO5bjjPqNiV/x7Yn/0kOv6mP
foZhp1+9UQRbqWLszbU65FUr14wGoWhEqAPNvEPqFMNlnvoZ2B5lAQkBEHcL4JgdTUnYeMwKaEC0
tFhwWNo9xpkUtfU+bOkECEA8rcoAm4TJs+JYPGQiJKI4RbRCJiwrPF4X00AdHamPphkX1ax9LkY/
BjcixLNLeE4p4iXIm+e+T+LjGBDQ4oTzbuRESOpR8JIp298BgUjXfhdudZWtnaWho+os2kcCmes8
2tc6B8fL/NmFVOb9nuAz3msXmlCo0wfPPhL4nqNWooK/hp1z9KDRAFl0D+T/NALr2DTgbDC6d/Vz
H3nULK19yWpxUhPo9aAx7U3RTc2lA5XdS2p+LD0svt5zX+TWc+PZJ78rf40ZWN6pg9lmMdE7wYc6
j8r6Eyf++FwE4j1OLX/f974g2zEE8E+IBgfM4UWX6sOPDk1E4jjFew/0PaAXG7t7R6I0CYgYfUJE
C/gBZsFT7tY0ZcM88w+ice9TYZT3PMrfIBwjVogwDblLoCFFmZu3801BQEdaPq4tXW4nS0U3jq1/
OYYCCHddY121/QkllUdmZx3u8tRnDGooF2WKr9+SCsihi1bImKobmnbcJLM+OIW3M1OrvFaW+1qD
+GdPrb4KMFZJ0kimWYa7ylxNjHkQH5y+K6/9CFDE0j4BaDDmjLCtmPux9rR+/uxIuzh5XnGYGz8A
tsvJiqn/O5upf02lekFJdZH4BTfDxFQb7OAZRN3F6ooPjIYz92ICK4XBdxo5n6ze79jyBAg2Rmwm
CJNVHA/v7MHRYU5hmHWNfW8w8HGiqU4DnXJ6cpq8b4T6TofVRRB6Rpv24qOYX7Fj/8axplGJ9chY
o7G8RM0fSIL9k6wLwBpJ3m9ECXe/auNxJ/rfaFlQPpsxER0WbR0DWE3u2ne+Q6ddlKciuhPp262N
1OBgl+A7QR/8hJkDOI9Tr+Ofug1o89OXKmG3t63VvqQZKm87Z1c1U+MYkucawkDZu/YZY+O075AD
rHLLoyPo/Bj8fjfqIN1Cb3LoUOPrdDArk7w7//U4ZhDzcXXQyRe2/zclXmoLTWzY5i4CyTrO4o22
+ZFshzXeR6y2Mkvt7HQYTVejI2LdG4MjeoMRKknyEXr1SxBM0/mQoRrbcfwEslcN1qPTjO7hdPId
DjjQEu5JcXNVMJ0bK3gTiJs2GGsWMWQZ3hr7V+9H/a3D0bpmZNmsEGNdXYbyL61l2zcShTa2nqvt
kKOixU6ubhjW1O37K6dpwDvk+S2UDoKNyJ8ufIbERKCS5eAJUnsOiwjTKpqq0mNa216tuPVv5H+u
6kp3+zEg887U9XhyOmP47xIglGTcmrP5RcThRGVW79yhvedO9JkG60JavztKvm0r8HtanYzPlpoZ
l7dturZ4I5GguOSZtPMmttQ/kcfBDVw0YdggE7f0WdITGo53wpaCXT7U1n6KX/lfTyW3mxm68YLF
stkWleu/85a6m4Ap9oxeEaY77gc5Vo8UGuxK+sjyQnox+BfTlxL/ZmXX1qGU8RGOR70vGKeRG+fl
G8Mf8S3mlT4mwf/7ik7CtCsN9xKFRnDVYxteq7rayES3pCrzraLmmNo307Hu5IDFHLZhAXNppAD3
GvtgMbe7ImFiGtWGoGzogCziCPMaJByYsNI2m8h3eLlcvv8gyRAAgtHXW99YBfnQXJs2xupZciqS
eSY4/8K/6BORvUcqDU4ZkI0GQA9VW/7ugNLD9GquZRLaSFpM/rg9Kj7lhgr8de5yazf7It2UUVre
Ta+6SegH6IW9jTEsd2EWp+/AldXeMTDhQjxI3y0PDU+v4IHNI6pmbWTWK9jp5lCmf2eDY0ee+9a7
zfO5qw233Uh2sjvCe2jC+qWf3WAVJX+7InpGmvqr0078AQz2syoMQgIMsPSEo0BGDL314DtEd0EU
gL5Lz9+Nz6bJ6bTFPHuDkdF1xruLWWqCxPs6OzbdS62n+1iRYNyTLXeRUYNnSHC69FgaMjcuT7Y5
rs3R8c5KO3vfabATe32zzaZ/ipPPqtPTG+UYrorM/MX4MEVBpfZBxAbJ0e0LYxH2TDOBWBCAQ7Ea
96/y3fBplNU/syZghB4MokNQMisdl5S5RG/vk0JsxsEF3kyfbohCYKTkm0aB/5W26RW8s7FNnIpi
1K9/de+WA3YQk1xxqPF4H2KIi7u2EQA/6z65dqW3dm1XbJGJBAjHZk68WX8UmY4PysTbi/KEX/im
/fw3opzBJ/aLkzXzrH6ubwhD6lvvB8W1jj/iKtvpDLObGLy3IXPs2/fF9FMKwvrONnwo5wnkibat
W107My4RxI54/t1W3NMKwQnGbtIkMYNekfXSYhLjrSBi6Nw6EPCzjtSk0AYgFU/qWtfAsbQx0t7/
po6MwwFi9Ivto1SkD2b+d0nojW8taUF4Kdp1g8PeA2PHfzKWLQh9rwLBbH1lfY3iVc35jalGtVVR
Qn/H8MSpCn20gNxEwTnl4TrhOwpvGXlCMgusvZ/YRyeyrj0Hn3UncZKzPmSdH9wyK6/u3xfQ7hAk
RkesHfzyJ4qes2j6ZAdqBXOwLUmhL/KPuB2gRS6vvi+NtsRtSXMbaVuf0xIDkqkFfprwxnKOvlxA
WiePi4Yk/2KfEzEGnUjfCFDTt2DMvEsNgoTyr8RcRnUUIf66B8sFRolxVchUDKfGcIYgd5ukDPut
rsNnpMXFVZjNG6e6YxK5QmiZdvSVXFRrdCrkELhUTpOFKKzGNzu5d5vgiLWLW2wzVpF7B7yNeUD7
1qbyEnk1VYw2FuXgRPxFMyI5q63+JPP+f16+vwckGgBYalpHq884NUwFWAIzeYYYeI8Ep/FBBQ+m
vHDJ8P+CdUMfyCQkoCBFdzNIDB4T5lyU7qV686H4OaKqPysInnaRH/0gi6H3mrTv8fmsjMwkC4CT
5mfQAW4HRPmWiqHdZ0bzKw4tbkNPZ5+x/S01rsWOAwcvff3heJlz51ybvdD5WaZvJ19I79mb0vaQ
+ZhjQjzpn3DA8DiyHJy+X87uD5fT8RHbZLlqhyU+NODfGOyJaOhOltu8mdsdHf34Uwr3Nyom96Zi
yqXWHL0jd8Ym7ZLoY9CFfRyN0V3NzFY+MKo267or/IMbOuo+2ek5dqv8GACTIIogQNOB4uQSWJF1
EfShcfQSKCBCj3kcYRnMjbHidWl1zJn/MJhavsQJQahDOZ98xisvcjTNHanFyT7plP8G3uDWlEax
NS3POZBui7DXgliMSdA6ZRyX141Oxl8kjoy/QN0HK/IlVgEe5hP3Z3tvImpr7Iv6V5khpQPy9A5a
bNqp3iz3hEQUoOI4fZmZGo4xHpxj6aMsTWon3gaQo66Btj50UIo3pmX9ae6dg06Tt7Hs57eIBsNN
Zc7j+5XoRvLAJNrBcAnyaKopOZhkHWPgJQoiQv/vKAcQmUeTQhIhzFmwS3bW5OUXfzTlPhtwyPUW
QCfhLGHxjQhnhpmOc9RZ5QCqyjPM3xRvQDBv31Vw5w+fvqz50dKIVa72SKzvsuM4udXd7vyKvJZ0
4zdR+y7riCCwRugbR4b2Yaflz4R4nHF2oldGn0AbAcY3OU4j6ZI+SR1GJiSNvC3RLUT0MjHEJfJa
BAkUAcd9aWThbPu6++ctcHU2EL1C7Sdo8ngXw/XovIzvpNVXBggCjhQ0Lqbmdx0BMWXQbiC+7l6k
PNJKBI8RFK+MJYk1mRNalOadqtTY1GlCp0eXf5BhKj4glsYug2IwCVxRVpY9KljQHX/9ira42lMk
wOnLkSJHwnuTYxg+WUoW5FP2f0Ia4TS3q+CUWPajaKzrnMf52Zfsyh7pLNtQGgeCSsyD5wFrKbU9
7yMSiidGN3YiHk7SwzAz5UsYIfzDxT1txlEWZ20Rw5ymzsJBUiYTcoT9rEd7ymDUuwlzfgQM8cVb
Lmjv5UEMJZKgZjgNdf1r7sd2m3ssStpx3hm0o7hj4mkI85cfsJRZPtFkVtHDTSx+tbVlHqVl2PdK
VR9xaB9mb3TOPZjFm0LXlPsO9nsj/g30ym/D9lJ7ZbsKCDJbm2E+U/MsHnhnvvYOGUfkRBCQ2KTU
E4tYZ2g80CuF0uccf64b0TnAE7+Y6NQPUMPE7uEnySCdIMR0fZxoDc75EDSQm/0kbm1dZY39gvTv
qwbncbQa/z3+8IUBNRzsWh067ro3IOBj0V95U9XsSYk5orNiYR/XyJWDJ1voLfpI8xBb/Z/Kiuf7
+OnH6xyEAP/r+NuZMAvVPJ+bEkP0oCIygbvq6EsackseC9yAJWSoVC/CY7AbYl5wqfCfEmZZKrFf
dQtUUkXUd32ESy4WCiZIsWzMiOTWuFTzI/XCBr3jJnVtuIwt53wzr/YCugPNlnnYJGX+2Usn3bcG
oUBFNMXw9HLqtrYSC4yEGjfMqJ6SEfqr8q5+RtM2H7r02cISQ/uSNSoO4m2O24gjcnlPGYasxkHZ
T8Lzr75I7E3bFv9yKFOY6EXMb0V7nfZQka5LB7Q+crBg0UDvUx7MRF/iKoA+VUzcgj0Fa2dOX9lU
2Ku4ZL7QcvwD+i94HxCL6PqTc1vwotNy5ZmknnfxM0G2xao3E8ZC8jd8jfaAbogRUgZ/fHbwfNLV
OaW8bYOZbskjaMth2DIMovHPFjQSmuxVgkbR/ESLPoGwKaszHNMH1n+yo5U3HLqmv7sjHsMsm+C4
6W6pF/xXP6/e0ApZJwEMJU2r6OHZr5PP7FIC/NjmbQu/x2agw9zOuEZWsTZ6c23QGvMbgrDrPjj3
bVJtdRzRQQdwlLE+r1rmr6GAgB67UhDkGZ6NvOpvnt3sC7ZEq7Wth2nPknC78pnp2CbCLdLE9zZp
i2NKlbUmLwR3X1XbR7tqv/DlYGRppHtqMf9CVkUEYM/0yp7mUMdv+dSpvZlG/xpiCQ50k0O6W4Qj
eQmwoJK0haFaCH4SwYnRQlKUwcqU5GiNY5TuUjQ0WzPpfmHB+ixqGLWIkddWmsdMoAdxCEP7lDdQ
60hhbNhyJc55zY3q8qnTNyWbK37xFOmXpWkhabTJL2g68j0VXCnmMNBzjCy6l20hF4FMyViAQqpM
FxalWIUI6sCuKagKHTdtBeZWeslqSLNk69tYEjyzEfuiMzZOW3EgLtOrzSZxtOb0Sw6h2Baq201q
+kIPXMIRN9ddhqBC0Odqsp+m4yRnxv9ylXSoDSMPT/aUdvJoen/TyXXO3LVrC13Qrl0chn2Gpqlz
mRtKYW9Nlr21a4AZCFLwQlHpv8Vz1x1l5b6jlqREofwts34XkeQY0tVDIwnfvzW+giBFKzpWv0ue
oacxmZ/d3n1J+I29snlleb+UeloPpXXrk7R+lqwE02I3rfxVyV2w1TY5CZDOEU4Lbt96UFDfekI+
MK/jOc9fhvgjbSyT4eDCw3X+Na0VHsvBR06ImtAsIE3WgJPwDdOk8bpyh6oFWqcQcl3YA/JOZlQ7
FKltpU/BjGavry9egLOkhvJ3SK3uvctB+Hnt4p3Fo+u0akctAt6owmfm+oa5HeOw33RWj6/W/VnQ
K2+n9TShFtW4gVczu7sVldFpjNWV3LN0JdkLK5lcB1Z8mntyiZ+hAei7f6QQ56QLPorJj+j85ClR
KyTohkvkEeGGIsMwCZaIn38gWrFuf8iRAEK7IY4v7h5gTstNGTj01CeHY79pw+cgSzzSlE2E0hyy
HsdnBFBnM1oT5p/5GiYLIdtsyJm1aNnwxoo8bzcNVOWssuWWRIyJPlA/vS0830DpfW3rQ8E2ECGr
9UJ9a3vg1jBay12GpUTh58FjgJYvNpwfME6PtSFIJnOWcAk7R79nsR/Y7LD8jP577zON6Pis24Dk
Sythys2RlWjE4uQTdynRMqJjwE4XtsERk9c+gqDajOWfLPSJXKmO4TTsG7SSa0BRqCG7Z6hVoAO8
7GtKy+cub4/kjxpMI5Z82IqjZMl9c3FD8dujn5oH4c322nMSF0xhil0FdBhRMbPculiVRLZPwbsd
j/aKQK2/8Fi5xuMw0h8iRs4g6XVbNPEuswyY9H6abOzwOJDWsHFKqAle7d6A3gLGOsdteU0idVA+
bzD2ZuR6RfbDwzJNR00+z7ONOsZyNy7U7zMNSVVPNPkNuJ5CMEKe6W/GmnRNUTPcFyT4mWJYuxnx
H22EyLpZoI8toMTZAhYQ5TgHkR8cGqYWbODdcNEVN3tng8QbUANTCSIgRjpMO2TrFuBAVVAYJx/v
fVAsrHRF6xi2Q2xAVA4dTd95Sujelcm7CEZQsFDzTZuZr64RpE1W7dEsdczNgBX7gWnYeOihwUfa
FOkRKtSPEsEXwmwnSNDvttuSlfYWmsmwn02gH1U36uoQUYecjVrC4O6MkfAM4A2Brd0TWut5zY9V
7nxXNq8yDPRhLgU9h8ppXs2mm+9wxp9saT/FfUvpKUz3/v2VE3pAUZrp8v1KVZN/y1yW8cDZV9Z8
RTDrnZNMcydmBUIdT7vwnFWV3h3l8w6zT2GiT+9l+q5lnRxVAG0J3na6TUTyt4DJs4P0AAew6+XZ
Guqv3HIBYE0L0D4JHYyXg4u1DdB2TYwNoVN0NOdR7DqtsXtNNDyDLGoYCaZ7YxmpxQRRsD6K4rUJ
rOM4k0qQlSY5AZH09hAEzl6B5cvAjRLG9ptQun9h/gaGjDvVp1sx+qRv10GSrTEdMqfWhDJB4LBu
UuO5j7q83E9lyaktYzAPpyfYRIpySDbaeMKXKTdIYOsjakPkhcENvpN7ZzRGQG4bJTtnAD0jKblR
5IKONFkehadOmiLnhHZtDZxTrCWiWPB0RXGbevMd5ixe5EA+BwaZarP/KIMqJJsxY+zL6fw2tQ19
7b6dUE8n6jET8rTNrTjEoThPX9iKU09iu5uyTxWZn33rnzNPqrOkjafSDfLg+nWB6IIgTzkCsX4Q
RoukiBEmgZdzvR6DFLWMVcrzgPfoqSjX0Gmri6/OTpRT68D0wNBobxUt06cW1tKtWy6qA0DmpOjT
WqNn9t6xXMGOq69tj5PJ7Ie/IojiQ43L8GZYySMt8OOQg93t04WQ2465eveW02GVMDpCG1SpnW6G
cBegWTihp+hO5nKZ7O5DDXm+HeKIoYBRv3jZRDCAn12qhpBOWpGPIvdI2GH6Jxm+r5E0zPuBTJZt
V9dvE1J4LOPcONlEHryd0dWvgrOL5I2ZeBedaKKRjohM1d65nQOqDtjaCbqQPsYBt22Vqx+tzYJi
dJEFypSZXDvsonD8inrvwyu78NUYnU9lReYlndJnWREHZQ8xgzGTIKsoij7QpMS3PBmGV6u0toUn
7VUyB8mOUiy+BcuFMixY1wtwNmuQPsWKPciaHPUaR/Me9udw/37Fo5w9Na7H3pLURMXFw9VeLt9f
fV9Uk11zLy2OjUR31guoVbm/hGcy+0UjBqIW4wJIGjOfCZkdwpvZTfPBrhElOaEoX3sb30CE3ht/
BFVASGpsDc7WctmWNIFETJtt82JP+1BH7ZdJ4ilkR+fNX3TAJgFi1oiflaDbXZb3jxGZgm048qOm
XfYUQFmBuVg8TFrSr6VCapV4RXNAlZW/yqK4owOoGXPU976CSkU6ZnJNDI1azeg+C9efjskSszrR
I8PWZwWbxIlSDsCKNyEshmsTVpBCUIghdfS7QxwEP0NVVa/8Q8U6LHwHZgDpjuDPX4Cj4ZLXHDw6
T4rLCLn8JvoKHfF2KmdEmC5s5WrJBVUYK89JMa9HCc3DnwW8zsBo1oi20wuBfN6K4QnU7yk79VXo
vdDhfhx6y1I/G+If+gXQUA1Y9Tjy77pFrOE5s7h7cX9DERzhEkXy7JiKbJq2TPauZDFLqLhfBLqK
erz6kzrHpRQncrBxXU55QOcLvCoiHJERlyyzU2Gk//crH4XBQVeaBkSsT98X9FT6lGDiX1fgfoy5
tlYM7qMHyCd9U6GDpzLrHoAF5YMciR+Z5AmpfAf7I6le/OVtKrHGMD2lIOxJ921ZUZJ2mE9jYrib
OsJY7Q1DfycrASTMbBxwss40JJS3MlqrWARAZym67mIa01dPD+0kl8v3V98X6s9xmT/xFlJXv7GR
1pc6ZNmBgFrFCgkBXUuCMXQzPY1Pm6FE8OsFmUG5IGJ1ClIXNKf6zQG4PSs31y9Wn7PMpORdU1Jt
cSn1733cP+IwLlYatQ8UOEc+ymwMMFmGsEqqcVzy93gdG9zkeZfQawXMjF9LDtfeRaG1vBqC5L1o
JyBCxUfVdTP2oGS+Oj1tRNGzWxTL977/ADj0tK7MOViH2s63xgALptPtfCLgAQpvrc7aHK84zuXD
sYmVbk13Ry5o+Kja+rcQxXAX5nCPG20fWYRsEvBcwscsgs0MS9rP0HOjXRvTg+OjnlauY1IrjkgA
mTK4FWTlkB6CwZKz0paNdFyRCu1KXVzA9qEhjePfNAPyS0Jl9GR0aNgCf5eSM3sLBXyCUUPwQU2M
SpYsQnTPT0FhB5DNYmuXFA4bVQqPwETc+YT5UpAsWzBi9H31vNxzqkDQ6QPmWLYUhOj2JSr13jLt
m53P4ftIub3noGOu+wQhPWLYa+O39Q0u2TUqA+/43yvVARbrnsZeAWmF91JydLBDuGmErzGukQ+R
+SUHo1WbezgdQueZGY2N+Z+3CNhIfMlByF+aeZZbzkTsWQRK3b4vZi7t9fdloPu9ctHRbjgYhhcl
82bnKbw9Vb+cvjCd73XH2dIVMNCAAHXXPOq6q49uDHRxfJFeB/kcctfSZEgP3z+rKF1xDAIz3QDB
AX0B7psunYMkMFHXYWyXYU1F/Tstl54Qiyc/ewkBr60tOouYtStGkA07Xp/XE8U16X9algd65e6p
HIzukEtnA2uEs57f3yg3GbsGzSyRUoSrrmpQ7NSLyV0PL6Ee0zVJDaj32dNoVYLNgJpCaw5CyWqW
TfPHVZLhBHjqolfISUf1Fo/TilGZuAjDc7AOtdaW+z0El+WStpgFszg7fQvgumk+3SZJoVZh9bGH
+tKUhXWEwG8dv79qpr0x+PoRWpV+bknsEnRu79Fyl5CrTn1D/sE2o/rdou38XRuDuc5JMNhw5+qn
WeB+w+q8YATCeN9hpicV5tM3w/bVxFJGytaH6jYkjCbH0mgQhRPKNI5+/kaLXO4JbO4ZxWKw7HFn
kNdMuF1G6QpPgFw5PnUoDhYYntGYfvtdgUTZyLIfgHCamui2AMV2mors2cNFNbXto0X0tY+aBOmc
hy2+n01Q/n2Lf6FC+u35WU2PQY2bsszVM09RjuC7jUnqyZkqMqs9GLFSz2CBsg0NhysSIeNCCsQ1
KBjI45Cr3nCRMuGqgbz6uvkJImFCjCVm4hXiJXDUvohBgy/G3+USPs1D/Rh9b/ry/eQCUhAmnYh+
erq+4VoyP3TpC9gx9NIqn65I3yqygysLEbLR7cY8SLZxJf2PaHpxoLSSvjz9aGi2rdSQbGZvsq5W
qtK7Hoyrm+8NHPtfwgcLkMSV+hot4FS6fe+yqXkRCca3jBFQprE9fx8dlrgEs2kCPLB0BDUno/My
uILdIi+hN9xoJOI81DK+TpERX+eIYEpOcLBTJwqKsbNgp2Ig29cj6Q2om/t9b1hLXkJEv9AWHrRg
DRZA/WmRde8IVqi3SU9ViSSLVNmQ/FGdMWIMcoJjQsFBunJfKBXOTbmJ0iS50zEJ0Yk6cC5LVdyC
iLOYVSLV6vh0M3RzamGJRlNwzeaASZCSRyTlyKJGc8epp3nm5Mh7MffPvRjLn8hkiDe3yD4Df7ZJ
aOXfAkEQNXCS6iTfE8czP+agfusHUBMdaCsGCUq/tJmipwSHEhRf7dNT99BD+cRX2QUpCcwJaTln
8zlMpHmlIW5S8KVohMOd1J7705aUKB7yR9ITa2dj2Smya0VQc8xk7kg1TIbF2JFgubhgvw/iqF2w
AFjquZQzHRDUvnuKAQ4YuQ0qdSKwrqbdM5qeePJTAUnGA8rjebK+DPx86JyK4J7o8IbQt4b6hGSn
G/Fmlv6M2rQ23oMydKC7EDRl0U9uZ7u/FnL4O/QODRq4B2xg/30SwOhPuKr+qpBG00DizDEgneQB
5lg+/tf3eFwBAo7gztyNElFAQ0+0Fzx64/OE9fFJOvlD2GNG+ItbrBWW/2NON4apP13uLnOTfcyb
cDGcT3NKvCPdxQMN9ZZjB8exYRyISXU0feLcqrdmNOMAS1hEs6L60LSP68FWtyRzVlmZdkgGGx/d
V1TtowhYne6SZ6dr/I8ZlNk+INl3jSI3RYXYVEcLN+hTEzrh1dBK/8yr6tqpPLvXFp/VnJjjccC3
E/Cwn8mngPTtB802tWt79X2Icwb9gUDJP7nwrfdFnBvsUMw3+pQTo6vLZZv7yvvOOXErl8+RYX32
k07AY4llj4SEsRfOvGPqpU7AVzBzF7iKYMYEu+8qLGuz6ii0/9NUVrUvgpkyPvXXDEuAfuX8OjOD
cGhO8T0dzAw0pbaY+mbbcmAa7vgIPcKePMK+tIkGQHwem6Y+Q1hYd4ia2LIUAl7hb4qk3OjQWxhS
Yg9OkB6vw3MsUXixkbvecUhnxsbbRpMf7DguWH74Puzs+a9AxuGBQ3Z2LGFCcHz+YzSVuWb0GDF2
wa6X0oekiUVPKf2RVTgkI28trL03+Hv2s1NUlNURtjU9ZLp4IHj7jT26JWMOKTduBhmw882dEU7p
PZNAXiw4qplITgZtNNQxl7CtyxtqAwQDT8hZzU23yMpjOsYDIadVmJHkN8iLkYTjk00vFekkM2an
Xzy2fgh/kHYlNFydxCmimNx8rv054VxXUaYwaw8naz13/iYNeAQwTAe0w5uDIItkNUMr3Qx+k20Z
trf85t7fPLGWIA9XPlAN4xQsvf5HmDenEXPiPzazrRUNO0FCqiWfWT2hXoMv35GEkk6Bt7GZ0n+a
ttiBH2h+y6jiQFJnFjHo5GwYC3kD/fIqMf5hae/hGEIWQ86AgFj6F4GC+NwGSXQiTv1tzO6cJLc+
pxf7HMQhaeQRj2PaDelPTwA8nfr/Q9R5LMeta1H0i1DFHKadk1pZrdaEZcs2cwQIhq9/i7qDN1FJ
XbLVgQQOztl77RLY0hRKpEy8CoPuBnVPLg6c5NfsCOc0Ze42MQKoQEgn5Zx8IeqIOP9giBb/kogg
DFLMfqg6zrFgTcNABiLOHqz5NUI/+dwiUeGinV8L0/BP8MghACsoJUyo5bFlfLEi0ZwJc+GNe4NL
c9MvEijE/O0J3xq+a3iJabMzl1lMB4axiBFBW/ZMA0O8x4oZXp6kDjVZCtPQpS9q2UCbV9qL/mhA
7AeywsIrB2po1sigtmOnjAvcGg7rjdrU5Qj212jlk5qz+Fy741/GfJ9BnnCQlEn57oH1NL1pk45G
fuglsTmjW5L2GkNU6GV/8SsbH3FPCtOkL+OyN+J0yYG+eM/ZXL+0FMtnTgIZlSfSGVHNf8vSqF8I
zrs0kV40e+2WxvMvpq0QhJiYQCJ674poJ8s43Pj5sODPCEoXcICXBYyIo6SG7Of/LmLP27RlcQkK
NA1zO+W7piEO0pvYmpOuPxYeez4ty/VYhvtBG2i+5+6dVJfXxOoGmqfgwHkTkDyTNN/AUXIjLNZd
4u3aps7oVXkkQ2N178BtnqLJ83aegBIdjpsoDi9EGBF9GaWMl7XEpcRYfLI1bGB4ZJ37VGkGKt1E
DHUFqmmTmszXydtDhjq01drU82eWM+Ohc/UGyHc8mJ0ctlY4vPoawVwS/G5yTHwoOFbCj6+tiWoF
s88jBtt0o8Zef9huHK1MPQxnzW/BWl2Ip3xuKxhs3leu9J/Oabm2PDpXaLp/VwmfGorGXdxKAqmo
pEOK61KIaIcPrzlQGOFslNmWDiPNu3y4mAmy1aZNFDvvAOE/DQ5aI4nWVBw1qs2hB/gVISc0eu7i
afnS/au89DWTxCZbRSMvaniwG4HVbEksB1WjvxqyAGbjs2uL+j70vdgsNOaTznXzrv0IfaSzQ5E1
fKCaebIsh60BpMo1MSLzWIAk3Bdpnz3HlK7wel56q7VOnvXTAEekjVibWcecHgEMTgwZDXCjnmfu
6FmN6PSmhwCcc44b7NUEeYLKAFIbdndApfGZTtxETrhwbhxe6YXjBDtY0+jcOj951drLMeJ0CtuF
EWwV8C+Reu4tG5OB1T7wafpW3o1httpMXnOdx6HbennZgIDExoR5A/4+57N0LL4HulcvpRpIY0EC
KSbbfDG0WIz1c/EwO8zfu/oPqcrRIyAABraYW4c5STdR+IBOgQDfZhEFDiGTGAU7oKfruPYCmm/U
B5sBV7ROYe47ce8QOULkAWTFDSb815geyRZcCULXQqLGANRELfooRoeu4DQgHlXZaxEEDCtmguIh
z/gQXZENKKNyjyDkMwQbLJ/IAqmyum2l0YmCArvP0/gm2V6uWgr7kvrDPs1ZtnCWHVukcKcwsT7S
3m+xcaQgG0YdnmJjFyDCPAx+i4sJoRvaFtytgONu4/TlElk01AMGHqiEfSl9now/cw6Dn1/NzR/H
RyQTOKDt1ySyPzPBcS9Gb6x0OaA05k25eIvm0i7qc6Oy8ILOnxVBJ8OOHCaAqPPMWaiDreQ4xmPV
zQUr86/MZ59L4C91dbjEDBInwNS2eUhmgKbOeLHNZLoEXm9vB5QkK7gf6pzMKXiI2aLBPVknjKwB
+sWadnAetyuz1FuKn+rkWJ13GUXiXdi9TLRyRPM0YXtgnjPtlcuJlrPN+ecLuyTftbQn0F6dC0Wm
L+pE5oB/TCKXCcGb7K1JPjND09a+gJ4iU8gqg62tXIEYtRRno3/OoL+d0rqtztjPohNxG7GbbMdi
UifXtAmlC7NvtuLgPOkpOKMp6ixvOAp758WOe1KFdk9WScRN1Fc02pfnZseocrxyOerRGa/Mwt0r
PExHUok+SsrP59IPhydWIrgP3bPlVOII7e5f5ln60Qcyt8rbcadrfNklmLWh6C4p/Ln/vlScNWhZ
duCvB5me4Tl9JWjxdomdZTTL/O/EcBh3Db1vr8uuaWntcWxOiVBF9phLOugJkUZcRxtBD5wpIKIP
u/qjfJ93aor/jCB6C2TDdB+zG5BXOwnCfV8VOYr/An6RAPOiMxQT1GVMgCzmt/EySCFbtxlpttaR
9zRo/wiMJiYKCZhsPZM6KdAt7RuDVMoK9Vvhqf7UUoOvLDpHJtrzXpx1Xs2X2PYRV3N6hrP3F/8I
XoVpOjolQTzU5sO6dZ1jiBh6S0lACIiNAC5p0CqEVrDWATwD2T6bWiNsyTnQzD2C1JyVnwGI/UZO
0LDq3DRYt+J5xjGwHnX9EGLZpVPWWyfCBMslBwxySeFZCDKzk181ydnkqHjNAgI2YMUrF0MXiXnW
gw+FbE6IX8bbAxuAg5Tj0tFYbhnpZOm1/e57PjoZBde01v1+GmtzXzcZTCBiykWpl0CBt1GgjjdM
HyQj7JGwRuLMreJs/QzREMfKhCbyiFIXr4bn6GGlPDva046XoA3V9IhHMSGTPIB3azZ7JpIRoY3h
dASk+ew1rNoJqWorz5Uu/uj+12SCbtJ58608gietBQtlyi6//nxntNnX1M4awO6BjAfnXIOsw3AV
Xapgsnf5jPk7M3BdFaxpPm8r2j4zXYG5lpucIsKhT3RSFt4kO3EuHtJgp4WkJ+BwZMGN17lt4sw/
cdF8DEaM1mOhkqecHU+aHLEo2xVj/WNmUOcqKo65lIhFwolSBWd2V8XpAdMbWEbPR1BBWzwlkwtd
1fRppeLmFnl2jHsTm6SGoDMRvDcOVkkMefsvZI5K/p369nIQ0w2HEM1JYYXiA4GoGzxWsX6NRUCU
FJrNfWBWexzWL7nLgHmRwmVBfwQ84m5HlINuS6wju+BiaqcTXPPpgNwcn3srqq5Ru3Gc2twF7XQB
eRYR4o13nhJ/6Q5t++CPqMKO5C9BvBtZVlWNHTklxeeQbLOhOwKGgtpokt7n5t3qGiKvJEmIgUJr
fYPoyqGWJ0jCQbwCdc+QcrnjIcpRqLuJ3NvN0ssG70bMJr0PMVpPaoo52kgbAHwdPBepswELgdTd
gNhZETu2MtP5jfjh9AjK8p708YvtJn/IISOgOvIafMM62cSRh6F2TcL5o0aeTtuZs7TXkP03UyPA
AGWyKKpW/O7w8pdyPphNZz7HlGuxdQTAsTNJggf0VDdby8ynU2TIhi7jS5xn3i8TrnYERypnPrBa
jtrMaruneiAMoh1pYUzIy1fduQe3/TgZHNyFcNVWMLOfoc4/5nTXCbXAWRngW9I2u4KFblhbiGAQ
BU+T23Mj9fFj5Gck1OQg21R666zI2VX+nRi6YlYna0iQfNKtfjJ8ozjnafA8EYlHkpQ1bGYhL7A1
mNBilkbpx7yWxkCU9vOrNdzMIlGPgw0Lkiv3FBTlX6Lb7VPdLYWIY5+1wV2mGcMSEk6STOp41NzT
tCvSMnsVKZ46I7unqoqOrKkg87sZi2BLn46m7a71AWr2TJYuVQSfuHMYmntRjWvwoKM8e0VhwlTU
F2/YFWDhzOawa532W4btsMsZ4rATcmzshz+5Nxf73gohbk8Gw7omeTKFfJo6pIIqlbRmNLIZZMlE
JArcsZbp06f6aSNDWESwNBF31y373Ex+tcOWwIOkniG/qB7xAjGN9Yp4YzbmMo1bxJ0OHfXeUVun
k92a1Cm6vXkw0sZzYGDGdniNllVWVzHR0VbyO9LEmI1wd72JMgIxvUBmRNYIjIhsW3S+PvohYZMC
aVZmw11EqICLX93bvjQZcyps0MuXQDDuziANIdEkoDJAHON6YHTGuEMXUlPuBVX1HFu59SJLg66P
8cl4ryC3MT6aZWFe6jBqNpXVUjQw5IcRTC4kdizzuSpwKA5F3W0mKY41yaZv+Ml2fMTBhfdu3Q3c
48Ny2JkCAl6wK/dFaD5Zvgl5oytpBExoYyczAo7uyPBsN+FrPkjGVro9poK9A8J5f8xcYCc0Sa4K
tzJZiRCALKs5+YXTvQ2lfk7zAiP/EGjOqOVXYFo9TkIM0C4SOSS6jNUwOa4h1TJPMQ3KSQCKhAw6
/wis88gjKOUrTxJmPXMSM0Wx6L0q22UpAvyWLbi+iG66isKTIcZPhK572GQY3kF6uBLIWGbKfhdG
3HdRlluPuLL+2XRKmINjkYzwJlqK14QFc1o5qf08Op6il2rm5AnGa2AX+aMgS2QdN6gyLQUkqx+5
PJBZrqShjCeX3vyGUScnwECfkDQ7de+tHa3rrUUU9lHSo18jl1VFlh1hynyPDSAQJG3k6Gr2+SQl
LaYP4CDKWo7bkf10HXssK415q6KbHXn+ronm+EF6MSGgxuxsC0MflBPX+xprQd0QoNRNTb/Rou8u
iQB20RaS/A0M5qfcqw9jw+ScEEbAfB2Ii6qSR8sw3mbO61BSyRBDfkC0wKDcvYVznFWa388LFB9A
1dcq6k3gYETQsQlY52iotkoTojTp9D0R6etog32hBInAaCHFLhtY/dQ8sNo929oNDhWcuezDqbvW
iwPBQBl6cszqSr+0wHI1PoF4LR8X1dKO100LSzLRY2AbbEaSHk71kg4elInaNQlh1tpmR5pz3N+s
g2MQsGoZzg6d3JqcIHNbFxiqSjKXzoljveG3WndMIHcRIswHw43RZXqoGDjTr+wwc879dI70NBGw
7T/MQ/JGsf7C8PDNKSjr+zFggSPq1RWClOwwIcolaI21Idx5A9Ew4Kr1EDtUuYyuJKpuRx9Vae3+
djmGTUZ/nKH+kR8x0rdFzhC5omQ7772taw+cxkvr/acWJgPc3AaERy6ITqpTHdEvaEk2axUUq6Uj
jvou/xix7xV0zwkr23pYIg9GzcG3jRB5u/Sx+9ouEJbat290yc21KJP6hAvk1A8dL3PwTuQr6H2I
w3F5HtDU/vqE1xwDbV0qUusPRdnQfwoS9uKjjAOQUAwUOSCBCtPBsInmeX7XOdIT1HtYXb3e26Vl
gPXSjOdT7ASMGPA9+c6w4fCUPAWDek0q9vepNT7qEmJ9C+v+2thv80Q567QwnkiQKLgt4tvEDrJY
gp1TR5AN5jX3gA2JwykWKJsu/qvIKd1imPerIWFSRL/EXjm87W/24FIZjcEpcVhmoVQpgEIQbAqW
yy3SlukIdPDs+5752GVCMj4oDtymDxAK2q+WQHik4QtTJ5i+YWt6O4XcDqOMeg3MHip6OPkPWHq2
suq7Y+EI0L/daO1Toza3YwPhn14szQzeEBUXwTkpCWDp45aueQDniAjCAbLR3mx7tIMi/t039070
f5vZyd+c2t272ppXblifOdwlBwn5YAX/aD63RYqPh7b8k0GHeaJTcFZOCiGfSXgCt/yLvJCWCrPu
kgSZKxqnsgkORdFC+KtZmhX0KopL783AI8T4P/hAZRoitcVX6DanDkLBV4VdLa3TU2sN9d800Zdw
rveAmvSTwsL5yGL7253ta1a67lX0sKVkbomVh0/e7FmHhWz/zcKRV62KNwiBzuS6Lz1NbTl6GGVh
R25+TokDogsxp8GDW/51h9p/V6LAh1eNUHoc1pqu98qHvKEGox3Q3zrIiPSckpNXQDMcjCeiconn
RQd2ia2g3gG8qDmD1OCDfHRPyUIVkFWHkggAEqSCFrIJ2moMpO5OBGPxRlrVjqP7ezAJKgArj6nz
WvHI0OvsZ9k3PUX9rAJ+qY+pUthuBtIJGH8kf5mJffgII94ZLJoHN2N+Xc1EDEKylIemH9VLQas8
12wp9G37FxKM8M4wpzTZPwiQMjiM0C7QzqC2kdFzzqQRcCIzrinh65AJA2oBK3pVytPPl1i6dNx+
viXwk/Kmc5pdqWliqYocL4JQLNTOBNEsKBIhFw1s6+nm9PNzzdj0gB1mZzdkpJU1ab265kT+8zel
P8HVWP76FCGClzV4ODypiDYQjP98h68IdejPz4OriKL479ufR7tmQHcVI+XPrFggauOLGyUR+R4z
c3bLOyWS1hJ779EJlHfqEo3NMIZk3iG1Plmxj/pCDh3X3fLzz3dNZzl76TIzbsfhRLtrPP189/MF
aGdGvKtj4hryHSBvkOjogB7bzog+QqGqa4oEgcBa6d5Ik2MdipEi2HkS4J5Ehg81GUx+jfjVKaPy
Rl/UzUzvllRD/CD8Ztm2U/9maQcPs0o3HVqtvV92wc2rgZhErf24ZIRd2hEqTKYjmu2tccsDxgtt
5/2qEvKQVDmbN8O1GLU4KV2S5cfWCf75dP4e21SXb76FlKn6NWLZubk0Ji8Y4Fkslx9L2mu7Lok6
1hHfutHTyVZIV49yHMqznUTyI8s+fnqShXYs4M3YbH46lt0ch9iJYnNVN+P83xsQZfa/oKcDCdg3
u9g+BbTUf6fYTW/sZ+Z1yUlbFfiGut7WT07mUJAo2pdJW2Y3F/zNtk1d0rt86eE3IxyJsQ/N69BW
y4ENSA1eu49sePt5t9Mcm/rsY4z5+dHGoLRFV2Ts8QykRqNvtKT/WEU9PurCqN+bhZq1NEwJ5uAE
asEOAn+m1oHHCSVnwoZ/xO43U1VaRxwG2afTxcDuUKgNbZ0+UTr+DnsdPUjBWbKboODqAJmpu5g8
HRf+je+RvlO3XfDmh+j2lsctmgADUTj7iU7BxiF94nO2CSpDCyDPPz+mtDKN2f5IpGq3FQ4b8ud5
RboR/ieGHAghKnNPzCedz4IZD4+m0kLko+O99HFXDORPj3oojjShkiumQrzDSLPunP1Pc5tCUEzS
uwoIshwMj8A0BUpixHG+7hN1xstlvPZ2NpGnAJ3Ky1Twmc8cXE1hE70MrekT738lHePmJeVwTgfi
fxjCh58CncKa7D774oI2XCMjsCh96kOeNmjcimAVzr11TPzBPYx5rLa0OMI153HWnb6Zd+DEj+0M
myn2vebJcopf1mKOHQKfk06XfgXaA5wbVvFXSjYHXeH0s0ytAybJJ6qmaYtuhk890ek9pSW+7kua
4c5Ii5M8FGBwxTrAJgsdxntEcQpAocNfERKJSKOB5oqCl1Drv1JkclPX83ya4dsgnoq8K81rTG1D
e4p0ZX+2ZUCbKGNiktmu9Wm2wbcicfEJgWb6knnyJe4H8Q4Va9MXGdWeSWvUsgrEBHYeAi9IDQ7U
iJIZU2+5Yl4lA9VrFwoGtpEBEgmNVT7Bes63P+91PDtyM+P+wTXKW08UUqea4kUO1SO1dHcJFGld
Teg6b5GhNh3TRMhMoXdsPW5cH6mxL/Lwjk1Crqd0XLCvIS3YNn4JqpGBp7vcT20xXLGsVC9Yht6x
Ikz3ZOZ2aFEIIk/TiFOFEp/sZms5Yy4qUpBDrASM/pfH21bABbFGeTHquPyIyND9eTyxEmPfzeA7
bRaFPJft55ySJ8ysx4f58YGEqby4opZE7vLKzI6SPXOa5GI6tv9BWxtxEXLuckxujXhJDRltBev4
wYZ0fx/QGHpd65+CsKTd5oSvys9xyE5EsZHv690twskpZbk3U6NtXiIj+Ph5XFnCoaowq1Nid9Wt
xBEWowW8k9xJFg4jmthp+m08T+QWd2XHOWcadppwuNRt4veevvXZLcZwnS7/iGEA40TZeGct84fM
1tWLFUUPPnz9ddy6xtnSHH8GQvsOWCXHe40TXNhbLPPRuyxd5yBoh+I/S+a7XedP3CMVQiMXaElj
v6ST/jNz2rYouyenZqqRLKGLAQf2fn6ZJHAm5gLxKpiG5hPBcg9gEgUa64+9Fn1LN8Lr3uWtg/j/
WaDwQGtP47itWDwjbjcX3wXUZqPfd3b/WhN1s/JpzTO6muqXCsaocU2y+dX0UOh7EDE3ldGqU+Cx
XJnZtRUxmDc7659zxUIfJNZz3rFo61H+gTjs3nN6ZrbksxOSjvRYEa03Ov2EjZrzAfkYHN/gnrUo
CKSOXmi0KGB5IHf65cMjIRoG5hzKq5fG3jMusbsETbU3lr3UbrjGbWdR50DiYNcL7pn4F6u6+CzZ
8I+9YVbbn4eNpH+qirZ/BXUSwMap4PnXv2iypvdoKojAHJktxpn23wueHvGGyT0kmQoaS7iNgxFH
lA7pGMUHp+hhxDPQYdnw5yMBU+bGhMr1ieIbJ8fy3lsW4gxzsUG1bJujw8G8jh0gNbH4HOnuHSI1
iS38lAh/ff+ZZDT65t4bnxI7+TOX6pFGNsNqRC2w1oBEYPOD3dIQ5zTw3S40oHVBEVhj/qnvbYxF
fM4ZAJbOWN+FmF5L021f1DAkp8iDLcNJ5oDSmOLE4qpLQEfZQXcwhFndBxfLjbjAt6Ed37YOxqP6
tZVw4iailBKTjKVYhvN96qPHyM7bV9V3+qFlBr8OWz3faV9AN9QV4kvsK682lNWf368HdRXpkGxY
zDZFQgO2xSfN+vc5rGh1m3AQ8JcVU25sR6ui/xAYxic28JaArQsINvNs+XZwqCuu3zAMju54Km1a
QKnNndy3ct7Y4wAZ07V/EfvGfx4vY0zuHJFgGe7rj3b40D44g5r56Anh3Mh97qp72KPmpMQCSfOr
iV1kA0bhLHaeN/KNOB9l3rTt4BvQIrTuokqpsiF//PzmpN3XuGihUAdvpTZ+ZxXglgltOklQejeS
S8RpADFAOv2ZCG2bfS+/aM2sWyiK7KQ4E8+O4H+ob7Zbjrskk2qbEhmx8miHUa5BrNSkPgUT4VdQ
SvwDiITvNEWtEBfmK3N07mSpsnPnsjU42bpnZL8ZoV0y1iXBdhJ6G7OXubPJK8+wZqTczkWrugNy
MnvbQDmjo0QZ7heMSJOQ43Ioa2xZiH/WKVzUNaVUtWo6jBciCLCKsY0r3IS95s0N6jA4g2K13zx7
Pv3cUX6OHysIot+NDtHQlvm+JFDmKKQz04PemmincT5cZ5ecNLwZHTjs6M1N4W6lSbBmG0npetv+
Oc3b96aS6iUolnGtySndGE3zHoXNcxZXXGOhvwpdVLMLImvgcHwwpffh9WgRGcJTsRQYD7ru6FDd
omuISa3kGQ3L9MCxEr1NJ/9lmpx11RFc1NFp4NSXyu3QjePKjfJz7PhMgOFAjAoDNL3qQI35Bebv
B/f6Hl3bDVvnDWTFjP4KEVZYzfIagVlZqZ7Kp+xGqIZM+yvD7tZpk9OCn1iimfa8R7Ug+0P8o8SD
TBS0bJMBXffBBSaK+w10RSvf7aTZyCA2XpVTc2+SNAzlMloXmFMBy9jdfjKMfJ+1htwizGEHVu2e
E/TAdNAwjuUEtFVSGXPUxorvDMS0qzz64iB3xUpHPoc3TpgymquTu+UxNxHvLu9xINPi3hXp7wS7
AN734oTo58FRmDq4q0/ZjBHZz1FGuMGGBiT+LoDVsAA9NPjLP3cuXYk/NNJL/46ZYWq9m0pQegv3
FJOnROhi7zwMDTRCHNg5qF4Os3bvvvt85tHSygjleCMkud5GdsbrAF1+S3xY2HxUObXvIXE68oUG
fQMjjq65ggAX41fkhl2GLLXINbpNQBKS1Yi85CwdH5OZ28AhpoKmWyXYUlkWLea4X45LivW4mLYn
Fs95iWmT5GKa0nxnQG/vYgkNlO6Rdw8EOI3Af860yJ4Qk1UPiUdFnhlV+KVM8yPO84pUCk4uBsv4
FlJCuSzGB2W3miUgGDeV13x2piHZyeziweLzERmiw2SmN+b2lEoYgMkGEUsSbVjjaWAxCmT5z1WC
g4lVdIci0x1+YQODg5Pnm6oneVAb1IV0ga981hcGR/BG3Rkz1DXkfIj4ISA9J1HBbhYVjmLgulcC
ef6VwJRPQnlvMX7l54Y3eeVH1UNrshb5g7QJu6udM8x3CR1dn1owx19hGWTbziBm2kxzeWSLqjaK
5OmwSdpVWo7tU6m9YDu5DzRh9AE0Vfe6+PxZur0haa6WJkNyAkB16JyypZa3PMK75BkDhNwZ2VtZ
IXT1knMT+vCa3C96IBMMDv5K3F+jCDBtRK+coL+UTKAPVQyaS7PDJFvX1gMZwyQS8y8ezIEdgKC2
7zBKNkVlTXuuP2LE0d2umyRLtwb/Adr8V1h7hygp08tkY7wjHoV8JDZPmYDjiJpqSxXYrfqg18fM
6f8xch3gfPiE7/IrW2BpIVX8egDzsEp6Yj/ayGTNMr7ZItbCZYxWSJTEfXKYDWrbkPHBqtFlQs+8
+IVjVD2iN4RjrI23RZCWLrVEj1hPzQXGMc6Xc+RUX3NvrCuf+X/psSVMGqjXmMhTY4QszhbdJ9hI
oqbP6XQcxHrNAgValJh170RzivchFH8yjuo7pvbgLHrElGMVrru2AqYhgvwXgKoDo23I2ECAQb9V
OfVCXxzYRU4miUhgzyKI/eIFzLa+doEkBpnTAVhNVAjT/OK10nxodWyhLOO7wYlAZ200tmQc1dBu
ZoEL065Sl+k62zxjcyYxXnXQ5hhtTCRLdP4EbvzEK+9BghIGS2l9EKm6ycIKd77FE0qZJNeOPDrC
lG/k2qhNKtQzRb/cDTTd8NTAiO1R4cp0+GXNwyKLOIk8tmGBTX/riOA2ahozArBLsyZhykDECX+P
yxYbBCfj1hxYwUh4E+Q0b0xmpg8tfkXMxMg0G2BXD1UyVHvb1dUWBC3yNQp1wcBliZBDUjzkLz+v
LkQruCyQdqWHs8hH4JceMxrbNxR04xb9SmG+NGEOa7OJcTYvSy3tO2DA3ZoMKn0OdMVFHdBY+PkT
OKGelW2TfCfUUz5P3tPUGN+dl9V3m+ANGkurILSz41gMBFBQltb4rznkCYrK5WBuAc5e/Zy7/39E
zFGHnY1sjtaUKWXbHOGmkFidUfz3tRw2Pgy6+9gS6oegyL123UIGjlGqLZeVYSKQHIiJ3RnmUOxH
q4nvbizOML/m14HhKc4a0jqrFKv0T2EF8fxQCiTmvUsGumtCh0mAxsXBifs6enCLp6nCyz6ORBpm
emOI8kynzt+G2rtQ5aOuVvUGQ5x5cFRV75vOvxCGap/HgB94WqTQfqcVUw5WzX4VJw7XqC1wIyGc
hP3eIxCp/R9nKZqWwuBFqZ5EKDAjdc/jwi9TjJRdz6jiFFcTF4RJu6dOkL1GSXtVfvYPSh/z8IY+
hIjNl1kPZBoXfyOaDwdyiXbTRNiksmBb92RiuDlDrTjsgGxpGsTsS+Q8rrHep+u+QwkbRvW/vOfg
SJNiNSFQ2ieJqPYM1XAxx8O6g1IYLLKsipaAVrxVOgzQadr8SIuLTxxxMLTtcuuMxQyncDsHtrPL
q/zu5SmmI8ZyK0X2GFWb99wOJIcDx7rjKBenCBFPV77OmeT6Y6hFJ4u3TDTog1yPNU+N/EcZRZ2f
+PLQCUKi4dp1h8rD6JkLU+1S3uQDIIXMnLgJcLkBA+mQzhu+x6iL7dbDG7UBlMtzKFD4sEvZyKDn
4NIBZmEYUhP041ccs+b6WKlpT0ggq0AWQFqLXsbG2Yw96Ju+GMIzu8E7vGvsNeZEMVuRFOOmHElB
LW1julR3GwxZ1bJYW8WEggPM9BqUzyZwH8WQj9usjZtdI0ZsKt4nMo6Xsa42Rg51w7WGfJMc49xD
CMIAfM4TRkpW/zAvkyCj7OC7BU2DYFits69AReBQKqdajrJIYy1UUdkyMUOSl1BnrAuSb1ZfGn0j
DkCLeWvSvONuGWxS7IvgNITuLw1yjuLVPzD0nwf/1YlnFAbLFKy268Vg6q5CktnHMnvS+fyMG++D
wntjgA12Vf3lONiY6zh60FN+7PoHOkvblmCUwIRD6RScbcb8GyskhI80hphR7oNeiR3RzCaNO/zx
JXeuAR40RI65sooCj2j7FHW/SSuo9r0x0pJ07VNQqwPauXJrj+60kwnDiZDz9BAh1CQZJzRgE7tt
txsK7HJafQcV2sNqtH+hBf8zsvs2doZOCTskU5SnihBuUELHJFM3Gyn+no8QHib7NXpm0rrKlpDu
WaPrChHFKBpx0lPjqeWYzY0BBdgsp+lSVeMxNXm33Giwj8lI1zrDLgfB07A3CNTIObMo13kN46pR
/tYN+nMN55YIzO6BUE+0/AJTglkUO6fQL6XJuIn8sXWTpkCeaWOumiHcajtZnpaxLVqNlHCGWAWn
xW3DpX/hf45O8duZyZX1HVpy4pMKste1Bcdi+sVCKVcKjdMGosK4Ynb66SBtRDoVbwHOzVzMdcp2
aa/9gWahgR2HeU9NeNa8t6Szt/yhRgTNxQRrjwJTjpt4mOiNe5HJ8AyXNOpa8r7mJiLmu3zQZBmd
bHieLJeImVlf0aDz7L2mQSK6fMgxOvGOw0TveajBvfk4kgdIUNpzzDovxuxf6QLLRwl5Qnj8Yacm
kdj4/mTMrt7f8Q1063b6PaQCIHcuuUTJFMhdaytV/E+lFZ3uZPLXwJMo8YLkrYxixJ2oYXYemeor
lOEExbvzc5Pmb8NQ7TRo6L0jaR9rG1kYjUGxNpRoKX73gGNfm3BMdw4N1k2tsILNlHHZQ6xNGmx4
NkevOOmCuLAhUBfOYmBGA4O2HsKzTaqgPEWtzxpqIYOPcC2GU2AwDHZhvdfsWy7tYlMQ7k2PYC/b
9m/ni26dxyBpiFNSjYFktGNukVHFzkS6Gp16ACCyIaiLgQJpvJXnfBPQ1a2y7i8zTXBOJiikYGw/
wsjd2569pgJ9C4zql/QJN3Hs3yDNeuPiURC0NnpIZ3R3rmFQtcIt3BiS7DKVHK0OfXzafPtoTxCX
4kqNJiwOkTiGrfFch8BDYgbsDhWnX9rvHRiZZJLnJpjechwCLlcRVzB7ii6BCGeyDBkcGRkcrxJ0
oTN9AHILiuyzcakMzcEE05YixA/Ur3KQNadVkqrD0fnrigTyqbtq/sfcmexGjqxZ+ol4QRrnTS2c
9Nldcs0KbQgNIc6DcTKST18fswqN6lo0UL0q4KaQeTMyIlxB2nD+c75j6NpOoCIEYPjP0lyO8ZJs
U35yBFRcXGzsTQCJ0Vt+ith+Kqb5h/RkuykqJlZ4rYmZwq9H2v826ZfaHBrX42gKgYBZpXM3AN70
qiLhm0i4REIb2uC4nzN0UZQvDgM05rF4JATfF+aCy9ds2n8Kf/jMQd5ZUfxXG0t+JgP/cWryUcYX
eyIrgY/DDMEbE3FePkyHZd9ah5vwJ5j51HuLYfvFd1xKgDDL9lrXANiv460ef+EWkQAGSNTC3bI2
9pB8AHVjM8sMnm6mtYMYCLYuZYga0u1M5cEXeEV+ClLLp6BbkTg1Ep/HUHZ7XQzZfnHKUyMcKGqu
/0hTRFBSFRgM0Jdso7XDeYnuY3vVXD3/US+Rnz0m7+ySypRBj4WmvImc6PpI83JE1lKLTsnofTNh
um+8qrsi2c3HojTOvHRY5hHh7eaHHwF3DgZ9InZLRwyq8TII5pwwWem+plpMhw583SicYZPyVnKx
1aJLkm+9GMP77MVlaOXgmDwPyaBW2iUrCDyVmIiZtlT0toZ8h8igaTTIEaQpNW8+mA7NBBkU4z6u
vikaL8KHxKN28X9e9Et/L//7/6vw/a8Nvv+2/1uvRbndf/+p/hf2/ELT+n81/QKx/fvfmn7/+S/+
s+vX+peDGrp2+ZpUIHgurb3/0fUr/uU4nkUTn23YpuF7ghZgrrL/9Pma//J8XFK+a9rkuay1n/c/
q36tfwnH1U3fdclAeqbnuf+Tql/btJ3/u+rX1IXjAW31fNv0DFu3+F3816pfGKNmS7h6Y5XmhRKJ
4TLWrnt25SEtOd4I5BOc7gnHTa56t7O9si7gZZU372UmaeWx43D6GSZmzPspp+pMdvD9vCkB6rg6
l1rGH6FWszHq7JXdruPCgsXL0iCF1tUbwRKUjVymX0YkbnYBx3BjSl49Y6lJV6V9cvnnSw/W+0JC
IjpAmzsOKb2xVMb4YcKXDQBZtc9wE0HCjRhgT+kK3h0R+vxplud/vnirTzkWafU8Lx/QwNHxpDVB
j1s4I0EjIK7iKC7I+JlE7iQXXevrK4XqBT2tmqL2g2o8tzYeZooAHxpvvMUDBsHRM2fIDlF8FYSa
0wgPj4C8ekgrHJ2bHsoo8h8mrlZNO41Z5PNEwV3b5363q1uMkWOenmLBU7HxSyfdRXXCAaHUJnx/
WnMBQXfhDIq3ark1BQCBf77YJh0YqYpOzgQ+W/Ovzcpv6Bs6bv/5x7xlz1j6q8FZ5sjI/q7oje5a
/Z8vPpUA18Yn56h119p1Xkyzs/PrWNTvKR0brHqcjylfzjDtapn64cFMoXvawPX0osb5p0XtpwH4
XU9q4xALlGQxa38xwSqCrRgXOYyAQVHZeNPaNAlH37S3sdT25dINREWcgNPYuDe5ZNuCQ31uuz1B
ySWGxUVdxeiXnMrjxK2vVU3XiUaHBDx7/o4rXX2nZaT3qtn6C1RmPNcOUTrM8o/Ms6/FLIcLNbhY
DHOypoPd7xbSp/ypq8+2g/1dueZTD45grwn1Atxl2OqzvDAwTEJpkSDpp0x/tcUwsSf7FI9R3f5E
BcfV18h/dKb1MLZKnSo43sdF2DjqZv/OGPpqn63R4YUgKMVnWOwLsP+LPoGBj9S+17sgIYeJoIgq
q2pPcEziMVmonl2wA3HkURVT8iKoJt0/Zy1HXELwNfXtoxXGNrMBjGcdG7T5SS8awwkDJvZXW4PK
Yq7L69Jze0gXjh8qJwKF/22mHgFlm2BXi0N9l/s5wYipeBrZiHQTCO88OZfezu5sin6p/H1R9ABn
jQsiNDdfW3/iUoUktlHxAwoA1aZufsnNCNdopj+Zg3FpHW4/Y3Yf6R9x1xzBtlATOepkT+rl0kf9
SYuhAuqlhThNQaioCJEut5F3BJQpV1qUYWqGIjqViZpF4HgoG/qNTOihDNDyoyzy0CmRwzpRhQ0r
EFEWDgtJPLxjzoKJWD6YPcnRJFjq3LqjfmFjKRoFZV/cuszg2WI2EWAhxkbcvHndTAtMb6ORRr8E
ZIxgVENNeHH9Mf45nogVKAjcW9ZaLN05LdXY0R+crMj3k8vxkEIYAJ52Oh6WsXvWEz+/kTMGWUWT
Y1n4d4Mqgrbu6JHTxvdhcV/dSGIQcLXvKv6eEXMC2y44mmTmfZFr1raJqyW4TySfK0u6+pxo/usH
BCLMqW5CRVT5RiJenlo0cXqFpBP0VNz0bjOcxiTmo5rCOkA03/nF8oCFbwj6kZNaPk2EH2MqEAtl
0VhVQGhnaFw4/N0SoV9J3d3xqsw0R4Iv1MiZS0H6M0ujp1ZUzLN6PiZ9PUDBuMCGi6L1abCA/kec
4g2bUGLt/kl6Xz9EvhlYWUT8AlEGlQ3fX3HiIbmXk/Ox4vpecgfTNtIz31kMcVzI5wvtU1wg4RmC
yPlrWOlL6pT3mvfCSIJ70IqC1akJ1OOZk99MHyQgseKri9yRGGIarGQaqij0bk9sEIOIflGkw8LJ
objWB2PICHh+rIveOmnQuPZC8ESTOGD5cCK5F/EUcmGuqYxbPksTx7bNOTEc7HznOiL5W7fRp6R5
uRlFfV+ZI2dXW0AX5R23lE87+FL5N2FGdKbaix+41AwHADaxUS75i9YDOBB01kKg4W4GhBTgJ16D
Eh1/k4vuJFs7OzU2t4XGMbx9mswMYenF3lYFZ24vj5JrWuX4GsFj7VOQjXEPuLDBpdm75r09q6/W
7Pr7Vo1GMHjQPgmRnHTjAVC6EdaukFifjY3MhdwntQDlZzYgqtIUdJpzJFoIQllJiVLBqZNekUDL
ivZV6w6EG7lQT+6I37J8cVv7NadNOIrlR1tQA+hvEh3mZutXRIjc1xbPEbQNg/8jeavRWFmyr3PD
1cF0mz+29UnbVcFaRvM1g18aqg++g6qMTX/L6Hk7pO6+h53MwhflAUneeatF3T1q1cWxqz7QG5Ft
mePvq5aUVu6nO4PSY5TAxcG+bDa3MWU2nQ7wws1C7qXZvmeJvlOfqnNfq1K3wW+4gY+TZk+K568X
MXj2zJ+eVi2QPsVja/Uk5t60NlpFmuRW8PPO5twG3mD4gQcm66rrW5bnZCtG7IUKbPDGd7vuYrlW
Ffij5xKOhMc4yvQ3t5xfmopfvCT9gRECqEd5N5TTA1mNJdRp8ET4qkiewf/0aVzB/M9QqoLNZD0T
oSX1hrqX0Pjazsu2H+Crzgt5pL58Ke0oWJTB1AiDut+/a32ylujmz7NAaiTKiBYJfDiev1mP9DCC
oUwUxWc0tQRN2UNp4JfRlXqiOSFZm9WC1sge9SblXJF41F4x+0686IySxgI9oBXkPVf8iYgIxkMm
qlcv0iYgnZiAqeRij/OIa8d+9WNPCkv87LwNNhCe9WcVbf3VgA6BkkQM/UDS9J0gxweAFRc7BZYj
eFEajK5iQlphGjuZ0+X5WsUi2TH3ZItM2TFMT7mYoBgwVkm+vjjpy9reY5bIljImc0syik9nEH+3
WuM2cSjhTYZk5uGR8P3kS4tppJtPqY4nNwfPazWHoTK2lZhOhJFRZqfbbPPSkdHDx/vcY6RyxBQd
Cx9yTcG7GcxYKvBco3bbOLBaD2y9vUpofos0ALuNbG2EA2DNVxeyuiGqvMcYCPYM6tdbqO2gJ1Bh
D8qMHi/XJHXgMYCZmLItH/QRLj/a6kWuYu57UVzjIO2yo/S5Kk9ztY0sTzwtDA/3qYRJYdfEdRqA
UBymxVPCnpDo0yfEA3vTC1gmucxxLqSGhW5pMj3MeYzHpQoWk3+5Lq88PeWXVvETLPbgs5/WPw2j
UQ51TJLnpT1VxloRLW7AJMAvuye9du75WJSxSgK3BBBmTwXRt5MR2HE08yXTXoFFUwBXdhu1qCcz
YSg9zlscBq9qqm6Wr+ptaeMKooz4pXeXK3PCrQHD6g+ltJAH6jh+MhUTS8fHlDYYQe8bOKGtTmZc
ZTeU5FpwWshgUVz3Rs36fZ32Yk8NWbGQw+rYuMfMik4zyajdMlW/df0tdCkoeFIQMoQxH0iW1kFK
2cwmbxccMq1DgITH30GwgXv0kTBGwefkAEWOnSBeDEJ7nhlWIIV3LZhKT7Pbo5qo6MnzD2M61yO+
f4oBCw48zr1rpoBHMTSEjTX6dzYgKka3er1NXLH3LMLCNWYunHA88VMnj5aE+Of1fPdEFMrCKw4Z
UKxGr+EfDv1DmhTyoDEYiiJuXXLhxVBI0OBnfm1Bn6LwHjqXTTavTSphYnKiNhBNnxNLh53hxuwa
EOtiHBrfV/fL3H9y1TpGPdF9Kx7PmkGwIYdAxQxoIzJgO32+XKzKem2K+Fcp9ZoC/wrgnAJ9YtmV
uSL1RGy9RNQqhok12LPNAyOOYCE/HiLIfvlrU5Y5UGOVSxs8XMl5rBmqIMYxAWWoYO32T1iSnhh+
Z8g2/a9tM75hdVhfvgTNiwnf4NtfQ+Fe1UIqYfHIYsKA3hYvrdHgLuU9Lnpf8kIbz2zgTZjz7ceK
szyRQdY2djumT8yfXoSh3EvSzPczpWcb2B/oqm2P6MQdJM+JQ+OoV72+ZUhbYAGjFXYaP3QLF22j
YbBLRgZghKe2Xl4AgsV0qvJi55cXQndrKoha2DoXD1oH2UNbvPFJb042t44wd0+lgNZNl+mmv4xJ
9eA2zqtBhwfeLUJMTPwWr6mRB9HmimrJ9uXgi50GjsSezUMvIeU0hrTumDa6QZ9SyzEoeI4a6XHH
b9CvlfvKSRGOlPOaaf3RdqtbrOk3fLfvopdgRSqxcxOj2LURseiuo/dblpxA6D2oNsXgvHKGY+bu
IEpbKv4tW7oFI6+GI8caX9dP7F3EcDwWRwohdtp4dWnW23WF3M1q2cU8lee5gFI+FfSRpWuPS7Xm
qVIDtgA57i6QyawfyjHf8y0jJEv8Mkxnajmq+p6FiYd4oRbYqlZW4LTX5DQGYuiMrZyh/BnlfZm3
SaiMtjkzuFgKQF9teeXPfgmloSNSTj2+CSBHs0dCbRrIWjpySUPPKrkSZS9Zx1Koyj605g8QOxb7
Ur0ivXfKoeuVeXUeTvHy5A7Yrot+5JKQEQnD0v5DLemHj18JHQ6gAhiWcxLPMdUofjiUp1H3rsnA
FEm2Jv4Swh5YKsh1Ruce9gKRNjAlXM+gST7Raa+dSWYDVJn6U2/Yx7IX44ZzEVWjcP3qBA8zXWdy
Ki9yiV8I/fvHzI+fFuAZs8GT4xjsZ7He/xhZ/NM6atibLm66isFyUAMt4PTNMrpKhqRysBHyB5o2
tLlbfc2EgA7aOl6eAUxyEbcNCvQGSr2k1VPVKjnfGcV0Xs/VpDdpbbO/ekkzyTCj7Izt+yxKCECm
fWcI5AgX8wvLbfOOIlMFZsvIVW8AUNrUCHSUT5B45igFqshiTBISZQHundTvUiNZBG77XMTZ1qsv
id784Yb0kWdgaMfaxEOQDY/Srn+mxcnOUc+vSbTlorLoGDuahy3a6vb+m5U1M+FXjR6E6ujxhJPf
d0DUaRilo3ttxHhcLTLfw80j/arQchR7jIW1eODDNqgn2y6xnTCJvXHbtBUUmhzQVg7knS66lcF0
MGr/QzQMBBNSOdzIB7yhCRdG7oH3HeO/2jfY0uCw+6b8EjL/nGMgcCl9Gvv+Mpc1M/uBwaENUTwb
YVzq+VMycH/z9GtBoufYpnDOek6CI2enGdNPa5kfoM9xnuT1D6O4P03VFAGLgst1hgFLxBTtDog0
J6pRBxYmjV/ZtB+dCT6htOFsdubzzCQut62vsUrge8/rYjtW7zF7GGz8luUokRkEO+h32x7bIQKh
vl8UPyzta3mmwXgXe/VM10WyAlyKryVh34vRM1iXTBIDmf9NQc4CG8e99a0xnLnEceTgCToO6ytJ
Qv8VQWtXJV7Hy50MGH2znBgNrKZkiWCLSo10j6W5+9GA7QQ+GJp9s/i7qhnqA963Hav+j8pXLgNs
LdkQ1EWQwzthE9PpabhicLBeWIsP8lnVs2zs8zDLX6wOT10fqZAbG6sryezF02Hbr2E7bAWvVcqR
Us4kw1TsJdyswFvrZHyxL4mdl9l/NcNOjtwRj2kB5/OfL7XbNtsuwkNITCG0acIGPgRNVb04vVOH
2VACktYg00xy9exQwqfrNMTMkwxtS8SYVdED29acmTr7RxBlNB4udNiPmGv5bdyPfh5tW0rfJ04N
G2SdMEvNlaYvwItH8CXIP1vQQNT9AJETk15F3xu3cYS16eZYBI0JEqurXmZsaF3YGhpIx8llgW/E
EYvdfmYbOYta/c6WQ1Mp7oklgRmQc3vsdPkr15toY/qvpYo+q3E4ZajSnB/VHz4VCw/IduBAHohO
nb0C1uoUgOgKXbt8JOh1cHlOKUFN33WkEBcfeMYWGHRD8TbV9q8Oa34fd9Vh0DDSDO78j9fhUNtu
cbajKST9zoJa57BPJKG0RUdIaZo/nYgRNddcuNu4BHckpBp8wWXp8rLCztnocoZxO4i/ftJSFcLK
jj9JB22v61cplgFb/GSvdQla4NbZgWjzIOf7CaJ8lPr5nsl0uXGN5IhYpWFoypctA+A2wHeM44M2
GsPh2q7hLe249eoZUWjZ3UnH5A1Qsx8CwLmxKT60xSfYqGhXDMgHsJaoac7+ejEFSphPKRaHBMCh
E16y3l7cWjyl1kCE2UUiTI3uhGIezGi7QTESP3bG8QrrFOE7ad/1qL6zRTJvNBNlLmYN3bIlsxRK
2Ps5/d34bbbOMFehhwWc3+lM5Uj7GEPK38YmnaSl/mkIZQZrmwYxgNwmJNatYy1IjyRCfXifHOto
74rV1rDUV+Uv5Omeitx6HCQX2Yxm8Y1SMrnr2bqIa7Pdms+x0hE9x5LhbMP8OMb905aM6+uOuCSu
h6+O72TXFu2+1BMeTGF8RwwsbiBmmqDvxLZVQvLrcXjnHhwKrGKYSMjRJS7FxJWfb4yo/mCF74JW
MFfrUZiouqNmD2/qphG8C7w5eOogBCas8CIli9hg0HE7sOiqLHtUXDpp8b/dqfg9dhPoVDiv6H4a
X7zOftfaZNtSdg5cDCJJnK8oe7jhkwYbZLH1lG8MvH7PnkK7XGetkMBQHbcUTIRw/aZDk8uQ0p36
mg3Gp5qsEwyZZKuw6aE8yl1RNR8UvtVnWqGciqumWPSPsY2j7dKUdwp7466t3a+qpyPb6J2npucu
mJpJg82HJA7s9YOF+tsM2Vp3UZqUV4DwbYkBLEm5cxfT3+qKjdyTzXK3Xh1rfXjr5A1rBAIQOgyn
5vKubKO/Ig2onSCZ7ZA86gv+UFZ3q+uGOqCBwGJqW4LGyQeuz6Jjbzdh8OpR9kJLJC+LHX2iuX0i
Sh5HqwFF44pLJ4D2ycHbNdCnuPDStaRYhYRYrkQ1FuKFxb0ysJ0Rpc2L+7bHlTKt0fbS8Q8prpWN
aBJvPz0xwFp2QjW/af4bT0uK8cf7U8ay3LUuhpdiFPgabGcJlTsGet2MiFDypTeTfTUzVMRgtvdx
Pwf0ZXK2wWvlFf1P1qcy0GPvCc/IUUWZvwUDRSqoSfJNEsX31gTDyElTtRtc75amicvvMv0FxSoR
DUvu5w0N7bzgu6H7WiIDZmnK60lSHIkSolXoQfH2B5TFuOAx7NlVdFrPNN1/Bu0F8cHEvAeLFn6P
YxylS7cJcyquhnCOZA3AolPdkRA/xDKBUVSrm50/6XQ32dre1IqvvOHGg7rLcgUH3dOg6CjFiWAZ
qQ/hBRASEuxiv2MngdNpn6RfR4FrRE9L2f5geDhRifLoV7Q422b20WXUDc/YoJoK2zTlUU92P008
Us3Tgotl9qP3RWlkyLkxBiTUD4OTfflxzvl5iWCHTGIrpuaeMKMbCB3dhG8PvsWtUQ03Y4JROesK
b7XzWs3jl16rm1bFd043k7BNdT2gA4rIsPGhcazCl/yI+sp8m8xpxpm8oZIQHlpOTa9zFKZcka0j
CwrQW/7sLeyUM4yegi0qGmM2IqMOExeoRd+u21JHGVlJgnrTl5TQdnVzcZ0rmuDjZEs0tSHiIpc4
hINAMYEYx+UQp+EcAWtrSsA2g22xZHb4hXEO/CxUnNtvDX++u7KaXux8DhRRFjd7ZjLJDE8eZwP3
Q8+7wQpQbqpdzYQ2aJ6BJV/JrM5bN48g+zdRSJjxBmFIolOSpYfzyAsu7ApAjtq2LMqOhqejNe3X
btReozjbA5C51i844Xqcs3q9Hx2FhFJf57p/9AeibW0DvWzZTgbgk64FHVrNFLjXkPVR7vr44Fcc
CQ3u1bue0ackckTExjMefH/m/ggwfgJgnk/GESoFLpFW2fshKe4KJe8MIFZ3jvGnHOCmVV7CPMD7
Sxc7k40aVUB21KzUQ2iVw2O/rL2HaYxWLiDVJxmwf5PnXR84ftWKMN9ccGljUnRO25rrh5iB+1DR
JtKRKuHceFed/clUG1SDy/fRMa3yUm8i4WFfFcXj0hn8sC7PA0C8KQMOMBea1ICwSTLgehM0Mbgn
l/98Wrvo/IixSypogSinm9S9GI56c+qVDzdUsgX0+GJBV6Vx2CkbUAtR2VCLIX92021S1NbLXJvD
nKJJPCr0dZmupELJYztK6RIUkOID8hbBYBNPSJTp7LxmflM6YYdKG79KvEOqisIOHXtvOt07SF+m
DmSbrC4KTL+91MZAuZ3ZA3TM62cf7fQKZbP0vVst7HfTi79iK/vbjXp6AYDxCGns3Pqs1c1AGqjA
HSCtBNy5209byHI3qXkrr45PIsxsTY5SLF7qKzjYzgOFUHSYe/elYshXCQRrJvNXcBaQauiaYHj6
lkpeyWEC00NbntoQQNr7ifvtQBKYOGrBg2JU1vvMA5gvkMGdhu5SMwcz5W704Lfbf6ibJGzwyr+e
9h2dmZK6V8YAKbyusoI+5xMzKAAYt8YHzZ3V3tX8s8UzeoKFe3SbvqS30bwrR6Zq3pgZF9HzWM7V
DeIi4RzMVPHKu3Dbw1CGfVTgsEm5wwtGl16P4a0q92jyB3cVzFlBibK6Cx5OL/tToM4IOIqbTDVP
OtWFJ8gcnOn4gfHcv+Bvycl7lK/jGP+hYwGIjh29Yx46cwYtd178PsCE2GYV7ryERxljIEMN9yb6
9ggf1EIwaMKydt7JAhHsKt81QHRYRZ3TupOisDMNIO+wnS37c4qSSxMjoi3qq+kVTfJOEdgTQXaX
i3XcLV+TZn60BlvNOKufOi2r/dQy/G8PXGdGQlRShWmysves+r4ZYoQglkffokCn0LgJrPqkj+gw
at+ISe5jglOC2CdSPNAOujqrgDgKNWAt8wyfUCa9hZydmmo/lh1Rmlbe5vWpUX78mkl0zmwhT0pW
lpGvtPnoIBggxfJOc4dsvfm3wuaL5lG9MSmvrpZszK3OPN4xMob1khYvz/yYbFramqQgfwgYZtBZ
CZqpmvZuVYEVZyIYLFP2DK7aCQuFkDvB1PRnIHc5m/xlyAZ3Z9G3gRzYMLDmiAzvyT0N1bmLxvSQ
5tDxbB06tSdpvCTOvLGWeef6Cw1q7tIcxu7d0vVs7xdTEcRckHKd7X6aZ/foZO5B5MzZZklilW14
Z6c8xJBKfjuoC5u5dGkp1eiRbanU4vlBhoLJ1W9KnQotm3XAs3GEIMGWFGDm07HWmSy6mLV3Rh+5
gUmXwAZ5v1qP1NZ5Eu1bP7ePef4Utyo95LLAdVq6X7bHRikq470Fhrp3jTszl/Ul5hqOS+822gwi
+v4e1i8yaALcUEMBMTJa3sDlQgEp7I2T/JLk+sU8WXM1EnPIfaMzsl/b89+06jiWE9Y8vNrk19VL
1pr1qYGGRusSMQsLW1jkmP6KgcGXrnED4G9oGMl65IS2gj+o7eMIpxxUpJTTkgG6PKtxcqMzuOuU
L71b8JzvOUtf66w827kw9vrS3xaaXjfE0d2tB255YEK3FV3zBcoinGzv0tkWXvzBfQDTs5PJEAw4
l9iZxW22nnWVfCwFF5FcZPIQxf0JOu8YUMR+sARXrcFM8WLkOydWvxlBBSM+d14Vqmb84HkFfmbO
LxIVFq0hPmBfnqmeXa/Il9TrTrR5H9K1yNWdf2SVl4EiE0XTGgRLclVIKNl1aPwfO0MWqvxfY/Sx
7ltaheOB07O2pi1gX8MKSL97n0utNcJ2B6Xip+Y2W3jO2ElxxkF17G3n5MTaS0KHxAyHsYzne0bq
zVE+zrqjEVUVeqjsh17qW/y9b5xmsndXPszO2VxMjN2wwAg8cNRZrE3GSHxsMe9ayG+M2IcOjgEy
BR0iBqi3EWBEQNiE4qCquIycNcqIwLjtvptseCWoeoudaGq9p0yTNLzJ+mXwKZHx1ZFCdZ5oOpYs
ga1Rn3eJ6D/ylbOKOeFgm1zZMbfs1fDdGO3J7TPQcCABU28YtvgBXnjSHwrNhGZaVGuAV71YlIaL
ZnhrZv0s44jVnSEsbl8jMKpYhxgj3lszehARq/qkq/vRTO9ywAXS7fBN+o9pR0otdTgCt/j/MYDh
bhqS+TxONdTEDqjTmtyAI0EFdQZVg13/pSPu5ppamDc8qxaYfUI0XGhGMIWVd0cs/T5pcybaMQwR
oYkte/FE/mI6k/1rDD4dYiW0uqq0HxwPh1Tmq2uu2b+xAV8TWvlxTqtrOVEFlABXZmID2fyMh5Ib
lFZT/xuPP+X43HtcU+fCgFmUDRzno+VBOd1zC+ppJ33Oa/Fs/MyrsrI+98lguLjejS9lZg+P2uCY
V0f5rzEIpsFjsp5WrDJRdnaLvSrGE+m2ZIv5gXRC9ZaVHW2X+bDNO5ORu9MXZ4sMoD9Eh6GOXmxR
OACeGF9X1heu7pJAOooJ2imQmHbe2P78k/LxPIsH2uSvtIlDc/XIIuEHiVr87TQJP8gLYp2eI8NI
ab80BXCuFj3GtwFze/sNuQQMPklPp/a/0GdIZ3vvepp/9yNDwhJcI8hh6jpDFPGrZbJlVfWJ1C0p
X+1WxO67J+4yt79E7eQF0MGY42gOioi2ehDinamzjStLlStA7oPFuDi4XvmQqv6lEsDQhi7QwKMn
mnw0I5aABUtf98tRUt9QAmUcFkSHcsQEMjas4zFAMwJ2kHg1/SDMGtsRhh3OvOXD0i7+tS4b/5ol
mnfF3itiCn0mS77kvvddNP0cSkUhfQRw0eViPUUHWTzSKXVPOxSFy9Qe7XTIcFdClvHVMc+u1xkH
bRTvaAMi7MyCyik2UN3w2p2nZW9pGR8x25wy+n4pSeBNzwfrtsxYv0prLu4axy53QzNePc95Hrv5
1rjMXRNBkPOfL3GGBcCOaU+d+i3PfXHAKYieYtUh30wuqR6jhtJQMLpJq+HSHkmsVc6iXcyyvHpD
fbTS/C3DkgDrNjGpakt+hKY9tY7+BeSo5bMD+MpzsQcYHnHuqPdxyu9S162/Ul8F0dgiGYQbPpwM
hkxymtv7rgVBm58cR6MOFYSz75M4zKtQuta9irsV9ueRCpZpfFCcA1nF0Ak07h1OavRfZAS/iWL1
T1NWS2pFjGqjZWlKgPjR9bN7/PDpFcyyQgjTgoVFHTYu0IjSCygzsraOdymLFCt6KmE+u9OOWFHz
FuO6RxycPtMUz5Gq6Ezm14t0wBzuAhlZlysCKRf0FUVsWJPf3OlJupW15l6JYL2TzrvINVBOLpJS
HTzSy1wfTYiYF/D6XBsWvXzAdPBFN/ebk3JL0ZabSG0CPYNtbvN0fpvanN06FfG2dohNE6M5zqWd
bEzt3OhgGyAT0W4XmrXrv7qV/JKxV2EaeYwcKwI5MkwB8f6PBDYZXWnfi9Z+cK0STEZpL/KXtyHR
Q2q38r2roEJeKpiwpN3uTQ8PfqwzoMso8T1ldk7sCp/OzrSKD7rFL+D/+TQIH3GZ3eF/eiKMdkGI
ldgx+hfLodInSleraCdJYWKgh1QclOnM6Kd9THP1HK1PVdnthllcVAPqec7qMywd6HZt9DsmCSk/
2lbrGA3cab+khb+pGXhi4/kxsRZ+11lzTIons97Lpfs7Tv6XuUiqRLqMQJOPJ4Fqb7XoV24Ah3bA
HeLozh+G9jXDmiTt8tCU2UXXq22Fgzg+xL3+rSOgt6MLh0ALlDFiik1zDg6SRNU0bii1w2bVPizK
RHBFQImSB1atG6jZZ4i8V78QhOoLEwzizP2tglTMVoSqNjwiLpxGU+2bJo9ZncWL24jfTqS/Nitq
12ovToGtQ1dnqezL7PS0CEfLvvCsm57Zz5mFHdiNgY8ZPQuXy4NX0o9MM9t4kO7P3I/c3ZKJbT8l
LFDZt2zu701DRyBGCuHSYeb+uVDVpaOKYOyxwYi0vgOTPhnRNYNwy/5Q3fkG65cCYxRBX9T+ZrV1
8wRD93gPkXO3piUciUdJZn8H6Vxqq5Bbz4IS7DN5w6kHoNvFSqDTFIbWz5NAVXKM8QfRTrfe2tK+
mfhJLJkAS5gp1Db6o5H0j7XlQz9tHgDbRBvdAuUUZdALkcmg+pmz3q61yB/O7F2sBNg0tUuXaSqf
zTxlI9bNoNdtgpCeeSmAZ208MwoEuhbgPa1jDLeeF11SVGMLjWn9Zvi22oCacMKoVsexae8d5Z4y
GPf09/CwpfwDwQmKcx+zenybUQb32GmUqRFrBx1WW0AII/kwhEbMrj/m1wiq8CjEHweraGY5nOiY
Yv07c+exHDmTZtlXaev1oAzCocZsZhFaMyKouYElmUlo4Q6Np58DVll3V7Wy3s0mjEz+PxkS/ol7
zyUJjYiq8aplT56tXW2PlRiFpu1alIhpjxV0wr3i8xItLKJsV3lY/xLadJ8ZVyv8HTs7Za5bwzgQ
UBZhHOQIIbtopyr4ID2ZuERntgmyNsGoxLf8XVW5p2LK95oUV7JGb5GsvkNYMrpILspJqfqgK9r0
0Mz6Qogc04ch7E0BRJFowg+fN3PPXBec2RrFUV63NHQVqACKBL3S3CVJJd+dkRPWfVIYz/C2muuO
ok6UgpF8u/YB7EtFMVxa8Y1W8jeVJvQvU+5CY9ixAzyKVYJ0a5iMj6TqmOCQKzGg2o+HTUjDu3I1
7WpUJb90CvFwVZCei+ef2B7deCj19JLq9jF7ZxFz1+PiUo3JvicLlsHrq9a2D56H6NSi9Vy0Nfo0
cruIZNtUPbXOvEFWvF9JtDxmbGTI5OA64mPQgV5pJly9zQ6uWE4nT9ICNK7hR9NP0FQM690KQRpz
NAx4nJOCqDcW/oQVhRd86NHC79HelQErg8wNagb5mFcZvuR4W4qs2daeerX1YZ8YvHzYhvJla6Qn
+CLoAuB+eP3nRN7nPBXgt9jy7OKTOgWACBGWHKsEtS+qypZRXluOoF4GE7d/jLET3l2SntNkeGhh
gedM/dFdsZezPtrQ3I++9dEhOummcNoUuUMJVyqIKYxUqooCX5uqM3AkLnAWIZ0uI/MJsacth/ug
nuk54CJP1yZA7235/RqG/aEIapYEzRyQmh1gjYIfyLqrBDQTdz5RN4xDY7Y7Jsr0OFhgfPJWWk+u
jB/aYoVlAzWGBvy13ZpZvJyq9krGMWiCuDghgf1Vwxa3ca61nd4urdL6REECNSBbV5G4M162lxGO
16qnFLci29x0k3YwwXKw0WZERx/MdYAKtnMZGNfMvmsg4rrJqzNn5LG3X6ZjtTZmgXh/G0qCpSf5
ibrlSUvTX0bRrCHu1rC1SBCxI2QPyvYW0rIOrs9AopcoKOCduDnrtwm0TS+7h9TXkNpxrUbIfMtS
VF8Wbiw9HDausJ9B4XA+J0vOz2xOrts37aeOg2K+JGtdcGlMcZhmsNy6GKtXR0ZfEmgW+yI+KxYu
KCvj5Mur8cNg5YfknABT9BNs54pL7qh3jY14l9Kw1SmdQtM++O70yvFwkjKDKkFLuQD6mfnNztGz
756m0iin56Ie90NrgBvDQcdpj9I1sI9xEb8nAtiUXbQPXc7OVfd3crSOapqOcf6Z+fElcZpvWXif
DH13pJsd5lgSVSMMqALANr0ynuv2xjKX2Q5WvNCc31Y8nUWe0wow95ONfgQ+dhLErjvdLyWh23J0
Ba7PbHh8rAPtCgIom5lB3+QJ2ejckYLPpmaoC1ZgvYgocteV6e+wU2SOjJdaPx1QJaR8vNIl1Ipf
rhoutmadc+l9Kvxsi5jxD12rrWe3soWNg1XvA5bnoQ9bwBdjt+ECxwtGRjftY/iLQioewns74ObB
fr8md2tcGBrC6DVJcA9lxOgmaz+8ej1m3aZWRHN5hb7pXJ45q3U+As14BZnC33oK4omeRHvUIgam
fWBCDtZ3CiRcopXiZCJ+Y0+tog1FjtcH6pRQPeDcfuxmwWWL5DfdqIL85gj6GUqYCGCN2357PrJR
FBaHVPFoSBHQ13XMfQSS130VJSHFjCevuFK/dUFalmkOsCp9l05NsBMOp2deqv1Y/wqGGhCI3IaE
zbO06lu6bG5mZR3RDjM5W1LHzswfbR7AzhGNqccxnrwUcwVXO/hedUO7wiOPyM2wvptK+6X1/uto
kRyeOnBX8wgCUq6P+JJJFW8D65ZwpWlmLWURGDjJFYvQrgaH1bcDPQ854cVEBeq1wfPUMRpIl1km
uk2D0Qy2ktcdY/hAC3QEHiNC78HoRyL42EEb7Q0g7CH2E/OEnvk3q+S3yXdMrNyvbGTZwlNoenW3
rkmaSkiwo1BAuTWxkj4r0okWWYiL0XJLjKkjKbF9lFqYGAp92TILWuqBK1bU2gkqWKYoCb1nrIU2
pSDTpJ+bwq3xOWi3uCq+CcHyh7A80Lxti/l/cmfyuOMUV50meUZXnfhEV4t0DpsNdLcjQoEb1VZP
DuUBFndGQ3b9TQpeuE0M/Sp68czvZh9H+ML8J1vzoqeKdRs4b8YhVXnUTDHshl7bjoqJImQ/bcGG
a4ti3KPgghRaSiz9kfYByODVzBt9Y04OE7csog2dtHFHuiCi4GbAQRaxnyM4YYmN69sigGRhdNVT
RIrXblYPEU5DTh4X4IXPfoGL7JzQSbxU1Fj+pc5r7UgOxOvk6jNdBEN8SL7i2Hj3kmISzFuJG7p2
eflnKng8febZJrWbblOm5Hi6jl2zoNDBaCseHjXY1So1PHMaMUwy5CoudR21clKAF67vRVSKrYuO
rWPzg2K7zNjTgIL3aUQZOIjsWIeFvfLZnSwkFZags9vDQEVIJutVNJW3nh+YQ7g2Y/T6Xlbu3RgL
L/safel0Rnz0cNrMedJQMuDlDxhfH40YkcxAaFszPwRdsPRTEkcb7vpHNxofILkx9tQKb1nLNkax
O3Z7u8sx3TktcIpm37AgA9GBjieamm1oCGdJqZQDltsHevrQeMrHXAQrgpkuQNQNKXmsURxsR1pB
cJ03LAEAD2is3G+qR5flg2j1Yxa78sIP0bD4zCGsrDZe0hrSpJs/M+GNN/7Yu1vVyIexHZdxXOoX
Y7K2ndv+odnGRWOCmur1P7XGWLmumfukfckslXd5DxZ7RQnacMbmYG7YiscBSztZsKdzUTl53X2o
mvqscrEcBeMqO9NPo+pD4pXZ+JgDikAncNWjT9DYim1M8YQ3bFdIxD1lgshzgP7E3jjahrr7u4L7
9FTYFp1SCTCPZn7NtOnczPGfrgSr1PuSerF24Aw2IX/RP1AVI0Pg2WOD1Z+8BipClUxoIT37JgMP
SXHL+hi9aN1VH6SNE6IG7VuvnfpsqIxD36KZihhqawpdcycZTLWWn659kwG/Rgoj+pOdsOQV++N3
yG6Bu93WWApdG+U9RgWUW/0ybO1ohRyQHZH2ELkAQiXH+yLherMhnQ5XffUq4VhRnRDZZKCe5FXF
zVB+e+z9YJb07QGY0XNTAkMwHJRFbH6c/gGtBp9hFwW/U97cMN0jqUdfI6xdNs2Vfzq9oYC7W5PY
ZciKV4mGK4w4JdqfFK4RODE6uEw74Dwng8yunktoV63N2cyzvIyGYkeynbUqMRBOsiFRLYGmSCaf
yakEcaxQwymYUXYoDOdYG4GwqVJcoxsTo6oTH+jSuBi4XK6T+elj6YTQcSg2bl4zz8Qmuik0Yze0
3RtTWJTanEPJULdnBT+KFoggSF6rBeOeX0psCadD+G4Y7Z6NLkD72N4IWQhkst1LZMFhSzWUK1N1
i0L8l9Z41zrAqZLLmJrBeEz6jJVtOm8Mh2LkueHVSt03oCCsmnIO0NhQEEcGjKnJEDPIJyUUkGm2
iEe4vIQNFVuoJne3mQAZNazmAenoOsGAlcexlJc+fOiEwWIgcIyVRnYi0Ok9mU/XbuCMBmqhViRC
hBsjcm6p8Mu1ZfS32ESY52cQB6JB1YdGNS+mzihAWfIj/OA9nTM6B0FhxM1x9IS1SEh5LXkBNQWX
MxlhnM1ToxGaWoVY8WKhC2akXCGRxXTVxslz5m/k1AbLnrnTsiw07kVFwhZdM2OXa5TraiN0KBy4
QrEshw3jEgGVp2uZoPE5J3Q6zxfVJA9jonk7WfnjQ2JIPhNu7G1DxgTKibaQTMm7Y72h+U6yGgWV
ix9r56wPmdxEBL4gXQKfKo5o4GifiDNfdtW6SfJyZvddfXQkNG/hMsqBSQXlxEPLuRNiwMxakyg8
71pHO+9JxUOnAIEupMMO+mcpOfONGUcH0MYzdJBEGg4vu9pWCepVLMJEmZS8oYqOdx68EqZIujI2
XPp+N9U2Sar3XMB9LxNv55sjngBef8vPkM/5Tr/ti/pZ2tZVKP6MWZwiMdv48LKJkmury4mV9Dg3
09p/nszGvoc9iimPT87UrxrahdMwuk9ZnDGCjg75PKDsK9B3CYsveqbdGGQ4qXTMG6WcSBFytVWP
qm+TxoX21nT+g0B9myTIpLqw2g5gJmyrO4zVGYycWARBmq6dL+LB2Uu05nKIMSpnEfG7VO0FRORt
le48mq8lRfG+0rx8VefaLawxT8nWv8kBPQiGEvZ6tXroCbG+mKWO/R3pdkPKiSZ0vCaklcBUuuQR
AdHuHL3SB81Z7/UXOp5qHn/8AW/1SKcnXZOdUcaSiohTF0nlFW/pY9kGyOud3ai6cKWZLawKgQ40
rhVAOzYMRWvPUn2UxNYY1ptGC0LyCm/EAbQk5jl/hr6abQ9vfTBKLoPje9tgGYHQUpgW2dzeodPI
j6EX2BAH22I9Qknt59plSMeHlHOJdYKXbOdL7Nqzc3UkUvqtL1EyjkxoBy3+Lal9V51E0wTSKDuD
VDqx2eOSS6vtS6Z7MlEUmJWA/DS6295gIVukrIPDuDwov9P2jnfurQgXjmAexSJRHRyzIdR8rA5G
yqELiRj01wjIiVhtZu2y27laLZnT4zHR0GuwayZ+IODTU6lYJ4k3PESq97+tltCSyHA+W8Sk0Pjs
5IkgookHsx1mqhBa5FclrZq1tjiSMHpWxj1BNHZVySRuLsuK1gRCnljGU0Yv7Rs22yzDZ8geD3xG
Embulab9HmSG6Fvv4i0G/u+aodzKlVq771kcqAGJl65ueRN8BF3pressfoRFVTGlsOYM1wwp2sAb
3+Le5wQbX8v0wuydwBRJ7FQzOvW68mE++vDP1m7JvR5TuFYJ15M6KDEz9gYldd5mZ0sg/NJGiPN9
K7x9glFo31gKEYVEv5O7QMJMrfVPE8uWLVrcaeP1CVxRMyUws4dZ2dWksGTOx+hG7wLZAb1D82Qz
yDg3BtEHCf6hl8DKmWvgD4OxP+BslZ22M6cIGdr0FGqs1SnRULiw/61c3Ek5ND+J9rc224+Qfcxo
emI/ZdWsgighCVN9dXVvrg3mJQBp8K21Cuv8r1KEpKMLgN2e+QT2HVmy++F7BNVETRStKhdQmpdA
qiwBLkb+JJ/9sFj3OSTKgVnzIkJks3dbHLGReyALDTWt1Vmbom+I7bIekAuio6SXQp8dYi4Wqrn9
3PCRghJhYbrTZU8r2qY3EFgHLuHnyLcskkoPsiny2x0PZnWDOFlek/RWxy9B0ARXXQ7pHfvW1RlT
XCQjyHAfLWjpT+61qmr/GoNiJIXVewxjx3uMIOlwB/Rmryt9k6LVPYepf8ZtlOxqG2BjoAVb4Pj6
o1M3/XWCLu/5Qq7DvGcizXwBILk01yj/OMxYvQ2V2+2yIsAFYPF4LOer3eRNzQAh0qND4mYrx+m8
TZnM/yTCwENQQPPui+QQJ31zLaH9GWmywsOevruxfqkLu1oyDANgw6WhJ7/LAUe8xmXXbz0IGwvT
0d8DT1Z8HiUK+NQ6YVAfDzau17hikBOVX4kZvnShQIRooClO+i9ph87GlQPgg8ipCaJifDUWsLXp
PPiwDdA5woEciyKc9LVAgX7K34IZ15FCQSJTQh5MbLOt0FjaTpm1jtszlL12Zap29iDn4kgZSz2u
jkS5siYvQIvP0lKND7DlNl+WmnZ9A0Fw5D0ACgoZKkSgKMTQAs6E8VacRRfwF+GFMfcOGRb4DZm/
KG8w92Yu7jBEzqDPk+3X1JJFjxLjorfQ2AJnpuUVRMnaTr4B09ecVSsHsmSJz9WmYuW74RO0Rbl1
imhDdq23SEmUAzld7zDPqFVdYdcV9DbO6BeAL9y3eZFzaSBuUV+Rausb7loH1J4MPmlYEhN9wa8G
XN7icZn1E077J5xjbBIMkvgO0fcJo4UKXNHSBIH+lFEcfyeYqYgLtD7JUCLbNA8XjczNl8gGBtFX
wwH/hjMmJmCQT39Ksz1/h+qWwyLweusBhjaUY6N1L9L0/tQloySyOn6rosG8pdGU6Hl3dqZf0j9n
zLs3LvUSGlqDV1dG9GD04om+LWt9F1OZ9E5pbnMr3OU2JIuyo1vE2D8cJlSthyhTs8icRa5HMiKj
XY8zX0eJSvXPtWJkm8v++J7XAwimEY9PZcbw3SN1hiZr75zSnetznyUyoUPseHDK2k9BXrj0Uma3
rGCSrUlaVCsosPaqDJNX3tjoAA3ynrRcYcqZBIJt3Kgeuvn1/Es3PIinyYvbp8KV7UpzqdogDKq1
Bt9zO9XW2huGcS3s383UC67jSCBdY/otHFTg5qQ+Q41TOFUxAjAtcNdZnu2sSgPpHEbvo1miJAis
GjOBWBtT0SJoCpsdg6Mn36jVHUvQBqVqu4GXhTB8UMuu8J2lFZfppjaF+zYqc+33sA4I8UNfUb57
JUI5MnHXSSrUtZZDs3fsrxHl+9pMERCK2JIPfhSs3cIw/5ha8MiMC8EQs5pz2VYJiz/sLY2kFEo6
8cjxk2zypFr2NJbrEkELqV7xAVfTXiXee2D7DQPO6qqXTnLlxyzRItZbWF4zhzdxBL1oIzrcgCQg
rgk4sheGrpvIgfGDMdHv1wUpTFQ05UtlYKDD5rkmw1Oye+g3JoUHPhP/InI92UFTs3covY4gcIyD
Nt9k3qsd2/06c1g+NcFAQrGlPxNhs+zbOmA1aQ574mfekn7AzOlJ9uK0sgQBV6y9epuiMtI4G/D7
xLVXrfRBU1cKLKAyui6JKYDb9pwrW7+YsIF3ncOQ3Cmr8DaW0bdiS4JFyEMXA9UgLf0vGzeEIlYb
kBtHdLRG4Y0HFf05KdWV5XLmeOZ0xOk77aaYLNa4pQXyeybwiKDjWwh4ZJ2nLuxmMno4RK0pUJcx
IJaDGPI7EUah9tDbpobcF9Rmk+b3xk7+2KA1KbqG6qJmF5BTvhesMK+h5WnLunReSWsbyRdDbAIp
fhXl0Va1Ld7q8oQ2hylZYxF8bLjGyvONGX+n32s34brixzcLSM6CntbcsUEZsA/5LbVUXqoRQvpA
xPDQ80GtfPZsQYHXqDStZUHVuAjGFiyZrwdU9ta8hUUFXxiYZSHaXSYlpq2E6own22d/zBHEcVN/
cGzmC/Ly1LNnVhg4wLU7HsKvPNHqZTOCUAeJ2XP5ZserSp1PYtw9xj5j4MTUkq+GPDXNvta2Nv72
ECY1rB8f4RDs4IPbq6jWjbNf3DFolRuCI6+cZSdkDgDJBVigLNrniV6tbbNAQBJBj+hJhGSbcjdC
TTA2CpKlO6g3N4QSQTY1pVAyntmTv+p5u+0gx69cyFisxr7QlfpHs0r3TKSmpTO5eyPASt1H+Yhf
nHVQPBGB0OBUNVp/XJUdQb3S5rpWZ+MBOXPeZNlhSKtPCJ1sINMYNxH4XaHH6qB6cTWy9k8+2PXK
IiSHHrNe5unSDOwGw3Pv7f2i+KL3zQBO8CwP+SUeYo8YDI35QYcgiWUREgAykncWB27ixvHaxWq6
tlJ+SBofJAeXNmmaGAml+Ymu6tiMfAp6SABey2RUJaV1wHYVWohoHQilwdSopQUovLbc30M+UYZE
K9xt+s0LnpsQLLwvspGLQHmoE9280W6yydnnzrdqo7NIGWXGTA+RMYGThPpqBScmVTgjcCQtUr9w
bvAfypXyYfPKpHmCliYWA129pn78P4IhOFheAwUMfnsEMEFDrRNyBUSvT3cmzQcmr9cuj6+S3NWb
FN1zWObTXtCUIdhE3avNieEVYYgNm6TsWExtvIMKcEIpsKHCJWW21yvu2YCWFXEYppZz1WOyCCKh
XS26U1wCoZmadwAt5p3BwOcksFuHtbktydJcGmYBNEJNJ4zKNCXM0vaW7qRMQVC1hI13KVBBP+Wm
RWgyIlwE8Ax6A1zJhMptfXIQl4wrH4ncACtaNJustC4dhSbxDh5kDqT23iRXmZ5/xH1v7Kxp3ZuM
0zKmNDTVH7TdMDk17UUL+pv05M2dGU9UTbu4SY9NzzlfozfaCJ81wmSEYCGBnZuliWNZLHAQp4iM
uVILNutlSXwdK9nPPOSLPmofjXZ8sRpE0sJuPMYM+Y2TwlgB/kg2YWq/97lBXLOqnker/3TCLgOM
BTKnqOnikYWK3Ou2Nj0nsOonjbA46hcsfpqwl56B4NJmf5nbWKPibkYcVwiTEAhvO20iBtVgaq6i
MUHGN0JDCO2TTuCuprI98DKAMQx2tpkDKrZCvtJmwEd6nefCDqaEwZvKdqVOcDMe4EvFwNMjHHAj
U/Ungxy80u2+2spcwL0z42uS/JniVq5R5lXLvOYjQkfFjWhfDcfp17XSn9vScDe+qY0bM1PXaiqf
4buMm9FMbpYJJqmtkNsPklEFCN81I2/4AcHMRmIyBqOz79cw7U5MEn+N2tnNOM20NqTiwHxhjfnJ
sTDJEuKwh2L/ZQrN3FS/WtvEgx6Zwz3iQxjkVrwGYUlN9B2Sdn0MMDDGqsLDVH91BrJIRMDpLrWi
kxVERNej4tqC3MLuUDbFJvzK1OTd4ozMbRjBDyOnykJjYrJi6A5cvAxZWz60bmwShJe/6A2rAS6r
LrIb6FoxSs+wxqGkzUphAz2smIqtkKiuYOGxJk4twFUKklDhYUDpCtZFzQAcWyW/MSPwhmm2jm2m
r73FhDpsgQYQkvDkqrrmCoWN1BoqJqs2w3inLe4WmdT96NrnpjS2rt2dDeDHS6KKkKUq6+TrWbcN
TGzrVfU1kZArmsFYMdP/DTHsAQk0QfS9VOsm1zZDX4Z7iRtdKBLJzYRhu8eYlfKVmon017vZNDTJ
cXUkq1UureJaN4gQXWvAD19DxAkDc9PPkeU5BiDRDtzAHZmdK2KlYyscHFqbOdtUQQJiA1Y8D224
HpnoL130apqJYAyJ965RYNB8I1jbvDiSMi5xORwStz3amsz4g+m9i9DdTnr1MLdQFERLR4P5YDvh
vcC0BD8tvtcFquRh+IVATcP7AjisjREmOB4Nma7sbREZJMPF+aYT+QH86vQIgwxuhOe+CLprFNjU
/qSkZyXbiLniLixQeQ7g197G483SfTVKiOkGDKkB7p7pDd+PdtnfiL4Z90GY7orCo4oPmHojSwdl
m3w2DW6dycHl6Qt9GQZzWq4efXQGGi6YhxsKGcZmI5NghomMxdJMbKJ8eBDk/KRlKEkVMeOVH8Vv
TY7IPWHI3YJgR8MWUlWJCd0njjQ95OlC080OXPfXdlrgjmvHi4Xhca4VzKiCt3FuCbPDvJY/9hLd
KYicbLFEuYkaXGeXkObhZ9bynk9SbG0mgiY2Ylsy3Uim7afrJLCHYe1bG171Ftq5sYj7AvNkcGuK
as+QMtkNjX6Cs4skB7iuxoJtTX5ujkQcNR87AbbTtr0JxwpbM4UNRwAWUwgCXu9H865JbNvSfbNF
4C173pCrxHC+9dz3d5NBzIJwkV65DMjsHC1CpgLWN1Wir2G4EeqnFzsr55oftZyXhkvM6sC4rEgS
UhpwlOHnRPhbRR2GL3qkJMcMqjVyY8wWkynhL5JdvagTAPGZyj+SGaTcCePum8U7Bkyc+DMcNJbd
VUe+vWjmvE0t5T9yJhx+7EaZHGj50kSNtqpJEFwCutoNiplxa1G+jtnBVO+VTtKzNM2NwmFUTdmT
Ab6uhgzWubhiKZMMghXS9iF0bW1WPC67e5cx4ASXgIMr59UqpUIKJcBDSpt5ZEq3SAe0qKHYLzQZ
ORTRyS1JEntVqVmRhEqQxTr+XWzFp9Zg+kalPG0Nm60F6921HMSTzRR6aegZYO4he5OVeCF/CHfx
BDYoY1LQz7YSCawsqFx6Pec36u5+G8OF4sKF3bYqPOAkFmpi08N0DFcZZeqgdOJPbK6hdnSWA5JL
jomV0EGMDElIrJy+UlKX+6gs+pVeyOe8ImA6QWDpRtYzSDTenePK10hiRpa5zBILaZcbQaKP0cXC
kpFzhlc5tN6hTa1vAKmHsqyAYwDbjxzBG2G22HdpT3aOoya0OVCcwk+hwB1Ek/9FZxJsdFm8ZJyN
rApqWjKSs9hlIEdFEN2iHhjuU9QnR5o6btzwrec6u7Hbr8z0aCvCggI6zB8sTJTL+jgUOpqUeR1C
bIjDOsh/n/rOJvCaG6OzN5U9aDvVkag14dDPAihlY+8wXqpxgvBjdlkP83m6oBIDJc3nPlbnIYvO
cICsrYz5kI6hJELXeIyAHkdWgfbNu3HYxdtiSM92I3c2IeroO0E3kjB0LSf3t/TSvZ8x1yhY7S+9
rn+amI4zm2kPPoJrZg18Pt1ZUmkxGB+MNj/WWba1JxB19px25jXu3h2Ev5/QpetkqC3cAd95MDGD
UimxzaznoFsFtOdj1FFbFF9DwcSq4KqYSOcbR91XAVVS2bRJxigfePSEtEQwwAf/lDmRsyo8kWzK
MdxFMvluWQnzSvGe9mmpUIt9+pZOkT3neygvABZXRIgEui+JPW1bxitKWXkAk/THdm3/sc42LTDN
IQhC+q6MIGWnZcFUagg1x+CJ/3jeQkbRfvLdV5Bq/gHFHPi1Lr1Kq2o2TXeq6hJcQTGiU+vMO4kH
hxSrEpxdzJgi3yQ7DJJkDONidkQfHyLzI5/6jDFHma07H51a0Q83MwowmLduwEjFyZeiLHkqa2Ll
w3jMUXhXYCziQBx/bijm7KPURipAC7t638Fb+vlBNV6dOuyPbvRREEoRrC1mjQfMHZW1+/nSdDq1
Cyd7g5SA+2nrH63t1KgzIuP4c2P309++wn/yt69UwoB7EbqFvtW9eRGIM4JFjdG49XGab0QFzv3n
Wz2rR3/58/3PT4LE1hYI4+IVxCti40ksPTQDU3IcrXz5849cp8yDaVnjzlcMqU3bO/zcgDJhfewk
ucmqlm3yLOkmtsH8GnNs+livUIP155+bYUB2iSiA7612L8PeO1lFPqBMHNl7GQSxq5TT7OemEnw1
+tuiTNWhQddyZltFd4PVdlXX0N7+9deqfHoD05zv7PmX/eu/m+0L2UrZjY2Bspo7l4CRRUsI7Nak
xRbaGJEHm/cvdAgvVQVvLMUwM2CWeSDRaMoPdppGZ1OGRxJyie82bO9DH4ZT44Y0GyaqDjAY4R9s
Gpg7u4jr6xzRCi7TfeARhjtGmmCmMhmduvYB41oKkjKu9pnQpwezwOUFcNl+bwgoh+dq/XFSVk51
Pr4jj4hwbk/tQ2og1w+BwGJMENGREIJ6HydRfAzN+m9f/fxbOP/bz1cIsq51aWMTRtn5Au9kU9o8
ElHncgXBSzt0Dmpt5k7W88+3FpxaNiSm+Uys+N9++vNt2zTOvs9uk2tF61J04jokBCfaAco/NLzD
purs8RAaECoIlODZzGN9Y/DEXhMu8u0Q4vWyirfWGtMHw/Joqe0IL6w7LANP91+V334nRZb+bmx9
fWQEwXMO5uTG1QiijIaApURfVhmG2nuklJ6bVnsqY7ve2hmj8dD3rCO9x9LXU4gk0pE0uMYd+o9x
1VRtXP/6FahD5Ui1UmZQA9UfxT2Ih/E4NOPvn++mCUctZYuDa8R7MWxRXlQQaE+GLPnYJMI7eJHU
t7a0Id3gODorzq4wUM3158bC6A3I26kPE1FZYEtyfFd+/pSReFBYdcx/zncUBuFadLa+Abm2Dfyp
Ii9iAI5maeoi01w+TrZ9VqmZvmueQQ3hGy99WmhkiHjuezNzi6hPX2266AOTA281Qtp+95PyOUVd
c4+byTxDh8rQwvYE9X6QirujYDfplLRg400ptIaw+2RPAv3XGjxaZUKnrdF0+XSCbANb0KxqHOJv
scbL3aDoLkd4uuPEbsOzVbgxtSZFzDbGrLDoO7NxGw6MIvLcIfXYnFwi6XreTbZfL3U8yzHnOnna
6aYvC/9iwbBGcpGKLafvFPO77zwezAfjqhau3P3PGf7/GXr/a/jfX2U1qjiMmv97jr9gFpffzT8C
+v/uv3r6D+MA/n9k+Dvef8XwP5dwfz/jr/Kf/+lP0cTNuP/9f/7ZmP+fv1L8hf4XFjE2Yyast4aj
G1D0/0rxt/S/mIZrGb7wPELG+em/UPw1Q/+LcHVMHo7ukwDwQ/ivy3Ym/NPf/cVzPAeSo3AcPgi2
/z/h+Bvu31H8edtbrmsAILIZhLEcdOeff/26x0VY80D+VyjisMb93bMZo//VOnUyy2R6gLT2J8/7
aAtvF9MdneSlKbFndyUxaqmjbh6eGsCHEqyJpHiOerWCFcSsX0su/+YJvZIsHZbFPxVtfi3jouGP
mjwR1V//eX4yf+6iJ3zX5glxHcOw5yCCf3MXpem3ojTBkztj2xxUjS8bFjBFsBVNj4nCzfAqKjdF
K5aRyMG+8OBm5Rebgvo0pHSshPkYa6SsP2qV5Bg6bBWlG4/riTUslDZSMKd++vhv7jXxDP/uXvum
q+u2r9vuv7vXUQCVlgtsT/UXMQfIpM/axis/ao50i2znz9yBMgUQkB0VtHPWM6uE1JObbuQ4ExvX
uMkcBAGrJcZM9PGBHj0ie+0vxqiyozHajy7qcrC/a72A2w1XwyZdjyAip4LsG0WCaXoHMn5U6q9x
Hnw+wz/lf/CC/OMjszDNG4ZvCGHqPLB/fD10ns4BjykKD6fT90S8AdgXxgWTOxZWlxwiu+3ZWDQA
SoGz/tdPq2H9w9PKHycWw+ZdYZOozXvi798MFX1kwpQKtwShlrbAKhLaJh43TRwiD/KeBg9oHXPx
3OchmmIatkDX7gkxYbqUzX/zTMxxGn/3InNvXMvySNPgE2Ta4h/vTeiao81xvajDatjU/fT/CDuv
5caRLYt+ESLgzSu9l0RSVKleMlQOCW8S/utngX3jds+diZkXBAFSVRRFpDln77W/emmDJtMNa5M2
SltQbGpOlCQrxC9EGuj57HmqlXsi2vQeY6X6cNzgRwTffjKtX5EYbQRrrKq1sYOFNurUH7UIsaNi
ufL/fJL/y3vnnnfIXwhsrMH+f7x3UyYIFlntLrRIZluKpsKNsdm4aOrDHixIAvdohAG4kiYLUJSK
hDx6ob1HD57/P5+j8z/eC3Jwl7fh+RYW08Cbn//HLT6Rg5uo1PMogzUIoFhcn3q2SjRB7VWrlwmf
h52cNNKBKSRQPbBN7hbC3/qFHgl3IWlgAx4ieON54Mba4aHSdn3sk+GZH9quj47Pk6ZOzaPnRvka
1WtLDYOy70Iv34lgM7+xQCfGHjaHWfn1iW5b2ywKjPJamk4vEwu9JS6glKWZ0A68Pbx2WuPc/Cq5
FSP5Dl6Dp6StY+fUUMCVXUiekVOU7Mkls3gdd8CbaZ4HNhwS4nqgLEWJmNaIjOLj//23de2AGee/
fTNxtBoICTDx6pbvOu5/pLPkDthIx3HCZZKz0SMBYd/QD4tSssOSho1t4hDbyjqSCS4Dhyp/dObQ
HC2VUzFr5oehgRVwUY1FczRdtzk+H/3nM6SNDnACcPY9n1Z2etapOO2QBfYnFWr/OlQG/A/uEc4z
MQRrPik6DvNrWB3xDFCYf778+YwDFpYCTLskacs6/P0PPq8//6m/X/Y87S0oQI2HSwi86WViCzy4
mTpl86xBvSfcJm42HRAS3GjauufCbz+DZtYAm+X4Bhv0lptng9RlzTFPGowMPHMp6raY7JV+HLeD
R+YdkvZ94IJMAC5qzt4hLIhA/9jj5AlmxAlNmmm95ZHp7LSI8q/sGuMGB9S4VXfA6tMmpQLrYsIy
1TaUtUFdjSpjX2U/k7Cmi4O8oQiNk5DDQ41yxB3je+8wHT8ad0p+xXJ8pQvDzncIP/0uDI5G7BL4
VDj+3lKeuWMpYS2FjjnKIG9nG4293MmB9noGsW4fhlTNaVngPpbkzXSyK34RJIP9Pd/RTk0f4Voz
QUQoT6rbhHDbCGLrEOItQp5Tn/R+qjdAAdmDpPlGIKt/N1HFQFIgYwtZ8YjC7Z51NP2trEXVCfwE
+Vdg0mVlJB5JM+4UsZQ9hYLN1JC4nQrP3Kfez4A2e1YSUKLHmvsQBc5v3W5rwqrjZaohCq00Gzp2
r6G9Daez73GHNhCsVjK1YDgpb9oUpUHEQkLDmTwPdfVV+F7awGmMlM4AAUTa98zyHtHYFbfQ1tWx
67qeUIXc3ArkffhAAE/xO6hL4xvdpW9HsOCg079i17hMldu+O8JDv5pn00aDHvVpKpiv8wtI38ae
0NjNEb+pR5g0LefgRx77zsNrxwRfiY4Pxm+dRy6CYZOREL15nqII9ZapE/n756k5IAUt/L68PE9F
E2E4j6abkiSkkcZLkiOOCgNt8CVCNXpjkmc4LrxmiWcn593ybOiP/3yWOY8tw/zi50GmxMTSDI1g
vJ0CM9SuI+qonQXjfVlZurg6ViGuETRuD1D/+XmJCD50gjlOvufp86dIkfvFMGEdn5c0UF5H6Hzx
X6/gD5JuVKs1K9BANf2MxFzHCp8SjgjttR8SkDom93QRVdprYobhm+v4BNVK8ev5iuf1SMFOHMdq
/Tx7Xn/+G25tUZWmgPj3dYDatIAoWaa1bSzJDozeYjOL31Kr0xeBqbc76NPUd+drRQkR0BzMavM8
ZVaL3+y8papvx+NK6l5NtoyYuq1e42b76zxrc3eP+DhajJWewIWAzDRSjLii9fU2eQH+MO3q5Pq8
VrQV3HzDHnfP0+cTOAEgiJn1i4kyH9IJn4caTWPXRi3tDRSYNwjl9Q1FdcWseHteyfF3ABfzyLOZ
ryW2ChCWdVRy59c/r43ZnyIz8uvzZPDC3y7aQ1HWyVkPIccNNfTMIDWmL5L+fmYida8yNoODRv2O
wddyjy4KQNps8Sfbaf+huRHyFFU3gBLG+EhQ6rTRg8y5adqM6bT05LeF6cCEGIFDDEQKNOS7W2Fs
Qcb6hUVGrEsAKG+NH2HzBQT3JclkZfLogrfaiSomk4z4Ofr7XyaSRuG48rvWUWu0Jkwtda6Ce5EP
hFPNP0kSF0YWK36BdxGdeyHZ5PsClX4dmqtQUqS3IthBOwo65ppCLekhnb83nTp4qWmdvpTzoQiH
bN2WKSicgnGYkqZ2yNLZslr5GmU2Md0BRVA7ThtMF1Zaeq8UjfVLiCYN5coU3Rhw925Zubg5Yr5H
YSL6GUS3qxDmvLvZOAD7af5x5sgeJ2g1rTBRM0nYEyJstwlWaZpUn/Wo/8ZDM70a2aRftEIft5mf
j97GzybrxBDLlGOG5s5X+sWDEXEK5kPk28auSbPPev4/Q5pWVjrFt1ZrCZApj9mQqbdkPlRTbr3A
KaHW79VvkCSS3sle80Hu0zofz1YWw+fTW6JOstK4mANwHZSr/rKzhH55Hob50ci8tC0M2S5gu/Xy
7XmAuUNodaMRVm+UZ/Kx/3W9scSfSB8/jX4A+UkcsA7naVhYncNR+Q4LGzXR1PP97B0aNTj/pH95
nk3UMbEmdyQUzk+2TYxQlIbzoR0dbiVCv3QX7wTY1ercp7p7L8NuO4at/FQCMDzIpv4U9jrkqD66
GZbmH58H69+PXMcut5Ml35/X9ahkovz3k4EcDtSqol0/VimRtvDr6ySnmWfWiuk+UWhkYmOPmloc
dL3pLmylusvzkQjL+ET/FX8Ol/6+/nzSMiR0Mqe8ZdjN2aJSHWxufe+pW8WSZ+kQ9DEW4aOK/D+W
V5OeEOpWSKStEx1lmq4d1oa3fPCItnBiBDl0gG5tjArOr8ovrWsTJCVuhENd6J0EoKaOWJFPLD7K
L2BBmzLzP82kUGx5NEKlbFfeAh+6VNDRfwCnbMaw/4boFHdFdJpKLzolPRngLniYmDXAwmt6ZATz
QRWkAPVhlrzTS6peEwAnbAOkt4uRNS47b5rWeJKpPXslMdDzIz0X02HIvZVW7uh+g32b64qOhCyC
LZ+HXpZMLL9BvpV4MWMPctDz9zOyHk3AmOGLSgSS3876TCBRIctLHyxvkqMAGIRUnusGSxnAtYSB
JVYNHMXSZ6q/mo5TSGou9eCIaC35UDE86yAtEUq4rpseytw4GSOS0MxscTuXyjtbjemdQ9o+69rM
UDiXFSt67GIYPp2jquEcRrnx0YZNtkwDr0RufzTMMXmnnE0LUjdhqJX9H78ytrnPwgAJ/KOG/LuM
Da08PG/UqmPlY3BjBdNaWmHOJ2zVJ7Y93/xJNW9o48niydzw3HdUCVukckVl2FtZ+uby+bk4ZSpv
vih3CH2zl+c3o0mMX1o7p604mOITpI/M2pTgqfpV+JDt8Dq0qXh9HvLsjtLtkQTldK8S/ke+7uvn
mdaY5ACM+UZvUCAXcjrWWANf3QH9eREUf0oSBEGJClaNqR3swtIZj/H8COcLjxrMteG8PkI3fS2C
zNvXqa4W43yau0V7cXuFBgL6Ku0h2i4ZY8dBSZTnfVvZ2zyuBTHSHAIvxVhjp9wSM/bBNQcPlW/l
vdGZRByHBx4FWIPjL/iO8NU4UXj81yEeaqAYoy7Wo4DXgCNG4g6toV5KzybsNUZy97yxcLsh2oZI
jicjW0GIwBjjVS5OBgHyXpO4ofyx24Y2ZhHy1zdGTw5OlWnJKYsRt6Z02Fetx9yAbCljaR4Um2hw
3whNhVzP4mALlxdfWcl3HmEopk6pdZc2GoNNWauXvIhN7EwkSBhm9gi0pv4t0xbbfWBA3LKcvRmA
FsD25gNop+hDCe0L/XLyPa9wA5EgOx0Tl2awwhyJPaE/BUVbfId4n6zbQBN7NBj2Q/TZ+nkdgW8K
fSmcdhhz5afUX/vmGiL7/40q7jUGKPcdMbVL1l/Z3PM+jNa0nbULMO4UE77XHuTkpydYUC7AOPOr
q5TPcnOqt7YSwGqSJD1AP3B3rt9359zsis3g1NWbNSeTEbhuvuvNqa9svPitIe/DTPiP+sG8qLZX
u4L8qkOpZe1pTAp9g09YvbE3CiBOBelHakP1SMP+ERKtdI/s6JioluI/K8MOEeM8T0SrnEjJ371C
MYcQ9CvraiIMOikeEGBaPEOzTMp9JBO6yNAN7Z8zd5wAZKSLE/KQ1CvGX55h/4lSffiIagTRik/t
HFsNlTMzfat1+k2jNmo7w6vSt+ehqcmVShqC0VoKSuGyTdtypY2Wt+4EygtVU+0Jcru+kPOsLlQX
+v0UTFd/Pnte+vuQ+QXwqN5cJdVswZgjQ58HqI3pccCVNpFDs4/qpt3Ujd19DhYK3TnXtAaFye1m
qlPZV2imnR5NLbbkAaXTvm2i/vKchmJX9Re29A/TQBYTuNCIn6NQpHQiIs1IbRVrCVYPnFbzaZih
RUMLM1wiYu4wRVLgHZpvBDB4f9xBXkFj6d/JPIGoEDGuaKLj7dsYr/JxuNk9zeHno+c123P62/PR
EGloEV28Cq5Fahuu5+ziE/Gwy4wqOVThUJ9szaJrP3TeK9LgfDUZWvRICpzNjeDXdfBRRwAr8Gh1
+Ea655+vvWgZWCkrbD6qON35nVkj/dHgnxvcrrB6gVoUrChHmqojKO8si38zhdwJESWPoGrrtaBC
cXLsqT+5fg1o0ZyiD9vy7tShgATUSNDiWr+mjmG9V204bFnG9jvBZH5vDXB7cSt/lp7zidO8v5Mo
ke/sLEcWNRXlu20m788X2CW1HMecyluH8XPvkAm5xV+XHCsXmoAGUIHSrtUw6bmK9EJ1QGY6fg8H
XawKKgR/XU/r9q/rSQny8e/X//u6BAj4j+vzvxMyXm2bLsPHlDNQ9H6OeMXpxHulUZmVVGWXbFfF
e2kpZ0cu+RxDyLO0ITXc8KYFEYbTiQbAtokB9T+fHYTRE23kU1ien22EcNfB6EIycU0SrtN+urOS
RWLEMnlp6fFEOSFg3WCZj7/OkALeUcI8T54vL8zuVuRmi2OCH1YDtH8AvSWyVn64jnCgJHEYYCQq
0RxI51qUOD2j8Jyy/XxjheRcBzzg22kAafD3C0CjXUJ+xfPz5U3k5IcxYmh4nmbzP1GaNhjYCqG7
rRGaF9GqxqJgTQcSgti/z6fPA3xr8q9i92J0cYvDwes2HXXd1fNJlUgJnEHzl3RcVx27iUtEQfcV
g5f3WhfYqKEwJnuD9fRf1wiqNVcO33CcR35L8SRpm93zhT3cGCOuz1h/6vPIFE5EJWi5LaPs1/OJ
5wF+z2un+dFJuaF1tqP4ZIds9QwbrDXaVhYzQz+3i2tokvMh0SLUNjnWXdNhCLQR9fa06r5PAhtt
E0piN8Wkf1I61TJd+2SniGvJgvisR5n2GaYGoU5CvIdMkKIvEZnPX04DSUgn9eRbVZvmbsBSs3le
L7J/XhcpICrqsCCs/tvrG935HLKCsngzNe9+gM9n6GDDN3rGaZk5W8dOjNWALvh9NCafDNwWTtn8
bMyvc6hsKpTPnzU7s1tr0v9m8EbJAkuqHwVaCSOuvhyffgODmXXw+kG8gedGvDi/oG2174Id0w1l
JPgHq6o3pDdC6rdH6o/S+fLh7V5SZalH0zs7x0qja0jOxost1AGV9ocLxIEf1uVRYuleWa2WfYmM
xZxAR9aUgbcDF5DfbQ9u5KDOo6n8fZIn060X+ML1IZFku/TTLQe6xwjOd81i5p9bOQBSkrzaN3JW
5mKCOUH3xd9uuYhL8+LPc/vWO/YNKHHJaiJ980ff/YkZGZUv82P7cAGGvsneX/pWDFlFG9QbIQn1
JRiGbf+QxGx91uS9HwgvMlbUstNPI0Hhqfdx94KyM1inBYk4lBWCdSciFvAATw5doPStb2Tma60j
GURmTO6TSD4s/BhAws3FYNr6HzfUv2zIDamfqHuHHH/FhqNCFNWE3xgGN7g/83vaNuGrozI0SFzW
RdZtZVbqhOVY8RKOanhwDMn32NKQtRGv8EOW5o0PrIIwxjyLEuyLolhKZgT5CJgJ85/wFt6Y7Ymp
BwG87aOhvuFQo14CcGvviKS+lUG8I2e12ISoscAZ9c5jJPAFJy5i9YywHcV26HtMAaUTRfcDBd60
JFOX6moRsh9px1TbMraitCEx/NjlcYDHIgKmXc7hYFlaMnxM3c4hevwYNFgY3eRDVIH1Ec81fEzy
DgHUMluz3Y0OteE/MoJ5VwJhLJtxyxrQluVxSPwRRdS50YFknyxGRN7wGWmVnVNAdloyTScZk8bF
UkGdUo0YTQdl4cWMx578toIqI9k5OxZAJ2C+0lhQ3oAVDuzMuiSwuI7S0LJ17ex82epnJBYOYCKU
vHxlx1fEMe1ODP0ZBNHerfBoQKYiAzdoD5NK9wkKc1NCidb6DR9t+11COQX9lg4X3cXn1mM1ZRtq
XxoDcBXefW8TJPEOO2f+yf2CfrDHLoHLjdAWNLg4jthNuc5mEiEyp8jD5mUoooe91Hnprda+RISz
1I17zLMSpMtknro6Y3RoNXUsRldsa4309spUR/Zw1j5E2mLD4UxWgA7SU99Yjz5qgy1jS3w3x23g
edZbFMZHKBd8MNNE7GJLkswaXhHFt5yW1dz1qYfY2zNCrlJZFufnQTjqVPcIUIE2lVcHEcgmGNjL
OKp+q5tBh67BsGkxge+zyG1xu6HHcNryPZvhllnlnBM3Vi9OR0jPpBO09Dydn6z6ojtP8b6GLfwS
JZZ6aQ0giixtf7ACZJRGA7oqYy9EAtqx1ELqlGw4nVfDpGAs9T7A39z2L07h8LNKPykvb49lRtyB
3qp4A1vPeZko6qDw1YCwDnNw9KyeqsmaaPE26en4GL1JHTPZq23hMwppOWELYLrsdSLAsStmILpo
zHuWavae3r07VpITjwkUpJfTGn1msFGJTr6ZMz1asjaOaQ0wzPXZciYtIQQItc0D7hlKcHp1l3FW
obvhPdetc60h7SyMXpzgr1p3rZppcNxBi0FFzXX8LRg1QUfF4qQLeIJF3yGanUT3I/abld3n3l4f
3V0ka0iltLefJWxHL0n+qZuCfU627oMUVf8kz+E4sGdyGj7tQKA4BDTgavLK0Oq9ViWugLBwDo2O
pTdzAm5mv8s3eV4dITcgQgvgpxABnbW1OEBQOtWzhm5AHufZffpgpuA9a3UQ7ozw4pvhePG7q8zA
a/BuXXYcshz2OIUfjqP158IthzO2RG5PRuX1lFCG1hAzreniRkcxviW2w1e0K7viAkD1PhXwwIte
906hU/nbosK5D7zxt+w97zzX+agSmfTXy3xDjlh0LydQCdC+UMyNW7Sr1VbLGT3oKJvbRNGXoi5t
nNg9pMsUejqtY3BwGHLZP9PWayYCFmk8X4LC+JXZg74fMMBdiOBYpm1ov0ZEc4yGMFFWpv4RJeBC
Da16CXpCyNnQGeQJ6x9qYmUyy69C+iJw9y0D4rrjnmrP+CplrrZdamn7RDM9PqeB2gt+t5LkJZ2d
sVV7x1xZ36i1j0cdafuKgNFqRbKss47qLOJubR+eVVJG9Lj72cMxIBBoWVKFAvXQBi9Z7JQbrxD+
VjPgGnjOzOtD5nVETTmuzKyi0Fi/2gbLMqTc/QcRN/aCDwFi+wR/D7fxLvK94TxNP4sWrEqGlX0P
iti7DF7/G4IMtS9omgulleYRRB8fyNi8R8jtt2ZQ1niOxXgJJ1XjBOW2Fb5Rb50yEMeB+CZIx8IB
jJtORy+zvwvUbbR4dfbiY/iBaKi8mGGzbNoSgESO/YlMDJJ/VPueInzcpCjsVSoI9eWTRgQd0V+c
sjVkgTDBYmShvd7qkhb1iAtxPaUFPP6IJR74CMgQk9Xvit6Ys8kt4uWMLlrEKm8ZWdNDB0kE/UgL
s8VBeTYgSrGyumIzoaxNj69nkZEjfpBMsKtOVHfVpSuDhtlOm6CxiFqWB6Ccq6aQ/d6ro9euE7th
tAiMqXEnWHV4iZKUWp9AspjVsC6SybqmTf5b07BJkoogsWd5dzulYBGN+SfLCmMxYKkd58DBokjy
NWE7AoLxWfoBMQZI1ZdhNpH0beO5DWPPWNhPHa8MTD4jPg05/xKum5AsUZZ3UlOqXTXV359Tbl27
MaFo8YHZo9jngWHiLJKK2WNsNp2XVmelQWYZou/uD+EP01tOWzgN/b1oMdwJ5VXXSTcvb13W1/cO
odCin0vDuC2KrW0FEqmq0tbu8ORqaEhrEyJuNGgnfsefX+gqvlZZLtZB6P5Uk1ldQh3HtUeYAp2a
FbZp9h5JYx8TKwJflur6EWPBo2oHUt89puOyLe1tRtzudoqD4FaQJYC8Z4LYXcygewN3icWmegtS
ydiSz0c8uDGwhhbqezYHIMBAonTjiXfdDiGMCO/L16oWsJj/qc0dDEelqGArSlEjePVsDhSiSbw1
RdqczAlkJMA/QqoKSnt1zepP1Gm9YYOxJEjXQafS+e/E3CGhmKCi0xmDF+Co8Zs2RC8UlvkSsx7Z
QXHRLjGe+meFvYvp8TY9efed/6McaUwKLG9bY5I/k9T4QqT2hwnRuutKQ6SAxgc9AdEwynAvUcBb
oG2Cu5VoK8CyHr6NzF7HEpOploFEjzDQRWMckqk8rus2YH09Wdhck8zaFAPra72xFqyTxk3LT68r
bzKWiLOIbrWBJ0a1U765rvNOZ2nrBckO3FaElIecD+g5rNGx7kiSMCfPfJGDDE/AYotVYSpFYMFx
qFW9oGoqD1Xb7lVTuu+5AU7NxHhQQdpYucxnM+5adxeOk6m1SVv8EtV9s86iolv5KLLvk5YitCtL
ZpO8fK/QDQ91212f37VW68tNmI2kuhumtjY637xKE/do00DEmALYFYV6F6lQr9I21sqvKNIkP9il
qD3xvclFJlG/QrsZfUJZBc+WvBY9JnAJk28vkiZ+4EvZDjWWuSCWr8yV0XUmwm3oymC3xwwRM6Wv
wiEIvmUTOJamtZrLiAp1S3OfSIZQNzYA2Bh2GXJkoq5tZcmbUJtq8ORlVPiqGu08EBZ1JC1Cu1Wg
+tcm/gCMa+XSEGhzWF7wvfJ8Cl/0CvlC+GtZJtEudFzwFlNe7vSUGkBNvxD9xLW1w+FN6eHV9bQ5
MBEMQVuaxTqMc/FFTSKrQud7X1xYoUBq8Bz1Lm0Rnqt6jlwb2vrsCfNHM2xd8ok2Esxkl5b5ceqB
P6AexDXof7S9u9Yb2BCUTTNyGWzkDQmevGpM273Iav/DmyHhna5oS+ryanZ74Aa01kAljPYU7vms
jbcO1MICTxTJpnm4IOUzYaAEGA7ELnthB2EcAXjAvEi5ZSACVySB4fLaNHbdrxzyie2FNQQfaBC+
SiQAZ+hkaC+tRJBbjirAT8Ej84ejQDvwD1fqZNrCWmPVoJutGfHaKwN35dR2yATrp/cRxIROTmHA
9EEJz4CRGImrwZZrTxW95A/eFj8s0yhObuqg6tSHE4ML/vpYLKnwfG9nkuBQAA+icjYQ1Av2xADW
Rb4HlOiDTzjjWibQUuz2Nx1jbUkiU7AGg55sZED6p0d3HAQTTluWfdvASjZ0Rl8mP9sMnpiWuYUv
NRXxuvNT5q4mpiwCb1umjNxJGot173aPvKeHj53MvTpZv500kh7L1lNfldt/ZEFV/bQp26iu2phS
3cEq/U4rwFV2EPoHLPUCYE6BLiBE59ao+LOzaceTnrbWasN68w22qA62DhWGw4FoJHz7UfcW12Zy
nBiuVlrMvqnoMOd1+aee0sR0GT+CXGS3NGYn2AWNtiwrCJWQT/J8WKkmjl8tFvZZFYNrdUG3aHxi
rG6XQY5ooR7gSobyWhlY6XVsbaxrNTixvK8lQQSvTa/Gg9LjTU7lcSM70uaAY+41Y7xTsUnOKfnZ
KHKThzvScLQMeC7QjC38nBI2b86+CxWGsa+1oMNIOnXvZQMNgUCEswivUitbgtE0CrFhsiq6eNqG
LSHG3nDNJ9PeGjlZmlFCoaCZWKfAGdYgWHAptb6hwNRW+pB3S7hg1k44pBkBXZEX3flp5b91k4yn
oG6m1yBK/zhJ+B6TRnbCgF0u2iEqNr5PJQ9ZsvuD+U1aBd5QMpo2NYtjIJLutpswLSYtr0xs/mCe
hXU71Nw5t5cgcyJMvwWBtWXm9HZWrtMnw0geT2HxPUUtsOyGSrKLYR9gdKm+befNc155FyUJqSi4
i1YFhDaHbBWa8AKYY93RGsx7MBozB45b33KMb6DUKVx1C80BlKZHD6V54ctoTsyEvnb2e0Nu2yE1
MJjbZ43E3pNsWhhIaRHBHVnJorD3OrBZkzlmN7n9pUDOywaj2tJPwuNSYODOhMJBSMdqnIi6qwtK
A32AuVFUZXN2ejMj2yWPD1bZb/rQi4E3g3zhq2Ko8EMZxkcRuIhei2mX9s1D62gOJY3x0eldsWLW
GG/4slh4ZxDcaVAyUNr92TOp+rI3d1fAgH6hsiWOVEmiNIBAuK0b7aFRArStxLVtAn+jxeBlWCZ+
mxLg26zle3cAZ6eTIc6IjgE3+SDxUm3pYdVLyLzfm3TV+yC3+wDsvhqCHg8LSasyCJZdTFu06yqy
ZqnHAPOlvmOQ5eI74Wrsc1SZ2rsFJijw6n43JlWyaF2CzANHYEIE5jiIZG3k0wNBB8i3yb1j5pw2
bqo+BbVsiq3ld6OuGdrYCAxdhfN7DOOlATiJAJrokhoIUgp8gKHLBh7KBqqEnk1cyqIO79Eyi2Af
uOmpdAm88Rr0tnSb2bjYKZFOmjIXna79MirF4gtQLo5iWtydGe5zDwktVJzkYGuLGiPwgukEm5Yy
qJhNA4o52lEdxfJFlzu3kUAVwMfDwSBtZsHS48iWkmCHAQvz6JXXppRXP6gevQVqtxV/EDvf02Y4
WSiNSdCgqz8Z5u7kpQEzuOrvGdNJ5HcvpEuYBxa+iymzshMAH+YXSnlFy4I/abQXlSfHui06fMxe
hsm3JG6uRyUbAOoL0vDUewMmM915cXyfFJpI3j292jXuhib5Ou31YOWO5ltXf1XC/uwMoDyqbw/s
YMMOav8slswBARUd6kuGppE4FPHLD7Of1RD9CYMfJDOQcST8G2EX0TnXzWvtOeSlpNimaw3pu6Ir
uRpI6ZN0hYEbA58dYWj6FSgNBI1y2Uo4uPhgw70qumXU4TnvcdDuMfSy28mp8xOIvUsjTd1Ktr0n
6zBaGcsTDAt7v9P5S3vFj8qmJxhAGkqlnVx7KEPLwCFMhLjwrUPSe2bXd8qK725LRhvOxE1rqWTb
tc3IOueTbVS10F2Dkj5rImgjyO9deD7QCoBOmwEZFfHJUU3/wN8HeBHR9srGW886Ajut7xKVa+gH
Ta9NesDMmN2fJBRyCcnuDbqajnGUYoGrXTLw9gfFSPIyzRxYChMwYPfswqhrdO0RY6u5zofCXMy5
1vz97cKDVWGvgR+++cxWl6xtvcNUoloDxQmvBgrURsosXuU1NjoSg1CINXO6nAJpg3OC4HIXXmGQ
vaajIskwh95qXermjwFRe2H4U0uZaCvaT6U06FRJIE98CwEedfKDravOgDesZm0DGU7TDtCt4sPp
34uiJu+xmk4mlXlRUwEqQGQdApxPR4Pt39LFH294Sl8BtrLZQ8ywSvSsBrUCsBnloqj7cl9E4uAl
Lol9+o0y5rfRZhMFye6eQwwNEBvQlm6x4cG907n9WUsO1DqCCkx7iprBCO1H3rbWqtbA/rmtumK3
uljz7tPpBUrN7kU5DQz1EPSKKwp4Srt8sj5SbLNU0iiWtuvSgLMSoOxHSpeA60fyWU3kDEwdMDw1
5h+iPmOfjdamF8gDtvNoHfhGvlexm5HxQFZ8UEzn2onLk2Tp0vXGS2eABXId9obRHOEr1kIB/oJ6
otZ4jCi9MBH6rO+o7KQnlAGsfFv3krfRxs+9tyy1+5cCgftQEEowFA0hTiT3Skf76kD/59yb8EBx
2JI0uXLiCfTEFL0ak22xlXBP/iR3CE5En76EbV+wl99DuWqPbNy8pWMywjMcXGLEqUuzsKgGQiWU
NnGXREy4nbjrhrMvi4TfzVCkpujo2XuHv5dpLiyHdB3KgxBdhmMGDrSTlCBbc/wz5WDRo5wgH6P+
YfjtWnro40XQ5CumSSuU71UF5zieQ8vYBvzR+5HRnQBnRm3ChYmmUbU1LaPmBeBDCFUNp71r7B2U
2ltXUYz0BxqKQ/HC6IrwOqUEIKLypchvHmhtxjbCJ71g75ce5nNuFdzrzTdCAoD+IjLy835GDfId
CPT42FQBw4fvLOzKBVA1zPDUDLxcW9cOIGJ2g9H4iguG9BV6/0vUaji7tY1NpLWIInsXttbO80K2
q+Ngf+hOrrH5Mw9x3Ai22WW4pgGQU38H7EIw+w4F8yskPwINsmFY4SgdNl2moNV05Iq2BHizgE5Y
10wYDZArL7KBWmE30wZyvyWSg/82wkLZ6MYKi+jOjD2yQtS5qSLnYHPH07htjmAnFoYdvGoUpA6T
RmKUU4g9cyTEsMj/llc0h7ih6ff42Qvb+OIRpoQIIAWRcElXg/S7fYugLzKNH1H+gkUx2mPXPgbx
GfkUmYpSAVOItF2GsHMl/4uoM+uNFEmj6C9CIth5zST3zXZ6K7+gsl1m3yEC+PVzsFqah0m1q6bd
TicQ33LvuRlTxzmfXrTmbHCcnMcdsQov8ZRPa9T6ydrC6hIwb7lFZCmtlY5EKfGLC0MIwFjdAjrs
1aqI7J9W2Y8wLo1gyP5a1sT9MY+HqBN4qrq7rsun1kbS28e0frU1bjRKxNU8/IjYeIxNA8Fcrf+0
aUnYUmMfl7fEIm0TRU7A8fBdRfmZESd5Ff5ZZv6RsTuyr7kAr9R+xpyOVFTemfIOkAf5aMoZOITb
IlDK/oklxGazb7FnRUe/ahHEzmAmJtxlSrgnIFg55AYBEzhMnlFSHyHIpNg3EQ0Nn1hLfvh0dyNu
YFYHPIwVT9kmIydM5VC8jOXqI50jXVnibIcJPmgX/BO63j+13abgoPPrriqUwM3vflpD02zC8Eil
56V7H/8LHPFX7vn3LCeuygnVreyBv4WHvPfJf8TjskqH5IPlIttHw9/5SxYT2hn7mJhyY43aRM0a
Un39/tnvyyA08FbY/CYv/mM2Mgg5yY41RHx3fkwRXx1q04VTMHQ2z53CPmqDbx0hfrQrQt2GDZHO
rPxUjAaDvNhhwNzhjZhfNGIHBVdMGoMCDvNJghnZTb414OIjVYLKOjy2MdlKSQT4XPkGqHCW6wRh
jss+SB3avnWISrL/EVTOSI7YPrJsvSllUCjXrX/qe0y29O2cMNDrOiblfcG3c/2S02GAT5bUo3lM
LaNlCyepktJm07KkZoRfI2a3lboMrpnuJxO/nakBxZx1nBwWZoVHY3lB/gj5WpWLj6aCuD9QSYxJ
sfBSIWmq4jNN8u4aVcxHDGDPuIPoQVO9f5T1yeRIf9IFWPXRntyNYXbN3Y/4d6n1fhdiO6vA6aAN
+gIdtt7iVr+3lWfSTqT+JaPRcXLGBNk03H9fogYpIrzrP23HAngGhXz30G2i88OgIibIWzlqjK03
JNqtcOOzoYacLcDUos7SITmmhIsoFb7NXlIf2Vn4CDQ9Au4m47liUc9naX16bR0dhpy2x2j12++L
Zy1Hue0PRK2Fb74Xo8N3RuKKPOtdH9MCb5R6wEIH6DQEXTHlxDUMbnGSl9FpvGtrQofPCSnfQjyg
yyqie4ZaG2ZqUT94VYgQMHsiUoMdosVCRxmDFtSP4cjGs8CSxcSQSUHmO8SNW8x+LYBw9jy1eznZ
f0uBNlq6Vxy63D86ocKNX91cRG40ndlba8zDtSczYTsgBYYP1O6EMua7k/Zk1zgR8QVW9+7OHoiR
/Dtmf7gvrOo+JQlBp6GcL7oeSJ0NsjSGm/KZ0vJd0T4vtDWkupCx5ZFfDslB0XzwGVidfFQbDPry
kVj37Bq2FrAVmYGkjsgFDq3uTFz066gZFhAfauHIc6MdHFjtFn1holOnfPKI8Ca1gsBv7hjT01eW
l78k4089KsbpdX+dgapeR2hg1XiQpKA/l1n1UqOSu0Sg+rGNPVW5IPEmS3eRnewNadXH1kzB5eSd
9idzpjdkWjXU7NYicSqxjpSMxSGccoryQhwz1jrFihKOeUk9MBx8m/0arVqmeQF4w59Jx3EFEse4
kmBDwo5Tzg/an1ykXhDmxvxkM9wLOi2DrBoWS33NZK0rIu8h19jusHdF07OoujIkjHBMOvuoWls7
6hr7CcAk4N1cNR2N8gB+OGdPd4XabF1jqCRe73Vbp+XyqJKBuxX13OO0YPRIiO++wmYgQc61322T
ElpFBo+XjIOVPlKQfQgMre7S6m+6bAoThzSgiMD4vKi2qLhBtgt9AJLAlQraxtll/WRRpbvaiSRF
l2mnnz9K2X1FKaHdOVk9KoLrWFTAON30TccT9e3ZZO18RsyGP9x6fFFIF6PYD2JQJB+d3/krD3bA
3Ssbnpa5llyZnMSH1DUQwWlEqPbWfAlboijJiMPHFPrYoybJjTk0L3AjIFmEzCST6B82zfppmPhF
mYV5SD1dB9Fp4dftWvds1uYXm4OgD6fsya/qmsVhPiCJR1WKwP3IgREzRKzUa6f0L9WL4scawGJl
/nft1oQbuglCViUYv1W2thlLpzyLpHFOSreRYFTSY6XPo3WEGvZtIa8cGDVkaFt6/z1nB/ZWphVp
LnGKvmi+Ui0xhRphx82535K1NyDEB+cZqK7oLw7Dx01aSOvVjaMPrezsf3ya69kMwaV2xgIqbO59
JvNdS7F8shOxTjWK+Rg7daCLojzqrgmdu5L/vfz/S3oimDVyRtaV6J/4fKLtGGKTsJmnrIp8FM9R
DtAqldqTwGr5HA7FZzXgSPj9SsB8Xys1sgxPw+cKadQz87Z5a5hL0OHyZTjgM6Cmd9hv8WWZk2WN
k+cSg21DQw21qdecnYPCROdcu/3/hWtW0NFSoGpsnn7/fDTn//4fVdQ3V4AdXkLmBJBmMNKffr0c
uzHYrkZxMYMSIufS7P5oFqCuafbJUzSi6mwUZnkul3+qWyy0Zk72ez5XKhCSAUY96uQhZqnpn8wE
5N5kjyhWly/7IQoxt8X8NQtC/4RcinOH3JLfv22Xv00W64mUOG4sO3Ururg0WacABVYTc9XZXba1
0fA19oN/9Cb/gxIyPuEDJHeOZ1k22tZeO9RE6VXu1vTbO5E6FwictJ6h/hM6JQkO81fO/b0iJGkj
G9WeWZUtHSKb/TyYiU5YZYQFBtWo6N/Do6A5Fh0yDEQk9VaO6Y0AnrtmyeQykms/Z9MrQbqInKMK
KaJXnbV4kGtXI+5emtmnqUFcLiv9iAwdp+oaVUa4Ga3pyPNdrfvUjTf6MoAIwUNGS74kzP4XoelL
48JTGwjEGjnNafFLCL0hhYwZG6PMqnxEgJAFKjNXvq/hyhxdDCjRi4pillGx9tDPly7lGxMokLLS
5UydASd5UFypv5n+hqV/tv0TW1Nct2YDFCWZD17BEi4vm+/KoC/SJ6/dpz21jg07PtOeTLDkPUeo
zZYb7AskxXRKvu1ZjGCNxU0PCUQ2HJ1hd0VXWvdn4errNJPcggSK6L4VMH2l/2m7i1JmEeg8VloM
La3TyD++hCGpWOfheJ42XaZxYVnVhcF29siq+oY0Y+sJUvhG+yDd6o8R4cc0G2QqLKjIFwM4Y0R+
wKqtIm8QfpthGOMO2aZO9ITJDBRrUC0EGqC6fSrwBqihRn3H20cqvMCu8rNTxAHX/KuteqRrtfW0
PMfnjNIy1C4JMcL7WhAwABiVjAjdvxmN/tSOnLU6/MNViKDsgAJpg57cYfEMYBwjBOdxi2h07MvN
JAmRVsjYPA70XphiY7UOGVM5DmoGl6oOT6kiQGmYaeK5necV7x1Gs7BfFOxinGd5HrQe4uuYhYHW
W1+zMW2Rm00A55CkOToiXeFzM+ghYWWDl53V0EKdcbuVU4T3kbViKGj1tCU/fsHiTRD8V0UpfIba
DCOGeG84y8WU5a9GSKng0HxNOmQJMLJknz2AkdyYUj/29nQtq+pK12/YGZ10CmSbvMljkt0wVf+d
6FcTkXxbSXgzNeKCm3RgZNMu/jjiXIVuvY/1mfm2u+lbS1Fyh0jt+Uxabr1NC7uaxe0qq1mEJ5W7
i4UsCEhgKJrEhtqEibl2l9IFLxIbpgEHIvtlvdI+OyvcDGETc+kaB9QsdMisTrQy36BCUquh2Quz
x/zfWhMhuUx5CDxG1AuVvXsuZsj100wJpIx4xwT+IAVJ62MXdRuxHBVAGPA4jN3JdoijpWkl+NMU
v5ffJpeM8rylVkGIscOYFzgd5GunzTY55WSGC7PJTGdLrzdrNIplLd4T3XxUEQ7WGkfJigyUg6iR
vA15BswPy4dyH8GaLeJi8k66vPkpQRqPfXd2kuluEqFNra69ACb/YOeUHAZk1b+1M4D3YkMuPdO1
+F9VM7kcU/mWyYT6bSaYu0/JrajUUcoYlwtGihXS8oV1DCC2c5CQLy8d8pHArBMiG0YnPnmR/9KR
OgMxsqXjMDAYlOm2t3mvaerywMkeS1fDoOl+GxgSx5KNSV3JeUfVwP5mVmmg2IgUuoEh3UQfomXd
emoAGxYFzYQQ7daBwLn2ophe1YiA/jpy107G++QhB7F0Bq1Up/3GmcnzsDP1NYhEHjHS/lRsxgkt
Hk5TMr/BYP5k4Rp4pg/4McRgwG0OY7CVKHOMT01rts5CkBQZ4EmCc0hF/gVV5t+lYXcnr5/PgvCo
gFOHPVf7oCnWNqULt84GTq6K2FlbL3QiA+EDs1wX02OPYUevGPswMew3rC4I9DOuWO32ZMUfsCJ2
m0jL/+mScOQUzh4O7HdmzM+tD26GXwWxtmqkhZYeqZDLGh8vHGlFJlBPfqSNbvpGgAq+X9EgsYSL
wfFHjdD33kjPo7xqX+jtW6Hb6ZpaimKRqVudHtC8IhHJxYY8nGeU+YHEYbZOPbZ6o+CJPrYWiW/J
RRtR/VWJtIMJaQTX0boAAwZrGbGLjtZ4JFQt5uoP9HhmnYHjjMALvMH1KtEASBojvxOjQUbIlpAp
TTXl+t4uQnflkHoQaQSG+DLflD2Us7Bj+2B/kQqHimJmuyynJ/K8P4AntOthCCswwsz9qvEJ7c9p
yBHidW64HXv3i7uM01FvGNp2COPVPR+p5mduAZ7OPCOEYXwAVz2xcwek2vLDtz1LXoj3x8LvuB35
LM1arln92xsn4VdspITeUt8XA9x/NevrNjX6jZW0VLZDxGCKY486sFkZnvYW9go5R0lBDHP0aUYp
vWKzoXaiq4CSpXASjLj+SfiRjyz2GUEU98EI11bh7iOWxNtKTEfdJ4Zn7GecJplKDm5cHixJsYWi
gjzvhMxksqnJ0hw3uEuDqJntQ2rP3a7RykfXc4edP0r0PsFcin8tjPveKAM7ZPHbxZ1GXiYJw7aD
vma0i9MM/IHdRH3w4haPoWMyUjgIhxKO43Lel6Q8g4Jv4vjijLxPmJ4Tt3Oz1VzjQ6Hnwzaak6Ko
RztBcJbmFE8lxe4eJELAw5LP1Qn7AK0fao/VoPRzXSi195Q3I+pT3Tb/4hR/iqKM/gvdS1C69FGR
fzf1Lr92uXpPvC4/ui0gWmmee5LLTId5umGXL20mn7JpIjLA7V5Iq8Y9S6xN2dgcLmW+6syB3JOs
JbnFOENHTC6dJNaw6R7joqTAHUpvO9s4SbSlCXCIHZBKL4Jinj9KfqXU4jxspEBf7uWoUsoGcXaZ
7LDQJmv+i2/MOjt68LCAShMx26CJoiKokIutimFmbEhX21n3yeUWqmzxQRDP1nCsmvPjOiLvDHK0
nHgBd2HZJbv8JkRTohinvxae/I4AenLNhmvdmwJ9ahfB3kNRp4ogdjVvaLse9BA1IGlEFZnBu1CT
ezWP4ZFhJOM/AwtXbmJ1KBmD3013NymqRAt91aYnzo+ctdKx2D1arccGYLQYobfbNsnz/SDKe52Y
f83eppyxjHSfwYRgDNyimtsarSf3Fl43dNWgasNq1S2VtOvs7C5MD7WKuF3VT6NjqzFVTa9W4zY1
X1MLfxUGkC07YnXIetdfd3bDcWsqpsREI6ON/VJMQ6iHSF2FYPGA3szkpmbmHfGr2YYSw1ZqNwew
ieCBu7+lmd91Jxm2vNl1ZYyPFODfhiRDmcN6O/iuv6M3Y16T/C2q7pLid1xZ7hJHXNrY2IviafKW
4Ou5YoJQT0z2cVlvlPfOwvFP1f0dh8YLMHg+17V76iuS3U2OyWGuLaTODlROoIGucuYgzz7Zbm81
w0NrH1t/3A4rZTvjxo4yWa6sKH8qM7xuRWmKveeg9Jskt52tYdana0N5d0+StDqgC9g04FBWabTk
bGKxWpT2SMNIBSMz+bUY0x99PFDKv9NiowIgmaPuspnJMB85GQu8F5kFmeMT3Dlol9ZQLM3grCFM
4BizKdSOKVNM7EcHUjvowhzumtR4YT9vrWKbFOQRBXg8dmx0OsphfM4Ho9vatIFHkSxdQoSIxv8A
br1Atf1n12H8K3wW5mnzJKTxPvPWoNoS3uXw9jVk/WSe1Hd8du3aYI62dbCt6pPFlC4HnWhgb9gQ
PVYr/WLJ9DXOQWPXJH96IbMla3H8CZqpPlmil/Q1OaqPIJ+7vWVT3TERRcAgZ+DpDYLQ7G1agtTB
V3CypLpG8pvLBUCetLJ0wJ2h81DEmc6IHmqAyQ+iPZSNQ9ZmFRZrBL+Ui9HkoN+nqioTTrx0zqiS
c2dFlMguzgvBWFTiGKvFg9T5T4tF64u175hbFiLShj27/sQcrj7ZtelzE+PaIk5yZVpseklm4Yk+
9BWPAPKl1IMxshaZXDItWryDgTXrN1sT/wyFUKAybX8zFfZ2TMmS0qLsRqpxRiVpN2tg3J0rwp2W
DeO6qpc0lzEy15DwE/iTMwlL2ndCiinytQzxKoPptc0TeOfGKRq9zjyX2aPAi7ivNPNhSrRTmedb
17S/KWgpixk/b/R4PPVaxlKV+AfG1RE+kFn8aJOoCHAss8AxoV8rxUWkzYG3SKQSYX0QsvTWjmB+
VUbWBBTgfU9nuhXK/zL05jr3GuKNoUmJUiM63NWjfOtN8w2tFvgJbSgutj8iJsoNsm8M1PcKnm8A
hmGtt/NP5kXuxrfMg+u8153OOMv3mGK4hb/mmSrXGUZuzxi8vU1OjFXPOCA192QqJvB+6OSbB/5w
IWTjfEwBvAidHCqe0lB8ZyrG0DQ/bF9ZNx/SkMfInv0ZRbXQ07vlmGrDcAG6MHySfq53pd6w/ECh
DCykzZ7zriNPwqCigii7122eFaQqX+e6XQHeOKdILD+jGl3b3HckdAzRcYQz4rk5W7Ghq3fw3A8y
gwgBcVUANonwwgeaEzdB6Phrl0p/bYwLaN52nlHwEEOTk81d1oQItdreKpmR5Li4YDYDXSg7tBLM
eVG4FN5W5XyXOnE+WSHePKlo7FJ42zXpGmsE3RvV1cS6Ks4nPzPIcfgVFbHx1nkGuZlnv4TaEz9A
G8xQs1j51EHf/4sEsAet8cOdLJtHOcm3WOoXH1r+3uxPZBDG28KSHAMOux7hJxXjYofHS11+JIXs
L6oYIPL6ib8G7kB5Wo7mgU+pr3vkcJo/b8HrkvayjJhcbP9l3NMQI+WLony6Z5r/1Gnpz4wsXmq0
0RbuvnU9aNvZ8yeElcBUBUlXq6xizFkU5tEC87NqTBfKKVvhlQUDrGpwns57NMQs3nNKo1YynI5p
t7o322ZR4btn0G8XZQtkdRoF/qi2glmnYRqkU/pAqOJk1mg6MIgNCQFOkwqWqUBaAEdw6/yz65ti
l4jslQiCYh9z6Sat22/yMr8b9P0sluuL542MUWEVbhjit8jfsogRhnzOMHuvLVRIRGGyTa800k0y
WAEFMxfgfdODpRM310yUGY42pGTadEevWJIOBvqJtjVQDk7RUfR5wgwZETJRNTxVe6wMDO04KtG4
s3AyMuuQMpKyF4tna2mnfjF9/n41+9p4IYL3jIy7enKnst3UJrGnKRplwgi0bW4Tyex/pd69pwp8
GPw+fmITkh44zmiIJ1LOoyzqDzDx4kej1pEUWNVrm7Oz18VoPqmODDBXFDerQ4LkjMW4o8ULH8WI
iVozqYJ69SlqQZ/bDda2dOar2fTq0bdtXD1xeTXCng4+8R9bDIX3vkDhojuhtZviolkR8Us01sjT
xvMTVjy9fwsJy3smUnp4ZuKNax/KkZhJz64aefXMhW2dzjqKjdYDbIIpX04uAXEVsrqscwOHxVrQ
jdt56vDrNxQ1bdT1198XHXrDlhXcEgNyKckoeiACETVeQ6+FqhBEQJTlh7gI+sh8zuz5EfentmWm
K/hINOdFfQGmLy5zIzt+wHYT+/C0GLiji0tRJGKmbsD1XOMUdFMb6/98JaaHcj6IMjy7VoZMKiFt
Txv96HW26EdakDvn3y8riaVLFkjvaE+LnecQb8W9lKx0EBkkCxcdV5nlXHWymK6WTy6Mti/t0IdM
SGwym07/qivrAk6DwCdFYqY96Xe7n+MDkmfqXDo1y1fRK/HkLg0pz1M7Q103dNotzyvtVTnRJ1PQ
4lYODfOYJLcOlQ4pLmbGmxp4UhOwCviaECDQiRpPoR+SMWBKBHrAVKUdXw1287usgLTppNK8jt7V
rRLv8vtFr2cmVLYUMFekJ9vUswog4yjXypGss3xtTWzFJr/0bkM6uTc4jU/UfmQZEdCLFlYeo5Fy
kOFKuRRp3aM7FDdHTQwhRdo9kkuMBGQJFGdrvU0d3w9mPq8RCFfSXDysQMw9HYtwOvfgEfOg2+N8
cahzb0XuwmpOcFr8/hOyv4W4nBNlXeV5cfRM6BUYVXYoeZeLq41vyfJST8w8kS8AxbFRN0o3S++/
LyUj8mJu/ijcWEffa6Kn3xfFSl4LfXDU/MpLAC7bqW2mB8y727oa0j2afg5/jM4NJ/DYumXAIsiZ
n8zlAohnAB9uz5OOQ757yEWMbdMLt0NOje8P7roz+/LZHy35RNzY2hwZ0WLUV13XPgirsJ5nUe71
ytX2GMyZz3V+cSfHLEg4+NmHtAdhkcnodP+MJb+KvjZLIgCFBaPlqDbXEWbYi9mI6Vy0+JVriYpT
tUymLdM4DmEig5GbsSjHYZv6GCkHAAcsFyJmzQRHkjTykSUjm/bRPkV4Cbg9NzUuwH1p9W8a9TbC
TPPWZyD1QM402gQbpzr0/C9Fix+2kpXIJDGVJ9wKTf5ZklBwkFMeYDLZwJ1RQWaj+IsJfam+2cGh
t7NvjSPVXm+zXTpK8TJmO6MDI1j4yZ8yccV6HtjLtUUEx43ndjR0gJKKzz7M6ktRz6/uCNo0w3DG
YM7HFNWGh6VLNBYhDezzBzNGuDZI9MeFZPI5JZ7Y29EB00Ny0uVRcaiSnlqh/XXk0Ql16gm0tK5b
P5pF9YIiTKzwDrmBF/sMxeUYSOi5fIc6PU6J0a77qAc3XMhgOflXOFKN1H6z8NS+u+rR9Mm6yPWH
kNboIUyMfza3KRvQhvjuMd1atfPdktZST5KChti3LQl8/TG0J1hRDFRdCuOjscRSYIvvNmX2T6tr
bBQVo58hiSEXDex4tQ4+H4p5/vH3hQq33YZ5+eqWuse8bSRmSZMra0IH9/uSLv9+yxqGke90klld
YT0DgdCf4s787oTVBdDkMbJ6Prpaup5ls+h2GBCcxRAdJe2ZRaKht/0ubpdUWceb1hUJDZs8Mr6I
1KNn13GjNCHPAwi5R4ZioOcM5JNGSDmgJNMtMBH9WiJklSZO4NbtyGKep+eG5J2tXxWo4U7AhxTU
32l6LOvin5eqeZuN4j2FzYzhfAiSwfmuzPGjJQkTY9qnp8iBUcYNmSKFMG5LLPE6Q6XeWNcZTU8Y
kiAxbd1Q/ZR2zIyqtbfNdJhFPbFvKa6oyH8IJlu6BnL1EAzQtmoz47mFjVuhVtlJFpzJZDrcyU5K
XYy5hxjOcUeSl47/cwB64hKyaZrGgcnkKwb4FKcLIhO32FErBlUvvz3YGGvN8djnie3cMZK3qo5k
5GjRbBHNEhGq0A2ovmjKj6GivY2ZzfZ1GfQFeXO+4277LsJw4JrVUV/odhUtUr/I1To7Z0+gsmaX
CkGvWOjyUrX2tBGqE+TIt1aQ1QSCWSXwh9hedwVxc3kxPhPEk3MEG19kVaVnn7CtVax1/oZMsI+o
AZIw9jYUhaQraLZKVN8CLyp+WRRfTQrDbFnSW9U6H6P0LhzjC0ruEQzSXpRWEDdQvFvdP1d+yNMX
51Kg+4/I5J7oFVqTFhRdJJvThEvU4+5gHGPyduSVNcNDZExiZej5c8EIZuhg8hdwotZOVPxwpTzU
dfVgzBwf+oAs1mJKO/qveauWUYPNQHaL/SvdFB1LCV+RYj5Z/2zsd4uG4wtn4t2JyIhOvck6EDtL
+9MQ7Ve78S20XWKWmc9uZZcpSJrjDGERwR+yHZ85nHqiQeZDCRFocZetG5LP+rn9lw4+qauLTur3
JVTKWsMwyddO4yM+3HlLJoiW9+TnhNUdk5NztDB+bEKjeygLj18TAFqHznU3FubeaxghoIG9FrLj
amfovkpV2+3nPy5ZwAQEkLPpsJkW9VdNwOYRswlLAF0/07QhBLLVNvLG8Iqvblz103CCDOlu8YSi
1RtcdHR3YmC6TTPaX6lr/7gRneQa9sKJuW56ax2doE9jjFmWdXyo41sp8nPHiGBbRuZwYdjwWiGB
2oHsJt66jeaXzLJsPOmMPKl5/+huI/Zxysqax660sdKEkg1x3r9ID7ljEpGcg+j/Ig0L9VhkeStk
tk087Ls5UmvgGcxDtS5ljMb38bmoDKJnTqbFqoBJPBqMZaEUVQGaXIuwP0qk3Lg7bLxXk9mi4ays
PXJ8b42KiIuqw2Ja7dNYQhWt2GFlwL83C/wt0xx5jm2BjKtdW7EAtRuCshlR8CKxix5nn+0fruYj
YZRfJkivVVkOcunDOefNcjcsji6t7O1VW3feZjCQwhuCPbudGKSOl7S6fSynA/KmfW9a9yRk0KV7
Dj2B++obqOqNEKpm2iCUTvwnHSAliZfzIR+EfIYiOm5Bu+5VZXxWjvh0QYqpGkIXpoZgaOkIrIbB
bpuG72R5gdjUsUrlA3kmo7hp0lGr2o0e4RH/NSdCToXdYIV2aJb18bXAEH4aC3lkqI62jg1C7g3v
kSQLQAmnf7fdeu9nXrfPlOstiZM4M6kNWIAXey1rNr2HkFFSyB/rRg962b8hZOqfK/z+jyERWwyZ
tYOGNIzxF+e4UxXJnvNvWOU6uWRCJzenjO2thx8a3LurnzxbTTuKsnvCfh5hMHJ95eakMVcxZXji
PvlDPa8HIMUoqNEKiJdhiP6miPMfR3sMgzrTdk6CRZLgcPdQzW+ILpPALtm16KFBnMeYX11D1+9I
W4MhmswgTfqjazcaqzX0c25l/GB7WIMNIx2pqGWQs6QerfRTZY4K6NZfGQlmh56ty1pq+RMeDIro
2NurDpqBhWOKVlAzg6KsibjLi78xBj4oZEhORBVhH6LhEU38HdbJAHkANYgcE5a7LdqgyclfAB2y
e1EDIrNouDIOilAgQ231HWjfsn5guGPuo3T8LoqYlqXV+63egSUwAZS5S/4WFvqSbptlfuRo9zbB
gzL7V392/jmz/zE1HZ3+YK4qgl9Zz8/GSmG1Sl9nND79pB4UTVJR24Dqa9x6nq2/GVBPdiSv4AeX
B2awmIc7Quj6tmMJXnXfRpF+4CA0zjbfsU/pryzPfGr0vmESTCNZdfYurBgW4sFEv18U6LxRgNuU
SCK8cRIeui77M2rAZJCIo5GwvT9xO70StXixK/FQG3m4LyqesPXsbOjSLzrW71Vs9F/WEpwzNw/m
WA0b0ypoDFM73JfjxPJiWhk1KVMeRBvW/snd0FlO5ZlnrDCxmZoVrdl+FVtj4XN2pXP0sP7ySEp9
Pp+rEwufhFqC4pcc52nkaoBvtu1kguY/QaMMSXYxKxlMlMWfDMccNNnu0ypxy+OrWulxmOxA9uKE
IWTG8ZwNTirFM5AhmdmEO8szKHzNYDa9mP6WYGGLS10nRWblSc9m5RlhrqKPXqwWTmRF21Qb4Fl4
5IQlZL+GWK642D5zlFpz732FQHSCSitvc4X8YkbtiaVqY1iMCkYn7DCKmQCbeSayiLOaWxw7NwNb
2wYP9rMzmiMj3bYMRL7h08Rr1Nj1ZiDObeMysHMl2+10SLNTwWChnsUDWJhh79ac6ejYGmy6xjv+
coPIIQDLfv3l++C90oVEheuRoNK7gfZVfsu5/rahJcvMwvZXu38rJi1ho7crojpQPdj3JDLNs1bN
18mS/DQsxgBuA9W8Du632RTklLbOt51Yj/H4KO1lJJvVQCsGg8+seXKS+G+ekSCcyruelPhQSvkF
LmP6yGo2qwXazzI5a07mHOyZhxA6A7vX/EMjDeBXNdICgggyvM6zj98vZ8Kdw0OxlbmJE8KFIjJR
YrhU66wJyX8mTcAwtXOLTi816JHSmPx0HBb4JOOEpWsVE/5oM2bwm2VHmVHlCVijqxD/uDVtu3TM
AmRaW8KRYM5kM5FpPIUxLDJXKEtnpGQkVb2syR+bQtaN4FGRXQV5XX17sGMejARHK1DBBTGD5xm/
AStNopRVmT1FUGzZGBbu3O9JK/tjRX5+NRG24yuebmEmzU1pzH9TP5rXMA7/jH+9DkSsvtB/YuA/
HkRKvG9YgPM+f4ea3qBN/BbkaHvhQtOehLONknrnq6Ogp9nG+XA1OhIRqMN8tHeYe9jfk5hxtL3s
2IV0EbPNk6NK947TvotZAZ3U6kvdZzj5oU90bnWnrIN5AwXVcRd5/+j+kxOAoilcIvA+mxFZQlcZ
D7KQzWZq1c0chY68FBOnPjP6dmdt3fRjHxjKywKRsdEvRQqkR07Ffojo6CdY9Ssz9HBf1hqnVcRX
/cBDDvStW0Cs0G3iaUeCRtmILHwD8x3K7qF18hNEmPPQoR91phxhZROtgf4/JFCE/nhQzzK3eCHm
5wcoicejNRVIsCjPhxjRcPWvtVKoJeJupoqnDONqDcd2rs/FNveJEpSOBZLfcq8pDkuYK1q1ETNP
SgGlTAIuKkaxtln8xYUUxzhkvaKjBJlTk/jTZUb7P/bOpLlyJMvOf0VWayHlAByTmarN+s0z+Tgz
NjAygsQMxzz9en1gVHVGprKrpZ0W2tBIBsl4BAH36/ee8x2jzX4UrTEvVbJj9ohJoAkHny1XeqiM
MS4OdXNDC8JbppHadUZdnuKmuDDd+GyBTqI9QAkBo/uJ0XYCgKzdOCSFrVi0gYrP72H5Lbb0p+9F
NrQkV/cfA9SoldvjxNVKNnHDhfU5PNXkEXNd3VOWhHi5yt5cJRl8IJ/7NwiccKPULbmJTDhs49y2
KSOHOH+L+/61rHh0CgOZs+dTLeCAL9aU3Bui4K7N1NmPFQ+fHIwtqdnroIneGvSyjIWBXtHuY81a
l/QUt3WX1LvR9RksFkyBC3nE2ECOadGjgAawui+0nBz06DUSeowjSMeQQ/2bE1JWA5+/hSODJD9R
q1wzQWR5j+LkkU+5CiyoaFrUqpvW8OYiwT4gBup3Ycjwt8gSJDkItbI4X+UDzTHLoi1c2t4Fs4/a
tQ2JSi4uMLxLmMwzMv4YdqV1zy9jXVEgp1ufDoMPucty/LsCOxRPstqKydhBp5eLgj8nwzmkfD7G
QeYvlr3gAH+NIob0GZHuGWIUbHBikRh6RF1HtZ1NSkI1IH6VfvYnZm4uwEiGd5lzdustwS17q0XJ
/RRXH3gINlFnfDeD/jBDJeoaw3zSx+ehGWpAskN8S+QrZ8YiuUlGzrF5QzYQwveHYPQOkAGQRx+7
aT+YfbLlPhoXRLltCrubFqGH4RMEy4OdVHfQEWPGP6sR2fBWcVj0pPHskJlEK35A09loFG+mT0bw
iEvDDqJyS9ZlhAbRPo3QkEwW+ZN0SsAOyfS9j8Ib14ZZEbrOA9nu6FeEPjt03tle3s2uuIzVuI4L
nKWdy1wKaPzBnuKLrRwTjnKxjdPiCLfXfK3lJy18lEOFbS4tjS4hxYhJF1liCPKTG6cQ0bNXadkx
YT7U4UxdOMGYHyoLemrZVgcCvwLQWrD5kTO3m1JGTyN/KDdr3hpTlZsx1hymXd4tPuWWvqF9TCR+
BNw/3bYTxd2Y8a0xsm8SGSxmPd50QhpvsrZj/v5scob9QTC6y9B2wVmYp15ldIJ9QCEWA6ql7xT3
8JatU5iUB8OABBsxjbRCZPhRIeic0H5IyUT1gpxzIVtT6vPwcAehLEtlTGkik0XhQ+fIOv+5TPkj
D0BeI3GIpgnvrZM8DKPOMRGD9bIeuSiTZHPJcc+lWqZWnq9/Y4h7jXhaH2wfspzKtNs2rC5Fr5Hs
OBH40xUs1pNwcbXWobOgN+/c+jqlim9t0jkE3dEIvqhz4wecAG5fyyGQlhSepcjMjyZRFn2YBFvd
3F/2W0or1gOz5NzVdhngaEupUz4K9ELYCwgH4WZNx2FLoPvedZnXtTSdcJAycMIU/20cseeWA6za
tCouDRyiFajvQ14JuY2wT6V90KwhC6xbNKMrfXaKa2ZF5uTVQDe/1DsqiFpOBFkEuPmGIMqYGGr6
vR0BaQQ/qKfUcwKfQq/Vz6mHii6qPYGeJX/pGWkmFQLqkoOA5lreQkCzSnr/tVScAdsMrR7anrWb
m2qL3WNAZMcDZbt68YwE+72L0Qz0ro0xoCEFREXmg8hsZBa+drRrW95bNF1XZoDTxp+d1YTIClxZ
It53HXZOAv7EHhnOh1kDSyMzh+cMbdnWdnu5devo0aK6BUAk653fuulJH/w5ocRV6LfjjzR0hkNp
DB9JzN3oO1l0tsNGYKCZ1n4L4kU3/GqTVUpuLPDMDEDAgXuyiO/AMvJU6SRP6OBASf9GFdLuBQ0G
WDcdh51MnxXpVU1tgSZVTmP+rTTlZ+/b5jGzrQFMVvLIpKPd9VpR7SQHUEYJ5PTGaAuRSOaeYAJp
9dECPoCVxN/cyXlLzI+8f8OD85hH8fBKa4WuHX9u2N/Ey+QCZnyQYphIj8CMWY3gGxM5oV/amCT0
Hvk5uvRpk5HzsW00o9gbrXhsOvU95hgHYTZ/zlrNprPG2ldVPlAhlhhqqJNBTDXR1ZRvw9SSX80E
jT2Yes223egxLn+g7OnoLyixjobMXhsp0HY+o8BTo89I4r2QkmiBXL+KskjPdYQfsKrG6M5Fy13W
KOiCaO95rFQOjDxibuDRAN961ppZtmmxMKBxug8SnSboZ1LSoB3suNxNsnj2YZkumrbO6A7B4RBe
WN74CvqGy4nmxocesp7108yGmYI2ebyrDeQGqYWAFhbssCqRPBxdd5sM3Fi5bocX2NLtvi/yAH0k
OBLu4o5e1MZ/N8zpKYygslsWtuDU83x6jxUJxlERbZO23jhQZhu6gXR4oS0ZQTQBvw8oE248B5Ez
516M/gm+T7ohAeaylCakHPDlJc2CXakgR6UervP2eO3i8Xs4lPIA60E7MMf9rsifZ8yXhRvPrM42
xJ2jB0cK04B+QbxtXsOwuIO2qK3yjgwBGoQa46iu3LWe8a2kxjqOIPd4dL71RPdszc5tr4h49MM0
5T9wD+5wFbvMH7o73etb7oJ303a/O7GcNtiMA0Se5r5yEmIP/Lmqqu2jVjEmNy1yntVo6rfgpEYa
WrdJgPlS6FKsWngztYVZcr67UfqE40OVJ/rRSofVMNiYwStng7kA2WkufNrXR34iXRho8PTbmO8f
9LYdD3DFGPx3Ubs21Nit4cVQArphu5mc8dUFbnrULNKqBe5zum8np4nDS4Isu2jVeBQSmGYfG4ex
xfDqo0ReNv3g0qE2GZ9WwUslEIp30Hwvju/UO3hDEwri4iVOmeXVzQDXIUYpTKYBHiLDWk3uiaKt
W3aR/RhHUYZThhp/Zpo3misPVf49TMuMrAze6E5iHLwJIytwozji2EC4xcAciaNyLTmEazoet1Ch
Iqk656apR07RGWxLVtLsPmzNdh/YN4TYMw+yCu/SqZHoOUd/zUDkb0BuulswFMHanZdmw9gLOoev
fNCIOkPxquTReYVtax8K0sNLNXl7rxm3beff9j5cBGDZSMhS9K81gzQoZ8iDbItVJQgekSD7mx43
g1Mb7jGb491lTBOBcig/aSRSKzkLnDiFD8FD7VsEqgHVP5EjsWxBhtzYNkfGCFxe4SjxMtV0KUcj
WUWhPCcVxuCM6vNSF9kznQmCOJIC9W/xyVn20EB6Qvli6qCWBFMQSeSDU26U48uTFYYWEsp5MutU
x0FULlYW114UJvVxXKtHLwvmSpMxh+tZe7O/sWIpYZ9sQlmWW0HopwxptDmGDrrKdGEw0bNNBmJV
JAeZqY7XLokqtJ+yB9mauEpJKF6AdWr2GlegnPmswQx9TWRMJNV4Q2ZYsAFcuqYdC2IA2u4ys+Qe
Gi7wjpHLw2RokSRdtvNAV4Ef9I96WsZLmnc5QIQYWpxm721f32Qmskbaqu+6bd5Hmqy2VYtPG38n
Hhr6LKOv7+3BoQTMijtNcdL1RE6oRNQHJ4MEj7Jh71b4Hlf0g6qWhrsWTtumkJRNxJjj/cHagUae
GqFcd6b/gVFkp7XVtBmQhhW8hFXP6WnRUQmhmVOF84Kl8YSoa5Y/0FDMA7ULfIdXkfazj5mos5NW
IPMHg2gjzMmfokhE2z5Rc/eHs4OLa4/sau9JlICNxKwLGPYDGJq9HmygK0cHPbSXqvSdHUF3Gwsy
LjhIDoY2p0gjCU95Kl7G0aqXKM8/+8G7xIRpHOzIf4D3w68VuDexUK+xZ8xJPlgUEhTt68F9SQmF
Qky71EPwTSrpty2A6bhBtqhDP0XpGqztWMBQcAvI85gEwQxDzFAm45zY4repDIeDLIrgUxg+12Zg
cPpP2p1lj+ep5Skn+RFiSFuRg5ze1zGB5EkWOKsBL1ACH+TKvjUPgobNiIUBp469RqrYHqTwPw2d
eKPWOuFZ8zdBzOUGmLtxmvBbMEZPBSPE0GvKm6TllKX8ytjreuhsetnbmENb8lVpYqOfh4gomipi
2EIvLSRFibH6wm9BaIwFD7RFAnWARIIeEdlxBOSdK2jxDmgqD+/udVYKrhxtPyZutLU1IYglUbj8
mZcslPOQIA5Z5FXzMeSIoBAMr4yJgrPvk/tshhIn85u6hAsBM4Lqt9DL7QyhBLZS7mtivmkp6if0
/WBwC2pCpBGnKnCci8axjdsIhXt4wEUH2UW/0QMj2TNkKPDd2BQPND5voAoQNZSm2tLoGDw0uPNp
vNXOQehlsTMin1ERq03yvRAsmRww1knG37MdGFdgSrsm+l3E4ITOPXv/YI/dqdEolvOsYYXnAmE9
QqsIQw71Wth3e5HBpE3yCONvEuHH8KP2kFaiPVR27GypBfZ8lU9C39CTujT5W+HFR3gs42qi8mVk
1eBm7zoU0DSNQ7P40BRgO+jU4wFEPuTy+Q39+WSNfJ3J9iDfAk0cfNG/uD0XxRoZ9gTsYk1cHEyl
ELVH0cNgjTR1fepiIDk4eWZGTh+4NDfhDLng8d3iw2ihBXKKYHed8Drk1iCugaDZMhrBk9sM67KW
+sGyk2wrccqw7yXpZhDICR2UbuRBm/ugM9wdUsEVJ5kZFUG7UASYrNp6jiQdpxzRK3Z7vSEjzhx8
D7342HaHn++2gYl8K49pDvLQbQqwK9gSr5lHJ78yoXHFIVpZkXjDoRpbSuEBRhNDuOYAdLBaQfKf
aCb67sEqhb7+78GI3x6DNqzQOrm47aShf++TfadlwwuiVPrbtf2g0PleGPY0ixYB/UtT+vSHCZPa
fX3YlRMHKnXRzAb3gpabOy03LlU3TrvATW0QCpEGzPyfb2JLq0DS2Pkaztmv//D1JQYdxtWIWWPq
wcYzoT7aetvdjDNYH84ef3Gsbbuvf/Q4wv8Mv53zw3/PMK7/7X/y8Xf1j2TyP334b38dQf7rd/wf
Zpn/Z7Ho/y+mmVvkKf+Pr+vCdVq9NW//iC2/vGUff//b+Y041+bjD1nm83d8vNXN3/8mrd9MgXLW
E8gYOFjMacg/s8z5F6pAU7q2Z7rSAR/3S5a58ZutG8LzbOlYhu45/Lx/Zpnr5m9CCNPwPAfnpCkd
5/8my9y0/ph5i+7TJiAcZIbrsU7rc9b6rynCuqOpUtH8ALdkbKzy2cqTYTmUiMNUsmu6hMGIN4Jf
SvFBcOf5zOASHCZp1jdL47XPWKFmhlGv2WxCwEZxvQbjFsbLxuhQtTozRDIAal4yH80fPV02C57/
z3CM0XJbJ1nHx8gtrsq5Aov//ssf4i9Ct80/Bfryy7m2zjX0eOO5pMb/8Zfj9Km7sY9eqdXHXSdu
BZorKbJTGMVXPwfsNBlL5iCQVOBWLfvq2xhM96FWgogrDtQNj1rv7AYiZLIw3UqoMnWEBuV2nj+7
kHRphG8r694jHRm9AvqiKMw3ZmhwoE5vTCxcNTaekTzD0qkXjvqMMPH/69/wT7HiP39Bx+JOYcYr
xVdG9Pffk+jLSgsCQpSo+bGTxkZ0CxBvbzvtmQHHIY/ktkjVLWFS4X8RPm2I/+22cW3L9DDWO2C5
ALj98cr6ndSLeijgOphPKoD/0eTHqvaPWPxWZvc0ATeKZI1MYOTwWxMMK44iC86ZhuMUSo/RVwcj
1Zdue+kZRyXl/b++LvZfvj7Mj66QPHzYQf/4+gaPbuGUNB4VRLsmXfGlzMdtJljowzPs9tPA4jnY
w0UMtB2jcOM61tmBWycqfDj6duzwNLMvxO0LBdouQjHWKntPEMNL0pQvKPqu/FY0hjD4C39XoPiK
zb2I5cIpzIdy9C4ItL0JGTDu8FejxXkwtvR3Qu1Z79it4xgZnrYKydCrannoDAd0cr92TpMzbATj
A/PO1NkTFSd2W9hvRpQ9Y7a4YYC7BU69aZC5S62fwwhvRPT6ry+edOaro9IxUPn+x9//5n7dVq4u
dVYtFgWWhT9ePeFm2pQnPXi7qbxYjXN1kDM1oXPAuoH8Qh0b+d4KedW66NHwcpo2/jdvlC9B31FC
za70h0yEjxZCHIuwLuGgQdVPTQJCOMB6DSWmIiOGLMdNZctvSa1vI2xUqdyBjF2mmIRjGOiBa81j
c2bt41HSiUkb4i7s8AHtVgb2qJ3FK1WwKrzpgW7cW5yEjx39EwnMdqBiznqoXmSKMHW2mONND7aK
9zlU/pRAH7d1wW68Y1JfVbpzJlHq3JdqLTSL4WFxGbL0UNvRPUaChd9oW/TkgbOzRXHyZH4VabjP
glctwApaGxBtiluf/+OOCu6HVdlLy5tWSHSXdWzNsyeaYDp65Jbwmm6Pso25NYAy68YVausmyQFR
8N5u3EOMAKXpaaTHSL3GYTcrnwyhbYsaiECL2NbehVW0KV+cqjvWodpQep07vd72TX2usXaasb2c
MSANHlkS+06EQh9zjcyPQK7lpDZoUiOidWjipeUh1OvFIMrVQC8xi7xdqWg9ReNNzPnFTadD0DJD
aPT9x9QXZzOuiFCOtz1zWNkw/m/K9qxF7ptR+m8eVvf83DjRVQuN02Bkz63pHmM8lLXbLoC6Hgbg
Dlqvn1TpHtNBW5s+AJu8R5ZUIcHr12la7zRf3XB8fCTJYeUBGOvaA56nVUZrDe3eOgDD95G16jYW
ZKQ0cx9leort4DNvnZ2f3klsKmgK3QeS9m59i7ybAVjfVNzDUVmHptw63ZSiERBXH71cQtdO0+If
TmfvQ9YfEOZrW/ceGls+V/pjUEioE2Ib4POiF/fDbq0tA86NaQJSdrLThLB94UjnoSytS4zBy+mG
U0HYuOaULxgZ15PhPozzquvUkL6cfVc/t+jVpd+eLT3/RtvvVo2E0gwBSvFlooJ9/FKsdZ17hC6F
YeJUs44xOrFFTFOODrtD0id/UF1bV6W6R3cUVtOW0cYlJoJHTtlJ1x6xUy/1xn2QVYR+N78vJ3fj
VAxQcwQf9SzA6IMNjYSdr+ipa8i7UAaFk3gCyrNTZfauOTDUPJsHsbxPzHQdtOG7IcsrIhUyK/wH
nC/vMULPnNQGr4nf5xSU0kBpnvhv2MsfCrs9m4gmrFG/MlPE02OB8AqzTWuDlaJNSWJpvSSnE4Sw
uq8AcvXkxU528ti99S33Y94Xy3k0MAD8aGHakaV6EfA5Ju8Tt94Hmt37Mu+fcg2RdY/jeJmxr+JF
4bl9KDTgpEc70d7p/WLw5lw5pCfC086cJC5WVd7XmXyqPugFaRi7DcZZhH/jHmieXdwYSdzQDyL1
naTmbjI4Gubli4rCH6GiuqEr+oi6naNx1u0YCQFicR8CM/ocSlgOpHpir3d2QqpbRo9gHfRjF6Xf
VAhpQ1mXLFrUibWvcnVvtvTmUAI+JaP/kHnGFiT2VnGI1iReZ0ditSzmUgL9CSY+GCWdIT7dpAIH
XufvfgUMjLIlmgg19fF6gmx0j47rdQuHiOY1A8gAuNVKx3dJa05uRYxhSUxTgiZ8Ldz0HvL+LvZG
GhKGvBrCuSgj/rSEvWE+9zAA7G0K612ru32fGHutcZYIvRlnJYCkUu1gDKwwLq2UZbTS6/jJtK0t
HKrdDIsKVA8t+W5iwBQD9SEGDbkU3JKquE/lc+3Ep2GqzkOhHXtFpJ5jH3xA4F3UPEk921kB+ic9
elbadNO1TPwgYS1A/9CKdp/H3P+UUblqnBLXjH6u/WDNAFVXd0VQrhFKM9N6s6OUclW7wcP/4NB5
0ezqqJlAWEZ6HL0bwUtLcIN7zOGMDRSBXYTprCnHbRRGVwareNNeizrcDQ3PmCEOXj/OIuq7yOp2
E6lTtsWECpanTuutg2VR1jAGycIpInfX+ck+orWRemhF4j0yuq3mDw9Gat9ilzk07AP/eofWnb/a
oBmgMsx3bWm6fypsZzM1PvEOABwuB79+wpSOoPkmN4HugnM2hgKnigAGDdyGTgB44r65SvHeaw/M
CJdFwHmGI8//Pxs+jAVnPHJtcsT6dx9BpPJfT3rU4//5yfDf6UKmb3/68p/HQkP+JlxD113PdYXJ
0ZAf9PNYqOu/sQQJx/MMy/rHv+QAY8K//02Tv5mOgfxe0PgWBucN6rb/OBa6vwnJE/vL9/3zyPqP
k9LPs/zvR/3/lrfZrYrypuaYOp8wfy0BhSs5ZUIN49DKGRTr8R9LwDHHwzzG7CAWqot6lPVm9ADY
oaABetmSRBFLF6V4gSVs9NJvKVbhdU6EdF6Y49HKvmDxoGcbfG3HemL+UGBP3heVjlaaT329GdDp
HJ16Yubiz/IWLUUMnMN5BjZbJwdl1uExC8qPodf6tatJrOL25DeHgNk7W6unrUqboTj9sd/fZG0A
24igOAzB4BjJDEtS9K8FbJSf7+Nh+eenS2YKC68a9FXDk3MocbAcems01lqUfo/JizhIt7UOoUeF
GIlbiwWR8SYda6ySQMoMEFMhMrRl5yDKjjsSU+xZ96+zN4duVfFizWnDCDGqmY2fmy4GOZ1g1lKD
vvEWBrDtpYdfwARZilM4u0FEEmPo9W7HAc2wMjsEDal8N6LkqQkStWYHsWi4DbduKNgxUXv2Njls
7TmAO1LFE5O2sOxXkZntaYaHyJzUt4T5ILsTS6rudyB9EVth+eqXaa++ebHZb8z2AK04zVnuSB2b
2e2XTpabAMNYHYsXBgszbx7wY3BqHOeuLsp88Y5SxaAxED5WEbaubJ5hWajpNSO/+AURMAmb72Ls
8mlbjPZ77nYwSXi0sDqydWtIvAI0gkOT9szpzWhJHxk6UJvkeFaDd8RqPnwUZAQJYVA4Peg0DBgw
Jx8XBR7KVaeXVz+wFZV1He9n3LCNdIlFvFmTokTIfP6o2eVBJbjL9XGGUejMQ6NPDq3OKhAIllXA
lWbkKlFmZ0+yFm9RHz5MWvZYWt1LGwT6OoBq65kDSnyx90ZCeIbx1rAhFAUp4pve5ATW1SkZWcSS
ZMkHxKg3NuGzP4jTYMsnTlbIB/ktbRQnIxkeqxI0C93WQxdi/fCM6kNztZMz1BruZXVQDG9dCV9P
IYHE9WttkrQ+I2qlvUpZkqrE2FTVyi6Y8VZi6WY6eYHYmljlrTpcBZlzMaoWPx/1EnzPb43fIDTH
P7LEpvQNVll+RdNeKMI7yv69tNPriHiEaEt0j5PnyMWYekfRe8uppyQJkLhPBhcLxMRa67ZxjEY8
caeXqeSPO/IFefDSqokbHQ/l1gApd0hSGCKh3BfEi0+JPTx2woUDhs6f8mmlVcJHfwvToM7r6aEw
0MFzFtTGfroCXTBXMOPwqstj2A8sAhn7P7+T+R63+SkWZEG4BF2QPN/mWOd4g3IwXiB3v/qGC2En
1IgZ09GHRURVBF3wbkNp2ODtCvbBWN6b3kMbxg151toTjtp67QQZSYn6BtxBuqH9NS2HKmHQ43Jk
FS2IUAk4yRxMtQ/EvR7Q5A7GNlmP7jeUgEhuE9BLIyp8Ofg7YQJgodIi86oTz7YM3kezhMyvVYz+
or7bygH7SF2LrUVVuzZj7h9KumI7mHMl7xXPVApIYi1DbTImStv5tWOigYQ29lDdeq8kwFb0R2BT
qJ4NUm0wFF2E7t9bbZwiHL+xrO5e90e+wQ1GethVdUOebXLKyN4gUQNcaZ++NqVsCIZMUTTG+1i4
5sGDagjkn9lQDi5sQbqy8ZJ744oIkmzdtfRB+g4tbh67r1GJZzLvk8eJk9fRzCVZNSHSRc4nTIx5
MiMuAjdyApwrDndQRR4dd7JeQsk6Mtf/ppasrJEFlwz68Ngp/TNKGF3rYvj0QocqRoICIoenvJ1c
HpQSAUrT3ob2pg01Ywc4jW6RZvkXwYQ/dS/pmGgX0YzmRfvUtLG4OPYxKoyN4XNIGpzC2TddqJYY
VsVNDat7TFW8yfx+2AROWT2QHpKDz/TLD894sErP+p6NBpLOoNCuTk7hGlvJna4Di3WqmH2rCIhv
JeYFKVCmsvrNq4nGawS3uw6O/AQ5m06QZZymvK6+1dLCJa4lyNgwVz1FjbYxNaPdxyWOwba3+61r
kkGgvILk80qVjEhL+41o4zOZfaAWK+hzYiCOy5HD6zRCo+7CAt4QYNJJmfkV18KWfEzjxtECVD3K
IASnbeJ7JllkdhBm4Olltcp0up0dmwzJjLwZW/ZEF8rJWm97mCRlQymODCHB+3s2iFHACFRsjMiB
kB72BYdppQOhJ4AaWSCK9GZblJa/nDLL2LS1g50mbaolERYjaAz6qF3XGkvicdHPWOjlfUb2IDzY
OQWiLyZ2azlOr1aSHg0k/29RwpiDF0/YerP9pcj6i66v/FNxLOj0urpp022nrqJ5Tsv915a2wZ4c
24l5Q7ajDR5nCPaiMdAe8NKMOl45WKjWufs9rPublv9dVj5HKg+5CiIjHLmxyDdWkT9hzomPDLNY
xo0Ki7ExfXd1nJ7IFbpFbVXfBpPRH+iXzna+ey1uW9bdD4kV7Ny7bbApwm5Vj8HAPTxUXJkW6TkG
uxJ2Y0DKym1UTMO2M/twmbmcADtU/YvGmca7wCSwy5cth1wHgH5jlcNWjxR/ON2s/osGss3M4Y+V
HmMJz5BoO3QuFRayr7PGLz1kzW9VTr7nuxeY7CVTTm/Lu9aQ3hDCUOJxgqHi41ovDPrpbGDadVLq
AZPPrUbG81QTPzPICoilmS9LRFZwjvESE5MqW71BAFATQV2DudFDSCAA+0HpAOvmkKonNxgdD26v
aLCX3bh06ZhoTm5uOWtjdGiOpoXUE9dlBLGoxGoS1XAhjPuuie9G1RerUryx2KBJKKvHpKdEwDpy
b+LblsHZc3qyJk3ESmYF+mqg0xyEt0PCJtW0w3uLg6igFVZiu7YcMjD6UNtULBaOETYbZYRYls3L
ZJcojRAdCBhTRmOi1tCGH21mwjkty0fceBzRS8xRmQT+1XLkbBje4nO/Mk1/LjpqCD/uP0ZYbJ5P
GC+O/9sQ9O6UpNVaxn3J5SVPtQXVo9fQAlRcvKr2U5htteJKl6suuYWGeOfO6GtbW8b68B0f1A8L
YMAyLvBz9x4RrEZ2B5oejar53VAv8NRHqw/XudcfTQaHF8zD6TJuXRRafm4QeGDG0QXKYbYJavz0
WThgEKr9hk/Ob/B89AdH8/cYVRE+f33u59cUE6ZiPyddY/4JowIzysVkiFxpUP9aYaSYdYcYOCoh
WUsHhTW0nflH2ipVu7FW718/7OtF/XwR8z+mhpGfY+IRfn8dP9+1g/R2xBm9//qun/9dAbMMC5ne
cSdIdFJf/0ejs3SVFeLur6/8/Ud/fQ3sDXHINLVXX//B1wv6+S7Ix2Up7ODn7/P1vXaqG6uOcRnC
6bSA01A+NToBRLis1KULBnX5+vzPD+vmPg3acv/10dfnv77i68PMkLdwdQQ7LT/n61O/f1njZZeR
5OLD75+fAifmGdM1puWqOvSO8WroGclmzRxWWZKbEZbEWWbe2dcIL4ZxCjqpiz5qvfM2SveIrLDO
ULW3GPCsWuBzyDfQkwgcpkU4zrJaqMBoQ7RhN6XdWniM6TustG5bRasukDsAUW1FxRwU+p3WAI5y
I7pk1UQqAM6uFxKFWwqkQGxgdGl1QpGD3j8rQoASZvTQaShvW/R0ENaWXgb3iwp0Z+ls5WBe42Wh
D+lWdbNBNKjeEi3bxSVO+BoDI3SWAeee4gfgNVUFUZF6CvzX72fOB+EPVvWMvP/RkhgLSetk9EJA
Rtl+ZpWtL6tn5BTYtuRNQi29dusAmWaUTueikU8ptDSVDbctqe5bX8QOqRn9IsVmC5OORCBmDbc1
ykhiNAZsJGjuoqF9B9VKqIqzpT64DQPjKkyTYpV8c3QVbr+ypfYJK3D0wBKA6aAqNZWJmRGmIXOa
+8HOCogM/rR2e6JJklDhILC2YQgb2wz97OQW87KQQe3SslcHFSLlBT54s2EJcfxkvNVgFsUS7JhV
vNCe0o+TOmSIsRdsoy/W3GwvTHw7JVDhvH/UnOjcZlrFZFO+IK8Cy6bh4Uw81GK08tbIyINvqmQQ
oRvkspNiWK4MTaHQ6cx3HQOjQZqO7KW/mQaiGC3zXYT6TRfyQIHkZHQ9rGK7eC8Tpn3QGFHRxfmV
jf7errCfReUj9ursFc/Vq5T0IB1SWrQayyO5P8RjVW3PDA7wZxW47qamrFnknnZnB0X+ilRlXJYj
c5SqBSpoM3NYJJiq4b2ZwaHwUTtk52aaV0mfzJCB/L5lV6ESj0YdvaLfgiIKeUzk+JQQT4PMP/uc
jAZzPOHjlT6h34H02zRkJ5ms2maE+aOy1UPBSRSUURr0zqMucdFobgPfs25eh9TZJoFGB3HMASzZ
4SprsAhJffxg3EmrvjNndm6cLnUkvSvLOmNZHZbJGFk3tkasjQJss6dJ8VjOdqEabkXOoDzRJ2So
ZfTKVmdu6iG4Gy3d2hCRDHbOuAkEBIQpwQGQl0m+0cd6WHYthnU1O3/xTa4RILKXiMfICzetgCXf
wpb1B7bSSPW3JjOFTnfzGxcIQp4734hdLco5ldGIv3iqir7N0VI3BPYke9Nh+kGdvk5wL+IRz60N
kWzSiGIqz74hSUaSk9Dn1yFwjR3YBKXNrcS0eeeYRJ8UzP1W+KDxp4r5ahLKlm5vfxTtdK/S/EfY
IoAZGgGbCujoKjZMBLPWxM45gIbsoaIQlxosbapw5ibRYYSgsyxQxC9hHXzKimvT79J2HM44HGzY
qu4buecnoHPdDscXwd0pkrzE6052DGbQl4RGFrV/SFM3P1hVo36+9/VhbSEp0qyd3jvdAaOhsyAw
9yUt7VfY7IoQUNRTzAkPEdCalNVrUAdj7hppylZoZacIUMP/Yuy8lttmui59RahCbuCUOSnSCtYJ
ypLsRg6N1MDVzwO+U+P3/+qbqTkwi6IoSiYB9O6913pWzd1/vn+7e/vW7Zm3e7en//PM29d/n/PP
g7fv/316dvtFf1/jnx+X46ea/H6LEK483W76wIrndXUTPd3uYuv9H9+6PctJA6SX//qB/8ejZTEC
O/zPJ/z//ey/fk8hnfwIJGZFknh5CsiiOJlLUkDf2ZQvt6/rueQ33b4/3h693f37/H++/59P/ftS
//en375z+3X/+Wr/9et//fbbq/+3H//7GOjIna6DBiAT8QfxcpPkmcB9sfz//nXXaonhIHmbR4k4
zWdcFn5wVMwnLFQN2ohbZMPc6xtPndrbDW4Ac327e3vw9m0rd324jP/zZyjEeebfJ91+pr49eLv7
94Vv9/7z2/96zX/9jv/6i28PimmgeHO15Vnbv3/u7d5/PvjPS2uMoCrcYVk69iX0X3rba6sS75DW
2o1nkVzvYEbTbJ82ppt7K6cCMwHDtg/QCZUycO5you7XoXHO4xq0XAUQVSSEIHbpVkH3WrVfeU0z
BqEsepxCoIo3iR3W28qny2fNbIdSMeU72X8Us/UibErLEf4dEQ/47heof1M4e9ITEGfgPogpofc5
nK6KiTetgJ9jAPGhQ//A/nn+EaTu3o/jtY/DHzeulbNeCvKBI1L8GJieeiO+j41xrbuJvQHZ36ag
uMibERB8AE/FMlZTSBylQz7PqpdcNoelIWlF1UdEpIMTFfPabARbmMRGxzFB0YBRvJVEAWwmg2kb
bnvckTGgSCk7CIWAYUo5PhNOEm3T4Ms1if/NBPGnA0NmtxF/kHW+VxWGQzaFx2T85fiAFyYUEvua
ufbGhJFFl9gGtZEfIrIu2YqQXUAvF+dm/gb86szLlrAJfTgxo3xyE+87G8aPnOV7047kVWhnma9a
dEgV6dA1frwCG8sm6PqHws6nHZo1srpCg3gbVqlOWL8rc75kyjjHvvlVtWG4i8LwtxP2X+SLPWLJ
IMBJXhxsPQRu+IC+vdBfF+zNOrfjIWxS+wTNL1ZQip4l1KmBp8GyMnz4IZJpuxfuKZjNauWZw9Ey
QToGnemtmReDU4HhTJsc9bkgObYyH2EkKDTjiFcdiGSrNA2SU6DBC1ekuSmp8Gay0bDR45/L2fTO
U7kZbdPfU1He81xnL3KHfQrSEneMnTX5NNEJkgppWpMsWHmUs6WxSzJlNvprVTPBRJCd760BMqom
UcPri3qf8zbaqrIPeD2JpBisgxWS+FNfQHtcCma0uNB0uJqCpFlwT7i9NDIXWoB65Rd2ypKZfZtT
A2UrQRI+E8ZaUE6uZpbyJHvrYe3SGTenXeaYjEFy9SNLuhfyWhwsh9Guztt+rWZd08YJlviAp6wA
zGpMkw8sP/5I3fFzjvszwR2PohD6UgKcDWqzZaRJPnUC7mO2K9Z5Nu2r2q7hTpt8c+76AfoMJtso
LZ7cPmuhUN3l35hVEpAPJkowgqjXsviuKu93rXznELfyQfres85gy8MehMJUucRHFPSw3Sy+z31E
QEQmHzwPB6+PVc6MCRpMhaKJCsO1Ctt1GD7Ywq23woasMmXF1p5QKTgDK1AB0a43QObnAubpvEfN
D65o6h56TDIHy/AfcjTNDw2AJqO4g4MCXMXPzINhtuZyQPwEjbO3ev9cyYWmOaVqo9OSg42Se2XW
hK4NvYNmOJQ04qj2th7C35XX9ex5EX3BDAw3Q0OXhhLEhswffPo5Ikcca9eB6A5XRj6hOrjLQqd6
J5L7nDg/e3Yn4M+YoEeBxaHBlmIWRErgU9rNbtIdLRxjjQfpHUbriJBoHSz2XbMPun1rzxNvMlfV
MGfgDpq8RkQCdkuvhhDzv0OEJupjrjtzdJxglg1AyQF1KHdnmFRSGZWv8xn2MDtur1JEM1iQmCO3
1ekx5gLKcA9RNpwjengheUYmlirlvuUK7beHJCZKo3tP0yjOyrAh1GQcUBzbwyXng+qa4GQX4bQt
vWba+iKG85UuyYiko4yjdHY25N0cqN2qb5JiN41RTkY8iQeUhhBI3RyXuItZJCfWj0V1n4pgOkwL
crHDHnHM4vEJrzrR8NIod6nbA9pmKggUFaeJO8MDt04EG5oHdrIsoCNUgSjd1wb5ZX2ZvBkOHRBC
bOFEPPeJTvfU2EsaH/s6pzOTNRY+mkVTJ04JTMQojsWmkWgwCjC1ufehJ9k/ErH+ExhLsak7A4ns
hAydZtC6KA1g3ku8ZuViBAbRy4goQuIuJGyKsrKjjVmyE3K8GpZyk352NfgkubiMi5hQtYxGt5ch
IctmPkjyJ66m7f1szcce/NMORAZRnZ1zmt33eXavSDGPCVXkZjTJQLHrpngX1XdqQo/2xvxHZ0fP
jd+RHCEx75dZYqywESaHAePjXVhsPTnWOxTrd4NZmlscvj7QgWrB8srOZNGY1TEqipXTe58gStRK
dcSz5z0+8cl+mSXw6Ui3+JNrYMJDxl/RcAxEhmQSrEPeLpKeBRzBnWRYsxkF4t7CD76jBPltELQe
WD25ASvQHmfElqu5ymui4sq9WxBA5eInOMgX1PLuCa3iJUJZuAeCvbAmgh9li6SepDrgd3iXV6A/
FWGcmMRZwA92ygWrNuzXxKNjqSvjhA2DZorBUA1ipAuG3X02EkzmaUUYRZliOJmWyA+3Jr+pGylf
XaqaGP2KWXuoBIN7y1MaDr4CkWcT2Kes69zqi+VVkqDF4idAsxSx5qowLH0iCURuimKc3oc3Q7GO
tUUbXWms3DGGrcnGiz5NHHGDm0uEQTbsTpc4U6m5PGfEHbaoWPHGZ099HD9k3u9YC2igGbLl1vLe
qkVxYpYRSrV64aHRwC+L6Cvr7Z1Te+A3GoaaIAaprwyOMKRpgLJRl6+KI1245oEEpxPsG2xVasHX
Yf+CupwPR01DNQkgRBUJLI4mJqvYuziA905YcPiPWeWatFzrwFse7TJbEYLmId8Lg2sBCIA8dDbn
XAtXBU2iNmIWG7M3m0I1n6Gxffuc+hrB1qNyrHg7GCawGnje/uQFR28KXgAQMAoxbfb/OoCw5ZFl
Y40YCYcq2/sLW32Ixh2D3mHP8C1Zg4gnc04lzqb3f2KzlZeqbX7MGWAHw8u+aGb+HBjmkO5QboAA
PZq1FTDQFmhfciiPolyMYC249FyFJwbF7R7Lq7ntNfYjcn3soCDuiAKW9Rw+EzbiDMPP3mBs6yYD
NW83NwDB6BJ0yIDBm8MxByYcDq9Sxe3GgTd5lZX9LPA8AY21V3LW6blqC0YiAKOQVeXAUmxi3cYc
LJVIUWWJV1CJwHe70T9yNL/0o83UhSCWzWjl972t4GoNOTiDqiPIIy7WsTsm/EnmjzCf6o2VOM2h
dRk5jdRXliCYfmZZGUhi9yzdnzFqL7HrwltZdvBumdxxcLCu+oygHqrSENod+EzQqy59IXrgtK9i
xBhrGrjkIxd0OxCTH5ywYP+eucDdkI+ZJhIM8yMgJGZVzk27T8Sul2mNrayFiVFuk5wsVN/3JBRV
wgBSIvhMi1lolLyZxr2IIXbGrvGViwBUccReZ2mSsCufgr056mQ9lnzYeTDW+0k/uT4IxLaGI2P6
qLicUHZkYgMC6ayraYj+KAywEGggEALHUAV2wK6LfPionGy8GAGkm0mqTXZKCqqJmAYeKc9Yf9GT
ZivCt+6aGP8Q9NeAEj620T74ZGu5lQH2ZTgpWkurtJweuRw3537REZQO7JhBIdLTCZjE4oPDr+fT
whIM/xDngwb9PYcj1Wyjv/GRKjpDkv2FhQG1ZfYGLxsUrvxICJV3MMtyFASAIHLgCra58/t2GzrO
S1BqFBEa1AThHb49sGzgmqB9vymrwl2ldBKZ/RMtm1hkNbvgTOKZQqCsKTXYTKzyujm7Y4MDsxkI
UsMAYAEoF8sFdOxqXKj2U5YxiHNNcTXC9lJO/oXR8gKaxJ04Wx69TmTSLBEbeyiXTqh4kTL5E5kV
Pkd87xnBTJSqxgSBfU3HmqXThNDnaY+dnF/9wk77Kw8K+EIozMH6oHENreJZucnDZKtnfAO47MMq
PzVogG0ZrVQx57tcIjIh92MpEP/UrfuKy5b65dX3Bnfbd1W9UoirR0e8RXHxOfkCnkR9VeHsbQGq
/SLz8xG7lrN2MGy21EWT/ik1ZnHbSX5X83DvtEhpRTKluyHv975sIRKM91JP343NuNsTxnvmW68R
KHXKcezVE3PkPEBHBA0+YYK2ccd1qjGcE44GeNKRrxWRLRzl4jqH7m4IjCeDxNRdi2RJWW8MJQQN
vcHZ0I6/S8BPg9DQwEw6NKMkiVICcewgc9GTBxIpR4U+AxMk4x3Ast65orI3Mhpw34XFCb7zU5n3
7/0M5ybwQJQF+bcOnWeS7ls07BPjoDB8CxkRlCXhW6iaYDIVa1wouCc798Nxxzfhd9umoSZQj10O
Tt5NyoLL8nxnGWCu0mEgUhGE89g49SmATJCJJWztKYMJSJ2G5rn3kGBBVsgCUSALuP30YVQB3Esb
3aOLBQ2X5oDBHnlKZiisg0gJtiEoFoLaklFM4J2P6ES2YQTfikiqox6HZG25Y771q/GJAKX+Ynxa
tjHepdnOU9l8GkP0603bf7FZhUzjGHs7w1gRyfAxTXPmBrN8cFKy2mL0Tai5h12TH6u8/91q1exA
yzRQenu9LWFneXEan7VIdx6mwF2PSw5aq0c54bcvXU+ztIjFUQfpbozM9zYmmomsZdB3i0FKGaiv
IrT2aU733faepoIUGMMNgFthPJ1GEvOYmGIJXeJeJD3hQ2x5MLB6S1CWnmXUN1sRsEqmDqAYO2Hs
WYrywsSBgHTq4bWELAy0f5U0wBRIoICDzQq2Gn3f3nvdoTQZiORtVmy82PrRuQKF+lD9LOOWpCeP
UADjzpXJN/KgTzwxZHoY5XO99DCJmdwF/s4y0mpn6XpG/UL11JuhvWpT3AiU1XC6pmPiz99x3Ozb
BqoMuVek2TKQBIXrQ9uoEf5ZHaodkkS3fi2YnRbVtgngvZJu9Ub7miMbyBYGEWNpcgsiUXsbOXgf
g4KaOve9Smkx0zr4U8zOoRaGzwW1I2Ea8S3KE3bWXcQOmpWln9HtMjo6VTVgD0jn/Rpty8UD4J5O
PfEoaXfO7JAkCAETLC2xDjPTIF+cQU6V26s4Qj3ULTo/pwouqd8PW92GjPcrk1waybB16VeUwfxT
mqlz0J61ZiTD9dseXsjZeiyr+cP2qWsaqMyN/EMjWJH1TK/K9ZYRtRWu454j1p4wgLU1k+GEIrQy
IWFBUzh6jPM3nlmIPWgPZndkQx+c/Idb5TCY6aA7QoXP0nwnoUARvbpPaOJQtznfAgUXW3taiVDw
VnMxfCUFmxjCJp64ZrZbbfT3FAIBOzv9oXon34TafMtk/Utnz+jT7pOpIiqxR9QBgZ0i2ny1AEzv
jEJcVePbDL4GxFLJUN1LtEkB6hFoE8UMJw97tz66ryCX36FlBRsNgymZh32WTBj23KTdzA1DbfXL
s0b8bWqYCW1gD0Ny8lPBHIyKl+PIiX4x7wF4VNtX0R4HLZ6KsT5ip4kAFN1HbB0RfspnVB+7wEMV
MXjg5VSRPajSR1ESNaCWJ1qSU5OxggiMxMP7DK147RDquXHLgI9jKd5TzsDSh7AD3vqbbsaWEQW7
QhuOLMkiuprJMui+UrM/YMk4ThbqnDARp7gCxRrZ+2G5int9mOyLAvgmrMwAfMymy+0v5vj1eqr+
TL4/74ahukRLEM7I8H6X5s1dq7eWJDO7dutX1eK388VdzIY3GKL3pLEIREXs33Qd9pAkQHKvduyN
mrR6EtH8Zks22Yqezjga/WmuN7MetjMEHGV5P3DV40iGO74WdnVAM7QqU1AJJiKkdTLOV1Jtd1TX
yIwaG+S4/uPOU7IzuCoXs0GIsG6/+mR6c5QFgb6johN5Oq/sEpJ2SReqWixqE7mUgbReoG+Yp9uN
bqmOb/do35mnuA+vVuCAJJIh9LpgssZDalF4aCMg6DlGpdll6kAT4CAzCOnALsl7gkUSbSrGRFz1
Fmy6W9Nt9UfBbKKwQ/wmhKR7TLYOVToeA04KFHFFMG+TW5NdNuAO8lmjumjEtVnihac0vGdCKFeh
EVunPoHGLBt/z7/q5IQMaJRJDPG6HicmegbqWvI9GODcvuUzmVv+pOCsIhHvK8/o57WyGe2QosUc
ldQSlWFq0ASbYaLIuLDHGZ9rpQ/+MmX346jetS02Bt7bQ9kwg06VvDTE45bgQSvCMlH1CUZJdXxA
3+sNOZDGzgVsKxMgcKNdbeuohNpHsUuVgPUpaZIDhDt4UE1JT6gs2dApvz2a/fQi/X5+9Gfkhd2l
m2p/EyVTfJhceTK1vTThaIqCIzAa5El2aQxrNdElxrnOsNkA7Rz7TsCKbTGmG3O9C0U+ECIR9ieU
wD5NNWCTttlfKG0Z+umO1qGig2SkizUxqX9KW3NaWEGPRsDrSA/OBRFDPbKFqgHlmjE3X/lEMp/y
zufkNVOUyuS9QTRZ0IY/8mB4T1KWGZmmm4Dgxk2Sgi4bJlNv6MdurcB6mRt7Q9oEE00LwECzAQ6z
gfFb7j1tn26vfbshaBAO0t+vqSjUyRjHvRyh3Pa3icpyIwnkom1Xn7REJgFOYZlgBLD5usr9Zkd2
f3v89vx2eb4dJmAlaia1ttDnmCMP8S7wmPKACZ/B1TJz0//n3u2xwvKOjbbFPnAhDeMsKdc0OPlr
mhbDmmH+73u3x7y6c6Cak1KeOGBrzMTlCB/R5ZINVKH73YSp+6tNzGfNWUGo0Ew6K16uzZw04dp0
cTx1/ScObEjbUtBs7ix3FXZetA/GcVwVkXc/1GN5p4OQS2OONJjkvit2c0AHuPmGtOJFPXVmTeGq
r4tsbZMJ04/Fp6nIQ9B1DK7xTI8WOe3QkIKUORLd7Qdv4EsbT1dJciLli6QPIn5DYBq2buW9SpCh
6yo2ru58Xyjncexneizxqz1XD1Y4XDvlXxyz/F64o2aZIMkMS3S27D3K1txYgc2IsD4IWc302PQ1
I6EpViN6V466sNI/QSaH28FsCdpNrYem6UkHmjNOWIbORtuvRKgea5ncD1nMzhX92dx7z71MfuDQ
wrFobGYa05hBJ29vMYtnJEGIFJRLmpjPrTk8ph7j3nY4j1Fjrzvetq0cwdLF92okootuG37Asvlj
9c49YDZAHiV8Vcw82UKXSwbQWMkkv8feY/0py+1sqfeEUZM20pNZG4dQN0z7Q7Qls0/l3uyoxX6C
LUKyIltIGstNPKTW0XGt5zY3H+JDoRZ1aeR/VeYgL5M9/s7qAP9WZf+IjfhrdLxrif6DoOzO2sXi
UXrZ98x4bVvDpDYK9qmyfLdwgzE7E6RtoUADPh3cxWkTs5wE+CvVhqQKknmaawe1BLaXsfFyVNte
W9K/7kmy9SVtau2tnaB48Ozhaoz23fJvdrIX5dqvk/uHcJ/5UJfxvkZzTaPZAcLTsO22CZxwsDyu
GaBzWerHp5YMUhq3oQGBo9vnAZGmUYeVOwX912feHW8WRRg6Ai7iJFMTJaBidmcE9+ymsjsT1BQe
6gl+bsmeniRXIMnGYwtlc09lzNy9JGG2mCewlxk5WaADHwZT66Nv02ml4wEFP3O3lcvRUgj74pDJ
Eg7lc0eyQG7Ph6Gmz5a18FCGnPVEkzLLqUM1mCt+oQL8srXFQIE4kOuBf7UmCIQv/3kMhZ25vT2Y
5PQxrcb/LZsANm97NTF54VSgjhTN8Mc17XlLPt6pRFq0171zIZhg30Tzpq9EmlzMQzFh7jRQNuD0
SNdxJ09ziflTkRTYxRTTTZH+mlXCnaB5TWu0KFmLbzPILfgDyVVZzXOBVNjzyc7DOIDnJP6KoXKu
XaloHZGL5NE/yQhBSQRmtAFb40QRFZfDd42OH52puWK4M7OlT++kCP94IQbbwU2uGGLXQ2p8o8vn
j/Pct8BsN6S0VGtkf/B9egFyGA3JPMvkEFjZxcunZJ059F/mwLXOYaopgyrKf9RU4tK7DQLXQCSc
15gOQB0wBAOgWVQCwuOwMKiH6aeRi+HFkOglaaRv84Ip1rTwW/4uW0FXJPsOWymBM4tO1+Ft69mD
rcuEGdkMddGL7adBKGSzofdC47BnhNINa8JjPtEvlbsoLsNTGj8g92ReglaUXKEGYjgBqE6W3/vF
NBwnG3q3KuVuMGnfMYC1uDhw1QwxU1B9euQ+ADrDkRB1j6CWjePoGEcP2fGdLeYjUXU4PssUoxED
2UsvGJvNATCXKTl7dPgNap2jlYF+cM2jTebUmt4TYZt1OBB20fi7yBqe6N+H+9myfsPU7U8iDYAD
MqcLJPzQruxB6FrQBbRpzSzZ7MlME8VSF2KDqakkuqmaIAcGv0msYfLZ58B8GBAWCvYu26ufPoSl
yseXE49F8BTP7l45Esyr0ZBCOnqfXVi/gIg7MBiianO8dTAeqdWIasBI04b5hiS0FyuhXkhi81t7
aB1YvrqryuxH9DcnXbMnnDnpA5NhRDv174PJXnkkeYcS27znzChXcZ8Bo6iRXdNUADgei/l36Y1X
5XPBbiLieq3xuxh+yiL67Y/Ga+xMNPvrlAZI8R0RIxQCIttGc/FBzvdsPuUyfC0aRqEhkxG3/GUX
GfPfkZ5NgNspS377DlQmslO6UNEgiKDUVsY+UDG53eU6WjxHrV8chkJfGpcGScmEaqUq55J0xED7
uAWIR6wQBdiMPog1IQ/JSz9L0O9cGqp0vhqpuGNYQszRsvURny4COFMa+zT2z1HYn2ffvaRDQUtH
SboO7cZHg49vJv52pfNZFeZmqErCKYeJIFaQB03vI49MBHFe8a5uPIfd6fTW+pwx0XhNw/G9Uj5d
pmFH/4ctfPjEPKba9Ml4rbzuYUAp4XBubUQevoauflzSaFlRt2EVPZlEwLCBUvRXaC7hprYFTnxh
E4odGSQYFvJZMVdRtCpC+6KCj6jRT1y4cps/G1/Jit4Uzj2bGlZ5JFrIp5EpGjBvr90MHftaJQ1s
R+6JJN2t28MTJndpZhqOo6D8TMlb8Jvwgo/3ymiIt/WO+vRhJn9vGCHNMdTsBvJJfTD1wLhI6Snm
K0FLVDNEFq+BHi8hWonn/Coyape+77rtEIT8IENtA9UAfxC1csOWu6hRwS0urEYztOyYNTPcSMxd
VoEYBKaedRYpkf00roWShNjOzDjdgQlBN+MbQwGceWnDgEFzwHpQZL1rOw8fTcKrVRXZUEXMQCxV
nyKDEt1WcluYxu+BqG5y0TiiMBs9lkH2We2j5RV7l51AKFbO5KAPLP1FyDEyG6gepnx+5JSj7zLS
31Uen3zffSTwINda9nvX7t+7zP8qdelvnWYKoOhxLmlFSEKo6GrlIj5Nk7MHANjsvbamlMowFYzx
cylN1jUL5cUUfNVEv9LXQo7tZB9JjfIyjthLZrSxpspHuFpfJLLAXebaTFNZ1Wq6F1snRXQjxZ9s
4eKb/S7shoeELlTTOoDRGY5NCY6+sOqJb3X1h4uM9oTR71Bp91zSNiUVpoFCKNEaR1p/YSN4iMaj
HQlCpMvv3s4ZZnTFe0fgDROKYqXsHgdkjG+SRFTe+OExJEBpLaEyqmDeWIag12rNB4sqNp5rfjpl
LTeNeJNhO8ME9RLaNEmBuB8k/bZVotFqsp7MnHUQyNX78iFVaizXgc34ISSNZvKqLTksF2RBkfXT
a/mwUqw9hvUqXOsLw/tqTDD1sSHTK2wfJRiMs1MYCBv02MDiJ4NouayolNl/l0VvdAH7jWE2n7L0
fs/2V2rIP6zdv3x4eiEdZGtKHziqLzHQm12eDc9B/oidm75sBvpF2HhwfHnypf3H9J48jR5AwaVb
R4/hLJ5TZrxoYownswo4niC2RllzIKv1sWinB9cu9QprPUTHbEdyOqoDSd8LFQvE6UEeLNvawRH/
EdTGPm+NX4KgolUdMpzt/WddQvaAKg+omUs/x1Kd6fdqzj6mMP5mpk6LILy0Na6jT/y5hFy+DsuG
w123/v0UIsRhI0Ghn1K9AKVeu2HTUHkyhDUOkdXIrSYkecnduE89jpbCZaqF4Qg3LL3o3dBxJSq7
Zl0qYORj58yXQC5VnXkwi/SVzCb3TJjYHmcfH0/DhUdU0TWLi4cuQUvG9MFcSiVocRZ6ktlySfEd
JNOKOrU2tuXd+UnhrXRuXDLHoyH50MWs0mxvfI0Vrf5h4Ihbzy014Ah9VDMp8eM0Whl1IHeJin+k
WP9VpoDekLLTx3vV++wdrJPmHJEKr04YwAMaxuLHPLI8i6H4Qx/hdSTYlZLndx0Td4El7tdkiO1Y
8B4mlGZ+TriPnTEE0jHxSjNXhmLizwwDKjqV6XM0fUyp/5H4zftYqI9hbGeqat6gLMJOEjvikKro
qaHLF6fidx7DnuuYmNOv+nBQlqymrnohiAAyQbg3mKqTO0rYhM+rI2J41uN9LJo3ofJdbzDBSmmf
hkF3yskfWzlmT433nQw6gm6hzrVKnzuVn1wtiZtlRDVI1ta+rp8bmnK0+Cy2CnDxx0FB3y2JZekA
WJjtNm3sx6anesJt96NiP954wt0mkDNGozxY+fTBKToccFJNk/mkyoSgFyP8ChPGZaLH6TLf5w5/
cV120cGQZFei5hYxYr9057v1Q0nedGXUa9etEES42Gh2GJUOFhElKPfpoHhR9GVx8WvN4EvNEZY1
XHgtbSG7krg5Uv0n6dOXPOP9AsDyMBXJJ3OHxyLvT7Kc3rE1buky0joSycvAhY7J9nhv0rBZ3isZ
OxcUIb/L0EfcT3oEuyvqNndVZPtwCkYIy5QSunmxM1zbTQ/ZFkHgxpvzb5vhNDqB+uBga3bb8N2J
4o9AFp+eZT2MNXVXjMtZ0xSa0aVDONovb6WlpuskiSUMovCo637TucsgYpIvbsjiSRFK4NteNfxv
aHSfHURcdNxembbD9XGQY8vqZR4zZjao8fjkdi2dzgrFXsMI15KUK7jPnUE8AeY/dU5HC21c1w1s
DLQBke4uKf3ntRs019tZOMwc7XZK19+03zoEl1nfQvLot51nvTdhbjwoRJMNqemkxDzNcUzaUnhn
5sz/1EDniEC2s8tIDt0suSQzZrkGnO2WrBi6rd70B/PHeUqngTGtZLvfaWRZGM01YWBIKD9U6znM
f0djbXr3s0Zm0mrjp+9qpFkeaBGZmZjGxETDv5lOqKKnU5sGLVpI689cqnrNvgnUG2je8+0mKXu6
Ij1dLFREUJg7WEuxzSCi0wEq/CogWWGycYE2dQlA1r5HAlruu7FNzj7pfGfQksm5Acx/QPmHg9Bo
TtRcHDy3u7cOFO6rFYU0bjDfBZ7VpieHJiOAma485nZjHkCBy4vXecZZ+twbYKtklqyPFJEQpyZ9
dEqT61R4y7bjqsbZTddk5pp8pIeO1UmgZbl1ySBzNYy/uLl9aUOWXA1jlGz9Pg2QLvqCHDaSNieg
IZupRSKfehk3Q6RR281M3ZfHbJUz/b/dvT3HTR0iSz0KOmqQtanL5cDqQQctyufbTV1gV1lFixL8
9nVCLJAJ3CFPHX0OFqVL3LGJagltnIYwOxOdwPJxuwvA7JnlGTegh4of7Q/i/VsXTkaHIS+KR0BD
uzCwgzvqSaVdcN7CwdY21M+hDd9Hx8ZWdPJXIYro/nZTd4TxDa7X7KNpfK0JuVPa5K1CUIYh2n12
FOOMvj+WXV6dOUkpblVQnm9fUk9e4ja3j203GmegelD+g/Q+VEt0mzeRMwRE7ALGCv1hoy5iHh/r
rvucGM3bAYw/vEvpNa7zXWPHeBPaqdqhZiYzMVPfRW++mi6iwfAXKs4WqSLjI8AAe7MzwxNh1OEJ
ItmPKVmQZSa2MPe7L/vlKJ92s7LLn6lDuiUzpY8wrm1QLsGXE+gYdaSgKeUW+PirXTOQuV5j0KqZ
tm10bEv2JOLVsmYTlSC7eCEj2pRx522Tsk2BZ4j7oHEgwmcBgT+lu+trPl9bLzOz3KxPI8ESNNSX
u74XLMCMfNuD7z78fYq1fFOg71mNFOScnfOXGXZyJ/SHjAp8ZG1gIVwZD11fW3dVi4Yh7pWzvX3M
oLmY94C3QyKehSvBwQ/iRx4nzcQ39RGH1RFKFgfJysqrHws5KzondI7phRHwY2yNhvdAYO3ZjW2D
cj9RS/2UnZSTxFcbHgQu6Xdv6MdDHWdfUtJrm9Sw8QK0H1hjlq1Hxhrb5ltGa+O9NT04OZQAQnZR
M4g0BICmMeiQzK3S5BmP5zbOl5j2hFB7UZZQ6vDPaZrEK89hO0UA2p85SA5O0pSHTAR3fOTmoeTE
iesaHY6dA8TU3rgJqXNPuEBF6PKmEPK1EsgR8T+d6ZWNSHfY6I1mQrZxHVE6+tGFNKSF5tQT/WGb
HFNB4W4Gm56axRW8Jrbmjryi7iyqbtU0c3tq5XRRbJqPhiTViswrWji+wEkq30RWRW/jVL2bNoMs
2RFh7lrGfGA0TlJsjX9Spsrfj8FeEkh4zTokbAUFAFAq/yB4t5+8ArWA2TSPAI5+1unbWDTVaWy8
8AlL2nfY1tnJoJKB2E16KpbxQVdPQJXBlZtK7tFuki1Lt8H0acwW8CO3nkGjj1GsIi4BlH/itA+0
i+8C5AZcx/VBjQDrhGsiFMOTsXfs5E0n5VOm/Y/FpJ1ohoAOuelblKPPlOTGGoSCtzN1N+zH2tcr
C0F5KI9WkX327M032jexLXaL67726rvEIAJ1ogt4mCVTwkixlWvm5MMp/hd757EbOZNm0VcZzJ4N
ega36Z1SmSlX0oZQydAEbdDz6edQ3UB1/5huYPazSahKSpk0jIjv3nvucKNAxb5rm15QC82dxizz
jrZnZKt2/PSAuL+0sT7t60qtU4l3ieha88RZhZJigdWEGVzz5LNAg2t4HIX5pmbwBebF5kb78lLa
9vSYzTf48vamW9DENw4FCBc9ecZvdioKQpehVd1ZotcOSM3aKs1VT6TOj+8Z+VygtwQ3373Y+MeP
g0YqPaWSceNA8MASi8l5bFzwgWHCpcYaf8sJP2qZBe62tklX9uXwS7gBSXNeNfjwS9qIZnGgFYx8
M738qKcBVMxWZZHxbdf1L9hI3ENz9WXKEODEFGE9mHWz0yb8mG6J5abnhfuYWfYMbRN7Dq0HAYis
1C37o0msjxEZiZzBcEmKqT7JdnyoUukfW07suGndfSrNZ84h4ZKqmn5r+8l4JR/yUskOqMhYOFx7
waFbYyjXdHbh+NVFcvPZIv0QClgrf/kZ2VTpckr0ausxmLRrUaEUw7puuDwi+gSNfdIjrAA+pTGP
6ImfJlZfXidkKWN/08Vh/6rH0Yl4XH03xIdslBaDT00dK9zeKnOCa6AZ07F2uUpM3WMjhvHXVPt3
fZklR64UtJKIfO278BegK9YXw+XM4CjbpsUmRrvVlf5MSfV6KnW60lKYhKaBlYzzB1OaCacf28b4
jBlgAaXTOqXFbCGKokOruhsuri+ol9RDC9JxWg5tXD8Sbk9WnaCHV+S0U5Z2nZMGHrWHOJ/uA4/3
1mhEN87WBvwcm5SpTvKctbRYACiP9/YckxCV8k56zVuikByyQEF6x75zPxzapO46EpbWMMplSuT4
ImqovljAL5zf3rTSlJcpxEwpYbJzlGBEEPn4QSqGmdo45+YzbJ54DdDXi+40Jta9GkA/5KZebf3S
36HSy2cIxW+J4qA8xO5dj3bJ79wiuXW23OXxZxLCAenqD04b4drBjkhT4EtSKMhHTYx4k2bysZqS
I0lwJhSe153Bcls7zof6FqVjRnqT7gDAN4kieM5dlzU2xPhrN6X7QuP8BG2nLpZ4ZAk9tHK42XGo
1hyAk5WGGWxhB9rL2DKhws+MOmZ5jGFTAHgpNv2IP2dFLTi2tLI9DZi58oyGbdBOhGY5Ut37hXvK
IuKbmumZZKwG8yQUWf5GEF0REXn5xgmpIVM47zWBoON4SPdNzZ9OyAAqTvoZO55+NB0AmKpvP0GA
wbJrhvjsMBCJYNEnVTiecTi6G4+j5YaxyCHjbY693PKYBgxIIAAq8II362RyWVP0O1lo4SF0Qn9R
GkW2k44G8QLQRac14uRiWVyA55xrTDIaINGc8C3Eu6ZM/LU3T+4U/qGlTNgaW3RBG7HTruuuNy59
vtWMfC4j4kaN5r2uF1Rw4rjuC3A6XHzFR1u2xosb5hyUBFgRp/2ok/GQTkiFTd1E6zG/Ix1R7Cej
dT87t6D2PlkRj8hOP8+vqfvliqD+gn2Azby2Z87lQewamZiveJHzVnKeMfU8qfDV8US0zsh0gMnX
XrI80LZBHW/jwsJ1HlL77gV6t8HGBsJR+tbaS4PfVU3xGiVImI75o+D5rCrD/taZ4xwsk/YnTLjW
+FYO1oag313dOdHJrEYalkHfr3BM7toJfJmCfi/ruaApKaE/OwiveIE1HHz5zpYmVK0SAUUxDOgt
03sg/vIQ5QZUIKf3t3TKJFx4yW60ZkctdGE+eQzLyYfYPTQi6rRYRmyfVnLL1rQls3lSxoNV3jBA
4S5U0jnoLd5NyHNUflS6sXGi0toWcRMtY4cJk5b27maKR5y4ef8o58JfZfXOLz9Jr5kHrBCevLUG
C17tYoUymhD4SBz3HQ2zXSt6CVxIFKVlaiuLw/9IDHflFbHaUaDd5n7+QKksV5fEdR9b3rnM8HGW
Zsa4BltJCKHFQDdYEBLZESDhGvc+5LSDRjHGOD99ZlLDIWhHtEBOtq27iCGWvKMWPeSwvMLp3UZp
WVd+0uxs/iAG6NFNBg2lZCgNK9Lc1sEG4bbkHVgfZN76F4eLQSvc+hjp3Vsv42vXCDpFKgXItSFq
pjGcJdGi4Qut7XDhILJurOClSdqBZBonzGT0L/oY7FGvAaBjJdjZgY5Q1xtqJzDIEi7HywrohNgL
gSQvYCGu5Pytevz4g/AOKIL1thYmNVyixG6a3aZ+ANKrY/MIevp4eqU4KBMnT5ogvA0TPQpFEizJ
ozLoYDqx8wnzxyw2uC6q8DUI6NumBMP0xxG+FoN3r2Gk7dU+YCK6myLmauyu9Z3BsHVlAvTgVSMx
OAGGokg5VdRnN8MezVq7ShtSDxjxQ238Lkq9/DbN8lUG1QuGb+2hr+zHCKPYl9Vnm8xumlXGOJ8m
VPnhB4n7LHWC+042tuc0ocjV4UFbkB83tgYznVskJjbr1D9+uuk1rGT71U0k9/t5Ta5r/6bV7Ff6
SomjnpTuRjGiWnLvb9606uRbVIWRZidePpAVn8Ad72WeXEiLbazW8y5WI15dhkzEKx0L7kgoLzTg
0PI5BivF7unIFsK5AynVw29HJa2q3r5Y7iVhUXrtq1yiNDOhZPeKIEFD2YbgzLIz/BJFFlNtItNl
x4O/6XqeBXaB9sVB9EVHqqlAys0vF/GPSk6MF5ycLbqpcfGYxnQotOhl6kCHFarxd3WTfWZMyOFL
aNOqsrJwGVeZD1m1GNhEtXAp+sD5pRusN6FvM1L2qIpSovyWsnbWhQdOTaD+oUWZl0jQSU22a1OP
ylz/rLrlINeaML4p5+HqIw4MKV5x8kiC5DEuFmon2MBDDDDzlyzEm1MSLVvklHCtczqp1Zh7B8Oi
1QVx0mAfNtwSIkmrnwuyW+j3onbizdRDo4DgC1rbZ48TU0S0LouvKVXaqoCOFXPB7ZqhO0w6iZyy
ouws4OJThiwW0ZQ8cyDqTsondpUTGoUCYq2GqXk0S4h/uOWY5khMOowNcLw6WH/NYYLQECUEWrsN
YzPCrzktNoaNLUufa38c3aIJrhHPgf9GO41+YG8b7XHqMybjtVLXDT1vDGTY1KXxFrxOfhfdBMxg
DH+92hf+U+1kwZ4pQr/Sp8K4BZFDKdls7TcMs7hr3rMeAEaQ0BTnWPaCuATAIKd/rDOHjadWqKei
jI4gvD1ssHiG6VSxmVYZ+SVcZgRGsc+zKtn+1pU9bYzFdK+NSGgFbpJEtelDPHYC9TO6xRTA3oEu
esqHDtil2d7QrmizDrDK0D0ybUmBvQhKSC48MsvQm1GRYwPw16OQJjSRJ5AT9m3tuOtB7PGAF+T0
SmJfDdaigHTe/IjSK+Q6ZyM02hWrdnISBjpU45bzrMK1H9y+niNd8TYxyDOUjj8s2yhw6dWSAbQG
V9ubzCkX3QBfra/DVxrcqQtqhuMYWcMl5ztIQp8YjSJjHxbafrLHdq6/rl8r5xbAIrrGOfJGPahP
r8/DY51zOGM4EFWsy6Vp4k4QqtwZeb8xU52NZCs/lEyCIy2eTHASNs55hu2wxva3hPsGvabNoOXD
Rq4SXb/JBkp8R5bO1sQpm3vJ6AI8wJDICP8Wt6mtvpKGVwQZjuwrL0NmlGWEq3W0eLEzHMnmhmjI
WRjXyTpusP8edMsstqaukHqKc6nZ482Gz7Q2k2GXMJyEvPlQFOhqoafiUy4xEThGeRPm7DFvMsL+
KPXEk1G1qI7JLeO7rWhYD6yuWyF8kDDJeR+VA36uLhr0vZPoX8QF27vB7689zrOgLoONlY27xAth
fvosw6U3eDsdM/DCVYa6NgI/cmFU+XIKp3JZmRwge51wPa4mGz2Moss2yaaVBp+Lk+5BT4L4BgHs
odRtsbYlTsypAwcjB1p+m2BbNzbkMXrcowDZsScjARWIguIEwxvlBW665GQXcCfm9ZkX0+8JppHs
zz0yA5lTzOl4nuNjwZq6d8urrEpjy9sDdwVdx0cx1V8pQ7mVbRnNOpCnLoztTRHTO1qZ9l2ROICK
QlqqXTSzCi8hvtRlpPek1LnQUmm0sySPlUXOhWQWiJXW/PCHocQpOT1bWorh3GdK2Go4Akg1wB7v
KQJAHsTrHZmQ//K3tKh5ywXa3i2yi57VtAJo9CkZ+wbuktV7NA5oeAmL6dRmk33tarUZZcTZ3xtX
sPmiU+gED81gVkD80/PwU1Q9EfwvGhHtmbeQeCBhvmjHKrifytDB6RtD/GqxebExWxYi+qauELR1
i3Bzdl3bWJVaixom9ROTA3PdCMNd2PFwKLuWRr0cBWx0hbkxLLjzaSlJoGnMQTA7Mhcbsk2k3jjN
UB8+7Pp+PPUlOdSMqvu0wtjPASBjm3AY5nMcy3ZfB+kJypq+bnBAGm1tkCW03qpBK47BwHNpAfTd
20b+bjtFd0c2u72TZWEtkbnItOl2d4qx4JwGGZ+tQY27n3/5xTbH+HYMPA78MONIOc3QexTrFg/w
0NT7fkoEzxaZdL8Oxg3lMWq+a7D2aHlbhKADKQmjKNf3KQnvQbeeMhFfTABUG5vaTMx6VXC24pCa
rHBUO7Bv95EpXmJfpHet6Z+JK5UnF5waMyXDXpuuzemrSu/M6L3nzXJtevsBv879MIxPANeScwG+
LGiSeWLyXGaTfMylFl20nDZYM5WnktrpKU2HazevpjI6yvEnUpiARHM53w6jv65z377ZXX8UCi/3
mEz7in5b3rPNtAOMy0EkitdWzZIpSWFpjSKX0ldvheZ7R1d5DQxaz+bqR52pTDzy6pWxT2TZbSYj
Ai2sp6vJEnInLTw+LTzyceR0Yhruh9KZfZPhSjYWCzQtsR1d0RYeT98draM7GndSH8TRak95ZMAB
w0oTxQTOjUjHhOZyKE8pzDW6mlOoHLGZleoL/RNkcFF7awrv6DdOLFRPmoP9viA8qsDOoVSWTclU
i/N/V4GmKEsC33EvjCt9WtuUZ/PO7+gQ59mKGnVL034L6d8i0LbOrLzcuiOHqdzDLdQYUPzadDxl
Gkpd2bvlZnDKW1P1xsZ0/WDdcinGB6rvY5/RWwz5c2wSKnpEevOKaR11RP+cJPgdTXp9tlQL5SDt
7pKO81gSh3exVfwKmVbwc2NFs2DSw1w1yaWCs4ods9/IiZ6BhqgGZm4vvoDs1+80D1lk0uHKIvU4
QPiaiFqyFDdmG/TjkVN6xcGGDlG/Q9VNkTPXae6d0J31rSaJS1OoSo4Kn/I11Ul8DkGPmjTXmJgN
YjKgMvDK71FlbK2sqY6WywZMOq62sn02QoWwQGKRlls3aKKLwmqoznbEGS6AvjU0orhRUIeLQBC5
T+PZhM0B5ViM4Fi7yjmoHueeO0EHHeMEA5JLcl61ewUU61RRkHma2P2hbc0CvIl72czc5ahEtmFx
s3/Bt1dtvqZ9gIF449sAUNlXFiOH2YhpEXYpFIOcR/0wMgmR1CjP3nzO0XhJ2VuRBaxpyLzWECaX
BsvSihPxUym1dAlBy9/EydMgmvq+NtSidEIQwV2LcA69m+EoAw8ln/IKF6HbkDvHO71Sg4WFPE/r
9eR4PUnhXN9OY/rcBjb1r1wefRI6wkBeodlyMelZdsobrnaRMqx9iwEZ51CcXltdPU9G85paHHpQ
R0SSHegu2NeCMmi/pyPVS1R89qlC98vQuDdxgmG6c+w3NyNn7BV8AnxKhgw0WjNg+j5CiLi3cfWL
2FNXUwQQPbMqXuf22LDYGM109OYbGVfJ3jFp6WEbLlnEd2KS+hmG5XT2EKhMyh23MS6pclFPLAbD
NHEhj6nxdLPsqSO/B1K0iE9UL6XHzrmiKoLpnW/QQ+y/f4QmGuJfmFkVve61K5cdIy6oAO6BaHfC
Y82LOvzBmYtXOaq8dkd7+NXPQv4yek31sItWBSNWgBaAYCNHIzNZQ0IJHDncEWxeodoWj3qJhFKk
39Q0j5B1lSANk/EyY//IG6gCuAWHFT+UVixixT51UMPel7VxMT2IePO3CmggTvgzWPff3Lj6UGMc
bCplsCUNArF2lo6paXdd68WwQ62KohK2HIFWH7IJNIusRbh1jOkFREp4yqb8nDFu3E01YQxjvvGw
Pq9Qngp6x52ERhxuPN3/7KtQR9sI+gMC/bRTPEKh6IYDv8Y+H6dVaLOpizJcA7J8odIQ3KMWb4E6
2ZtyiD2wJuhgvc3RMwuxwKqbHO/F4KPxBMyYghqERdiSS8PkfExj8meGW2/dtvid6MkbrhBmHwzz
uphi7aEI+sXczTC5TD5jNKwor6qlOzio4s4qbSy10SYAL7Cjk5jsZhVqxHZxPizmTZxr2+8RyM0+
TZ/L3vZXusCtafcE0yucTrpLZndoHOZ3XH4g6VsEIJu+rzaOve6n9iOpFfGlYluF5EWdNntm+I5r
pMAGkMErXygfB5U+YdTRTkHqgcEAH0g5xLYcwKRwttiZhofkGLqHOmKTX0oenUL/SANOZ0m/0JGE
OE+2Jy/CBFqSg5mQP6O50DEYvDdlQ7BzNI2c6asm9WzbUjRSWUJxDcHUFls+3dmTeS7jjk4PC1Jw
+mxbive12b9WgnRsaZPvxqbCJjapF1yRf48Cm7tMmSPwk/rQfq3wji/wvJWLyTceFB4ZKK7eoRmN
V15Fzppfb+tI8RXXCgHUrd5oq894TgD6RuURi0+5Tu0PJ4yf0kQMa29fuAzNs44nJHIf7T4H62sD
Zwocl81HsCsK7y3wbVLKZfSoefojcyci0jX0jBAnSlt5Nw0+J6t4QLZnAGR9P2Ey4rgC9mT2fzrr
iJkGFqVzPoeLGk/BmqjCxah6dphc4uIUYJDdCg4xOYKuFh3imEAZwKhlhTFfBA5+JRgZgUB3zML+
2EQXCV619V9GnwBTSIx40brsOgftRhdmeLM51y4nmxgLnWhgg7xnf9IAQ8TP2NWnhT3aF0BmFyIk
W2A3v/wxP9YSa6yeNk9V6b2BpF9WjSaWwkOoptwJmDH+W4MoZE16N4kJOoMgQaYjcYyz+t3QWi4D
U7/q6QrEBEN+PjaoAlU4eYBXDULHcehHNNZ9EhjDDRhDAkKJoC+7vE/TgJeE3i9zQ6qlazdb2zaf
VMYuMz/SiWMTz7NY4WeAO81z1VheHQdjRZGVe63FSQWPYDHBDAb508AMY/Js1jjs2ec85u4O4sb7
YAzkdajt1UT12hYGriJM8FbbB+tC4VfTzfSx0YIXNy1fzCB+VXlyC3Ri+sTyUCVDUAANimripKt0
7nxnoxFutF99an7PbhQj/fDSRt/0vbcsk/BuBDi5a7CkW4MNcLamW65270xXFruk0A9DH36k0nqv
qUaGf5mctCY55737QCAWR0rWv2Ca2SEYP3fh+CDh0woy/0Kyn/JKjyNVBddDRE9iACbSK4J+5qyd
ulCFktehEcmqrskn072D5Z3+pmFO1nHYfqkbLwTAYBwqKZ6yAiSUTl7EoNmO3Y63jDC8b4apekU9
v6li2ErpEyYUmPJCz6EsgI2sPdvTKdtb1gCRELDxmFbfqizeR7/fuhUngtHQXzwmLHjL9KnZQZUK
qG7Gyx/hHYloi2sm2EgZZB7b//aahAGeAYq/HfBBDcgEcVKfrCraOA6omtAWF2Ju4dLIYGI3cFMC
etPxtMgnqWqxVBHqyZTWp9HhlONbpo7F9z5PzLsoRriXsbkTCfizIsRch0XDXvsheZKYoBFmwvKt
cYddVZvDqkjVfQYQzi9idBcGZOvgFrrNuMvK+DGH7cTJHyehX408ESCUieM5TNQ9CbLBU73aag5+
h4y587pxinf685ikLWkfKD0P3SKBczU5HP68q8gwlaYt0ecMkEk/Mdc3nGSdlzj/QpOrqDZ+9XRt
k8jYQMLrVplfZ1tRZasuxnbXCURrhgTsS/31UCTelUjuemhMaiA6mZ7sYMbSTcVjnbJKDNFXPWrD
wa5Z+PWIbCC5WqL0PBihT0mukd6HgSK20nFtpoZggxF2XWbZg2mJ6lrrMbMQ1axFhGiu5e+Nc9EL
rX8xePGkDvNG4oZfLey5pGdS0VrzluKrq3gnVGBgrZDiKLQ+v0YUBvpZccXd1kZVLfTKxTVptUfa
rR9Tw79BC+MJYTQIOs05BTTJbYxyTFc8MAOMYX0o9j96pWEYz0kdEaJDw0YwMA2Qo25j0LYRGF9A
3VGhi3GWhBeMXifBcVw+9jre6V6Jp9K5iNJ+ZVwXrLOJxzI02f1PFBUYo7wfPCLJo0Y+fjJgTicM
Ejm21hOveJlj5NG5xBr2GQtz1Q7DgpXiQ1Y8T8zLzjKXFQf9PAFnvO5cNlzMI550nw1+kgXP9B6j
yoXqKgLzRnIGc7cLj8Xp75EjX6VKRzjxoMGq8LMLGTiKkRdrQyahar8mf6EqiExarU9rBxWUYoly
qUc4rMsu+40ViTfFYFwTSlyKrtyHEwknxmX2oZ5vfj6acPyQ6NReE9tz1t6caEzmuCV7XnUoKomR
7edDQIB8+OdTPx+JnxTkzw27sKGcfR0JHNBghoH+fJT3xj8++vm/v/zzf/uSP//388V4LPLDn7v9
5f9o/4GhM+XG0pkCMg2zee3PTRya//zPn0/8/J/810/8+ToZqzkxPH+b7OfDP5/6z9/2Lz/+L3f7
P37bn1/vn+7z5xdPPCf6x+/35yf+/T//8iP/3OfPH/tvv+Tv3+HnC//t1/zl7//zXX8+IWKnXqdR
/Uk87WvwKT4cnXjdYwndqWxADczgv9MCskws9SJSVWzacVTLxnTN1aivf15iPzeOAk4wzQP/Mftk
Jjbsmqze9VbRH5r0nbdXQTwT1Io5V3cHLdnjyqjW1WBRbOg2h7yOrE3fajeIHF+lmKJNXbBJaiem
RgN6+DKusSH6Kufi58Pxi8vi8OcmTrt+OYmIwIEu6VdX8a5mPMNut8B4C/mk9dNtaqUboUNvAX8Y
sMXyzsqUD9pgjRunV6w1We5uW6XsbfproHB150T6KurMdIt3/66L2+pAY/3VJ40OggOXnT3H2PU8
y3dxBihgMH6xBGSbPKFu3K9DAJY/1zp3HqaCAFEZggZBzINN9GjPHIiDK2l2bb5xImrZk9HNmNAG
zSGYrqEWWYDc8Ofpbz9vnslx/vEGhdPEzEXXyC0p4FJsFcg+TnP2EWcHJVk/H1oGFAOHFLRom99x
GRAR9nRcg5HPMpSYHV1GxBxH2oqQ85+Rgxl2SmwX4Fj8kiOWKPGU6VDq+wyYy/AaWw0WJ5lsgtxR
i5jpVWmso0p7pmnRWzKsv7Qt7K2mJB3RJVu4Njx7bTZTmdjKAmdhSexOmdEfIq66nA8oX9Gm5L3C
WTOfQk4xZ7m1oUmI6Hd927bbLm0ygj17STtvQLXRookn+9Qf3TImEuKHnI+yYw9w9SDnrZ8HcmWF
CxjZxOB8xhqcZ1hVAYUhn0bDY5MVeAc1s19SSXFnvAZd+O6QQ8aeLz68MF2mdllD/+QVXAaOWJVm
lOG07O55MXYrG1yuVL1zso32ORzmkCdz6r2whu+BNBUPzrfApIyMmBwCJ+HwoEW/085+MobkjZHv
GzkWDt0oDbJvGMZDE12MesUVF+4MAkO8DBscQ7VhXCy6Sww33pV6d3ON8WVyh89IL14SsJ5Jx+I6
b0tAhD7PNfVmOu0yW2DqzLsXmSWnRObnYqoembtbJyAGd2HbrXBdJavMRN3XkxyXEp5iADJARhhc
Jfv6mOZhtHZJqy5zOnoSx0fgzJ0PswfO1QmOxpzgjl6+wdU1ggcY0KacXhx6SY9sEo7F2hL+OQCU
uagKjl6J+eJqQbqSWEKWmjXg4e6uHCyIqpjlXpfmU68ZOFXq/OKQi6wi7ytg+CjLdFyU5KPWcd/v
pgQ6LHZL8C2Z86Doc9iWJleVXlunbnZVPXtXeiYb4ov2jrQbac6gWWvKeteA6zFxu7mJujf6LnpI
vijSeTG1hDRgVz8IG9RpIPHSEFqTbAE68eSMccOT738VFpSr6gkzz0Hqxkthsv8ldfIOjpUGhKp7
TXTe3i6GT3APmNJ9woDUwGDGh/zlgUhiynRO2LbM+pC7dsFWLHURPo+Nqa9rPdrWDs5YkEQuu8do
Y9Y1IlrKLxwG9oFBzkk2xafFbiNiwuvYK5O9CJmZQ6M7TClbLs4EX7dOyTNOTHWCNr+MKYsruhiA
W3hxZQNoZjyG5UfGBYj2ubE8Iq4dsgGXexgPZzdmJC/YU62ZY6xsNUQMyYeYgYlF8wKYsHG6S0p2
1B6oonLgNwkt2oxJgUBFka8jT8kyxW4hDP1slP6pVNmmoOtk9Dmh8KYIt6ZW4/mU97U70jUqxdl3
cg2IQmcvA0x3KDT9sp+637qw073ReS9yjK5R9O668T0DmEU9R7SgIPc0/BhRDlxn2BetvQ9i85oE
kcXGQdynOW0DkbKXQ13es9s6+OS3OWrnT9U4vA1wcPF12weJCR+yFpWFVJOGWrC0GwbAel2fG5Ws
C735UBHKScMLhF0fIOnaSKHNiOZkjcNLXWXuofHBmaDxpgATmbyCLyKymZnv0xTkuwx34MKc0992
anzpOdRs9tvTtcj812ne7nYc5VfUEJ18SuXxRjjYUE/K/Axs/6UEZXdv6uWdxDyy0CNj69MWx1Oe
Lomf7GChyv00Rs9NDDBrKF+FQ+qqp5eLlSPbTI58w9eoAfoZ77hiZy0bVkJJx9a3XuNpmpagbuvu
tQwpImQZx4IUfrQmiDlOVy9t7GII2XYNtQY2FO2FyCdUnfMosRCD6WNRtC9e1LzX8zxdjdkHUspv
UVjfulsS353nl5H0DgQgd1HuvlTd+OzXzsmdndVlTXCgMMuPaaIAR5EbIKOwM4q83XRjBYkjNRap
O18uCwoXciYHSRhTbuF6GfmHaY0BgkNelV8HChXwmR8zx3pxA4x6hl2h5FcvRtHQMaFXIG2C4OiI
5zaxH63RjoAOtjcHMRZ4tvvp2zMsmACv30tOL0byDl4026Hoofnrd/QZrYYKR7Yx2Rb5RzYHZXjA
DnKSNW8mls1rrPzjru7K/BoJzljNwMS4m1Bv8pQmkym5J4EbEmbwDlYXnhsht2Ebr5oSVV/5YFHd
8T7TI8ogKjvGxvMto4icFy+5IQ8gKMxFRYzJqiwAgOTk6WyzuoVOYwKP41hiquhQ4RMmWp1uVR2A
ZW2hOhKuhxnZews79L6KiEIIk6jKGKtxW1cfdczhiMXyXAgvJQMcbaJseCKAD241BdGRBN/tYDs7
5MldpeKj3YlvqLJi1xrdXgXRZkQPQi/6mUZb2eKn2+v/e2Yf/3PPrE09678vmr19le3v32n88f5f
n1/pfy0Limf/uXZ2vvffe2cN8TequoTFS9cwbQcC4T/1zhq+a/m64dAD5jkWjbT/6J21/ubplk6z
LD3DQjjc/0/trPM33RQWlWumqQuTuzr//X+pnRU+Fbb/2jur+57hG7aFodXFZeH8a3mbEZGUiqNy
o5lxz9Kla9eA2BNWmdr9GJKn3G6QLC2cK0Vpqcd2skhpjG0yB05/WZqj35dWSr4VE8g+KOZObKTB
XMLl8KkIjOkNERbafaed+6QXZ1CGc4+g78eAWkVm7fxwC5WmhMk8CqqLQEhUF39uJhSRpy9hMHxH
c2vhFNvfAXnGYyrwTytbpiuRMtyCkNmZkctvYj/VbbxDo6EQMcZlVCf5JoI6sPGlXm6VhA3VhS5O
cl/Ip8oK95kaxGvlYqPwLHNbMuBZT960skvwvJ4FVI2s/bARisZGq02Rgjy574fik367dt9q+Wvd
dfEuo8Cyd5Q8Cc9Q927DHivCbbk0ANSa+aUZVLqvvfAxbvX0HPU2yJt6LmHsj2hPxEUmHShuDncc
Pwn0MHSerSp9ynygXINarF+anNmdbFW5ncyR2XFLo6Wi2tIakoGKlb7bGi66VmV28Squk98DlZiW
xpCpagVbaOoy/ZHezIACTXdu0pzEWzQ3azpRjp0lJIBLURdhN9LPc9lE4MXGxqBaxCAXsSzmtk7H
2Lhze6c/93jiUXxuIpo9Tf9RG6oHrSREFLtqwluS/LbHCMJ85aRL1VdUFpCfK4z+Svsp4uNcJerP
Nx6w6kUM7+YcUzYKosSignbuH52bSO2ETtKW0+PcUUqybLpyrClMws8/PlxvbjRlYhYsnLnllKt5
q9N6Os79p9THMyClKIMIcuBGjERy3ds2c2uqloW/avZUTB8/VT4+UGoFFtSlEEO9VXn4NjTTJnRb
nMQmOo03wwK0pqSMJ9uLDmeYL9uDq3CVwJ4NFp6VnrSI8iStgwuFa6++GC2bMJ2dGfkawEdG3SwJ
VfpLLTly2Sdwx9R14Rqgm8q0j1Y6ftZeIn1a8adp8SMJX5ENqnkArCl6KPoPlKmPpkdNG+jeNdkb
6t3Zd/MRJZpWPNqEXzhloeO5X7Y2cgzpf4WZcfJawGKGnt57xDLR1fcV+A+GpjRTpfJK+xxLTAkw
u08RobP6Ksfu10imWuteyePdh6kNjzW+Ic8+9Q4EyNp9jtnkyOZd1xMayIaLAQRjleozMagQd9Ic
LqMbfHgqefejGvkUJTc5TCkUDQe/SQmLn64+fqw5uVcuG5xajKF5JfDyPyyd2XKjShZFv4gISJLp
VQLNsuSxfP1ClF02UzLPfH0vHP3Qiuvq7luWBOQZ9l77wkYZWhxrE01uDjYL8Z4lL8G3G9sxUTFy
VToNkWAdvGA7u4FGvdn4PobkzYrNVxSG/+rOfiQvcPL15D+3bXFgdP0+NdFa2AX2pjLunpT1oMIW
S1vUMInTSbYlNwWm9Hc1jatSFs1yCzJzHu031jUIfC3MaBYzxVJP92EERb5f7CMTanBdybTXF/3e
LPqbmuDFrjCF2rMf7NUJ1EYj3ZfRIJX1qJcMIQ5FDPnTzuIIXaaNtIjNKevTEYxMPB2XiAWbTEQF
Srl7TdK53ObCQlRjrvv/UqG82GNEcwIRog4Mk7w4Jm3ZHEeZu35atH9a5LnUVCOxLcZ09yLWsiCe
/kQNYG93ddwgZO25Pty/Y6qTQA97oM+MQ8vjEQHC0Cc/UIoqdEMl9hCE7sa8POLhWi5plR1boNUb
ZdCfR0b3hTGyHy3z2lvjuw2hFBURHAKj4r9unB9VWz+lSkXQgF1tu+wltaGtoE859QMSe9rTjAbi
tEgyic3hE4br3U75sOYe4ahRiX/QMXiIlfFncxldezoVqqy2E1WvbL8mEIuvhj1dKTLHbdYzh1mo
u6wCodQg6s/MYhxfRf3BYc+PoKiEpybrZ24Da1cJ9Qxltd+7E7T/FodTP364ZXcfZP5KWEC4j3FV
o4Jj8qUTr9ESHWgNzMyYUW+AfiWHwqb0jNJSbE1qz6SuQsQ0SXVutShYGmval9HM9MhqIEbGqPZL
t36yyPghsY4M1pKgLpQNrZ95xh0F63E2m2jrzZPhs50lbqOHAM5orNn3OYtHmqyfNtSTXV2X9F4d
KkfL+FFW+U5IEVrXSYEvIrfrmS3df+7YI5S0pkDGicexXf2dY49gCZG9mjkpf7a1kMyba/s24enF
Mh49QeRTQX935rDCMgkSZTkNidKKn4bwFNvQ1WsEESgUCdBE+ebIx8SzPoqWeN/R6v4VnUuoemjK
S+nRdExa/ug4ZDdkrXxeei28yxlhtjH0p9IhSistNJJghtAXUsu3LlHpZL49WyOCP7vDvg+SCEdH
ch8dwB9OzymqGf3jBH8ryCMMEtbckEK35rlMk3bga6H2d3jo5C5w+bwbYYkzFZzQzyS07PVKMkxY
SRSVFcxwjoaqOs3JGExTEgWaJj/T3GTtsdiL3yY9kuHYudMf/jGEB5Yojx9I8COmA+mbwEwMgqh2
2NitedKWtmztyPtpWjU9qDZ6n1xiMIgsQg73SRrB+ATCDQu0ZAfEHpsQVCzdMM/d775+1/P/3MqF
o6KAew5ze7ZirvxWr48MB2acstV97lCBO9rgLwYEC+UeKmwvG0rHj3aC947mCPYHGQRcTTAG9MAZ
7HCLz8ngmdrGRFgkrvuXxTeO7bmDorZ6NlFf7Unx0A7dnCMOhgDRKohACHkAh+MbXPLyzetK5UsR
DYelSr5VWOG7SAbvKBmGLEMmDl48f7ai2EWF95UQu3hqCDfu30VI7jSTqNFfOuAXhUHCkC3BrfON
3sEn38nSxuZUgMqc9oXZxufFrJojGn4f7jIAGZrE3llOIime0jR9pj5M4EnkGHf1gS/M8d4J83YO
zgis0u3skz1wVg9kCuXMWqfEYATFeE/W0VnXHPICUfNdwAw1Q8k2KvN29hS+O33ONtZZXJSf8oNO
s9pa3nCrk0T5NGfultTqPfr5fYd96Fw7eAOBvzNGNAAsxnwbsMHt02Rw1NWjlx8gDzzznnEdCnKU
iT/xGYMBI8vsDTSY7DyNaKss9oGzunA+YBGZbkusWI01IcY0N1fg+eOWyySO/FqRr9RodyLUHQk4
Bqwl0ywb0qyWx/W2xV6NGm95VulHqnSxZaWPQiZKa1bFHnE+M8IKd238id5KeHyh73UFo5rMwLtt
gPQ6ibl/SRP3bxzjP/DWsCxNB1MxuuaRXSm/AWF8Qc9TZpj1M9L/nqGAFsQZvjjkgAdsg+zlRb1q
hYDLpldQCQ7VngrSvG+CaNY+Gkw+O0+Lbq5WkzncIpzEHIv5tbCOo8vobkTx3MX/FTPsIatNaRzm
Zoe1C3JNRpWZ6t7BapKRtTPCWFya864Ib4j9JVcoIu3Im3nPQNpIP5DdubYbEwRvj7U9T57UbDTb
sbPBBWUYGirDOkQtT7+yhZZa5wUQ8cIqrhYGjY1KrVc9Tst19AHduxekiLm4RdaPo8sRK7vlxAeJ
6o9/66aOGtBG4ZztW9Ypk+QXJGxzPBRWnwZakg5HNVovi3mhywgB4bio+JrqqREE1ua2/IvA8J0z
pUYizqmHZvA7SXgAdXGxoF0tt8xyH9BUM0qxe90flcHkubGuWmVqHNqFCIjcRGwfN7GfqFCdZ5V+
epCJgp6nmx/H5uOSoDgUFdHLxQRX2awxMzCl2lYwuR16hLYkBrzVYEIgzm3Wb72OMA/WLmwYx9F4
boh/Bs8AXxXGZahytKcz17zlMR7v0TmKPnptjA4NDMVLOqFPBbf7XBnFcuTv2bhsx6E7ZXtNhTP+
eAQU/LKIxoms30bu8pDFhnmN4nF8Aj1wgelmHTpreMpwMBziKf47eOEBtmUUJHMB8yPt0H0lzrAX
w3gBAhwd0y4qLlAasJQzcNkYuDfoI8VOG3pxkrbKt7NL19EBp3H7cdeAtqY7jL5mLDv+mLo9A2DS
pRun+NETZFgirF4sE5iHvdpsJjJhyynsz1OjPU/LZNyW1KtwlT1loipRkBfTM9flm0zj9GyX06Oa
UoZjVZGcNBY4QHqzbCvlahNY0hehZc4DUsjrskz7JVfkEqwvRL6ZxMVZ0naftEargsRc076G5c8c
qfg4eVhRQPAtl7lA+5ICupqTeohoHKcTA4Hnipr3xkOpRfeDVKYb4TUUgGL4o3uEowDncZf58dq9
oDOO2dSxGvDKh9AyBL5/AJ0DoOMx7Z+Ug07Mwup+GgZa4cGu4MVUxXUgvOjGBP4Zmzw4gzWUoJtP
Q+jcWH8TGpHtCVPoNmnlvpaozB9HN3qw8uwoS4uQ9GoxDwT7bN1qYvs1of6JB3L/4o4cDSa2wlcW
H7O7KonKyphuc6O9YKEeiM2YODLC+ooagXk5wRoAS/roIKVUtzipNTIMVv2XZr8NpoGyavGuJjUW
VwF5VambzEFmcGyZcrZ9bWyGfTunEKz7+fT7QgYd8Gtkm21CqnYV06VBzqNATo9dUhjBwEbUJH3j
aKgxaIk83MRRl9DuiuU8dYjQiKnT4jFAplNdYeX/LK3WPdo2IJ/ejXdkMoVbE1V30pfs+V2ylTr8
3FzFjCMGAshx1Mr+/vsyTvmz0t3XsSy/iesqtwsdrl+lNW7OVZv6+zLm+bInIGy1c/BmsAsRCcuo
8KIteLRYTMH6dLXhlK4vps3xnVoTq1wJ6tToc6xDEJ1YnuguzG6IDmqFclvUG07YDzd68mqJ0z+9
jWKvMN3qwa305M9ai8k0NbdKzehMTpieHpq5b590qeFcGeDm6j01RkfW+ltSYmSxoD7pVfd37Ime
0x2tBjPel0dpsTVqkDE8a2GX+3pTs6WI9WWnhnWlo9nhR4FLyigwGGVh9lOV1r5LibCHiNqsOvl+
b5Khhgdem48m9uXdbIvszFwAteOgHmqtlY+dxQFSJK2zFaqsseW/IZyM3vV2R7qJ/a70NjnOzRs7
KCZBThi+al1r712HLun3R2lJbQembgp+f2y6CmBpNmI7pDaVsdu+ihyPMm87D+JqaF/b2coPVQMY
8/fH1Ez647Qg00yGnG56mG/Ai8sLuQPXSsodCpToXYZUvHR78NJI89p6jKFfQ5tjnNhCcqC0zvNV
r4HEpRKlbHeHXawR9lcwWriGlK1+oUB29XwODAZQJCo8Oy+uO8e+cLAy1F7/jNfM5TyEGajNjy1+
h4Nmfudtle9LjZQRp9UVmR/2nb2CvGSzKv0qZnCkF8yjLCZXbEqNU2hiqBjHuNzPtFXsn8utMTKF
MvuSi35VyoYT+wMFAu8oiI3bGsiNj0gb36YYvxC7tPZYWvmIo3npz0ko/05yuSG8jU51QIhKdR4V
YVgN6xy3WTjcrBCKHSZOZNsOzcHcRETLJ8/l0GcfoENuc8EltABD8T2pXY05lvusZT42RzMHV2Ps
U10fXpMWJWBnkrPc5ctj5RkPJFJiY8n5atEIcyKAM3qJ0TAh5W2PIbmIz4wfR/rk/LNuKDVkwkRu
Armie+Qg0OvF5uLcTKt5kkZ06hbnET4DQ8XsW1Z3BL3Dj7N07/aPBjzoYeXCD4zeL5nWEqKEw2yT
p7Zx1cwoZRETv1jSLX4ih6hG3Wz3rl1np84Z/xm2Vb3MarqDPJl3coI/Xqp23ote1/cqTh9NFkKw
8lzvMETDnq+RyWaRDA/9nL2FqQY5sUFblDDLkzMeiN+nZAii2o3i8CQmjVWUvfQnbDCHMMeoPkC2
JrnbOxIgE18Vf1KqUQatuwr/kiI9h1bv7Gdog3EZcWZ7xexjT3fRHDOosdQx7KCaTSLlwbLyOGo5
RlsM3pZfyBKFCPwAUT+Rux5fcKa1x8madoMh5jO5j6c8VNUF+W55wInWby1SNDiEu+HCIWkzo2Rt
VGZrFCeX5cWmbHyJkKM9W5Z2Y05mX5RLhdcS8DmSUrPD+iUCvMAIm+UEPTZyg+KfXurlIzu3IYiM
pQ/6fomRCDMnLZt/k9EPT7FZBNCYrYPTzg+EaCLJYwj3VVlQE5c8sHPzbW6y+GRg+91oWvxXp077
VIL62yzav0PYj3CEqtn3FMDbyeDor5a22lide02jsjjbMhJ+VliW7xryy9MFudohyNtBa/714XBu
1cAUb2HwJVPQZWMCtay3szvB7dywLFlDxhWMH34m3WGqNBtbo8u0TVxNDLnINAmMVl4EB+FnnMq3
arkkzsQszKysx0ESlUCYVpIK547xdRNqGM9bjUEXM+STjEnkwfEomnE50rn21Du+wPfGxhfmk4PQ
1OyB66P8O1Iklid6kpz00OG5omEgROrLXc20YYzhpTAYAaGS1wOrJu/F0afDNDGSDQFx4sRn7JnV
57CZOfls0kRNho+bpR4FhBbnj9mAItS8cHjsWtFfRN8emwzR7Gyi448dEe4QtBItrM2I1Q2LQLKO
kVgeV27AlnDb9xIFNTY/f8jJPcyg/0UGGR0IFqdMP+CpCv9LuVuwFFGpR+oRgPtwMZp42bcpgZwO
4MANkaDq4hTDBZPqtsM3XA2u+cKn6cbvYFrGPQOGqZrTCwcLDFXKEJMIBnx0HFWClgmNeHNIawIc
RkR9aKgiFIEUX7oYFGMlh2S39sXoQn5vImMDb/F2kdMsjyE0rszIpht38d7syNphq/IHzWARjH/D
ZJQ7rx5NOnbe/+wNgTU5j0XMn6g6giWO1N5ucIZLCOBYPZE/ukjNZZbAkYzEbQ1F90PD9RMj/mBJ
Xew9kFzERuZn0D1+rnXjkYRSxKewYfqUEtFZirtqiUJ23JaBXUElZRtrmlCk/4OQQMpLvzo3e9al
uaDtj6N8ZzgObnTsMk2UEHtSWPqDaWJgb/V2UyZhc4gt/atrjXKfJsVZz4j9Y6zcb0VdB7LpJIGV
0S4uRX/OjPyYGmLfF5icsfjBDWh75dsD7krPxkk3hBZCygRhRk4EMFFPUAxMC+o/9eo0FFcn7n+m
qf2xqjoEYQPq1ovtYZdgXEwb7RqWVAa4Y1/AIYULmwCm/cXe1MIbCxW0IqIefDbf/wQQy8zL8o0m
FngStDC+keO/140e/0R7GRhrQzOIiQ9MitPvS11iUZWewZZpUI86p/jeWrTi6PG4nXEs+Ujm2n0s
xT5D2E5kDMJyAfckbijjyTu9K0KUyPDsU8QfdbYxq+grLvorTqN6L5KGasFlmHWdsKwejIRe0agZ
xorJjrb9CAeReTVdj7rgJ13ojR1FnztbxPm0ufrDRKk+0HomSXqL42x8BP3no47AqWE0eLFDZ9fo
CQKWHK9XMpqa32Gkkjkb+ZFaVrDv/sjUHxQdUOT65DXPqNxqr363Soot1xPWNiWvmi8Ok2aRLXed
JXsQ9c4bOAhaMhYHPjE0eFOW0N1nrj2zUseCL5QX+2mcrxg33G9zbW/LkZZ8mns9yCVhx1aShQ/S
WqcYi42bIWu+opn3DOTlmzEG6Tdi21dhs2ua8gL6E3mZSbPkrOdI6/pAkIFxKwcPvoreWL7ZOKtr
1yPGNi6IfXNcF8YpUehZXl0tNPRaUXFnLp91UV1dtyBZnMNuO7rOz8xxe5xU/1EWKMFrDm8b0NRm
joz7TL3i5iB6pims/D7vHs0GJHU4p/p9hIhXSPMMJ/1rSfPPODPmM3r6/wZqvgD+PknGAkxNi3Hf
wbSibBOAWIYSpfZmamSVJ2jPmeRYefMK6Z2CzxA128K/oVn9beeYKb6ewfeeU5ADYMR2MMBhNmTy
T8NZj3UShTI29hMYlJ/1Pwvm9qMBgJUlIx+Agzs9fHRFKK6a65GJw3cVFI3b7DFX1fzoYU5wCIrJ
l9cVPeMTBOARzVOftZIkCElsX8dy8qXrKEq754XYmm261H5iJZiHIWVhEY63KPSAe+KTKlJ5tBmZ
hNgQIUnN1KvRgK6e/4/JQblK6lVsPyrQJht9lNCB+hzSIAZnDsS1WujPbiuHYxlm4ZYYVmg1eAvH
CCU1BGRy7JbX399LQ+aTrj1gvOCcaknEgFKkiFOtl2M2wUOfsDjOuGRvKRIrRNQtK1ZiHCgjXijf
7uhmnmtteFNkCSEV1HFrDNA/kUu1aBYNeEq80WU3prDbiWs8YwhB2aTxU4ODAQzPmylcfVPOmKDA
D4IBLIPGYeQ0r4cErMnUArox19yS5Ysdq1s+aVdrgP+GWusPvg4CGq4S9OW18aq7ldgzI7B44KFW
QPV3elLmmGCnDbN6Z5/pOM8KcRpM20Oamfwr1fKuoagru6onvtf76NWaiuatPKo6/1Bp9FNKimXc
j9CFXIvD0maMOCJ5yez4nkukeTYX96RZ3yLqn0fPAvveiCed6Blbk7ynjmo5dI5wtoxL6dR3lcOB
ZZzWbmbJga/33R9UaA+hZoF+bIen/lem0wELHkuqGFmFH4DxgcUZDjFtonnQfnnps/sCLrg984VX
hlvtZUdR2y0ioLVD4Z/mRwfiC0sMsuVoCnx3dObdVEKkNSJOGlN7s/RuXR+F9kHZ85veJK/iXhIF
7eur86xv670ho50ja+dUziMLUbreOFUBJ8AqeXIt39HEz1ywf9A4FCwTcEyW70w7w8qnJ42vHG05
xnMFksDY9wPh2Ix+akDTCwCgyC7OnVh9P8madGo9jMnw3hteE+jAw/wY5oq6uU3yX2miJQYnd0bq
dMY4i7MMkE2qyNAtbHEZ6+xeVk4w6Yz/p77BhZFRLg0j6a+psYbtMbShy0MHhP41z9XBbJ2PSJDb
WcK1mUa5l677L7bG94QI4MzUHAbP9ic1brHXTW2NhegvmYSr78QpA03mrMxgIACTWIIq0OLOx62s
Btb5snax2Szxmu6F/A4nZD9C8JhTNw2SfRmn2hVkjqRJbJHR7WovJrqtyDUem2+ukfVn+mAMSC+1
YYQXBqMU7PMEZ8Dgjhm5sARIWkyW2gkT2I9EP7FVmR6fmiVzLv8RE32z7cHwpeQpNxrs2TNRUk47
dnwY3AL5o0yxDBYv+WzeOi3/GPLS20nVsD0eqCLp8rZNiyjSMcMvQDJA9qcZxi0xOCfppAJSEVe6
rTFjlfA6MB9trVT+I1LK3DCRvDOzxyyrv4DNjXGergYTkBNg1uejPXhvWlPYx4jMO6p0XHE5dqJq
HmHeUcMn/W3qADbizUUzljA8DkmQOgySjUvzmThw3Ya2BNPhHVX1ZqJ9ZTKB/DQeWsUmxNBZC9JR
pOBjJvClFw3MXQkPyuMmRAieAXxKpyh5sipoqTDWCDqa3r2hfU/n8AsDJ6pFVs+p3R+zMDrDYvie
sdPdib59aNuGlM3HqDBhrZOrYQ06ozW9pgXnXGEzy4odJ2AeuMRqeyxwvIj8gWET5INz06eCUxOP
kDGHVzRsZhBN6DEjNOHVJMpjHWJibVEAEsqa8jyH8o3OcfRrJpsSRgEPw3C8IjY+4uDNCFxBAEEA
NaG8rq2CKClQUMOrBZnI4KhEQzGaXdDnTBBI7H7SShNSVDURMNLAEhkw/xO5ljwXi2h88cVTjv1e
x9ykkHb9EEmbo2sxIYnzpavkrx7W/42IeI6cpUQUmcZHXnvaoWcVhqXTPFv4F9k5pMhgQ5N4qQUk
SqYnfZDllI9qWQiNSmciSCkWiWoSTKMiTOeAoTdTt86UamvepmEND0LCzIVJl20zx0yxYWhbHlJg
15NqDKJhOSIDYNGSIYtm89Sc4LTtuKz6k2YzZ6kcy7nkKa1OYWBBwhvpe8aCH82IkZpQYO1Es0+t
JXviDgxy56TSaXmTdv5kGMIggCW/peuXYeOHRk+eeYFXM0bAyxSdjLa/eWvthb3B2MClZTiG6f/8
+6K6CbpOuLOZ8KJ8QBDDFomcUWaVKweX8BQObTQDWpqecqf0DSJVSRaucMTl7PasPDG2DBDC1zbB
elqZPBZGukvHhh3jSu8V5Ze6g0M6CraH7E6if3QvPNZYfB0rwKmGwmH9UOZu+gfejPUgwldy0V4B
3My3uLMeS/RHOFbhXrT5Gjsh3OKt6ynOIkny0++Poictt9MBJP7+SO42JpFo+leozgh6x6ZNi5BK
u+PnugTg+M/M4yyl9jqJJt3apT36WjO+S4o4UzjOMXa8r0nv/8xi/RcZRXjU0BK7uv6mE4m+Dw3e
n+ZSAYSj7VyFVgxvfZ+duYPnxyI1hreWBM8EnjKF/xhk0whoucqSezHnMLLRWHDzDU60jz0ERQ7r
hH0UN28ja5C6Gl+qVn5VSUwMmRHt7Hn87Mz8BKFC1ngGX9kL7Kai8ljCLd8GBgO3caFCZOehxKeA
ZIixoZfd4bU9h4MK8MPkLF/YLhPdcOsaIrljKY+a3m/bRgD+ydmFZO2Alj6qcfgSRDH/DeuTWeMD
KSaDbSbf70Lfo0USWhgnn83MNpomAdYFU3bdvQNKvDRlhwjKMqACQ+zc9vKY5axaWc9StZGbAT0F
6XFFiE9UHJC3bsOKgAd4P+vumjIlLXleLDwh8+x9SZMDbNMCHwpqp77tgq7Sfbr7fK8NaQ4moP6P
+eQHqI+Th/94s+gs4sfSoRlLwXRq5UuqfRf0MyzOPRIi5uYpquTRHaODnXqXuXTRUHfRf0m280AI
BgLSNPk7snrITHZOwkWeFj1PtgdsXGYEJcb1uzaYK5OgCQrHW06qSZ/b1KAHbNftTMTxzPx0JcOC
8Srh7imUc5Upv7MFowSAvywgB2PTEcpMkYzsO7Jzn0In3JL/g6GjPIvI/RSd8akLIIqTMoKmInwI
cxIkrheeNn3QBblWQ8wVSA9bSZ2eT1CyUlXt0sIG4TiS39D059ZtvyucQJupdr6j1DO3PZZdX7h8
zKCuH9OqIvIxjhACtihDire6sG6M2aEImyCm9AY7LFFy1AguvZyntUfLkv/xwdCntIRRe0ZJ8VNg
KyAGZYSDUSbEDpsRa/ulMNW1NcbbuBBBXk79OwO5vxQLaBOqjZF15wQWL/HhJMpDG+au2rbmxnDq
Q4TurRnoGKzZ1XZeVMszA9ZkkzLyoJ5+MC2S5CtYSmTArJoVe9zpUkhuTnNbZCZL2xxbsN5X3d5s
gW46SgZ89KgEBZSquOnIIolmiGnM0usaeb20EHAsGNI3kV19LFXxAUeK8I1MIyQovgm7eOimsvRj
zQSaYdXho50XPga45pBZw30enXXfG/+JpvKlNKPxJIrsobcw7AtR2NtpjSQWMEMQBurfTQeEBkD0
O3l9KtD68KgPNuQRfoWJXTIrnfLfQKVB9vAT1cSzp4XXRVNs/kNvfmlyEzQC+RJkqQMWtgsfDQl5
rlP4lBJTuY8Z81WjJJcUwk9ZieGBcQMRJPj5t13IlYt6HwufsZ2pM968NTGi0Gwfn4mPHoJFLbnZ
aCZlNXw0tIPgodu/0SGTDEzQaNq+UFuhKw3kqP2wyCgYU/MzRtGEVDji0jdbX2nWi+VCya80v+/g
WYcWDFXIzmSXpnuFymtrpw/08K/CtJ5G3QuiBpUk2zZE9Kr7q9HvsHkdn5T7zyBgs9KjS5PkRPPC
StuJikDUGXUY/a3c7JemIiLJKfTA1ShDmOxv2JWRdUx+lgbXa6MGQimixn5AK8/9qbOUNrtnw1sH
xox1U/a5a5QsHSCl56jb59HgG4tt9c4z2dt6w/hBI9pMBgoWVPkU8R4uulJ/D0MFQajHuWNl0Sdd
GTcqOWyFTK75eEgS28eX/jaU+DByoV6jjE60ek6EgaIjeirLbQoQ1rd7YCDReKhJbVu9x0josjg5
jQOFFJB1vzKd9uJ1yWHOyC1L0/5rmNEZo3lh1l0Yf4gWHHl6qdaHtm4xv4A0jC5DHxGaOsvdmZ+c
VL44/Zhd5wmoilEBEme6mzhLtEfLxkNeggVwoxqVQ/nDu6DaT8sKZwLfr6lfxlAIpnUF536HCZLk
WFykyFiXiSEBlPpptGw2uNmr6qL60CmYjgVdm5XfhkaDxTUlx5LAg+0YUsGXMcHm1PObJWvemVx4
7OlT0uEt1pBm5OeKiIpU5ixcUTFaLUNwQjRhkfbPyLAQEqIdFvXe6Sa5H9z53caf04OgFqbxxkzm
i8f/VZYzoMRqhq8avgLYSiShzxjNY+K8w58m4t0UZvKju8TBce36nam9AyvOL51yXpRpXxdvOKeS
OToKO1hH4mIIVL2US2aEMJJmm1WfwewNBSVF1y7GcbYrEVUJHimbprajC6FxjEn+c52EaQN8ceKs
2eW2aGW15Z4NzZlJmdwY7EcYp5WPnvmKdZLH8bg4DEEuXMN4hDKmhvYIO3FZB7PxqRuYmLuTupEN
sKsq1vrc3H9MBy8tYRXTCF1r0YKLqNhOqCivjl2bEEw1m/fQLWN2/1CjswaldmRG2lMVOpImrH1O
tfrdLPJfYJ8bYd7ydJSRNUeczihoMLCSxGH80g+kR7faYy/SbGeUJucJvExwUs7ZbHCyQXSCjrNM
4hDH1CtTfpJaYu4NgNsG0iOw4O+oszBlzR7INO+h9cxbBtN1awi41o2ERvf7ghYw2rIVrrYjyZ4t
2YunBjjd0W28jR1J6xQjhPBzokwBAWOc/33hA5gQvMGsQXBI6UIoim+OpACZ6Y0sYcLbNS0hYRMv
brgacu3fCGpZVuwdY4gNqi92HRfWzhbh+TdbRW/WrJXff/yNYgFhShgdShy/1TVx6rKM0rOH3Kg7
KA2p5J/Z5DyNq41Y9er/L/P6Y77wa1WuS9WSatMeL+pDhrBmW4oR/PoM5Zg9qVMcETeQ2wlAXUc3
YWikunkGtmXiXKsgded/kwevNIzXRXZBfz728yVhmtmZ9Lc4r9KqPNvLUzR/Izaog44EwsiLTyYh
alXOxHQisWKx9VuKe2iR5THR1A6ZDKgGpi2Z1W+Z1+XGl1ZYVzeuQXxXD0u7XDqb2aszl0c8xm+R
bKBaOaeKs291SyIULeyLM/4X2/Y1mryN2zWffZj8aDar73J1TtnKd5LyIJa4DLT/pOzekS1xPZs8
SDNX0WkS66VYmQksFhDsvccBrufS0PaW4TH3VLfP6Wg9LlLbNN+5pNHc8BvbkOcrSC5sU7nwJFOn
5LWuM3LG0ugNedZeCkD5TaXx12K4YgsGsbww693YgXow0YqFANKm5WrqAyUsfbI5rlsjCWhg7RCb
gXAbd2skiZ8iB5/44hn4XeGDw4cdrS+XRhoo41bqDw65C/xN+h0axrnTcL6MlI4QU+XBHAg81Hng
mBn8eoqOQo3PisAxs4OHGJXGUYXUUbgpPsxyPJgVqw2qLkDWJe0MorXJfCkmFPI95SqjtD+SMxMv
zLGDcLL5i57pLQr5jVODLllI90sf9H0j90ykz5PNME6v4psWc8DlDTeAIQi6is3sni4vXT7d24oP
nqk58lStwj1Csojt0bI7rIQFjkby/9SRPcyXB015vY/5Fybaer4WD+hC32EjUpIxEBF0TfIA95Nv
zrkIax/nODaa3DnUM+qScFz/8phZtxzVt+dGyTbMGuiH0SeX5m3CaRkSn4aAjf2lSUPK0Iuh2UtX
2d+NZ7zpkXMCbQlZkb3J4lXvmGTWNdxrmVPIZs1JmuHLyKBy/R/nFp48MgC8JAKzb+NbWSelLbln
CQlVYrw4OLqXkXg9Hs5m+aqK4Vn0zrduTW8LNLpiYhdBR8cl2a+w1pYEhdm7wD9dScIF+kbPz8Lh
ueURpypYkkN1mQds7jysBY/9u5Z1u6V3v4Avv3sOI4F4YC/RthXKufzYIumuME8yk+t3VVw/A4vh
3O9g+YI31AGKmY37VYwUA1jDoedQkbbsBHIxXUBWvdAH+f2UvHpIrDj62q1spwPD3EteLNwG2jqZ
7o5NGsVbu2LsUFvHeRXe98j3qk5+e6X6EK77WPBneaI+wfhsTK9pt3nIP8/3/n/sncly5Mq1ZX9F
pnFBBocDcKDMNIm+YwSDwX4CI5kk+r7H19dCqsrqXr1nV1bzmqSuMtlEBAD34+fsvTaSWUmd3zP9
HKtfoaZhc6Ych+yTHaIoQct+LDLCMHzOV5rdV+SEIRo06uk+aLRn+6VLsl8D5gEy7q+jBvqTpkAO
OovDMxrRJQvhuc4D/0TqyCae0f5OLaZ17wnWd7u5QaE41V73qYzwCADqszQSBAsYY3TFoZT5nxny
uLeyvbncgWla3MrIYWplhE/0+vCHms/0jsKQ4o4SF8rFOhwQ7Y8VUeot0SUKAlYvNLz20QEyJ3J+
ruNgTy5HPMa2MBof0lo+lZX1qeGUnMGMDCDQtHt6xRA4nN1EDtQMMru8Ta17Nqkd76pgWBl0gqeR
UsjNe+41ZOoWc5aoSfaOySOWjDH1/iqkEixQDIEUtFfKdmdqPBmxECydHs8yHoQDukzUh2PxJGrO
ynHyGgeEbbrsEarjXRCOSb/F2joaFpiymEaE2g3s6PyaYH4tSyI6TIMIaYIGuGi0r/xEP5WiOjae
oiiKxg0J4FiumW6B3YNS11YbzmIveTqAQRRom1KQFQ4XtRDfdSV+uon+homVl1Pcla76jV7G3sCb
VZPcpfruOUziSzZMJyJtnrWxOzHkXbQsi9uWom2BSDdcgG5dcLx9jCaMIgYhEJOGKAFKUyKMTeo6
B4a/7+P4YRvNfYld2srMaNMOgIpQqBl+ulK0mYc42hkKW/ZPzEWrTRiANmiLtWn1BO6ZLEZoyhCr
mfV9VyIq7Uhk0nlKK8paRCmNqQFIA+7Fws0vYRO1SuebbPMX1cmDM/Cohrro1n3Zfnhx9kpwZrxq
ywcIaLiG1cdo82u0URJHjw2nGgWza44Mhsl5wJh/MdG3V63q2GfLfQ9PGksY1zf3pm/iQBCa4VO3
+4asolNVo0aQfXNzPdiiyFwtjVffku2ccckWFTZjIB0U5zSPvWtXfPgRJAnfQ2Y1GwI0GV98mF38
xhkgSwa05qA6LVlW2CH4BFL/PRNY4GiBo191SBl0J/OOZJnXWoueQlffm/1HSAiG1/BvjmKTz38v
OSr8UTFrDqEc+zwvP8Z4YPjNvDmckxhbdUcKc0b8CbR7bVjSg+G2t3ZCVA82kQ/LieSUMhW7Ulgb
j+C8Ek7ZsnXHZ5j/OnJqcr/zZFsiwTVaROqWbZMuhPasVcZb73vX1mKJUK73rMVDe9bS6K50kTxm
eXuO05FQjN5jel9BI2wfTI1PSrNwbDflNSZh15c0BbEb3RrH/orb9F2MVrSsnTd43+zHvfnm6Z/E
nmcLLPGzgom443liBeMCHSr6fXxILGd6h2obsqTfkniXuq/MK7Fi6xBp6/GTjGptbznmE6OIi+Gi
p9e8WKfGGb77QDuHDvT3vCvXee/8KMhqy1ToOK4Sc5d5JMEJgDeU1a+1h7hs1N23sU1ob/ioS42h
WbvtnZP2gsNY/Zo0EOyy76h4TwzOuZPrfFSkH9GhI4VrNOWaYbu7jAFimTF+zqaDFQA4y8Dl0kxb
oD4c4RG9MrtB+U5Ri/5Z5B04cVpGgbqEw3hVenrrBMj+LiFjyMPyLuriPu+43IlJ/w4a2yusWEyQ
4qiEeEtcdpVIdtE+KOXWonLBQvAmGhfqTWRuaH1rwEA8wlMHu1nKBm1Br3trN8p2vZT+Tz9C34lX
pW3U72Mu5iXticyRb72vX50me8LrBidV6i82tyxI8/FeVeI4jLb+YHb1hpuDqLThanudoJiOf2Tg
k4c4mO6uGsAnJ1h5crTpprDIIundEnuNpOjog5DEWTsM11bBwcpmS2PFpdAfiMzUW4UaJLJgdwXJ
L4WGdttUsBzw9mmxcQly0ll6ij44jjYiUJJAyvpit6gTNeCha9CYRzOF/JiaCKG0EHAkFJ1kgGXX
2h32V3dtMwyikc4e3nZs9WasIe4dCesrtSvCqZU7VDdEF+jFLe80dd1xMNlV/RQFx2SG1T2jtCd6
Q1cX6WNvudqhiVCP2siKneSpth4iq/1ARCEuUddYywxKnCfM8OhNXO3AVdM+1B/sXG0zX4iXJiYn
XdPhhsr3FuvyLg6zOwwU4CdJmkakBoo5G+y7pPF+BdN6Yv1YVSXKHzrs+roohvvWnp4UHB+FN+vU
Jy3H5AxBsoYbrYp/vDDXTpWS67pugePazn0MIn0ZVY2Dy/ob3FzGjYtLsLSWhZOf4dEtGw5/G7s2
75LZeMimfxei+OnDMTxUerIMZp9Djf6WwSFkhSnM7X0ULs2WYrONf0jQ+NFmuXPburCCZuJxgC+t
EuUqAzRBM/6cs9SXNr63uhluOrUx8DpChtmRkpdw0tsjuw0P/mxwruocyrcdv5A3Bj92qwU6A1NI
kBDW400UNPStXdtiZbcu0wDDCteksx9mJyYxaKcuFPB4MugZiDZR7hkotzLtJqWGM4sCIEW0Tht9
VVnNp1ThVx4U6C15VSUQfIZNrxosacYqwbTKPRR0FcQ2W0AFFBfFRKc3Mp5e4YwgSuwtoUdnoV/4
fAmeS8NgE6G4kRVmG7cg00zYdwFRaYvaQK8vkiPP9cUMWSCs1oQvk5OrZZbUjMzJADmxVkAQyhZ1
576hLPvy5rjTUpCYIJJb759cPEAowsSwqgtUbzZ5sXte9Cao7b0baNl29PpvkNRHwOH1KqtECvwN
ntRgPLmoyBdsItQ7DkEhvbfjAPrgJxlpxWVCHlx97TQKRLJwUCt4+q5NiFEdw2RfGpybojEhn8jL
gcHSRNM3zkxjZzz7jHLRvlquRLqFvJfH9Ml1evRIepGc9IxIp7AOP9Jk/LZiLi8FxCHXi5GBJyV1
PuUrIgpzXGtatdILnv/Wr39Su3IfxFDPCuGPzvAk0FPmmAhMOB131A8dEi5bc0LWUN9e6nQtMAWx
60STuzZxAj7I+6iFieUHbP9YIqoNPeWnWHA+gOquCFzQSGwI7GaXRsFwigZoTzqapWWFDYGKP+uQ
OjjhxUH8QYtgFlkHHIk3Dklbu8Glf2d2BGk3+TXv06veefcObGti/PhjitSjVQlChb6JJGuI86BA
IvIMXRL0zkR25laiR1rHzkAkaFnHa8l4aBlL5ydh/D1ZZn2wpxRrC8RMJuykcRpnhwnmIW+LR6L1
0hUWejZ95xrFTP/iAQdUlziIgmEuUB161YrewblE57+LGMLstblwryH2SJGNTxx890Qfsoa73Wkg
BOHqEXe1mxTPGsOuR1mOLwnsnVMS3IQ1SBauBmmUzGiGonBrmUsi+6AnIK5uldobwqBCMqvoyDJp
O/rordhS225bdJIsH10Ud5gmdc7ww6ozkRTakW4gfYuNY2dHn33JyFbnOIQxuyNFBqnINvGCuT3G
k1sYobYYU5KXUDhObn039g0ZonF1HOc/7CLxQSSgb+1r4Zz7rnRZyoK9M9TN8fdfuY0zSRoLIRon
bAKrrhnnHFAE9AZ1diVBSiF5BW321sThZoz8dsuGBcA2aRRcWGbpo8BN1rkTFYWFpIt0+PZUpDks
UlocTa2mjWpPrrJLxElqPWp07UZ4AiAyGeADDQrhGOw9e6jviFVYgBXLGXVE7RJH1tFNug+FGIrj
jVsfnHwmwNM2dGyYHpUIOCiT+1TF8iXAjnpGKajTRsmfuw5oG4rfR3Rp3apusw9cktYivLdpSKx6
+r07a+ppcytnqdp62GOOnc6ulC/DaF3i2h3PZkpbo3A6dHsGXWwN1UzvEZ4ic4Refho8W64d037a
IEd5651aZ8DcEfzYE6qCoqoUYbJ1Mv3Fy3QaVVW0NXLbIp7xVNR8NFWOAnHq8FRwjx08j5mG3jfE
Aci+ZABm2LuyCy5FD+W/KumzDWa8zsDap7JlqFQUz43wDHzfCBGRna5KBEtLH+slEPonAviwzeX0
yeLMnLePaMIWr+I37MVvha0V10DRtxmq/A2Jo0URt7WLkbER9W1Pvs42HGA6G6H8smX2UNFPc4uM
KDAD2rDHsQ8i8gY4vVpOkRyRylXJgImBv5rGnTaifnQCNMfp4GOmznE9uQQg4v8rXmxSkDlRRPTm
0jezUp+hD1ylHbO9MKbxToYTqYhAlkchsVZ55YbswGKR2+HZr/V86zZk18U0s3XWhVd2jJGNNZm2
eq2Nr4qAqLCBm9XIdVXybVWp34xS3NmF+ipKrXnOSkQM6B8uqGw4bJswsO1qHQcQkYukMu9wTnP8
08ryGV1vciQqLFjG1lSsLZVYSHjI7Ks521OF87TLpl3avaPvpZOplbR4XghsWOUkuxO1EjxxZGLY
GejbkbjkXdKkF3Oa6Irf1zjvCe6xnIsm6S6VIlploWniZA+PTtV/umbf3gcDM3pd7aDhTwzNwq+a
8oOtHFs9Ycz0vvr4qOahYhSMSCw5BhdaD88ZCQfHF1xS7nDXe80TOxyGoMgwN+EA1zcOvtn09Jfa
u4mWZzbDuL0hXZwBqZHXHO/wTLipBu8Jya5b6V9ImaorByGsWKN7rJcG0uODyXzzrnGyTTnl5dPk
ts9u6pU3CwoEttVwWhnGUXBQfeoQTsy9U9CAONS7tLzX6plF15KUBTR672sa/PEQFRTY3F0dkVgr
zXqZF/EA+RjZQRz2T1DX7hxborUlVORcm98EHZtfuWPsath1mpNnKC7GU5mguu+ZE+IjDbwNOW1o
QDdjVR1K+O7rZI5C6ZvfOnSre0srbAKTN2D0ZRzn18Qi29WATwmHlYb4eMMw0F93QWvctZ3j7ETc
IbRICFut6ubdglmOqyTcipYWRh0FK0AoSGkaFkVn8o9xZS07vSYsIOk5rmJnmixxLYIu5/gl3mtn
mxiNe43r6Nx2xnwZaD7AVTnX4eDgy6DX4xB1RXU3PeZeBFWCTQ/ryV7LDGybAdbE5IF0Z+Bb8x91
g3DOMbpsq6JHYeTLgfbGSlMA8djbFdPCbWYGKa4vksyHHp1X9zt0wKYlYFarKB0EmCL61SLCId0N
W2NSHNhbOkZxKX/1lhoWMmVG76IXq0rHXrmWQVBxrR6Mge4WOudjOIIOANo4ro0UyV4JVdnT+2dl
N6ca4B7QiWIuRYmOzY34Tssbd2EYSDIAd4hl2mDoydra2PtNcTCSTi1VTxSkXi6kSVx2NBISputQ
CiZ3WuCSK+BCWBwGymEboW+8CEc/9xp7R2633j0ci3gnnQbGDfRsm3bJytVsc8Gu3a+ZE1tLR6tT
ovPycNuMmU2PdfYp6hhZ4Gkgpo8I9sA1nqEDWBipKNm+ODxw2xF96cjloEzwvklC7kAnjqUFTabH
u6+BY+N4h4akK0CCW1P71neJuAEguPJb+5uHl32FeoOmGHv2arYtSo8+GZbtmSqApXiGBXoec04K
yLhbCxkxrO561MtmecRr+Rb2QY2ZLP7JKrAWJlQn+G1Nt2bYv7FlRTSPPrHyIjtuyvZEDsW+7scf
vDvu0hxHhs8CjqDJCh2W1tbU6PaKqKZ1RB8I1TOpJvFoYi+xs51LAokZM/7s0RNtFTyGlWcE+x4v
8cpx9WezquRu9If22pLUjbhJ9/aqp0JtYijZOQGFZIVqv8DqByTxVAOmns45aNDrW3xS68mPfzjA
sDdYtnXqa1AUjR/eRi+13tLm5lkGCggJG9P1im+bgeiusjN5SfrpS+HmQWqIXHfqYRG1jvZLMVsC
oErhGXsps9cmPJQtsn2TouZI/580wcb6CKSKuK3RqWtDN3eiatT2jKLsfC/TzAKJToBH3YSP9AtY
lxz/QCXnLZ2eT881+NDaECaQ5ea/iBZ698dg0/kuNCNkL/pYBPuubK48oQjw4YiVb7Vmi+04cw2j
VtDlLwFia/Mfpj/R4//9/6vfgGypsls9Oc4a3wklFHzd33/4CowfIBzUxeRQnWkiBZder0jinIjD
prw4NE16ohZgsfOSBa3Z/TCeppxFN89cj3EQx/mx8TXsIURiugig55g+SbcG+YS+HhVlcBpGjHet
6B3ZAkJ8fDpkRe6Z96fLrFi3KJqONhPxRJpXsknRtebhzk6Zj+tDbB6oA49VRmVkTMmvycE+Mg3l
S1eh+KNl4nN1NU6rzneOmr3LBOLYCZWsNIeV9IJg42uHARX9MtIsYLv+bMZxB+Jm+Wk4wbOPXPOi
q6mXd/SCT5g75js1bTlSstMELU22rgbLGsDq7ENR0+Ig2CDWjA2ptNzYCNYtAQOyoM9QVLyAjuwT
F5jyBBjIcNL0WAYQvIwW8qjd9Ft0vCsakMwmxjnkIz/EDCuM3JRH36GB74Txum5pVYbI2JdTFTFA
TtRbp1rMZXr6UxXeN+bXZumRY0YrK3tqsooQECRgzKFG7ByGtzX1xr+rLLAfZMLhxWFgF/vdoUJp
sqAWZVwexBRhweTedYSNMqwjFrNp7hRC8XUf69OhMTTSB3SoKhADyFxpGIEb07OmCbhcA4rEMsVq
2HUw1ybDTRYV5Qf2gRYx1LWRSD5HfICovFrGbUAVC3bMbgz0vS7YRKcexUpVPNlOTTpFjQTabA8h
KhRmmOGvcfyVxD5eHBfsFCnQcERTa4OGZp9FDSE3hDZncwmsmcgKmrqF3Wn7qBxe2r51j+MDhhT9
3gNUeU/W4leSVgHGXnMtgZEco8o8oDQPH0G52TgyYdb0gFAfByKnqnqsz7jQYEcPp7jL3J1f+flj
rCpkWFaH3DywGOmzrt1Ilw5uoYnYeoRzm0a+vfALFVzsvFuH9eBs4Q+G2PvXLCDvpZ4SdyIvOerU
JdMgkrqMo97L8TZQvAV4Om8GpvtHJJAru6/DU2kQyG7mFbISEvcgAy+TACvTHC/L2QzlGF0fOp4w
k5uCvYtIXZRabbBlVnvQUX3nfSUOtVF9+yyVq9gMmuWA0HMibGFBn11spEMjtkHAgUks3A7OQH5w
lrtYv/xi16BUW3RpmK5duLtPTRc9G34AXExXzmYsa/UMcG7ZxOYHvQFSsBq0EYT0cb5UUDLoCDRF
8WL9hG0YM1CiJG/KCsNpUOoHXJF96U6fpuEMX16FJ9wL8CU69As3QmIJgW9AuexyE9Ml3oCFGjci
RdrZst+tdGcXB6OHYsBeNpk2nfIoekEJx0QdxSnHC4oQWXhnO7b0YzQGX+bof5RtlNw5NOxWcV/g
u6bJXrEe1OmjG/jmAzYb7RjYSO8H3Y8fx7rPkW3iWorZuepEqifD6XE+5+HGaMfX2vZ58IqiWk1m
v1GN0T/Yjdxluj1sWiE5N1WZfPQKn5mZCXRlVv630HIgUtG1QEUJCSbesuBG54qWB1MKj+g9iwXH
ZsPvDIoQnw/JtF6kbz7bYrB2wxjel0HxaLdu/OIbBGwOc/ntSczJepyRuYeiITHrW2ClDwNckgq1
3HY0bXcpZUvt5qb7JOguaU+cWGIH1XLSHe0MHBI+AMgGM/+RnA44x3CEMk3oS+FAEGuVcOg1f1t2
pcIUERNGmLXDxQvBDARGepGi1FbsbWg5IA6S8TFsIiStqPf6u0LTDqy+2bKaYAKhfh/uMo4jcsTG
YHECWVt++6svhmkXDQEJg6YyVshuB4S7pbWBLhKgYe3kK6zKQ9S5195M1B1Z5T0pUPGr7n56VaPt
Bsl4h9hG8j4kZ+XKBDDdFFIcxfiGSp5EbQQty2QKeQXW3uuj/Ban3IWwFYSNlN2EVrtSBW28OKcw
IWuV82USXXCkEYvkcW5HTIFwJz4mO3gp3bnzxZIDCbuLXtzpHfYopaDcGEUvPmWkXynmp6d68GZE
R7A2yrZeh647vgZ2/QAz2ruKtrHmNKsE9obuH5kEkwun9P6JiCTQj1q5bo1sWpO/5TPn6X5JNlGU
W8Ol9iVOZzepHqJxC1wDYzaDw4dRSi4XzLWDJzrCWqvK4JFr5H3qmXQhnGa68yNAU1rxFEdh/+2U
yP9kmojnvqrBKhlDccF2N8LFFbSja/JWfK9Rl8jHIEYbIP+IIEql6Dy/vX54z2mMPie5TuozvWMi
ibJLTor3dux8+2jmU3roDF/t2jzvTtI5JRRHhz413FU09eM7zpWDIC7iqUFSvHCK3jrWUtlbS+XY
J9o5BKy05bYNSOaLrXp4RCtAwBej9WMGtZ6yn2JCM9GZaJFiltwb9r6wb72dluS79+G2qBoqba0F
+NSruzoGjoZsT7J9tN1jnTpgJ9mP3lRMyu+UPCtd+k+lWbzVVNs3EeArnJ83Y05rNyq//SBhh8fW
/KiGnOkEu8bBs83h5rnaKxaH4PE3APf/g4L/AyjY0I3fH9TX8D/973z10Xz87TtrYDKcP9Lvf/79
Pq+a/G8PdP7/yAf+/U3/AgRrtvUPg+kM7XvEsfyPZf8fQrBmq3+4PMWWLZWhcz0Fv+p/I4LhCvOl
gCWUbusWIKH/iwgW6h8Ozl3IwEoxyZC2+n8hBAvxZ0CwZdnCIT8DNZZw4BErU/wZEIyV3e+SqMY7
VKpFNA6LVNkrjEuHzLE3VVnuRUwGc17c4jZfM+CjnzNeeJuM1pmF1P4mM8o9ARQ7U3F0QriFiiH6
5gh6KtuHdByPBhPGnpPnhD/DKOB3OGrTQR4bc3sl5pynFFG56pY+We2ixERY6aSA4f0rToHOBNIn
fIiGaZzfm6gnAwlVlLq8NMf11Kh9YmW7IvIWdVnhJsh2VKkbP0kOhoUIwc7vQc6cAHYzhhmO3ghp
GFRUb+EEbtpVEzhn1ZpbqBb3dFbvOfHM3ZYLCxMQwxOnpFMfRI94ve8Rbu+z2FtnlL4pBhyMISn2
akT2ZyNJToz4jp5jbtt22LpXNMLnOh2O5CTP9saYE22c3VdJB5K/25IB6U7FDsXwbRijD81QGzm2
q0yRJzzEq5iQUy7+KUvbtSN7mjP9xXzog+HcgjDOevZzn4TWvIMJVGz/cPPe58nIjvi3rE3vc1ip
9T//LnUu9r/+ev/rn3+3LMeymRDZ1H8kjAppctsVXx8PYebz1eJ/9IUpQqy76Rq1Fd08VLMkmIDX
iFsCYeHpUjuQSs2sYq6/fGcZcIioiwfIwYhm4xX5oBtd4EPmyxM32zlBgSL4l+FcPXBTA4L+sOIb
8IUYJBEWGhPzclw1U7366/cxv8w/vw3mHKawBQRtw7QFz9wf38bEbL9Jx4zmVUn14uMS7bzkjBbl
ffDtEykU6JlRuPz1L51/6F/9UlDgf/ylrTtMIVN5f102xUNrvg70JcoI/6WTuv9ajf+1yPw310n8
1+sEjtAwdWXNawFkmD//rqaVYRY0oOcyHfxAjuDG6/eYJXDPx4vSGjDnadFPWbzahvb512/TAHb+
7++TKZ1wMUwZtq2sf3ufdlDo+VSk2srxtMOUnoJERw23brCFhpM/P3zHqSiIvTThm1kkF8uDVbrL
rmqfKmCArQum3/fpCJaPqfGZ06IJwmuoVQRVD/d//VrFTDf/t2tiuZZr2grjPxSU+XP8w/3MgUe4
RUSfyY3z0+AwznetbRQZ18mCKESLcJFUNxYlfI/OUdXuqxidr1kXWrmPnO3/w0f3378ch10AMrxp
4EX788sJrUnSZfWIGNA408zMpLwMPwNK0XysXpm7YkxryYhTF48BWJKkP3WhrfHVnQAU/nR2efsP
nw/U+f/6CblMwB3BBiA4I83//odPSGaDBu/SYzIH3MQvnwurPCcpCUHSt14a48m0ox+mWI+5tZnQ
TEBz8sJlbFtXQCw1roRCIsAtXnNyhnvzZSqIno+fTRn9SM6ExUxb8VPCgPUJq7hjAiLR18xO8Qpg
caJw/u5x8DqkrTQiAYpjPQqfCD+sQ05hfeZyLaKU2GWkCcJFePPpaPa5at+zTnvWa/MsM/B5BHwM
K47KjzgVsS0F5aeFqWWQ4g4DBP237NzaNiKHBOxr8JNit3FF+ZYUAeo6AR62mE288iYM8cuadwcD
ujwdqldryk+jB5JRxoi+pvDm8l7j0D7Hnv37veS0MNqcYq/tzaup/KfWvoLxPUGK4yQ7eqt2tsZn
1jlIbJRtSE3a5Nya8c/80vsG68j8zmrhH9EsNi7Lv0yXgLL3zFB+1Zjdi0FcrRlnl7HPBVyevPyc
hgEiuTqr2toCePvs8hy5fon92Uq8tx5DhYbQj4QuhtSBZ+0bXptTxttSIHhJR/RanaOQ55cvjjPQ
BoEDgHl6OcXWI+a6axMEn9rYvKI5mtZ8EvhtiAczqxwsTc1dUXTpaawIcpY5ukQeqLGHgmBE5p2I
/V9wXukCxz9hmcA+UFuzdJxF7ziPOCX2tMqubWodjaK8xGPo0lwEB9b0mIimXdM174Ub37yJIGJk
1YRdLZ12xH47hTie+hZ6iOa/M8GH1Gb6CcYEuvhITDPUEt5EcO+IESlvDNoC9rmUVAiTZb/pHgAG
Fev7doCW8fu1Ohxju7zcNk2ObqDBRKfrwMrV2+xW0FIUehaHu0XLWWdR9uXFH+DI+U/0QKDslemn
najz0DnnfKTtWKpLTaRzwW00GvgmXLp7JDhfIdfux9K9pBH/gl4eKBB+Cy1vYcRhHePRiCWDuGJw
SQEPsEr5JWazSSAPZMqBzg5LnGZrawODJbFXaD0UqbZc5D4dGCL3+0FjHjEpeS3i9PdT0fdfQ1WR
XuACN+d5UfVrwVBiUUj3setbqpPxISzmK5gz5B98672PGWgpbTc/U57KTlGjQLGYMR++wQ/3tPCn
JUE+iRTnStgfccd70WTw2Q4Prle/doVJFHHAuzZr9Lgcw+RCb4xlodkob03WVAdp+Eq6IH7jj0aW
bzlAp9VYa9/TcPM1EYO1Ywmc19qRSq73k8/R9AnItmq4Gu2DUBr1N23CLPlxQnWmlobPmn72Fm65
QmKPwzY+9OoX7SkEzAhruD0Tuv8dzrvsNL9GAHQ8253FqCR7N7NkUwn0JZG8sl08dgG+FmdkraGW
Y+nQS34u3o5TGYltpnl7CjZZRfdugEkWtBdUfTx17vCWO1XNXIavxiz6RHjp2s9RKLCl1EHyY+BJ
0pTzYGUW0JKGlvnvl1Z5yafs5GUSzdHzvWHhji1toVadpqR9ndcUL+VvR4zqmIwZmybY9eS1LJMf
3C2nueY1ArX//YF34B6WeJ73iqGnzuqg+dUya3tefn/Nh+lDpjS2fByPY7EBfPNotda2s9Ret9XZ
0bJPzU1XoCGe9InLN5fU+Gz2g8c1k6m6L+0NI4RD7IPrmZd6HfGeywSyZd7CpwnJp3EgAk/Rg6/S
JcqpeuVEY7nDez2I8j4y+i999kZnjTR4bPVu2VNKFz5BH6PhPM4XJpfqNESoROc70nB5YtEauSq8
FnkFEymlDkbmXPOC5htYt8JoiTwH6n1BwgjNy1xwwVq7fA0Z2RagSZGWhj/Cqm9u1dzlvQVuenqe
d1XJbhPhgCg188oYYD1gwVwAiSakLmUPCl0Dnby7g/Z5oV1ER8YVV0DSBIyIC43Zc9jxKWhRCY+5
SE9Zk36Gpvc4Kf9nYk8rqkOmoqMODNwr+Jr544r0hHZuts6tiOYD6nzmxXh7H11SkFGuvSYRb9oH
ucQaiwUzjX+sjucgmfjR+B6DXtzpH/N/lbr7WLTdV5HdReLszmz/yWJt6oL0qyzPbWNe589uYIGd
36nTaY8pMr75QhPDzs3QNncRGIbgtWiHY0PfUUTNRnTzpzovG459lkbz6hNBgHUWGmmTuWcxohqf
X6Fh+5+uz0c0Kr5BD9NPb5pbe+yMRn4yteKVtANjbXQ8TWQyBMDzI4nqpi8ZlTTyV5mOtCR82lAZ
u8DoAigmO66r2+e8xhRuzd5JwCg0F91L5TLaIx440MJNPu/HTVS96n7wCVfj6pOp3UmBLZc3WoXl
PTYjbD+p9kh+fDrNJGf+gTTcnyGS7/pTVHirGhIGdt3HtM9fp/ZDoSuYt+653PJnUYJfgNZOnP28
0UepgTzLOs9fXzbW2XL8a0HrHdnFw2CLIycz6gr7xpb+LSp8vln92mfmNb6i2WeH5NvLnNdcWtyg
GCFp7J/TUNHJ5UYtdPA8U32ez6rjfOvFps8qH1ET5ej1fCrh1KZpjsBriYR5CbH/rKTUl/VG10rQ
3yau1bCOq7Xdm6CvGn+r4PKuuwW9duK4C+Pd9Lk+HPFXZq/dLDICgNX2W2w7aO6DTwtTJ0YiudAg
CluGIFWbR60rks+5Oo+w2seTOhpItVq++vfS76KfSHUujv0mMrb3uaxPO24oSxdr8jJj5kkocRAB
JlZFZvoU7EM+BHqk11nlwrqPzaVdzg2BSgWfncRJ3uPh8K90uCI+gVk1bvMJBHP5iMOMkLPUPE/o
C7I7qehDCKrO3/uRVrBOa87jELqPoa7/IBncYuo6jSG7Tdlpa20wrl6xyYX/SplKCIbgppl33aDg
sgB64kax933kvzOcJqV5fkgGZsfKlufGZ2KILHHBRII313GvMzHhv6r4a8rUN4wlBFpznUsWukTL
U+1UkPSomlJ3OYMbOPMQKBKx6dEvR/dX/RCbFIMSsfYFFjA15cuyHZd6jJcgDcOfxPW+h0FsMlg7
PsVZYcmtk0Q/RUUxQIhZscT5vxTKAfHCfVQ7w87TUTvEVAiVDm3FoGtR9tu8ArFCLNAn0opPHF/g
7dwtz9yH51KS6QaPsmeNTOqK6+TjMc8Y1FOGuGpde6O1dBMD/o11EaG4DxUbW+F3/trD3P77liWj
mGUQpIxMiJwkaIfeZ3RFopGO0bCGcVHjkUqRnprhEtDE/2LuTJbjVrIt+0W4BkfnDrOyGkSLCAZ7
UgxqAiMpCX3f4+trgTfrPYlXKVbWoKzMcpAppRggAnA/fs7ea+PxCe27QKnLoQZlnqvum6wtbUP2
HEAAERl7tCQ/7LJtNvU0oCbTgn1aay9Z4/OMgwlLOFGYCo99m9tnQ3T7QFLBpr62ZRTGjQhJv63P
YRS/tvqj09RXpCMuBh8bs02BIXg20k1QdNsg08BsYNremb59a9cpi0xBkROBXRDFbB7ChXaJH3gX
xTzu7lQQJx+03FpSqmpHHB3Co8hC8i+M0TBXcQS2QuONjYSwLwBsgRqZLTI6wH8I2iMtq1re84pH
grYRac9i4F4UyyMHS3hc6Y2iQ8tAzyYnWziS8Js2Rn1u3hakqcNtZztc3ICgUii5oJytNTvYMtDi
WTGIIBAGA/J6AcKi6L5SaaYDyMgB6qS82AaJM5bt3AOffHFdgXlAQO0TfvrQMzHnuyndHeTxIwRP
4hx0pO0FjtdVM1blbqxo0ButlawJkwn3QlPjXtS7gDhSwICuu7E6+5kE3ekwgBBGcMyZhsbWJYno
EFjQHfaD/+I27HYCbdC6aLKbvnY82VHZmun6/W9mSgZRBPQmEmuLN7f/+4/ph4KXq/eLuyyv2utY
8F6BsOQk2aePVJoPiSNuzYoHOM1tAMXOOorqu7q3sBG40bqGt4apOjnKoqqxoXTNpuzBFNs2JbRD
Jw9QdRQR750Eyx7b+7dIWzDpcGAgLqXZnHwxqF0g2rPhqO8YFDqiQjpIXQ6B43H6uhzfKorHFXo5
CMUzXpFeUeeRzPqjrUGNSP+67Ovz++mNHtQtD/IVf7AZRlYQf/SfOaBcItPjt8r6H4NN1AdL2TSj
L+jcM3EGp+UjMmVfuW38WsUk6tZUIm1wQlDGAI8XE4WIL/Cc2FzGshssTwwT3adW9/A7vC6lrWYY
+zRFvbUcNJuBKQn7Lu2KKQsI+2Q1R0fB4Ju7SFjWj7FJfvQav8WyAw4BfgYTiCcqaX9ttw6FZB6/
yjH5gsxom469swm98jYrsHNX1TcnVHszvI2K7A1z4ZqwIdSvJXEg5b6lQ9sTI6AqwiWmdo1KFH+I
/6a36iEHnTuM+ZGxirVqaMLlOkvi8LUrjRvhhNu44bf2Yw+JjqeTNlnXJoSMhIk1oQAEVY48qiFH
mSbbz/pEuwD5SdyTllFH7LRZS4KES3WdcI869JNY3anuNMl+7qBeJHu4Gp6ykKajo1d3PVo78tke
6QmzOE5PUZltKmgju4lklq3GN+1n91kenLq8f+mE4xGJRmT0ExsrKcv9fW+JJ/oKjOH9o2meBpbf
dbYkCo2xtvI7/VvY03Gr8UgYA4WqNbE/FzGky/ItL3n0ZUKRlWgPqmcrMWiWrnxezW4oAAeHr2nP
O5AEGe4ZeQxKDFwDx6+ODQ89DeJQ9smkjn7EC4Em9UdPVt192ene+zOo+3wWVt/z5CSvAQqxqsc/
S45NvDawovm9ONTu92gKvnzSOfo4NlA2ah8KEUfHY2xJuXQJf+4bZUwmMBGG23KIt3pHzJ4jiQGg
AcC8nbF7S0Fu7YOCKOjaG6IaoGQko3U8csbRcNN9djn/uB5HZ4yh27qudLqTH/tY44TehFYK247s
r+NCbLJ1u8RcQN7SQnvroVe9xsV47arqmMTlsQCv39F4yHjlmK2u56NyXmucR4MTbIyEB1axvuHZ
c8pqq3Eosyj1YyJN7Ua/Q6q1b2YW+qwhMHdI7paTGtEaJzRE1y3EnEiHWl6d8q7a6ajv4muBpdTG
rjw3GJZSbG4u1mWfQGawI+FXqDjkvq4EK+JSFSMMhvpPeG2rv2nRdFVN9b3uxocuwBVJ+IrUggPP
+OA+NAFEI97jutAvugkChR0Vq2oEu6DRsiiRLxndmndwFxspC3TBYdDB7+nvDCC0XdKtfW3Yusv1
TNUWEflrF1Qsq4BkB4dgCc4JdnhMOkQIzVLk0jkgA3KgcScv4uycWDy5bKVseMBHesLW5KhuZo54
ibAPTE8PZk7vh1mCSKBvRrTKTDg5JZ0ToH1XQG95WKLXXtj3KFd3kU8qtxZ3NEL8YReU7iVxY9c1
r6ieuRDiLUhzbcEGsMxqA9O+D+w9LkOdGF/eq8p19+6EY1ovPeamBxj/l71GvFd1BRZ/jbZ6xRnW
K+h2Ed9j4V8JTsmir/RJPoMR8ecH8h8TCEc3hGFgzZZsw1Iav74ewCDptUQ4fRyDNk6fZiQUCecg
w+fAjp/ikjJtWZb//KFMCD92c/lY5IuSjwZyzjzs1481OjNvK3/Bzi8lRuFPpJgTnH5lhJzM3hvO
6US9h6RJcYIGmJH8IMKSE+qPiENNR2dw6U1OFU9RRlnZ++pK43A8+SBllj3FHtrzciDv4v6p4qeI
pRv83qIYaCQsb0Fm9JfCeZ3M5DUBpLp0OOvRfchkfe5zSIyLGDpszi57Z9JTe2UyO9E/O1QlR3U3
RMUUsTWZ1bmbrdulUzOqZRujEQV/AN8a7RlzOc0sZ9Bu2dQKvz/3nIQR8oIebuBGuaQWOVfa7Fwt
J7zld9SYws0U1UujtgOEbOXfGrpj9FjYOjJ0BWR9nnMKdOmPbKwADcfqPBHwIMm04P16KPLiTPv9
vDzbmaluCXyqkujViKpzq+m3ZH2eyYPj+ZMPA8M5az46Rnlu6P0aA5e/dAqWf/6+ZhDht/cjzm5y
GaSNRo4sKPjxfuRmF4Z5hgM1WeqiIMsm0HJlvGm3NekoqB+oi3VdrBuOgevatm4n/OKdpj+w9TGB
S90l/yfbl6Z+CHRKNzIu9Y3bcEaLCNBc6RMHxcnRnoAjn3o3uPXz4mi0fIVRXH9JJ87IPWAiGt6v
NZO8qad0CzTyTSjJ+E2X1mVQlOcl0q1yaNgV9FTzFLiIFeHTsvlFXQVzt3iN3eYppCD5e5X/j0QI
l9FbTSbNj/Z/LP/srQBfH2GRfQ/J/e//9VBk/OeP/5d/+4N++bnN/3z/If+a/f/yP7bvOoDb7ns9
3X2HbP73Nfzr//l/+pf/UhN8pkJYXvR/n1dMNx9oSf3tJY9eftEhLP/sbx2Caf9lS9OVDIAYhrFd
s38O35uWGbCFnoBJns6f24ZruKwZ/zuo2PjLtg0M8S6scFRODiNPbDltyL8Sfy0TLKX4ke7ff/Uf
5BSzIP+ycEnD1m1DMX1y0TywdlnLwvZTOdFX6ZjnoeoZE1blGzib4alpcJBHwiBcro58ksa14CFV
+gjcEPqym4IShlYNLjsMb2acY8dY9PXrzO/PsEPLjnYu0l1RkNSJEwd8ONA8UiXDJgm7LQAJzgWp
T9LrpnYaOJFOFWDnykAIhEOijUdBwcjZJ8fiOs7DW+LTN0bjBRoVXWBWQ9LDNPQIK2GpEkBMaWb6
4ibRCwF4350pf9bS4IIe/ZYQiAu3IkmVQMRaxXcNWgPEZ/dJEn1nSUUUG3gEq68IWD8lpfI6X7uI
h+5xLGNsW6S9hqF9GtAHtMBffYfj/zJjK4IvwlaHvtVRyAZXReP2tEa1r1kpKB0C8RWG3Mmp6Se1
tbpU/Cn0MvHEMHk7KJetGcXhkt80dS1aDnJZjbh8Ka3hsePuGardwSthdEY8qW0B1I3lXZaXJzH3
dxqK30mLro00AnAynaNwvMtViz662I1NtTM4avpD/pp25TbN4p2GLWWOYuqvHgZuZB6MzCho77dM
dXxjWsteJ194IS22e4bXt9bU7q38LTJflHMOQ23TIz9JYdw7Q+c5rr6fh+CQDPrGMGNvzsQ9A7WN
TneOxx9Eg/0w9u2ehvUtQrcd0XcnO6oPehhdZSUprzhgsOYxWqQVd5J1u41i/6KK+mptk+wRTaBI
LD6Chc/u+p1vAUyOzUfCA065yZnEYVWcdaZVNZRZOR26RAKOy84qTu9CRYcq7g5NNr+WU3No9PhI
P3lvqfEwJNPRJkTKyLUXhNPnCiOKH9ExA5+WAtvspdpGMj4QL/Ul6vwNaq49DoJrmWm7ya/2cPEo
/gpwFs3CXurEqe2jI4xd+OuJ61LkEB1RDlq319P4GNIm0SGTrAwXpwgjimDlt9Ezc3sPZO6ezMLb
1Fhahq04Ag45lgMQzHK03zSh7sApUDwS8ThowS2gCVzyhu3NtvYsTf2hHocLppCXeJZoCY94B5x+
ajH0os5UaXC29XTXl/rFpOzXDpz6WneKXZVqd3loeYJBPQGr4/cZSCBk4jusHqTbZc9Ta3ltVD/E
VQUkJy3oOspdV4HeFiYpjfIryoAF2OI+d854CFII+LoDlJUSIAjqI4X/HiIh+eTJjzHJvjHj4U5Z
CUgdGXytZUeHvLbZ+GiFzNJSa7uImUSmN2Gdb6UkqCGyQ7XOBvOb6WOwG5sXo5guhB/dyqHiROCO
D0mAzncMWmftu+UJksRNtxSduDcu8hloQ64gO9g2TrC8ukrmnMZnSvImkTJGemNOAEhG8IPbtOxM
AB1VAEkkMw9aX9cHVobgutD151Rx8m/T+z6wvKhvJepCWR1qf6puEAH6JwbVtw4ewC9tDoMaPtxV
IcyU43j0FBKGRtNnbE4BCxcwqSTwqtnwr2DHlbvO0DrMll1Y3GZt1N8kCMc3wZDfOLoqPKQyzBL8
mcBG7RzZ/B5t0Tl0vUncDKvkMY9teK/ZpK0N8kPqSd8PRjteFyrDOOF3LIQtHFPUjayIeDMTiw7j
NEzTHnXT8+IObVybdVdrn9OWn2QtYGY/aKEugfVd1WnD6QPU23Ni52BpWBeg2+A9D5PvgMwQYhG5
UTqIinwb+kglwVlK/chSezmIgGi61HzoZ9e5pHudrfrZfJuTsgZQTakvSbNsq/5Kighon7zpGexd
ZNmY7WsZPcf9CHECGwlduvnQdOIxzNOUDBDfPrmTS861UVwRq/AohXUjVXjZNlW8Ngt1ZCBI88kn
7jR1szfR4rtyCXgS00tOb9wKaHe4DLbxddXw0mfjBzY5c1Xq2bmAXUqQ+jldeP0MK88ovL81gXUv
c+NRjTXmBM0b4upN5NnXQTg7PBCvAWkF2yrvL2RLgguAhTK77pZ6rksz43KA1nWaQzQKyIT2ehUl
3iShfzt2fA9egcnOQNIXdd0VlZ8gIGh+rrt6xviCSjYIhcGOMAynKHfjJ96Fy8Ds621XjeqI2TNa
MxSB5tlF102TS0BTurDWksH/D0tr0fGlkEVnBefetwP+YijGSyccz3rD3tLy7lBM/yizgQlg3JyB
O9CuIyhKCxMwI5oLCYuuRWvfI+/AJIq9kmW+RMKc2C9aQG90kEa30bLqiRt41TLdl2F5x2xya2WJ
wWi5P3Lghd5Y9Ps6zqd15jD5KzSMGLBCYWOM2ovhYzuvIuvOqioarlm27/iC+5iILTrURFvMp2TI
MPdml7Jfzon2cRrtB0iPJCWFkbXVq6VxmvKC8RJupwX8B0fT4nRuKhgQNfuVMXZX1KmSNJai5kfi
vpGdcQ3h8K0SgjvUgamwK+NHq6Zj1oJZziuzvJ5GojXbQrtr6rk66YbLpLGvY+sUMgG4ssrQ/uY0
qXoCXIFv002GA6p067GrtYBpnn8ODb3aQ5SyaUxwvassIVoK6NWwPHYVaY1m4WrXSaR0z+2FRzr9
LZ7qkzOxPsaZfuY4YP997v1/VqL//1h8U6v++9p79YIN+uXb9yb8pfLm3/xdeLvGX7TJnOVcTj9Y
NxeR79+Ft1J/wTM3TdvmuI5b0OFv/lV4G85fDgo7S1lS0F+jy/ZfhbehU8hTkStl2zZ1ufGfqH/N
D2U326Sh8M4JW/IDdcv+0KbQ4LygvOkaLyzLeCdUP163jsGMo4uPddDsceyXVwyPV/nEdIgsO+vO
YVpIIhS2esihJKs3HP0GWPh5RNKHq0rAOLChezN5LIfpVbrkuDT5OYcZu1dCa84RMYQm5JsWl/gz
x4K9aXWuZ+Bgt2Lge/Qv7gyTNOmfvpTfKCbfVYn/rQSUiiMHCjd6MiZ8V8GN//WAQbBpzBwoWwgi
LlpkS3+EXLA1imG6TgOGMLWhnacJ9YpliXNPRuCenCIY6lZ7rqZy/DKS0oKI5xuZQvm+BzBwBYyj
2PkKlnBohhU+1Jmp49gYnmmFR79Q0akXhJnD+7/M9ACdNGrvVTZUcm9rCtp6G/SL005sQUAYd+QS
xLiQ3dcoa9aKdF8qK4cM4gR+a8oBZpU0kTyYjK3SWT8aIW93CZB1R+4gQosoukxQL2+xaygUO/HK
YJ7Q7Key0g6FLHdoJFcQIeg30kfw/nxrl57SP+6ssgzJ2RH9yEc96DxYVUJhm+N4ya0d/83YCJEv
NUDjeHFGkNicJ5+014xFlf7xQy3Emg4fa/JCfPw6w6lK56ksPFMF02s9KU4pvl/eV4bV7CoJ6gqL
8d6U8KTiUuu9lLyZOcagPpf2U8cKfIhKacNBDNbzGKZfNNBNSD76fmsNNCCzitoyVKc/3ynnV7Hl
+0Oo8/w5qOxNlPjuh9cNIBvihs5PvLrNkbDNNFFQDs1bBn09CjZRGBeDVbdHwyC0anStDN3yFOzK
NpQEBqDnERC3GATPBzlhzWZPWhcuI1TpN9fwUXYubZttawO0wGTab3wIyBeROR0jeKj+EEw3tUWC
hAA6sUlRCFCf7KzSnS/HrDynYX3hDqWJvIzoFMMwp31GfGoJP+SAVN/fKWIy6OYXzpGUiFdCvyj1
5wXCi+Nbpy47KTXvxqSybnrCj7ZBXjZ8AWa1SWafk3XWWhfo2fWVrgNRwrUM6jtmw9Nt89rUpUCm
Qhykm1bEs04Rw9w+eQ4JZ2c4V/iXPNPNQWRUAH/+SsSvSmpUEa5Lr9GxWWkdvpllef658ZAFBqAK
zYXX7cQM9KsILxKp3zSdzWlgQfMhpeX6OG47n/JnVKFafXIFH9ZgC1WyiceD9DJEyibC+1+vAIUL
AQ55HtBlRZEZCHebRXV42zZEOjrklk45vDuGtNoWzWyGk6DtkV9KWEGNTWEiPhN4L6/OT6/W+/Ww
64h3P4jLk/rr9RiNGrq+sAKPYKRil6cSvA559fQkq4OS8hXnbII8Eq3yJzfiw0KyfLCl45IxTEtn
y3M+vNN5X09z6RiR14KPZGnNELgxPtQWhLsF4jR7MFtOIoODIMbkKemHc43niepPtYsW5N4m1Hvq
uv7x/s9X9uHC3vcOVhqXbRcAgnI/3JFOnyVRFy0kS7hEDB997WQSY7fNhLWIAgBKYNydP3syP3wP
75/qCMtSHI/ksmL8+j2YieU0VUioRpUMTDn9zsFzrMlti2cvtr/PQZVfTaHKtlnlTIfZYdtqy2c7
JQN65Ni9MTs/PeYl73kxN0faJei2M9iIf7434uNl8qTQPmTuJpRA166WwdxPnTtgXUCibIUjf+gf
VWilaBAtdw2Elrx1pK+HJM3fmsEjv6FYZ0R+X7XmV9S47bYMAnkFa8+hok7yUhG4TFkr1O6TK/x1
NPj31u+QcE+dBV+Ja/z1Cl2N1YlA1syTfmlfyuyrY1XEV6a0J4bO6tAa02WyTHS3bpnsKkzVBMKP
9/3cPehWR25x4B7+by6Jwaljc8+EqX/wJcxWOIZT6mde3oqntGrE0XSr2wbp68qc8hQoGmcVs9ci
j7TZ57EJzwqvsmfZ5c6Kinsqxk+cEu/z2p/e+venjW/PXIpO2hcfLTMBPrEshQLh+Sa+prpA5AnF
IL+TGgRuaFPlZd9ZDPp84pys1JFvbcXW2SgvDeEO5+4+yfT7ZKzbE3k3IZpB2ziW4FK93u3jdRzV
i9oq8MBljxsizIs1IAq15bcjUJdzsM/q+ChKjCREuQnd9ff4W+pDaEsGx0KWnJqTcZuSx75W82R5
qVAxPdO58eZ0UU2HuFk1srF3o8HC5BDjhOAKSWIZRkSOG9mTMArtZvZJPXFa8INaRT5cngxHapPh
6Po1SVb+klsbKBCWhCCp2b5GwUtKpDPB0KhsBwe+hcXczgywTNFxEuOLykk5QuqZb1paVGTBgeQl
nuHQpzBzR7uKvSnMniKt6tZ/foDMj5UEhbspbMHIW0oMyNaHBygZepsFQVReNfTfHdlVGxbUFDt3
RoOsNDwottGFBjyBBCHHwypv3lAL0Z0kZTP7QibTUzJ1cl+hRoRxdIsqpKW76mJWCx3y6ft5MyC5
JkIiQvYctyN9lCSEnmBDnEIGryfYCHg68QEhsSg0z0UPcUp1msVd2RdXTun5LRy8UCDT0ROp38et
bX629HzYu5fTi4lcgoOSYZuG+PgWRYWNUzPVuQlLgexXsPoi4GzVi02Q+67FqavSftz6qnymWrQ+
qUHfZ7gfXhl9sclxCcuu9XG/KtsWDkgekXrkmk+9lNnOdjL9VPrWoxnJltqt7feVGZONEBCZ3Zuu
eyL32lqbmf9A4wC1DWD8tV4ScS21aTyqaNEiFjSy8wBsCrno5aYnk3qjaQyqK4tqyZmbyw7w4wWY
B2S7RAAixV6hu0WPRzDlFiePcwTayUydxx2Y2X2kT+nW0VJydJCqIDA0eFBTwXif1AXLbSLym+lV
xV2ykmgVXbKje79Wt4Oj9D2tZH3Vgew+JI1drvzadL4wrdwlISkNBvOmF70uTqZcQqzqlExb+Idr
UQ3WFW+ZV0ZlfxNT/Dl5kV5pkbqvNTREhB0gSiDOE1VCQnYlgeUWljUvoSVdN80nr8qyuv/jW5JY
JgRHal0uTtqf9ycNsVqitDAFlwHlRcYTFhukb7rikNBHjvfnF/Pje8kxU3C8ZPhvLrqY9xPAT7sh
4fOyG7k+r4ogAU5dn21hjZHa5vfJzncMjp6mq13yQxY0DdXEnz/+N5WK0DFzLfsxa/j7semnj5dM
YHiw+HgzK4LLsfoyYNLlWjks0vfu1KcL0QdL2/vmSrGoLJPRIQcb48PgLmN+HZjg+r0+z/wLEX2N
QvdGEtl3zZKZscbC/IvSaB86UqGZYS9YkKnuUHCsLWTr8Ybe0UC//vN9eD/Of/jWhXAsh7O+y8pg
LN/TTzfCxOCqp22eeenQxydwGLh66gG4xNQdELtGkOaC4WQnlcOAzSehmKdzR86VRt9U0IGgNzlv
9s4garAgww5oaAt7R/grJ8lv4hIFm4HAYDO5Y/mcidi+K1yE/oYO4813LaQX1vDJk/XbO025QDfJ
ttx/ljEaYXUo4JISggHZ0y1vr4OpZhVjDz36ZA0FRlofNGDxKxmyohSB7W6qjqYAc9BLODTaLqhJ
H3ERJX1Wqv7mNI7j23GIzObJZVj86902MidxDNiTnhmat6amETKinchuosvh1vvZUdnFyksXmpum
RPrZp/+mvuPsxuxPGYIJtvPh00EwVE2VGbBhqtq/RKlK3xNeEd+CSxGxzzjX6ZnNF+2uNaNSx0CO
THaHGu4mlrONiNrwk9fw/an/+PhJmk2OpHjnvny4pEol6WwP7II5YMF1aTa7mP2SLgQhJXZ/VlOn
ThhOuppMZNaTHJxa6l+G8W3QLsn2Q7lJK3NX+uJIoCWd6g6ARDW40ynp2KIDJmytOU+nUhCDybAY
escnL9AHLMDf77WkxJC2krb4R4OFys5HiWpj6w91h6OpDhsAalOOrChKmUB3eKqGpXiOoQhaOfRE
x5iCk1FD7vBrUtviVL/980v922vCq4qsSncd/R+iKkU3QYeDW3powiRWNEmQBBIxYm20AiVpp7g1
abRJdZTCQ2kvp+aGxCJ95EjpWultPejImDS1+fN1fTwBLWu+6zJ1ooeKtuJj6VxC7lfJwCRN5hGr
OtU62V5gbYCm6ln9lHeUt4OsPjnW/OZTjaVzgBuAB18ZHyrAzDVre84w2LOTPk5OKk7SSTBmkgG+
SQiTua7GgZ5f8y8Rzr/3nv9mjzF0FiJUGha/90dp2yLm1gBtsg4Nr5pS5kkvaaA6aWUdRWDPq7Cr
kx0d4n0pDOYQyaQjuuhYESkTg8BCbqm35BGw5a91aPK1Fn+2IPxmE6b2oKttSQQl4mNxXBdD0o9j
W3uN1tzgB5g36Km0lU4fYT30uuvhFo4erKa5cPUc2YHGemq082GE5j6Aqj7h4rpKCqEORU73QxoQ
ooosQBWpOQhw/mtYcPP3kvAzceE31YlhmXjUlzsq/yFb1Vi9zZZN0ksTR0N2ph/DUsDFT/YDPt1P
SqH3ZtaHZYnKAHwWvW3DcD8+qb0JEb0FXubVCupWN021lw9auNG6qzCXD1GiXavidqDthHSiHA+Z
Zqwr+DSffUFL6+LDdSxSXfLwWLGZGC7P9s+7s8N8EDVnQWtjxLFbO0cgB8farKOtapES+xU0O2lZ
z2DhbkIKW0AUZnsM4EqA6krFJ/flN6/Sss7RZjE4jjMG+fVyJI0uNRlJ6hl5FEAdm79UA1LXWYTB
xnWu4sB9I/su+eQF/s1TCkeB1o6ga7YY8H/91Emv2nwyptTDwkyRreZbZzJxwJbXNY64tiVbU2pi
QNjP6/Xnp87+529scWjhCMna7pjsnL9+dhYFIJ5ITvLCioAdv3X7deUSvz2FMXKN6RkOHLTcOXmx
Gjx2NfooFy3mccQCsmbQ24NRbUB94PLcpBhHQlLqXd2lXynBbPBI0XTXm31ZhS2GHEd/CQSQdTJ9
8zs4LhXTVPIjsX72X2bnOJhvpIKsnQU7Hwwy8LTGtznbm0RRiDrZqoREAiheDqA0/8mO68yjYwuw
wTJuCJa5cWay0cggd1ZRl6tbi3T4BGIgr61dnZpoKJ+o6swlPwmZEGaeOPYGA3eTkR/yQg0bJBnf
/nx735/fX59vi+WHUg3iJ4uk8+GBgk3T2BNnX0/rnacany81eHwoQ5Kr2b5w3zV5d6OLEvDkJXmk
2W2fW8W+iCxrowrkUU0jB6I5SAQilgYxNwxYED3qIuXXzSl3D4nwtbXV2thFxk7ujIkjRpH3Ac6n
8sT5g41RNV9HM7lEAnUdRBlZq4y8iTdBhZW6zOLC2Gc+kKGf5f3eOND7OzLvceTV+GYWerJgGu/V
drsPAu25sizttMSA+6qZ94PzafMX7tA/l0Jpg2uRtMJ1k8Plh5qJLEgIZQGRYSKiyECdUN6kLWPC
2T1mQ3bvjnZ0V+BHvI6w/NdNVR71DtlbS9/40fWfJ3RQdgz/D7v3cNGGjo0l3YdG1IW+Zw2iuQqG
a5u4ElZ3ZhvTMD7H6hg6KAD1hAOpO9hfEje6sMH9XATRuWp786b4XlDhX6dQ/7ZOoAMKrNNv8cDB
OavSlSwlBYWqL0py4l0p5NYyWbjSwt2kxuBsB6xrqu/IgAkvUxJcLjo9+2oOak0WCaexmAY/DNZN
68aXRIvR2UqtjHjqYCun5qF253nbieSx0tOHsTBv6MzcuXBo1wGOBKusjDuVS3DnmXsd41Xobdj9
mr0Gjf7kk8588svhR5ATDlR37q7NB2uvrIQAIJPjg0gGVFtkrCfV/L0EPAr5N+hhDVTgg/GCrwen
fZ31EfETPgTNqSLI1FNDK8i5a5QTI+PiAflWu762Ccb6x5RqEBP9rWb7+wQPPLTJH33Q1qSIYkcR
1RIxkRVrQ8OcilWOVUNrC4xzuEVKrOjVSwlnEr2g+h774t6X2bYdkwE7jQ9zvwB5mUP4DClr1q1u
3neIEqGjDDdZWdNXaZxHUyGOCwbsKChh8Nm51bbvZrmS302L/ZQGWrHlu1WLm3VGQkVsiX0vw/Hg
Z+rKUt2XZEEjQPFW1K3MEpU14M8l4W4DwX4bOcW+ZwWDABtFdA6GcyCnlGHQ95CO6SkqjEdmoNtW
hBe9P2uYj2N37euOuXFIMthgofmGI1CBvElIeU3wHExNRKcSjN2gU+fXGszEiQHytoQIDhEOexOC
tEgTDcsyFunBX5iX2L/RXO1JDrcvk7ao144Bbl+r3ghvmY/GYnEmRwh1TgTummgQUhvXQxtXxy7B
SWcQ61UGBj7AAKi2KZqbIb1x66Q+jUFPHHsLGCmO+nVKCMKmmeqDSm3jZrLd0xyQo9dMgbrUgCqt
coZo28zpGJmFZHQUBF7mZuEhJfphImY4GfEE6N6sEP9oMfE4lHtLsuIRLRJu17x60jS0t4p526oV
7bxpTCKK817gvdYhiwLkI0Km3YhxeDNRm3fIYFZ2axQbGuYzHETSv0ugAuRkdu5GRqE3ER7bAY8v
uyZEgSOYkWfVN6s24A/lzkoPbodR17wsWFClZP9tydALZFRdueqrkfkR40d1xdMd4DWlvwwneOIx
A8hn9hJ7LnnIKv9GxEO7jmd2miFvt3h+pnWE6NGQeOhLvs1AQ6tLkCPJXdFqsh5SBydvFPjkfKXx
3jXJF6EihcIwAoScQgsrenMT17RnzNpA1td9J+DhlDbjVdVOzwI0hSbqdtcFQbELhi902XdtFT9K
kxBUgGNag1t+HLpgL2SEUjUgOSZrmIwRVRcYLwxgo8OQTp5hEEc3mYd+4vxrQNqtiV3nyBu+ZVM3
r6TZinXBr0F21LZW/jUBRPwp4cHB1LE6gGubmlRnw1YXliyvQ4D3dMZBC1RkouoEk9ad316Ihogm
lHmjzJsLQV1nWwTXEDBJ3J5m39tJJC85Kp+YDkcbR/DuuK28SUtl7/Qsuu4unZFkRiOch41ocDPE
qAAtXE6bnLQYNlj4FA0Z8TZ47dmQxWVSDDdGuTzec3NynP4qwsZvjsrL/GYNSRwrE+m5TdW9CWcs
VzTLL8pRO1FyYbR34FrHy7c09ze+OZ91lWOAyeM3pSHgGKz4AEz5Nox2IezNVgt2UkKkDvN+J8v0
aBvaSVivLn5d1JHpa22wIoPPg4Pdt/jbqOPXsphRgaXN82QaJ0NHAeMU5Oj5FnjN2ug30D9IUaA2
6lciH3OCZ6QXcNCibkHwiIpry0YYELRj1Uc97M8TNug0MfaEgggWzeK7a9tvo3DXcoa+mrs3ljKy
NVOmRyflHX+cJ771tFg7rnEFb0qsmDCRVx/WD3M9XOgJxU8/J99iohcMSxK3W5C7LOz+QLZvdmiJ
UXbqxYTvqmcQTfeJ6TyYxBpNlbgJyGgKOwr3qfdXNaMfAEHEjNINCOG24pMv9lX2NuvkJg1Kn/8X
R2fS3CqSRtFfRAQk81YINHqevSFePfuRJGMyw6/vo150L6oqbFkSmd9w77kA4ppXFj9qb04uT2hB
DaIY4ezN2XsLMzEdJxemRLDY+Pb45hEMft5aST5SX10nfZOQr+GJQPV9g9eMWwf+oJmzJQOIsDMm
+3f1nL/aGT+oYF8NTQYSVR/DPQitBvEWxIPf4ljyK/NzYjIKcVR2demH5YRP/jPMmmeHNgev5ZMc
gQSDECEHhBVpR6hv1Izyde1wZWNCDlK+C7d3uklJGajsDxBfwJ63CSynnoF0VO80Lz0hpepCZtPO
qY23ZmGHx4T5rwdTn0MAwOfSvboun6Fh19/56idd69+hjvmeQ3XoQvYyFa+8Xc1LwIE/64U023S0
I/uCcZ68qaX/Tp3+YzUConoaQkpD+bUV3DLqUbFS29lt8bLMpdo5rXlyfXXvkvyEv0rT/DIZBrNI
w8xNgIlfe0enXfDkiR/te8kEecpvyewa8hDan2W/KlnQ4Fv8Vyln+HwPtze42g6/jeSenu8P3Aoo
yDs7KOUht8n3tSx5dZhyexZjyFWNR6cXd3gG30drfuM51PxlsK675WqQlVaN5pNrbceeNO5FYW29
8TtETabnTCHXWtyUPhAckwScAdf9smUcr3Z3R/4AeQRE3gmM24k/s05ZUwMJZvEuGwxiTKoIwpoJ
AXWMp8wbDsFQvSyT/BgZ0AINkOSSuQJosqmfw3qBs4HLZRdY849T+Be9hXt3yd6Ul5WHFcjwjlGB
JAGqZr/kkVg0biwJpa8Y44XcFxIDNgkvinQXWUWEbv6YC+KVIvXpntbzXKM/KqxhPrRNQCLMfDJK
7yyG1uK/LQZypgeKgcUHsl4eRiEJ0hScmYS3oz6GHF8PYzSCTyHehpa8CoJvJ3xriW9BlmsUO4rp
4ZBuUkcAxKUl79Og+9iCUUd64WPM1w+a7Odtg9/vhLk+TANrMmtZsqgAfIHmFnfAUHVJ0ZcPvQe2
BaT9RflYYbOAILghmVuO3kqt/w1lW55IgpZQw7tht/VY3gPVhKQCUYJr7oik2cqTav3fscvLiOSQ
m1lwIRfHpNgqfATgeXpqptDGWOurKCNw2A030C2Im5Ix4ISFvjPvXQJ77rJAmdfVfUM6dx94811T
bMhwuV+kXPms0PEfJqLe86yON4+VY8C7czJtioOCfZK1LmNsWPBL5FLAO8fvvnhzxZOQPs4V0Xls
v/OTB0q6uBW+2upJ16nIfcJusyuWJd1nmXrs6hafPH6am6cNsyZ1FrSG+q6tzPlyK66G5liFFs7z
YkL1RIlDMWYHun3qhDcg1NN8mJ14RgKARa8lSEW0JJktOjx4g9rrlpK6WUFZQy08eT15P2VXM8Us
/UvTTju3LdBZKfPeQIRE1gHGyDUdaavZ9Dp02172OGi4oiOH97we2AZ3ly69ma95ErPp20WQd9lu
0LmQKEPgC2wWTcj73rQcZ1v8oEcHX632wTz0hC3iYpa3pmsiR9HO7Pu1MH70ckuosP/Lmu9mggRt
5rhEBkIaSmgmwqifPVXh2bWpql0yn3PMxuPb5MxPQ77KWLvGaRzKr3D6o0YKJQOgvhQL9D+TRJbt
rEDP7Ri6NfzM+UCM0YNKl5MfNjFJzTyUJBtSLf86ZWLaVXeRiAnj7FHIP4vThReGZCNTTvOVz9SR
XCzZ9pPOYJizedz3BBC6dFsAOXflrCmf1UAZMVO7gs+/m0KJeDUIPnl6+EAuXStJTKsvA7pqUhGA
GzjZigm6ZTNucoIB59Gt+Yo+iOoSwNBY6sTWM/jv9FnZ7s8ImA2oSbcXHRfT4rg/uWlTiZC3M1YX
E/uvuTVx5RfHRoGTQ+6yS+v6KwtgkGC2XQzAfLNTHEAM/k2t+o238/7GnZn9nhyKZrhXLgiDBp+C
p+sx4kInHnbsb3gWdZeXJMlu6QSKdSAgrbSZ5GGthfH1OwwryQahJI0mRK6QZo9Tz1nGeGaDhBfr
HhZNL1HaedZ7r5wnMzMOoqWO9IzxxazICAymfo6LvAAQU5jM4nA+VHT+HbUIBNiUl8dAY2rPgWG8
rc1hSf0Hja+cQTzGn80F0t0+TDXaP2f7CZb0bOIEDzH97qcGMAatfkJRcNdnq4GHzviAthEZftPs
O7f4T87uyzaLG+QOfWfY/qzFdNoyQPRewNVghF+pOxM5mHYKQ3Fo7nnlFX/c82YH/n4k2OLWXczx
ROp5TMSLrustgemO9y88BEBtKGGBm/EPrVA+j0Fh7AZJtzAM3m/gk9+0+MX9Jh1Qiv52CSdgJLn2
jHDHbMfYjej4GDAFD5tXv6CfPnlj/5tabBNLS97ZbfBvdIZ8vyhEdA+hF7ZMUbSzbyFidG2fXjtI
uUQJsYC0u6tBr1dM3hG//nZ1Go0hP0NowqnM784oLkMHPpONzRZaE2fSIi/e4iZ2735sGc9Jq7j3
Zt2eaidKS8JbvcA6+AM9qAGqpf91RlLKS9eOW7c+kxj9GoT86GbNPoCWgxEYeW4467qXIQUD1KeA
7F3lfVh1fjYG97UQGIEMRmU7C69XROjOX2Nzf7pKOtjMi3U3+D65t4APFTkd46bNfZePFFF9+FVL
MjBMgIYkyuMA7ZOTgd2IibtGY9Qap2zNGPWVJZpoTvQ5gw5c4n24S5W9Hptefcw+l2JXfnFdJiQH
vLg1xqWFMNLcIZZDUYBY/TjsVr5K7fbOgvvm4HNoXjlNSFnKr2HLoWTh5Qgxi0JPmN4KZyRyyVn/
MNfND1mxJkZNNE813tJgCInMh+eqE3eV6xCUROxfNBXbeNSu+0yeI/F2RbrnhB8A2xoH2S4RIRpx
XYR/NG3kPtMDoRjW+NRmjBF8Rk7tQpO25tkRuYazywxoiuYyx0QLR7IDWZhn1kc+eFniXet+9akY
aa8Jdf7rSf2L6gv769RS30HQqMiXGwLzda01rDZHIDBYyRlq01okafg16/k6Q1faAzZ0cOe5fcLQ
peIeJId6DcK9URLxoVxS2XWvXoiaxJ4ql47IM/4md8pzkGXq2Wfpfb+J+rOoSAQOfVdHueleuGSJ
/wb0P+dVczK7giUXdr1uFL+bDRg2pHdGqWk/cM+h1AXJFJRFMqB1vxXqVARk+Y5ykgdiALg1u77b
1xQBPQ3VHkUF8T10NUlqiP4S9Pdp5s6A2Dh7ZTkRKspc+Aaj/sjT8Z8Avg3dfyGkTBhxlisLu6qJ
gp68u4qtTeIwc8vU5lxAw1Cm+pvBL90eR05r2nMbVOh2N+VrTNi7w9iUZ8xq5Y9FKi8aMppBlZOz
CWE5PxTLlS6oPbeOfiy3NiMljX4tDHCG2bJ6EVjVn/Pm74Q5d+d06bLP6ny/uW6Fh3ImeEOKyDG2
PrLl9FjVZX1KATNFde+91DM9jwlqVqK9irycbFoO4fICKWJXpTSEyvdeJKMjJlCi3/c9smrXnhjB
0AcWUfUsfTIcQczApypadUoJmo+lyXc2JKvtZR3wgorF2w8redbQiV5S8lvrNDBecr4hygKfWbAZ
R41B+Yg4CL7bWeH3xjmHX3SprB9ADP/pzXqay4pQTatRD2bL1pXY3cMQ9Hr3XebitLrbBzGSQXO2
iKl4C/xhjTP6vaQksoZWDEoV37NdoKyntey+A86ipFgpPMehl1GTkXHHwdXONrMTaz33PVWP9L9S
nb/KXMdpTVCZMfuENMyooCH94NjqyFYPtE2QvAX+NayiaQHFMlUgSEw+B9RLv4HRnm9BlLswX7mm
uvKYgqO5lo3mvZazjP2q6J683jkyiM7OguruumC+mmDc63RMI7MDX9369qdhgrAUJVxbH0/bOGJp
NGzi+bb1omTGXI3mmAdvuZ9Bb4ULU9Xb8ht20dvmmwyUw1OlFDLDwXtidl0mqAXznWQ8c1it9E3O
+t1H0ItBl4GjMWYky1o1Thz13Vgc9q5djpEecNahK4pBf1HsdvMdsinrSL5aftfm91NdDAdZK/h4
6xIvHaUEhu/DIujY7dCKCp8oP/hMXeT0DXnAJcICJ0Na7fQvJdnyRCyKKZGZTT9T0wmH9NgN6RLu
5KzIzzAKF6Z8DEJA7dXS73GRQikkmCQSJi2CnYYds8v2uV1xx5GlSxi3JL2tXAYvIdwODkRSEPiR
jP4SiZESN7fx7po304WLCa/Dyfyo2UpkaAv7ZbWvckQPwZD65j+AxbQovhwsncNnjuBYmSlbbRra
00KMs3KvJK82i9W8GYK4j6WN8DB9pdTKL0GNFHmsh/tlGC+ZAweuZXhr2eO1mZAmu2J17kCXX8Js
yZJSD6fJg30xrwjQVAl9mDyTIMmdh7zKP2kBdLJguagyjPM8dH+MZeAwF+nKmj/ki+MWbFwwqTpZ
NbMfafFSYcibrfV9FuW9FXiUnOXik+UCkjrI1jMnxpm9mh0vhfW6bduR/firOTw0klAZZkGHG6er
8Gf6MTD2mfdEVYYK3JlrAjLLO5ORbp7T3fJ4wzane7e1DV0ov9RYWZjRLnyJOugmjZL9dZDL2SQG
rWXGRGR2w9HtDASseDAT1foiFEGgAOxMXb+DT+V0dqnTCSFpxeRcnRGLEiSkaKrROgG18wffPvtB
+Sn0ksCd2qU2uLY29+Kp3g7QbMvj4G8p9VSHPNXxH0Y6XL8xktQ002tgHNhUwbijUQZy7B5y9OmR
aMrqCHqUUZlLNeP463dnSThhtW52y4KhSTC1d/NqjikEX/RIJbysw/tEsli8mAw6PftRg1oQy/dS
Tkbil9ND+lVUjko6jEKJRYrbY24U48krnV+NnY0dTUl1FxBYPDGuIpScXWtPXJYIY9PmW02UdntY
tXvMGKjrSWZHf+TZDs3svW2YfwDZg1GrB5JTg+I4jSK4C9WcRoO3Yr/NdXbCpsDdxr6aTowoeuWk
ZzWHR53xK4Jt/nJ6LwekBHRQKuaRHSvfNdv6pBL6Pku793WMe3I2oa/5H0BuOSbm5kF4KVlpRsux
57+tlYKBHJD8J5s8P/Va79FNtyxhhBXDZtx3oKh3tpanKU3N2O+bmJwkRkWhYtxXXCAYbBE16xMG
cFB+xng1HY1EkoTUC/34ISwNap4K6CXw+m/253HYUOqrVNxlwmc2KikWgTlApWy4+ORGWi1s7ImF
tqj7M5p/6nCSuY9z33xklltd6gqXHetKowN8Vxc444N6jPMu6xK3d+poBrzsUTQR40OjQ4FuPo4z
UG5FBtCGuPpSQNM8manBLAIVQ+IC9CVhl0tWbIu3a/LlD3HHvyy3g8TsNujp7JBJEw/vPCudrmS3
8UYjyNqm8s/or9adC7080SY3i5NTs6GENw8eezB8uv3d/7Mmu8pzCHRe445Ph21W4rlGfugWi6ld
3u1QGWVxl2vmejSUOgC75bLsYq3x5C/66pYtkVTT0beW7AwpiF2Yx1iS1ct8zvljDtJxH1evaw6i
h6jp80VkWBJ6p6H2+njKnX4PGpQZBq3ZMG71vSFvItuRm5Qi5j2828DPwR5UdezO667jBLtJfdt4
duvHMW3HZFwWLN014/SJCeLGo1wgUNoZlU3wUP2n8zcVB2KmMEoV7TB702B6mLvgwR0HSBhGc/JJ
fkzWrWQPnT+AJFpPhLF9YqNoYGkyeQxKu0sWaS77Du1a7tb/4DjV+3JUjJpxh0spwIBU/h0+mhQl
MFoBQmuX2JTzdN1aKjAErdcFEBtaFACAgx4eA5vbdB7huDWblQzOZES5J+0kU5RoW+czhqp9Lx6a
ebljfUeIV+2+mL1P2+iuseV59cP//281y+LhRl1bZIzvTnO8b3uePgtmqa8f9Lh9svmo7tyQiRtk
Dlz9purxoJdM623zAKqpjjzLlUjscRJiomA1mFHG0xewZgTtVI4Da55Gm9HYh3tTDTi+J2tN1oad
OX2TWxnhWUnNAnQ00qjhMsKH+Fdv7HxJK6QiSmtuU752N3XkXPsNuknWUZ1gaEjStnViZUmWbXUA
jGOfKKQiLRd4Mg4U49TsdMJnDkOQ8Zwxum852wDWVMZLRqRDBazwzI5IvHU/Tt81seMRJ99aRhbj
CehFcG7KgTV4sdxptZGv2vg705E+190mHglJ/66qOaJk85PV78eLwcG3pf18bv3bInt2IaF7H3zX
uZuC7ihGzbxqw8KChiDCtW43z4sJkNPqOsi2DZdiqtFbAtrhnaqNg12G/0wg/JT5h6kZ77C/uldS
FyaGf4cFoEoUhE6+X0mrPzh2wcRLO3RO9fpNrXbdesplu+v+8gek+8lQx3ltO3gr47ti0A7Zu96R
oVnvJ5hhV8OkmMmcxWHuou0zIrBz0bb3uQuMS1W2oOSpk1SE3Gg4T6kB9WW0wzbum4JZhuLXMvrJ
DXFVrATafHtSVf2PLNhtl/VS7Cswc2RQXJipARuQTTT04zXICbVE7PDNniACsbru3YqGNZi9d2+R
kHBGQLlD9pL5UgMFb0Qyd+vZc6DsDc0Q04Xi2PDf82plSjQ5Bi0fJ+pmmztbWa9zm4o4c8JP9MIx
1FQSvVVjMObijxlqRfysQaXZ1QViBJHkLYEYM+qieOgHzI7sgQhL3I7BaD9UEomnNYyKQT7CI6di
QBzaGaew/ZNNVoy3zN/JQJOl13ifFt866Jv+GPlyXHc0aruewCL4C/nJzAWbUt1++f5ruToUD0a9
4SswzlKGT35JRJJyi4rtCQkZYXrnKzwmaNbWqCv4cmVU7YaqXxqczD2wRkuEzwhOoqYK/ft+/IVp
8BMQ2rf7KiFj5iq4g+xjMvW17/y8ujcBdcZhzYqi5GShYQA04VyJEP/gw9sie5k/xZY/d7cEdcXI
cLe2JK6CNJ4lI5lq3s7moJ/rlr0+rJSIhHr2obp47+zqzJ0SntdJJYXdfNLuvqocsvvqSEGIiLrD
kvxsetn0VLasZUV9mHHwQqzr15t5kbhBFfgxe7Bxl5V083Vj0Q4OwT4kUlaX9ce0mb9qKe97LWjO
hES8XjDptpu4NciV6BdeTz41+bUb/DBu/AdefbuRMmjDdvQz85zfDmh2hFf2UTLunZVAL9l9eDMW
oMDJwUqg3uqpHLWBjgu27FuXiZ1gUXeZKNCJyLufcgI6pJpe7CF/TOcn1S1rxPwQ23G7vU0FK6JJ
r08911YHn9XuqzJqU7gojbrW7G53tT8a/KL5utb4q7FJMivuY8/jF9rDzEy8bL/mVnyknmJS5Qc/
3ZrGkxDj2REzuBYGclOt5/Oam++zPd9+uvuIuDCLGye9ZOMNHuOnrxX+92FKiccorTGRXX4o7X//
f3k8+9C0OJi4l8PHsUZasbVl+MoWCfuhJ9DxdIRquTPvXf6is5zMY/9p1UNCNjPfYMW0IJjVn83e
aEpq42Ia9pZoO2D96LTmoSj8LzZlLJi89KjTadup1wxLSSxTwa6kOXib8GIUGfTKWKSz8q+5KMDc
hv9plmeKXsigGCQx2/BUWXTNaBEACAUb1M0J/d8gvrja/aj3p39pGQ4Xm7QyWwdPRNb+sW19mWce
nkrDq5r4cJdF03+1b1OFTKYyIWimrlsfula8FawoWcxPkE3sIftKgwovlIAPtZFVa4xMjDUzkfKP
NelL5dW/Ii/cSzeDNwHNcC7Lst0ZbfCHOeY2tOVOOZ/1ZIRJX82EgnX5M7OjnpECD0jr5D81dJ8L
/+o2EkDk49RoZgMsPgy7ohtLxXRnJoijx6BHCYrd4qzypUtqr/y1fac7VFmDH3M2Y/u2X9ysvy05
5CCVnEfeY3fXVS9zOj04U83YBlEzaQkuNaZ/8FrgvEv+tmX5HcGbv1IxgQvM8peF1mPlgjqBf0MA
fUOhDPySrX79AsRs26+uF1eN/buQsERsOxzJxAnBY1vNdKpb86ksJzKPvY7LvntFQfeGdx+nPCQp
c9GMWhYim7PmT1XqJrZF/cpkczfOUJZTseyFYNYa0rOj0frMq9eFx5Sl2ycn2veEpoj7BoK3AbfG
7cX92PK8gjn8Z1nfpkW733Nug+RCRmDW1NKTQYaGbZ0dJE+rwKsFzps86GnV+7l3WGTNyw2uc1e6
/QH85z+lbjK/1iQsGdR+n2YfKtiILKczYfyxQkIVqK00gnnowmDNiJevggINaN2wUHI1z6zJhlY9
BdX44rt54tl/NBuMyzLiFwwQ4IQhvKl5+HRmSvnWIzSmUTWysImREotwKljP99EcMjBmhU33sBXH
olumfW/xXs99e0vkzXhpJdQaFW1q+8p9CVPHmR43KtnSkNMe6yxZCkRfuMI6yUaQNksPDuAc6jLl
1NnVF5gOoPg1WIFiumWdK8hwpODNPLnpSxWmLKOcz2kyiqR5mUwYsC1iNKozHPRIRWZgVo2daRig
/bMtWE+rkiBzG09dVEmdk5Gud/MQpsmWY50xafUK2EVs/+CtaVxVC6ZGbA/wlW5KNAL6EM6Yxp07
pYnjKkn3JZw9ManRNlMiYum+VgLIYeNtz56+xXvzadJYvU8OeiJgUtO1bcuApTo7l21IOS4lirms
RhAkdqMv8eOje4llHUYeML2dkRveDkEuh0gNXbjfJqaHgE52QRqiLNBfTBAOXKt2zGaep6kgam/b
qj/ExB/dm4ynCd+BIRPMgezydS0ByfeD7UZAjlB1kHKOvWM7+Eq81BCGmdBGk7n8aU2BbKkvvocF
AYRcKMUxq7M7mYyXdsN6G47jOWjKP83SUXB41Zurx9eawyTWyua1COe3dEzg9aCD/SH/tq1hnwME
OFhVR14IkQGOs/K59tnTLa+8az21XzK9EK8CX3sIRnBVAKZIShYWAi/ZBVAcSbNxPFoRb+tOjtv/
JS4FaAMT/nZEJRs+uiknbJiu4iImwRs6Dfu2zV8H2Sei6O6Y/vCdn1RsA+Ro/MBhkueOMUOMKrED
dXK45fDUTw9aDfdc7BcgMQxoYBr3m8lDMasuCkf9uzohUHZR3Q0WYhh3sIdEa/Lw5DJw5AABnL3w
mzh4Png/LxCRLW/dHOZ7kPCGa7sHpO88EyXwq7oPcU5zTIiU+A+T7jnJJZDKyaSul2VGAtBIhFWB
aG+AGJ0xuOMJ/ijdY+shkoDt6FJk1UlfO/9uHDu1Ti/OwM2zrQUb4+HNtteYvB90hMwIMJQwOr4J
Cu3o9j82XN1OuCC2ao6INLTI9JkZg/SoAz00NoorAQWl/+JqiajUU+cMI3gwwFP0QvfYE0p9rK4+
5Tj3nX6csP3BWua2RH7zkpfWPXflvh5Q3/rMsCU9VVWpO3sLPuVsfRjoQigFS0qE9j+x0FcOLB11
v1Gb+94VxFWecP1Rrd6hgGkirLOXbizgdi5nHljiBhQfp2EA7ZETJ7uVet8kz0vlnITr3Gd0x3n6
JPwBQZjPwLM1DIYa/juxNuwIevlU3sJcVpFRa77C9L9vlXHByr5vVXg/rvazo1L0GzqFLn67t0b/
KssCQy+EedLMGVjiZh0d7kZhFuhA8jQSukam0v2UyAlhhGlOUXBxiI9a8qpaSaMd+kPse2nk2dkv
phB4QPbQx2XQvgEeL3fYhnE0NyTA5Ey+Be8Kl1nLY+7JqEqLA3MhOxal/Iu83KOW1zoJjAJVrxH8
uAbyeZvAzSXnt/NQ5ychfv0CCHRbj2L3Jy8G+6SnQ5h5XZSnf2sK5aBrKPdNr8JIF+smIAfJcY24
VRUYt54pH3JjE1faLiRCeTcyI51CRvtmXVwGo+efGCPbK00mA9AkD2xA+QIcjylTadG2Vs5+rc2W
l9dfzKGb44XvQ6FZv8t73d6u0zSp05kNs9nfO5u8KT6X78leH8IGQKJfJ2U63okp+4G3Q8L9bGKe
zlgN5MyNsAl8T/707fQscfzqraQ8ub0lcDtLYms353XtG2RMfnELLauQ1WX+Y9dDqC8Nlj+eM3I4
mneOogOv0wmrsDUltgp/9FonmRYUlWj7moapUe94LLaqndu7n7LFYqbb9LD25rnMIGjXQbYzp34v
kHRTXMdL2H67snj0bVrTcg3/KoB3+BP7JRZo2xFUQ5mp1odMbG9oa9edrKvXFUmnHo296y9QPQ0G
ERaYp65mtN6We8dZDqMrmqhnrOobek+5/DlRjDOEnPlMrR0iFC8BkVvDnWuNxJ0KoCH1Ae/c1fK6
u2YJLBZ52acJHag17B+rZ/NnKVaUJimve5bAbTO/2OPCZUEwkoPGYZimb21y3bQW2SgObvLwyigG
3mzHhBzI3ybEe+q0cUhbtOuK7KmUpIdlDbTxerL7W5jMbi0ZGm6Mc2p3dSJz7Yhc9/ibfWSdfVY8
jIrByDAMr2vB8NPFtnCr1ocA3K5oXKZY6JnczH1z0pjckCLWlftXKHbN4wj8s1ofvZpr2x0xDJRq
4FYsKrR5S/ZkKKRBaHAeqMAMLq/2XY8eE+Vx+eik/dcuhw9dYIIQRjvvZBjSxvX1yvltTzg5GTWK
/C4rZMOSarvvZaroXW8c1K3/15UaVwZxrAg4KEjwiCa+WV7dyjuOAjmwYtl8JTFcR3hgWq88sfDh
vOD+Oq1CftRsVXe6G5MFDZu2EeU7jfdThEy/jIF/ZBSME2Rn3atwwrwxLEDFr5i3cpR1w9O8WQIA
gc+pxORu1aSrr257Nyz9fzlcq6hLZA6MU6AvhObpc/aSdIB1L3HXgAEe1ysJw84n7Ie46grii8e6
3VMP8k5IYosCc0kGAmTkLWpl0x9TJ+p9heZK3uZvxRSsB+yb0ZSyn1jf+bz9nZ0Kbz/5EhdRVv91
FIlHtgdAaEUqngRWfW2N8eIQS0Adpc5oz++XHE1u6tBw4te30wAQ8U6jqDvgEqJpG8yLGa7H2kbH
PEzrlQ13zReue7EtcZPJWtTMW/U4NkUH3rKcUKL0sdWVVrxkDq9n45dzMlrFuBwXPofI2HhbHY+Q
noJnW2QBvIJeTzGURH8v3S2R9Ucg7eVA4iNPuZVSNqK3M4v6W9Shv28oXnmxqFSsKY/H6qY8QVfY
+HgN0nB6M6p/KtAiMX3zo2pAqjdtuCNNkjzPVZ/IczAY9xr3U2+/dGb6Vm3/N+XohZpy+reOznuj
mXqGXfcPEFFU+3w+tNWRRwonRal5WJgoHNdVHxnI84YVSMlqRiK7Tbf/xgzphFCXQmwOywOGPtbq
Wuycu9gyc++UmshS2yxs99Ys13O5lf95U/lWVeKzlOZ87t6aV2PCoUEKABys29gma8k6Wbs0ojeG
2XCLj8qzCXk48VnRNC/Pounaq1q+yhHYacbmjhwd62sQ3bantSsi4pD+m2rm5gYmsaRwU/Y6qcKB
snWQYDuRdLN42CSfsR6cX8fsWfCi0k3sJacPru5RlJN2Uy24OpvtBeUm/F7iPpAcskFPEV2k9sJi
KfE9Bpc6d/9tBhVtthaCSohgnkrsiwKQdjumST+N/yr2PMcCNBxCko/BpqLF0Xueeg5KC/RcBI//
bLPEeaYE/ou5IiPZBPAckg5AZz0xyHMpmQzuOix+cRV6l60Kv4yi+FvwhoyLUZ0yy+YH5swM5xE4
zTrYxzXjzunMbEzWMXxj53A25xc1zwSTl7QTRv3ZDI6xI8QQRm1OqpY1Pw5iI1a7QeTcMzdKGmxx
wvXqOB9Je/H65ndc/XWvWoLHOmxUeQ2pvJx8zpbqZG4AVqma3ohvY0aa8+x47Pg0TWYONtzc5+YG
FM7v1oNRDtDMWT2Jdjt1g+vQ5pqffjF90vuiz9FpFRkIDY6bBEgyMwisTH1Kyw2fDUL4PVX9t1T1
l7cVegcu0Y0sVX6MZuvtvQpibwYEhFqGy2C29clYxg+R1qjnao+fax3AKFL5e7Le1/ZT7hS3N8x5
L5f1P9pGhK99GyS85VeDkdfFtJ1/dHKJF6KHG1hKzc516qrukA8kk49unA/r1ZPbv9nDtRG61UdZ
M4LFffQGGmGJthFWpV85zOYsSCXqZZjID6qRvYGroCaG6eAOGTMUaJXxyA/de2adRWVbzxwZ4rNm
N+rYNL6EYL6lzfi5SXn1XaLQsfEdUFJ9plbz5aakxhuzEbXoEG2sptGGx5Es+X7e54aMpf1HiGo9
yk18z6P7PC8LMGnOqcq2qC0JKdpvy3pMpfmcBwOxccvCHG+4zuwFd1hcTOB+cm+2/YPZgGm2NPsh
d+MJyxq/QIdVqHNrLq9WjYzUSq13InmifuDPXzxsU2wgXpmeHtqetbUx6ZQsLvcEZPiQr2NF2hbS
GzvrurNvN29e0R/BX5TxUoaIDi6TLUjs8/WBh2Pdb7XHptQuzp2l435ml+FZe5H/j7Ez240cSbP0
qwzynjU07gQq68L33V2Sa4sbQiEpuBpX4/r0/TEqu9FVA0w3kBBSkEIRcidp/3LOdxgYJCg6cSDs
7XL6yrL5rsIJQpIZdWrQqp0y+h9ZeAfj+Gl5DcaZTiVLDLsHi9zJZYR46NTqMpjPgRCvUHPRvEuE
5nXDpgrufD1+wc9SCHJ5RrXH2rTPeqJlWGGYFIkI5GUi6JaxooMCNnnV2SE5Kz8vvjuAT/d8glI0
VUwFXIu8IBG7SFP7aVu53H3tSFU81D+GtsHRWjAGBNHfz7y1cVnaghPP4xIFX/ZM8t3ZJ2iKErYP
Wm9vwdM5SvZaaTAFR7PF7xlUKdxHfVFZfrYTQ9EsrUpNJ8I3V4TrWGv8wl+u13u7KY3OXcjOvi58
e90yJoaNM7BK0nJWl7jJcB5NPZ2x99mbtbl2Uv3ssTuBe4xTwx4YEFR9yKHK8bu1Q4KDglaCXCPs
YzNIMIOVe9ajiNj2RKd4izr9iHJsR1LhKoF9vR81+1sElEyZxfM5NumkydxESBStmZLW7CbQdacS
5rNfZUAHcAxFpUaDFdbLyS3KbWCYGsWGBaQ68G+Zab/b8TzbkxdVolt2S+sNEeWvkM002yae2p3E
/sQ6ddtAWWHOjKKsdsWmDBFkMDfS2qneEW27Ad5hn/BoPlZzcYiK40dflPB8YHixTpbH8rFtm3Av
58vFTvVLqjjwUkFRSDymXGc6aetwTFY9ZAIIZfIcWBw38cQUKQZPj1+3GF/TUGuWbZexkx3jtyIz
8+00DGi8Kv1c6l298EOXd80nZYA09wDaSFtzHrtDgrdD4jUsmh1mqI7hVr6nEqdDaIaP3EqWboIU
nfnjIWjsO44na21l8iF0+zcl2WUxSiPK1lKcs+DV69zfZBoSoEY3qdqahmHKvbQvQHVeWq2khfNC
3Nusec38ko34xNF/06torKkH6KgLnh9vkWGA6mANmSP/X+neZkrj96bH5DMMXOPIP4JrqurnqPQf
utSxV60p8ZudK9c7N+nPrsRFYqNoUI28lkZ0wcWLudrT9VXVpf4B4QCPjmQvFS94nLmfBip/RgrE
z/h9VC+L0mLSS/wVpVnHwMyjViLXY9gqw9qhgYIpCkQtD+m7Z9h5IxgLAg2IGcpYiyaKnnJuiFWe
GJLBULhr+sJaIbmUVLdzLaHjxIjdx1GNbz5C2CUcv2zZG/m6V9UZWTlG5tin8p/Ir4yN4IgAX183
uamzLOf2111sqCUS5Sz6GbQa5wu3E7Zs3joEsslqdOsrpeJ3bkbZPlavrYGPczCZtNDTz5vYdxlj
u45ghiaq/ezQ06ZaT4XsvmfD8OmXJXxGKXZjXn7qMXNo5Ew2JUj2PfgCcMmsUSryFP4X2Dmj2xpT
sFZWAsGR2W/DbclUsLs1Oz3S5CKu2uewkiCU6bPM7qrR2tmDezXCZt/TI87C9QcOrwcZOHimo01E
DBsRocuM1tiRdMUVmErbCLfkmjCum95BA3Fx8MvRjNx7O75kJUFhHRFBjrEvSvayAfGci8KUv1Ki
/ZB2E6rV+PVRmMNnJ9J9g/aKSbP6HrKEmshk7jRln1hD5DqlgVzmkiW+JeQhsVsHBpPfrduW13Y4
E5iCDST3naUfcxLRXufSY+CpyWCVu080Hg4rTggVzoQfzA9viS3sJcIM5kKzOYBHdjzYO7tiA0UG
0TWo8ls22IQkNl+4bAN+3aTHCaK3bzAlEMLonH48+xHn8U26W536JnrSdGpmQjYR2PXxKmxxhZgM
rghVWY1Wy+hA+0kW7psmGR/E8XCvfFCbuv0jttzHHI08C0X09XL8li0ttJ0dneAgbXqijvg2RshM
IzyyyfTo3WKvuDDaGo+RhfMvMo9hEq7ped8d37m1jgON2N+PTvg1jbTHTGLtXNbLIE2Oju8u6yF9
NItIrY3Kofkmidzpb45THQL8PYv50mFiRjauj3TN5DpmbroaQPSvB5wgi6Yd5mYxqJBLj19WZRCn
FqG+jeKjCst6xdI4XDrDTybci6pNX1CUpawZSICPcvYdEyJjO9rXIcLaMb7ibWXjzdgvDGAqyZZj
B43tiBDd8ra6dB8VytyNaUAdrmYFCAJQI5zEoh/7hdHJrz7IcCbInPUzceboCja4PkT/xrmxUL5i
zo9PIbJ6wvNQzDNW/4V/+5fQtqWpI4V1ZgmdfQ4QQEL4z3/gM3oYHObkAZKYvrhXgeMsI3PeSxEc
RG4QqbQhG/qFryEVMormu6h7sULcstMpE1cGLE4ou02+qpPxkcQN5vBQySdEXL54MsPyOfvonDJc
FgUTULvhMdbVNp5jRlLZ6F5E2Gvr0QwexjF/q6bgylXUrWhf5bqkCSVwLF8SpogYPwTPr/I58Zx9
bj+pfaqjM2CySWZyjDRimKUfkSj2ju5+pwNSR7JF2Rb0aFJabzNzQTDVVjTPLcGLdvQRqwk/kzd2
hFU/9H4drahGLqRRvw+V8016C4CAgjD5ySVAyNAfamfCzFuSIuRYmzri5Ziw4oSVYJrUt+u+QRU+
GQuv4U63HtAEPAQFL2HHrTpGPEZFVew9NVwGTIq8VX5+pgXsWH0AZMICPLTspOk/Lbf/CuyKhqKt
PX7ts1aTutwE6SYaJux/5U23I3Y0GsOgxH+LCbc6DqjRk4YFJNkaZqB/KCf9jjwWXoO10QVI0elj
xGHVGmee9SRPwCSgc7UjfMk1JxHXoF/NeThm78NE81CtOSNYgU/C2MCRVtEL5lbmk2zg57/adYyX
MndPvd2465GnwXII/VsPHRDp1d6NaAkiH466aPwjJ1uE6Sr6aXrYD8CLhCbCH54IxyaV5cbO2OYa
vVrbdb5TjX5pHROrW/7swhZFvt7geWEIzoqQKXaDRtTV1c+EnhOXybOrw+WrbeMFWPguNZRaZQpk
JW/IhPNyUyt+S9q7Hb7iBb93v7bT7ozGpvonEaWxd3XL+t/yUhB/1XPZiWpV4GGhrhxeIfLzWniT
QGKwlBW1QterB68po7U1E0PkPGMyctoXT8X6qneQX6QWPr8Qh7v01wiKWBpazkNhDqR2RCVpgkKF
FDT+m2TgtiDuMsRTsWV9H2/RpoLrwGeKMMpYeggvRxpxqaGcN3JMPTkkCKc4G2X8i2yjb2T7F2lh
8gmzJYrx5qK69pEwmKuXOxRauOZ87ueFaZBoZeHnRq403+4Il/t4U7oZbampqjW/HqYTG0GaWbCz
H8/V6B88XZZbBjowaheBN62DIvweA/bCbji8WDERdTX+RYlqoB+TLY+jW2bBU/e6C6r6FdrHa6zV
r6ntEmAqMxIBXdZxJv/+hoKW9iXe6ibgni7dmVqJ9Lwp7HXjYhWp0hyRsP3BVkdBTjJYvvVZvZ6T
luIxUatqLPxdZ1C0wILEByZIXopiHDKOTYSAlNrKZ6cNdiVflCROrSrDTtZR9dU504fHzrrOk29h
GvWCtgeBkA1izKu4NyCTUezVeDlGN1rWvYrWUEN8lzdDINdd0b2TCzbnh5a29S1UigQ4cd6cESMt
yrt6S1ifuhRo3Z3M7ThuvWQ9goSVWkhaWJizI86QBY3NFOyzNr1UWGBJSa1PDY+uUGjyXJQGIi6H
OKm+trrHiPA0fMoEBVIlk5+qN1vYIfuygl3gl5W/Ghs4R3arvUy9ZLRZyVdFFs+zibCHR4aMTcrg
0uhJ59WGjdGo1zhJDlosgzf/6MF32KZtYB3Gg5et0qfaNOuPLPFucSuTY/Czg3aBYxlrKHIZse9t
1s2Wdh1IQSilhpgoD7I1xp4NKq3w1Fb+UoEwOFiNLZCHRGKd28mlICIKhgIruQivLTia16glgoEX
niwfR7uaNpNuUeTX0AQ/57VdtIRkLLeMlKa0ZusVcwJlExqJaNBRsjqmy9gHdbgQ5R53+k80+z7/
JvuZXh2iDKvmtCIZtzJJBEvsByHs8hRiDlu18HgBpnnJ0Xayu7Jp0Qd0+7JIr8Ci+WQYHus87+8Q
w50luQguq6cUqX7sNEc3cs46nc8J4dWysEPtnPnUPIxOzWNdqdVQtj9NQiYGQrB3nmSiX3dSv9QG
BSiCJw7FEGM+HoZ0icx4Ohs6LYU2jc9t/zAjbNLEep1IEnhiRIBFufdPspJc7Za2xWEar2oXWxQB
nMM2YgM9GMa0HJVUp0JYn2EvrZ1mpgKNZ2CdChRAC+lZN7OGmvIaEXb1wDIlWldG1q3hiMN4afXs
KUIyn6c2poTYzx8H2uIqA21hC8cnup1dqlsNvARNEx0JJOZJ2t9juphrNrnWBRPDQWv9+8RteJwY
tWUi2GVssgkmQBPdBuiMcVe2N3Inc6xhLK4wJn0kyXC17G4AqtvLVS+R+MygS+hDwcptGJgg/2bZ
YpkXJzMryhBmW2iALkgqAiZQwafX/rArng6arw4FfeSiIIJ0r3sgtFBPhuu0yNi7O01/yR37Htd5
cJIibpZuGL3XCeshkNT0bBNYrNElDQzzCkO1BslmU9vbxmYwEUGAZgs5voEnuflxmx19RexrwCBH
u/S4g4tU9FsRIL20suSzkxMxaNV0Sgqe8yqWhJuN5jpGSl0PYJ4ij0vS0Mi5Cx2Q9yxuga/9AqBV
HZyc2W5LpbgVxSBR4g9vdREkVxu/2maw8wYuQpF5a9PL1Q73LJpnw60e6VuZu1oQGBs9/wmfpOfx
7HuXzaTpPyHn5MccklNiEXUIUajZSr+dMyl8zH3GG9yol8BABdLp1qnnvbgFMmBcEYl8NRaz+8Hj
CRvEobUOqxO3vd7T3KXjoN38HEOW3tTHLo0uVGHBJQtOMTiBE4yw9BhTbPP+OjsssCuhRz+CPnsK
WwxFJGVAuLABxMvO/KVndCKx3r6Yet0dI/GmRoIVpejb19QEr5DqAdZeJvJuQE+iG+oMoHWd4zde
onBTe8dP6M+K8pAXdnvulDU82HlEPQPaKxoox2ufLhPnLLv6sofQYLGizHWrI2bd3XEcGmfi65tH
LOh7tFMHgxmnOYnihx4RpPjuep94j6yrrkElgBwndl2fpFcGjAl0yjVBiD5b74E7NSdYCjnkzjez
NaZG+RjYeX7qEd3AkKiWktHmi6+VIOAabVq5RTpu7X5yr57OBQkDRgCcmYZVVzffnSVeWbh7ezur
i5XwmLLH9iyMTxB6TSiySyQu3liGV+RmXyrIxdZw0nOppvDqjl+1QXyuRlx33kYm3S9zhqhoxbHW
SLmQlMCLSc6erqJ4YDj4NUozexy0kC7NHzuMRT3iZmOjpSF+KZXcSx9KS+U3CMI1sAGcnZw4hzz9
llOa7Cj8iOx2tZyEvmM4O1o9WyGEof5d5GbYX/ykPKZa98I6q9vFHnFqifQPxuxh9JGI07ERAJdN
SA4ANSqKuopLbvsrVcMir00mgMlX2fT9kRw8SmLludsiYLQXmVp/lVX0S3dqde5tU79DeMB/MhHy
iwRzN2cE7G1IRwtGl9SLTs2K0ZTjXmjwu0Z9EpeQbqmzMwyC7EtXToBc1kIAs0wZ6q868r+uTrlq
xy56HN38EX8MwlHUzJTk6ZaIBsrrfw41GfbNglTRhNh062AhDHbeDKcumA/lxvNgdwIX6Ml60p7j
eZU6eVWNDo6zTClLPynv2rigXCBNQReNH5Tb+dff14oA2Lr/7eS0WxsllvZsNPwPSI0PTqQNxBRv
mTuauWH9/dMweVYJJdq9Ebv9QTfRUUZRz2S+QFk6RshjTU4hP8z2iL4zqtBp3l0N4wEq/iZE64TO
x3wpsD9N+ixAgbD51CKq7jrzMRxd45PSqDTK7mCVkP51WGIg4ri2J8ufPsBjzoFKYctuX343Ppb8
ugMw5NSifsjG5KWa8kUx6XDK2MwvnbJ9T8zhNWkDnJCF+9R7kX2YJqQJTv+JEvEnOCh9K9ixLFC4
p+skE81+6gkoFdI+4FcWW9Wb70NSY+lzC8LLua2CUn/qW0x+orKLk+sxehUkK649K3w1BpIozIIB
kiFZW0msUi7oEKxefbOk2mwWKmWMMkkn2SaR5sFZKe9RV6JILQLFOErW6MdG//j7A6bUdV9AXzb8
0HyuWwZ6adbFJxkUhzIz8Axq6DDkFNTrbiB0SNebkr+ldPapxj4uSCy0pspA2qj84dCJPfmP+S5w
YtZ3Mw9F9/GyFpBZ0BAzoSU6SC6YFD87WYImc4hvbaMEWSUa4xCRvw1Z720t70s5HC2oV8DmGf7N
72sbUwFpLxVz0DFXDjgkzDIVf26X5vGTyrSS6Kz0faxb7VaVPDyDITi1Xf7kBNMszB0swhhisv/0
Www6LYym9Gio/NPzBn2fixCECnPXrul2jQ98IOlg4pkhE/m8ZqFHyMnWZ7p8GRujQpXnDUdHscKy
uvDYRGivKyWyQ2dUv3hmt1mXPlttEW3ygf5EWf5hCMW35aO0Z8VkzzGham2pgXFrcRkCj9RN9KE4
s7eVn7CZHvHswihE1ILcPyTiaBdV9o9AhZJhta6fI+TXpDNsRIbv1SOVc4lgO8qA/mPR8kfIfnU7
a4fyI+Iojzf8mur+iqTaH0q4r5rLEoa0MzyKIUW9Cr3qKrvuFWAfHYK9IYWo++n66HDQtGR3idWT
xleEB0cvTklLMxE20nmw1IHtMga7OjnJtvt0+v4jzwCFMknub6i9h0519556dqzqocdUKe5tmTvE
9tjmqe27Y9Kgmycuowcy05r3rDtUjKnRKjTIrEQ/XQOPMxfbvljbVgyiUNTGyg1gSmOQRJc/6M41
x1u1HHCbJF1qMvY1NHSpjnekIf0pQI30Revv86GiJ2+1OZdOiz4aD6UMOjXu98g9N8iyQOz8iGTw
kitVb63W6/aZzSpQuA7afw9weGby5HF8wjsGdzugA0VLVUk8fASimg/6OM0RpAy6vdpxts2Yr9Wo
7FXHwPLSp+ZN9rH1BPyedWw/nYqwoSyc9rJy3ZU/ieGmbK/YGIARETgg4XLTHya1wmUixI2qzm5f
bDjKuCjgEjUcwgsET9deR7pbjPNzvOv6g4cfjFoqPPgi2gCHufV9hKAkGS8shJkK1ThbtMCpTyzX
DrWjOSvK3urgVdBEDVvKZarT3sYjhSqekerUJnGxNQV/rVUKpq5NlZ3AeoQLwE5yCz0BEc1gljdg
adVtSHHXuqHxJFpkHVaC86GNg/gI/Y7TcxxN1AipfkTT2ALXFLeuK+TBzB/SfCyOoT7buKp2XuCr
rW7JYaFNuUK4fHcjEp5Uig7LzZwfRPPi+UqaA7FIq5Fh+97BAzHJRB5phblc9OxVd2EE2Gm6A+mf
I4dnKTAXD86UH2jl9T05MObGauWHFHZ2cmxT7LVebLueDSfIJRaQzkC0YYn/DGfnsMhyFDKmf2pb
+HK2Ci6xz42HyIOwKfxxZxoqb1X7Ycu6QUyr0iSKi0YKp2BFc6Hcj9aMnxgNtZspUsua9dMZS+uD
benFnbISN604IY1BRFHmiK7yttwNqnzOW+JWnNHniSeC6BgV5VeMKR4aDwSNbsBQkZruAwOD8CAd
/Z0tApNUPTolY1bdHQPbALL4YtT7XUbauewqWqGwvIyBuHiNcj7H9JShZDXSiYVyeLakao7dpG4Y
s6FD9MYrs8BdzqArxePJ/B+gb+3Y+8Htr+THHYsq2U+jX21DKt4l3kOXDuJosg3lQmmNgy66XWKI
9kFSpCpXPDVZZx/EmO7NliZG9CaG9yg8ydQG39dRZchBNg8O0gN87C0yjQDzXunDRND8dcszAqyU
P55/fzCNVFvR9Kmdle4cCbBtcKA9ATKODrYMuVclY5ck6u9OUIO5aPZFQuCQXovx7IR6gns5rugF
WR1UFbKowBxPWMe3RopczXPC8ZKZercXvMAWukV8Sza3slHE598fgrreBpnT7ylE5CnJJ5RQCZZ4
PJZkLSTuXkr89nKU49Jrw4HRe3bD3hAc26R91p3GPAVxdx5JkdpZjGp3REn+0q3G3WYDePxJw9Kp
9KR6YXDLQege27D0f7RtNS5C/kTsymOgZmExG9jNnP4FgRlqcQkVfKioLPt52AygYI0GlMm85YlT
Y5OuNWblwShlzWgYPqqFPRxPFkBEjWITj3S/jNkbRvV4CpBadD0h0OicTTg5hb/1cxg6QejfLVir
T6km1rjB35ANgCDFeXWoPTAn7oLAC/0iNKY7vecZi3EixyNAEMrDh77dmU3xnXXosiB9FIMZgpLs
GgZegA8sIIajzbdTkYdMmk2iUCot2eBtiFZDat2dwrmP+LKX0WiFh3hu/vW+OPq1iAET6GIjLbzT
hizDlTfUR9/pi3ABcS2ODokkq2+RQ/ZxM+h2sdvoe8rWajUrQe18Wk+2dZ/8fnzyRvpkdsnOzW0w
3wd1uw9QKm9bbxjfGj0l6LsWD45xxNLTHIIK9ijTv2qXOjygonLollaNeoyzaUCCJrAzO350YDgc
YrUC1u3je3jTifyl6CtnPQzJJwwnbkriQlqVXnyR1RA9NX1LEjYB1kwRRpTHPjJdpqVfdPxi5+tY
ehq7zVdGlTwz/EdxJ7P2pURtdOZH7Ay7+IXDLd0AdJsFB8VwyfIrA+ZqBZGbGynpJgKqHR0JrjO7
QOysIQYaxgBypMNYxZgirdkTgHl8o4+sZ7opeO2zOe+wigD7S5ykRsMH3XWHVxpdfmCxjjpLbY1k
kHeLlVIfcWkVOi9u2rLtyUoXBWeYwOJpBazWOfyzwIkVeqo4UwMgZt/WhUKTAXAFgXs3/ehGC8ta
d58E+VIR872TGmdEzoiWJUHcHLDHXhOhQyrcqNJVHtnhsoU5eQiykFQ8ougTrLSHKcB4iOScaNeg
xkvrP4yRKd7LctN0Tv3Dn/oaB4NOoKtZND9qQFsejntXQKdJgLYtoxlbFJrDgK9V2D8wsYNB7LwH
fYLCZExglIY2ZkxlFwahKk6EGKx03vCfVWldvQPCbfe2CzdlIHbJpOXgqHUnmoEKabnHWqIV3H5K
G6jKyuDbIH/UhcvORGBw9lkE5EvPstuYy/IKsl9/CENrwxhl49tBeQ97Rdc9684qdLdJ5SaPGpaJ
3AgSmFxsa9UdwZ/xDsGepPnRvQupvVit/uobWnNDwgQ9Bc9P3hjuXhUoS0XgJ8eyAd4Z2sQr2kN1
njJTe55FcEtled/16Opn3+/aVZLbhKQKAZywb58kHhPqUU69MdEucRzxkGiS09AnOE0Rg188nWNR
eDVqvgk7mYVbfvq0DUMsBcyk977Gbx1zDsVpAWeJWLJ1DW5gidECpUUSjC8GhBFUUY0mouvvD4Sw
vwQCTTAbWH1l6GQpcbjuNBStVDLeCrQgmy2kC4eUBcI1AO1NHmSw73sSC3A3JSgeUENorIHXZUd6
NvGNe48N1CN3BRMSmifWRSzcCx8BISv8rTLhHWot90dHJ7h3RugzRveNQql5KiM4feybDqEVGyur
L6t3UgzY2XkuWDplUCHic6r61js08aQBov5uXTv7GUcxiXcz6shtzX7nEPewKYsE92ajVetYK78Y
czSHPvXKNdq97haCKVrbmLa26ECw/KdG8czlD4/Xvo+m1NaDw804tO3AfR6le5EV1oPAQURgveVv
ERwZZwPYUmcV/lH3DqY1mmf2rOVpMsadH9vIsjzO0FAzz5GpPmxyIO7sz3C3VONpnHJ/ZY7C39NW
YqsdnJ9j4pobPewf3Z6XzXAqhoUSY63btT+deaBT5wAgvIRYAHsEG+fCAlmqSg63xj2bhqyOHSpp
1KxUDhFTNuQ+zxTSnxInzbaWVIkQFwSb2GtcWYDcQAetjFq/WhVjaYoGtrSkC6sP9R3bPYJymr0H
tx32DsvpcweYaKE3tyIyYClpDtoLAe+qaeIHSBLjzihztEC4gWlUL2IMoYI1Fd2ITQitADRVRP63
beXOY8dDGMEY20ckPQu9DkA3UXZuJl11l9ho+qPoolteJF9ZCHd9tDwqFDpmLIIjwoFaXyfIQVe2
Ge9lUTK5TxoOYVQBZmWxQR28LXrJHjVpRtjvJMNNEbc7Uq9R4JlJNm5+c/jxc1UnBZuIPRxWTjQL
h9IjbG8MaADxSz7mbfJs64N/95GHMpqvLcrlpmWbb+gIKATiNciX6EMGJmsrDGOzPg0bt1tHxg0l
zI6na7Rq+IxBePkL7EtyVMhRFk5rRHdmSQJvPfhEXaQXz7UD+q5IbvC7r1v2cL9rHM8AIEAyL2s3
fTKPWl2hfpr/D3jva9s3yW4zuTzRewHcWtM4r/QMJEaLJfKgU7ZTNARsifAudjF6FsNmLZEGoG59
2HWiLs44SpqDbxq8nfoeaoJ8NMyCWA5LXQ0QoRjs8LVOZrxr9epS/urK5Kca4CW7VoTASNRHrRux
lvNPOeROt2F6uwtLrXmzO6R02mRC/bd5mpZhmx9ama+Nou1uUR9rePwTzOOocWITBqY2HSYDBo0f
Fe5SlFNwKALmuY0FjoYosOkQti4m14mpr/ISZpY10+AEO51BjfCR10hN1FB8sELITyhUqo3GYPQU
c9scE123N0ZXl49Y0PeerH4q8CyflTynPPLvuu48gFyNr4MIfgQoQfcEXbxqRalwLqlmn4DuX3Ud
XIS4rl1mEnAR7FpvLq3wqwfXML9QsIu7HjR7wkWKjZlXzjoulHfvvsfJdnZulMULoeXPRd5Oz8gO
cI4V6jxpabFxmin8HwJWxP+bdeLaNFoOGbomMUn+v2Wd8OJpuu55+c42sAdW1syCKxnep7VRrSo1
vnpTCD3aCh9x6lM1Ts1bQj28bOci1ccIcKJpZgteZi7QMMyALaqbTsBV4dn+O7zj//5LwFHzj7/z
+WdR0laEkfq3T/9xjj/roil+qb/Pf+y/vu1f/9A/tt/F5YPx4P/3m+6F5L9//5Z/+bH87X/961Yf
6uNfPlnnKlbjQ8ux+/jdtJn6/U8Iv4v5O/+3X/w/379/yn0sv//84xOUqZp/Gvm7+R9/fWn/9ecf
83v2X8lF84//62vzr/jnH4iDGmY7pBv984f955/4/mjUn38Y/t9MR5AGhanXNS3TJfCk/56/Ivy/
EREFE8VxTVd3dJuv5EWtoj//0IT7N9f10Ci6ONtwIM0pak3R/v6a4fzNxxBhkuZmmCZhTtYf//mr
/5Wq9M/3jJfir8//e8qS+W8pxURB2a7re6YJz9zUhWPPCXb/LXGo0VymCi2DxbSRJERozGjQ2yRu
Wb8ze6Y2xo9U4UBlKEVM942xlsWuxzMjCgODHf6qVa2eXkzTGwSTehFBJCeqAtsDODnnaPXEqy/B
4ZDX4bGxgR2nkZS7c6uEGAK4yZKIjK6OXsUAbZqqj3u8yRhVJibHO4OUooEeRF12h1dpu2cwW2yQ
MRTEFJZtMsU7fPZyZqrbcjgaTT5RmGSuS367xzm/6bsenxnS0pCxmqKoXEZ2zMqE15z4jbZwISVb
rGwWnk9nydzQxwKGZEoOG71IIf27YdV9dUYrP9vK095qnWRQNGg93WbM0CF5Q7beFtcASpm+nmqF
4wolwUhIKSk1X9AWRgcjosxShFcsghYsgiIbMGse0db3sT+hARi4ebskZF7aJmnyZMQzRckydGQW
nlbFBobXhEEdr7T30pOE0L8Wut+cmH2iD86VB2/CaXwcWEBbRlA9Y5q/+11cscZJtITE2pKX8Qgo
MC5/8DxxM+RRssnQ+HRh+cHiLGsOVTB6+bddlQ7yd9NrKwFJPHWr8SWlPcyIjpiYr9xzolK6PYw6
hLQm04NgL3PfKseNSRhqt9G10LBuwLF78S4ZMBrvvRiA/1Z5WDER7m0R7Vh+VcNu7JPcvQaaWSMm
Shl5qZesb4pP4iVgzfutQy5SlnPNLV18tC+xiNQuGOiQFxOJBXghkeAodgaU4CtfkrQNKVfXBfkf
eRri+hNYtzonfAI1Ah7Oi9zwNcSQ+KW5k5wjwkWy442YlWi0y9mV4Tf0WkczYjSYtuFeDAs+7rKX
PZFBrpWjxPSMhLVs3VQNWQKWW94tO5QNCQ1oKhaVy4B6XYhKeRc9ExbwGsdSGDJwPd9JkBn9t6Gi
Fn3CGYVw0Pc1xNTSsrQuXQ4ajrwlXqDeWuLL85DQJsNYb1wj8rot06BIHlrTsb2XuMayu2T+kMlj
Ssn9lusqdj9N1uygmkkjSZ4z2PHDXtYsuo4Dxeg3ux8BC7AxBrgyUNS0NGC41dflryTk/Lg0llnY
K8PX0GOZaSnxmtqjPUclFKx6Bqv60MaieRfmBANuwuEL08RWSulfGKZKYPDjQLtDniCjIcPlMbYb
EVQ0EC+aRoINaDN9CQOg8Cr8n6pHOuqLwNyOTmfZdNWh6q55O+b9kzMlAPIQgYJ+a3AZIR1xE5fU
JZSZJuvsIJgN/tL2pj10nAgLK9oGDDxmqY3c/9SxK6S2zReisij7lLaS+s31Lb2cHQK5TB66/6Du
zLYU1dJ9/yr1Au4hIN3lmZMeQcUujBuHGgZiB2KD+vT7x6oaZ2dm5V456u6csVb2EQKT2XzNv7nl
dOyWL7QYojOf9l506lMHIXqdyu/ReaCmtnff4HqbEL8zzVp0c+D7CooUu7yCsZh3Tp1RjqvSq9+F
vmqGdJmqz6rRG1C8OZqm4napGtWB/XktHZb8KYDWVUBixCDSoofZULY9hkfS0SuN+aemItOPgiFh
7p4mOc4LOFp20Y/WMLXvdMhimqaq0MzfdcvxpdvdAYnS6sfYPltYdj8OZQXy+y+lAaRrTleP3idu
TAWetHPgLjuUkpGGWPrNVS07/fq+w3y+sVir7hPGP0RwODFth+YF8elovRD66pkoKBIIlgYWB0ZR
IpCG8c+bk+5VLZuIBh0kmI2JvNDedGrKKiSbwfNddazXWG+oWqDbYr/etzeCZFdcuKETUL7MkHLp
3afn4tipUehpmpsHgGTJEyB99bHsFHBJLg1dXVfBu4HEtXNgIej2peyKosph1pEa3BGSw6DlBULc
6mTHxnyOj50ePmDn3QvYUv4qKMocX1rrRaQYCLvsrvULidi3+VxAoAAsWnQQMO4vy1qfd69Kb9Lt
5dWoUy/NSh7V/GJHCjk62K3eGXmXVwGyyDlZ6P4jy3XQcY44dtQWxsauikvaqWdCXtULFCWB+2pH
umXG23TvjcmefV2+GjSOyrq7S5r3sTRc44Lxwj9Dx/8oHPt9DPVTZPa/xWL/DwZaBB8qeDzbAD3c
wx9Tt3DY/N8jr/CKUMY/0rL+Rt31x/Drt5/zz3hMMUzCLquLBbSCCXTXxkvtX/FY+y+UtXWTUEjl
XPkhHlMtvqkHSErFzZxI3VZ/iMfs/1LYew2CORRxDaOn/CfxmNrG+/9jkPevO7cMRJN0girsaX4O
x17Pp8pecy7mD+flIhU9OjrshhInSlkAaRDN4uIg1iWffp3kTn1zPEuSdf0wjr+JCpU26Pu3u/if
92AzFj8GhbfKrODbn4r5IT3fxCkBHbL0NJ/jLL0Ex//QlvTfXpfdGuD9EIPmu/tlaZ+43Lnf9Suv
Dt6+8VUmnVUnzSO0DtwqIayx0mOio7z0B7dJtR3Sv3vY1tb1h6vvsXjqPNVdMd+HH+eQLqvh25s8
AHnjlb7pmrqo3N2s69wH+vdNqvPv8x+SQLU18Pu7O/jFdLLq0EK2S17603v2nw7VkWQpr+4yAnDq
dNLTFvPcdTcEuS1RGg/u48IBo7n4w0v/2b72399Cm6r+MA6U6w/sqLwFdsmo+gIsFt1iwk7tE51c
vxsck3xdDNT4Gvzhwr+d8/93thndXwx7e7u888I6r5gXs92iu8WMhBrkNu9TdT+8wZcjsyzghv39
VbXfvXYWvGW2XGW9p/7y2o+vynhanaaY6+ML1z3MLutuaoyQuslOn7uxipRSaKeZ7Wop2XmijO5e
z7lFb3kY4vlx8KutOexMLPfvbwt6w28mA47xiolxst0F8vTzayiVImftcV+oKbnapizjzuaS7iTu
ky7gzVOy98wYXm5oo0TqLT/R3yR38wzsBkLYSlGONLBQYj2wPTqEEN/eAkJ4ABMb3g9+BlHjn4Jr
dvaUGDzjKbEz8jkPbSfv7uqDPMN3jist2XDgykQ8srDTnYc6j392aA6P9fjdNz/q8D5SnPvqPLwB
/JQ9eV91v1UfzRCJEVL8dJDtrZybc9voAzjY2V0qDgGgj72XQGDYuaaNe3V1Z+8D7hm+B4r3cous
FctMNQ+Zsu+aj5y1V0KczkX90t15puSeEhICdzk0nCWFVdFsuy5y6v4jLFMAwI5G+829u8hgEG3J
9jdqqg2Nee7RDpLgwbyXBJdzTQ/ue45GykUAHfo4ZY27HCEdFi/lzs89NaujR3IY7Ee0Ng8e5UwP
6aKl7MSa0AZFdnK1QSdGf3yu02ET+G0G9fY47QwpOkJCPkp9APBjdgUXFGOVnN3T45CBGmDjEj4H
XdhiHaG3KBEwS8uTCC6wXT2aTYgEuihOA9UUR1ddF2N86udKeJr35t2+PepEcOdGAPWGe7fz1Yzs
cSPPG21As+jslKvdxIgOGbr+alIeBYYcVZ9Of1b3T7OGWyfftNAdHOiK6KZWZjq95LHZ9ZefzQzQ
wTV5reA9TNWhlt6CRwSSoQqWnp1idZE+o0PCDFrQJfFOwX0FRUCaQ9tRBRJczj3Yy2V6Ztywtk9M
B2EeXEVmzKe08s7jy7ScPufGkIOkkwt0INJnu8OOD6sypmuyT5r1/rOXoY01RtR59kpY9RD5U7zw
GtalUYsiu32Beq8mrX8JLekM9AgUZBfNsSnAstxFGHCjhns27K5LU48shdnWuDy1c+OH6cA0s7xy
KY8IWafPwWH29A6pwlcjHsmkLH16BznaKAK6LI52yFKj7CPLTacbqQPo7t3BO7q5VxTzMNfJzsPK
qwbE88huTa8oj8V7lH5kb4GQQXfYW3ST5QgVbnt8nT1Dq48IlenkoZ6SZTrGEP72MdZG+QTasPGh
9s/pzdUSMHbqwB5ZCDZLwHXpQ2L2LEpHkwtLoHDmGF92Bu/z7mreVSx9GA/h22NatTbDLgXamODg
4RrOoQ/NyqmoEDrVW75d5Xvv4WirZTDw+pVr9KF3s6eNQG8vx/Yn14EqeY7yBUaEE6QZreFyeNmi
iz+whmZ2mqJ3yHYy3w/AOxBtk63Oj/0dUBJxpHOLtZeLlk874zm7HIMV2iAqBljdb0XJoglRuTYo
v5uXRC4ktEbM1k8rQTvmCtdg0WT55xkkmtzBDmBy+uaIXG45Xo736Tk9DcuhPlvVcheDzR9Y/StG
tu5urmdKVkyQNdjJ/bc1Lob2yXn1TX5CvX6U9y+OmYGLmrB3jCAqzLR1OTqM9k4n6w7PtG6H1iSf
dtD6I/sZPkQdFL7VB0TqPlAaEig+DG8uTrf+csIOU4zKbTFVUmNjBWpAG78cUMKYUCM7Td6zW1pH
tTyOXhNEXAPabPSaslOoDvJ+d2iE5fQ8aLIyYddcd93zpJpcU8R/xyffzPRMI5HmltSxPkINYJ92
HaSaR924GN/X+dI5DJQRlERmBV0j5eVurLNc9p+R8XEZPwn+2DkO41U9Y4Y6y4WWPS3JkjnzkzE4
TLp9Iz6XchddxrzdRhhxOUCgbK4MUZzMkFYxh70MbF8hjDGNFyR83cdiKQuPJR0i2qGPgN+/hOop
7vIhqgz9jKz5qF0tervYPG27jjW+9Hseam3ONbgGJGuwfaODZ9I1QownPjnluBrdpstc7Lb5WOtg
BYcOCUI0AoUH9ACWGc51Kiu0Ts+z4+yZGCi4ZUg4M8JTxAYG6DENAVHE94esotNAGzZRb1Sulv55
eAhukzzLaTzCOB9zAqTI9A1hICvDUpFWdkt6fUqNn4CJpns25uW85Pu5eFAnnZBwMryGubwRRu8C
Y9M47xVMC3lyoEnTuHRZNk9nlz1xNhP7GJOh2Foj6dELAJPV2+aG1BobF0k1ZS+B4Ehsf92DfFBt
cWQBDXeDPCaoVCkJ/CFkYVECFKCUz80DyVdJwx6ulDz+IYpUfhvQqKah6KqOH4n9S/xWqM3eak7X
Yr7cgoEGLw6HDUs67S2uGyTpcnJYzvLmT3HU73IFQpV/Xdb+NXrrHq7gx4BzzLUPyz9lbakpfbGR
75GWmpRpERei+DxNq5tAne4kcVYYMjR1RD0m6finSecbft8YJc3s7yMp6mm/i6R0S8fGXTHJ6doB
+yGgRYwD/RXQNfOPcIAciPgYJ+uZV6TQidxAlWwRcSnWYbI2RQxJUijEPK4q3PGQAoAYZkQecoAk
v9SDk4jP4SdMYf/kTwRdPi9zDzLod+QAQRI+L5wLkyztIQYnIW1nfBIDCGFOV8ZkacQ8mkhwTRNX
kcRJz41L/3N0EAOK63y3ZwqDXbQrRk/n2H96yQDHJ5fQwJE9EQw1udl6w0W24Zhgy9K9t1cIZ81t
CVWWIob7Eg340E9AkgQ9jYCTJZJZwlUnM/C6YlM7Lzng+kZIsFGKyVF48ceSYO3DW4ZAp+L1SXwo
HtxgZ0Bnm499i+3gk2BTjEpnFkQv8ZV8vnkEJy4cN/TEqt8Ik1jH8b6iGTGXSHic79UriIKv3GNf
Y4JXIphWju3MPvjx+QyQmpVDXby93Almb/4wEBeZj9oYdC0AJQvMBMWRv++IUBejZOw8nCS8iYl/
kp928BnLr6ej8VefT56nS8x5cz5vMYV1RwkGn5AuHYZYeifpl1LxHvFNZKZ7kuzdIRg72XPCp/T4
/JtwQSuJTvuboau7rm8J+YwWezF2o9QQBz/ceE+xCKZLOdakf3HCqxgCNJcP15+n47gRqRj2EX4Q
/SDCTExWroz6kZv1LRHZzsdFxMFdjGs31N0+XyT1kNPWzeX3ynJ2Mivkm9Hx4XSLqyPGG8LtwBLT
s0zuIj0LN8BslTeryrtMx6oI3OkXguUMpxZtdo5/c199LWJrXol0+mr3KfFJeO8ZjJu79YFyinHO
a9uLGXpaEmNqCaNS+FtTuhH0z8SNFMl9udtSekxRlGNlJ0n7aSTkUlYy4Q25324g/e0Q/yPP/Uo0
Ed1dW0xTrJTEM+ME8EEFScu7uMk9Gr1kgoCtC+vPa6RzEEFyELEq1WiWWPJF6pIwZR8OwTfgFmc6
S/jdR2AyXx+O5d+8lEzBFLMkHlUi2rnOXrhYYIidiO/uYHZwCIe/NTH+GCWFcHeSmUkm7gbTmXSH
TM6jTP3FNHdO4jsOPhrB8HJcpas+dFARLXK5eHlPXq2SvBz4qpzzUPB4EBiRArgQ//mcROLoBwy2
FUDfd6KzbD8PT3lHd5jRwp26U+7u5kZHOR59rBsxQ0CYMUH8ndzpKupwEONzIA2f4NgZEfKNqSwG
VbpnC4j+lDT3fpc02z9sbu3m98PmBlXMKHoXNjcYBfJDTT7ezjo5OiWjWDms1mwnHSSGGPu3WE+Y
M6dw0797l3BuiT4wDsIdjnHm9x/Og1862v8sI9DWhP1so4QKC/nnG+u+AMr0wO3O7WDfh5XCpjeD
Pehb4KzA44s9rbFQieoUdGDWWk//4RzU2uLUr9WUH2/gl23/vLtgrA7Ufd4mgKSGzj1hEJiAyC1i
f+E0GR7pSpyPMBKhV+a9OeTxKPBu2ydn8+4T3q7EvHZaOHfRZo1/fywZv83vfxif9sX+8OJ2l+pR
mHXRvjg0p/EpEqQU+C2vbhV7NcajzpZG4GVqLYqIuD0xFtYXoKm1Fb57CWBPJEZSdQxHicDrNScM
dKn/EWTd49K1pt0Uw1dTLLfo7SzuotXffcGbcINaNJP71z7DNFA08Uus6Mrlw1XDTvP3D6j/9tj9
4QF/mZkv0B6d55IHnOVpL9otUJbyIWaFz+whJmW0d/IIRUHCVCuuOUTZq4UZK+IWXZOdlyfP0Xk9
jzbd8dEtvKPcS7LXu4tdFg7yDoEUzzk3J2bY0B0YNPH9T/O3nR7/Nn0oAyuWhXNfV/+l/lIpO/P1
7Kq7eT5D8Q5JP5CbxLOiXuH4sUbP/w/lr15b3fu3C1oIBnctjTJUW/T+cUKgDfowbhdlN68cc7Pz
sREPcSKgT9RHXd/fqVLr6x6AvoOrBMe/ipIN+jUCSKunbixFvCPsnonLwes4L28/e3nGR5XhQOQs
iQcCi9CCoq0PUB1dIDP8+7et/HY6/3D3v9Quex2073KUJOaGTw+W+ovm1eTHJxd7Kdf0b7PbCmM/
1bH7f7jwb+NOqu5mi4aAd9ne2A/riNZ7cTewwppXqHf23/EhuWyM8bV/jK7xn2rEym/2FCJbQK8G
QA6NPvLPFyugdh7N/Q2YwgauNco+WP/K3Zz2+zsDZoekOCIJ7vUm9K+/f0zVMn4zP3669i/72Suv
96euae/mcf4SxarO/YM2afH7LVxuiBnPsRo9Ngiy3BZ4GBwnF20EigNQpaiBMtUOJZJ3iY6jRDSC
bnNxdA8x/t2WDxv+hMACDvfIQcbw27GC3mGzKXaA0ui0oZmQCyyZydaV8Qu1G/7v0VSkXyaQBz1k
+woVD9mwp9JGHy5lG0I/OHNeEcRU8j0Srt30OL0LwAcB8vbvL4D8gIhzxo4vhNPeiffTMyfx2e0S
cveCigObApeH7AzZw/4DPRS5C7vCDkvKcAb71lG2Afc5RJKNO8ClPO184AOScLAIJoJ8+NXnwctx
JOYb7jGyAa2PHwK3ovupVW3+Y6JCRwJC8RAePx5qoAjEg8a+1wh70kSPD7ZNQia9vfsEJSYHRxnC
NQRjHbJE/q9WNYMuSsJJ6NzPlzCGaDovEfWmVOMhDSxqv+PsE2jEO1SmRA/lN/iiO8xbWX8GupWU
Er1jaFPbbI/nW9wKqKdUoKr10VENAVDWxQdr8gbRDKJLPIfdDLmfBxsh93rhkNh5BcK5onWFaUDW
STWEGAYOUWUuymbYMI5fVLTbSAknKMpexTI2vxBaV4b6Ea1ESpzwrbAoey4wWkaIkqCoxFwxhnPz
FLsIalx3fk72iT3J13agDVoStMC9QT7DG55RnTkGzlk573zd44vun6fdOaUR8kvwuHjvxbCiVrZf
xcuJ6RbRiZoL9tw5iUd3wW0fiJzbU5eChSy9HTkFhxgSyOTxw4tznGHYcfiwh/eAfQtlq+wJ5/iG
vqoLlLfG+/e7PKemKvk30Arqy226EpHeskFuD2y8Y19dVHUNCsrk8Q9pPFzI/h2qzVcspNq/fLMd
vfAx5uvH5dVFsnaFdyc+VuB7bq6CbzTBwhtSx9spsjtqRxRLX4SqeBxTbhBI0WA5nWhhx6GBrl+o
g1YfJF2IXTJte35vJ83NPgQCjUc8g3YMVd8c3KhGXdiLcYAkvSE46oCywlRPauEdqhpFlLJyaw14
i+hMTCAAwIM47FBIcnYJotYfRVeYITrxSEAQYSLFQ+BXztp1KdVEZ1HoX9hW0DikSvZBOimhyLia
oFjrkgAkYGplQWdJF0VqRMtoN2yTqKp/s4lyzxSkQ3zmiHgGr0gnie36dsBKW1DdifGbQhBEqhmr
CTcflrMdssLulH06wW1kw+gV580reoZF9JjnfHNiz483aac4DXnLBEbHJ/725KburW8PrhFHk5t7
VbKkRvtw6DiQzHUG9bQt0aMAQw7S9sCQb0GvZ8lSQAQkvg8qarl2++xtkkrtEy1+FBa9OzJi2Xto
JPAAR9im88pWPbL73N05dVzFeBXNkOigkUY7L36GL/fmsLepIzUF0jx6O0qfH5452E34bnJfyphY
Zyd13Cw68ug9+j0+65DQPEHPmTaK1BEmls2KZehU8RE5ug1Wqhu4tUmBqDEF6Va3H+D38MhGAvk6
PNqjYvTsxBidnQ7OhcoTyjRxb3rK8coWDSq7WQkyXHcb5IsQto72E2aaGiFUeOtlWu5o48fFKfbj
x9PrJTih09S4Ua3LvWIAKB2rjRQPO//gdJxeWrpFmo8pekt8tbxe2ulDtKSaeJtich3s3NyBD+8a
3z2JZpNDob9JHkNMqunE7EKOGC1EngFxb7cXBJAE+By7X1OQaEdmRwLHDtC/0T1Y8qJOhKFgkyVU
ByaX5VZkgfZg77/HBKUjXnzz3ci/OtQVG/6L3A1LgYL2FS4z9GmuPliqp6cPjOTtYdcYGn5Jt59q
iTG9R3zn6OFgHRw3bp52gjbBfLk9WUAFkZ0M5p54bW5Rd0GXwm37XfXQkHnM9Pdufdafx3aBU697
hojN2WR77US7pA1i30cJKnCMv7JfhZdUdZukw7xBX1w+R7f5mzmj+CfSA0OgsyWtSZPcwvV1q4g8
pm7SJwzbifWVKvwxPPMBbWcMmidNtmqMPD57RJPmwa1PC4+c8BUj5JS2BYsnxebSB+jbm777XQaB
U4FvKIJDnLffh9y56jz6fJR4919Md2tejnsjNerJZltGWCzyFKdRGWmU/1lKQnXRswwA/ciXh7kT
JZRq0Pj6Gsrb9DjgmWi4aAGSXRyODxpvjL5Ciy1v24HD1ze0taiJCAAWF5zX3KczO2SYVb9qgX9e
94WlroCnU33dP7UAxtgDIXfF2w9K5IMg4akeWniXz5zWkkuXsflstsx++jzXvauGuAO76oyt8Cr1
dZOgTGh7l9F+g/oeBUFt/gwO0WV6C2qVxZTHx2EXwU8B96DPmbgkjCwxxup3WsK1OIZ5dqbSnFV9
yy9SjIJ7o16i+niB6IND2s7kC51Nc/LAd4HK3sPXgYHi32GNYUDuzeRtwrOS8GrLY4Am0b7z0TMD
6zy6D4jedmt6IBa1vHNMXK0uOIhp/kiO09y1EtgTFJkxJtJp/3zSDCmSA4jszQkigzj0G5ryqPO1
HXlcmbAV7HdG+wz4n4TKKO6bHn2bbk9UY6ZobKY7x87+apB6z+HTY1EB8ih9y2GTcuGUSz5sgAa7
vNF5bSEfRkhokfe3vbExQLWm3YbGLeZIvNdK+8sFNxaamMM31Tgqgm0m0O56nbSLRjY3kCNIkapD
Dl0exwrr+Baj1PWMb+NS8kYv2+XiCOVSoGiVGMM8UbAqwjlAGAQ8T1+/pru17b6GtKfq9SNGI88K
L5srmywz95u2V12jYofIW3svLX518YAC/ZXVeAO240j9uffFda4b7C9ee3EpZmj5shuhNMCZUVMT
3p0D0lliLtPnz9ejfNFaanEHLWdCbI6EV/F71EW53LFRPWNcF+Y5IvIhL8MozKqE+dfDGU8fQ6jb
xb+i1E3x9MVMNzA0mapFarrHmygJRTA0uohzBVVp3EMmjDoAOzTDwIqEJo6or4W8GKTv9sYPT3FD
3uboMu25CqTn15aSukLqRTL2FGjO2WsNWh9H/xVja+YIyoFi/2EWTBTEvbQ+BvGBEZ3D6+wWtrm9
Kekivl3k3FA9YbAuG4a6W8KhFef4ulkOkHQvppuSd0C9PGdx09CUyobZD/4wYun6F1+rA5Vdd2jt
2yF4pznu9FQ2+peFPaWFWQfGUB0yrUmt/bt/nOyo5uZB48IvkQTfBPePfsPifPZVF68F+QiqgPe7
vIsGeLI0xDlN3xKiDQqRPanNEASjBXIaKlH1AgaEDN7ar+Z2xu64YCm7l+mRXvwCY1clQE8SObWv
Bz3Pttm1qoe0UMKN4jeeJbqaNEfq4BzUAbJpIecph1/1tfzWwAqQp2zOA4ZaDZ+EBQs6sGhCPkgN
aMFTQdizcCyiBVB51HKZPAhkUyLUpO33nPVBXqdAJKSxap4C+rVjOHNcePxddpkoLqxLUS5YxwK1
i/VNACDwekO8ccLdGD974nt25bO4zRqWMzY5fPi4Hf41cMyOuxve8RYhUmc+4JYGUV6WYTW79tGm
FIcvQ2z0lNg3tL5s+tvi9PkI9NQKuwsz7YVIQAleJtU324dzHt77eFV7WGH2b4FJQYSW8e7hneg1
skTpSR5ouNqYMVwlDwsNj/1xTVAhl9xuqM2R1ljoKcvNgFHHOPAMizcXKHQ0X9vwxLlO2eIDJl5k
r88OR5FHfze+TNkI9NQYbhTOIaYG67dylayiiX6LK3TlRs+AiR2+Jub26GLt5vXwWePoevoQlpxD
WPT336otNuqgCm50TJGMEnPqU6k9NXE8FnoCiMDfDxgDM8WvAA+gNTuJq/kb9ohzcPzerfMwR+A+
u0WdKwu/OwTi+h5pKUTPxfax3o+tyCaDesp2FTmXKS0DnD/RGRGQhM8E8uyGNbYp7i47hPYnbVZV
tC+XhNarVwbJ7pRmJ1eyPt4RZfz+OdY+FV/Jrt5Wv3IvS6YStfo7MnUI2aFIxXyog27YE9vjulpK
M1NQfODYz5Mq1k1Rblkf+BmOlfjgNr42L0teZ3lz7tAlKGDpLnxdfr0jt42qoWNLqJxTdjorxIqI
iudDmNnGChW0TubL4cl/z805wmUeBmvZmUKkMUMioHp71cnrzshj3MqbdFjkHJgtUoZG1fYolo6S
KX51D1TLqb+qhTrV50jo7wUzhlXCrnvu+SbXNpzzN1RQSAu7jntcUQkiG0wbwBGd5M1W/a34Ot4F
YnOeY9mbi40Rsut41DNII7f01BN2JGoEVDEoJy7oCqsYS6zO7nN743i1vbbxeWrbuJQVKQ0cOHME
SXNwD77xfCJZxetBGEFbOEUy2JteQkvsUkUS/S5FjRm1Le2ZxvEs9oFGw+e1eLjY5ZFxUou2o2q2
zyzvSCkAg2peLX1/M1Lc2+pCvZjdZ9ZjwSH7ybB/80u+KDatjuiUu9n17yGkdRXExMGxgkcCuh/+
fgrJ4zrR5Y7Cfi9QY5gXe+Es45v/8OGmkFOco3102GCnlXOOFIhnud3+EtGHEGPXWeOY/mlIT5j6
P9mqUD8U4iwt0jArGL3T7euL6TS3b+0RwnhRnEAMWjQ9l9XVI+VcqSQ9wwdaCJAddcGx+fyuUuoR
c4aRhjl1iRypGMQ/xqRX54/2QThgyNeQl+NQ+8K0g0AsV301wQsm04Q+KV2cfyEdRuDs4wcBZWR4
2EullPQ9zT261wA6tG+5RoKZZ9+iEXOU6NdXpfeC0n6Iesth8YYlkQFkSs/9G806jtz1df4YtZKG
GTsyw79sKzJotsX61opX9tbgszWpS95wG+obHpJV8J7rVHWqiOUd3UbF5q9XFtAVEgRfbB5oPnnF
1/Hp3MP3JwCn0PoANSDKoRlhR9xv1Q1m9xDCxQkp19YqW+YneUG/44vGTEaZhlRYm4DiNmnS0Eov
B9CQ3iuNyvFG93ucAMylIVK0Lp7dar8eEfz1Ea5xudakSh/JdXwGt4G0u1dM2Lusj+WAh+M3AlAJ
lk9k0Qz+mSyGJEpQ5kLDJuklR/6lyyw+OcAbCjHdu3dmjMEJVvYXbeduL76NVAlpcUo1aAblAuc/
UX4ZH9fwEqJM5FqC3Qj7TGuwyxDckg2BASGd7kLSlUXfGt/JdFe1WJThUkx7sRlqX7azl1CEQ62H
Vr2otlba5vr4kPA61KB0OKWmNcfyyXv6K5pVtBNrVgcFDacYI3VCkkxxq7Ook3pUkiv3AmuuUsq5
A18K6s8XnHuwbI/RPaTyFVZScVdVds6If7Z7twK9Bceg46zeLJ2Lx+k/VKlyTtC2OE2YDat69WZp
3IeII/QN77FSCDlKwbaCqsREj/i9RSr28fqogysvme7EB9uzGXW+qZlVQpk1A+UJNZ+ivbrGx8Kp
piBGBi+G/+AQiu0CcBESrxCM+wSQH9im7ivGnyOpE6yuEmSdsf3YIY0hVJhJO1441mvjFY4QM66D
KbOPKQbGe8CHtKjmrh8z/pAPka1mMgP7mBzm9ab7affxxqG6dRq/YqqEqDAniovd0OztGmI31z4P
cukRhuKBIq99th6X4IwZYaTd7Eo95RXVHmWfJrjEeohLHRN99Ux4I4o0v7sEBXT92JUCIsbBYYgX
gIcY9mcX9Fu4TC1Zv6X+XX5pq/zjuX0FiBYYhM1aoLmXQeVr7bWOfi+luqP6r5HqW1N1RM1zrCHP
EJnbR6JyPDmv4DTYX7zD5pY2fT26hOWQikKkS6rtq97m2u/WYffjED5nu+waYgo3UIMp5i9URBF3
EFXaOChmMJ+7vGo9ahcHfQQIePx6DeeK3HCk5307eUTAvkURHr8hUdEiMxHZ7Lks2A6i1PCgZjWn
7vMikEV4ESYzVXnag98eE5O7fGwaIETkkT4h3vnq1MMyI3H1TvNrcPbBdVN3ZtWNmO+JlZXAK3Na
HJz47kXo/Txuq0EUjxiP50ALUfhBbkcCrbNGhk+Fyz8Cx+4ysNDaZ/iMN+76OiMlZTHg50U960IN
j8IghaxOYKE0PdxtcYe08Q9kj8ypllipuXgOqg3xyqbkjV7Wh/V7WK61wsd1wadgTZUCZzMgDiPl
y/6iiP2a19ubr1AneQnQU3X0Wncody9AuHHwDi+Ufkb2Qqd2R9VZ3gOY7X1l2Fa8ELGnoAIkFfgo
9dSISCwpZlRcWnzGrv+iEa7haEDLhlRV7qM9rWpcLO5ydQ2nrzmi4aBTqaQFNWd/mFPEYGFsC+80
BsiUoHfF3ttMUNukFMSk2n1SahpjJSHYAnauwUmTsy8rF8G+SHFnRV8guX12ImRWWO5NIUhZKKfP
Lh8vT/m24YeJw0bblmPjhhUg9ENhf2ljwJ3U/7sUwM40325ee4bUXmdYyear20dcDBiHNBPl8x09
3fb8Vp1iA/rqU0F5b6VtgUOdp9yeTjOdyf8JUHinihZ6VRLieQT8vr64BscpgGZ2pdvUHO7co0RK
kG0c2ZE/9ft+0678qb3ySz+21uy3jaLRbl5/KBsbz4YFAV6bUpKMTprhc3pYX9esy7/v6yi/aTP+
dNlfuqRvnJpOpvagb4YbEVHnijCCNJA1xYXbo5WdsiMff2rPq79pm4F672oajTPA58ovj7vUa+v+
PL5283tk+JAdSFavo7PTnV79cmu7d+/mEuZQlVtdh2pc+5W/f/6hQ/zbZ//xHn559uezvu7yPUPe
RHlG0O9pQf659MwZ8l2Ulv8w0i3u7Zf+6k9P/AuZxVBqnBdMnvjYPwRFUE9OwRskmrh+nseHRIlU
Ekog/UuLMAav1sHfX/53cISfLv9Ln7K6Xl/dM+rd805wSnN6GeICLjxYRi+sR55CZbcLtUiPqPiE
nazsA3X8Uok2vUNYBZfkEd9DTr697nTjJi4JFezh4Q/3+Lsmro11jK1rOgQn6y9Mxw+91MvxpiFN
etnNrc+3Lephz7mkrUK803DeDQlsTxMTTA1nEmSCP3Q4f2Gg/wUY+fHi6i8NdxU7vKWKvNL8NTI+
m1E3Q0vlPTE35TcJzv0DyMhu1vnsfXW/niv2oL9ez3/Eovs/qGyigl6szv8Q93q7uv+j/P7H+La6
FcjUbP5exWBeHIpq+1Ws/j8QMlDpLP/vdDqxPRc/6R60X/5P1pz2X1YrEW5bqq10lX/qEfyTNddF
qKDXkt/QNNP/m7nzWK4cWbvrE+EGvJkeb+nJYnGCKJJFIJEwCZNAAk+vdfr+odDVQKE/NNGE0aaa
fQyQ+Mzee9n/WOf+Z4yB4/7Ld5A0cMogo3Bdnysf++8txSD8F9kFDucfebIQWUFf/vdMc8F/HuKR
m/AqSENw2IMj3eB1/ud+vqjSvGuopbwgm88BeTNbAyFvXeXxcuenPSG1IfsDW3p3RRm6dxoFalHR
J/pFcvQj96WVejnWJNhiYOkwuzd1YlaB8V/DNsuuQZ3pc9cGRM3q6mrs3r+kiISXLLn+86OfGGuE
YXmpUzu5kkK0t/iLEwmE2V2VLn+lTBrwfUOEhRYuWL9Q2xB3dYmn8T0zubP/5+/++ecSzCmhKT4U
Jt1JxqDB7wQmyq6MnVuYgiU3fAbvUzzd4SwFHrcUp6SGFQVYtWcZUBGEabvmlYBXooELH+xZw2Ge
JiaCMdRdRXDbHo7dshnLIToXqdDbZoxRNYu4OduyVGc9JMc+X1gRmEKcozH7nXZJT0XnFtfcVs0p
d+Q+vv0dsYcSgQxJu7x0KM1NQ2+uQpSWImdwSuAOcenL4xLBv4rxdm+17TBsln9mFYgTfO2TGt35
hHcHR3CVEG4mJnMpXPtkzf7TULswYSqNPCC4dJ5inTPKh2A2BGaqPDnZSfQLZi4rK8EIJLLS9KXt
WSpiI9/MAdmHZQxnPp0tthiExVbpc1MWfwPQbaeGrM+yiPaWN36RM06APFRVn29wHfRTtw5U8jng
BYXdkjFj9vK9aIsfkhUOzQ3eUYV5uJmTSyb4NizDzlSN/f0YOAwtZ5w5TvYt2/CnaabHGSv9StZf
IiB5sWhdrAJ155KtLOqtjjPEjwZGrNOy4rBx28fGT47JgEYAEtkqXNhRyaHaO3ijz0RooE2grewr
j9oubaH/zUqfrBzPnDu/dJVmONX0wLjIZvXb9DtVJeqQricmJmeFErB6MvKaq5zaNn6EI+GeBfnt
Y+Y8R3NGzyfC0wzKZD/DOOvD/hqEjBjdgWjFFEhZHvv3o4x22j6AQyGVdhpQvkcDhsCxRARgrIM7
IlSaxgCsAj+sJPntziZcd9lg34jWLDNh0ki2hll1r8nt5rfH8zFJvvyevZIbZe8uQeRn+/ajWcxT
34x6F3QDYcxpLzYGkDRbGPaDS1u/hb5ICdfLvoOOyEsYcZ/EoTv9dNO98yXa7RyeosyG86N9mkeW
6+h3TgTl/rh2GZ9E5GXrhb7Lkmi67BL2WOFRq9cZBhRMKPYEtTHDbtMGpJdTCtekvjt1+0p6zMRo
DrKnx7uCAHoObB9rXTChyTN0nFaQXw3jxRbL/qnOsuLiIkNfSSLwNi0Re2dv4IP1FvqhPOzY1gXh
95KqG38HgZbIJh/3TL6w5ArcnDmB8t+kKd951QDQs4l/YvwX8nswlEiUMIJMvdEpqQ8GN704Dvkj
omeAMeKKqReiHbQsHxdTw2VIeHznkqLdEfO6a9NiA5djPU0jFVBVQYs1I1KEuc4vy4vGdDLZRXZt
La3vfd3BiLFuqAtUFASl74agfqnd7qRb1921eNrc4LctyI3KiPiDaboPk/kAWUAQlQhdBSzLuk17
tR4jC7S1IkY8T/gmbYXPSyjzYAmi95y0LgEkYgzynScv4A+ZqPkYCljLlqbpKNJ47VagK0nBb3dF
Uan1UnIUKPKt+qGq1zFziKYoACgbxkm9EzV7O9cNJlLwm8QjHJZeHOFL2FsCWBDnwPhaRcrFyjdn
ybp2GT6WZXqQTvhj/C7ZhD7/x7GJ3ltVB2g1c4TkLovUjDfhMeJrtIbRElrBrlFgoG8hXpJgZwhh
QGQFPFM/b/1NKd0LX5E8GKc9Rn76mE/11REapX2s3qvYGrc2+6dqIhwYptWmTvepzA3B3a23rnSK
GKLKPsOQiYz23fC0q2cMHaZdWOp41fPYkCujr16uonUsxufFSXg59l2Z9elaotPdJgOqJFEIiFkj
vd6YcJPk2Wp0EzgQHRPnylGrQMt3gnXRiDRQlILAW4nK3Hdg4XepMPkmmhExGYcZTDvG9S4aPXhG
8iPrPPxbCySHeuYvHIu53VB9SlJN9Y2+2tQxY7KuPAyFPx9DTkUB02v80eVyhjK5EdWE7UiazTTY
NpdnsBwbz3smkIIpyhABRlQdXxTTs9SwLEzf/A6XVhwuz82q4HEEz47+PCdm1wn3EfGdHKODWZkF
VBCftbWL9WfcTVBzAvHU+IrVQ5g9zZJfEibBmtBP+CZszXOX1svB3Cl4SMmIQUlkIVdgsgQml11p
jPS9zO4Kuzlk5Hmhq22OQkzT2gE5xgX/6rVOTQ8Lk3FmO+M0PFSL1N94FZNvT5vpBEeEI5xk18kn
hznsMW54hoH1LHCszQ8KcPiaK+SsjVMfc1hBHplA2zz1APb62r74bW6tlA8wiIDXY19Zu3lqmXRJ
w1JCtvdF1H43ketsPMIAB/8rHTqmmjBY9rUILpG2uWaIH1+Ps7kGxt1Pbkk2kScvrVFPMi8QlpXE
19cjcrRRzf12CKcXMnTHNQDtYRsWsvwVZOMeFhX+2urbHqAIksHN+LSApxX4I2Mkt4W5GqBYaQVX
Y5w3+8INaagTYHe+2c0Zu/1WoTHBs0O2IevCIqveSEF2d0S1K9dk50zbd5nFVb8kmAgLueDELRk6
dUv8mH9VzVDvKluDSi1j6KMTMOeeBJoMeNNhaUkn7KIvQkHVpiK8isQSULMJHXaFsCgB3+6UxGrG
+fxUTbdi7IscRW8nbP9LZOT6C7JFuwbqgBX9iWhNNmMd1udQ3ak8/hOo7FooF7NwtMy7IBxJxTKa
ybufgwuZmBYPVG+QsFF6uMWjVeh5N0Ttq5bDQz5UAACKONpJ231V8La2ozS/7J5HA7gLptnJzMhc
6HYri7+eKx66yvcAfk5qT2gouCDZ/U1UJggyRGCVjPEdQW2oNRcgZ+lSbDnr7JULdWaVlNmXmolf
WfwSRtcoGMzldnns53uqn+DiB/aD1yfF41LYoBIWogDnON4XKmYXMwJp9T0cyJ4gIxVy7nu0hJg6
+3JbpMimArd+AbHA3VpMe4LrNtKez75DFGMoOMrnbvlMlu7VVMBquZl/k6cnd/7UOhvfah791Iuv
RW3hlQrst6aanqvUzvZV6n82lZPtA9a3/pBP26giXX5E3FYAtjkuEeRkE2fE0yOpKUFAGDqPrciq
M1f0werQIHRx+9jmzmPXil++RHllpR+q5/nf5DMYxoAQFt85GIk81CBnmkETUmHHq8m+yQg9uE7U
M4u0T/4gng3d8Dps8ICmOtmMLYjqSeBYdb2R3mDMX3JynloobyvfDiUJxsVyJMEBSXq3XFyAdtSh
LDOsdsET3yIA6PSns3TUxs5AogStdVdkj06Bpk8QL3yNvBAVLpWHHSjiujIScZZpx3u7NMSxHSSO
4aHfMTMhYH0pCaWwefZ443Uy9C2kdr8KDt9HXcFGsNQDZ497TzbrXZOBmiZOEFV26//N5yA5Kk/i
iy78x5RB0HrySZcnjWCligGEJ/em5gLYUEWFj147YiOPeYYMOruSTboRcdjeqotNIOMnouWvFUOC
pcnDY7DrHct9nLL2ZHSPFilNOQu6t9ornUeblF8Cux9jnX4XLpPQ1AABm/UnaUbEpubHvmi8U6JV
c66y3KzrFkmBwBcsEdPQNm29LvJXwKqffCn1Nh5jfAOREFufRXgOU/DQ5VjL45F/mccWjwMj4m1n
qjtgTPvUbqkp6vpr0VN89NJggIbMx4vmkFjMVU1VSaC6/ttP/sOkuo6mBFFBp1BG82L2pd99VtZQ
nixIdlLPpwRzbENrtHY1IlJ/aBE2iAXRIJIVk1fznZuaYhst0VGEDVEtZFTqoUqgUUC6QswwCUUT
V6HMkO4vES9Xy3WiNTgRVlLW8N7DCViTq0kSvXoyDVZ4GcEOd8Y+WqckXm6r/DhGEy6sngzenhS3
dlkeiIFmglU/iZ4ItLyfAK1yGmrwiqRFLa9DYM3fWfigedRK1yq+ioRdaXYrFvrGRiEuMdFbLTPr
mZCvukA/E8VlzPkdGgid6lqQ4/qagj5fzW7df7QZ+xBVO1eRAywdbWvZdzStdzPt1SXJiX015Y/q
q/FACRDe5WMU3hX//BgYkpdpSFnjzb917JV3//yYc8esXctttjS7811eL+7Or9hBoBS0LffQERq4
skpFIkNVHuLRfeKLZofkRCjOyfungqmn01y0lzqcUKDmewVlpOkZao/EuQKT+7hhuFiAlgvsPtRN
kUgfunmgNy7kj7ECurJw+tSNynaZtx8756UQ8aWU7dnXKYBTOcBLDyw2ckSNFjXph4GbAK1uboLy
6D20jTrY5HC7RByWgLzPcdpzP2uYM9QI0P2WfT9aLSCSr2IU7xQYoFJIkA2n9EVI1PIugFB2KwEh
altnUMGjACbDqVZDWZPukfcv0wRBozNMazXV7MrmZd5MDbZv1+xCoMKbromOToPwKRpPup6vZg7l
KnQtNOcjUvMAELFbMr+vK/JP4RvbsRppxihoZRVeYn/GWAmzGnjEWjoOQ8AqObiNE6zBCjaHXvvv
bTnfRyGJ+75NRrbbvU4DZZOxSd7I/TcmPmiEwTisXBIFY4me+xbxq2cttmowM9nHw9birK45v35Z
Nk/33Ty3ehfDwaLxHbfxgFeZx/V5WFKSET0UBtnvuOb2sQNknFbQv5PwH4pr2KtzC1jiRkYeTIxK
eSTnn7T7ncoD9EFB6kFwx1U09VziBbuPIRNnHSRww7xb2Pm9nCeicOElioxSo7f8ehd7SHoJ8j87
ALLihBz03IHt3M7xPktAATg3QBBWY7kxNdg3ST1sVahzDTSmG3K1hbzZWXtMJP16dOzPOmicS5uS
V++Aj15PLYHrMku6bUjU3HEMidCrZ/a5TZed55B+RHEn4hj47p0gekxSNMv+tPfDUZGXyZQ4M3ej
3VPAktC9nnv7LJlAJK18pY4HyuKM9qbPDLa2MboF3lbHtFtQBJTOtPUZRcWyTlalJmAp8kiRGp/G
cpoeobGTijHRa6XAZkAo9LBJfX75nW6bU0wZWjVMJfL8UsWYNVoeclMmJ6hIM2BXPhA9QFts7N+l
aoZjQuGxtXtam7zud7wiPCEJwRF5ggKvX6Jz1EcfKm/ng2god9P5OfHI+E7+BII/CrsINqJCgTr2
ODILj2UimNNN7IMyc/h+A/lRAMfZycac4jy7oT3dn8LJP5aYZ3bz2YtbaeF006b4VMXIv3dvOvky
fXXS8CKL5qV05t+BAx0pQesA8TC3UL0lCrFbEfuHZf6KB30uybjMJL/e8ZkDCo2wcAlEvvXSApVo
lgCBSuPLlLZnWfntoRn45qFjXsYxIb5JK6BzgbySgxgeLWbfq9i2kr3FJ3upfNjipkMWaWc0jQtO
AxGM0aNcxENYXbVXLLu+o7BbUkZAYr5JMZOOKq0PdnMYc0Kb9k15eQLnm+q7WJjftdmNkYBeuvOj
1Xp2CWrovTOFabUVqTl5VCfAJ6ZjK+1XrhDL/dPMxIlHHorwzh7XbInuILaWAv2tXIrHeo4RRqZ5
AwG1fp5TpEYDtsHKf078kEHgmphF1KMF6ypNBuOKkCV0QIzVFv+iu+LRNO3ldnWmTfXG3fQ3MGI9
5qwhqcPCQHtrW3PneMV4vr2EcRy+bnGC6qax9B2zd60JWmGMXXxZ4Fur+yKDXxrPT3DHd+WY/WqB
665aHdyNNZlUsvkpckQkQAs/O9M+l7LZajM/JBYbXM9T5+Ymb4oCvbHITkXVas6CPq6NnTvKj3YD
9iJykU3l7V9PeR6I5c7bBAM5VBP+Ah1NqwYYPCkOiwQXUB+8uQCXRX27Cuz+OrT9KcyjvT1OhwIP
RBe88UjYgzRJD5PXPU0mfK6MsX+pCZmT3/X3md935J627KV9GRJv98hQcToMObW1kxGWHz0wpLg6
zDDhDVoISgxxkZ1wHrKmKXdVxrfd1D4L0857T3N/uItmCEazcrzXMBj7tcX2cKwScF3C+uXbKYWM
re1d2I5oPCaMWwSrMzIrfy380lVGyC+6inq8phL04uS+wkli5ZJawdoLZ0U05HRnD3I+wL89Jdlv
7faMI1p1npMfiV7agTVxmcVXabeEC1kjWBzzZ6ltcYi69GmhdNGuOHV5edcnJLESUY5n+NwVFDVJ
F+o1KcNPSZtuWq9r9sIdwZaihJS3eJ3bbCiZgGb51ktXTj8y1QebdHejnA9XcaxmiXixGqbLNfol
D2KJc2thYoYRaUYEFuVsOiCeG9wPkVZohGbio5KAFtKcXMK+hD7rxl22Xp2gV/KQ5SyUyh3DsaBh
HmPy9DJFcXhIuuE3wKXWD1i5L8MTdBDC+CDsyckgqknMlsvhwIph3mVZfZ09tBhz9piQtb/uS7w1
XaeuQA2t1VwyFsj1wSHhnYN5eIoaVIixRXQxt0TLlUYIPL12EQfPekaCOVnLx2IeCGkm28TnyTOe
K1MwtPubyfHUp9Wd4//WWlawkvjvhsZ9aioGVPlaq+E5Y17lEHu9KjqHFNSq3AV9S7iFEfWe/vzb
Dp5U27o0Gcu91Um8pEPTgk/kfUbOzO4vQamjilc5eF+kHx4WI+6WyfnxrP5UTQTX9ME24wsBd4Sy
K54/6tZ9rWyDqChQzKdZTvR+QI6MO26Ne6Vp7w6jmXZDE6Hhmdrv2HmlL6bUDf8U3bzvEVSIIHxO
bYujUGOXg+2wkpaLZKLbuQltlcJYEmR6H7XZLyvx3+ty28YTQbOR9+wv0ydSOxEDl/DTdhNW9jkM
zBW9WfzuyTe/jQd0iPnTkiYsWMrmOrucrZITcpXKqt1YYv60HUR3YUuE8HfGBsbJaFYKH0UrX8el
79xtr5gh2eV4F7WYjIabJ81tn3o7fVgU6g/O+k0mnddpNJ9T96odsJdACqghi2Y7+Zs0Skme8JPv
WMTvc1wcRDG9pi1qwFweRomouOVJN6Qsfgv4kkPNE2fGLwQr87lL5w8Mt5qriihcTS7Xop+KOXLp
okg2chjDesyunTKmKg/Lp3pCoJpJIEa2Qt9uzdS9w2Xpp1Ov+pa8VDfcL3Z1Dovml7PkFBNdet+1
cMMYVyDI42ggWPVuRIwol/67s5OHsaiOAIx+WX12KazkcQYQtIkCl2eE776UxSEbGYsIC6ZbYoAC
V/5GBhFQxIUYH4NWPfaBBowYUH3P/dB6fh5LSfZQ3HBWIsiJ5b0Lg5G+zA7XJqw/Y4B0C3sNdLKZ
WDMOEPwayFUB6gidPDspW6ICi4DPtHWh66pEiPUzwL8/YOxrK2dNQL5ANDY4p3aajmNvnbwxO05d
iFSmnyBpaG5YH5xlzsldMTySPqYsyaFvhc1TgSXHbztQbkNE5iyAnyUMnjs4A0UnsOl5+Py0Rqtk
bHwl3qYKEJ26kc7XSUoA09TdiLn20wI8GyxHufZuT/9RCDAF9nMbZ99tAX9e9fOGvPH32sdEyQfm
rjODCxze1sHXpbPBPW4fDQSrqPaI2cg14soQvXVRf4QxNV7RkF5tlvtKckOoLP9wAPKsyxxpVpqU
pyYxB8f9MzgeMkprqLZtGH+5C5eVsOgtcn+z+CbB8iNJwep/Tfo2aM9DQMt6T/493X3hrxkOkkSG
73IQzN0VC4PALN9LWB8SgtkUdlsw7ZEsnftxdF+ZQw6Twz7BDokIBAEf9nNHv8x0IJnAepdVicGF
8PxtZTQ6dUB2kzAoGDPnmJBr/WinO8iZX0NdAQh2cOryDdL/oD6lEXBB/6UiSs+u5o6XrvhxJ6ib
zoD8tDPOVTv1n2UA4TnSaG5LXRz9mSehm/vdE1S597pO218TKkNbMnApeAFd5pADNVYfXen5hxI2
BYZ2FLlJ7S7co+Vv8I7DDuQEFBHWD2c0p2rszKl/cBLhb0ZgtGufBOJN6XQ0MiwGVq4Hh3joB5wS
NnNkKDeSRHE/XqlqgtJmPU46DHGe1K+5iouLziAECh1Qq/r9xSzFxYsotNRS4S622MHZIqWpnTGp
FPSV/LoTX7eN9SYp7lJVLdua6puBu0cEGyuGJwK+ie+06fKzofopdPYUztNB5dJ/GICLM/nBdqFT
tjlR3fQ0qoAeQZDgqAzMZyAUg1LZsTIPLG5i6/aSh3jv0rIwxMju2Z3zQnxmnFXlRqsiqa9tXhzY
U6ot0etYMhJ15jEPHmZxV13TMl+PHa7OcUB0XyBHzotoNfax/jUBATz1hpVXn5P9ZTPhrFSZXqkN
MMEUU0QctSnel15e7bikEly0enQsDsTexzk6++3ZCRnGlZqluAfvHgzRtzOn3Z1bIS5rJ36zdltz
7gdSmUjnBk/OJDhwqQ5ji1fplO+9WxW7PonmLUu279xF+zgE5J4ufQHxsX2YiR5nP8qPprJprwvi
l7KSRL58zChEmP27ZRycojJHv5mA1vRjdcrjhgxXCmroQIu59lFAWStGSAFwpy0P6mcMsWojqA3W
vVVtoggBeOkVzq5hYzyq0eIrU/WuTQYN9SUB/yq9Z6UQ8elk6Xdp9VpbDJXIjl8FDPrzWM5boLjn
dvIJHLsF5fPE/4hVFWwiB0edlbKdJFx82Qa1oRpezET7Ym0ZwiOm9CEyzeYh9DuM9C4RYkNWvhgL
dqc0RKol9T1fy3zn1Vm3oaOAYwBSctPPbXVZ7PhzChbulyrdgbdetmpCXOs3SJgZKiVgwJpfWrWf
c8nlacYMi18wgCImhHzXBZ3PNlPy6Jq86RBkMYNzKh61mP6iOp+zFJt3xNR/NXWtesuMR5+lpj+V
XPtdme/L28kbqSBi7hpcRXjPdlu/TKV5nkeLRW3wCIagox1iHhpEc78uHHZNpWvt2iH8bFsGs9ME
wqYRJLEQfY/NAPMCPQg7KyaLnWRX3UX9lozBgPO5k8NJOagf6iiixAaB6zbzsB8K7+I5znRKOkTq
JmywW9jy7PcLAuJC5WuB1GLfNP59OYvi3IbRYxva025ZcrUL3fI5QI9xUnJutwTEZqtAzv2hVTYb
edanueiDjfM6W3lx0ghUjiX50AO57KOszYkN7a80zVNGw/Nnt/TdpSlfep1Z7DbMVltxumLFena0
93ssS0onVe0DOIM75WYIRkuztauMRICMhC7LzbYRjZ3VCPYvicd6MvoRPYbK3EGA6zb+rkvC+VTU
IUIWkjuH2mxakRegjRJ06pGigWvC5sRwdcTo39REVpaAKCxpe4eRcz8MKxJlncVhW9tyEzBa2Fj9
gF69CboTLSHpnSb8zAQLvn9+dKJ0Dw7mpS5usrUHpI6bxsmhDFjMhZZlxedL8lxYoUvN5N2Q9/Hp
nx/ugH+7LQncd/p3VTPtHAK2LVld7UZjE+4Hwhc2q2JW8M/fV6QOuLo4DZVh22kcfz9Qj6wK4Qdn
Z0KkUSj2z1NkPFBrNQIZj8dGx+2G1dJQO5MPvzFuue9SExw8bWFiZqUVUva37rYatLVBC4IZqQZ8
u5gbrqHdqbL5LdKra12hvYJTnt1yNzuyx1jS2DG3D8ENYEzRedvm0DSZv3f6HGX27Ufj+vrfP0J7
QwVw7O1xPqSes5xS5LjNWAMkrXB+ByCYecCTCsn4Ha6IoL0NGQacLLYfJ58rZls6saZPTJMD+pJ9
DVJ644vwzeqc53IOL8t0+/8RVdCFGLJ8ZW6Sgm4TeMxGldHFY6ucS6iTcAtEGkaXSDcGBoPqSCAK
aEIQtFSXnG2U3eEo9cVuiTmjBjQHMI4I1sy7R8WwaCVKhLc+mpUlDt+icKqodwQfPrpJBuMs8+fm
5HpE82LQFRYrlZDY245i3FYRvbHhOZ+0D1XQfS5DZlaTa57Yxhwca352PJ5C0M/Oi8fUqzBjTbeD
rbgDQmbalqMs/IPUmbFxpWIPkRT2xyZ8bQcLnLX1l5GKx84/w4Xh/00sOnpWWZh/iZZNHfc7bljj
TOXyYDfFA+SdtZd7jI/YOMxVc6/Z7XAogDKtrK9e5Mcyutmq3OR3yj6BXbUYdtlsXyGPfsdgW46B
LV+NjkEWNrSIn1MPHLZIgn3boGXPDCsP6+RY8k/pNWCw+DwjUfx4VL0VqEeqxlfbAAItspTACv3P
iCY9NpF6SwUc3YH91IrMdVAky4PlKCAcVHdRrp9gXuyLmD1iwOaEERQwYBfic3PQmcdO+EbYKtP0
ICbn3iTLO9Wu3UdfRqKe6Vjm34QG3dr3KAnn5cHzJPKZ8rVSh7ySjx5V0srrwzebiCisnVwhNXfD
UnSneMIQalfj2dT1IdLT++CEb1NiPwdCsPlKNkNO7gdWVe4cRnDHmjgbmSTXoU7+ZA47h8Aid+SC
kuetj9tT1RS8A0rWrZvQveTRe9UGuFK8Jjz4lvy8W5Q6S4lWK4xZADU8lGZU6gkteTGDGczyeC15
zyRAjEhJmkqMh1Zs65IOrQ5g1kAc3CgjzXaObyVxiUzLlMdCe2+RyPfssb1Vi6x2O+kZ0+1VxNOA
NcUe/Z/CZEeAGgmWhIaFKZ9In7ORaH1mnoyAPiB/U6laKXTg+SEcMQA4cfZSjOgSuyZ/CkQVbLvE
Oke+d/TY/PCxR8Vu4MtxQo/3UnCLefa8KVsGL80EKV5x6//3dbP/F/SJ/zde2P+HjArv/6yh1Z2u
v8X/CqO4/Qf/paK1/xX7UQTVy2WjGts+QV//VtH+w5dwUcqGiGQ9L4qRr9b/xQJz/0XF4ARwvhIH
IkRkI+jv/62itfx/+WGAjB+ImMuWNgmT/46MlrHsf5oDYp6f5E/xQvhVEUFkwf+mVecFdAXrm7c6
/hNLkANem7Au8a9Bh6esT+Q+C7J32qpnJmnpYYR7nPVPnsP+uWSsZKfhk+o3HjXmZo48Ai2m5uLV
hEkpiXDMIjNiNs1nQlBPtGTXRTaAGkX32cTVseIYaUe0nR2nxFypPepP7I5VLLFcL9QUOY7NhcOz
n6M3o5r7bFCKFIrpfqmwwc2Fy+7FMMXr63OSpKg/xaTWSeD4bDL9+kYTfnGS5d6OUeZ5ShO4gTot
JD4oJTEK2DfpKgPAR8IHWjvbSXlb13GXD8opd3p0YCMnGsGobk+1cN5c4+1kGL0EqSSNi0F4Wopk
DQ/7oQ77aWNr7KNxeB7y5XG0nWd76s9+7tlAIw1zVOw6hscbx/83D/w3Z9KHIWD05RM84PVMn5Mh
30yoRInZ4uk4sOidwtBa9TKOVrY7XQCBMsKpUXFRuCa6d355DtHrDYOCCFbRtZejv9NTHdyPPrty
NsnezNpNWyRFlXXyFDKwWZeNXa3KcPZOdAfH2Yl+igLdHpfI7yaNz3EHRzss8eF02WUpMt6w6xKg
FaCHzZOR0JDcfKvvTqXB3mDJK8L4KedNA59EyivrlhVQJWM6ZpbJulerkgkfwp3sCNlOHZVLknRO
zeLziLYtkZ36FsLXQLFaAo3azDMROvMdPErDytDCQ41PCJgcznUabbvK+w06FtJ48JFV/UvkRN9O
5D7AjhXb0pt/+rnWq6o2eFl6/gQPmSLZLlP6NyytE+lLzKNYQfQXERLcL/JPDClIqrmm0hkjcVhG
gFEzcl10+cGV1BM40ZR3xcLITTNBo3JHHq33iRp58TUKaJ+Z1cAKK02H146nvZecUpeBNl/litGI
/VNJ9Spy+XtAPlrPxCchkWAxkQGvizU5Yi5S0AnVFyPr+ASR6n12l2SXMRzXc3iUzKmWSIDGcMjL
6bPnBVxxPfvIkKzhKkTQH6PlbrIqdcxCpi5WlNz5Y/y7QBSQM02N3WgmCswlLPIrkS6Nlj+94cOp
0YhCZzYRO9PQY0xnis+kYEEgigchw2FvWTnhHtsmseytSS370FfpVeblY1f4FDs9s/ZYJV9dXiA3
oedkdNt/p/1yzaX9BDjQhmdf/5QDPa9UywvbhHbT3CScSLQ/ZMMuoop7Ej/ofJhoTWZbVcNKpHOz
jkyPzR+JPkrHtFu7rMW27Fx/MW3gzu8GzJ7E+FgSNUwr0LSEGbKgtPqlIs4BKh8K5+6u14yp4Il+
qMJ6lD+xgTAvS80DMnDhlv8P9s5kt3IkzdKv0sg9E8bJSDYqa6E7D7pXs0vaEHJ3yYzzPD59fVQk
kJEBVAG17t4E0t2VuiONZuc/5zu1tK6ZjeW5c6Jd7LYnoew3+kxr3+2eA6VB22AvSwrJNTkdpmUw
ExvsbuLFMsDliYmwGNWPJgqiTWE8srNuMZNI4LGJs8tl3FzbfuWV0YS+5dhb3wLAUrrhozlcosw2
b8quJuyNXG5lalXZr21DYwfszBWZi25bRh4EmhxqWFOcfOFhq5K3XlSfKh+6PLWMoN+QNulp3+Ce
Yf2gW2lF05R5lC6yVtGwvYusghWgLJ/7sBg2NceBMkaJdToPPErVsfeaOXYN1I6vVL+J8KKzB9H5
tqvtY5NiRNXjqRJuT6sZUTFPwfqLe7F3UuablrrF9tBtaXP6itFhA0Uk1x3za5onx8g2L8EcDbuu
6INVB79KhcFLQM+6YYu7ZFa7oE4/UZ4/w7yHYRCmPzoneY+m5izr5k6bOdejhcvPiTndjQvQJ/Gh
HflsgXi1b84U0zXiMkxRNWQXRIJbe8pfG984TMDGPN6CG2OH5YrGi1k+UWq7bUX1pTMDnoPEGWkf
ddb5u6Ji5W1i/34U5mLWYD7rfMSZwvaEXQ/HmbzgCENHOy0TUQvrwo0Y0x0j9HNuYztsiqcOgOde
NwA1RmZiDQdUo8IXQg8kCz4egdA9poa4xEvVYZ9FrxkOJqZLIGNs+32U5j0rzaG1FAIWtcoDH2nl
Osaly7Rc9RkcpzRlEmSGHwx5ZSVebVG/6Aoyhs2+uRrDj2jCzVuWbgK0CLdoItHZbecc9f37qGkG
jqd+WlcFHKi6s/aB9WXh/r4h66M4kJQ7tNUck8VNPHvuakbjo9/7wdPGdaosPCntwCCZngHDIzYr
IwZhXYi8kTY/pOM9WbSn7V0XxmdJdC1M+DKZ1NSLZ5Vw1TJhWOWhk+0d/1AaZvAsgivlWx7fvRmh
Z7ZOWDURil0XJ6e5NQTXzkwFoWfSJdGjcqcY4VcF1JgwfsfrDWyPAneuG/wKtkDgRz54rERu7Rni
UhY0UxjN6Hw8mIhGjre2ZZ7eZbrfmEMu7xWNjLgu1dqcvHadm/mPebL9s+Umxh53M1SP2cFOjYe0
apv8XBRMnywV4s7201eZfgw62eReA4ak8harz3QxshmnFq71NMYXRnfqfSFy6JXjRIC93JkBuLg2
5+Mzh3AvehgNkzWtp0Q9BYR11oZ4bkcGaFjdr4mcyD5DdBH+tZh6ui0dYBKN8TL4PugYRny4xV7d
KnrN3ei3O3H3cIzpy4jkTZTj44MDlem5XyU6wsmi/L2Y9VePY/EGibxbJVz2O8vPrd2oXo00Ioee
fAp2Gxar7S2Gx9eJA9JuGsDx12wvZgWLAxFmx7tzCjqDtFFaCeyHeDsCfH3npjOwGlXhPZvW2yAt
D0UQciKjPwr/8k7lameL7slCcZuMjgYrSwzr1KXG3B2KXSJliNTIx2kO4Cb4niHQkv1twuIuyPmi
tUwSzSXy71fb2YwfR76mU96cs2h8cRFe7+Z935kgJGo/eTQdnjjuCCIKwttlWE1wyEy3XcZNc9YN
vtzioDkXUf6dihMgmsLWm5ld7aFTExmmOluHmsFZPHIGdeLokASYGhMCZdEonsPFVGJHCXC1YjrV
nLb72s02TpJ90P16F5v4W+Kxarl9M7KkfjMjH0IWYU4cPhkIQrbjzNvA1u+drk+RMrElzYtFXAdv
S6BgxLIVVHyco1nsBpgxk9kto22qjRK/3o2MwvNo8cYXAwfLGaMgelcXjdWpbSLy2BRyDvnIjCiy
qftgA+U6CqZyr8EuuOJTJEQeUmwGBIvZtxEm4D1ZS2Un7E252ZJG6daxZ7Zrtw6NWyvFlOr7WDUK
+96NG7yrDji0kjGLsNpHoyAcZZdcUBZOJ6Yp7VhtjNo/iTnl5lNyH0laxeQgtrkxEa8YzZI7u9n8
6m2gj6oipGM9c+b+VBbDCDPunkqbWX1SPxJReoyb4pm6UnPLa8CY7+GeKKpya7KvMUe5jtl0r2mb
QJ+sIqis2a7tZLGSlr/coPpzZIVHutnDckjfLJMbhFv6DAjq/lTYzdZgPTvHU1DzSlS1M2T3m2XI
2PZV+0v30YnfstFz3FyUkxAjSEuAIvmiQykIjUz5lVBvFAUygeqss7UUAWuVUR/T2TWW8vqOOVq+
ZaMds5fS20Y42QadFWhH8YPmaRoHRIpS45jn0vEfndi/HdwBfhxnDeyAEpNhCxLBFhQedz9ZIi4T
SQViSUtMJnBg3RhrcxhfM7Dwu8bDLW65jAGMfms7LH2+DO6HIn1HkL2EJpOcSEqW2VBfw/Rn5xKd
r4l9mNZE7dVRQaoPAvJcQCxk8Gb01bhBf3qw/IzqzRAnnj1DIeGYFLGdWrUJ7hSn766KNA1gEz3t
nNm/aaPxMferD78zyzWxSl30TwpVAm9SumIlv7NrJwMs1nhssJrfQcuoFJ+b3I5W/9nF44dRDPZp
EN6p6C3rrkYfE73OgCkVwPczbyOpkF25qTpZMqx58YyZRN6igs3+UyI6PkcJ82T+Mu0u3Kq5PRWZ
h83DM/aFkZHS8k1/zf1j3aadtW1s+G4dtn+IgwlYA4O8WIEHcyXr6BmbIxNe4kJhrK9Jx0fTexD4
JryPXDCNZW5SxipwZYe9wMG4rUJoJyVLfl88EI5hLupEdKzM+YXh+IjFxWa2jNU7n/Az1/MmlQsj
lZrSG2eOL3UBBmQqkXV95MuxgTQ7k/0a++ww1cY9pqljanKXLiMaPuQDE81mU07eU+VyjQ0uG4Sk
4io1EsgOfY6XQnvOJ9NoBzWPKutId8Q9zHMcPw9dBEzCdV4Mu/J4gbg1A7Itc1lHF4NFzO3S+2EK
uUxbfDQkFJm8u6x7HbUciQPmM64OJY7z9Rw5hyEm9zJ13cgX1Dylcf/oxtW70zeP4zBfta1xqZoM
1SckVL7qa9OFuCX68DC30jq1cX3wTYcKGF1iWDCjV7852b3gTCrDYTMW/h2mXkqlYnEnPP/oOJIs
xyI3BtNRdqioOJT8Te0VNjptcKfh+lWoW57PYKXh7jhbSMAypd8KX4/dviqJZT1IWZT8ACAPriYL
281+EutBDQedjnfJ0N95uqdQHNuKVYPhtb4ywJUdzAsubKpxD0bG7KIF3YQ3x8Q8Yh/GSm39ia9i
7rZX1+I6nNC/KfjAnJFGq+9HL9nLdSJ6LuPot6HgGMbZAB2yZ3SNF9WyvXuVgl8x+kNZ9beGAP2e
ZO4+7bEG9MKitMdzaPuzfiUYK9joHpOyYKcoiSySdWJ7CJQnBendVP0zdkTCOU51Kxr/Iwq1tZXZ
q3C1XsfPFbOYTR9HVzPttrGLnMMwY+T6tAHjjDPIuLrHK0VXD775g1/JX+x7mLPkb0XQ9NvCpZ6B
yR7zys7EVTQH4jgHjG7mMMJIy8qgne7GyuTO1MRYumi7cEFi+YAv+2w63L6XxCgEhlM6YCG0a7hx
g51vSAlxqitrSgiT6rX14vs48xB5s1t7ri+VBUdJx5e4Te6bmI2hg/WkzzoMRXixCvPa1PG9Eyf5
yozS96qtf7vss8WHFFhXSyUf1CxJPYxPWW6f1fTbjoPfNNzj4RzVphmrnyFWTQPri+jnr3SYrmpJ
XvVknx1/uJIuX1V18pSl5nkgdBE4zXPZpq+DhJFeJ/dpLb7qtvkdwX/xQrHvBS6D79+g35vEevXt
GaCh3NYFOUCjpggpxji4TPlwBCBcq7Wo1CVqlgL5+Veb+eMqdvUlF+52eQqGCDZDEi/exndz4pzs
5BUW5MfGiN/xrm2nGFwxrvwmQaoqi2jTyPhOLUndsOBMY2av7hIQbnFZecbFM8aniGZP7rnOY967
972bXkpXv/fJBHAlxmEelohGJthAVZ76gX5Blwe1pcLS3cH073dJ099lM1zuZHoyWHx1/eVgOPDJ
IPQlXfE9SkrZv7vUIy8D4JUO3Aer6p+WV2GEDKeXzV1TYi6rQXK12X0WAXJrRjq40Vek/1LNvxyO
2+3YPActzqUs5VK1+SisJLnOVnFQOSQIdobvjiIdR95D+vq+SyFBmeojTOSmn3lbjcZ9WF5v3Rg3
ThhdMsKJHIHtG9YFNk9lAAIi2kp1Vu5YcmO0+IxEsmeiDYiSPcXNRC84ahYXHI3S2hDXrjV+VO7L
lBICkM2i7XA7GxSLWuV+ECRZyH8kAnv84/jDryNXltZg1XWDq8MhqNuYL8oy4OgLC6xV5tw0o31P
GEriSy9f0pQPyiOQ3zTylIjsp6U1ZpjogiMDDqfqmaxCaLLGczP1P7FHsC8bWsoJp/okWJK7tMU0
hNN43YZgnY2Tk2WXKkjv+6D5nQV8wWy/xMGFm28eWd09fHmWz85UlwOOI1yLy0hNlMmIqbci1MMV
YY9fHM+2ydg/OXmDxzU6zh+T5M5sdfO1iPA4C/E1FvmvpCC8Q0RdrgcLSKIawMk5vNGVHT+28Xyp
MEgEAe9ET1qfJR4Y0YDSFyIUV9wtCj2YtAzoo1MwhHfTj0Dmn8vH5wX5z8Hm3S4TdXSCYFc37AS8
sXpv0SDDiHy2p9oXzHEUFpTihx1zXEUdmMvxyleR+FtvPQxWuJ/7+dyWs0kJavIeEq5qXRd4ef3K
2jSO8BvbEisRxpMJB1zV+d47nXQqwRluWlcutRgphefZdbtMYGKwMh6wsunyzORNOg5fZTqyMRsF
p/380Xen18qJH8iAyhu3Ksqd1UB6NwySy0gwqwrrNMoQG6CylC9Vb+NhkuOPyY3LPxpk/1dEk/8X
JzMSwtJ/TzfZRT+79t8GM8vP/zGYcewFVCKkt7QVWX4gGHv8MZhxTPgmNrNKmEH/HMhANfGE9O3A
xZrGvEbwa/45jzHF3wMRBGbg2b5Hdtj+X1WB/3sdswfMhBp0mCaMeEwHSwJzpD/3m5gZhzHPsAka
G/LizqIgVMX/KCSJPT1crMLd/+kNufuDiPR/8g6WUZS3zT/+9hc01D8fEZAKdzjILAhk//6INgAM
fMds8QI7pjyhGSwclmwNZBd/ceCP1gabbdOjAhWGhTAwZ89ZBXnEQGIlkfxgE9VkVysvzTwSeTan
3aym7RRM4Qql6cuIOfv9z095eUZ/vJDD73/8bXnGnnACOwCBsrT8eX+ZV2G1raqkGHg2gXexM2jP
Aag4nsH//DCB89cHcngoYbt8rpYZEPr4CzWrQdbQVs34CasNRSpmNGzkrguN59bBGCkMQR5GDS6m
qXjdFuesYds1kLiGNVccOwM3sYVdvLXT34ZkOObq8MjcnUXLQARE/eO0NgXJKhDF1Zi4XRe6yPZh
tnNyRO92oMPXpSQY/7ORAY72qq5i/n3v1kuAvc/o6rUhQ9MJtvKCNoChiYhgFPRRGAXs4/jN0rTO
5jYB5AJJ38o5i0Q4NLA2Qp0a8mo35+wFC2bbt6oySOsU0Q6vLIYVnTRkXWI4frW5SQLzlOuSrgpZ
vU8ZkL82MbjZJkgsMcL/Cgv/j6i2aaCbiy1GCOjXZcuv89HaE3GI58k/CiEPc51B+bUCH6P7ctKG
YPPLkNm6CpP7rOW1BP30LvGrXd0CVkhtnYOCMIYOh7vObA3UZAqv4kBgulFVz7kaAojyZ2whRrBp
NAN/HPqLqk4oLueQQPIovLf69KVr8/d2ArKG6z2+ET6zOh1LBloZUw91lze1Oji+e4osZw+XQK3j
TFMuUv3KLB1vZTTE6xFmCgMMwAlVAp5RMA6h2JMqm7Rcc5KzNgUhNvw9REKHrGEg4pYgiFDjK4P9
Qufat7VO7hAqjE0z2S8qdD8CM/2NlyheORnGzCo/Bonh7juHdpu5cEC2NPlBRt6tod0H34p3RiaM
N10Z+9ib7V2srQjBdTJ3idH6fBmZ4uD7cI3SuG/wp1yVRki020S9pRA8CDGRDGsmy3hVDIp60w9f
Us6VJ7aJaILLj+H3hJ2UNO45T3vxrCe9KcDfvEWZAhdtk7z+/r/HafAuZERmBa7YXZJ3P7//Ou06
2BdNPe6/H1OqcY3HobtFC5j4rhAdW4Z8chwok5jwRS1hO9w7v6fIHzfBPOWrsiWoKN1LkbF9CXzW
mGoen1q3+mGHaoPDHe+1YUFgkle3z5yNM2Oarlygr9P8kq6zzFA74vLcs5nXsj4tymjkn3DDLah2
ljXN22sF8ZdKkACK7JGpt30jG2SwKl/4AYt21bOdngvxYi2rGu/gts7Vma01hmojYpDkctLHVB9p
fs6HJcDS0K9MMlcxDxdUhKvdTH25EA7AZNhr30zY7dY4HmvgTHxbQJgz4PpSGbDfadmnyXVXa+qz
J9M+Ji6D3Raiy01kNhQp1rRI5PCJorp395PEYybGbTQn400CBYAFpUIoWN6ttnQeXbZmq+/FmBTV
R5Ez1eh4D628LbeuPxRro3L2nYvAPIJh5EkWrgMXMvNevt/rJJKXjqE2QNwM/TP6Wl5vYB5cFFT2
g7xlqtVk6bx7u+h5bJbb74ceCt6JJOVE3tPxZ/oambMOrkwiAQzX1M40KCQEstCsXPbuy2+tIQGt
gpan9P33cfuzbI3P72f7x1+U2M3zBmUWSQLH9jr3u68q9y4GqeLY5PXiVCWoI6YXJ4EMYnaXavnc
i9n9vkE25Wjtl+PP9/tWj2fedooq7eWJavGSeuaVdOVzOYqDD99o/f1hFMDSy/CdV/NTuZ2/htTj
rWWQQwUJjcM8GpwZwuzXiGCxXMpny54wAFd8eUuXEI8U+A6G2l+X+NTQd3ogMOE48Efjg+WH77Lk
PpgvH1bqlOU2iPlOMJDiH3R78icEFH/5ytsSxkunt5bpvSeq/kiMgjyokTMXgQvRSnSyyGGM5QxR
wWqf3YmUs06oeVCr8241dswVCcn7QQw+FRPFgASTxNRzhX27SzAs3RRcLXCBnjCfLffPlHfE9ccf
MrHuB8KbWclvh0KuY2ePKZBIkHz4HkkB9gLEn9X33micVRldF+8g9+1zXzN4M9Jz4ZnunmiFtzZn
vHKY5t6GzO/3uT8tln/oyIYJtmw69yoNdprhNSt6upJmw8tZkuN4UldkAOhcMPctI50Nib1+XUTB
Y1JW7laVLoiwotyONe/C91uMpPSbNOvBqQkr9BkpNPK7KG/9m0IEiKOmQojiq6vrubppO5rLB2sd
una/G8ddZ/A1UwMjjvDZCQtOPY3/kyAwCZkiOqvFwOUxCGZAa0CFQI6eU+PwvZCEktUE2fi1MCDC
Bfrh+7d8P5yOxUMk2wdnWQHahI4Ak68C080o8oFO0955hNPCFZngAjRc8aLJeiallEsUI9p1Sfcz
T57LvN8mekLGHInxMFXcmWUDhDGnp6OogrPhQCiu9WdcljBSzYzJ0UgPrsqPTtLRDhhxl2n1w/ff
dl20dgohNkTMQOWlvtoK7zWdWU0wBBRjRdBF85mrkib32IC/zjJZKLFYZqd7jNfkiFzWH4AV26HE
qMe8Yj2KQa2TdniPa/HWNwFjsZR33oj7fabIelaCwHGGurF3sPyvSsVIIOYTJdOd3jWq+5UoTWuJ
Cy9JiHeZGOrRGOYDmcfiKGJwH+hu9nZErqovWP+2RWtWeFTotaubljbdkq2qGpiyFpZ1bpXFrSG3
fKTRYCu5+lekHggs2zMzlK6PdqE3Yd7B19ixEmL7A2tJI9+1bNLg3L0PYfFDCJqzmAnvGMlvBpsf
MIXTrVknWCynSuy+I6GA965mAhrE184x05+OLPhWUDzDBotgvYfKZ7CBuhnt6oh7j3tA0z9Iu63P
Q4an2ksHFhFsAWWIn9Be3vXvhctbrjOIfb/GwLlbFmIr5g6ZLMvgXNLNEpEUCz5CwgELXMU+TGk9
3BBrXqQQ02A6zRJvkpIhDQ+WP2p3RS2jTT9Oy0LPy7e0wbTaYoKHAXhTlo11rLQ6kGZajaZV3Wai
gSPcETbI4AN8/7pY5K/m7FDs3lnBuqIwzuY+yXPfTANPy4CEjF/c3X7flid0jirg7Q06aw0Cirad
xHrApUu5QhqZOwwHwyO0vfE8hdmHNzvDo9NQR2ebIdAINqMOooCu3+aGJh+j1/D2ozRiT9kD17dH
GsTxt54zq/nBIn5u+8o9tE1/yBVAstytYWDhlcUZazPpK26DuX0zu2IH72noQWCpWn+NYUUN0jg+
V9pzd7IdmI0tMS3Aj5P7lElhEtVAVHWnEsECImAZ/ibySrtP9bv1reSUahAInm2sgnkH0cw71pnN
PZ8xYkVwTgpWaYQz/oPqSZDmEfyLICZIt43Z6SefJC23AvawAZaZbWfYKD0SRT0x10Hi6W0s7Z0I
zfxcPblsfsFsKbwMaCTGnCDWCN871dFtS+RxI1R40XX5ZvgQKyyPOwMmwVW/ZBy0ZVNU1PFtDpx8
Td6VLiUWrkOyOPNasEjFND2EqF+ascOwuKNCRZNLWqRH223bNbwL4nu6f2otQdT1c3aH7JT1fHU1
/ZHsvaBSYDGlAgILCO4cAgRz+hh00SuvtF8r0UJ3ZhkJB0jy3nAS4fxshU23SQYs2q0ss72V18Ml
5Fay8QusY6a/kimh0Tzq9Zb61Xnnx4CrBm4LLkCavC6OslnWG7VgJQXthYOXUuw0U6JARIJYoV9h
KZRbOQbvXWsOB9yWSNodbzxWfcwVu65uAE73jFA8a+Z0oMfhYZhYVglCQ3K0SvOGSE4OkJCNT++N
+eIrJHgZVeOaPNV8SFvH3ZoSe07Gd7QRdvRG9OuH30Vfo114VwfVa8D9EPYCqLPDkcrr0K7sAvqm
aUdLw2H71Uf6IZcJqpRFjrOxPweVd3emHh6N2COcBbDSrHEiTbNU66qxSWcvHkTyWt5e5cTsDe81
WLb1lo2JbBlxPbLgQStbprRito/pHB/mZLIuyzg5mrsLmxS57iVD1bDbjX4YnEKslmvTastNVXGC
CNwSI7457Z0sG8+RaiRlEQUXYJbexgnOybj6FQOfIeIZ3PdFF9wGu7DW0N4GJDA2XNvAY27PxJZC
OtLHLI40wxCeWuaQe89MXtQ8GLuKwYHMEvYNWJ036NWU1qjA2LuIDARu2oOoDH3MmvBFTol/EFmV
3w05OP3cQwUNaWDElLruzfjNCI3sZEI1XfkhQSprGK5OOWD6bMfDGBvdtV/+Yxd+cJTjeBmSCSxX
1ViclUJ5wtG/DufGo3u67JEYW7ZVfXesliSFP4h6NRoe09iOgdxsJYfGTqmxZmQVoTIfpQ9AwEwN
zgHK64t9PvZHd5gKujgCuEEdfq9clOYpaKA/DviGxjSkqMh28Z+r29o1aV+gb6efjMsAjwCN8cVW
XISort16ToBJmOM6d/qz1uGWq9zfx0o9lEExQcGazWs6BtGlar5ww1ET2nwxQmWCXIXbIiVfNiMt
dxgQOC0EHAZ67jtB/vythvx/gfFpKj//8bdfBYH4enr4VJA8/+zkdnBL//cC4yr6AHz9mbdROy3i
1PLTf8iLlvN3ITiu+r6DUuWYy7/8IS+aCI/Ii6zKmLhtV7j/8n1b/JMrbEkJtWlZruv/C57s/Z27
IINtKbBpS1vwT//5H7/G/6s+i3+qfM1f/vxn1U/iVfqLioby6XjClfxW37X/cIX/if5dzLJzKlMe
TbM9BSOLyhx3x8wynobBf+md6a7w3U/hTCfOxJu6qW5DxrM7TZFB29UX+Au7IE6s62RwqAvrZP2a
hODkdEZpgpGG56r4ITvRHePh2Hmw5EZApuDt81vPoL6ISMchKc1ib9cpVaASG1odYmWGpJmz8q4i
i2hQGPavRh5sSumB2JiuwMPcNemgGxd379aqM/bHDVZxR0t+c3EG7C1Pmqobp+0jwCZs97LBObJG
7JHyaMjNmMmV4d7TTbYBT9ttkOdZtlbQnuctEaaFusI5QJl4EKKZ0VDEaiBz76FpMGuTqz2KzNy1
ve3tePLw8/R8NKv4gmVUbGpW6ExP5AYzXHbxgjPpHOpEloldwsZ1zJiYAVph3MLx6xAZlGschhzt
ZgC/2Lr6twfLemWb5c5PhtNQzr9H2S0zf8rSyp+9w5wJm/ywdgv3JZvmn2mPITq999P4F0FtHGA2
b/Ns2FerGBegRPKQhtNmNqF8jcvsC9dnmKKghbhqfDd9Zz72qAtECgLed/miwDjRp7a8gx9E3Fj8
E7PzedW52CyVmzzFTMo1Qf2bEfsh7lmYB8t7RD/2ruVOUxYEiZRhfOSxs84869QFZXXyZdQTzdYP
UZN+KRp9g8lg2xd9uWFIzeHYEr6qzPt64nxW+L239UbIDpIqZ6+95k4HNMpIfxJVjTeORWIwZ4Dc
SvQrWKiIJNynu2nJay4MAZkdMSKcsgnNtJkmuVUddqsFVoi79HU0x5d2mF7mQYFfxOMTj90Pe0AL
abL8kzjYsxsVFIm2w0mPyRYxHYuIQCkcYg5xCUkA8sQ3A+OyTdrYB9CXDMe47C4W9+owSZ4jSQmx
C3CJpMQubBKShel48JzM3Q6+hzdt9Ou97Psrk8AXn+zPoTcCTKu62lYxzVOAUVus0Cuv4Y0uom2j
CS75snxp4RolBQNi1WDOqQPKKIvhvQjY/iNnnjutFuWVZ2vL59qOv0jYYypbyNJ9VL3zMfxMHShT
Vuy9TqPad8n4WvWUzqWR8dIwWdi2MdvYRht8kM0QrJ1R/h7L+VJWEpbT7D4wPbn6KdiuksMWHDi3
m2FWdt6nLmdmwAE7gnJhRObc+nLbXmnyyVqCrh3FGqNHt5qKi1dTU+hkV6VQ0p0QJLEnf6bavM1L
7zFL2oIrrr46HsfEJvtUqTsgY5yQX68xZjsyd4+csUG+QAtU7FmbPLpEtgW369QqHI6Q9d5Lx6Gr
r83uujb4SPz+VM/Fte4VxMy6Otpe/ozMeR2ngIkc1yP5CixFoz7XaH24IptrV8WHYLQK4JnybfC2
1TgA780yLIcJjlAQWzEVa3ZgY3jEMLYJ+FQHVdRHyfRiNVvxg1fiFrGs9Pb7D7l/aytrFZmR3CwP
3YIgvokHRDFylb+mdgmaBJgXlsl7kWmQtdWr4RVXPn8VWLcFlHOkUvYl1qEx2nvphZi33fJnS+CZ
aYVFKRDQrgTzhRvj8Emoig01Jrsp3OMoxvWyRuHYkAf79AVfehI12CU1ltmY2XmU7YXNM9BDX+10
szywOBat+zmY4i62yWhOff+YieoKUeuZsxDVesu+2NasZ+T/L0JVxyk0domFnpwGBPjrifFqWDxN
vgdbpmGvWTWEecU5jcnNzsG8bnv9mQ3GE7p6gF+RpDnJ696GexuKk/o525IuRM0owlZcR+ABbmrz
VzFRCBtS3+c0PnOxJP0i1oOtqsjJHzHbTi0cvI73xrlam3AJqgJHUls9FMK+UOND7bok9L4bvHpB
iHvT2quv7ax+BSa9noU/n1F/k5VryTuvFCnwt6wmsn2BcnYrg1M1YtMqATd70XtcdO9VTs4F90/H
+ZXjRpdAAe8Cp+IAmz1UYn6tovIYu0CLW/RTkdDdTUQ5K4cTlq0GtJS/M2Om28mV5xbya0lpSPs8
xtDgBwNmlztSkFMn0TOHlMWcTeYmNbYcfu9hGz/HGIFWY2M/Dh5kBhDk09nVZDBLj5ivKg95VFgg
l9SxVygpXvcScLW4MX1Ztr+ZMCI5fXvOY0rfRhTJG9/Vrz0nn1VoWS+4ou/mYXguBNnYkA40AP/n
OJxWkzvAvrJe8t5YN1Z0isLHmFvCzilKus5ZQj3H39f+p6nRayXYCCKQi00ZQwVHS89jLpgFPhQa
UppqdA3MRQxnhuS5GUhOpAomeq6heiIaPQMZw2Mcv2H/oZxF7uvBu+KXxEfQ28+j64Ea6HKQX/Sp
DXBVGG3dulb0Q2t1AZy6LgUGuDCwN63/mQ9+j5GbiJYaMd5ZZXUwZnj1sS3ZlqwiLwhp3U6t96yQ
xtaDjsaC27UUTmdGx6ntuRu8cNsPQPfNoQzORY77ETm7eu3XseLDjK3evNpK7HX0gO2TPqNOzCAS
RsyjMJ9uOnOC+mdo8zhnrjiOKrbIZ7UPHgjaUy3SnyCYuakGBEJDJ3COc+kyFPDIKSvus1mmHYii
0PX92flhGjgnpB38snOGh7KeFr4QVaD1gr0CiL8KAfG4hokUULaPWZ73NYy+oF/FHtWlHW2AFgb1
CdhypVrI0pOAiUwXohJnwma8ULYyRbWNqg6Lrqs3sfGeZeB/XQMkQDsm/ckt8ycW4ghYSLghKyD2
xGOrdW9MdwOSPgHuYdsHNO+VBI3rAgjDs+XSroj4R5+djRYL3YBBYLS3oPFJsNb7lgMdaVxCKOwn
gIOWOLgL5gbz8GUXzWcTQJ2zlgqDegZBl6rntBUPfsMFn1bMbhrIEGER0cKtRurnhv9i6byaGme2
KPqLVKWs1qtzxhibMC8qZgDl1K386+8S332h8DAE21J3n3P2Xjs52Hl0cyt8CgFhFoupq8tVVU3T
JoqNYBkZKKlkRT4mERGQQ1aGlb0E/S2CSLHT20dXTfqyFOQ6u7j9idl4dxIkmJwU6WbrGkGtfKve
W+vczZ2tkbJ/lAX3qOcFVInUdIguzQbHXttGtxasPzccuhT9JmmYsGb6kEFj4LYC5wUl5iKTJEZG
bMmNi/FikutZH1w1F1MG2SYsq3+VwOWbpyfmwiChg/38zpXDJ86AN8mrzpuMsMSs93EN2yLz5S70
MPvoxbM9TveATS/GXGfn1qWm/WIGBqBt0CUmzMI5dOJF9USAZPGfKrS+dYD1xnC1rZ7OMct8laOL
b+n1xBmpueiV29lsZVhHM8neuswEjVn8HSfn2EfGNeBv1ctmV/rhNa6zZ5eQo3ik3x137g0X/Z+W
SdCpiW+j2Xz5OWNGGfUPWaKbrGX7dyJiu/Hu9ETnQyA4YF9/bugs7aYJW45EppoE3gl+7Bov/SEd
LTo2ldj9vgENEJimGgkXIa+D3kOqp9+a32iLHK1h4XMbZRr9JRNMaISifQXjkoWSUmYhp7lUcfQA
r5X2cKRQRDnTs2MCsabvxDS//9FUZJARShy9j+WCvqDh5W9+YHgrzUOn5RnFzTCuiRN+DT5kz+IH
9H2xkX1y9uvwq4tQpLYDKkw2MvJ+K46UQWUD401sglm85Apq453kkJMeThdO08UuCj0GR8lfyw5L
RspJu45dZ5uT6rDUMEJsgmYMVhw7UifyTpVVmlyUE/nnxnU0EWtXDp0Nj2FI1n13TAv2VuOQpmdG
O8EUhDKLNd3xJ/qV2VPcpDh84+MYuJu0Sda1ne7dQRkH6J1vxYC8zGCaGQXqpbbdi+bi09ByNoOo
bwFT+t09nth9WwOgeCEgMztv9UTJxb2dwEmIDqnUN6KpLzPOCphYCvUjxE3fRe46TsotypK9JZn4
GFH3Opnqbvn9Vx+aB+Ha16HA/8euwx8132lzDThLvNLpMYRITGkKaWOzl334bYhXt2PE7tdyFvLj
zZvqHe/vtJKYdAemPUnyFRphyY3kkSecZoem8m+dtL5qld+HMDtENXTigfFS+hp0098xngi8pZih
BP3bxTQZ22ACRhomR3j0C41O66JoOKj4ifmJymvJRfZugjK0UwGZjR2c+f9sax4/ioglItSNnxrY
GaIBjr5lwpAD/JNWUcKSUXZgkAr1A7FAPt2rtPi2JlHuDN/f6Mht5NC3a+xZe4R5Zl7GqzqNb77f
XcvAQETdhUunk6exzWFGzaNjdWhdhlVDZx1C+guMH9JoZYrmnviQYm2fLcnnZBPOqQYNLlK68MQj
QwvS3A98L3ttYKko5LKr9Xm3bn/QJ1xwNTEJ7eWT2zCLGNVRxfpbXyJhi7V4w0LMkXeaDp4bfad6
eQ4xs+Z96i2i2m1RMPebNnds8pb6l68mAtuSerLa+tktpTFBEjY7IMYN+B7mUyd14pTZ6BdTNB5i
f7xZDdbT0mHgIB56e5lsfef59p+siL+TAXnoqFwajzlupyxs3lM1UJC01tEZPbIstLmvTmKtGnfS
91+rOAOgYWBN8NRBNdabA0CMN2KBmUlPmJFOenqzWusTE2nEgwiGC6MI3H2KBva8mkFMH1JBzAvZ
Dl4uv1BN3597w/geCrKgcGk7SV8eOcEc1WSF6zocQU+4wcCIjmUBhvXFjci/yYqBkSQUOZn0946T
1q5I4lNpSmvNvjOrBPRbL71sW1fJSzTAf8LhRREy1uBsHNC6mfNRTfUlnby7UWrzylZvaC6/iDIx
CBbmshDusy2An6vcp+mYlcsyGJ6KKM83kXDOWKUUfgn9pMn6Axkk9fWwTtGKViLDyYrImmiPmvBt
qjrkNoSOW8NtMNvj4BgMEXqDrcusNp1lbkTRDpeps97HMTgp1NlM5IoX5GSoWIf+b2aZu95sHZbc
4E9TJ8yiOoND6DSQV9wt4eCMh0DU5C4avXso+uFQWf0co0HrVgYb3yyu9kQlB91/ZMYD6Utwv/k/
9Fm+tMxI2M7v2pR9ldH0inAHw3K1qdvJ2DD+BtcL1huioLHoqNaCoh6xRALKY10lR7M36u/Z10kP
luqYgyEBqe50dadZBmphFfaYMoPNNqHOmhD/WGPxO2CNtUxzkZrgipk/ApI65ZyXTwW4AWInmi/d
BNfZGhZqkIkJhArahUNOysr26m5jJsbLVObDqvXcH8vdh+DqDxEke84ZG4asNQc7mGkFHZQ8uxuq
BMvOk3LKb4lCDdMnU9kYJ0BVs53IloItlNswm7ydlES1oCI60G5ISvQ+idt92KZ4yzxaRmVAQFiB
cV70NPawlgdbl4EpwhIQqFKLqF6YSbC6hP4dDmoSBx9mZQ27rqgZrGqrrGcGoxfgcnWSa8ZEWyQW
YfVUfZ+4pFaNKdv5sLnVyPqAeIpvcSbJmI76KCMCpXNP3/R4wkct/Rm9sNvp2Fnt4pWah4Iy9GJ6
j9R7sj1kecNqmD2ioSGZKmBLpiES1owBDbNaZ6YOiWny3rvEDg6opB5+3sxtDhMgKL5yzb+MNL5z
DapkPb2VJBGkxVvM8gFb0qUwx2aXW9q3g20HI9+sBQMgBZKyhSqpjGwL0+wnkUiYOZkFayvBpz7Y
0ZFEnJNRcHlNA14LgKl2CI5ROcMtiXwdvQFqyRg9c2G8JIDdfQ0vqGaVf9RrhRUEguEgcQyZwHsN
j4P4SNsi6VeWQpGAdRMYQmH/TcPifWwMUtgdbMUBWJtl44GFYoMFl4f63Tdzsm57/HFJ1t9EN5HD
1XfOwo7bt14F+9lPQfBeB3Cp/rHV8NBxLi9+p/VhxWFY18+6lZ/M2fVjp1++fvPol1RgSYPef6qT
vt+6LN1uhsq0kfGiyd0JG1RxGTux6n2ao5y1DkBkP3qmGFRM06o2p1NmOW++Tdab6RIbZPnf9Kc+
wPFwGMmgcE7mlC+BH5+1lLss0bVqi82UCjGoDriGbmOVfIvk3WNite1LNk+r7ilj0qdSw1fcAEIk
5W+fosJeRZH5boYVIEf/oVq5ZD295yNGghrdC3pCJ65fKpMsS7EbR+MPBcSPb5HAXcf+rtDdJ9lG
TwTDPOk/gBazQ8z4GtaaIM83/PGRo1C6qrnvmaOiSv8SBfcHIdE15dp1e/gBrpttG1MbSUYd321W
a/Qi4/MoOb8jQoOjHv+UBpZd8mUsgEuwYTO58/1YrOIh+GcivNeYEDIgLNewjp7xkO7j1o9OWuUu
o8i45N4E/Fjor4SuXEpO1aGPS2fwc/LGpls864Aa1b5T6swgMHkYJDyEMQcd3e1NX7vEHifbWJII
bn6MxBvsA7fwVxoDcEyZjK3ihhTqxl0q4ecL2xXHRvg2bmhZ79CRfRldSaq3UgWpOzxxO5nHUrw/
c7KLJuh6GRcVALoF9c2zY4egT4m5IFY7hBvwYP/AEtwp2ckNffI/+WwAGf+0+PGoNYNPNbm4am3v
NZfdAH6ku1UOxYw3xG8YdLVFpLoTo0xg8b27TQirGYZ4hS7jL9NM7JgAjhfsCziZG2tYEVR1RSjR
BgSHdA/A/n8HK37GZvgTdwY2mmDYhmb4iT363pPUtgynYaU8Y13V1ZMXhv9sL6vIUVBLpsKPTOOW
CeG0YmmJvnU3P5GKg+/LKr8KuFDLviqeDP7eppYHlgeYf51Uy0BV31MnzJUhq2bBRUzHxjuiLF3r
FkeBDIeZZZLH5nLTOXOrkEADuwr2GKPYGFrOrqX47BKQg1YTHQkzc70Kt1qSN0sFVyeAOdZidIjt
7dCx40HXXTdEZ3F3XtwsPorMJ5JIdXRfvX96pSl8//C/G2CuXY5QiC4TnfYgRMnd3VRcPpt1y2kD
fYEIUeaGdXDOqu7aiWSTDdJfj5SSy2SiRBc9Y1T3u9X/cEHoL6WVEO0SFeuxNv6EwgNJ1g1/8L5w
rOrFBY7MsgTQyLTBMGEA26socF47k3c/6OPZzc0+CrTcd2k4RUgnEFvjvIgGpv/iddSUolQIzsIo
L6mrwzKhEwVJji6JTyuW18wK8y8fXLtbqkMqMIO1dnguoT5mU/Q2f7FFXYrJh5gFb/p0kzcrtq5a
3RhYm6ejLMYXjt6fcxfdCeHV6UYEyc2r7rX7jo7in5Ua3c6cjB8TFxCt1JheXH7SKR2t3PwaewBG
iQ3FMvbEUsEYMHAb4nG3Lq6i+1cPHSiUfpdNlEVDluNVTRzCebxg2fYu0WeazwSZ2bw5AGGA/bhX
gbcRYZHiEoXmTdTYyEg6WIWO89xxtliG2bg1Mf2OvM2194HEIll5eZPvqjJ8Quxk6/6L8BJoCMln
hQJ+lyfxpcRWvrWS4S8cdKL9tBkU34QoCQ3UpSg/QLIsusElOKlsvuqJqCENRQuRYn+riej2wAnf
6E1oYL6TS20E5wk/3DbzxVdwm98lZ2xp4wUBQkjd/6c7IIhJ3ITZFvyrXEVupuWwCdU/DrS7pVWP
P7AzPPJVovOUNBsiZ14yy4U8mSU8vT3+4ABPVMZuXJaPpM/8RepaAhe0c43n10NGbbvSTSTG1gdS
xPcooxRMC8SzJpP4ldSmGzuKng0GyWHoF9jZ1zSnZ3hEQlnlvbaC3by1KU+aDIG4ZmcbFCpomBa0
TvWdaUUXAn2OgWKqSRr3Luir+6DzJumSrAUSrayStrolgKU3eY1VtlccycJV55Q/Wj4c46laCZ/A
roxMNlqNjPl0cvFCa2+a1DKVIzkVFICUAzUs3cbd5AmwCLNWF8r+YZNbSHBMm9009v45APt3am0X
0U2zkK5PsJhoaPcb6sq96dXGskxDm2iks9fLeC8lQtKSVj9aPYaB8BO20/ywL4l7KH/aQUfvNmJN
LrRPcgLcXWOomxICRDNhcu57nwE0F3GIk9YQ15zZ6SG3zZVwarF2K/8ZLSmKM0BOtJNpyrheqm8n
+unhW8fGsNTK7F9Eqb7oWmqC1kjtPQIJMACUCaTOJmhm9Q9ToyE5xPIqmwAPn34up/BQVw1nmoAl
zlCwIBqOQqni6CmItJk1udgHVXq14VMwZPgjOPhtoRYhduQ1aVFJLlvLocBSc1VO3KxeQrkuq+xq
AWpYgXgx86pcOFXUrsfQYBrm//SdCrZWz3QlnYhGsUgEgxthLW0Y/qPMfbzLEfBdCY2DtMBL4/ur
fsQQpslzmOinRExge3wkU0NwG3Q3PIRU0VGN/U6vowvA6tRU2YqhmANlXVuDgI72cUXXu1et2li1
vbaMjYJPyakCpWfSEDTOn51snIDqnwV4z0UL2ahzblagi01ohSeYv/QzOWrTeOeCo7O3UHaRXFAY
iiV4cqLsGh8GTea/k2m3MnMGjhaRpCgFJUV0XMWbwQ7/RRJipEt6xcrivIKNOS/2uplwlI0SaJF6
cmHUs47t0rhM6tlse/+5zsmGjVCQbK2AyCCJWrvIyx+p/Omm02U89KDM+nJ49itni67QPRO0FJ4x
7J+LUnujR/meRD1ZBan3KaMBttj8ofBbe0YAQBRyvltjyjdjKldYSlg/M3FNo3odhLa/mJSGnKyk
vCsMbLCliaN/KFt+IZ/1mSdWKm0+OTyEeWseSjmQfRe11E0j3S4YRQoywSFpY5BVmV2EG8Pqr1q1
l7NMr4vYeUQ2POnpyGkU+PyYlhGRWFgE2nRGPJZ5vdFpcSdl+iDa+Oql2im1USMFjon3BXpVZ1rw
jwbzTTay24hMNgcLJhEnRRbWgElqm0/JWctca8e9W6yL3ngZk3gNuw/EPc7OWCRveahJZt1j/t6l
HygzcaPbjC5SDB7UU/IYhTBSGu2qeXKHiF5ui6Qr9qRcvfSz2rin4Fp7hOA82QEraMnKta793LkA
8DTWQd41KDB5KBK3WosRhBAJABjVmTTuIx3BwPzIs9rm6fczQOfj3qjzD5r2GDadrqP8pJQqORZw
36ubn8Cuw+v51GKbyV1zunQxHGqtpRdqVdB9hb/E+4HFAn3xQuCOXdaC8h5neEux7x9CyBv4v16Y
b2vcLFm7c1Oaijmb3sq0Vkyh/9Wu2e3tzPM2lln16Hk9Xk/cM+u4qM5NNufX6Q5guFDcKsV4zApo
8k568SkmUheLOIj3hhugvxawyUYbWJgZJys8V9C6mIlbUGplQDHa1PaGyYy9LelJ05UpuxkNwcpf
ZTztVoCEtfvPIkvywyDwako8KonuaVs4Zxdrtp4ODZmETkcC64A+NCUyhNyEVeozJQgMahRDtWgR
58vJNNVXV/X1sZIqWnKkfRGMp+3YAtTPyyqp6XHWgVq1rGddVt5T4Vjl7CkDh8TRpch7uU9bzpNN
XCyyjta15gaE6kVIVjkFe8+o9PJhCi8Iiw4QaOPnir/7yQXKDunem+eFT46wGA177IatRDWdhBy9
mm6PAvjNEm7BH7H2TGlcIL2eApcCkIqx2cUxQlWSXtJuUo/aaVFelsNTDbMqTv13pcazYHpxx3jy
mdus/04kNYZ/XvoGGRcUggG6zKzw3AZJe8yjOtqopnjTouxNmwNfWQvQGYlKY1TCHpu7HjglcGCh
XmpMCWV4NZx2r6mkAmHNIy0xUX+boPhjQ6s3beTYh98PmVDECHQZFMCe2EDU1xidIUhwJESuzKg3
Wbd2ity9JdQuwyuMnc7z0cZywGPejY+p4+CvWSdWwqMqp0tTxdOK50D6EmGsS8LBwDh2TL0EDZmT
32d03f3PqlE/tZGoZcOpI5D9lrFadw5L61WBclnrdX8wsiDZjlV9J6H5p4+JRDXd8qvrMYzQy3it
y/Yvw2rtkJRMDHFNEBKm1lGo1FHQ8g8qAjH8ybRJxIv6DRTFY1yWSF1S50GTv19uUgNQoW6UQFl6
axeMzp94jkLqzQeqwJ1nQ4ypfstKlZ9SkBjbjHSLYWwINMacTpykhe1GowYlfgQRCsuhQ1xvJzk3
TbEeImem2Z21EZCb5ibi2Nz6sTd3d+xHIdy/dqA/Zwkt/iAbEQSQ2meF8l/9qlX6R9h4f0wlkHk5
9ZUXj/aCa3LKsBedSQVajlgPchDBmwLFEXocZ5YxMywAcL/T4lKBhSguWVBfzLSwNmZQ9yca2mqp
67+REYCqI/nuWzF+v/GArAkJBYmJT+mldmGH9CUbOPhhEHxrnZiJXUuFQQwPcTgNMDxU/sNW+Vho
oxQhBzcxDdsGEHGlhcdk4OwWvI2FuapScSKJoAZycO9d+oGtwQ6cDWAXWG433OPcljWtYS2dlkAm
n+youYXJ8DQ42L+NI+s0gQNNzNDafsRqBo6I4TDK7Kihfd3bTJTJ3QjO4ZTvkfGopVN3KVSw8oF+
fUeWJ7DkInmiV/0y5dZtKAhlMCfrpQESv5oqLI7Do0RpB2ZjGbqduY8cUBmOesOl+hGm5ple/FKv
mZS4eZzjHeRGE1krN6mTvBFR/Dzw7BtlGfhlhmejUfcpENoS6exHLolakb14HxrjswCE0jf9O0Pf
Rxju6SVoW9GUN2uAqBIQgL1IjPrA6Iw8HsDQoNffdV3JW5Ort1bGoIwD5laW9cYYpI8JL+2tKlhF
DNIPSuM9ta1hY0vHOzFqYDI1JN0J9arcAQBK1uMQUFUZ+rBCOzNcW93/mwZsSpruyFOIq49LBdVP
DgNljWVzzGtv7+PQ2cclTey8o46reIMTR/MOrpHiG/P/lR4HQ5PByMxFVU5Q3zssiCs1RDd+UYE6
EIV8ocr3eZaNYWQ4diY3k6uVNJeM6F2T47uH8DpceP/acvoru0we8ViQEzHScDaw5UAAEO9ow+tt
Uppiq3nORw28fVkYpbeDsveij7I9SXdmlTCF3YSd6W9drYnXbTYDo4r0y5lSuVCGTrFgwIq1ofyU
M+upmFkdbcxBtU/hzdiDDd2U5WkMVHPj93MehyAh2d9MN+qWFqfeZYTXxlUuaQsc2JDS19u+FeDO
9Ojc1v2WoL3j1A/jfKYDEFuP2y5iKD2UDlIBN722lNYlnW/5AnIfcEwpyUeY3obQUWdE1jWrk4Nu
ydQ3dqFZRxcNLNQuGsU1iTOD0b4yltj0BA8SnMUhVXiklwbtzdImeejz+jTJKDxFdQL3xpkvbL3d
Z+xDSZKpqxaDre7sf50NtH6gss5b7vvWKc8s8ByuBIQ+NOKreiJ9Cvy7AbEX/QBtpdjrIIjFziv4
vLmPkjpLN5hOLgSSXWeQdMIIU6YuJGCR0HSNBuf8+0Hj4HTmzMXhm4VnNwbXKO3j51zr41uEzuBI
NsM7vht1qdrizaT+82T0ikGdwUlfXNIaq1wxwxpteHjnugnvsY5cyuhwhpCqqV3Rdnx7hLYcUeqD
RrKdYqM87Y/DEVvBChdcGkdBC7UnYX6PaLjHtqHsPRpvE13TFE5ik+jwRHo4oPmHViC2l9QWkE5T
qoqK1IkmjDadG6pDQQJANkchOLCOXPWOxilYa7wSbQtkENVOQVQEhggdYqNVVMxh8zkyld4ySHzO
Nq1VPyc+kyaColKu9QueRvagsjjmMPnWjSQWUFSvYvB+ZqnRtvDdA0FM5NJ07pnw9mxJ4ofaRlq7
CfN4N+I6SRrALlK8wjhzUPdxihQllHsQYCSXPqn0TQPtBCiLJU77EAELTjc+9TENRB8/ucqg7/W6
OhpacmvDCclALj6QymNWar3X1Okw01XVi59pT6bbYtdzqJs830XeQPsmHj0bPGaOIICxoiYoVU2c
h8zyMLv3Eyc9UNtfTW0dcJdT9hsy3VomxiXVtvd8oGAXCVU96hW2HF+APeFOZzyZnFN0KOR6Ms8j
b5jXK04k1LES+o9y3rIQcqFFcWs55PZ0tvMv6alL9WDXmoU4pYGzNy092CaQfXpuDhf3jR4NewJM
riJUztKWAp2ila8L/ENP3CBLJh0BSumyWvbC+OM7ZHxOHq2ZRLKqBxg/t0OMvwO9c2nw3hJEzMqX
Vd4c25Ohg/WKDyYLHNMLOvc+IXMow+3d0ODrLtz50DEeqz5aqQyGvO51SGzcvGBAkkMAmwllkANX
nel9UbuAMYXgtRBz7nlRIN2VrJtRYzBvrToS7230w3kPfY+1C7Zo6dA39KoW+d1gI8s1pzsjzlVb
wbgFNWAxUwbnIrTsPcbECQDLeaRGjQhvGCiQAUd1qidxOvbqp7i3HnYdEvmObvGU5J89iQL7FAVT
Vktyu7WUBAgkxxEQDdZebknAe8e09OVGRgbkvnLIrxonDx+hxZ6rAZuVcINXABAni3DzddajAQp1
3DVJ4RwwqxhP45QYTx7oGKcjUERHR7mwOiM+ql7Fx4Aj0q4Yu41KLW+X+dZzWKr2HJvjU5Np5WZI
3LsqDcLqPYJ1etMRB4+tJwrsatM03Svycd690m/WE4PkC1tJCxPNZqUgYrkxBmz2sQywzHa7jEbB
2YCEBxIk3+oGaMGa9JRV7VVAY+kAjLpmkMFdP34bUXGa340B+MSCc3sLeGKotx3XOWfJWRlPtNaB
pNJkLzES95M3Hgg7ng6/nzky/f9nEd8gekdkBWoch3ato8ut3if2NSME9i4DnYW/khowHHLLkkZr
X9OaFjdz1fhM06B7rZqAutMbr542JK/UDRMzriDU+rsXiO4Jhc2BbvlKJQyVVDwvj8pwz/T//xW4
dR+Ysm6pyuyt309H25cfZRaVryVH7h3pEM2K5mbxivHAhXuFzJbYmnAHp5TA02boNl02cjS3iE1v
hig/IMZJN61tThsMnjhwGEoQv9bruIFZJOZ/UkSJ0YZft/nA8XsMSOT0/TfPNtZ6ZP2VCvZr2nX1
a4o5KK7jU0WEzVlJo3r1MV7N6T/BtIwLoqsgNJFyHjC9IdRDAjdgjQ7z1zivBaX9iPlbcrOCU3lF
N+tebSnPEuLvqyZJTA5NUPyxTls0OY5i+FITagHmt/12avPyXLdFxcNmJxoNJJbsgMzy9Cz5NhqY
DGJi/F5928739oBJ3cRXvcgyfOtd6QK4H3vE9PMvntKMxmVF3/P3N2dWo62Ybh59t2ZcHtjpq+tZ
ZAtaDus1Ip7X2HdY9Z0VNpVmSQ9yXJn+GF/9vt/lLryNPMakGI5u94Jbf2368dZTmXi26Qs+yJjD
CY7zumwJ70pnqLPOH8q2guQXo/ZSjGG+B0JY3ByukAZKYsNNVKPXvuCXqB51eACLkTzXyGEmfbo3
FveFLxG0l07/PrmC6tw8MOtqN0gmaEJ0zC8DoFiruEt+CFIT1DUEbmR0Wl8LjShTdJpsRk1m4Upv
8SyPyU/pVmgfIKKuMGSBrGAt2hu0+MOcZZRqe6Msj+GFlfevkJhDIuYGbzPBB6snk3F6SaB1RtW2
IjyHoYhH74Re8Jp8OPKs2/HsoimeyARP3BJHcV0Fj4D7aDkVfrNvKxu2tInkLuEQyCmBi2/kMptQ
zGLcHej1Ts4/Lijnwhtqv3Y1K5xo/Seogci7GvLzFJYQAyRFD2Iv62x9UzqWvfYrce/g0DP/xkd3
TLoxuHRBgSKxp3dVC3vYA6hYsEs7Dy+wy01i8PvnFu+EFRCkme0fhTcBjmEKe+zrP0M9Gqz7CdBi
qhz0TO3C91OFJHDGiFvZZwAj8FWfpXmZl0TU6fz/sipInDTwkiLIVAt4yRgk0v7bmPGgetZnl3zM
0gPopZoAHd18GB2XdKKbFQocVNFe912BbDo6cvAPREsSwomcGLbj+C2NwSbryqjWrZ4RHBbTQZqb
GGYzalutj7BPzA+Dqc/3vUAmnpLxXcpyfEqZmTf+OO2jyLeX7nxTRCFtDZdw39XvQ0N0vDQT+DJC
77lvxNTepem/6WEEq8yMOD+1tBlq13jMLpWtL7pqPSBUOBiSHNgYZMx2aLxsTTHW7OPYhV1cWgEm
KnkMMMasx8zdQb0tn4vSxpmPV3yjt/AXwkK7AbTw+WEJTPixsB8aXew1HWrSziv44LLq7mWiJkiP
97ZFgzeORf4YvJIgT4PLvs7ajDI0ITfMG9jbNaIRkVRxR5GBl4AKoGG4NDTVPTr850fT4eX8fdiq
EJUqL9mCEDGShZlCHRpZi+NYhAYIYisk7AbFlxrgtP4+jCzPJJRdAO4HIDCpqX1o6Wy6gBq5bCJN
HhKm0WhrR2fP8QF80bw1OIwltiKqjLU731CqzgkGmhdwDCTNk16pV4c5+9JqqnLP3LKBDB23c0sv
3mlF2Dy0dp6lJ5628eeHXinzDVBucjzmt7uw3HzL0Yfh6/zVMtOqnQZR+L+Loa6KnnxJkIq/P9nK
E+fgSJIcfn9y2DXZifGRWvz+KK2N9LNdW1+/j5zBy2Yw+cvvozgq3GsclIf//iSdnMKWrOTfR3Ze
qbtKLmGe6AM2r4PuB/3990v4flYy183b76M8II6zaoPr74/0jPqWGV719PtICPOfhEB6/n0Uesg8
fcMoT7/f2AxzLKTRiP9+fZFV/RID1MSRiJdg4oBGJoen2BJ5Cbo6j9Y9Kovt71ftkatLtWPJSJIX
lyB3fyP9AK7z74srHG0LrL5H+chXJSbxfeYwjPr9XvwWzcEjnQNgBz+5rwf72OWCscj8e2Nfz88x
clcaw3xvntLxD7rg8fuDbW2Q1wZW7e9/FZ2Mb0lgoRhCASLJr18RhNC9kMm9qIpweEwtAEprmF06
T1pnuU8oaM2Tx1q2SJE1gEHxn1sSmZgGNtSl0fg86dW5ovY+6qhpd2ocjKVXhzQsPdb8MhL6nff+
aLQCATkHyx02RfsxzM8UsUYOBjUMVgaFBqtSCFp3GgaaeiP+bpS6j2yaMysbhtsKHhjml47gezw4
COdJbs9JH3Hc7Dk1hXbPCEe7eQX5d3UVPvz5gyM+LBXqL3E87JO61K9FISBJtnC3BLEWGPF8Op1R
h2owehnL+Dtjlz/r831NYxOGdt8Qj0OVv/r9N2fOiGEUsG/c2WJkzltcM717A7HvuqX0ZZc302Oq
pm3gls3WsgP13z9xDGYwBi10lTfYkn//wCTmhCBs7SM1fHcbOXCR0KAbzz5uoSbCtPP7IYa2FqXa
y+8zFIDeGsgeyIbdJ1cl2t2bV8qKM8wq74u/Wsj4yAGw4NuYVWIG5qcap//W0yN9NUXCo0Euxp2f
587dQje6wUvXrMf5OxpcTPuucVB3QtP6Xcpoz9kn4o0ITfPc7OE5Q4tWJb/+ftHyVL7jFkfGMKYr
p42yB2r/Q1PnuMpcprYFCcJxWf2YAHvZOqzhPsXGS9GX6qIVKKKDsLu6Ywm3ubQASXMLe4kx0bKA
02/azrZVvrFyM0Z2KuzuOvYrpsDdM1ZLxvHzriBKLdxnNSkbQ1O0d0K6w6da2lwsT14/jQ/bsvwr
l/aBfr53Vk7/obt9ezGzibhxrBBZl9+pby/EV6K2NxgAwnPZsTKiSdRjivk6fp6y7qv1C3MG91s7
2t/ELOiTtiiDiIKypRWUhG54BgK0wIO/MetZ85D+j73z6I2dybLtX2nUuFkImmAwBm+S3ihT3lxN
CJl76b3nr3+LqkJ3tUfPGx+Q0JX0SalMMuLEOXuvTSaCDhhQ1L6ZPgVxr3cxHYGNU9HOj8bpY4y5
cxhZkpwW3sYG8fYeOemjLJt7r2p3HGPJJRDRl09R9jiKKN14eZnuR7jS62bcC+GcQiuwdkb/Yisk
QrOCUtgmQKI8ohvjxHEP0TJHk3ipdrZ2g23b6OnJyj+ywuP0N3d/IB6mG38s0ydRU/AF+gXvBs4h
Oz5aBceLsCqah874RpqjHuvORWYowwkZRUI9xYk9H6xzoafhYkv9mBbNjDsePXva4Zg0l+dkGxL4
QM+R2y29YLO8m48ILpSfDFdRVY/YUcXTz4OxnQh33th+FIN/52kLotDnLqbRs/wLRAiO1uVFNGp7
p6vY3YjyicnEE/lSLSgA+8ZlXp/CaMOXwXLSZday1T7TcXaxb6iDrWkkBkHQHrG6HT3Re2BUG4p1
Aw40Dv6CtpeunnxM5Oxug2bLL+unPMgCDkC4pEjzfQXGVFy8SulDmiBXt2nPSOe58nr7Gi7wqtZs
cLcw6A+at740xEZ6WJnCKVWnrKN9pGB3nZ0QnIEZVcZjK3JxSDCargmLj0oUSPTa9arC7LLxpv6X
V2KByewI/MLy7TJfRERCvDTkKXQ1gKAiGB5HI9sZFND7wOiovCe0IYY5TrvYhiqSl/rWlAae4tl5
mrXhPC1lE1rYJ25jcctg+CSm+K0z3e1IpiBiH999skil2oTekOzRlaknbsp8qwN5b6bxr0ImN407
F0TGNFfaNgjRZXwzprSEkf2uGGG8axKSD4SrdY+A+2lCNE+U+clD3nPEW2QEngP/rMHAU3vWVQvZ
H2Yl+NWVcdeI14KB1sKcpe/qTv21J9Dm+vNRnqOh94r6tQR7E9K4QTnNqgFdihhetC0Rtgi7bKLr
z0PMbbSd+u4OsNZrrFR2TaYxu4b/8lHBmbfkeHpsxuziFB0Cm5/vyJZv63rs1WAoH5Kh3daU0FTJ
fDq3pcOslPzSVWwJkucd9KGyck55l54nDGXrsaN/NNIRvFZpSBOp0OcE3RWhowHVOiTmwWN+H2GV
Bs/ogxK2WTgJtrGjk4dO7EKbiqEqrRZAXRG8uwzORucA5/r5gkYP+rdvGZbvM2j7+eOcMCxbohlb
du28Q79a928pJKBTl3rmiTXn7x/9fA6pcba3puASzsVw+nnIMEWQauC/h+TNhTYRqZ42oQOphCaG
9fOoZgj8P5/V/Yzy5effPVIwN/mg3gt2RkvV4k7pUfn1fduZz27VZe99WbQbRlwRfZW8eO5DQRRj
TzBlgXWyz6adQdIwQBSETy3Nk804QfHv2oXkVOtug8LR38oxhQ+AJeeTcPffXdPOB7/TBFY5vnkE
SZTviCwqfvFmbbwiaz8pDCXKfGy6BfXZrqXRgKqQ+sziYITloW7uQ688gNxGtAenkNyomqwp1KJp
upMDbq6Jdl7lTuZjCf6HRgk219rU980Ihd4d5pAZaRrcxG1p07Dzhs/kFqJJ9F7R7ctTWEQWNK8z
I4b+bpzFn4nELwZVBzNt78i7cl+At6erfC7GB01zvVOBt0Fjz3lxtMm6mIj0qK/Y0exjOSDe5ECC
DqoJk2MWBJ8WgfKtx9yGMe1T1TPGar06PoimG3eaOexhLuXOYrv8qLK3KAOQF3jKeTFrl67L29xW
3VedNu06TbziNkNyvVWxg2WgLpNDMpXOTWzR4mAESAqmIEhJDcFDiN7+GFYOODPwep+2/0K8nfXq
RWpT1RYTp5T+N6aTcmfAqxLl8u7BzGaFdp+QR32YtO44A4/GnWfb7o0LjYnSy8cnUlm39hjsp4BX
3g5TWku8KrcW9qeGQQtmCrP7xXT8le6r/9tApDPJnjWcyfV2sJz+jcvTGPyYno8mAMio+reOSwFt
SO9eE2xST5Jgjmn5ztQdECKV2QIvQE9e5bM82wa+QTuu8BZ5UXEByOa8uMbHBBfprU4IKKmZ2a29
kMDcHL9kl9MCTpNac/G3I8IZx3hUrOaIKYtfgRfLXUPHfQ8WID2HoNI3ASouLwHT7vFeOrlE/myx
yZGWimz8NdR5v4+rqbuZ/RiZE6ngKQkXFzepU/oP4+fso61idEzKQoYmZ5hANuEqw6nnPABOpVhN
apsg3ZyUC58ZXZQSgqVaAiADpChpV8R7lcxX0tw+Wd1T/JgWMHzLu8Spmg4NwrKWdjKtcvBBoC7H
+t4OdEz6D+FWdYt6hqI4ZIFa0mucHBxsaZ3gZ6MstTQDCHf0UEMxgasteEsRidWJLW84A0ENWz4a
w+DPUHfBHvM9cv6QqOheykWi5S6BzgNWVVMWoHp2lhPONwkU09iTGPgyAHSNSU8PXVF8of8GUCU/
c25bp4Eqz2E/5mu/ahTyeepFNcUAEHlwOZ9sa2ciKMGLyq0cDMliWxE0G3jiWdoVghVhnk3TffaK
qdsTNOXe5EgUbjqaVehOULs1FdDLwf+cWg/TXI0ukBf6xgiePPRq6x4h5Hpw4vCM9Dk8/3wkypRA
ac//RkHq7F3V/SI1iSF7aeMjxsQF2pbY7ND0w7McyN7oI1zYFvOFs1geGNll58nM9MngRGcH+d8+
869fq6LpQ4zIxyabb7KRm5xm0f/9I7nkZmjMKKMx4JfnYTIR8MVTc8B4bTsHEVEH9qkJy3j52ajf
1EHF3lYt//K1PMyxBWuvs76ywcxOJT2fStn6qJqhWIUWegwVXeqI7naec5DgIMdaaOiEeDyjLc5V
iz+1iRmcpiUDGnesjyoAoaKXB/DRPSAycrTiJiVkZolzIuqv1Han1taQX2RZcT4aw5QmF/vPlNsf
P//qpyo9/3z0rw8/n0vd9EpCcQiPcA3YQ5yrojfOUrKaTvDtV2EN3G9qbWDv4YRXyJXZEybwdk0K
iUbiev55MJG+bksHKopTzKfZMOj0Uexj2GhX4J8tAves4SiHZttgZQXYYm8A29WbTDaYSWPSy5cX
7+cdiiMYegmNAKc0hrveCINtQH/1wYhLRErDSM1bgCJG5omhaSrKV8dsmSB2Qv3qlf7yUmP65G27
pb1m3qG5xShgTzsNjAQoUPWSa7gyRJ88dk1hn6e2OwFSk7/z3DlEntv8sQWqF6wlpyi37xh10wBH
ZEsr3DTe5m6GLNkU8a7Csr7roqJfV0aXP8VlfBOqRStmF9XDYEfxls5edxf3oE964HpXF5fK3raH
6FLaYGK4zN8XeNw5o9d2rKQK8KK0yZn5kHkoTSKeZhvZqGDQexJlcWNhzoWSMed3TDHTren74Blm
K9+UKerEGF4LdSJDwbT9Sgd766XIekZosM/lyisSxuu04tZB7LDOh9F86sG9flf1vcHuOWCbu58x
J1gOKWyS89cQw9VIZzhlOQ1++Ay18RiU5LLiUeI1EbgRwX1wdijkJRZZcQCVkbCElOPJAru8Tk2K
+G6RilethWi899tDLWwPFBjq55r4MnjwI0WWyYiyJLBz5jWPWrp6dd0fe2fhgDEgJgrWOebkm8P5
RgDQW/z19BflNnewY00iTQ6m0p/+DG4pdLV/T5gr3mqmf1lmXhwy6o6A5m+T0qs3aA28B3gdzd8+
amZYjE3pn8uWTPgU9zjmwHZjiklcC2u8SIWDgvx42B7+LWffhiEaE+TQ069LswQobkzZjsDPlkOO
/TsRdxZoy90I/SeS48VyAdll5S1w/GpHfkcBhFWeW9JF3EOscIy5MVmHVBZP0mG+S/j5dwoTOym8
I3d/ydEm0cidK4Pu9eBc+9l/AzN7H2XvrQ07Nuycbt9QyrI8gHSLo3Aph6u7xAsFGIEhWVe0X28l
yYZjW4iH1FsSTAEl6SJKdypx4w89wRId3l0CfjkvG6sRZPzaGsvHcjKQOLBFywCA75BhlWuIIYox
b01G2+9bBg5cTVp9UG2wRoh4oFky7ueh3AxNeWCcaW8dO/udWuZ7bR7jHFirb/XqVFL2TYG10aVi
dl/V+1Shf9F+N2JCcljnw1m80qzdtWGDfMfyzCfTfhqy8JzRTjgwuW72oDPXArc9GttMOeHdkmOU
x7GxpeJPbHhcpavHI1HNxiHpHbXta1etS8t4Z3dCVvFgOCp8QN+xaQBzsZ1xXLJ9+yhImM0i6wsX
uXW2lnA7gq55G2Bv+o3J5RClt6oyi6cQPxSza/VVxvJrGJq9ubx4BRhHmAoZa5Z5xTsHyF2JkgDm
YG2Tb7sKMtDWsYWjSbbTN1IlY+0szjV0O4BPIxsRcjpfAJluekUEX1MUfyQT5FbuJ91v+zSlVuOg
U1UAsHqacnXufw/d2s/QqZpB9TCjc90z3TnQvcQTP1oGczZVHnJSZk/uxGl3mkDr1sZiQZ8QmWhY
rV5mpifDn3ZqjjbhIuUg53c60OX63XjfbqwfvMF2dm0DZKus/XYHUz44DHlug1e56eeiuwDgqtc5
RvTlf+T2BPDC3SzIkWGTzD6zEivmkNrgKZy6uyVojFhXBJgRrmUzAL8ZNbxU5OyWmwmx4aqaar3z
szDaTJEPUW0qxCqqOMZjIkc95OJXd9rpZppb88aFHd7lAQ5IhwwlfO1AonAwoU2LPtEPc+PAxxYB
zoWmz16LUr0Nvai2wJMcmrztnl0iIm4e2hYV7XNRZh3i6mPqBDV+EoryUlUeZ9vKu3S0larAu6r0
qtHtXDGJqQvMrymakoMXoRcWLU09hwrEbbh4284nr6bLidv1ZL7pe4gEj5UiR7FtXXDWvcnEovYI
2XaRJNr2IcYCeP15ENAO7X04zc65DgZnHfhRv4ULg02iTNK9MFKE8Qpif+8qvW6c+JzhHmPCZ6rr
z0NCKUIUW3tys3tdcc7BMMmy+9l57ymXHnt2Aia2wmbX9vIckE2Mj067QByy+qEMvHxLt+cTorB+
KQlPqog5JnkRNcV5zCRvweDVR3yFnzF2w+1QJyiLo+lVdNLemhF1JyCuOxmpdVhOrzxv1mbBEwHT
BKSqVjdg2Zh9uESJydFblY37opqI7rd+KwsDDiq35KDL67jkFzUJtgr6rzF6XuhjWoB/NUNcQ0Me
bwC40nsShO+huQVnWL4i2Rx3FgCXNI3Ik/bA5tTO1m8yD+GE9TqFE61+wN0GR1Yvj6KLq+Nb/mg/
hlqyeMnY9QoU/PiTSEAWXzIy28/C4BdOvrfDIZauwipCASW8ARpR42xL5dzaBkB8g4AfWkLEHRNm
cGL+PawYJte3AzhMYEeMgeYAOTc0ppmdzvlthD6MsRCu6Rj66K95Pwen/OWmac0BWXyahvGojfBb
tKHNgofrntzOV9UVRyvLLvhYjZtOtCg9EP+k8VkSBrNLgEaf3NyDO4Ecz0JdspshL89Z94fWAhmD
Wfw7KKXeszhxuAm/+dOIA2yZMWc0PglEs76hn6MfkuKhSH0aVby9K/w6+NEwP7QCuolwm18jmAou
5I3oI/DhouCmnrLueYDICpEmuM0T9Mh8ixBz/OLQVZi8gSV7amaCVNpPFOOHRldsz9qoocgDAcnc
FAlnFL6MpgjO4ezASG2iz0mIT4POBrwbKgUbYA0hhprRzKYts3jbEvqpswTvFGFSDMgxatrRTV+o
dSD9+5gY6IHlonYw2tTQAla4KtAyInYJ48pbhcqDbAjInQkhdnKiIGEpkKFo38ERQHFmwQk2NiCY
kQpg3ZxiE7y335voFdkci5DTWkSzpGyd58EI7lRqf9pOPK2ssle0L40EnVXx2BnBczKTVzdlMwM4
CbKIpE4Gjdaz71avIZF79WT9CUuOa5j010TTfdhMXlAtJ+8OSILETOqnDkZfKIoHCDxPANlMoomd
D7yZZEl7tKZKgz2ElrhdfYcGszXy5aF65GCLk+y+0+BLpmznq5rQ2doCs45urpyI2aNjOEBx3/px
QZKX4aAbBs01cOQIUvhiHgBLmxy+tZtR189HxtOEUjZwuWy3/TAstguwQTNbkbxNA5eqQjMCF/nR
9JZ4Y+4beP8FobjlhSlKeEz87HEJMVl+VpUfOytWu8cEPBVlKpGHk34POgx/BNOla63cJ+VOtL88
3mC6919ofnAstBNtqPrsEBENaIOUgpDThZH4G9dOTmEQ0aPLVLfO9XDTyI/ECk9uJ2MUD8FrWtRv
o0tZKnWNyn5o7rh1tgiSHPa26JNszIJLRPQbLb+bABc94YxwjAv6sLzr9aXoYlo5fn47h7ZYp7Rz
90GMIwQtDOYfII8NzutkCM7e2MEAU5SGaeIfYlQbhyyCoEvbkV3WGrAdjx+sOc6OZHsM4O2uIWno
ItPeX8c2PqiCRlEizRsLEoM9sh6isc3zR0RXLpxA/cIEsFhFlIGHyi3eTRPn82IXc8PuQkI2Tzx2
Wcs4ZbGWUHSQ6DqZXNyN2/5KqIhzN29u6eg96cS/NjbzLTQEGytqAlxpZASMee8Q5Gm+ANFYrN3D
rZMiZCmNW4/MPOpCyaDyxHfaq7hqchzOwUYH7V7O3rcpW568U77XXXOTT6ZJrz+/7VRJB8Wgx474
FMFem1UHQkp35aUpjC8jUvlNaF3yjh5DIzkf4C27GwEYxyHjMhqZZ6NoIMaUf4IKBhhpr5zA5ufB
/9UisEaQwr4kPSGZDfSYJoy7iXgPJo41ZVT22tAJKh2j4zJX9A2Rb/KGgkUrCNWc1zhQENc1SJOF
4T966fAsemiTuCCb9VzrmgtENWtPOlvXr46dcEdksMCPLT0CGRtAMc8NJQqRqu78jdLwOVnufz/N
7kthZmsVuhej4cZu+2ZrdNaFd0Sx7GTztkYnNFjpB6iBN9s7hjgoBSOdphGcKTxJgzFgu4z9kNYj
AoOGxoeTkhQeEZ5pN5iEafw0Rbp1EIOumAyvaSg560gM804YIUm+nburIMiDQLmVgfE2ErLk6Pid
M0uICeAhKucj54Y/3D28yBVO5JyVwnPZJrvceQ9cmHmTB2+yPtekCMKZ/eO61YMQLJU44+JcE0ju
vQ16OM4dmtG0szcIUZ9Igfoz5vtOk0df4w+DM9BwDjnNVvQ5Uh8Sw3Sd8Q7TAG/vgvbaSUnXdnJo
oprvdpe+D8CWCFkUy0q1LSMcTjSdnd0S6CTsHEtIUUtSE5BghsIECzTSXjcQNM0vvNJvU8LvtSay
VN3sztIZcjEAJ4g85GuFNbVCVtVIJnZValTbfpIPCDq/9G9pkK87hYjkYzzvQyMxNCQ7lKXWsdTq
BLjiJvDsd6yveg8pq9rqTME4tLqVqt1uPVYaXYHzMOju3gBcsR4TcFAOxxV/fPRdAYr2J9HeDz5j
fOEeioGQlXeoW1rOQfOpw4ShSUndEAV9QySi/4j2CQQcDmHMUwDWE94gH0xhzurN5Aeot7vjSlE4
GFpm2AnnvxxQIjYnbNio8YzxKRC/CepcZ8ZHiPOd0RJkjLL9k6j8gbCKBt4EOc0ZzYrWAE4jjrXR
PkSWvJFB8eyE/QOLElGOOxufDZVaAqznicIYw85D2Y0vOp5OVkbEAmeSO1bZm7xVWFZZQIdYrK1Q
3dnZdAoztgmrrtCFNdzzNplZ8j6ocwAK4SZQOaOU+04YmH9T2MjNbg44a4hppqfEHN/34mvoWHwV
j1O58MCt/NXTLACNCek8t6kW3S9EOFcxN7ctOoqBeZ8VZH9a1LNb+EZPjkb4j5Dj0+nqL3ew79uA
WzIuN4FLvC+JECjtWhijMAjxpj7k7Pc4Hz6lO78JnxsisA2soPWmGEaKTos8gGm+oU/JRg5fxoct
vLMR3U6j806jAIA0a1yLPzZnZUrQKvveqfSZqLviJENCNOgxEOW8y81+H/a3toyOAFkO2lGP6XsZ
0hr15WBu83C4a2MDI5kGB1Oa2WE281+d5RcruGj+drb58bblenCbqV6tjFxcaVB+1x3OfM7dKQX4
XUoQNCJmzDVefqTVREALAqaVBhGVIsU6RN1j5OdvcU0miFnBfhctObklrw1vjHBKmG5Zbuw6xkNV
qF+CrpZ7ShduJihDTekWx07vRt29Vc2YHNhoU/T25w7h1apWYESk+dZ3/UENkFJLDM/bxMpPLtrP
TV60nPhaZ96wwo1rqx5epoh8uZ9+QJSIQ+C3DBATZPjNPGy1ndwthGGwGjhDYgPzYZS0ZxXKbRG5
OEMGFCd+dkxJBbpEA6aJ9peq+32GR+SQDFkLcnsmzFRZ1WHKA8SISnypug23LHW7NIFBBWG0YDs9
kjsD1A7I0Crwy3PuQQqdx/zbi5ZCAz3gumWBX09J9jJYaE5CYddr1R/LxaXU+DA5GgLwFDO5bAwT
pgGclAdklTUoQHrBNJncp2EkDyZPBszjkDuQC8zb0eA4M1G0b42IFAEUpdfKN958LxkpUNE7Gcym
qEMQAITBwWwEh7Dw4LrgQSQzpT0+optEIXBDYHLvXCe4PjdE550GnSZ0RXxE/K3GIjLUqB6N1tzV
bi42SMl37VTtq8ZBdWqnxI1krGOlRA4TdygNu/CA4P3slzbsqZZ9JhTJnY1+ty4AHSHkZtK/YFsJ
azbcSm5wGkYXMSiuIDxWK6Qx79ZYAxGkIELNtI204TOQCgxmIwz5i+LNp5EMhVtTojv3YgD6lLWo
c5U1vtoO7EaUIgagnDbbKkWQEY67S1dg6V4o3XLWdPqNtqWV0m5Ngzo1aPRGpVA+a894samjR9F3
j2jRS6fcOOwuEC38G2Bq0abpyXz2RWqu4xxiDXAbELLSYsRpiWxHSssSJjJdowCcSQIMJJvuYiDU
xwA9JJcHOZZJ8ZqhLEeKTORRUdYuYEL0uCatqvuKOVxt9HID9CDdOWOPXVaGv2ZJqaWBWXQ5TUS8
XdwF2O7Zq36hndjrubyYMrI3klnLprBstfAvBmoTbjQvTna9NF0imScTD3RORPnoBQecc9RNxtfg
u83BES2iR3NbM0ueCke8au1vygZ8oYfejXHeL2+uIN4txksBctwYIQ9E8FrjCYRttMQy0nt4b5j/
LqMbulRktrFK3mWzKTeEd7xzP+skZlfB32QPgtDolWfZ6T7G98F25EOgU86rGPBTZRbvssc1D3a9
8nLOfQ2i6TQhKD4Lab963fDsB9SmwKMSzyTZZsr9HVNvYi6WQ5PbKrHv2U5xdPXrbky7Dbyj4xQy
xCJWQ/HabQ1vIn6oyzDERfWldYJpK4MZXGGB4Kj2McEqUBuoL86upX/nzhTu8zL5nmPjRkV1x64i
vNVA8wxcVrUjKe97qPiLCw+rCOxWelPI4GQHkRFiSH+0U8wtuTey9gARhNIEnm24T6Pc2pZx7axc
XkWnQpoFvRQevPRfJO6Rm26qrxaZBFfTkGcOEJuaftSNCvOBM61l76JEUR7awc6SyWM0BGo1QHIk
G2t6+qECTGScBEY07d3Z2skRVHvLMGgrELyvsyLMSTIKzDW0QrQWbnfv8grK7hn6zLUeWxtEkgmS
rPRipAbJSRJ04nBubMnspvT9bQZYTu3KJP6Zwfca1WiwYYLULUULflqH9tU2MwwiCMvMphGCr2wq
GOTVunzFtwx1wqi3cYk50KOBRJbwfO8znTjCFbivNXkA9BgahLDUnSoeYND6sAaiWJwzM75iCalf
/NHo9qTYc18wPN5kU34uDQrPIvg0Iv8LptnZborxJZleA9QzGBmZU+iJOjzNAJwECRk1UodMMtEF
Mo/xkmNgxZcpi+8ZFsvHtmOEYM9a7Rx/L2Tbn6Jp3kVDRhhmkH630LCauuielIZe7LpkJCz1NEFr
j5El0IH3d86MkhFlE+eYGWQC8W0kNRrfFAXnWWMWzKl+YD7HASls1YNnQYwjMfurRfLdxwTMz7nv
nzxHrcqQkDJ7nrZVVHXbQi75BXiNMzuGKwravp0ieshB9Yt95mIDjd00Q3s1umznhZkB9JO9ugA0
tiWga8SSMIq1DJnpcEr0N52h3h3bJQFQj+02b1kEZgXhtLKHA9Xeu9YdbCjMsvCH5C3yryUiSUdU
q5mzrh2F5BkNmazzb+c8085bcxwjvSgtb0QKoihGzZGlYj5HGgwZ5ckxosG9EXPlHBBQgAWkQQRW
EwflbBHaMvrhQ5pmm74Lq/uu2UCs4MZsZA1z4iktNNRpXzTHqiCmsxto8RT1PqoKd59wT3euRNcw
HPIoOKJAcPe0WH2Ccjaumb9FwY1Vtc3R6bI/qAk+mdY8uvxP2oQIDtSR6ezkvvTMSxeNwbQuq/Yp
JmtiFQbVrS9Ff8iWOcmAXcPW1b3KA2Nbi/i5527nbcweh/Fm9sZyOcAd8nGRz9UI0yN7uEQGTY0J
WYrnuA4zFfbIJUaHXDHnje1gTa/J/zUU4TNsX3snE2g71gRdb46ykwqRQ5SG2Ae8IBA78d2BifZA
nqfGvhmMEFgo8kn8wZjzDJwvUKS725rEgQbXhYtT9n6cG4vGQsMtBqsKb3gLgaWApN1lG6Gr6GRy
h+wdHAYQbB77yEfJ22LkIimZ82OyNkSAaKQPETmgeO/C4rsU9bYy7Velo45FrKcfTp1e9NhTEmM7
14hvllbnVldQsBx65pFdYpcY2Arz8S1NwC9R8BMzsOmN4uDYJaHtPlshlata2MHl7Qjxinyy9MjM
fiv99LYZSIenU72KM9rvxA4vXHXzMszuY4wwcTXOkB+yApZN0ND8LDtmXC6bMEcdscUcvHQFFKcP
kMV9i2Y/n7VHC7C5jSyD1PeygR56N5fVu+UQeZZhQl/l1dmOk2EbsbisjBipRG6ig7IPBXK9xSkB
rZ7ul9nkd6NnfZYBNB3TZEY3w/xQfo58yi6PccYtBZwnh2sJ+aEHh25YtP5VB6BB5EgAheRv6dHx
a/93RscdSYWLk0HTkUgdpfZm5l+1gXTfy+Zsm1TRG70xGnnxvFM1WrOIHNMO9C3Jg+dByWwn5fyW
DtFnklcg3isCXkQsmPhO7JkZq1AV5BtBxV0itmER9JI9bPbiOmZUQ4OT3uHOYWgsVo4FMyks6X/6
JlOccmEBDE39UVkZTpu+OyLaDXeJorFbzbeSLKarawkeQlueorK7N3vWMbtxD0kRJQfLNI8AdcHc
ClrYRVZQHoviY4hNpoRDzc+GbMXfbdPYzFJU+1GMWqCO+udp1ufJYEMl3mZdVcri5NCm53lyFX0I
Byw5YOqTz1Z8L0uE4UGAgh74WTEzgGRIgpnN+GyaWm5DUNjrorLuUiP/ncIduTZ1vU2cpZ0ZVe/C
Klqqa/r3znOX2+Z9LCPrvova7AJh+QYhRX5MZsNd5UGinoMpOPhEXOnSJseURn3ljePRHCB6eAhe
3a5dRcys2cxG5s/x+Gx4NLk9PC5WSZQgyWnuNkHRdSsKpU5d255IEU26kJk5t/12HsQdKZgftDHX
iWZb5RD8DFQnX+eLVCYq39okaWF1sbc7+t0dUZzwB/8WeheKKdn3AuqnTHxzZyV48q1JYebqD7VM
7ka3Ds84463kwxlz9Mslkatxm+xY406YyeETakaec/DddNWudpoT4uZP2UcIBPr+jPCGCRBujf1A
SmcZSuYYBTKr3E/fjY5hZx5UH1Nkv3kWjlcIUOFKq7B/NKW66zzsgXCWyMmwi1PUAOJYxAHnsG5p
msz3cY1foUcKxZmanzo+mRVT4CpzNmlofTBREswViFmx3Dneczq5rfFD96E5IuhRYJxprM2pgKsl
a3lMw/lRd5h6fPHBivIefWmVQDVw2L59p925SwpLKKwdaiNnZXYqOjRsdXIh97kaoMpflmCs/wsQ
+x8CxDTBW/91gNi+/v0VffxjhNjy/X+PENN/dR06Upomp+shIFL/EiGm/4qjCuMqfmFTecokXCwv
OIAvCWR/VVI5wjMdS3jac5y//FNTdMuXbOevSkv87LayofKZ8n8VIWbxOxhoTUGRL0lnOKI9npRy
LQb7tjCVK/n61wdwuaD5f38x/9mxezNzAuIOfvi8kTtvZmnXD3AhN76GEJiTGrENfVZQk8py7/Wk
fDZT/lRLzorazzWz1rTdBnZ4W2HEAu1HGxI2dnlA4oeo/lXNk7r+w4v79xy0f8w9M63/5EnzYqIm
cVwYA8r+t086TwGVmBNxGSRYQQjMhlsbnzEnKZiowW90OzC4A7RWtjfcBZ5Gsju67NJhd/gfnsh/
9up5HpNGmuHatuTyRP/h1bNFFehc+pCUExo8STCN6xJz9W5uid6UjnNQlftHD4ygDaYF2xyO9QZ0
/5///mmQJ/cf3kMtLFda2DhdZf2799AP/aFhZh6s03LCxl+V28E3yCucNYeZwFn/97/NVFx8/+b3
WRaRd/zHYseVI+S/e/l73w78xKIt1Jh2d4U8Efa+88HZ5ZZuarI1LXAy+Ry4T7FghN0F06cl6EDM
dFMQFXIB0BfMhuEVeya1WHxm3nYZHCQSROuWW5fhztZKJ7wMQ0nHMW6+l0lm2bD5cpK0Dm6GkJvL
akV+zAPqhvRYJ217Hkv9IrrROOVLmGsSJ5zB4jh6FBXQMStzz1Fp7qCVXgPCMIa+6jBpJdHObAg6
ypNLXfQw1IFAl4+4maenoVVkSpC303ihT62qX9oO5HFqZoz6saJkKVyUaKB3GWWMuGj4o0EN5Lbx
+z9QOtCENQ8x195dNbT7AWvNhRAD8/8Tdl47civZtv0iAgx6vqb3rqzqhZBUEr2PoPv6M5gN3Nun
G9jnhaiUKZUyyYgVa8055tYoALcMqE6RU5JwRglPy7Pg55ps5vxBetCoWKqpPyeWYZ8bsMBBZsg9
nYWdpqkMQmoOqzQzUZg07dYJxumSw/xYpDVhqBlhSbIf+o1NS6rXKc+shdKG6Ng2hOCSqL0QNmg9
RovubCt4TbvyNbOYbFjR1rbqr6kx8u0cAhEYw8qnpfRVdQOjvp44Uz8sitUYMifChmSsOTx0m6km
eyRVdQqasLbOFqE30vSLA3zeaeW2SXElsu4GryPeypIt2K/UbqB3cWRANu1NV74NjhYc/Sa4BEzm
N2KU+qGxMS2bnZ1fnHlCg/LAOLQfohrVe6U8YtWNcWNW/vgiXWrzqGRQiVfCW3uyeS3hGV0YmuEj
0oyj24zJNjRFv01bP1gKhfWbiTo9WteOthas46URa+TdFBWwnzD8zI1u5N9HXO3nHW0DV6O5U3Y7
eoLowD2x6gIfQ8J8sXrt04KRMzL4Peig72hZgumfmRtr8s39xT8/dAZxkv/1zHm+IUzhe4ZtPZfE
f1tpStQKeVwlxK7FAlBlwihZUsZwOiTha+vajnU0vZBKx/2KUZXQKioxiGfGvafFpIAwvPax2uN4
im/BaxUblOcMUkIuZaPD5o9nFOGr3mIYND0NyIo/0ZCmNechCT8qb/PP/x8xrxH/vu8YBkp9yAOO
41geu5DO7//b/4c+nBX1LUqxrqYHaUWFf9Ye7ki2iaotRQhG5zKetfcatPeCPjBk4HKr+YQWoQk6
/PMPY/33D0PlrrvC1tEmebxX//uHyRgpxmJA0caZYly6QNgIKPTApaiwuo45o28rFdbJmC8RZkf6
TbpYS81WiNzKTcqgsDc2+OIrwg2b6FwlBiwnk+caM2eUKPG7MgHchRBsAYKzGQwGgnN0emVHUNaU
6DTDGuvYa9AFOrwPL4wttJPM6Yo3cWK+tekwbTSh/3VNDsLK7IMP5j0WHt/I2WZVEHwUVfsjn8rm
RmBE/H/ce8L875uPj8v12Qksw/DN//ywuJ8Hb4oitjkxtVCM8DnTcD5h0wGFjjOP4TVHArcq9bfG
s3/Hg5f+8RN7RYBAz76AVIUGt3sNmJrtJ+qGbM4zr+oiw9WJTkgknkFigftBIHlxaRjBPyqvyDdm
ML2EkFwKcE+7ShYuj9dQPBCez5ln0ttmQoxEkt/UuJbjH6YtzlXre/feZEV/MSPcffOrNJA/bT8f
z410iNTEWHSs53fViYniE6FJpAbwMlvR4jNMyZEWrNcKZQ+orTpyXjLiJWeyydrAHcK92Hg/zai6
FwAx/oRNSB83X0yGG9+HPgf7hk9SH/piWxnueIpL3C6JHvZEJHkW0gVV8aghjZx0Va/oFxNGNGgV
2e2Ci0eQC0uzTs/N+lsmyKo9zfU5xBoFzdKWkJoeh0Ws6PTGPkgOuglkeSMdQzu1i1Bg3KqsDG5h
xSx28se9X7TNGcVIc2ZecNSC+czbWPXZYHFctaIBpOuAnag1fYPFlm6+661zIwBUML89YiDeb4ot
tWlzw3iTyrprheW8+BMob5PQLiTgy7RWczJmLV6JwMaZkeWa/SjTxnlgHkG+5okOAQuhpUWbPHAx
NUR1gfbvvCJA0jY2d8czR5iBoBXwiy0ARTRnw/K8u2GxhpuheIti1P9Gi1Jetkdj/iruW3f/zyuA
958VpWFYwqEKd4Rv6I545uz+23KEowcsPJq1RWLbEIIjhuZFforoFu6QGtIkjqzbkNJRENVM88SE
Rhuy9c8IyP70TA3XJBN3ZHDap6SZqqODuGmFiZAK2LErc0H2ZHNorBC3ajd9mJ56lGrkqE/hfc9j
VDnJkH+aYLV3Otw3pyfHLY7lrFnu1YJetLZqbMzhYz6Mj+clT9FaNXl7dbNZqV5J9HCdd8pgyuyw
8BPIBDSy1qZvk5M7zrSseHS4wVdFLsNNO/5oFdEHGcrw7UANsiEAc/xqkfW7aVy9j4mOTKPKl1Zi
ePunF0Q0BlaMxHt3EzYXJ/PbfeGJ/Jw6Vr6x+pyb0Ztt7PidVtnY2+tkwNEehoG1xpWkvtCornU9
N98DszD3Qvdov82/bqt2F8MKegtzpzpEslP/V7X6n8Uxn6xnzscb37Rcgbf2f6/tUKVy1+BjR8Vl
bgANKBKNnXMwpCxDEyiFIOoRQTP8XbRuaNyakd562QfW3oXQ2TQ24NE5oXCMkQP7hvHyzzce57//
iHDGn2Pphq+7rq0zjfmvxdUcGj8KXBbX3ojXsrO8U6EZ2aEAR9BQJlGzTeSn9GYOaAzie8zc8kMm
RczyO73VjElDzO6H5+VJbS7YKVe1DhcFKv1xGOvgmBBB5wVo6Vq0njOR8s01WIHR8uWnKQvzMyLM
jUclTdAudbFf1embkTrDNs9dKqwr2VQV5iNEhXlo1O+jCy8tLMstZtPmBFc13VZ+bIMRnBLG2oX5
hteFYTZwFKOEdCF7NjcDsn4SAcR7vnpeGhvVu60o4AJW0yWJTWKXVBkW7mjOq4PfvCr9lAjXaQ6T
rof8lDD4xWJFv04hCn1AqFmhhVEHYZUG80NWNeWAq03rLzpW5AD3VXVQwiWRXW/7zWB35t2geF5a
vj7Ho3m/YzcevuE0IGfTzA+6frgxUoE1zxjMD4RzBWUl3VRmOffGBhGOEnNc9r2evRXuL0adO7do
19KtpkedcK8TUB3sHUVQvaMZCXCp8tsWVbolaFvsLHQHtIAyg7wW/oJqiaEWMWW0k1f1OqpDiy4k
k1lYUQSeSfuKhXIbkyJ+pPsrjs+v9PJDj1RzrCon3pRebW0tw9R4N8iKoH8AUMpsAyhAIQmSNnNA
x1QRWhyFfXUvwiJesgAkmD/bbu97KMcYcSCbwVJxrnuSkuiECnaS/C+swKWohoZqPzAOWmlMABHc
9KiP5rTps8nYuQT9nduqrxaYA9wzMTHRURTyaNX6cGXzJMp2SH62JbEW3PbdR1pZvwmAvRMJ8x6h
T1nPtDMiXrEL9oknjrLJjOPzK/xUpD7muvzQLn4whFc+gn6thR4fg2w/IjLDTliyxCInFfdBf3kz
lIN/hbRxbUdZEPDmr8YyrY6M6EwcM4yFzmZe9lutaP5MmL3O4N1JHgJ/sA5hAaEbhLcOwn4CDhOH
9Vd4NGXYAT0fGkZMg3Up68hAQpx3K6dClsturHsDLfOU092SGKF1SMfmhfof2Z+ggC7GO2KZ8pcb
lMZCb6fmViV6hFUKpMHzNwznZqEFHCLHvAvswCsccDSqY1yHEAKwDe29ghDnoSyaq1aG/iYLpEcK
ZUpMqIjjA9FppKE0Ezm5dubuwmaaHVmBeMEbSOu3nhCmm12wrr1J3/YMFTb0lwPegIwsxbEpxDYL
7QSLFjRCy+5nUuEYYjxG44xl+A9xUMtaJwSJrBudsVaGSFgx74RbSNx67/VXaV5oJ4nL80XWGRby
37j6lyS/i1N730fJaUqL4tZTJF/SgWm70fgu6n0rZE5C7qjeVeNR12DWKUmAu146u7wCEB4FQ3fo
YIsuJsnMXwO/vOx18vSqqO0oncPsMhg+/fGAO9NKXOa0hrwXoZnuIvKNWLLVTq9ql6EUARVmXuCp
LJHe9Y7I/s5eVeVhofatfZWPn9GQumdORYteD7c2oKdtBfLox4b/bnpCXPbWydw8Dv/vkiH9W8Ad
nxGCpC/S/HmYSSFx3RXvodflP6H84iPOFKk6bQcdKDHrIx3iPdG52pm7pHyxRIVTNV6w0NaVzUw0
MHz6C9I/paX7pcfIMVblCJOFPO197NrXKRUF6fZdcQbmiCvBTKezg+MUZzWF5YQk+gipH4qWTWHi
qsMw96JrM4Yn5v59fgaVTXfC5zNeVU0e3lWAQIhjy+B6n3rFpJD+NvHyvfEX09x4bBk+aK1BAozt
HYb5IjM4Emmm8NP1oT9Dju1tPRBMpeELumRp/o1Bzb14Xkr6IKv4GkebjRJQMZRjEPzwiOkpiLx9
7/3RXrkir/e9rNpPny2ZiNFH0lDRD0llfnhF+ZK1inXBMj/MhI8Z7p8GYwOOCl72zuj196J2L47n
j9cWgxIV93CTrWa/hmZ4CSswCF0r6jdyag6+xwyibGmOT25TXsR8sVMMOE31oQe4zoOpOXPsWWua
mI55ZlXbUncmyFPWb6uUxU+9VFeXHfnaP4/8iQkTzsGPIf0Oh3QCZEkxAJFF0p9MH8mfV6V39oJ6
YQrENQYRRq6fI+VpYXw5vb5OKyH3buzQS2q7tShF82KFAtB9GtwdUq6QoYQwECGEH9k2quOQtfZm
8mW+hZK+H23bv2EqOaeE3eERmaZTPiFS7TjGb5sq+1O00SnDiLoOI5qfQVbLo+rTD5jJDYswCLJT
OI7xHgDMJ1jp32bcmdj6QVH7qtzYDYLNorajexBWwRwoGWC2xR07tgnA08ar6KKF4Y45mzjLEaGt
qRD+xPTvPHxeTN+BvYrCzc4xEZpUXf3eLVwWqAohlu/FPwN7lAdjRtcXCWCwJnEvhg4ptBvGgBTj
Tm6kXbMtVe9VbFdfKOPuQyPlrvBH7eBKotS6clibraaOhBIOrA4QjkoRm/fM0fZZO9L0bXBeaQHe
WwkNZpy3aQdcSTJ8AJHyfqamfMMrU3E+BGvi8LxkqEqPo2ras8mglW7luGljOA9+0+gn+ozMzltX
v1iBR3cLOGc3DuNtQr28tmuGRVnhbeo6Kw4yF/ZSlpG/IO9d3SROooPGxJhPwtiqxmrezeonARLm
S9upBMCK74AE9UkKBGqtpEb3yEr7E1wVD0cTXMaB5xJCdbUE/sFS2aMHbMyZDlckhMMH4iZdAiLN
rCf7CV0x70g1J3JNGs3F2jp5gXyN45ElhTMI3n67HFdAUqbVkMcHk5X7N+pwRtUwdAen7Q94C5Oj
0+LtTdv6FNZJeOsaS7u2zN6z1vikWVMh76eeCHzt5psjPuPq4ZrFoSp8fUuyxMLtFMpaBvLGNCMv
0RN8cTjcC8gVK2OOpw3VVB38IfzOzClC2jLku0Zx4tIJZL6WiU/+EOvAGTfN8OJ6/bn2HM4MBMSs
OLkkR72xUZdhid3QIYH94knvQkIyOjGDAdxQRMM5L777MVuUMke3YwF6X+JUYCwqpMZW58YH3HvD
VWrAahMLaqTdZiMnAc6pdkSsJ22G4cP5UU9u9eHRcrlMWFC8QB16oXXRWmvhXraDjnnXd/44FXFX
yDm4HZpH6Ctx/P8X3F3BDkrfNfHAG9WCTlqlq7cwcqBeW4CQyrz3mbsW36kYCPHKi+yUevVXDnZt
GUdadzFl9wMdVXpgNAx7r8yA4LmmeXtePM07WHHmcR5LDdiaX82oGZeoSPxroqLfgyEYq0OMpnYU
OxkhQze5r5ZVpS6agP+R8xjfU2Aj+zhQv7S8aXd2qwGUSMcb2SnfwoIBDu2jOZRl0+xUYagliE4c
lmOVv+pNUwf40pBmVmhB4KM5W3Co+YlIIuuszWbkaPAJZLC1EbxEZ53JB1fM+hFuQGwoytI5uaQa
3+HmrZLmjyciggBoO+RsdiGREbZRYgB3tC3brwnoUreYOhVfkeAYrtH6mvsb9Yo2TLALR6SAroUa
I+nT26ihRcuMVGG9kfLRCVIn5jez7yMH2KR2g+ASXtnPUBEje5C+nf+OarVI4gnLRz7y8HpNc1PN
YDPLBYSN43c0LfHpDUKuYep3h7ST5oZMC7tHVYw8yZ1obcSMH25DmRg0wFHRJd8TUv9N4YND1RVU
0VTmJW72Kfqh8Dcm0yWqg2I5DWVHH4q3wSW4rPavFqDsZVpOw8l2veFkkkYoYJkBD5POo6S3tTM6
VFuTfRH4LZMQj1BC9MKC0y97CZqdn6QDjT7iW4ZEP+ISsLpZ9UziMwjKZeg0t+dlHr4EIpcnqwUn
5NjmqR1Ue62Inrt2e80rIUy11gtc0+ndnvZjZtTrvqaUqe3QOAjNFId2/qqtMrwJDSDVacy3BMzU
typyqn9doMLjr47kte4ajykgPORGONpmgmW3zrpbNTho/9tK7c3B+YmzNP30+/cpxCmDZLTchA4t
BJWFUDgtMziEaZPuamS9CKRorZPGW3yb2BAxqL41dQfBtqjVPSYMdVESKbACDuWTs0OnIZHQvmug
vpxNimzT1shch1a8pHMPBlfiD9wPYG8sj0wlGUVnv1Dcq+wOdTKYpxq4/VpZU/dOIf6lWRwGV81U
OB852IGNHHSYVvPLHuIti2lgX2QHYRMV5mvo4l+RoSiXqsYwgTGnJxIl++nDfWmdvHmr0pl4zxGP
4EFwoaWW8RgQnNEe4jx8gI1orxjCsut4HbrUO8aYq4BC5X/cRHnbVqt/51n8t40CzikpRojOxwI2
F/6r2vCWw1D255LOgoPHgfrQKiGK01agkNHNq29hcU8qzquc33xUKpH56OmFwG4v7FdhaD/1Wb7j
eMUSFmu2xR0aro2ULeBZQnky+jaipNi5edKuwtEqNvZEGFdN66rHt/NeB8lw44O9usJo3nPmTud6
4ED4/E2GO76bwDQbbP0DV/YL2NX4I0/CnZYmHohR3Tu0iEXW/TggenTs7gKsja53G/1GqaaD1kP1
mSR4HpiXnJpJE+DuiuiQdPgzCZAaP83ZMDvFPeTAijwD4nTGbU5mOP9kc6oI13ltCoflv/HNrYVH
44rIot0lqMkQwefdEfMpPgpElp8SywOU9Yck0+BE8xvTgju437UN6SIt7XETq+TV6sfqTFA7XOGC
JI4kRyPSmZ13I1A0OTgVf14b0UJ3RVNfLYxunYeavovCYO9yX5014mqT4Bg5iYGdUNr3ACYYbN2E
A1qE6+x5aWWACNmL9n3pBfepLo6YCI4RQ/0Dn/BnxDSR7D8aAHanJwgJh5lTjgoGc1zNKJ7ssc7O
ymtPu/A5xKLNAuOxSdKToQJWe42+BZK+1ZTQt0NMBkFm1rvgmelemhzvYKr2BXOnd6NR5rJpMFkJ
23BWmXLz11pzcBA27UeVBOpU63AXOAR0fWP/SdK1l6r4D93kblGHmfOiEQu+QX3EiR6Aia9L0Cu5
2OEuuA9V8AeguHaFtZ8/xpDGZT5sBCgL4jaRETiWvLPkV0jyuF/vsgB1Xyi+8diBMB9xHQCJ4YKE
kkNN5zt7J0QUaJDi9wn1lqLA+2KoEF2HJEu2bT2nVsQFOE3lNgc4yuQE1EZMgp54YK6YPnLQnJup
qacTAUcUNY6ebRtbUpUFjXNtIw3okcyjXaKNb3girW3HWDBcwdhjB1G2dfRtRIfkWI1UOYTTBSjc
wQxTY0edfJlTZMyxqE72fBnSqqAUzKw35ELjp8eDR4MD9scws/kRfI1fcZJ828AxTb7FArYfUSRQ
ec8IsU9CB4dTjx4Xvfyri4ZMCJ9dEdmmpWR9lva0psGHoaiNxNYNbPvodFGC1Wz8zmlHbYNS7++B
FnMqyaq9kTTqgjREXRxXUxcaE9PKRlh3RtXI4TWUw+volw+ts17xfVs3xxfAMlNnZeTa9FH3nA/L
plpOEgsZu3oC30znDFIo7ujhQkAAOuiIHZl67KvXOvdE0Eu+jj39B++AeMGvEym/P2eSB9kSfXSN
Kje6qpDciAIqLczjOYKhf7d6jHo0kv+mc0M+8jwywA0wsN90On/Bqne2Aqu8WNhGDsFgvtCz573y
OW7RGOsLijHGWc02cWvgs0IYKKU1YICsAIc6MsfPCsFYJ/3gNRovXTiUlwTT1jk0f7bwBH4HozUt
pD7FN13cU5nZL+iA0Ivpzr72BDl8Xbg158l1gy5mYSimLT3G82sb+u5VGh3adI7H8w3d8Ph/Sjuf
Nm2AVs2zs0vj9MwT6/SnTmLVvQ4dtckDPeV5+JKqtN+GMN1EtbCBP9A74o1do6glr8dxX6usd28J
eh+Cx3hPXLrAR2QPHXJPT+Kg6JH1QpdbZ0lm76vRoM9KPptqa7a3srw9X4Gk/d0WbbuaNU3rEafr
R8QfRYc+NNSXVk0Q0yyAbDVx9jV3+OBbpfiyPB3jfUAq1gbkDrldDW2D1FCYT8JQbHl37RcQuQW5
rk21UErNyiKLHDBNm0g77pNTGxTcOgKjEQh5e2zy306HK0wUFlEvefYZGUxl/KlVnD5rC39cQ0MF
Vr06I47tzmU1ospT4y7ulEcxOsHrRFC77pnoLvK0NNekXYf7+d2r/MKhVcJbKEfvp6YN6avWF/Ij
cK07Llu6uM8HZb7EclZah4g0qWGW6VCWfwxvDmhtyvwNR3q2iazot89EclcYU7kbeu93LpAN9pHy
Pj0E3sB/tPTgtmaL4TS+2OQkXgqRNIsEnNsigIewcQcLVUyNudZnezhjwMARBIGKHXfdkMik+vHS
oscBFQuqWecf9JK+v9iMOGDNrJgjqAhgmxcecj/O4AD3G/Bs1IsxZ+PuwwXTfmSYhIls/ioZiuSo
cqgcTcgNhGF0QFx8Qzuu3fsqSM/1GF00mLwLeG4aFaIjVhzw6/MQF82J9sYmL4T5LvPm1dNj/eEM
sXNmCB0g+YnztUOrdZsbVLCGzqcvRATBj7ELo9Xpptuj/YqUliK/58SGBO2FD/BdwLt/7wJqQ6TD
8FTs76KBIBI3kUmApn8YU1TWY+iV7+bAQEaGmZo3WPDmdRocy46M0cD7pqTTXm1USJuQtNFDmYBv
BjZPx8Iw843BWZE7wkXoAXs4NYA8iwTID8+g3lPsE5GDU8zkFutJ5dKnT+lzQJZddjYHGdxrPZS3
uMlJx0i1OxTYX0YeYbmPxuBaKOs9twhy1RP6YQusxOCWEv+sFyKkTEBdDUAo2MoxIqQvYbIb8t+J
fEDP4HP5pb770Az13uETOUW0Z16xGqzDoYOiwQr82biFf3nibbPMQX2n6uH4fCliVONNA4gdW/k9
MmL9bGO83gD2G7csn8vYBpXyvGRARp3YdNZ8MBg9xza3oELG0Trjbth5YCgoWJuvjI7Zliy68C0M
6Pwos2Qbr+utXdotJ5W55+zjaFIk2C8cshhvJD4WJwZwFMi65+1E0kNB8Pxdm9jjozeiHaoZay2n
PP0xdR0zuJnF3VnpIY27fhslcDay2vJuAGntfTfQkEosPyQtyt0CokoXMLjyR+/61TLVdIC5kiYU
g5112FX1UVKjBFifgBuUp9ai/OhTGi8MYMdbS090YYjxNQ1T44XqZm1Tik691ZyyZqzAGjLVHy0t
edSZJ08tC7/ZT3vHTbRLDjjmhD/uM29deUr7kWZR//V84df9x4QWeepMcXxeNEsiHqv1Go1+fi69
OPthRdZ7kAIvy0BuaSVycqTK76D7q8TzyCmN2sXYRya3WwMLz7GMbpf40BrYMpjgapp/yMY23gXU
MGXh5O9hb5pLo1I4X6gRzr2jfRaBfo1LM/4Oo+k6Du2XbeK0KhP7b0lTApAhozofg/G76f2F/MFt
ow0K/62DdkpkMQYWYTkP5E64G0xjODgDUiapgM/Xlhss6qGxXzgLOau2G3twcm8+nrqHPunNy9TY
HuXXVG/S1qtfQFQDZEEIztit2BQEvZ/MubiODY4y4XyJ+fUw9HCtzlKE1oFLi5cIOtQsUfCwxpwc
9wGlq72OYVcyv+bPl6XpL1TiBcD4qnAnJRxRKDPTEROJTyPFBx7EG08hg2QBdytDyRKA6EQj2sBD
x5Gi/Jim1MfGwo2igDCdpLT0U6O79q6oavQR5JRQT1AGNwdifTFq5Fl2MeuvLpnyk6PcL/wH0Ys9
FwyN41GyKgM/WZ/6q7yih1h7oXN4XmyZErRI3vfq+Te6gJsRNX4/GCsEPC5upDI8QfryV2w8n7XA
hQr6nyNeBuRchXO1nX7QU8yALiH44ahoL2L8+RdVusYZk8ezjZ35Yqc5mXkOTKndDZ3o4B486p6Q
Cg2Loj0uOf9XS8qM6g48c89YaPpFsg/nINdyrlCHsfVPk0G0BNZ7DukDrTlLfyCnK2mr+HgX1B+6
9qTxYhGMlmk1bu0CdolqANZbyRlvbnKMCIsyWzGtFXyInZZ76ofSzwEmFyocM1zFZCPu9ILyKEHC
c2PqP53qXD+bURxu8wDJMMZhdYvwKj8n0CTsJgfh0jGv3RcTxve2yUem05yLYWYKljEDgaiFc+sS
SDHTlSmDmthaYSV8zTXh/vQdTLutx31dKfxjdf0jV4ioCp7KhhvjIA2ZZzuKWrmccnc6OO7or/We
DJIWUwN9/oY6VxtODg3ITcnJ41B1VctsoYY7ICq5VcVEAhS99KtMOedpKa2NVokbKtB4o+ky2HWp
/eY+B8l+TTsZjNaB9+gPCcs7cxDWNdQrfB/2p5W0/c4okbDyJLBsYkpdBkHRsYmX5cXBz60nhIbm
o/vy3Do8zt7LKLRXgrPUgXgx2n31zDtAf71LcJytclqwl9ESryKUav98FTTGR8JSfwp72EIlgLrP
f301Oq/4D43bM+VklBLzTOgSE98TLRX5+E7NKvpWqcW/JocDU5lixcSmgHcwqmU3Mvc2W1gX84wq
Kk69cHOkanxWKg66vespciBl8S6EGZ381NSxxjJ6rHPyUkoXeaElmfT5Cc9EmoL+MFMBs8jRaEVV
vxo19gc7sMpbLQ7P9qbp2uUpkhYT79J+D3zzPRWmvWsNNEBkmu+m4oTV3rl0Q6lfC+rja5W6zjGz
44MLC2ulZKEfgWPZyybVs/fMrueA9jj4YfQxSskY/Dzusi3qCAKk+G9ufGearoWlikXSiUfRWzht
6iZ4S6oHNZG9rqoIIQbOxQslPdC6fsB3Mr8sQ4RNUvesrRgn8cLyBBIEkZ4vIpJpPUtbeyrpfgR8
WmOQTb/qiWgjKq/iYra1tSTWIV9OhtD2Kg05Uiq7uAXsDqu4NqJLG8prozqamUnNBM2RN9cdh60B
AwxyOVSyZjCCVR8G5ul5sY3COsHKbrbFWP9MBxXshtnQ7nBiArsnkg8bmNdCxTQCny9rYAY+wfSJ
1r3IOM1/e7r4AJDaL9MQN6U3l+NxPcmvviIBsWvSfZd4+c0Nhh8M34NDXpfFmfjFozO1412m1ni3
aMRWDoW777eXIUOKkWVuDu4gA9ITNHLh4lI++fMFDza0xEaTaD2m4Cyrs5Mw5u1DtXeAYkAtmy8V
+L4SqAC2fLe++bRnshnTVkZdf4FesLaE22+9kewoY7SJOayF8RizCXCfy1mxhPiOMVIXX7gB3+rJ
V1dhBL+dIh+gGCN4FhiJjUxVr1bqngJd1tfnKxLuEFNoCRGpFrm1k+EsXGkoRuIWyOgYndvGwsdF
ui2XLJSfMOyiQ9fHCN6McdoS9oKeldg1NDg5wRJKkkVSOkb8sHKVPAI5HXuzOrp9/iaLjn4tPfRr
FzN50zKc4cCRokOvc0Qodb1vOO3gJq3GF4Cu3svEcHRhcebeI2PwXpjsmTuIoor7qtolkWeeBKbU
F8DZ6dIqnD+T7MQOhJnGdDlj5UrBXFaNzN6J8iORpq/VL6ZM+1LOGQZDxjSRGiwdi+j8/Op5KYMp
PHNSeevwRGwKArV1TPB8v5DtVn94WkjPowihcCRR+Eel6YupKDE8YYGWJiKbsUXVHQuEIwkIAJ5y
Xj1/PQtcfVWmnbeM0Tc9Is6YOyCtLvGixRlrMyN8rdAfw+gyCFB29Up6MAbaBChoAV6atqLbPwLe
lTg3xCmENP7oePzg6J0L8hL3TMLYYaAluV31x3WxjibasKKo80705xDp6aF1T50p2E0ejYBJMvxW
/SUKZb/tzFpiJicNpIyR9gGv6tC8e6BXVAL21IkPoORD5rejdirQXW4qJ1OADKsKBAZDiw1Dse+g
hjSlBR7mWXz3R1r6zFSkBj/QJsBYuZJYiGpSJ2u+tKGhr80B+WTQkHwOUXfvlJ7kPaC3JZpcigVA
lIaVgcgPOnP2xmuJXs5E8IoOobqaPSud1dBF6aPhs4HzfnjeWczn93nEDzxGPGaFYxIN+/yS4xqu
Ux2g2SZpTW7vKv7EADjsxjwNwI5qxrYo+Yyf34VmudraL/WxtGI6IIJmEja+AWfp/HrymYj3+PKQ
VWise1Y1vqfSeoX5bx/CbmSkNcr0bBu0V9sOMXRNdZAXBNZUHiSHtmOoNwuxxQK236G3/V3N8D9V
4RpQMOQDu3v47IiIgZca8b2NSwsh3adF9EiH/BpiuPBCJrOS59YP8NSWW8LOtvqUrtPJvaS4Gciy
BpL60Q40Ek6M5UFvab9m43+S6xztOvsk2s+UgQxxXMyz5B4JR+ebB6cjSBWtCvQrgHLluM7d7hNt
zqGRAEujq4Cfp8YviwZvUeHeA4/pdUcP6pHzGbcc9hFxe6Aq0v/h6byWG0fSbvtEiEDC45Yk6CmS
8tINQlJJCe9NAk//L/TEORHdPdVdNVUSSWR+Zu+102PV+w/d3O9HAerf6X75FjcxDBSoDZIss+69
BA3VGbfFHcrLHQjml3BcTn75YRUpBidmJlj3w6jeuOMxj8cjsDYmE9/hZW72aTVvheC0yVradPRZ
DIWbBcxwWjaRE68EIMRaPpU7lxptpv2oobIiraLzJk2B+f8wu09t/d2aaIybkLGAtyp8+LvDj91M
R5JJRb4DsUANLrfJjIZPgZgB8q4Z/s37R9zkOp2Zkr3M8YsuPnAv7NvsKPxDqIdA6IlngxYSj3d6
drefwQT8kCQzWcj7QY9inR3zNSglr/tMze7sE7rS8vZzTQdN0v7ozVlHC+A8TiDHXYtYCPBzfvU0
G9Mm0uhVEamarKs7u7osoAeYVrtu1KhYiZalalBOT/AVOAWgHgqN2KwDDOjYbGeMgHtUb3pVBlPt
QiACZEyjEXP841U9YaZdp2LlVkSVRMW6C99CYbAJQr3Z0sSfooRzj2/dLCGWRfEh88kJjFoQBjmL
OsaaYZoEic1otnqOoW+WORF+aUL6qXH1RHuZmTOvZieH8FYmGH+ZfDpo7VQGtgxPhvPJpvps4pgw
B/IgmYt9wWcI6tmiDQk3vsZ4LnEgOjrkQcXgqWLzV5JhtMKYJ9S24CnVzL3TUxDag/diKNg/FWmr
mhF4CTw30gyGkSs//U15WJBCPTB5gy9q0JZBlLQNQo0P/fQ9xUgXfXmdC3kRdfs1QrJOY/ky6Wxa
JNnokGZxqDRLmEC6z7NErGv6SjBfh7RHcR7LLVRu5MLJh8OdpuZfVGLPugd2pjcfm14RyzR9FQMX
C/7ZzJfGA+9GMBvfoNlZo/ANucZqGPsHtDqEbVg3rwPUGLdpYKsteM1Vn2oP3A9ED3OxF1p5qBot
KCdEqsgCRjPZ1EW6RcoyYonK7t4QHiMXd1bIOM5fRrqYhKboWJVi44fxEiaASq1dT2H5pJzqEIO0
z9HrJCGYFQZ0qbzUkDhqtG1OBEkjS46tAtA/4Ej0S/+IuhA0UgVkDgqH8nZQ+IFVafMrFP0V65VT
XkTzigr8Ly4l+cq++UmuPe+HusRgHxKNnL7I37vwT1N7vluoyV1n5FPPEVn4cscmc1/l0aHkgrHG
PVu9Iz6TrWgKBFjTK0tjzIGdvXcqb5NoR/7SnK8qex78cVfgJRcbqoNVHIKvkKQmk0qt2dFfCV1D
SvumchcJHZyrouekti9oDJsVQscn5hVSgzsUU9sLxbypa7fSdo8ETTxXM5IP4BiKRwu9MGgHXKJ1
EoExDDfUY2+xdFY92HWnpdgwoCPNfLgyixUMA84W/+SsZ09hBk5Lyl3MKksH4aXPw8mcXKiD2sZT
H8r+Kpvie5yzA1EPK5D2nC2D8yfhOw/5CBtEO/EIXllxruPql2ERqjSx8+E/hvHbNGtEw0UDsK/y
JzU/iemAEmGxDqquMEI1Ci3/hAJ1axnyk+kGJG2HkwmUCkz0djsQ/rYBe8yyi3kdaTARH9sYXr3P
6HuAyWQ0QVU03z5D2v0wN+cRqYQLYSYrDaa8LF9aNDj1pMESaoMoKi5miTpHI1IhbPYFId8jaGzT
yL9HTiC037tWknsBTJJrBRh6fOAsJmP5fQrp3OgULHD8mtvsfdbUWjXfZFmfRVK8NMVwy5Ha8fif
Y2HfSObcNEa51ZSAy6aYabkPuav/Zpa7S5MnOVA7hxHjGmM1h7BxQmKHhmnfm8ZrmjYEUyCIVldU
iF7t/Y06cEDF+rT1dsqxdwKk/Bqf66ov2SqlisRSW9zIQUUIUx3msvhr+IqR+68KWz7JfPyrCP7k
FMK72yffuJXLDUYdxoqFcSRE5HEWCFejOGdfuwlNWNZQAGYrPDSMAMmC3ZQmuYNtxzZa++jdJd6H
9QBo5n0MyMJrhuP0K/OcCcx3fU/C7NWJY8opzi+S/4TZHcMqpxJlAJCnPogmJNIO57SGdsstD3UV
/1iReZ5rUqKih1wSohCNKK+zZx9Qld2nhyIFTaBr5xLMfUIIzkqmkPwbziczBemA3tL1M4wySOaN
NGCy9UsveJyEvoVe8TrozRdawbRkbxFu9VD7S0V7rqomIBxha0/OvRuTjT0rkqPVVrfsYIqqhxZK
OspP/eh39bqY/tlGt7HCv8nEGDVkuzj3L2nc7eLO3o5ufXUi/6lKym2JXrKzmfOH+UbzHkVl7MMl
gInUOpQLCy4Zkl/tvugTJu7yIXcYepATvsTGZlpyNjCQjLB7cHQ/Kk0i7VNB7/PQ+KSRsRCYnsZZ
fIyW5eHtsa51bMKa8yMqiTBI8uKQlT09UGWovcGOZyfak+wrJxhiCtqcTdtGyIeICWWrzXy5OfyC
aRNW464EFAXIlBjwGBkO0luIQeghmaQFNl4DLFaGPW8rm/zbsKmJXdIPth0uTV26xiZ+kQkhIdm3
Q/feg82tKv9YGS9wbVYhptNGFkGdu29EgELJSs4NN0rVvxYGpY1cAJHxVtbR1rd1mLUNPoaMtfRw
dQr5qFDQ9G65TzX3jmAYkXSMkrfd2lBLGubCBnh2UNmfne0jf9aSv8YKuWj9/bik2KQXfUngSZlo
ReWxG8griB9btz8BWSsYzdP5KIXEKsIPOXQw5nr5ZFnoWrjP+7aDu5V5vxnRxJC7IIvkfsoUE82G
leh/yq1e5GzHQd9U06FFrrIBavM1DrzLM/sv9msuurIel8Vj7BXHqSekrS3WMqJCCjuCAZdIyEkj
JprlAgJC6INuxEoa78WK5WJ0cd3ylM/1Qx7W/1JsAGtHlddUi++VKm2c3OarRI3QF/DoagO51cTY
txDhKm07ufZ0+uWRH6Ds+Vda5RNxsqBl2ehJRZpepKoARi/tSLtiJMUXMmX0EjFrb8ttF0f3n9OA
pu/1P7RX4FgiMaFEyzi9pnWoGydwdIe01N97X76ETfGuK49AwRUASoRbfF6UxgHVYcdfQsLqdWmT
QekSzVQmCk92cfaQLa7LCmKeZTOn70oQIOk/tORy/doy/lo0X/+Ek7prFR99KqFNLHDqTC2bx3xi
/tuAbdFtwHJ1T+MZGeQnV+hYMjK5PMjVHijfOnN3BUYjtvyCceakBUikQXgIGImYZQIHvalBtBme
rZLfh6goo2m+3RyNuxalG8NM5o1OCqAGhzqwff8gne6vQt3AjIQCyFIyObKKUwZJwyK00SQPFLpj
8+5kL+5A2gXGXg487qMxqrq1O+rmWhuIPp28NzhrGoLBZlqJ5jxVpGPGptkSAjyukHCkHD0hezid
fVYyqQAPZ7IKah2uf5FTzk++AxRdcVWGamNm6euySiY+XACwnz8UU/Ad4vj3jD+sWr4GQ4LPH+mU
7TH5jSM4buk89LuY8F4sR22RfBaMXwArkVJNpTvN9pc+NQdTb67/LeJiRHbVbAvEyOzw48/WtIoN
UmY6iFG8Ts10yRsHMaATU2k4SbQhm7MZYh7JwjbXs7YQ7y9+aP0jYtTr4pc0lDDy+X+wMSYNXjtZ
Mj+WTv7Vy/GxnqZzmVh0hozqYulxdmmL1EGg2Ykb752g5W3LoJ4UBo5A3f6r+vSDY27fZ4pkUb4o
OP8nHC8uM9lh15jjuzLkxMxWPLuYffjpyWNhZb305JavwZmZq0hYlG6asy+JNg0pkuDTKbHWU/FT
GPJ5mdetHCGsbcyytu+af/VoVyuFAPyQoZiKbfPkieluFM+66pbI9jpoS+9HJ7sDTM7N0PS3zFWY
jbFdAGFCItTB7eqx7uCWB5PKWtRBYzDqZFvGlXudBqzuQ/9YD8RrjL4NxrPv2bFekh4rZNzwYFfM
S2rmvF1CJmYZUhpMb1pBblqmFrStHl0geC2VCImhImRUgvKPjKtfcs1JM8zVX+l8V4aA023bxEWb
3T/X2jrM3irWH22avGQx+12WOp9gDmHadoh6dVNDRBZxC7jmNymZzGW7h6REkwAIRx7JMgGPbfUQ
0AszqYJUHuMSAQgCER9OFbhGonJJnE8fSrO4s3wiMdEECk3+uyK0YT0oFosE/dhrNPNDSqEccgDk
zPHX2kitZ479V1L+6sQ3A5Vk8ABnG5sH3jvWJ7jrp2OZ2/VpYmHhmdq41kSr1pokYVWAt4clAGPZ
3ow8YgPnQFqZ2ZapC424zbVeEKWcGPVb5VO8mWGHeT8sd2E2feW2Tcy6hXto+KEOAbv33bALpuup
mzW++m9d/9UjMIPoVMxtqNmQs2tvP2ZAr8kAdVa1Ratel19e4bx2eJdhdwx7c6KyQPaZrKzZvPYW
aq382W2I+yTpB/tdbXHEiCjnYHwuk+hjiPtX37oPRMk3Tv4OIg99yDBgAbYTyqkih/DRIkgiqIX1
9M3VbGYibb3L5+St7sRRi5mzM1fGM856vnH1c1cbLnNE81otfw9mSk4P7K8CZ3wfsRHWiy/boX9P
zKgN/IQzeUqRezgMZqCK3PrQXvxTV8FAN03oaCorveNajqLxYfRIG1zwWwqBKyIAzVafCm8lJOtL
F3nHUK8PtoeqwLVudicDIbN9rBVvvl6DnHfHg1A4PgASJOOX0eGFGcrFs32J+sVc4tg8tibIY+H5
y2RhVeeYbe26/4zz+FIYLEOa4ZNTcgzyniTTkAw7x0Kk5NPCDuFH5BPJiyAF7K4LEt0nJLuKvL1T
W7e0ANnWa9Z7w9nXTT+jp33Y/XQYh3uVa2D2cHckzhPQRNBp1VmzXwaDAYQpfgjCPY3OQJwD6/gQ
9bVSTDzrhs1sg7+BGsJUL7HQnxNvPhvh/Iif6hxhTFwpnc+Il/BWV3NHioW5qXQUxVpCo1pU1n50
wUhrPO4tl7qi7R7hjIx4iPqp0rmNmao7sfWIq+U7zezH1ENhix1/BJaWHYrMMjYxisV1Hf84MZt5
OffQeFX36pTtVSe5CbVM+S7K+W2ILl3uPOZUifguNJPPipsrnoPpESo2Hv1Y/rNEgX03EtjIRrIK
QBaB7taeBNEFPMS8HWb7TtuDqswE6T/2gBxDkrfLuEdBFbJWah70XLzEbf++/C8V7qtW98yUmJ7Z
zpPjl9u+F6/YtYLQjr6VOXwWRYKsjnhcV0NDMo4kTUPzG8rx7OfZn8a93+QEdzUhvLSCFuO/70Hm
WDXL7i4RU2bAEi11GQdunHB5nWmSnmSjHaxuuHqjfukIUJ4kIfdR/t1QMOjKvIUG2teOONmISiWF
2MaY05tXaOY3Zs3dyZCsjMdnaK4/Ju8s3no7BFvWpRjKubSerLi7miRHrWAYUY/YA0yxoj8CJmM/
AE7bNmhwTH3v1fe408K1meu/LCCOflPsNaQ3nkwenbj+od5gjDT/LQ95S+GV6e9mQ4EEAA2jZEx3
lX3DOL2MnvgZkjjdlB0BdmlPn4hQoG53ipaLwmkMoNAwsM67a8XnLa6Lb9FTcoXZHU7Mtu8YZon5
XIY+k4zyRK5FPIt+jQEKnU0SPdfw87XW+lm+Rr0w/vlx+FWEyQGi0I9rmNifaEaU0WjkgpC/lkHI
y81+IyJv3edSrYYqQvxK7cpBnP7z3CC2YULwdlmhem8t58gb+oDr9mAOkuAlsPSrflTbwSQDnaEX
iu7jPAP0kMtYzmoFufcmWTSSeVPKGx8R/tZLGMMWuLsKu8xg9DZDLP9iLx9p6MJU6gYK8fSiPI81
M8jSvCt2xRI7ZpLPu+psm97Nvqq0+RO4yXDVGu+GYncGQ2zXuORcahWrE8tUoKGNd9QLDAKL/t10
sz9lY3oQ+IPXxPluMHlPW+RUak2tdxoQz7KjOxuOOhtJiJ/XtO9mxOx40EcHPQPvD4zxeDU43TVj
xj7grql6tG9aAeGkDnnlK08/6+mCIVULLKXyzuEALicFDCwq4iQpvNhsI/FxdR/eIe9CMYLKanp0
iAbgPrgG2mYaaDkUiZmNpfKAWUAsnCIoC0utlZ3bAWRftA313DMwRedm0WMTA9YQUle68pBC2Sdm
26/8cWuSvm23IDqMi2zTmx01X4YkaSRDxbeRn7jILSJt7FWj2QgIRnQPo4lfMyddPaZE8dzsW+ba
vew5igqmzEja8qqzGFtfXeKaN1BZib+bocHyGuPFfci95Db2kJsSGwpfZj0T5Kjv+ngkeEGfF7QG
7dWkhpfetYzVWIo6cFkxn8zFBWFrzqEs8/DY57q3k/nwEM2VvYtqLhMXqD1opXBbMe9b+/kBawMN
UqYz9GcdiPywi3c2QmJd78tTW39O6eJMGKgP/Io/Scu1g2rjk1R9QmUnR0Ynn1AmvwffGrhJ+DVi
2oNLMYK6o6izIvfuiVBf66QsrtNEnCpLAW2YcD3BVVrBm1wpw4nXuSN/ExasK6/EcS2Z6+m+erB9
ltkmWw6fX5s6LSGcNG41QltKrDx0f4X3zoqfL44oBVtb6+QprbXc2uVm0eKtzOOVa+WfThu+osPF
wivnXUyDvpuycRkleKjcqgb1XnQ1ffQHfUdnVXloJtjeVY9Mroygb6ffrgAYFrF71pn28rJCla7A
GGeiPts1wQuIjP7QupGmUOzjtDaJBihh3ZEc07UqmNSIgh5QyMqo4j89x6dRFy/mZB+ptunFYV0H
4fyQhIa267Tp2JawdZN0epVQV1YqPQ49hU8R0XRpbfWIrhRZGy6zmg8iiKHxpcEJxQ0xULYsgAXq
aryNEICNBeFM46XB5jcVrWiBJyeC5hKxSkUcTklVFHrQl7iOhoK0cMtAhZ+9jQj28Y6IN4f9sQXf
wJcQ5M0J0EwJO4D1ICoXS9GlWISQGSFNUTtubLwArnIORRWemQpdBDrtanbl+uYMMVT9PP3qQvIu
9OjkmNE219nnm+29xNMWmt65Xqw//OFiWKYIzN3sfpG7Ol3EdcJQSW+gU3IjmilHZa2OsNm14RoN
bbuy0/xWokBjTXJUo9ugBcPWE6VikwjnHVv9txd3f5SHH36cfOMnWNuYFEkPmlYx67FhAoFb6P9c
vrd1KLNj3yP2K+YKcz2jNh0wfpajWnR7qDY2ps8R+QdkgFuN6nTdzetFcLb572djIX4YqtUrjJey
YwPWSBbshGLyXEpn48DWmkmTd2SMGwtB5rxcToUrOZbEC9rRb700ko2MzYPTJF+e1EEQDx9Emu1F
XZxDaLC61jwjKNtZ1ImDai+1aW7mdH5L0v7NauoNaOUKLyu9Oe02Omb11GTYewuVAIRLjiSoODwG
46cro12Ia8CwGCr1I7bbMiIBni39GtY8DiN8RivaBp9Ug8Z5ygto4ba7wRMK87nGnVzyqIi2eTJm
YOL9DJyInD6mJuOtbXeAJmd+eXYoh/QpLfIXy0CcqC0v4GiiaOf+hVFABmMaf2UzDPIWTSdOy+Q+
F9m964zX0Jr3nl3fZgEjuDfOVarzATZajFElPgi2987Ibyn07nVyfoyhJ/6gc5/bKkKQk7FvIRoN
SoVJ8EL8FwIXDJmp9m1/Hor4WpWKa1VOl05t9DZ7gtwX8a1lj+1IJEoXnhgWoVx49VMY5hleGzt2
X+3xs5rjq+mUJ82qn6uiOBtEmzHc25IFz4sxQm9y3eGLjIRP2D70fgmjmEbzydVmWgRbmMSipLu1
umJRTlEL14M8US6+2rtRRfCMdxE+3mwTDfV1JpCBrFn9lQh1z7fFBosbKQ0+1XEcUsSqy0ztu9I+
rYxCj3B5Ii/I5I4U0n6ebKeyqcNU+JF4AAvF3RwzrtzZBwwNqGDlfRQWs3jYuS79IU9bPDEH58O9
rNhqIMjoY9ntMZ1rw0dCIPna1LmGlXGsffeOVedPkEnWedMPOBp83u5z0rKeY52DOrY3926EztqC
zYtJxf2CsPWSDAPH4fJu2sKEq1CnrwDb2KlwAJBiQMtTNiMuHrd6xp392feyO1QxSpwQSh9guTlI
wgAyqhdg8AxXMIL2bZVcbErwrfC8XTlFJyKGuZE6eiTCNOf6nPH4JyCqVkDwFEF0jK/crSfDB6Vp
x9Ellm92xXtT4oE2WE1Gn2nbXimDyVMla36Vxd7RGFnhcXNzNTo7w85fnARd4JjcgMpsEEbc3opC
E/SuFd64ykc74dKHSRyKfje8p7rVBEZH7lTS1PlWTvMniufnvCAL1xuItiZ3h3UvnWQseGHGkqLC
c3ZDBaxptKKgDJtXQDDo2nDtnQosIah3tQPPHfGDNc+AJB1i4OrCBMZ8GIS/Yzo/2FQDi7GX8Iu9
j+WoNHWkAdNXTZJi5wDyHhYLbWdWNzOeiU4k6iyKjJfEItCcF+WdYdUXD+xOU1Yd4PUlz0w7lKZb
HywxvPVOkuwV6VjScQiKJNtEjl7DPhCRfjewZBFJiWCacSKW9dWUmvi4C+NjDr232jo7ERtpAYF4
ndfak9dnGO0Syofq2E7TzasyyMg+aL4humPYWybI4fPcbP1Z/NnViOPC5l3L52rXaM3J7b03o7jK
lo/QWDJ9anSeDZQux3LwLpnrrfKBoFUqwWSV1xwRGmFoEO1Y+prZRcuILi+LYIaURO/a3t0J27XN
NUQqBoJ3orLc3ei9ZDKFoUmu2aqr9C8DQVNMYhC0w/Gv7t2Nt2CUpD6+eEZ/Gcd27Q78KbYvs5Vw
9XRlEOWuaMVFYw4rx8Pj0oj6HecJdb8x3AfS24ErlkEVyjfVZ4++EZ8QY52Id9HxLaUrYRT4XaFy
rV0+M0hGGTLKy1QRhNgkjFDgqf8Mg4kNGg8Aq21HosUEBmB005M7O+7arx+aKrqPXo4rsH2t8Xqt
MU3xuS5TxDUOY0y/+4Rd86lNQY38eYWXyhkbXgHCSTedq+P7c9F7vyYi2/iOf6YKPxNPs5+7iLyk
DD9LBliKgFMGZ196eASZy40dUlf899uI7G1KxTOuBGp2p7zM0vjr2Vmso2nJYu4AMY0PU2P2lPd4
bOKxfg0984Qqzylw6RpK8Crk4tGVAtErA48xPcGHgxnHMJuKsztHDARXMflvkp2na08nfORQsJeY
lExoyPNIlS7lW1S23mrIj2M24neq31gIXqdG+0bzRleCKsl/G3CmR77/iMzqa2yJKEZPRDzFP/kR
GzTT2sTcrdZxn5oGxDy1c4b0XaA9BcfI58A1wAir9jvmgkcwHp+cbPQCdOLhGl6Tsc+1MqGSQrYi
N0nyltZ8MmPDf5ZORUlFHk/L/VoZrJ6E1f8jJeW1dkwKntjQqSWdbTagB02xZ/QtiWes6bXe2rRW
fe8H9ctC5KIDiAHks9cEgH2EgCyn671tqMckbYD2L02ANbknvaaA7MEN42VTjyzUNLowXGJodmoE
LpmdZmun/Cio/pVfc7dOuMG1XRHhVPGcltchqblktGqXKTrmiDmS1XmXNtN3mG2JJ/etLChFHx8b
ltkjHRWBxtWTU5OBgdo8RxIEn2qMua29iWivwWhXtc54EIHhhq/9sShKlIJN9Whm5UMoQ9bIgHaS
gci6MNM2jGHbjUiLZh1++y7KrKQCiAyYNKIILi9VSlyWkgQHm4PzQHQ7ikKXG7mVBApnUxORUnO2
/epTVSOWQp1qfRblgfko+1oPGq7PZjhvGyOYllyUtJP/nB59dgibb+Xnt7526Dcl2kK896ylbQ9T
XEsZn6WPuuYB3KjNxSpPIvgjnzEOC4MOhucuJiSp+xwGrtgy5WIyLMrZsjNL1kPud+1al9ixH5qa
b1MSB7UzBv0H4/RyyhDU0EgIJMB2C9JUu4GJImAzCkRhHfU4frXBPrJVJl+tzfi8EXeFLMF01vSw
+1wffzn5IWrIuxA+qKGcnQXtIjk/6VFq7LQlEy9cNMlM8zXOPPwAiNAA9+LCVmbPIVFi/FiZku01
OpuKUjisr6poNfJfXFJNYQ5u9dZpLx3s4FWPlGorSMAqY09uVNenm1xBMJP1w5j7710sog2a8Da2
/UDYZQcz0Js3DfC4DMvgoTXXeZMgAxHRc+xbaUAA+qawedVDIhK2JOmhtPaEz6hchagP5jYoGaL5
BewFii0NgofLPJGpF6qf5jmj4z9xuWwjO3vSICDvhL7YduZeu7d2CLtOxEybsGpZ1bPJQOsU12Qg
zoWRkS/R4oJLnHHfu3wWYrds6Pqs73QYh8AzrYpmMI0CK2I1rYfJmcVf6Y13Cng/MKX9rynmIigG
iT8kEo9GZE37ruUxwJgC1bjvkcNbFQq7bKa/8SREueZaiIrt8Mh0IaS4YzV3rLxce+Byrwh5JXdn
XHq7cLpaBI1uEpY6R+qBKrA78MIGIjQ3j58HiwEGMnh7A8hGbGRHJFIuBlarAlSZoR0orVYKCs/K
bbviDaliz2gVStRACGaqugjtyzQHY/ShkJofUwHwl3p7nbiVDEJ/nk/or5lipBkdh29+RSYZKrY1
fcRZma+YOykSdyesLVN5crRNJxpyo7KejzDhwgGIPpKD+ih7wSHHhsNM5Q5FfH9WHogKpIkh8cQV
DCWAHvQRHcYeFrTN7b+83EoY5q7G4nzQWoivNcvCF6+et4NrPGhzlv9xMm3h6lhfiWog5ZL7cQmL
9CduiKAwyDd4MYySgbZBIh3rVvN//4rcJ8cXBGEQONUlF1r6mNU3wsynd1l777750aq/Ggjp+X9E
07R+x6+v4fN9toSOVpzb+DzUUX6A+8pIOS09Ql+6+GQxbkVyEEPDDsv61XDzuyTBfN3we61FVWvX
//6Bjj47RCn0Mey3K+ThzguroyqAj9VcWH8zpKttPgrlfCzg9ZIeb9k3Ax8ysKn0XU/mT62dnbOb
ZMgJMwIgcPya5//+MSduglS23Bah9URc2poYM0Yqsp7fWuLE12PhFs8a4wan9vov/4ZQu/lpl4LR
JlqJs2SeAEOlYLrG8Hd0xTXEN3HvR/8AWnd6aEKwV0X7TkGGQH9wjBetccP9f/+amka9A93LedjP
1kEXXDKGCaCdSr1zt4nd1vuJ9GrGo/aFmA5ibpxKXYYwS9ZF11dk4JKOG1r+AdUQulXsLR9devJh
OrpLW8CuOlnZlu6dSw/8p8t1wMiQKnwUZrFPYOqs7NocTmiPbU634qOtQdcAJOkfCGW7+5atXWSB
Ca5UKr2IdlxgjJKAaOnpF58kovtshu9RCAUlTTN9Q7xPtcljeuQ28uRzRTppPbfF16QjlB88TElG
U84POjTqI1PTgf1X5J1wSyB4TSxKRYwdX6bm3qwkr+9ZNT8Lx4Fa0HNb42EQXFyNSgIbMue2NJDd
KC1Caqdgh5QGYwhCBqn3CH5GVFVeEz8Zdr6WQD7zGJH7de5f+4VfyMoE+2qJssnvXH8HQuyxtAiK
ltiTMGGpepM2Jjoz5OsBzoGShbhKIfxL66fXyvzBNMLsYfz/P5J56x8oOv73301StQhB5oh0S5Wd
shxLt6ln7dvITDMVXfLPZzs8dGtkBd4pBQkTcKwvcJmm388O8hIwuNljifghGGtiv1gRxcA3Imvn
O/1uchqGhWBppiRSpBbD4MkZDHDzI2JbeKMjMJ0XEXGtKdbkeWS8eSGC0pjtNd1nvG7avLthWqkO
PPXkowzPddiVN6utGDgtnGCZPCtJlNDkxMCNS76Zyi/vegNs1LIVWtOy4te06CJA0gYaXdQl75jS
+opZq0UY5BEX0jFbbFIqfkjSlp8vI2DxPSGUoVLT1m3pKUcQMlJLjgkXzcn2v+pIAeju7Pg5ZEpo
IUFhWzUWm7CfERirN1uUnOmOCrc+tCXmRaK4QgAPCDXtt0rP3Ase4HhtihmfW5rDdoUBUTMA4oep
4/xGMjvhQJz2rpmPr56CSlVN1gTyeB5fbVv7AA0L447orQOUsmbj0Q+8TOW0EOa6N38UWlAjat55
BI2/IaB0Ugs5o66stWk3BCUlsFlSy8dhYvj7yjfv9mJ3MbKyIOCN7qP1h2ndsIzAkjDByCC2M+E/
nYYWxGEywW9MBm06uyFbHBFOG3ZC8mjUrNfHrDt0Zp1s/3t7UvWTmyq6GXF+a8uwfTAyjXgD6ehP
JofGRmvS8haNF+kiSQOBVuP7gOc0UZTu2dzL+TxZVbEbNQOpuHr1MT49kSwlePjiaK8sJimulqoN
A3xMg2N4bVU6bMNC89HfeaAbxqwNemmju+q1/G4040mheKYdIdZNhO7F4jpS8YuEH/c4oVUCq2x8
URdpLyLm63NFc0h0XdspK/N4e2hnwumzJtPTTgQb8v9nANUdPma2553aaPFmVsaT7iJnmdt2D+AJ
72jvODvCxOeD6aM8RDsmpnDE94veyAcivZ/k/OLjOd+Rqu2emBsM2yal/iZE8JB5pr+2yZ2YrTa+
OFbx/l8cnz0R+JNoOF1D38jPtVcVZ6W2c0Wu2ACAt7saL7SFbXaeHVPtpDb4x8KzfFzoRQeJYVQ3
O6zwVDgOrD5aZESRpES2nC1LG9sgyLqPmDeQf0wFG6piY8gaASlSoEhxr9m+Edg6o4aQLTWSmql8
SGvjCX19uvvP9ETEU7+zfGZWi9+X7Mr2GoHiKg2DYRpmpsicmt1AMAZGW7G4SllldrOLEt/iI1Bm
hDr4strZ+JnZqjq3hey5dcTAi9sxA/B9ZlCaGf0fZ2e2G7kRbdkvIsAhIkj2o3KeMzWrXgh5KM7z
zK/vRfmir0sySkDDNKEsGK5UJhk8cc7ea0c8eoo5NUke4arYbK5JI0bw5J9UG1/IHra3w0hHfGop
P0VS7aDwVUBIKxoYKJH1ra3mblqKWqgrO8lMO85X/cxYMNmMLZRtuPuPl6iYdhW8yZuUxXC007I7
ZXoeHGlALhB5er7evIydHE9+Uc6fmqcfseck69LMUT84PcHyDRIYLWN4Q/Zmj6OYbxinb7dJgrY7
4JIg0C0OnvMcgkzqw8xpQ8t/NgftJxcib3SWSfh+0hPijql6pLd385A8gjcajWeCgnblqJOyjYK7
Ipb1YQgvvZ6D/E5s5Jl0MctjqrpsAwmUXUMNBg7EPgRPsIj3hpf4J2bXD7XPZWXGw3ikp9LvEgod
xIoWfYyZN8WGZ+1Ii5WoB/M6CWI6iaGKFw1KXnDNbfqst4R6BX2ztipJW8mohj3WcG3NxPrizaYu
WnXWmnHpzw/GUlvW24pGlC6D+MUh1UEbpvFk58vW0Hx8IUOwZnE7hsWMnS4H3h+7pLz1nsDM2/fw
imXhuw+9ziMsNQvzvlPjpQBGxyOKbnabQyUjllondWTZ6dguy5prIsoB51XNu1nZ+UWzmu0U8HF1
0x++DlJQOfjyu9FSu7D1N9V8kwcjGbQlXYitgBh8TZ0dwNfDyJzqXMLNZSuqiT04sfukoB7SeraW
spsjOeOmf8xcC3RS+D7Vev2CoBKdZwuALbVx+uQKpVg4HHJsxwhekoaMV1oKYljze1mnDzYNPmKP
xy5K/MwW+O6MMDh9/BQKvjzaHCoqwqdGhNlBpxmyRFKS/qD+f6GhdByZ9DWjgMMnSwRvHZ1allo/
hmxw52hTvB+geDy0WW1zpSc0ZdFbNxn0Vho35zKpKh4PowvrBvKzPwgy6gvHPA8CpLfnzkY1cgoe
Ahb1qSUrlb1kt21o0t4pIkXuVT3iWMlaEEJ12sIUJ0pNRV76TobFMfXeezrdudtAL7H9jBSfWR0T
Bihx+0NEnJ3nsst15hPS3wRKREes8PwSrAhxKtMkNqhfoIAm+fs/6+m8qDZ+PuwyVuS7MoT3JnFH
rlrbUQ+4N6BEWOFzSjw4wwlrKxjiLdUo/P3oRhHwQ+fcWnF+zPMGsQlCFLq0JWCdWcri5n97sSs3
1tQ5S6ergagaxMiEafmY0a2H9G9R+kI1QB7cx8ePkyE8zNujwyBZZd2x8EZaZQw938hgpunXGtbZ
KJBH4ap5G1upv43I6BY2Gt6kKuD6Rh8PxEhueoR91ySwyRZy+voVvOBzOEbRu3CCjarizax4ItUu
dknOQRYO9fXh49U0uyOHMH/8eAWDGmh8/VRUBFlWVV2ylc5S5pQF08YgKx/Jm2QxtvGLBfRkbnaj
GBLOiCnNnWsmPzFOqQjCNRVUjJouddBmFYdOdOZTRXdZ0Dk9uoGaTn0U66cyUc4CNUWzpK0UM8xP
4kcZ6Nc2dMTfBPws2chi/ry5Shvfo5b2Km2dNaIb/Ljl4DGXrSo+hPmUIYk4DAj3sVRVyMPN6vDx
E7hLioRwAF7LnxMHkltvCqrdT5R7mjB/Yt75kwGod+Wx5e29wPFOmdG8ANDTZ1KUdxr6oGGwm8sV
WLToAszA3k19/TjOrxyEAHeuqLuNPqOW9Hj6izZg/izNcXZKEIca2WH8khSgjACdlGfRBE9ALtl8
ahDbB03Yr84YP1FWY+dClhIKXbuNhs7QIEKzmLqCt8E8wIOwlmq1d3CCpL0P+u4POYuaQ1FJtIyx
fvg4xfNPmpglQkinV5bbwFyeGFXYZi23MtOtpyohMnicdLn94O1rUREtUwTu2yQilmkcyp0HcZPJ
ocsNlKZyi0/EOH5sIIyG+VJclDn8/6lSPKbt5K4Z9ehodXK4H8GH6A2OxjoFS6WHzS1OmngbOVG0
0T0DyeGQv2cSkegIsePmhPKlZxh4ZwxSvA1jsoybEOqJlxv70iQClkwj+TYYGYK0vr0ZoyHPHdcB
Iw2nmxtu7Rozh39x69E/Rapb6MwCLx+n1GH/ryKXlmen/R3bLrFgmdHeoNaVy8YxLlyBRwrV8ayX
RMbj5bf/0Bl06wl9ujiG/vhRmmaNDfyByBVtgmWl6eYeHUk60//p9Kfjm91W36SJSCL9fgk3Qjxm
K90g0UFKzvacN/SvNBHVZ13SxhU1q2c027FIu6s7Xwbt0Nx3etLca61H1Hzo7PzE/AGffWvX5GyH
WRYfGKffknmjRwi7wUCMr+1/X+Z63rGBL/7Kir1duuK96Et3KdWoDqKK3UvqMPuEWyx3Q8Z0v3GL
GCOIH58+ftJbl+I7lNyiVtnttSlie5FFR5e93z0F5p8VD9VNmLfuEsIFEEOjffTQ1wO/ypyrZ8MU
C6AsLlLtKUZPmbJ6a1ndE1AsDk0TWk8dGrSVyTTPYIU4kWBNfvIQOf9kUP45/B//b9hiH+GE/47/
+5zoISxhGbYhqDYF1A99DuX716fbV5MXRBKYAbRBZytFu3dd4ycNAQ3bB47G3yd0mJ/DofjrbEsn
apD6WDmO/ikcqsU6zAaCGLQMP8mf8OvvpBM3f+YlFqYQ8v392LvBJhDNj6JBgCwtmJdjt6rKwn9h
KuE7V0KVvX1RGtYuFMmfRZygUfATdxdJEnZMt5S3YhriudL4JthKfc4nFJZtO9JWUGBMy9bVp5St
Pkp7m9FAt3Ab49jz4ezZOQdEsV0pigHvJK7F7p7vy9LWfHYWVNfiZczz9jQyw5siHnLpIKpFCrkA
R0GlrYWSxopduYfI5TqSsPzmqbJcFgQarcokwAUnungnQPL5wRBu7KD8qdfMQiQi4UXfaOYi9TQ6
qDXPnlyJiUYCiWRRWR+0qXCJt6tdFFnWUZi296ysapXkah2m9H4tGjQrqsi123s9DVd8lm0518kF
FOcCyyt7BF2u01r3GJtEJ2HItRkE+ik0x2LdR3BeialGN+wmhCWUHcZ8A+v8768WlNlf7n1ayEzE
HSksXTc+B2rGBqgjw8LoYSnjbHGi9eS7tEracD3g0sOZSonawsK7mEDitnozUp9gTUozp0YJmC3p
PJX3NmlaG68omTUmjAa7kj1pXbLwFcPYXRvQ5qhBEFz6yfRS2dF0lxEjsGwzBixgc9We0rY50Wlz
Hn0josOMmlQBHMY8nV/I6c12sqrCDcpC96muiwdwVe2fCfpJk+ZYfK6nyHhFBR1iuCyTP0xEdCZo
lU7OXQSv1k7jSJvBCcxD3aXMqueAPBen2cqAO3zFAngxG9+6o+3Ctrr29PvIkMZlQHNRVMvAqWEN
5voB8DIkV9PX9s5UaPvOIo3YzGkn9r3D6Etz3L3SWn2X9mGPm2BOoO7J61qFtTUtIT5U93jvquWE
QcLydAOUedqck8ZEBRMaqBowtSb51dTrY+CExZPResZ9U6kF7T5n11nohTBdXJjZhU9WqZU70wwS
Onh7+jnDhswc6p/A6reQQsSq9xlPuJpe8NzHBOizZjyEFkH0mR4Isgf4CXlSe+FJ7NyxidhqjpMd
wKk1h99fYeJzVJVQliUMQ7Hw6a4UH0mB/1r+CssyWgTnEKRT/RE2sfGx4VvVcL3YYODYbftqawHC
xRhI4GEM0vauYYu2itrSW7SWb59zTZ5CmHXhmL76E0JwZ3oHpTHOWUGhnW4H7OvHsdGWMHOYQxAM
kzW6dxlIJkl10R618MUyPPeKw95qS5cPTJ+t8pC0AhGaP+oIYIW9h4rzqklo3p3j0nyBFM/42A9W
v/885LyG/fOQ+CfBls9jDskl4lAHvO7on9JPdfJ6oA+jVnRLIKC+cMe91nd4lIStLXq/f3UNZCpe
0PZYVsHbWWgJz0hlDwp289Hmo96WRtvTN+9egsQf0djp4oyEN1oSw406gYivBv8AJErAGMNSBnzN
sh6Lx07tdUs9Y+jQsMzz5Al14yla0so01mDANFCvV28CqxQlxS3Sudk1A7daGdjJOyZFqFIx8Qpl
bN/74RtGObXzXDfEkmtE51gE+0EX2c/IaJ2lxsjrmxDdj7X/8+dmWSZrle7afGyfihQ2qpHheXGO
BYWZPOtTjYPZz3+U9ZyANW8BZJ96u8TQDybr/ImN1p6scwDvMeqZyFkoqCX0IZ3siRv27zx6iyhi
zUA+I6cwF323ztoMikJjOHf0TPHE2p67KGzHXDqkBe1Vj5Om1seJD0x6iEewNbvtm6xqdNg5uU1j
R5aZwRukkP4RqjmKAuNYErKVqBqWOZBHq9HosPF3gKk8OgdM56x044auufEMZx5CqT/yyGqPhpks
LcFEUNdV9syW46rFRnH1LAO2WnbEOFTft114Lti6L35/fRqf872oU1jmTcPVUVYBOJmLxX/drzFC
R130frEQetgdh84Od1WMX7qJ3UNWhtjnRJAyuwYtCoj3kPtjf2wb+z3JI1juoV3djKQKF14eM2/E
LgG5u1db1MPf5jz+1zslIG0uWIHEUlz9+k6ZETDuwCqKSyAYgN8EtKWCRepGxqNnF8TcT92xLSN7
RW/DWuHG3VXE0FzcSX9QmWpXed8ltHOiHxhPmea0KZPi0rO+Kf++FNd8no5psv45ltSFmsMq//V5
eilWNa+p80U4gVTSJaFAMTnXS78mSzPACbEoUnxc33yLc5X3691Cp02aDvUm/xrmp1WmyBpRjfAy
+LvKjTflAftSmh+QUFpBeA4MWbE2u6SAxQIILptGcycG+QbNCtxrrZn0LjBtfvOmvi59AqaV60re
kdBt8am866K8qswRsEakml1rl+0pBpq/82kOrUZiRbaB0Q67Ioka5K9i14/t0zfv4EtxrFh+XWVI
aVqOQ6Trr19G0+gwMulPLpIIy6ML+RpbmwfRg79KIKna5ELS+oy7HQ0UHpvB8MJ+c9sp4l5IF7O+
udnk/DV8+ppcrgvdUbbtGo796WZzWhQxZhKSpxK0p0B15SaL2wifVmK/JRVgfKQwOz0L0xNt0EfY
hcYLGFjo5ZGQp1ib7D0g1xeVdsmOPYxBKyIO1opUGcWw/ACbIWCe50IAlrXRrhoj9K5D92zIoI/Z
a1vWjoJvU6IYJxX8vpGZ9tMpT00tgmfi214ncwBfMSfYsAHTYCpHyXHo29dibnF+nFwb7EuqJCnX
8AzvK6d2V9EUXBM6B2eLGK27TB/C18lC8qjVbX/4aLl/nLSw+Vs4qbftrdo/fvM9f73plEFJw3OW
7RC7oE+Xv4ytEGcTQgU/67M5a3JlDVb97CAK2gF0n5Y4sLs7syzcY07auTcO6YM5j5WdIKNJ8soe
IhBeCcjNMU5OG//x+/dnfb09laEc04G5ZTk2j7Vfr0MtKyBZTWwJStwFJ8fOb5Net6tgKOHHDi0D
iSbzl1Xo/EXXql07c7B3X1dIRObgoaGQ3Uq11CZO2nmX3J9N95TvHydo1Ch+Rz3ffrxs8ucQZKJl
It8nutu/9523KrV4Hg3Q52CvubuwoFOXiik827p9oDhxznQPv7nUjS/bYKUs03AISDXY5jmf60DF
dkmnDxEyzEr3LBDRRXmle+ohOUfXEV/W1vNzks1r7wwNa0eMUn2w5v9sMKZ3DLyvWFrY0w7J7Zvv
4muBSkWm20qhlhQ4+efHzL8X6KqEWoD7fNEyTThpWu0CTUeHbJFuw91prrRADEduyWnnArRalrQ8
m+xNT2EFEV5SHINpnI5tr1tn1DQZUMxQLCrliBMoI3max/Z0wmxvnVHpp1kH1GgafkRtN60UFlDa
KKG8H2ob6ypQ4iU4ENgxNtlfDRO33/+u//FwV1JaVFCWtMiM+5wuWlZC1ExZwoVtqgUReDSqGxNd
mmlrF2Te66Gt3PughPaJzvEwBFoAUOY1Tq1lGxb1kZg169wPDd6IFKELAhbSWY3Qufz+bZpfvxLb
pAdAMWbzbqn2fv1K0gDBElflHB+PkYTagXq8GpvnyWNOlZKn4Y+5eWPAYtySKGXjn8dLm0Xproq9
B4ojekR5DsXfiSU9LRg3Ypx2LSRa0MacJBsymrgC9YZL/Mrv3/xHtPmvazo3NLsdi3XdpJr6tPZo
oUYQeD0ifqdrDWoWSXjbDo+Na4sjBqe/MByBd0HQmFRE57HjN05ZWBLSHeHq/P17sb7edGwImO/y
tBM6z/TPH2QsYtcQDfCm6pQilb7LE3d87n30D66UPZBvLI5anuxrx0gune/YB7itz7rn0mONQvMY
l468ua0BRMT2/wKYo+1UVs1508G0Mo0EmFzZHj/y5vSJeyg31RsM22PasaEL7C58TVqdjDsLikhc
yuGYpuoNiKx9aosK5iw6wbVODuLaT2pGRP8fvz5PVq55Z7Yw6J9qL3xncVJWabKoTOfvaZL2iahi
b8uG2YDuIjR4iG6xrgBA3NzcFCSLDt2LoZiqeK0MN3kRMNGvijkJHD1lFzgPmhwZyMs34pySU0xr
ZFFrIUip+WUf5vY+jK32XhnIGyc9tY+pI6ttlaCG9GuzsFew11ds7QNhvNtkXvSjfhRoyXPEuuKb
TqD9tT6mNJ53mx/lPGXPr3fRyNsJYMJnC68FHDkVl7i0/VdsVMnRSkHoOzzdNp6ElMVXNyzMIn8F
w9Sc9ClHY1InJFwF5Ck0QxS+ul2NHkgmp2BulyWji4cAVLfUsCnGBEFiBQm3/LLDQTTeBBMxbJ/6
HLFYXRBxZi5YZFekkADw9ywTdaxPtFZquLcMJ8JS2oV9rjW/2BOe4YONavUHkeLKBd46rP1esug2
Tnb2RUOPA1SATvqGVvvWM/6mN6LGHzvLIzEGn9pdmdc12kijuoV2UWwd1HZ9W8/ut/rR0mN7F0M2
W5ttLPcjxAQ7D6y3wvLURsUt2S1jmrIXCxhGMhlcRUFc72Q6Y3BXRNZPKz7AAMyH2+Fi6dWzGzod
9AdjejC0Qizx8qvN7y/h/1oKlc3Dm86xRdNdzJXEv55O7RgTwGjqsHaJqJSFp25ZV/2lZxj6MgQ3
m1he08ksNnU0xNhCiTAQg3mDpGY9OQzo2qzaY1n17gfY+RCa3WtCUNEhd5Dr9TiwPl7RcJzufv++
/6PCsfGGug4OWcu0v1S2YDUx47dQES3AxxU+BGsoF+1Y+6tYL8Ay8lVsM8CVOyOXuyCA8lDXTHNq
YLQLXVPuYX5pz99j3Hl/e06PlKMZSfSqTDLOMfstorFF0GSSx9Dpjb3xLHxijDKo+bjaG8ysB8N3
4isz4H6OmB2wB5g/rDCZmFLUcl8JnCu//6Xll2bqXMbrQufparLl++hv/+vLYnQ0piIE8+nqhGP3
sBsOIYnAd93ot6uaqMAd47Po5Hi0Tpw+uA2dwKJb2fdMdvTlR8RMMSeeQuoJYcfDUycuNVo4PanN
IXu2Q+aiUcgbbM0LcM/hSul5fJokFs4Gn6K9MuMq2vWD8YcIzJr+kV8TobSAAkDee7Cth5QRCDi8
PddyuSu7rkRpatebcfTIW6h0k4oEgo4bUFEqPSCqy+lurlwUpCK+Wt0WmYz+otFLotuGfwtRZ/vN
9f7xdPz09HRMWJaOkCb1sfVpRyS7GmKNk2ULFYUWTxCSFXQjhZsb1ME1zGga9rQCgLb38He0uH1A
9BORA99l91M7mXejX4xbV+vCW29iWzJQB7M3ibHOVZFNE4j8hfVI7vJa5H1+MM0YqUDXRU9OVUVr
3XGnQ9cBJXFLIzfglxnBOvcZPn9sYzByuqvey0xYwa6zNDwM3h/t5aoU+Ra15PvHqz4yXQJOvXKR
2nPmRqUbWwIe8G/NjSMfKtd3N9t/1EuuTX9VuMoCSmt+WiQiF50jM3EIBgTvoMl9avMGZ4aJOOHj
ZZYXWxn67bV0e1Z1zZErDXzuThWpWila8dusA9eWwNn/gU1ZVDre7Bz4R7JL7F6dfRn3F3860DGG
TMAEnl5ufu3D0cdLUq3yCFAaAv9h50/ktkS6jcTH+uaXNL7u3SnOTYfpkLSFIz7v6TpPqayILfQd
hZg2QZz0OxWq11Hmb1wc/9wfthjvw7wblgJY0MFX3rD3bAg0+Lmnb2rpr4M2BQPaxcxApYot8HND
ctDyMmR9Yg+gJRuqqfzBiILwIibs8XWA0Cqyqq0YRv0QpOVbIa1Tx6rwqrXD0Zva17Ydj5UaBE9l
VyxlVxLZagoEDzQOGVuO5OcSeF73f0MUcn58s1DNF8Svd5ljKAoDPkip2PZ8qlEVQXZ4Jkc89i3M
bpRZzhow/P1Y9oBxgyQ4jyQnnzMSm/85Sb/qwZ4W5WIAC4UzgWjTAKSCfTEtq3rhN+32JaIwmEa8
DC2J2XByAUUeGl8A3yeme62izH6cwMMWwPEe9ISUm8HTyrPSjLfKa+R9Q6DMXelWycW9SaTIL1Ty
+VqZpoGDZWqWdcPtjqiZtFY/xcviPpJB0J/DPBs3ifZSJl2+86G8L2KrVtRWRbsoMqcBKaqpW0yq
rh82hNMzbv9m0VJfy2yGaPb8aXI92LhBf31ID1JVxYBsDF0wyGEQHDPaVNvT/9CuAozFSg9ssYgy
AZS9wiHFslYfPrJKakihG2/Ek9vaAieoXgbbMQL1PjcjtKkJr9Z0TTRw0prRhaxF6n9yMcNEpcdU
dgcysep/ojKRDVNqaSQN5tTSh/89jVbWEwN6axkF3Flp2r81EZO60saT0vSh89RE7EWx8LzZIZQm
MubeGbXQf7C65L7swUyTv4GxHdFQBJLvAFO8XCTIkDaa5QLE6nyXPrBzGtDtR7HdrPSqtVax6WC5
LoJszTbSPEH6ZlWgeqtDpopj+TCBnyXyFpjDNyuF9R8rBYNkUyGesuj0fR6xOFrmoeVgOXRmU+Vo
RTjUWrM7W+HQrTp7NG9ojyARrFqFaw4UTNH25UErCHnQ+LpANRnT1htxm0wxcOSmJzrNNlamGEBx
ki+L59jVj/y96TKoinqdj2Zws6GEyGqKLrXJUoiy2X8g6AGKJKroOrdhRkxQUcGkftfr+tpDnHtI
kn8cyQL5uUKMG8IQU3wNKI7d5Kac+o8odey3ctaPBLFr79MinN2e8Y7LDLIlUu995bT13rbuhrpF
Y221Aek4rb36/Sqjvj6WeIq7vDmeSlBT5acNCH17OEbkTi3KPtoEHU6vutGGe0mE8kHrYOxB/rv/
+CPfLqCKhop8o6Smsgj9k1Yog2zvxLrovnkZwCEQsxJeDUf8LJBWwT5O1DpmgHdnMNu+q3h47cvC
hkQbeacybow7a9LcS6cb+WnAqL8IpnR6p6m6J7EueTZ7Td82BPrdeU76TljvcLPmkx2rH9A+AyI2
+udYD/5Ek5pdJGkARB4yGkq8JQlepCIVNVrKzHmqSHHYk39QrQJl5Nus7yo0pY5/ysPGu0tqfZMU
+bx/btsfTELDM5SxXREpJGz+RTP8b7b8tBm+rO2uoWwp+CQQ9ajPVz83Yc8zGnBPPVbdFgcU+7Eq
GLVTBU/KD82TE7vZMcUI4BBCshKTNu7sIQerLsJe3ulsZk1xbbseoHNZWtthWmISg0qXdWptEOX3
l1Ua7yzYA1U85pCp8NFoOpUJI6ktHvp46U5ghga9tZ4yheMpaF39L6snuxvI/8JtdRoGCpGTwQRg
oWYjQQpSbeM0Il0lJu6AoiuNTV2mWM+Hobiv+fjoB+Ju8uGIkL+xNSaPcXE8EdGYCQhRDXT5I2P3
OTemv9XIXPE/2Dg3dK9eWq37Z+lSzUVFJW69x0y4tI66D8bvru3mOyKEKBQHQFGmUB/ZjSJ78rrc
O+VkDSGc/UOlsQJ5LeW9i0WRyfEE63vc5rLV6bwSQcwYF15Ni77klMx+DsCB9h3Z3rR228jd5Mxp
EX3K2TRjLkInEthodXhesKVwGVbhqobzeGUM1K9TYqb2MQzdFLUcxFJOKtBB/+rMo426YUaFxf3Z
abPXsfGME4bdkOFl3W5SVvGFoo94Ie8VjWZu8j+rzL2Epc/i1UTAyqNktikhbwHUA8dxipdhYmT7
doqhZdZ6ue6KUW4GLBAbkRrh2czKLRebe7TmUzhHtA+CS8FKsnEfVrJ7zLSt0vEVDCAyH5mQ/GG3
9LxEu21bKp7+/51q3Xj9/fLyHwWYa/KPnJ+6Oqr+T1WvHldmVHeKbWVqnUgfhxXSJDYxLAPJqTVh
WDJqh2fEdo9kyQJNHtHwaGX5M6fOugmCZpZTDWVLyuwp9K09ooziDwAuRPFioZXec2PCb593XaIQ
31QMH/O3Xwsw5iEMA2nOCfbH9qf3HnnDbBMo6kXKDHbtaFw0RTWLZKgUlm3E0m1QSsxBxd191A0j
RXsdYGvLXPRQCicJD6CW/MNlRiALM387wfCI7D6cf9L8XmPlMZKtWZjJqcwGWOadjcxpGBlhp/e/
/yKM/yjNXZuWMqU529+vYzVUt9KgG8s3EYTjybFGY+cFDIHxFgSLwXWyXZWJ6kazRYcGAocQc+yu
Q7FyTkdj37qxfbO6MjoPzA0XxIRMzJriwKFWIXh1ZgVV7nsbN/dB0E1nNOHTo0rYXjmKOGj+zxc9
CqwD2SvWIYYBddcg8sPCw0vlFX+DNckOKi3VKtDCdjMF+U8bC/a10s+VDnGxLDLMUYN/9EYzvUZT
xQqPKAopLKYAxzD/YMO8njRNvcnhuW+zYSvL2llbmoogQ3SbTI/qbWjGJPn19aoRgHCYaqYX4iAt
TG82NFHceHCoelqs0JvKLZCbdmU6NUpwhIu7OjDxIKI9yJGDkhAVdtdscizY9r5G5WikS6t0jQd7
qbfd+GDMP5dd1qAAyY9FOiU8JZGBENAZ74k+yR6GEjgAcVfoybR0DrAQK+JJupdsNjQxgDjE6MhX
bgUFKNcEe9n8r4BB9JmQrfGY4NlfpGE2A8rdajURy7ektWgeaPxdJzzoG2REA0YIg1QkaxreocXf
db1EHDAGGhkYPRMNLWjBBNrRk6iBev7+avuqVrXRJrAHtHWTLa/jfL51wjJPShM6lDCrbtdn8CkG
66WEib5M4swvN9gT+83olsnWsOOR8U2XvBoz6qoxMU/mAx3gGETCXS4BRPdZn77HaB911Et/+pU8
JAgPf2oO5J6oAH2FW4pF8VAX/kgI8IAslnV2CVig3dZ5+CQxsL8h7hruGM3JM3ne5k3GxdVOz/BF
pr3O6BglyPxjUDbTXiSeguui06KSEcldNU15l/7rBhRUsclSRfC2KgdW3kS/1GU9EdLjuT8sOTsz
JwniniyQiYt+7/Setc+xcWV3OmlN3xRv7pdeFh8zTQWmdohM5kHqr3uaAPxZ1No8sPM2f6JfnK41
u6tXkq4XTZasPxoNCYh53r22etUxqR6m48cpyAMsWcGtM6+Dea2r+dxW184ndPjC4RJUZVz6cyn2
tX+xjbNrnH1Ml9dawYxgEQsgEkg4auWMD9i7GxW8a4EGvwkIzko2VfUTg+HBS11sPEGsaK9r4sp/
/d6VLdLprOiXUckUaz6UcW8FD6KZD/PjsOVDnD5ydONjmD762v8cU/XkeY+1eBqqp1I8ZckzRy6e
0vGZI0qeKw1vAySyl0x75oCocadVadcTkQTD0IX0cHODfEOUlfsjTVE3Ymx7VSIJ1lhzmsf227aP
qX/Zd9psMhDMopY1TXQVn5plhjRpQsRo2w2FQHJPKjheOoiSfXoY3L3FhyQOnBvQ1OHRw1xGzlR9
rLUj6VzyQNxgVZzqaT4G96SyMz12DuGcvezcZUgNL46DkejCMWEUdS+Feynza0VZPV2Hj2Oaro43
H0V58zy+Bnh8t4afjZvPXGKV8Jk8KjguUN3Sx7pJxc6M/aOGtwrysip3fmEHFz+P0cBLY5ObO42G
3F6fYXd7rdvbpM57sBK55ucjIJzE3XvJgcNJDjFKbkIixEGVhIsffe9Y6PNhEU6RnYzsBAprhGSF
oTI5cwDTNZNzq871prcObnwp1XnsLnZ8KdSl7y4ZgZPqEidXjjC5Rv01t+cj6K+pfY3ta5PeONRw
q9KbGOaDfLvGXJnDLXFv+nBT+X3k3hqjMw8ucR1xa9FjnSWorDaE4zlg92Mt6ohFkixItu5vILrE
N1NDkeG3Vb/BYUFe6b3M7q2Pw8juOTwbctm9Y9+4ylD6YSYV9k3Et6SfDz3+nyOT13+ORF7dkJSZ
q/1xDpqLFV61+iIsEsEuOB7T8BI35zi8hM2Zw2/YHZ9bcWraE+eiPdXxfGDIQUCl+qP4OBKYZO6B
9iBHXB3C6hCEB4bEWb/vs33S712igaJvZOFfVTLooVANGDT/2Eq6n/0JqQ87rAoEsk4zyB+CPHZW
XaP3qwETx8M4ttXZq11+nUQ+MEEnhmzW/FV92xI8IQiGp6dioLg4fPzRx4kAIOskrEM4SpcUeBu5
ONQLEuy66Ra4Tn3W2nZdGoi0gxE2YgI5BoBIPv4I6mqhjNh5iSoGGNyZ4frDiDT/uZ2Coh8bR23Z
9Ib//Pc6hXWg6r2P8nIdAy6+E3bRXT5OGTa9S9gJf9OYtbob89eJSvNcWWVyxQCGByb+U4kyeWmH
utrV6TfCh6/18zxkRyOmLNTMFnOaTyt8TeYvYu98ISf5GMWRi2BoWosZhxb2bF31ESzMVJX4n7Jz
kHU1e3hyTkZSuIZ0eDCVfHKkjG//l7DzbG7b6rroL8IMevkqorFAxZJc8gUTOwl67/j177qw87yx
lYlmdjAU7SQiCQL3nrPP2oy7ZQYbXK2YPL2dDFjHcL1WAMUP+PJILW7euTcp4rr20+qZ3xwzuIKL
hIbHmy2uTSW4maoVys+UTsG499wle/W1ZHzF03XGOIqqNR/JaAGe7CQfDdzoYDiobVpzNVLomQn8
FbHalsoc11j0l04kCfz3OkV9ewOlBURZBsADUwb2r82g3No3dhTAjsYNhHBjMuBiJHYSTjLcHLg0
1v02UYVjjewtcp2DLmm2UyHY0rBJJJIKPxtd1QeLMunQZmbyFpbqlju409Ut/gK45mFs9vf6L29t
Ory1FM7wDdJJwAf9i2OA3lKyD71WnXK5j5lFAx9oG+QiDFpJ/B68zRON1+VsjNd6gOZmdltgdDo+
0MrabrUthT0mfkZuJmKWF+6L//2mvjWw8OuxMNGxUOOgftME2BmHJmASbls6xe0r8G+itZY+p2QQ
L54+aNiR2fpFsUmkIUNi9+pMZzEfVNqL9vabnE3AHmNqeo1u0t4FlRE6hk21c1Xf2eG9LULymzrC
dcFt+zBh/vLtqki9Wnv4nukmLrEdDmRnwJlnFUbPZJrel3e2tVd+r4wqdjQCpJipYoZ/hkW6q+L6
jU1BNJ8Ud2xn5t5SIll7Z7MiRVdFG8YGITLNOBTSSpG9ClvOfVIRuF3IxgZ9R7pjk2V/pIRDi1qJ
lWdTzzV33mhzqVLmEIVh1L6VskV55yP6l/New/KP3ZCGtc6u8OcXLlctlVN8dCfq2PN1anKbqMuR
wqt8V2XatxyzsM9YMvM9s2fEvFq7BJ/137+E+S9XCI2LGisgXERvjU4lNi67VCoB1Eh9WSW0BkJ9
OBq9SE1pkwtsT0rSbDGpG5Ltx0ioj5MmfyUL4ltK3PAfkCYuA/Ejt0GGO7mww6UiDPVUHfWvDZkr
T5j6ugdROLnjiyRf1wS70tZXyzNYbRzeo8v1s/VanbJXOmw3ppnbeyeZCFKsmG3fRLlkbCcyJaAk
FyWTD2nH3Aa85rNtj/KjVmrOi9S1+Z2G8Z0p6Tx+sSwaL4PmNOfjT3V5zL0pvsvHGtOWFZOeyGB4
yLUxDxPyRNx41ayHPZVuidx2Hy3GZZQqlUXCDDW6TPmANyZaZEiLm1x1IUYS54PZmRv2XBLr/vsD
YeDj7TXboFcDE4LKh6X/WqaGRjtNFJxa0GeYUfbEiWwd/9/xqNWnJ1Nj2SpUztgDz2QMonUUmsrz
Pp5nJ1ydkHNn9FUixUehRQucONg0IdZOMFPJa2DbwjhNS9qegosD7oLytFFwJuvty9pev0tOrpp2
MQ4VhNzNF1yJKIvPmiJkKGdCebaRMbdQuGuVEMVjmEyhHVMcJhQ+WLVg1whhCswh0IeA0MbGCkhQ
3LHCsJHPQuZdjTXMvtUzwEdSlM5oTM+xcd7Xc59dbAME6cXsLnp3mfcL28PKFirQdE3La0a60nRd
klupXRFG2e/q9pvWCjX7rdpvFnQWckGhklQRAk+SQ8N75yM81gO/3HVtHJrcebmwif7hz1/sesjb
doNCi2NzWB8c4C/3nXJJcZ0xGsZEVU4r5YlKOcNrjf3XMGt+MYE7T+OsuDF32lxysySnKxmz5zz+
Q0+7KqKeWkXHI6kst2uiWtzI4+JiNtkXidmdZ5McMDe1RvnDvhma25HJEnasKJ7aG9OL9R32xU/M
ynWPTWN1j9vgdGGaURG2yqV7TBL9Sd5AeeuOSAy1J5PgtuFbnrf7w5hJ8iMGiPTOclr9C4NspdvW
JW6hiv3Unu2r7VL70O9GXiyoLQiFhR5a9fiqgq2NmMO2otwaLRAxuulXvQPHAQMivD3j99xkyFRl
xMDVSCO/O5wbCmO9d2zZxyciyf8iUNt5zKsex6IoVjeM3DF6WhuYzIFFD7Nah/pTKZN3zehlLQVE
5Q4ncywsmITOAKIB3sKQqZrPECTcspnZ3UKbm0elkj6Ou1l9y+z2G25f6GFqzFvy3tJRftNkYMaU
tje3GsNmrOEwQf7D6QJAS9KrSiF6hww+OUhy4utChYtIF2K4GLLzSIIQEKDsbG9C8XZurTND7HZ+
YdR6HS77cKnjy6BcALJ39XVerkPNrpVZSLfMb/tyZdIXtSSc5bdZvdmDUJdEu3pDbRdNiVCPYf3Q
3HExE9oOaQIyH1lxpB5HJyYyKarae6BbknOngD9p73MpQkN7nyn4Ee+X9r6VItQfGqUIzWzdTIKF
vIG/c2hRIrQR55dGmDf1NDLTSOvFsdRv8XGkx4EcBa5M35pPFjndXzYrl0+dMzRPFcFfhE9v+TMR
n+odID71cTfaT60Gx+taU8tsb1Nyc9qbxYP9ZmAydm586SX75hxSq0g+tC7iGz8vQuPCfk1oMKO1
uOf7JcKBzKgyo7G4zxewlaQJR3Vxn5lRYoJVEXrCumgbkXlIyu9F3uVyUuZINaJ9jtZDmxFpFrfs
aCp/aLVuqCsjchhG64ZFWsUl3QilzW2Lr2iJr6UiFPdXu79aGYG00BAuGptG9oqHquayA/2XzgXz
xtrZmM4EHmWf8KmgYwka7lxzmfKbwhZCKHdrLdC1ANvSe7coseH5+QKnyQq3OYupB9bsv1rUV3mf
jVyd2MmZluQytn2msCnfcmKpDqVwDQhqY1BLzOAJkTCTVEJrHOwxsQBBowXpIsSQtcScdRYUkNRk
IXP0+9rfOl8j+dY1NV/XfEhc3zWUIIfIfIZPFpDCbplBl4UGtp02JIq4Bu5o4N8KsxRTplDa/hAW
OoSPfDTOZnphDq/Wc8dfdgmIrNrBpqiVM2qVM8TrYjxn4zlxwpSIXl4OrlywL2PYKuHGHbUMlzhA
WxyU3Nm0IOGFNEJxGoCEQ4PsG6NPxgkUvIxgaB8ZvBBeluYzNvdd0xCgnXshr2hX6EnYi/MCgzq1
392zsKD7lw+Otaahs9uycEn+4r/oFHPWJQLoiIGhAn3aYJWQpQ0WNHEhPCCtcxM8nYqbLTQzXWIH
Ei6lCfxMb6q8BbD04G2VR30TKbq3Dp6mCxmHLBZmuldIXnWoIZoXkNkhUq8mrg2SZ0HUluAzeSTj
od7wRoNluDcbQis/juQPULjwFtobmKcBQ7Nbrb0UGx/YOZJuSTTWXMQ6Ha3DD82Zi6C4OfpJdU6d
TA8HCPRJgR11KIHongjRD5Ja1y7cURbqD7USqYBuXHg1GbQFI25Ce+ctFFDYppNAsXjk2VDEQpvt
AaVteRKqsO0NhxT6HxkGEk/4H2wPUYFB2aHE9pixR9oh0sJxD44Qpzz4pSQjIjX3ZkwwubflnkPS
rOM2WJ42t9JdKCzahrXHLRs3I7cvd/OYJQM5vKcK0o5IdTkBqi83xoNPjFnHoU2IBEGGfK6Ju5eu
3rlgwnHs5rDeFReAEZBZFS6c5eqJRzIL2g/RndkGr/5Y4DsfqBN4xNjSd9M2jw1TySe48RZ5iUGW
jhAz7mLMnY+Mj9sQ6g7VuzcYYMu9yfCGUWjcyQz1oLAqhza6bUz2Zt5ou1nmgeVJNCGFdMHVXQZa
Vu5Yu3PNUIWLKQTKrK3jTDz1sjgK/9cmjrWFD4JEY9dhuV4QLerms9Agux2haoZQI/FHnJauVXho
4wNdxHFBqtcv3nQcVz5Hld8EwiO/lVB/iPJVxodOEcv2gCyhnL8JSouw9cw3FU9XPMfylNmzwLzN
nqywgmKK1VtaoenQnnu244KUxAJd626pu/rmkmw+jm5PADTrNz5XPt2YKbOTcqb6wTDxJJ+c+Z3q
wGEB/OUCrjtYf0yD2WoqWurPK9R2a8sKfC4utVhlileX02dmw9PnuNe8eVmqkIyDFMOZLXsMnrA8
GRTts2Q9Jdgw4pjVV6ntTzQHm8CWy/OCdS4o5oRlKiQxrOnpw/8fSuYhTpb12bE+F9PnauI/83lP
PnfTZyX5rB0iAwz86UFA/SSVn0z947R/0vqPti4U6x8tHsevKN1enUuZPuXb61C+ltsrEFtLf0HD
QOPgJU1e8uTF3p8ZAjTqZ+uQbX1IF6F8+aDpT0PxwdCfGo10HEDHbVORuZyZ9nOxSURlNPGfuZnV
r+Qehj3+vUcsKlijpjE/lcwxf/jvW+m/VGwxXtFGdxh+1al9/VJFkucBsGYsKl619aC3jHIdh60k
b6Ypsfo0CwbndVM/yq1JouZoKNeuy7/0DhdoQl40d2GFJCugJQdSm0iWKfLPG+AX1yah7Fxm+FSg
mfeqpvhGDOM8b0R6YFPJT1O5sxRzimtlrPLT8dTAj3cWzElSXVOHZoJNromEo8uyM/t5W1fjbmQX
XMb5RxLWjSuhYf88ZIpbizD3vVPuZnVhHUrCLYMSyaUfJfvFnshNLeeeawjUNBesbGgMbfXa4+5+
5wS33pY16JkwzUsLHtcAbbmfT/DVVONC7ndO8M7mPidMmo01bGcCP9HqnCvlvDusT4RYt3xXAvXX
YdZJiKULYt0Sl+LIugXptjvds3iR5h8rF1yAmeWzckE6uTjHyoXFS16I9QvrlnT9sW6ZY591y3jo
+7qFpUvDBjgLpzXUWrFoQaUR5qg9J8fSJU5+LFrE/BsE1qzefFiD0Jqs9HYcGgkDbOx1E/Y6e5Me
JkBg0X+fpdbbkoRGLVGYBBmQchiT+fndLIjWHkFDtmRigSApKaneBqy7t81+nHEEgrprt89Zv2Pc
teYgIYwFcrO9X4/D1Je0QfJiOXXw2cLezhbmhPCZDaWq/z6qyqkF+unqezMFFi0emp4MM/J9+CMt
BRbrf08dz/d9H58awMne8QcEFf61qhthInnmD04Nc38i38MmsPpa87Exm7zh1P/sAGQ+Vfn60Uny
b81g5N6eb/HztKgkaGQ73QZjsS8JlBda0ObjrGKBKXK5flVrSb9Os8jj7ev6VcYKGtnfzIH6WNM5
xW9kFv8eT1v1bR3j20wd/rXHWXAQN9oaT5fk7FboZCo231F9VQa1e3KGuv/LkDv5rtBxCBQGrHIM
doPXjlX78t8fHfSkt0s+LCd4bmU+Qbagv3x2MkVGiTD79rQoaks5WqdQZqnNA0MRU+PttAActzNZ
+3ks5XuS7Q9VK1mqHkPKqKctH2Ud04P+vvgr1itNaF58x/HtgoGgwHJ8Er30AoduoPWBvQmVZpAf
WtJwOiQZrJBDRKOJeO1lCY0m1A4NS4gpkIHKvQmbJVybcCZ/exHHbAnHJkyWUE/CFuNgw9BlWDZ8
VQLAMsuh1AjUNVDaDYYlNCc46fjch/LB4NfrAw2gaR84W6D2QWUGxhYUZpAdmtNwPNSnod0ItWk4
LyFTIONCPYCZPLUJGShul3BrhCislMwXN0I5f4UXkYTSHGpJ6MyhkoRgv1bMb0k4J+JBYgQo1oV2
rIBdAIXGABrvNkyx50GZB+DuUWET6Cy0EWRU+8vkL6k/pewl3mkLvUWEUFY0uffLpmMpqvMraass
rbKeOxVQ84gNW64KQgTyanxW6F/VUGlD0gHsZ9PKJYw3e/ZMj4EkiSWrQgNr6SXvsN8UKtE1PfXb
3yAEXgcTkEk6knq2WbvykCZfHDKFwEJu9+02jzfKO0mU7tyO2sZJP8vLwgeUEkrZjcp4ihUwd7MM
8QHqpflgY72+dMNIXcyZi9fELr+Jf2YqaSe6SNYDZmPinmp2zJPsgIqd9YtqtETnUlhqK3m4yubv
igBel6NNTEbChWBPN2JjtkT7khjSHwwbjF/plD4ulfQtzY39Q1Pw7+pTWzwCXpXem9N9W+qHo+Bw
O6I/iyXn6IH8owpkEY9S2pPM21mYczgZW3oZ8VmBAsyeDeizcrr5Xe/sn5oka6nyAHYgSnnGGp4V
5BdhLeo0UwtxCW0fm3SAwWtAyJqNmJV8OkdGIZEuN2rxO+WrtyO6oHM1nUkt9vtQ7g8/2z9+75QP
s2VCBIOaboHW2xL9tFZ0OyWt6y5gAmG7rPk5z8z5A1YuJ1CaV+qB+hMpkNI7XJu3A37Yth3M2yrD
RNzWfwVwKcW668VSSDAOmcco07aJzDb7hh/A9o1SqwnJhlKbOWMX5iVJpgDAqyDbmMcoAVCLnnSu
iSzvqSBwxdrvILaqMNEG85ybRsbWa3e+jKX+ZPdO+84IDMu5N1dhCHNchWUdOK76piQ8JnU51KuW
nJY9lrtTAl8T46i0ubbcKcxpTsA3G2GFWHSVkg+HSWPfmZrELR9/0Bg497IKnATRgr4yW+Zln7UO
nFbjuHld1ZBbEwoMYpxNEwcMZcPDlO1/kGNi+N1gjVdtoVh+PJqU5XOzDGNgjmQ+NWb+CYvsdp4a
AsfbFmMq7MZr18zxddRnACBxvvgmudOU+ksHtCv1urvjYS1Xw0W2fCzTlf3cNM7aBEkryR49DIMM
pNa4EVhc0xotqIUMIJ6P57Ytb13GhVJ3FxjitTGZsqAX5tlpr9zndgyYdTNJO0q19LEDuX1K+pkk
DtzVj8dzk9o4D4znSsPfT+TUDLAgWARi2CM5sux1Y5srrcLrdCfK9ZBhOZhtcceSllSXffXy3Gqf
5IpEZlkmQDFvBu5s03DfM9F9TTWle4RbTvTdSpB56Uj+OCpTqMfN+KJopAHOjc10jfFnVlNLKXeQ
731WrOHiyNYdE5yaW28zJSxDmeF/wtDXNIHgHYNEGxuyH+DHWyUJp1zELitmHSPZ9ecq1tiP57S5
ShMTfyER9SeokaTdkZQ3qSpsTYe1iTnkn81lsdxVpYg80dUHG8ptsrDkl8Huk8dak9SPuvO7bpjV
awWPOsliLSz0Ib0sIK8uxyMq8T8etVXncPWdu+8zMVYF1KEbW/vctvvi1QMjgqM6zlf4C9N1Avxy
rYCSkw2zOwFRIndw//LfSmZJ/NkZt/NesLqCAPeJabuoSnNmauNZo5M4xGCG9K24kBIiQ1uGfkwY
c/9Vdmh8Dpt9v2U5Jp2qHu9tFiTHT91W7a7dgZUyS2mkSafozJ4Yo4KjUZ/v0h4jtwSXZEy2F0vG
ScF82ePoMMlqmjuBQObQ0NVm+9Sw/Zy1ZrmA6Vsu7Hh/PFKndbnUDicxe1duuLzap3ls9yd7Ur5J
+qBfsFZvT9+fLweG4xvndvx0PL9Rb7KzkRgTfceHxX53dMrtMWMc5qKo3Mc3k0EI7mxPjmWBPFdo
uidaF1+KZCaqcZd3EgxKCL13mXg2O55NCeopFRxbx0S3RSpCsOF7pQsDaeX7YZh3v5YSEGaNMWDM
ognHuBquWk2KQRVRMJa5tNEXXYmCbmdrDaDkPXRzNUSOzDaoWeTQGRdej/ppj3XeOFMdBSbcunTd
+fhhkv8CXmGc5W3SlTDRxfJ/UYgeL7cv3ZZWr1Kd+NzI7c89Y3Fdmy3nSqJnzY4yTzrnylBUPt8d
T+2AA27HYcp+6xYbQnOnz6l7UMQXAZcf6AHWIslrIajGmdofB1v8aDsk3HSFvgTTunfXsWv+mARx
lTOz9gZCKT1TTOcsvU0cTdU9HNRv+jpqMGedjrWErO1EglptYr++G81WwYsDVN1OteQ8YjC4ow/V
PspERmdlP9+zkv7TAh74odOIFwdyOdwKMsEuEA6eaVIMgL0shmFrkF35IAHk1dgYV6lZBw7/w3BX
yV3TSXOLnDrPKMwp4jyXte0Oa1ZC40qhSqkljDx2034tCBq77KT/ASPZ8B/mdDLEo+OAxZpV7abt
VMqsT7aU1SFBokZkS70R6bWqXepmfrWVcb9KhsWgLZu4E3NG+9U6AijtvSFD3FQ/tlX1qTMxn6ej
WlA+jdmCtTp20jW9as3QX+Rxbk46gBsXhhwhpGNMzWu0SU4hHYK1SyODgsrkmgkUrcOa1XXeNJak
qE+MdLVGwlAHsLkRID5+bxhGVCsst1m3i1YR1hYTw3M/t3NzL+lFcm/RcFZOhJxPu9R6KVUnP3YG
rKbL3J5zi34o0zNWmAKTvJt1xSF0tf9xmMj5usOuAeDe2E+rnfTiTpGOYVNV33TxXcgJor8bm7YO
SQQeHhKjIlealQUdlBR/R5J/tVb9T+Y49C+zbk6kNGzpxy47xy2fxmZbG021cv9+kKq4l05GZZ8s
vgPnJGlzYmVbkf5cwMPbm/4KqTLejfIeX/hkuLpWc1KcjLu8WH93sjQlonJIHxMK6E4mGZfWWOIP
GDJuygBWV5Fmw4e0tN6vAkS/bfvq2hOZy/Yun2Org7Nur8tJKvTaBzPVuZvVbNRwYy0q8uqsVNNG
cXP+05HYjOltDj5XOCwwj3xQtIS+Y67HlyZhGAnojrfmzPcUE0Foip5kzzDfaSaJaYc6HeJnbDdf
5SK3vhpJDTQ4Ibp4dsj1E6kmuj3bNxXyp9utxK2tqfxbOzrNH0Ovk95upZ/LeJ682GRSsjS0k4rD
gw+Y4IuqkhgK+t+hJYPumreGTKE+Nz0j0b7tpt4+66uunRWNFK6GUJGAiVb7OmWSxUmtflgV7LBN
ZuGwZbInZL2Z3BVDvoXv7JbfdmsJIJUtMAwq++U33gtSqEx7nEhlSrFq3ae9GvKWyq4Me9LOGhoj
01WD3Hfi3yU51WF8AChPTZwrIANli7o8/41Q1OnUzc5zM6i/ycyDv7MOPtwDP9duHRbCcPJMTaMm
86tdbgecElvYz06skinwS+W9adScbDHGbPZur6uep9cFFldoctbPV1UlBhITjWOswwMQPG+jXHDS
ZvbyOwO4Xkot1y1KkvMy0oMAOaaV2yofkjUgMkWGRc+iv6oa4o+yVeebkv8BAw22grbcAZPMPHnU
/7CdGEzrLOr4XU4bQ1Uxei9wP0rzlhYKAzkOs9udlVKob7cTzu893JmAoMiQNQFcmzywTWa8tkEN
GDTYPKUN1IwGmJXWn1OnpHdscAYC3Yab5ZlD96rE67ey3eQQq4B20WOY5stWQ7FdgBwwqPb832eG
+nYBz29ocsHVTEx1rOF/LoE1yj7a3DUq9mVQ4GKr/A2qbcZkYOLWtAgMrcfFr3WfprluuTDswz3f
OSdItZouUVkmn6vVUe58rzdz/NFwa8+pmVqBDAzysXK2V0VnSNZIFLLqmS9L76eyS+/bsrPeMaeY
b3q3NoUghq+ZZjcpkeq/tACVuoTvXlj1qV0V/YX0zV37K3OM6jnXiK2y6qyI2kx6nJpvLDuL23FQ
FbbRxIkrobnY82M3/lWsNVNIgxGtq0J+EjOhMaX6fjPKs7OoriXyksD8MPrGvILVZLJbaiNRSTvI
ZpCuxwRRoipfiFGTX6gzs51g1PjrNj2mNpcRpSQTaYcu/5xXJLpQ+cMZUY5/MQmy+MPcKl67pep9
NRC/o8nf2RJaZ7OgXri7V1aWvUA6DZpmex6q4jZKc3NJ1Wz9SPC3x9SL9VotxRfJkB6zIZlfjpm8
Of6LrMvhnVqLohi/bv1smaEDy9KBWuJzftNrsRM9kYhCPCm9B/fa0oScQxksbvrCvVDV+5vuz5Iv
6/4q+VsV7JKvEUQ6kokoZLFxKMIKUj+OBm+3g6IIYSZVRcgsL1KxaPYh1UYCu9OBkZ5Qs0J7x3sd
mvnZssKE1Z4VxvlZskKU2mFWnHM75Ia+uqXNqiKs7bAlzlmmShtOcsj6kG8YsgYIq6EzhMwKSUNo
OcFUho4TSIdUNUjjYJ6FmHuaDs1pgJzdV00ftzQaRh+I1Zb4I41cwG/e3G3kha6yAwl1fE2Torrt
Q+s2c9AdqpsAwcvu+G+Z/nAcTWipu98W03qXZgbRsrY+/LGFFpFx73zljTd3A5yZECtMbglUvhX9
FypWoyWblGwO0Mku0uVIA3MoC1ldhDnG6aJYFrYYkGGJEuGMKQ61890w+BWwsp7c86jtow4TTHnB
1JZGYx/NfbThh0mjtRfGGAkmehql+m2abjlmT2Z+p9vG41KoBCTJYoQIqO0Kc2xrf0hugfZcsQKi
fBZWQLRVl+9uQJYpJv2NwxC40J8rzxgBFVLShSFwqISmKsQQKMXCDTguELyC1iL0NqgtLryhnIVl
F9praK7hbggt6XltaUme1fUsH3K6i2WcLY7dxegurc10LE7QS4Eb71A+XRGNixJ/wU0ar3NyG5Ob
2Qr1yQ0iYLvf6kO2fYM3ZIplhtBaRap9m/HlVNFYRX0VdZhyqqhZorqKisXLSIJZomyJyop0iSjF
y0ew5BzZcySVkcPqGFgwX4ZMvw0sR25NubzY2k1Jmdi49dMt0cVxJIWex6WQYvFr3zTrumxXg3d6
uzKdhWl0/tsJiQ0S4YfEDIkNkvBi/JBJfMYJ+d0MubD9IjvtbzPk/rcT8p9myP85IYcl0MofZkic
kBU8qsMJWVBZ7f7nhPxuhsQJqRCF1/4wQ5r/Zobs9wszyzghkUQiiSb8kDghcUflhx8Sa1SX/GSG
3HFN2TfjULaDeIsU+4Ym3vYtkL8OvOu85RCWqmN4XE2Z5vzv79hBKfppMcNXzKKy6FBnxPD6K3gO
zHk1woRrT12VFkQJWepzXTnpXbq21pUIl/we93XnDUXacu1ZSVhUGVqeRMg78Cv9ASu4RkBkS5CR
Ri2P/LQV1tNaPtQORgJIJ4lPhdTgjGtKfzBM52FLycMam6Rn3IUrcuKQb83Us361pBVDBRmXkUPF
vS1ijHB7MvuyBBRInpvGNSsp/bhbDkRCZkHfWdfRUXtzoyBVQPDLCAVngMcWf/6PYisGxb7Lx4Gg
k9n9ro2+jOnWibezRfmcsH/ovXj1pN4bGKXf8DQLWYXvHKKIvMAy39gH+LHu0yq0JJ+yFYphAhAN
WFOrCbI6qKcAthjalKCnA6AE6qHcCdYpKBklVILaCWxuNod6JzCmIGEz7QSgrAo1qNSAva7wz3t2
zbxLAOAAJU2QpgFrujwNGL8u06Az/Z1rP0SE3c9GIbz8yqEu8dkBJLJXMnJMP0D2GmZ7D8X0h21o
iEIV8YSDEHsGROa2IVEFY+ckjoC2EbGuqHE82NSwp+bcHxFFS9JnW7/N/ReQAaTPaWySVF9x/K0A
2hUsRTAVwdoH86Gxp0IS9H2wbELTFgzHkdkNxQjyPtiNoNqC1QiKTTzI/layMdxBcFugdUJKF2x5
sHcBOA8EqHi2fTTahK35m+IvdOMnv2l8bfK1VAh+Vmd5KFe8FLVePHlSI5R/IiF2dDDCCfVkEY8u
gdoQG4bOVWaXtjvaTSGI4yjuvRzwH7G/m0dkGppjbz009hAkfdAba+87uk8aiKT7qSHELE2S0L0N
0jrIkiDnZDnUTUFdB4ATpkN9HTB/uLA2V4JtChwlWOtAUoKd00AN9CkgN9Q+tKk0Te+sOkDOIYmM
bv4XnCGHahP7nd+aJOH52M7v88RfWCFUfj761JVaaJeml5lewVkyCWWHGASybJejRDseCxjb4Y3o
YaF1dnVZqCRe3HR7iJOHyPfKei/TPGnxSJooHW/KfTTkNK+FusWXVDIvfUf1Vce3VF92/JWTxPFn
zhNOiT6YODc4W8hY4/IQAMknfYgrZdMHuhH02w+1W4BALS1GUHL6cOJsQukhiW1VFzhroJIp3gUy
3cA82Lpg5hzJGTEPJpsADp8rrc1gne2bE4Nmft1AYiT1REhOffiYSJo87BZJ6znsuzlNciFiVrB/
I2kQolTwzhX7jYUQQzuDcLrFRUpjC/GLsyLfqlXqN6b4QMJeLCAjtzZNyFmXV8ISTNccu+J2PJ3R
Hv/+CCvpOtwx7/JhV5vpZA+s6I0l+dgNXRzNKvmRJamyn3UxhD6aGa0EQ9JPqWRhLrHr/rzyUW+a
BWG03D7kvX7d1yS9P1KtjHRKqG64NSymy5CkFJeH0b4zTOmLXajT4+Tk9bNWCpr7/l5r/S1AxlYs
Ac+msUdnh1Xizxdsp4+TMpcscrzVNAMgr3CL1eIlMA3zNRM/HU+psC6hTKFCv6TpdZ4vjX6xKyHi
azP1PIto4LM1ns1SyHLCegoTNaQRU8DoM4QskofTs0UHvz235tnXWIllpM0L2fvF3C+7faH8vJRX
NJXXebrKmpCT3LruZiW3phOanFvV3QZHqKyjbI3yOhogKbd+skbxEkmmUFHeZ4cSylrzfVzc20Wf
Em5uSbDHVhUkLMUdF9ad1F7j5JqkQqV+mebLMl+s6uJUbLnOEzPJ8EkzVyvP9nhmf2g6xGUINbBP
OiHqOLYhZPLy0rO0CjXmWckulXmu6FAcWssrodszL9C+LNNVYXEzUXoTapkd7ijt3vT9JneXHFjP
raoB+dxQukYoqyNJ5NS+s0v4F4OFDccMchJ3bDpWb7DYylYvcVuSPk+NCxfiLBUsUir9IY0XyZ2b
VnteB6lhuBW6Akugjya+6d3O9scYJOeHhggRLSHYvFTbIaByOIKghMu5QNr3ViZLH6ZEvdSGNbxQ
vxxfBolLlzaM9+Zec8XKMBQzSho21t58srvSzyf9z7HPPjamk7zAZuzJHhG1onikbJL92VTz/LXG
r7iZkDtWRqQEnIHabtIpX4tyOBs6F7VxUbvHFgjfaZ97iTmerrrLpLV2C0PvX/6PsfNakly5suyv
jPEdbGhh1uQDgNApIrV4gVUqSIdDOOTX94pq9gzv5RhnzIppN5mVWZEIwP34OXuvzWPqUndPz9JT
TwRIMF4z6RHT+sTnmLUucDZL3axO3UR5vTq//ETeZNYz6Izgkug5HNsqvTP9ydt5JmfCobac8yK0
Ke6M/KWsO+8aDyXS6w6Hb6Oht/DkaYHegLlh0p+7zDyC/nbJBxRAmRaJsa/J3HdTwy2ULtbtoo/G
acj0+fz7Q9ESVNjQ6dr4dkKgRQl6cOjqU7Ys+kPfGi9cn+m4jIKBZ+6gpe+NK9QTD7O76FAjerCx
rm+HBksXcrruIqUdxNGaAFmkQ949dD/jAvzXBwN0/v1BW9LkaEXF1K7RkNjriQaZ/dK4Jypg+1Wq
pDkuzuwj7Ezzd0Y6L3ojqhuVzbcgORuW1EnfmLRESIGHIqGP3Z1Py/EuTeigJWULkCRLhixilzTJ
fDInWd+IxJU4OLAyNrZ0X+lffRuaVX/OcjkS2pOCaXauAx9Xxb/fDP4vJ2RaLxeGqw4+zsQ++McV
UHmj5gqnJzYhXcy7XKGTSVaM5T4Az9daNz7XFa5XoxUORiNNfygoHiswyBvCLTT8EcEu97MUYNkd
fwyBKpMQ9JFGyun/fFCXTzFJM7XH+b6zkvyhkob3bpSYgqVGirWahuCOccj31PjXqfMUVM/J8uxV
z0X6kv3+06oXywVYffnTT0Rn74R8LeWrXrwtxZtlvI7zm/r9p5vf2M0qFsmplzfeKLuH3gnO//66
ATn/l1qfMh/JJ55ngIhQt/944aaWuFxnwXY56tpt52bjdtFXdzc6xvTmw24lExu+cjkaMEbnCkCD
Rw/UGI9Dce4aHx5PR4S4YcsNJGWoZMqAF7QAcc/y7MPy+/TcFKkZpYjMbvvBI8WxhvHc6TAUHce7
ck1rfnMmy4W6Y4ZNy/XIPLTihEeq+9TT3gPQMVQcnFwLUyjCVZ3vBJdstLqwTTXCk0qjv7FdxTZl
NdSVsrP2TiKM+04kD6sqrJfBXPZCq/VPw//wdQ9Msb8uZFzzQcl2uRKV65GtbopDYZDXtZT5E3ri
7ClI71QuKk5Y5HibZRG5c1ffBgNi6JqA1Wh0BzAVjjtd6/ksrpiyR7Ypvon2nB97kbc7p2RrZF4k
97avpWeD5zCEsoguzMaiDV72ZA3N+ilt+T4qiJO09RVVXkanbej7XXfxFsfZ2ESDhl41KqqaeDd4
8EOzvLv5JDEv0EibUXUjpP1dg/z+4BpmEZYTGsn/163y5zsFjAPmMbw2zCVIn7y0F//pVMgPH5op
6IbIdud2vyTasz1OP9kKBJNQ++EaRYQkYm9XBu4UNQPCjH//Av6VfsBIhFqPl8DNyl73p2NpSs5k
b4B5iKw8wZuQOkfltRgHVZ8A4sByUDs084uGsrRl5fK9Kc4HzsgQkdp4MtN4JEwbjYm/8Yc3ofA5
VqhNbMrsKf2EiyngYi7N/bCK/b9/5f/SvuNFsyR5lGcorrw/q9wyFJmjgfM/okhFquYCEcpFEg6+
7nDEtr5QKyzX2oCx+ve/+x9/CLLs//6ffP4pm6XL00z96dO/P0rMiOI/L9/zv//OH7/j79f5Zyd7
+aP+7d/afcubX+K7//Nf+sNP5l//x6uLf6lff/hkU6tcLXfDN4TI736o1O9XQSDn5W/+/37xf33/
/imPS/P9t798gsBWl5+WAoz9yz++dIlsu6z+//HPP/4fX7u8/r/9JeJjN/zLN3z/6tXf/mK4fwUP
bBiBw6HCJ+SH8cr0ffmK/1fkZ3ABDGgLYI3dS3hVLTuV8U3WX+nOArQzUM97iKq4AXo5/P7SX4nS
cWwICkzzaLnjUPufF3b+7/bTf79hXId/fP6HYFIj+JOe3KItc8E8IZ/FlU3P6jJV+aenUM/caqZb
vSX5AeBmuxWtU216m1AI04KZkdRzsJm3/iqGzZRf0lWnbd3bCN3NDSLfDCq3/QFl/cNo5QmRRQyM
LsF45YrYRnkTAWk+tDrJ3WZXbqp1EWFr2d9Cpo8D1VkkW6bxBHLgbIVoYHcUbDqbPJqO6kF6AYbo
nk7WZOW7KWtfdbv0osUNRNSnD8Jk2a4saHGCiaaFHx615UBoYAn3IX1rx7SOci+5CtDRZo19aKaG
2bSD/dgWc1hq34MmH4OxKJHkAlbTu5RRt0k6ZyWOa768N2X7hpqNxORSF7uBYanNCYzz+Upe9FAj
HMz35Spe26TG+coItWhM4JStHyZ6DvEJDdGg1fXeX+B2NRPa00Ag2VHoTARHb/vQDWQAJ44BkE8q
RNfGepV7r0O5wrBsWEUA+W3mEWfB2jq7epXHyjcYPBM5AxEGCEd7TMzlF/V32qIE7AkQ1BAthX7j
K5ITMYepFK4+63puDrepG6zwbi0Rm3jdKqmAFIiz3RMqCp8BNLpbnrzOx3BhnOdi/Z7qhtNMlWy7
J6uVj7UZZlIeCer9CBo/3RL19ljl3mc+LY+TP9+nnXrW7CXfBbgi4LMDtNGz0JqnU+cb8nWe7MMy
FPoltI8Nq3LQEqT2Titammrmi1fhECMvLMGEgbmwmXE/muNjZdb5FSeTbWGMn/ZiNVifnTgVNasu
VLZzkBUbK8/vhG32dyn2a095djjb41e6tperkdFP036JIDXCYsytK64UJrOee1BGppu/sR9f3hHt
Y7C9F9K+0kjrLNL7ev3Gqd8XC21XvfQ/GOrI1nZ5H1bsW83ldMF4Jy+bJES9RQ7NcZ7rl6yu8l01
8esXC2LgjBT7qVZHICBUxFiLjTzbjHPinwykjFvZzlnsexhJZwmRudArZssFGdj2xXU3FiFyOuy0
pNIX3eMsMj9eR+96XcqvgvxuPxMTrwkCYKXHWiDufTpKo6h/NU19mFLt5Hqby/DW7qkYsgn8f/e0
IsLjpLRGyu0+GqVOYpAHZVV78jnv7U6D1HzML/f76NERzipso4u17crlQZW2Gzl5YW2SXnfowW0J
0SLeFjdkQ9ByWLazF3vb0XGKAzzv2zavtt4yk19v1TOpJ4a9w1XANenNfb4YCuZgcbe4JTqirt73
XkZrV5W4JbyxisTqUdYI7UPaxZOLS8Q1lAoDJ7lpa9LXrIR1IrHP5prek0IAnJ4WYGCs0eLoTWjZ
TOs9ggwWBY40ycNeK4+EmvEthUM2YbjyvtO7KZrdOCGkHTWdNmkebJNMHG3FZ1k/0SkmjEUCNvXV
naf59b3jVftCgG9S5uREs1ly/5WEPnrCBGVWclqFoyy7Ka7LRznTYHTbFRd7BlAUtWV7adiO1qEM
0CF65ndj4fgbi0vzoJ2nsAkCFlB+RzjUXugSGCS4O0eZRV2CIXcS1odP6dxj7Z+8a1UM+n1vavoW
zesnPO4zStQ6FrrlH0e3sje2yqdj4vdQTl4Gg3WqUdPJb7qTZtMiqHCPNnK81dDz/BCAFrs8xceg
4Svok0nutcgkYuTUoY+yF51OeubIzZjzZk4ExsSa4aVAKufLeXhhF0g78wFpCxADTVO/lD0hUTQl
c7+m3wC8nctHAx3pKzhOJ7LSkiVoyOTGZ+DXl6jPygY8Q6l1N30Jebacj3i4Tunqu8TYQfMBGQEb
I+jvdQoamsqGE87g9mkRtSRWjeU+16qada6rw1k3tINX21iZS3u4llDAaAcv413dP8wZGaXEQbmh
H3AQdvQyjwSH0Z1cq1sj4SnKm44sq0VZ79VaPSN+MkKRmFcO6vEbbflMis+slOWb1bVPTlZgMZ30
MvYLPNEu6AAUFBUe//bDrqryLikH97bKUoG9P0V0XwTP9M2JN9n2U+bujcl/Ep77rGvNu8texlCn
O1lr48d4F1Bo2kpgPUIS245Jxth6zWM/tS7YxPpL0wbogzjMdL9WO+uS2eKtd4WNZGdes41qL3dO
z+HR1dtXwuWiwVhXNmPwn6K/N/xb18eQN3N2C3vJGoOY/bozh5YbAJCGZ/e0gS+i1+AxrXvS+uz7
crYMnlKPmIDOfWlRvHZPSOEEtWb/PKZEA6Xet7eCgHeTrVXlhClWfZii4/dRbY120W/62SLm1Jz2
DvPyJHA4zxU5e5hI7+up2jqF8XUhJvMNPzbqHAdQx44Y1B80mLREq3LjivmpHjOi1/If5eNZnPOm
CmXHYI9HLqFYV6I+aJVnRd1KKoxAI+NXrIktR6he1XsMdbcAarfGrH3KbMALWYknvSu+VPCODPsp
X4MsBlx55WfuT5n6wF/3evdVzuTkacQ1KPSCh0S09z3AcBensJ7MC6rwQD+00BzkcUQb7gh6+DFP
0ZUcIAgHnnZvarWMmtzUQ23UPsqGkF1NrCTApfLOQ+flLdUctuhSogC2IgrWWNbJhKQxva+s/L5K
q8/MHmPJdMdOumprON71LNIb1zt7PrOFsrpoOgvj0N6XJCcl2fShfqdp2+NRE+6HlwXbSpseHGGy
arszTQF8KAVsWW9UETTpa6ChsWSy3dvD65RUm6XsP110MBAb26ibYE7hjguzlotuVNYQZpNqojqR
YcHKHI5++mOpvI74OpuFPhAEVfXHsah5e2zeIyuYHpCBLmGfObdDIiO3s27Hpb4tLW5BK1OnNhjY
P+QvIoCseOkAahKHyPQD4q2TNJ+tznxwSuCPG7o6mqoyL+etiCJehOCskWQmHE4bm/bnwmcV01TW
02kluYwmIqlaY+QY5UfBlLD+LK3lwRb5h1Xw5KnmyQdrCgEgpVw1yOV2P3UJXaK9m2pd2y1VUENl
xRfEtrz1m/5YzdnTaPXFziKzwA96op8MVF+ZNfHhWK7Jt29PzgZB+CvT1CTMjWWf+uO160NwcnyR
wXokbmkY8KCvzvvopJ8BdYbzS7KXIa1MUlaNsCp5PUE3VuHcJkVkYAUr+vLCnllelY81pWdVoG8U
1do039R4I1HrYq9uLAos+bLq+WvXsrenQUMWAd20ESmzNSIV980D2Yy/zKU76C5qIDFy9+iONoVD
+kIKCdiblg+G+77U/E4mw5/aBvBpyXghIUDOrzyaG1MQFC/o9DlTW8eGcsYd5ZIKFwcwAMjjsmbj
ygr/ncwYY3xNLXicATUs1gGx9Yr6qdSCD11voovm8TjjjAscioowZVXmzTA+VKt9EtSLSYD1uqND
udEbb41a+MbpxqmnX/qkSBIfQAPM/qPhVC9a4f4aCmyLXsNoP5PnUidXLpjobxA+tkAHTzV9Zaru
xZ3oUwJB5/sSejSKkMah+6uduyLxrnIG4Zez9NtgN8dycaZIecu5Y5uNLrZP38IEMTKN7xv9Ya2g
ThsWPF6vvXU1YTKp56bG24yWjGaF3ZI4bV3yp+iAh4ZPyWg3Tdx5ZoIeAG+puOz79cHKnCYMupW4
tJwcudT+VFwjBIbW9+zgnSgt7bD6l0W9+WiMQpDWad1Ng/E6NLx545yzhxtXRU5IFPNey3mt2AJj
mVJ7dy1CqVK7wp1zqEZhhRp55jsg1cVOryni2xDCtNhRu+EI1+8kbjg0NvV7YVRFuORLEvUTx4ZZ
HCoCtDeTSYhbjrtEyyikoBWiRpim3SopNPwKWx+nX0yWU4WpQ292mqQOxvI2bxDNFVst8L4xnYKi
VW1kIjTdd7bPPVRmcgsB9XP0EnWrrVdEv8zbqfIfq0TlJNMySS4DMlHQpaP0bM9VShe8nifyBSY7
1FDLtTP5RUoQLl+k9MPSybu9/C93LKQ0imY0OWnlqUrT0+JlVmjmrM2iSu8tWaxctRwPpLpdRmpO
M1m8sNZ4tAxeJLEQMnRE9b3Cys3KgR12mDGZJ3qPH9Ov4tR4TSgsIXLIfFMPi8nRh29ZsNkSVHBa
SxTgy7AnirVnA21u5sexS8fd1CPwmftEC+uZlW4dxy1W9gqxmMOhNBvRq875Br4pPXBNgfCQ9P9Z
QCA/srfeKjVrL9lYXDfBcEd438PSLc+ryRvkpTl85luaj2zghMK05aAiN3GvWoc9uDC9e6dRHWVK
Q7ixek2q/p1evR0v/dXolMO5ZwK0rekCxE2mR4v06YAKFG29OrQzJwwzhUE7mOgKHM43UYbOdUaO
CdGLrMR28WowFSrCy0JsJPL0Mz8jcbP3XMM0mrrIADFZnbEH3ZYdb1ZitFlEdPBrvW5XlZPpR3T6
wGYTaSvc5LnOYsxVEEi55GYbd4XgiqvmKEis4czTZ89WUwdh7SCD8XTrTifeRPJbJ4JT/yIvuSZG
PWypHx6qmvAzVdcunYEKCUbia5u1SYYHVN3BMUAaZS/JRUYlnrxsvfQVNN7rQkBg2HejwdGamLet
tIjuLrNugB1AgHuZ61e9nzEggr/SaSQskg6rQ+w3D4ExPSoMEBztc3xjNaPEAQak1Be8tAYpO371
7thpG7pGzt05EsVtsm0JkTHWwcFAAOzqdAheNCQCBHzEjYdMqiEodBrv8xzfxpqp666aiMpbno15
5lCEIyVsqvpu9sVzO2bupnY0NmlLtrHWwQqoF0uFeVe9jFpTRY7F/KUhuUwOBtvGineQxLV9BxCo
QklNyHN6alRJy93NrmSXMmFZTI6n8hxY7VOj2JxQ7rPoFCkkqbmMxjV5wwwPMSp5rjIiDMqh2riZ
QShRke31Rka1byWMaqr3BoN2ptyIaKBdIrUbRQts368WE0GbPd9PNMQm44IHAzhrTU6S0z/QSsH1
k8JcFw2D+Mpzw5xaYKex6NmBoHWexYnHhR7c6nZqSh5u7hsIsWCA6jMVOgBGcUmDAX3cE9Rb2Mur
2VXXSQcEwndkDAnkZCSXuDA4SDMSDX8uN2kJqcnWSkL5Whq/XCC3qs5Bb3uAfqoAZ1pbMhC2uHV5
aNruc26VdlOU6VdgfffuEk9Vc0B/2+yTuWUXY9g5olxjctJvfMuj+f46BQieZOc0J+WUV2Xj/ZRF
OsQ0xgNeMbvmXHTnkvHbMBRW2B59VSAGpy6ML9WrZvDO2u2z5P1oCuZo7uXF2oU8dTBFL4Vyb47I
/aarbLQyLtuiorFsY31+m+z2dvJWrIkCWqI13+rTeHInB5J519PW9set53cUNDM5v5Pziizil1el
DvuufK9olHCcCrD8oUNyynnYyYmqQBXzyaiFTf/L/hibAckk+t+2+GJKdq9GVCV1ph9LVW77rqdC
dIaZ/aP+ZUYMwrJT75TnYR6xX7MOJxxFDHQOW55Uvq4zx0HapFv5tzcb/c4J3ruJe34oS8VZuXvt
Ev9qLShFiZ976jXijUkNod81Uy7oZ+Vx6KyGzIgTdFeK3Bnpedi9pvx2saS7gdF3WcgR5dAsxBLF
lriAayp8YgAdd1Agq8wjTf1dh+/yYLrVupdBYxHIBacn3cu09J6qVXPxTBD3NGnV1UjMFfyD3Lwb
a8uAj/y0rjhT2GwgdLbvFcPMEIw9bCFL3jBN+m5aE9y45pDBAjdqGD4t2y02qclyl+ABY8iUxkY9
xdoq9bs0nV38WjbNUgx4uKUVtUnrmRi2VLRqGvjYNYC4lo9PVV5c0GkViwpTWrRRGpiiqbvcWiw/
qUFgIQ6IkDcgidnHZUzDmGDcvNzbvbs3sdZFRTPcsXc6R8b0yY1btsmN0a63lafi2dOyLevooTPB
jsCo/tUORosPEHBA3kh2UJMDmcPgNBQE9k12xTxcbHThyBt2r3LXaj6XBXR016Z1XAncT9jZY6PQ
8eLbjMJrepvE+ny4zvo6exyiUwyazeCKaPbyHxzN11axbslMc6KqzV8DAeiJcXGzN0Vyg+vD261B
TvJ8SyFZVw6O/OS7GRkvGiis2SJ4Fgcsdl4i7bAAhgV/Az5wjuu4FMxPRkZuFqFxhMcnAFZTjuUp
GReLb34ImAK0Ssncok0ok0bHAUtUErDelHq9EAsn6qKdwESdRNVSdeioMKGwvkv3XBEZVpiat02T
/lau4JInxazZoqcRJqYHmzbD/ZlCCRtmM2wHl/YrWU5hLdEIkvdDocKIlaIZZ3JiItKeUOkILqVW
Jh4ih/zGTarbBA9LuorDEhTtoZ+aW79GBMa5pg4ShFTNVwemwKB7VDDQB5UQZ/WMeVoe2lxw6gfQ
kLQ1mzvSvWWjcYhgPgr2LDmQKYQauM8v/RR0a43xEgCcStrqq6KWJXWA1AYj5d0HmiR0x4NP6+2n
PNG3OhRihzrKTP2JJ7rNj94g6B0QtJZMKCi1BPisKPu7Ze1NOhKzfacybJAFU0KrHm6FxoGwSqjb
+ddW5uNaRgtLg4BxpeNIiXqbK5W1dwtO7Z2fSWapSBoWi0ZXOfXcaQ3PgMyeepkkb7XTRf5gc1wT
7dZHerDHKGOH65i/F1ont4U1Xdsdmb9yVnRhaN7oPqEj83wlM/Ew9WUOiOtilUwhc1tBe6cmmNgE
3FAgjvs8bW9LUU74+dSjXmtLNKV8Ni3u8+IYlAeGK2kBLKHrZQ+96j+cQfxYreoPRXrlGfUrb9LQ
24wiOXbA00kPgQU1xHXOFd9UtIivNOtySBuIYpQUJ5SmBwG6IA6qxxxPIZw+ijFzjgu/b+8cRN9G
Wt5rjHIihvQnw+1u3WyNLFbatbX3RVmmcalphyLo2Hornfu2WDh5V1aMludKOfa4043cicij6uov
WlOcEWwPwSkGVuAXsBSMUrETWrcZs/04YbaN/q1+z1teuI6BUyoeqSwgiwgzkh2Pmvc+B8Am3YwH
ywoAvnnKnDeNBUWtF6MIg0xoUToKBK+K8AZYb0MDFCJt34Yl90HQNB+1hQtVU957czG9dnkLgX5d
Nm1mLhFEDZL8kuQ4FaxjAz3extS6T1JRN6PW3susSHeyVkx/UDSE81ycOhAanI2cEG8oLAL2UId6
dJuN58Kk8tfG0nogkD7KXZf0bI4mqpPD42D3sZdWXwWeYFTKiIInEy2c2BfjBeHg62M49an74Irq
jih2MKFVRag02qkggYdr6+YcOq1dRvMCxMZ1hBvaPsM3XXvxJmOmwG9PhZN+peMH179DBNecyK0t
4r4jf1XYYtw5VtI9i7G60ZpeRx7PXUhm1KtyLToijtfHtbX4UdaPd0Ne1/BYjTu/Kn0OgRQRfqqg
47RapMn+hVuHHnrnDNB8AZUIWXRhapUXPSbbakKLUdtXeGLjaeWQ0zE4olzn0KrK+XtMQH5goHwi
Nq1HTLQ0wF6ZAGERnpUVLcF0Y3hPC0tj6U13ft1jcporIzJJ2IvXkmZuH6Tlxp4v3YvV3MKwXlDd
thvAA+OxG/XHySyrKCd5IUwC8ZAMVrrNeG2UCtbWzQiSbGXjXS0gFHWNe/wip1RLd2Pndn7lkOjF
cTKPmGjlkaNPbPXQWcv84mSb7mhPN/wMICBD7c8ns6LlmFTjwR7YUIG+cPRfLluaolc6gmBE4fTV
GdUlMW3cyVn3QzdHzbAU2hV16pewl2yH9OAb6MPJ5d1sk452oETTaacrXAEbnfucd8QP9MPGQ1YS
LguT19GL3YIHF2nEYXDaITYLHnCVFExOMUuRfxyEblsAdhqGZIt+L6V/FYuexQypyFOysDrM2kge
O9Fo+3YZew7b1RqVz5VZQBfg+QsTz35xfeYjeUESp4ele/eDBI2sFi3RIlhpRNntzdKjHW44aMzc
swWZMKdbBBinpfOy2u/5QA/ByuwpzHHSerBSIx9paKiTuqdba39yg+XNk0y4eoik+ChjEgb1l5Yl
AIagpSsnJNCXF6d9as7Yc/gts301qHqjLXh8BscAyM4wd9WGYGuN9KlwhHuxXXNo153civ21uS4y
bZe54m3uK4jisoGqyFbok0u7OPw9xr1v1jxqFGYoCFsMyXFDl1JX1XhHeijKm4auKxbRNKycjjKh
kC9z0shYQk8cDV8ehuA8a765d5f8lHjrTZYbbCOlJ7YV5UhUSqCctcaBxpSXuZzvDWHrwurMPO0q
dViw6iFo4nmLYXx48DwmR3X+YiVztbFJGZuxI28me9go8qijC63+5BdqR/IgXYicmHAPU3sOfWhD
zIgW2zZdDd+cX2rlyAMc7izupX2X+/DzAqJWV6+ix8skKcPUXgRashVCtSjDIWzO3Y/Mx/esgDPD
IKmJ69bIUY0Cic/NbeZNRdiLmjW1w3Bq+/NXrpdnpQSgr8aiXZd4pxTE974qhh1QiodFBBMeBqbu
HXfyntPQrrIN7BC1HicarW5n6phiEvyIQRJc2HwhKPoaqF84OlfODT2Ku8pb+zAbtSvXFaju3dHY
yGxvwts/iCFLL8dv1JLjFZVSv+e0NzMS015H275JCwaV8PiQT2s56q2VzqTtccouJ45O81DSzXQf
68l4yFbOURrFO9c4ques3Pu1fKKZW0WQYTZti93OHw+5bnVM9uY5XEvxzC7j8W8NKfUBzU19rr+k
70zbLGlODBrKkN8hQ1TmykOSErnmBLyv9tZH3bEx6GetdaqHDNTafeuuVLGTUPSIIBj73QiZ5q3A
JiGQh19r4uBNQ75rcncBEcOZo1SnUrO0MO+zbENchBsmVnkeCSKgEYpkPjGyQzsZ+5nolpBiusPI
QjiVni/RqgAcEOzWxPBo8pjx+bG1HGwsU7DG0zDuXeO19wB3jeal4h6QIhZV3MGo2y/B8DoGW9Xw
G425p0eKuhP6Aer/LHgeu+rbFbW2NezGI5G9Pup0MyddAWZF9lF2bNX0Dl+L4UFILHXN0jKFTQGA
sLuEaXsBFQvmu4z7K/3sePS7rFIBPNUcSdFL+7BqiJS0EcrsdDpzvLNZskE/L1kq6repMcSedmk4
FNCgJElMmjPx1mUdx4r3xPYeFjvb205+yMdbaVCl1Pm2aYbYgAYz9OaRTnqs+cfKYyZHNEK4jBP3
BKWiaM5u7r3biF8hvrniyGzNk9MC5AYxhnnRbTD5pO0DVEJ7LRPj0lZYX83a/5CWPPhuc8/cOQu1
fHoyV/s1c7lbUirpAbZ2uzjsKcOnmNYPSb1GJ8t+HNruwhwWPzMhzYNtXl26rAgZb+zmq018TOdi
OgYBUxdaPS90N0l7GJnfuyza5FYhSvYZVBJR76N9vdiPqvEVpSXN4Oru8sb0rD30/n9R1dyhGzkM
s9pfxpa5WHmsBXaBLDjTjI+CxQElSzKHW3lXXbucLaGGOCmWI0/Es4HgERWD+4wyg5BMT1os9Tg0
5msnG+/dVD7lEL/rHO6of0D3IcNA9vcUe5ssG/pID5p7tq2ffFJaVCnzIVEfklTBTP9Ol0c6ESZg
sFWS92vflO3JCZwbn0UMrafKdky1yqhmBspBIHukPzNEZlpGsGRi1m3aE1XyUKT8R9tAPssSJitC
Hz44CI1XCv8LA4Jz3ZiHfi4+HGGVnLidmpkFpHW1w4+bH7xZK6IpoQIpH5aWdUxzkoGuOzVPRiNB
6y78j9kltlW5776V05f2jl3LBMXKOIH67sEKQDlnkl5n0ucxWRlYOj6nxbknia7dKMdlueHIue2g
/eUOC75lhqbLbVa44mwtGbHSOlIjFbxmYn3OHW2fmfN7rhvHvqfJ3tIUig1s63RfKrabEs5VDvnP
7NqN3ukH6lnezQGrfmK9y8V+RXtBZa1uLE+dddBCVBfVzVKLEKn7h5GdFmu4Ha0RKK9nceAednaK
1NLpH3n4GLwNdjQG02EYk1dNaOeZewxwGysy3cbkp880gNNjd2oX/zZz83vT5rJ0oKEQxhZhVo4I
ETNKL7/8gbh76Kr7zKbuhAvyrpCOVGP21vrVbZda0Tjgl9MgyhQ6BiltzdjoqKcdg41GyWrDNhYR
37cwEOH/Rc+gSDfQm86JZMHkK22cK9N3KMXs6UKZ7DZBTdXPFbE90myrX71YyfES66YjqZSkUfN6
gOfNhbYQzfBM6oZgRC3uKlZ4pnI6O4H5BXxbE/y8FK580hpYEplck+aYMF7lPEaNRbobWBe9w6ao
BWwkxqjBuhkWYL3ZoyFpgdcmPO4cy77fsbeuagwDuh5mEZwNqxo3asGUK8VL4V68dnQkxKqdKcdj
tIEOK4yThYNiaZqTt6xfn0YadcxdO5aq5qez1IG17pRnDgcJvYMKkJxLB3Jh4VCNVCnboVfz47XP
Fler3HYKy20O74LZPzloZqsmBBr1rVxAc/fDBV/bvJuOakIoUl9Jqna6rkXEO7Fie53FL0bvbnUQ
Ccgf2FG36X/xdGbLkSrZEv0izAgICHhNck7Nc+kFk0ol5mAmgK/vleea3Ycu67buriNlMsT27b5c
FifRjvfEN+qdvYq3RU8ExNxlAsHERo130RZwTrOJi/guvBpIfd3fl85ySnvedqvgaBp0D3wlrD6q
lkPLVYTwCP9xVrpNeyhWbDtp8Os+c/6e47CwSaHS5o2Xro+A8pyMBvWwdufdeKf9zLlhlmcrQnKw
nFj/9yv5Ht4iSYw3X9W8iI39FZrlLs/ajGgB1b8WpIZjM1tHToP2JpyBjpcmuXR0QmHgD8hcihV8
cA6uMvYPaAk2MGB934z4A/vbqp0EazwsHKAEgqu2Prc/qKuQuEE4bdou+3bmhJU2xQXY6x9Kft5I
VIjusxg+4Ey/qxFzVOlAR/S+YEWAkbJGkCEZ7B23OCfXTvGBd4fvoqrUMz1CsB79YfkOY8iSoWP/
TcKiou4WyECs/JeKpmAKsAS2sPATYEQbcXLuNy/gXUHW6VMr15NGsYFO96xXygLoEbrFrUMuk0TX
xgnIVzIFhtRtVolPgFh796ry6BHGNrLB//7l9hxzUsVHd/278K51tM5GcMxu66Ttr8kHNhNIiCMp
S47NPq4MYPCAf5j1llsPoTiqhtU5xfjYEHbigCeFVVSPicET1qe0y2WW87dJ65+CPU4e8IPYE7dT
7VEq4Hy1QgjGnOIls+uniZhkKYruxXMaMHbFZ5fp6x0UfgXc1yIdYbb23m9ZjhvLb9/t2n71iarM
GitlhhHhBj8BJzQreQ3z+llq62oh4v6XMl/YXrrfJklgebivLqMML9t04HQwbQNc1pvMVeM+HHIS
l9bVdJSwqSCfNXCq6LwHGfXcjTwqHSKJ4WJh8AoSpipcoFTschFTADF5KXthGVp8riwtU+CHXvwI
LCgqeLUk8djtxYD+VfEFjzSej00FSF1NKCgYrtwrW3NdyyjJ7NNq299sEL+zVTItimtkP0vftF+K
U+cveu+xUCBQC5ahF4AtkuFbLD0NDIGhK3hYj8Je8zeFxs26PCrx1M1BHGKgHV9zm4ryjZgy68St
AVsy2dhd+wcYCTLpWFMza/M2Z0RqSuLLEFifSp2mvOidH62Vc66GxTk3FgFfW6c/uZUfcPWTsx6T
f01lOjKS46+d+XfuClVahg4OQc2aN3EwlWKkwTuUX6pG8zWbbRrYwS2b4IoCLQkONbQPvksxRYVw
hLLcba0seEicgKPW9Q8SYjoa+wVTjP8yoA/VKCj7Ui68AendOxEce+hYMEdZSz+E3frntEpOysrf
VxFgPSxEvemYgPOpcXDsOx9+0IsjK6FkCOiaCRb3VjQrnRcqLvBUiPuqe1ItKyngaOEcNaZ0Isw9
ZHXD4C+blVeRcAgLGhqCrQCqQxPeLsAEb20KQ/vMajbCrVls4SVKg9k6W4MNAYHjfTll6WYhJT9k
pThyQdsbWfa/XbA+OPElQbBSXfPaollHlRP5unulP/tR9X15lHL5rMVQbToFVKZ1+wSa8bczQGVr
VyvDcesEXJrDjXLuikR9eFn4EOfjFnke9EMSVf1AjJBAOrZQvEqbmfY/kRV/19T/4FO4aW3/GzPh
2WXuZjj8priac50DFnyFdBka63eBcrTNsQ+aGYthYtZw14tygg/HTrNJto6vkHP5I7W839AWP1Y2
UYAj65iLrflT5PA588D/bkK0FkMIbqjj12CMj25onRKfBUdQq4B7nobJyabFZGneE848QOew1YII
sfpDQI4SsrbepnXu7et45yvrLR599/ZxcvPHHqd6Mgp+hCDd45fjSNHIn7a8WiEwau8nv3/p4pVy
1ZHlrEFPobqx2pTTS5tMP6tV8xaJkywKHRQ4akbaMn8eFVYhImr2CHwGcXST8+tlobmF43sNiKvH
NAzPSavuRHCgSaEL54tUHOaFBYAuKROivzhf43TC10D6aZo2o57KXSkzhaGc2d2Nt0VCN6nzUnA8
29Djd5UUPnDTY3E8rX7hcmZeLq3HhvCt1etr6l9F1p71aSPCp0b1TznmsJFuV4ya1NUFPRdI/JgM
zod9HVObdRJRHhdRFrOBLePlEofdexJYNAKTgizR1BhIHWSo+NHxx9c0GIlnxynFW1CUWdmfjfUd
G/rPXLuOAhxgxz70YaV1n9k07yX71QUHdZLx8Ms5ZA6h4fZhgLCA6Zdz/Oz5/UeclUfFAaKqY3Br
FFZQWVKF1U1cMJHnZBSiBjNF1qx0FUBijtnbSMVgP2LQ22XesHUWjHUuZmRFIBT6qPho58vEEWvs
8o/sas+mUj4ZH53Q2FvfZsffshasmlOVm/ssqHG6OI9eYr2iS/nnucruCpNE7kDCdJWgxbyG2sYa
tzIvCNCsfwPDolNZXNCSg3wpaSiwpzCOKh3+yhyqQRP+YPzPb+2pg7sYRJPFKqXRPOP9Bf67wyMR
llHWdWf3PGaCCaLnYVI2FZuzUm7s0bz6xWoixMVP22I17p5dJ/7I9PCb4KjBMnCp/SlA33ePfeNP
FKV05z4NmqO11LidEutPRnPE6DwMUNfwo4/R9bpHOUJ3tRceMsxvHDsqr/oeeFftlHZP5Db8nYVO
uAns7kEWsDNqU1ympaT7iTojPMB3Q+220RX3OPL1QL3aOMBrdzJlNEk6YEmyvNhxXbKPUlyHOvU2
qV3Hm9B3QW1ckYSYlumyZCWeYbY/a5/RGest3B72QrE+AR5970T+W8Sfi02HiPYlGQfP/vXSX0ox
2SVRqmDneO9i1X/aKb6ZuOn09bu6XwNNf0zZP9Q/OQuom6m7a5MRfoW3fIQ2dMNwlt+2gzhe+zQU
FPLJm5qnsG3edZXLi6mAlrJt4aZgaxUhoId7k7UKC4biwq0qpnHaR7eug+oXx+6GW3XYuC3j71Qj
A/CSoXold/Q2yDxnEyzDL0c+jGnFuO6JUk+80dVD5nrHsmzVqR8RQkztRnPCZZYIGAkqfrcrLANu
P/r4RuZ9tcY0VMYlBuYwISWDLGMP/OhjfHaCkam0Dwoud+CIslrBHGsKA0bLuqRdWkeDHm5SIepd
UsV0xXTpi9tgUHLbPNyEOMjggKDaOrXNxAq9diAJuOWu/AwS7+B7MUIpY2tSYfzPHLL0WhTvlHY3
0ZSZ32ASJM6ED/yTE7AcUIWDYt0UoHoJBOB9vNburpVNqVHXQiPvEc0GHGiprreEN4bNNHbtoZLZ
WSP7T4wXUdaHkMyL/GQHk3oy+ABDdvwyAB6pqX/f4LxN52SMBPJYmo/1vT877CJL6IW0zeI0a4/k
r4k/QBhTw89k8nY7jOIzkebbZI5C8xiwsDgof4gurjV846a/H5rkxi/dr2L05t2MBSiycfnNme2f
c9j11Px9JFP3U/nuR6BqyMdC4nvsMJsT7p7CLfPQGGmhN46jSU6t7xPQ+X2D9WLsgg+dIeXnKXO1
Kd486eELbLpX7VGWGBKF6VH4zm6nn6uuT9kBrbtiTP/w+dJuEtQ2Q9K1VdHHSQr0bYbgePU9g7zF
xR8zNo/pFikLdJoilbisZztYn5jRnWlkN8sh7WYkAQmJW9xhRa743LuT6cLmbLXBpVJXdI4PPLyg
p8mxgzMWzU3ZBnLX4MPbdDq45E5PrvYVk/SIfeiPKlCMG3q+zE1oFXBjVYMvrulEZEhsbwS92VtM
DLuUntEwnA6uX5pNHHNZtBb81DUN32cd74Yivgon/q0yw7XBRROx8l7lOCRHLxVFRPIN7kua3Di+
xTnaYsbNPA/9rA2ZIXEeEnZkx+FZn6Lxmq2LNh+NbnuJ5/ypyLrspk7SfxhHvura/RhDH41vQxIj
uR3i8mUu9LBH9iYhrNubOdQ8s7lANj7PVF5EXTKqw6RjckLBtrKmb6NxOKpmeSeFRgDEg0fS2AgA
IiXWkwG7XTNSWfTX7uoAd5c9eUzVkmYrbJPNrh2mhzUunzqxotWXBMTaMLSifsTWYFoJvdmEzc7F
2ebrFZCFnvhh0R86/tISE9mW+OKGgWu5wVUZGStbjx2foICrcByAAfL4QBqDeKlI3edPY4OE9cev
p+pG0s3Ix86vLj3nSzrLB/2ritUIVTbOwqSpWCuh/bGaCq9OMB4EWJRQwfLSJqMM51sliulJERjw
hiBKip4H5bC1itxc3KUsN2osdpju/uV9cnY6VZx8/SclvXbnifpuhKLodIZajIp5k0OAOInfBGoc
jnauX9uIxzZRHXpbw79Uuvd6XuzuyOvPCDqSu/m6/+yK/GHQCgEQB0bdQK0uca4Q5V7r+nb0zZl7
pD6g+Q8nzU4fJnGSH7rJenN79y1b2yGy6Caz6BtoAsq5fN/QCLdmPVwaDg992j2QSou31hRcdPUf
VSi+KZ9wbfsRVSvaojO6Af8pEGY6olTEt9nNvUxZz7sRMLqeX2vpDnveG+9Xtlr1o3oLnLgnYSDb
/oSaIzPyednWH6sUBx1zZeJn2HtogTcezaNxLJ98/7arIcZpwo88upkPRi4Waj29DZQLYoP8bZUb
kGxjz45pi4z6JLnIrqjY1G4XhMLWjaCKuA0PR8wRCNzcsXjx77tYLScdlk/gCXa8TD/tkQKjiUK1
LGPl1o3x7Vqbh2qZvl3Pf/Pz8dNDpWdpPj5MwW7tODhK9NVZEbwUc3OvRrrdEpjSjRWX20qn30q2
R8yRcFdtH3PzFHy4xcyhUj8L2c5kLoLnVpekNE0B1Qm8sdDpJ8zvZF+V8smk5RmE5Y82wXMX1jGW
rbNlZf52LLl1FyxoOdVOPog9Y8xMaSKSRo3AFmqe06RU+VrA/FN8gWsQ2taUNfss4fxrMVzA/z4t
CW+QPND5eTJjs21hYVj+DESQrf4mlfIhJ93Ji0m9FAqDEESCTW34xjXav01llNG1t9U5QRKEGQxf
er4W8H35HEsJBRQgg0ua9wpeNKqz/rXC8w+O8rmq1ERHEvbjMrPunCZGTcTlFCWs6YBg1ac1CZ6n
HDqcKocff0ZIo3ZyG1TYrom6XFlc1UvvpuB12lfWmqAjUBf1IODZIvFErSIgxOOu2sMt/2MZuvnS
4leY5lc5ct2b5zHwFBWOa7WphuAoJrzAk0j9SNX5/bAeeHezvcrvM2PWQxzOt8al3LBdEL1Sk+4W
ThHFgNWlVM4NdnhvczU8mrb78qvgq0lj/NFx/upwb1Rcy+izHLyHqsTB5N/ZrumjoHFwVfDwiUNe
igyNReaYnYOht4v/ybG6UzkY8XDkG+yte4PtIHRzkv7xcocaSHYTz/FOA3/DkH0i51iwQWKnH0Kw
BtDrbdYKgoPlNU8UTde769qKvjP5DJ01wSInvyV3+n5pqruxw7MkVvtzwWu+paOPnVd9Ye791Gz7
pwVknieuI+Qsz9kovgKUqNsal6Rxk5lVobWNUxQf/C/hmElsV/a8Tak8xRiXbYaRUsJigV2fXp3L
eQDewpnrSLHjCWLnQzTDayA6lHDW3/QyvBN4umumhX/vp7ize14AazNQiVLEayTz4L4SU8j33DcH
seDbcBDkgusN0OvyoF3c2qtEcEJXJxSyGYaAYKMgaeYuwo9MoLYeRy8s1GyvPczxMoRUg3vWebCS
9W9cBO6213F7KLJlJ3vzDSh7YOuL5JD2VP401nVyB0qXGttQCua+0JDMKcaOZgOzt8jSFuMDXYVe
4jyJx7zlOYJ1/FsDdBuH6SZVmMtxY2C6SWmMYgrRJuHAPg6HKE25hyCAf8k6+DAiDnbGemTcTRGZ
DYBmclrAduSuL1nzlQvJbpXkF8PmZpdPkG/FVYzvC32HHvixmMlmiB1um4A018qhOBqGayK3Oy84
IglitYwouf1cZDdrrNgACavHxKZQHDDFRXGQ/POL+mYOugXEr473DBusZx+pf36QAaSxjgoIni00
4c4tZgDmLJXToLaEm9bYl9WD6W5qBy7+HC87gPYWMVVavXNuuDALwapV1HiN7XIPQosu9jhRVtRm
sxc1zjre4bW/9Vq7Odl5x5I/7dx9PTr/1nbxz8nEJiW2BdC7Fr4tyBnye/ahrRIWkUS7SaV8uJDw
LwEen0jYcbjNq5ADSQJaCc0L74/L0YBo50Amg9iepuStyQ7D6OAuzt8nO+8jR818bii0cfbhm6KO
Vt4zqGZPAyHraka8znQyYQ4iiu+y6WNOD4KT8IY/k+K1lMf9uQrV19CrN2Zxyit9/dsSkiBzDVJb
yg6vhbyNx+GXbpX8MprsoH37VBMuQXmV8iC6bgud/2ZagJ22DaGVpZgeJouqk96CoFVNhEjEON5r
H5i/vM7HvE2gTuVrjDNG0CwJVdOixrTjE8Ane5fbLfFew51TOKu3qfuAfjn03wEL/xYxkNzPwne5
2hgWBzNxp1Q4LjAK6CnPNxR083TwYfUGyVku8iZnV9fFBuc6ohsk8bZCWuIPz8ynWMDyUrn3b0ob
HMqYq0oLS7BJ1/TCcMv7pKInRazuW13k7LF93ipr0nMHr/5Nn3tmS0D+OZb610dKxkxZvTTuH2k4
fc2t7e4TyWq/avvp3ApOhgtYbmAgVVSJ8iehfK8T10zF0IeQJ3FQrUpVO9lKdcBjxu+6shii2WjY
FICRCLLFw4bNS78tlnlvJ+ZtlCk/nVMWp7pUGSGXHifA4D34k7/spzz8a5EK31kCY8RCg9S1bui7
6Ui0WfD5+QXFPgV0c1kMNjkZSPvQ4+IAjw/HsM2tLbnz6TlNm/NvNWne4fyvVI3VCIvWN+z5XdC+
OGoMN7ZkgGS2/yzM8ovtHQGuJGdlMePeUfjB7xA0XHhZWVK86f1JxvKHCndDKEB8tnVOkW0O3Nnm
rZtNm2LAq9Pk660w4t6WTxqT57YeinWb1A5kZspcvTMClzi0NqewWKZfgdt+F1aQ7EyHK331z6Nx
7+eEXAoGL2+HZzzZON41zeX6n7qEOO3rSz23+uzJ5SisrI+Qr2myMtAph8rtd2OA4WXw3kJYGDu/
ph3YYITIVxqRMBUAT4/j+zCzznNKX4Fax48gZwdTWFiYG9wf7wMc+4PlWeT2V+62Xt2EA45osWJM
9LPqx0/6J9Rg/CgF35tB/UjsBovVTZEAQiiUc2ms4gXX68eUJRjIuoQcf41AWDOtRBZPyTGzm21P
5bkhMsynzeANwcJ3oVJTCkRMUbl3s8M/02TNhz3xap/LZn/9oAYeNgzfr948XXQC2IP/U7HxbdhK
q0cJfJPCwidA8NKNDrSPnsM2iekomMlwiD7rtqCVOOAR1oTBEtUBjDYiHj6UqGY8zEP4F6bOjxJ4
8loXlI2bTVtg/E869kNG/PhFK13dmPWyDqG/cZPxqRXlG84C9FLhnTT9BuccR4kqhHVRTvYMEyla
eHONgkbkyQQXuAN0QzNntUuBskIlTa7oPw9PYmRoTWgS7pP60gacF2ONjd4q9KedhD99juO1Gibo
jiNeqiVZn9dZEpuNqwCiwb5rEg2h8BqdLD4TkHG65C1YdPlrKKuLajHiLCNO3zVgHYungoPXTCuu
sCFxMJRs144Sd0afGTeY6JqLBkbIBgR7fIi7pavQjIN+inCSH4zVHOqczLDrZ7SDdNV9q9ofRxNq
mIk28SSD6qk8oOZZTcdRGvdRbnG9Zsuq6ZZ1OZ6vyxihaJWXle37gHcxqN11n5jbKSgNu8/mKMUM
Fruun51yOsajvq68UCZM8uv7RHp7hy+0Gv03bU/M7TMVinZssXcrnWKHOZuUcir2o8kh83KFS2t5
8AnhFBaS/ey/cXAlVua9qbCRjLPojxO7/hS3ChvVQEWtaOXd2JK/9xf3mGRdhNjt7Cu90ptlO/yO
hAo3Y4zuGgqPLKE5BY3/lqflo3ceY64c7dg3pTrzBCHc25wTtKTnZOjIWxaEMca5vVei4HlV3fCZ
7bsWl4Cd5eiA0475GLO9laZUiCBWJ8v0qaf1aMey5CPCcOQUry4uaVxmBzMZ8sHXfs21BOBZVvb9
OPgKl3T4yp2bPcvBt3BAUNirCSPRwtJgiBYvFdu5KA7T717g5Klek4KgiU15sklIgU6lup1C7ztM
UUCKrVLzQyXLb9xRm1K0vwl9U5ven59FE55ND/8GzyTHcCgPNRn4aC542FYukeo4I5KUZbijcYOZ
AfhC4LnHiggjTnVzdDKF0IkbHXM9e7GcCIDj+IC4ljeqcX49Ld/g0Ny4eR2w+17plouBHdPSncpk
ulhDsV1SYsTL8IWcYe77ZhVHzYHe5hd4SDl0QgEY8UYnAaQYdzuo0D66waPv5KhRhf07z+rYrdYa
WXHHcyE3H20fwqIeukf0ggADZHYLpbA8ZpA422BgKrPBq8X1qY7tJNIde3OwaxYzqTiQV2QE4L2x
EVUZ3vG6DLdU28xRXcl7lfMkrBH8o7m+NHb6mfTTvvDn7mSl6zZPKTbvKtfdSrHeBx2Ozr5n2ik4
tmZYMVpcLCAzeBGM9K32C0hR1AnouDl1QqjWx6RFnHT61LnU3reW+F8gP+wVroRz38pdGnsdrVfU
oZfOYZmL+6uEClbwilmG9optyyyGhsh57f0Laxjar/KNNLgbkiZJnokYYxuyRfEnRSVqbAHAO0c8
xFgppYOsa5qHJgzeSjFxoIdjv5pnRLx+gwfhXFhvynJf2xLmnPOb0VvSXwd/Xban6hrdpo4yrtV5
xgxv9c4DX/XXUgzo8cBU2gl6TRuWmPzbENQH7GMd5t/wH/nwsTNw5mDWC3sCisIEe6uZsVG3Kr/g
++G/HFlC0t74FSLaDRa3QMZfEK6OtfV7EOjTXIJdmQ3oEJrZW4nojqcyP7VOQI5yGDjRW/hCC7n8
+MVnOzTPM5n+J9BALnI8pAgqd7hg0Z7jdun3xlDP6tn2h9eVD2XHKKg5ve9ta+oZU6tsK30G0ToF
6E2qK9sJwiZrhUmbBX5UhUhLypljnHLYUbr5JU/ZuK/e4XrzDXNGrTo8FSJCGAmOa5gclkHui2k5
J5z3uY8X6r6IvbKhEoCATL8+FIDY8YUgm5CQNhun6nnwWzDrx+R1rThVhPZC0jzlmaeDiZWCfV1b
2VO63z0bd8Y2zI0xuOmM6by3InvhilcNJ0pb9p/Uyn24SC66EPvBPl6fDnpNn0bJNwPr/T0MORHC
rPkh9gk6IieFk3tuB4vEn9khkdi0MEgnPQIrh26+qWMdF6xwxRJfvGrcA9zc2Zx6OPunT5W7YJPn
8hfGPHOM1Zu2IhwJck74mB7bVLMEBoyVLn/7ODtQPmQi+sGIxa/FSzKmDc7X7iMQakvw9Y6mnGgu
i9eMWTidwI+Qcl35WDHTAjIhY30YUvmiZv4x07UlnNZpOI0X3VQHXsQ05lU+aZRRU0zL+t+jpUel
2Y+a6tdc+r/dbP3Lr2r5zAH4Uts2j8M272/qteo21TTgUqoD3Lk2ptpiuQ1H5lieaHh+gDa02rrH
JtDvjPdGgOLUJVjYRpuvIXB/VBwyCvok8lGrE4WIIq5dWKn3lvzRatlnbfOxhvWBa/u643CtbTD1
zUMuBn/nlCEGrTDb153oH91mPYjGyXfK47HbWfFNYvX3qwBm7q5sYEeG/Q32WyTMdec57Q6zEoox
FZ9Hm8nPY2bfeP5Fyi9HNX/mhu6awkK8KaZDG6bvVY61iWqbHevvt2mqMDVzTpxDTN0KWHL7mSdi
p1P3LedbmDPJgIccGTH6cYe3bzmLQ0QIEvwV5zuTMJab0SMDIdIXYrs7MU6So/TUHpSLV25eMB3Z
jdgW7WM/2ufRsikCD9AfXCsd7kMsn2kseOJhGzJogiffYzEwltxAlsKGYae3qyZ+OqlRcqxieBT9
GByEi7CY+SanbqPjxkOoH3i8UoPKnVP0iO5KigicVPYQdBkWAU4gE2pIRICLSi6czdugDYKHuncp
hMLf5CmmdtVQRjp4XQ2cyo5qqb5oGE3/YV/c8xVTqJlz7S+0mlEAV9MTAs3NBXcvp5wg/nXLodj/
HAw1fWenMk+zsIhZ1f2yqUeitWAeb8q8Q98gI8SE6MM6yvCPK+L8386SPcmlRZ4eQd0NCIs8WKkt
Za2Ys+MNi/vruRpT6z/6unlm8BoVORGztrI4ieqOkB22fKyKw2uWyE/PyqAblGdqfo7pkpGLGxTL
FpcwLi9ZUHZ/6I/csp9nWSFp7DAx5gFB6GRkfuGYgJe/ZVGFABw/Nw6nctjO4anhe+mljeZE5ekS
6+lc+LgrgPziA7r+m9LI7XUjAKhgfp27ICfKyLxK+vfRvi6E+BKPakWPaihxPzcUFzhUZEVuwzHJ
z5L23HPoU3526BaOx3elrd60ldUXMGM6Og/UuUZFYcmdnbv3g6YZj/0s6Wb53Srrrx+3/H219wbX
C5t6jquMsFQl/OBOLGynxuS+T5cC12/7AoiEZ5rPrwlhHeE9p3G1XpbHFmPCtvDdjEucmp6kTjvc
j5fOwZbc1QDhvJqdCz2Dv41k/Asa8vWrfvcn59RlKRJHMEyHbMofkpiVmqlIQ0rPvWOQhcWDFwxL
KUZlHOcfTdAwQ4ZWxe4esvTSYb3hHY8dKj9VC3syXf86iqPq4gZ8/FNwa68lVz8xefgKzqZrADzL
v3bKYKeMPLBxZXcUD+ey5kg22QgBbQ3UhF05MqY35fdWgyAIGFzG83MxsFWZqYMcpCx3tXhoVkLj
bchT1fbsNyuws/3c41GbDUjaaTdb6d08+zer6+k9qyC8aPlzsKQYLMmw7PwWe0NWS9T2kZcZmnoB
DzvKM4xqVocwp4tCb15tgZOEbAmNVYH7dcWK8vHkJMvCSW5ngxMO+gCvoqoLeTZDVGlAJmiyZbt4
FdZmcTDCLBjys7UptogxODtYsq0g5217NhuRsCSU80LDuxeTG9LyCJtZH1ZH3U2GsUDVIjsRZzXn
zpUQk7F9jfQIhlhon71Oelsk1XnbZHQZONQw0th0Xe2rhq2xH6PxFuzsLZndD37vXVpskpmDSYdC
3OnFLav+cXWpIViTnCjVsHDqhICJxILGpvR3368S3lIT3OQ8Lh7T2oCjmK2Hvps/poAQnrDAtY08
KXEQOJc4qMQN1G/s+TFmjZSi+hC0C4qbBbzRNxNqz0RzgJf19EssHdZb7Lp/aMbD1tDVPcamxD+m
KvTZMa3kIvr2JEAXVVs1pr8mmQqiPZg4tQRWtTTihspL93WZSgBqBOQRtVwKlJbpZsm0F8UZPJCS
Uje3noPHtnGfUrOMb8KeN47fynfX9c9+4le3Vh5+WTmJD85ysCm7wN4IP8YEZ3JAufVEvldUv5lt
jlZNMHYEmn4ICdVsVjkzYPdzRiE82uGsVLnFgeG8eot4M20p5gg2PKdCYDjPOcSBEzIzSuVwDN2J
8hNKZeGYDOltnoAlDpN05ymr+ZPGfGOrm9yye5BHOU0PnaEZkN7VPxakEMyx2JytLr7RbThsi75v
v2uO3RxuxRDb9xIqxOPs+9A5TG+mDcdxlg2ymPYt6QzoIxZfCQ3LFK9ZSNA8MtjDo4JsBJLcBsCO
ftDG4YFeaX2ZAPU7S0E35hAHkSjkQxPUwZMt4/4uy+XO0Y5gsZqhsbu6P1MrgVpAlObslvXXgN3q
UeOFIOHZUvtT/xUlh2TOh8zhgdPeZ7x/IixU0xbwGjEp+lLRUJMTQbxwO2AgOHmT+h4tlTykAAW3
dqvtfY8j8QYYEH1SqUAg4o+rs3fp8osiBBUxx4d3xX+/Fq3LK1NlmuzgDTq3/uQGu7AyCswpUcEZ
PeC56KeVfdPVVAxqTC7PvmP+YsrGZ9pmb3E3WndNVoORpHpaeXFwZ0KCcL5T1XeOzVt0qZ8CH47R
MHHUyLIjoQuSRfVw1LKTd+4VDCSz5t2mSe9QxqO8sxyNB3Zo3kXnPQ81xyYKsZ/WJIW256BvBpko
DyXep3endx/nZbix2rw7zqDzH9Yug0+i75x0dlmQ8k01hsDBmgfq4AdEcrz4H8rDv2EpLDolbVgo
OGV3s0/mvozb9Qnv3hPnteVVAk4C35SK5OwGoXepVpung41NYmBFfPZg46IKIeBIiqnvK7WywPWy
7DvpuvtUJ1sXD8Z7npBSKZZ8ffMybh8aU/PnLAYahGIS3uvR9vaT7O4CvzIXKjc5laqu+7TD4TiF
6/hv8bqD8hSXpYalT8nBCzZZ+qItyxwlU0efzOF9bIx6DBFgrKV9/O8/jC4+PHjE93VYvaR9MT3z
wJ+ee5dwGrytkwEbE9QF3Wv//4fIOZfk5bkoJgPyKy3uExw5R1JpM5skQEXOlNx6/NSn1Oa+++/m
82S2d7WUF1zB7p0Vwg7+v3ulV+1J8wwg1OjD8VlypW6NzSqtypYHJ6nn/7F3Xsttq2uavpWuPscu
5FDV3VVDAgQzJVHJOkEpGTlnXP08sHf3srmXpGkfz4ktWxII/PjDF96AucrkqhA5fbuh4QDrPgEH
7RTQ6xC4m3kEGcZeAgJ1CU6MlJqU1EKD7eJLasi7CKd77regtGDi0Uv3xRLNb5NAThopA4dhRJxs
6El701Z4pOfnrsN7qNOnTRKlgETb7OSbAGpTgLJmqMq2EPVXUY0sXzpz2o3p1SIulYFWSiQUC0PT
S/CZ9IdTEPLCRMVPNTd4lMLrzYJbAPTHhFo3urK2kpnXAhBrNEc4xDCmBtse4XMohsRtXc//IWU0
F2JqhydrFlFWNutimgtQMeqovuoBADVeepCQzExUVxQfGlWDRGAgIhCXIfVAv4C9NllP2exVoIJa
B0eDm4415wYwcZNIv6VpygYShzOu6znQbmQy8V3YCXetCZn9HhoH1ubEeULzYPgE/YjaWsVRtFBs
MTNPJTv63nuh/5BhABrnisPUSNdeHQCHbub6YuWFd+ow423B7cqGXO84VJGt89M19VTWCbIiZtvT
uW1H98dvmD5szplkl21//DtRkfzNtXiN0tqcQKhVvlCk3sOFZdK2MB9ATRkI3QSU1Kc4B4TSQM3R
YqQX6yZnGzUpcKo654YmDfZf3/jx1c8/fuDbE+9JRxliM6Woq6l53m7QzxSpP2j1SIgaGBj+zV9J
o8DWUXTMTVi227akjCOAkkgWP75kM6J6+ATlPzxWqY/IJB2eXgtNVx8rl8gZP8Gu/W6bmkpKGJhK
tiWSyLYyzRM3KmW3H4x2PaF4V2j0TsKqfBoE6P0xkdVIpgXgZN0q7TnRiRIHSoQMRrz04mKX+2kL
6r10KwEPliSGJEFrdyFotMCg7ZctFB70L70VeChXmQUUYnydu3OsItAz/x7VaTedRRejYvqGhTvy
t3SYhhqojy+SPwXJPUpfdBgAOBsJzsxlNyKSNsodLjBgDhQZLGlerI3aokabR1TF0res9c+dZL6r
IBtiDzDVlNPB8qM8RLkrPtBAkjZ1pD9VenuN/ymVQSZyRqJL+QtBFmicOBJMc6b6nCXDFi43NPiz
x4EInLfZqSIeCc3UfE+H6dBXy5JONtonUmw3kwKntxgXzDUwI15zFWNaLAnNBGhquh9lorxgUldy
S8iaxzfyiLkApszggx4z4Ma9ONDCLXWCL9I7I9WefnB2dJQes5B9GSvSoCCFnIKTRDURVzUZmeT2
CFK1HdrKjuVGW4nhtKrkB8q//QIR6YOZS+DuxPtAad4h3p/6pF5BjwAgGEhPyMqyNdHd1YzuCpXN
s6TPRE4/x+TQeEUjc2MEsAMkxQY2BmuXvutiAnOvIDqYa3vlsULXoqtHBzhLuwDpq6Kp3X0rheGG
9uajFlQwe6OM6jW0CyJ0/5AZCEBLmDxTZeSqAdbJWgj8yIw22EhpEupYJjDyBa7fPUQNMsGtaSY3
9M2vSZ+pVsXak6rDw/Ex6GpXxqyNo+GX3ifTA6N+MFIUtdBnDK2leJNz4IKsaYv60VALl1yEuEFA
dDpDbldAqjW0KADk9Lv95CpGT1sCOI1HBhXrqNg9TjEF7j6C39ejYmAqQreE6IRVL8s9iwaEGPV3
YAdXQkduH6abmW2+BN2lYWJX5fmjNVvujS4Sbd1CHcG3KIZT09rBGhi3hoYuGJrObHAi2KUeNG+v
9Vdq2d0ir4p6gVe8DLrSuIlOoTKLdvWIcHRoVbiOhcLJ8/Zi4ns2pI4UOnzX0mQFJikKdPY6MhlA
U5wHYml974uCyk10V/bU3ENcf5qcfhha3m8WO1beow5bEzrmOTBO2Rf3sBUHk246Kh6G2bmeCOdG
mKwtJzZNErmmuf/W0b09kdW/jBMuskD/c6S+YNSz65BhypQNivKYaaBw9Qwr9VroESRsqhso6qjp
j0NLQqXA+4laalFhQcolmQQrmnLQBAtPZjWkU0y1vizzLVKC/cLP9Xbpty3ZBAgb02whJ2BmjJ85
4nxowJQ5TeQq2XjmdWdI91EIgTqgCrAwqf4uOaxAbqvDuurazu5zcPvBdGV2yXocK3jAXrACtSnY
cYSoDP2EE07Kd6hXwe56myaQXkHBAYjW172fv5aJ+aB1w7AG61LbeHerOCVzYAl+skcVsRetg6jH
d0XC/XlI6y2CAYVBHU2ZxDDfPclCR6FZla1QLIEEUkfT0NSHrxP2lmv5KKkbVki9eQ6okMKiapDN
fNYTV3pJTPNZltITzfxrvW/fqg3SKkTS8akZcbCmlQL2rqYhpT0TpLGde+VGi8dHlQ3VnFp7GkNu
B2k6MR6/NeMqKMXJQYHQgnvCLNcVuhOSgOBEKX4rKq6o15XiltqukAOm56C9FrV56GYZJg0uTKZX
KOv6T2MXUzlo+i0+VxSt06eyNO1xnCUgRn3d9dK916WneQsUJjikuXwz0J00IhFK7w/YevGYKsUW
FvWV3gNarQl9+kl4xl/V0vRb0TIfpLoAaocNoUEUJo1PQZLBNy3ac5sCK45hJFCRntBgNiTwR415
UEKSIL15jxv90EC1R7doAhtQRc2VlNP8zrJu7+vdQW9hMaTaawOPra6kYwYOVUzzjtPEws9Sd40y
RvBd8W/gv7hTG97NbgViqyDBs0nRmOlDzOjqKy0t1qyKfVnXj/2sNROJ+yHzaW+qry1R34xJyzS6
lUSh8hLPrwVScLYY5qSrBmoi41ifFVN4V3oC9la+96Zvop9tvCZDKl904qZHAbZB0SDRIZTQp1mQ
FF0Jt73WyaxdZgzQF3gewMHzrnDrwniVNet2CpmAsYlMXg0/oLZOUUA8IQVvujL5y8lHB0Dommsr
EOlczLqK2SS9RSr9HZNuCNuJIm1VMY03I9CEMAhsMYrzTRWZFUGQAevTVHwwbnp6rCMsF3PqUo7c
JxRpFLncDkCffv7hz/8Mxu6GPsYZAv9c7M8aexCIGsUWQl9pgvVpMpRxfwRIwxxIAQNir/7xpQbn
bKCvvYpBZhgB9pN+1CC8iDYM/SQrLLbq/EfoQTbvFJhPvgK0sCx3PU0i1jW0BFXitjKxJX0AsLr9
8UciA0dpeFe09QgN49AjaKkRkBtNbwtTEtSTCmYKIc4lX5TbH3+IMjixuLY6gEbaKS2EYw+jhKUU
ORVeV1WNjdFMpShLxUW6emvJ+msxDfK6ESv0AStNtauOEjiay7aYK2AVZYRlGuG6mftcvhfctpJK
tp2SCgbloymCGSS4QwRZU14niLJEmY9K2pwthagAtwnhhs5MvAhjSmve2AZO0FkKYnDRjIeDUyTD
2HoUErbT2gfci46+bKzQJHiACk9tkd3IwMm3pnRFDTLYRs1ELKP3NwUSXASzyMEWe7OfDEDk9AJN
5U5uw/xaNKFGZ5ztEVx8S5iocav300R1MBr6YGkYISaL1jcA6IIcBXsvi2HpsIH5gHRWoGUA46K3
QXQ3qVZlc/LwOyifi1hV6ZayHybK1So5M1vtbujNg1Zbt97MwqoRvxj7iOjBxPnaE95rX8Ys4E0C
WYw8/yZQO+j5ywDKXmah05xroRs06kHvx1dJke4p6L5pREdG2wNNKVXsVEtXENZV2EIKrtrzlCmk
bkq0HuRgpMKE6DCquEuVuQ7vDLE3ipzBUFkrYWgeR5IrXjU7IYeQoyaQIash3EAFs5xKhhXCs2AX
xP7ol+sgyO6sgH5hWg+0/yoXXWX6UwOT0hMozbGz2p3H04yKuC9y/YiqPyCRFjJsJiffayl7MHIy
Lo4UdL6t2meCsbng+TIMhOJ628cH5Jpu9fFGM3gjItFAayJOLNUlDbp7dSqx0BNVVAxFhUsR0BuZ
MJDy9696AthoUCPw00a9L0zNtLsu3whREG6hOGTU0gkFhW6ttRqFnL4HioyCFOrF9LPtdqjOfbOP
rDC9q4bBLSWcCEFOJz1dwfDQaxm9XD5Ajf2XdiQdRMyqRZARWKoUpnYHIYajHcBYnzmaPz0ZlJ2A
tAMeksDl5IVJPxDaGnWopYKJIt38blGEiQJaoTvniUqISfdm8iv9GHcC8n1E6xqi/iNsJbA9JiUl
OrSgz0RHqGi/YXFJdECVF51vSl+lAA+jDBGmzkV/X0TqUavfpLC9mRQRSHvSPLcV+YNQstI70XIk
RbvxVeVOi/g4qnixUcIxbtS9pRnnBjaJ22SQBpvmjR70rQ6UypZlbsmvBPpDysuo+pQm9KM3EfwA
vPbNmAaMSsNNRYG5fC4pHS1ghT8NKXmZl1wj2utiRYkzJD9YtAiy9FpyPyGNCGVfpnnJTNSI1IIR
gK8q+f2xG1XUrKHiJENJdS7P3UwiMYJ2v50EIbONIiVZ78WNUmNj7Vnj7Sgk0soUvEM+9meY4TdR
ipRgWb01ghTDxiYgmDruGa9RHXkj6BbtI+IZgBks+b3tAsqIAn1MSeaN0d2qXSmLj5ni91uhz2+9
MHgYegP3XK27omxQrTVk1mqthP0pKIgZDBi9UJ45qsGpamLiNLnkuCyyJ5DVTyNOnpTbuYWiRAaw
nYP1uZSF1Y9kmzIBSDSNNRQS6ps1Az21BZ4UKb6dacz4KJICc5Iwt6KZByJCcPMUnw5ZG3qQ8cIx
NCtbn2C3gLhSd+poCqsuxJZACDikjXKNDAUV2KJBRELTOobZzBwxph2stlQ1gCGI+TNaaI/dRKpe
ST38WSU5sPFiUBCmRKy9h5t9RHpI0hgQgCglpKhIITtVNfWbKdQbpDyBH3c0u01RRsIQeV47EvFJ
osB2EtL7vqst6nWkqjGAcK0ZrpEmxnNADpETCmm59aXxno9oWQDRwpu03RGxlz9t8v7pavabZ9fr
//dce/9hxzZ7rimipeNV9rHt2hmq678dnp+r5v0377V//uJP+zVBl/+BV5oiiWCoJAm8DFZqP/3X
BF35h6SYEOBkw9BMXJ9/MWAz/yHCRzVnUirfl2Xu5L8N2PiWSD5pKQbKLBK/+b8xYJOwfyt++rTN
D2lyeY0uCHrPwHh0C8/l3+3XPCNK406sAeY76XGyg2W5TF1zb11Ha/Eh3/0yQH9j9ybNV/vs09Tf
Pw2cS1wQ9yo2ace49NfZKrANx1vn+9EGB7YyvvDU1v728Qw2esOQAeTJFxaLslBACPUbxS6dYo+a
BiHVDR5xLnG2g4uMcSo2jS2tIMa6MHedwCY7Xylr1cndal04zZrq6jHdoCnNd5L7zrGOcP1sJOZo
GDloho0r7vxYLcHp2PW2X47+T89D7Av/3iLP0P9mzJg4TAVV5ZC5fEOxNkIHbFBJqh1Ys4vUwVvd
yZ3WGa87e7CFdXjcpSfLHl3C3oVxtm6VxUF6bDY8tGsdF3gBrE1bcaXr92A1P2LtchIx8OSNmgtK
24XpuwG9zNOChVmqK7x0r2B7Od2yc/xltQXZJtjREnXcb7u3dIHH0tJGYOLnRvPhg0rSD1Pby+kh
wfRUNNoZoiJeOHKK8AfCaewUG3WQVib3Wpapm3mAKQ9m4ciSk4AsoDK74qzDDu85gcjyLG5hk4fP
kPSGt/G5dcPjBI8b1aFtuK5duKHYgN/mz/oTuA4a6558m9I2QpWO0t+4EBb1Uu3XlbXGzXtM18Eb
vBoYgvKTmNsgUHQO5QWmMQDJSnt2EZARt3RpNOoL7U2FJbsL3KF2qnqNwgU67LirP4aQbN/r3jZd
EEigVPunftoMDbXPJQqbnL+jQvLCVEF2ajmjWGcm0gIuy4ootCYFX/kSoJqz0e9UpLoXqY0g3Jqa
UYef6nhSjPUk2/0x5l1qx2YbbwDp1AjwX4kQzDkIH5CK6taWE9/F2+I07bsr0IDLwMYx8YgW7V3J
jzmFIxz5eWwG3vUr+lv+ApcQBIMsvFSOsOMkLm7Rj9h41y34qfIalnFx21LucL1vkt09tlt5iwgp
WoVHH/bFfXxT3hA94LbTf69sCsjfUXUGBppOII1Weoa4vjt+N82l/gxdsTG24Y6B8+Kt6TmV/8zL
jgd7YM4h2F0v4UUNoNiA2QPr9x2QP4i5p/5Wj4+V7hbFxupXdAH0dt9BYylh+9tIWSJXV3kvnP76
uJhd+BbUYMYDNT05tXuGV9jSYvILHLMdPbENyca9rS6AkyGqtuxstLnUZ+IQLgMqGFqSuKQEepNe
ExPANTMn+GuL0UmbfVOv/cxtascQr4bAFU5snaVdyisNcad0QTgSMK9y9GmWyJq0oiP1VyYuQemR
7m3c8KLXSX2ojV0icxsojjDL+qXxyqgb5ibHTzKHr+WwuJ+1jeiKW1Ter+Ulum07VHqRZF/4+24t
A5Jedt9TEMm2ccjusUlZRef5B5JnZUlxtYex6HjnyhFX1qGiXbMGlbpRMaaEJUO7ZzGcy2uYrIfx
PcX0Y+FtejYHdJ/vgnPowBpEPM0WjpAQqAGu+0N6V5yGNfAJR3DKg3gXrZJVt45OqVsOrtzZwaF0
egey5Up0spX3jVWC2mP7pjJp9HBbae1zg7nvUGFl3shPmYY6cbwdV61cOZN824kH+qBQnbDmWEDZ
pf5H1o8AkHqS/XVJ2/6tUhWEZdEhdBQyMK3eFZM9lC6dosgBUCuqNn5BmfWNhEEb9uF7MO6xu5ls
WAPgOdaQqnZg3CmO3UKVEq/QFpbPwT18L2QQ0n12T/HrEVcxZ2R2LYv7aZvc96/tq3XXisAQZToF
8WJ84wIVCKQMehMqnruKlN9RwyMACiQyI6wulpIrHLStts2IHG8SHUebBaT1LeDr+AqlBklbyKvn
7kBVXl+b6628ElyTLTe4meEQWPIsgmQN8qW6zwMnOopQljMCWLq9bhi4nv8io5xIKnPWZGTyqKgL
zX0Iww0reUgziDFMMUgnzOWcyDqmptv2u7i49a2Tbj4zXSYnoInsX2XtXbrRlu2ZzcnNd4hsbdvb
7Dlbo9rhYOw1hI8jPHMV3kHz0Ck7wS5UOznA+H/Az4qG4bpyo7t8TVuzP6fWWt235+gaibAb+eif
QKAifECT5SUaNuID7lwLXDvdeaXFx37X1uucFtIChtJKQDiu2RnTgVr6MjW31E+XIJm2mot8K5KK
wlLV3ELcAgVDA8p6r9NbhKK26i7dYwgPRO06bR6GJ3nd7xOneVYjJiEwPrQmbvoVzqptt5GvSpyN
qOhNr62LJY8du1hj2P3oWiwbDQc3a4EHktPsqTPAT7dHtP4XxAWr3Nz7N/DgaFqtqrW3Tqan+UjN
vCsWx3JE9eMJERi3fhRXiAte30jsvZRyzNt8H7BAUKA4++/JKb4rt1h52bWNMswClDE5BR+DkRLA
J8whbRi2rKSEb6dOczW+C0fdxvXTQcZkRYPt1nw0T/Ee6E8Vbeq9wP6zjFeRC7rkGQsmiNj1ulgy
ucYHzfaehlPZLOjtkFJRocjuAheLlcMIWz9xfGuhIFYJMAxNCugAi77FEGthwjwu0OK5ohdl2M1z
JtB4X4g2TABaxddldi3afIoNBAns84Ja/wP9qGDX7/35Tg6SE69wQaH++N2UFKBl92npikhy1Uhv
ryLToYVCV3/F0rHFBZIiNpIsS3zSl4h3rHMgtj2s9wO8dC2+j8/QIO1kQ7VT3Bk2BlJnT75WIZiB
40Q6NXXoc9JQYElirUOqj3ma1q4Tqaap8zZExwop0XM8M+cXhoECpZ0Hx5LkD8XHAUSxg/yPgtDS
ZAuGg6ku3gyKZANsi2Du1WtxZ9nyUb323HBHE0K6zVGeWaiH8Nh1LqeIxzvQVt64FBG8SmwFwiqI
YrzogEuYThJuTeSYw5VPKwdrAnOVq+D7H87esl02y8Cx0G7+ltvwpiVwDTY1AcFbF3fKFRakDaIn
zxazUbrKNpX5IsE2i1q3qtZ6daOm6zhbi9EyX1kbhR+UzvBFuZz4oDjknlyf4JoKBNvVNxrwPpRt
DuMRuNWKOgGoM3af+yRzWqpYJ+kdJCoscvzFFujAwD3i9xO3oWuMvvET0KNKdCi1M8j1SltWro83
zWJk73lBR4O4GU8chwCNMg9EPfahV9Cwm3RL9wUc8mzmZLgxh+Gbqa9CAhhhCRZZbm2w4QEFPv00
wPjp1+21eS/B+ZDBuWxAYXoOG0qwVJAbwTHVNThFshXuhYuYYDYQDoXvmtveO1L0K+t9LYGuPKfm
0W9UQphDLzzK+nVCuSvAU28ru0x1KtVXAGQXNbYbKnVk1kG4wvgWqQubrQYQsRP7eLAtuntMsl4s
V3G7+/BWCw7dfc2kb5b41t8Ci4Nv3xwIz26L7TxkJiIL9SLKoYbb0Yl+saPt+qdoZbHBUPhZaq5q
99aptxWnOQzvmas7/bw9L1T5hv9kRCG50uN8F1eApKFOcWZyh9ONJLAgdoY7LGX4IveIgS31m762
61e0jxAvtIRTcM8JyRnJSopA/DooongiihHcIC/n2xe529+lUpJm6ookiZKs6BfBeZJ7KPgD3iMP
QTyaBKns1sifupmTuZK27NMvEp85M/6XZBFHQElCeleylEuXeb+zzIG8VQF1QrF+2eIkmqyy8Uyn
XsSkqDqhfGB3ENS/T8U9u9c8GBWOBveq6Q5M2qq4medozNmBX+hXdzc/7r/kKr/c3Txcv/iWF62s
qynGuzbKqbQKoQveys8IJhK4ETO60674BkU+fUfkHSxwlbk+TntQzQiZgZK+9A8qQUj9xV0ZypzQ
Xt6Wakq6xMdLpqVevKU6rE1ZwE3ChkW0afaSnayCs7c3/aXo4ADU7xKnXzerAOXI4NW8N4clENp9
s5HW6Hes+xtpJzro+7kEMUAwVRxu2HcBXe7SpxybmS1cMuzPtcbBFKPPaKlvWPoqDfdVf68aNg67
fmpb/k07PAX9Ltp7T5ZC/PNidDttmDXxRHoyenhNZz1FGjY1vqW53eIRozwBM2igh+WrvHTxBaC5
ScTmr+VsM4roPra2DjjSXEjv0AArWIlLUOlLFJtbG4/OZY6HjaMskn27BRxgnIsNGwhlOLdbFePK
c5F/jVZt7wwZe/5WWxuIlC69K8uhaoerwAneJu3saIWuncqpHJ34cBunweKZ3b9egJkhpGhdoVz7
IAOu9S2kAQy7LYD/z96W0wBxqFf42uJdeWDbS8ELYE6BusAi32BJqz8C3jHp96Y7AbrvIdxCzQ0w
uli3SPgQMGCxjlf1Ul7zTPCJ5eV8/JzH2xRKC5njQnKtpUHr6qFFtQlT6xMl/mW/0coVuuPWsrYO
BuIJu3ElbMEeo5Nsq0Q4KmCkpUJkP1XLfD9T+FXbuokByS7jvQCSFfnJdU1FJNiJeePWB2+TPcTF
NQdCoKNDAceLgiWubkG7hiCHlQCmIrYHYniJpapxIxzZ90x+gvQF8CG8sMb2VRsJpgf+QvQU3boo
2vi3kxvvVXt2F7kVT9OO9siPnFO+xQzPsqGx1nu5uJ5Tl0yk4Lpq02W0q1zBRqkRatMrPuKuslJd
pGnrtX6d7ziM/dQ1riIH2+t155RXnFG2ssHBu11k17Dzo/cJ53EJE7W1V24VdSs993uSUaocoPlt
ee2zbYouJMYFZioFUNMDARVlZYJatOM1HmmE8I/NHMeEONJ8PiUb2SW8EeNDl+2DO3EHhidgXYjU
krWbMFkVL3N5qN6g6xoy69aGI6NuTvEoJVq3ZWUBuhMCRIQX66JwsPSgmDyss3NMs+bNX0d8+gbw
rXlg3m6EF8VaaXvWG8iyUtmV3CId9oWw7K+anXADnsJbkQFaS502VrQMXW+V3aPAisjyudhObM6F
tirWwalYaUyMV3QBvXvqHACat9WeHJm2KRpO0mO4hmuySd81zxb9ddBehZS2iIdVCkVi+y2TnGbh
gAoabVLOR+suNJwWnynkF4OV/z6+WQ4riZxnXGkplIqHdNhliKQnjzAMyyfd1VbNGZ0kTstdRDPC
t+eh99E+vYMh7lA5gz95kB1uwr+m3WuCt+oDlWYRmoolyfIR9dNxgVA5/Sr0ibLlbND6Y0PQd/kp
ek+2/br29xmGsi+oACFchiRr+eKfizskbq5JEZzkwOFqg/g4G3awwXhplZ4jN9tLK0alegSepMOx
Ax4Dszc8FtIOqZ4UgyGR2b9JqXdZG4toCjsgFIwQXs2xNoaXyWPQgl3qB5Ex1W51y5a+peIL4E2x
Jb2i4mRj+hElO1wG38JbGVM81sAGRNa+3BtbjCyv2zWh+U48lRv4B82y3wm3405d+Zz4mSsvAKCC
HV4gYb2f59bkYMuGkw8TJT++wYhw5xB32a/jF4tA/U4hj5zPwX7H1G1c4hP6Sw4rI1p8B+pik+Vt
5h/Uvg8H5EDwWeEAa1bSa/ZKhps/eDe0M2yiIv9FoDsBCOZRdsOXFhGK1jazTRyftoK/obVpya52
X5/Fh+g9d2hhv2jfwQPjXVpkdnU9rs0lVa18nUV2u24XtUO3/TnIFx5Q6DN2ToT9e2iYu3w9Xhun
kdpFeCqi16TfeISIu+IA7g/hHg7M+K05ggiCpIdL1DYGdkZvHw4fYSI8z9fhm7/0XsLVVwVJ+e+O
eNXEzJhjnrqrdHGWEn34MFsM6jeccUeMUtOV+F2mFNIelH22KvStQaFlavbprQnBc+UdQ3twC5e2
+f7LOrA018b/9WT/627mOvEvAQfESs80Iv1HHRj2B0nhMnSEZfCiXVvfLbc5Nq6x+RHz/a96P6fi
PTs31ft7c3gu/mP+1f9pE/3X7/+sf/6bsrb93Dz/9g/nR1vlun2vxpt3OHbNf/3Hz7rw/JP/r9/8
t5/NmduxeP/Pf3/N2wyb7Zt3P8x/a79oIgPzcdfm/2QNHZvw7f3f/3m5uQ3y43d+Nmwkw6JhQ+dF
IexECVfjav/s1/zdt7K8aoL//HdBF/+haHNXxsArQpaQHfmfho1gav+gUSPJKoYrBt6m3OB/P/7V
zxfMyH1YJv99Ugpc24AvTDvg99evI/VBsKw2bgsmksgT/dMYl7vkiwjy96D7r8tfzPV4KI1OQSXR
pbvfaTLMuyNAiUVtngZ0AcZO/araL/42nf/6oMsWkB6IXiH4YAgzfyWLT3J836BnX3dnmSBfgbGt
6cei7L/oBM3D89fq+evjLvpb/QwNqmuyZ0gvKEiFDlDjtZbUm7QIHn6ZSP98U/+GquwVNKWmpnn2
wUdcZALQi7o+MJPObalMo6+sGWwDyjQDshHQU5caoLnPP+n3reCvh7noZk21nPpShkgLtJV1UnVg
LbIvLv3RQ8yv65fdBd3/2MMmr0YYALCSbCHtQsl3QNK9kr4DRVgNcD4/f4oPZrJpXX4UbpHZxHiZ
xZUPXnzUT738c+f6cJV8MELm/Hi/PEbgAz0RK67tW+doegHZ8Wf3TD/21+smmZSI8nxdMTmjeLlI
gaFYX3RHPxqPi5XtjaJumiPXDoadKNxgsN0pxz+77YtVnSdlkcs6l06UfTPeKGSh2uHzS3800vP/
/zLSgGTFir51jTQ+JUH4OAkqYZ9f+qMBuVyz4zC1QWjWbj4R2ZtPeDexZI0vZvpHV79YruVg6LKc
ZgOeneJWnoxdJLQb1N7+cFwu1qiHhS+mH1w+8jaoCfrFH66aiwWKlpZaZjq1R1/dxsF9R0KKy9wf
DbhxsSKFNEJaLMoZkuK67zdxiOz6nw2HcbEgsyYVoA8xHC3oOJVCqRG/fX7TH0xA42JJ+iWHrhdw
04CL8ugujB8/v+4HJ8aPfvwvExvDGhOSPCeh0J3FxFUKpKJpt6d/tkMZF0uyMKFpmyoDUiFXCXfe
DmGMfH7nH8xs42JJmmWI+Go7n+HWxoAqSq1OCO7/7NoXaxLXMr2RknRwA/OUp+eZqQFP6c+ufbEi
awPR5VTkvkdMaOPH3DvJzZ9tgMbFagyTXpHreWYn/kuBlEORPoR0Jj6/749mysWSHK3cjNAW6NxY
va2JyFr9ph1f4+qLc+GDCa5frEoZ3RLLGxgWaczIAAtHqX378zv/4LTXL1ZlUHswt3wmoWhEtiEq
T6MvXBugGnML+bgZ34zP9xcR3wejNIOqfj0o6kIrlETmMUzzLMZHU3lVBrscbz5/kg/mvD5/6i+r
VdC0dgoT3oEPBluHtx9WFFwV6YtX/NHlL1Yr3PEhDHRuPgrv9AJNn+ux+7OpqV+sVnwCB7lHN55Z
f1P0V0aFTGJ//fmofDR1LlYrnKqsbRpWK/D12T03w11FPn9+7Y+G5GK1mlEitx1emDQujnJ9oiOt
ZuvPLy19kBzoF8uVRKBow5jliuxTt5QMCWjJcBtk6GlCiUQ/Aax/pt+MyMqIdRx/sRo+eqKLdaxM
0ZiNCm9C8E6FeOd7bpF+MT0/mPzaxRoWMj+PG4kXMfSS7RXfO1QqUwgaRfdnxwlowN/mvxgGqGpI
CW9DQ5yPldXLf3jrF+tWNAMkvryA3Q3hemiBw0uG+Zr0/Pmr/mDM5zT713Vb6FrjIWE3uHpxjOLH
Ttka1hc3/sHk1y7WrNZ6AgKXbAlRhDKeEQh4jOb4SX1+4x9dff7/XzacAcZfK9QMi2xQ5ir6lc6H
fH7pj8bkYtXC2k4NuUOqLJf6faeoa2RhVjqK359ffp5zf5MK/8BK/nLn3RB7sxYLBD/c5MdwO8zy
m+OL0DxHyIwFGV5v+Z+tKO1iHUMy6TuUMPgo6RutoTx6mswvMrGPxv9isYpaOUz5yKVzbSUEKwgr
n4/OB9f9gU38ZXRUKZgGC6MlVxMOQns3SH92iqsXC1TSxEkZJI/NJbgxoi1mV392vxfLs62ayhAL
7rfTAS6E6nJAXO/zS38wD9WLtVlpeBVVWlW6Ev2aKAScgBqh8UWw99E4X6zOiBbzOMzBHsrqAkS2
MmyvKyDIj3927/PH/vIaCxWHMxElDbfITpWCCvqq7f7wzi+WJ2wpBdcjRjyvYEu1tMfqdvX5XX80
KPLvdy3IeamPGpdOExcpRRQMPr/uB8ePerEOvQQ1CKOTAaxE2KM0Ozl8Ecdd4n9xXn90+Yu1KAxJ
UA3zTovbBszBh0KFCeQkaWN/fvsfTETl4vT0GvR+erNBSQAIqg5VrB5z28unP7z8xdK0BnTaqOZ2
bgP6tY9e6+gJQurnt/7B0CgXy7MLJbWYYqVzs+BZ9d+S6dB6JzSO/+yoUOaP/WWaJ1Jkls08zYVw
b9CjA7WLT/bnt/7BZFQuVmgmJkPSoDWM0k+kuBV0oE1T00z//OofnELK/Km/3LmPRv3PfbbD+GKQ
6QkK7wNIgEjYI1O1LOKd+mVd46MnuVixhqwVGMvwJL1eYDMFPkBRvniMj6bmxYotJ1oIguBTo2pv
GgCQ0UOT/1lo9APi8csINVOeInUMcq6gz5US8mrjsJwAMX/+Aj6684tFa/UQO3szJ+/4v5xd2W6k
OrT9IiQwYOC1JioklU7Sc7+gc3pgnozN9PV3Ed17Ve1TLksoD5HqwTbbe29Pa6+1gOod3M0oqD4G
cbwt5RApZlFEBs3hIoP40vI8DSfLvuTxs42a3U2jfwcNXRkHsrRTnsUwjj+jmt3zdsQJIpq1x23N
S2E7xwEED0nah0P1vcvOBqjo0nBb01LIzkvl1Ak0kMCp9jw1q/bbpDvuKab0/SHzyiiBDV6oKgZs
pnNx3Bvm0d1P1cDegrE2f2wbvRS2ftG2Jf4APx6sH0MJasSkfp19S2N3RbokUqQGDLWZblD2uF8H
4zGKblGaYIHoydPsGlUWksJ1tuaUDRXaH8xnv3qi7JLormlUTUtrbBuko5GkYCWdRXU0ACQlfnOm
bnLaZngpXN2y9VneoPnJ9p8g//nbL81zbDtf7zevSJGWFK5pP86DYYPowMnxUkXw2G79u61laXXN
GGmhL90hUvufayUubjs0OWANxhsHGUsKUltQqOQ1SOsNz05d/quxCMA5L3X3zHURpTKLFKx+RbLK
pz1WjrkAiUTljYfGr9/uW0bhMTKuYHHioEXFtAhRydwBm5yjEGhJ7EMpet0WXmUiKVxzOpTDkoxg
vQZBTcuth3pyD8weP44kAweHk2qmQkIn/P+T5HvF31XqGanTQ7qxYaHzI3mDDDYw8ukOKn0P3ZOA
OjvweRBE6TWLrmpWyN97h8AcRtM1ZhgOxfgg1IeQUePTw/1ZeTf/LbeSAjmA4Elq05aFJgrrnH1x
nM7liZ+zJ9D9AmFTh+BNfrjfl+pDpKBOU4dVQ9nzELxjlzFfBGqtIZK6qXFTCmkSN43ZJyn2bzEE
5rPlwsH2dr9pheeaUkxXZdNUpC1ZmJHL2OOaHmVYmtOVYgUwpaDu0xxwjCRGCXcPsL/7ZcY9CBER
3ubuD11h8hUlcr3vNE1i94vftiCGALFMAOF0QIruN60a+mqtqxjoIebGRczaMIbgBqpzTBd4yKcE
S/H99lVDX3+/at8QQQJeh64N6xz49MQ4QJJC07Rq6NK6W3tQlfRB9xZOwPtbIAUX/udZPFbuVo8h
f4+9GjoGlkjYpmt+t+DPbSnKnIDd3GYZKWS9fEg8iDzzcHF/xvYL4Avb2pXi0xkdvyQd2jV71DS+
NbHGCRXpEozzf5sj89xsbiDAEo57ccxfIJxydo8UgF4QzaIqZDznmyIVdIt/d1QGnc/zYG7D0vgx
8MdlviRU8xG3kwAJpEjNUKgOilMfp/L8hwc0LE3flvbzFsMTGeWUeL4BhXXozPAWzHpdGhkgrrnf
tGrYUpQuwE3hrWhpQ8i9kxogsbcSIPdtbUsRWrVtC07NBOW5vDtbPYoiWzdazEEzmbcTAAmkKAXB
89ybFYaOp/R9WUBVsKKbjmskkOLTGmwwd0KKMOy7nz1EwXBPFBsR00bo7QSDGvy//TDPZ1yFuGi/
JF8g+5Om7FhADcPrguM200uhKuLZEEUFbxS5hao775jTOSKcarxGYXoZrORCZYi3PUgrAf5cdbZ8
zbDfN6v/3W0QGakEwqQlZSCVDIF+RfXIWq5oH/IDCGPCIEQ17B7CS9hzxBoXUni/LwWtCfEIZykx
D13zBUQjIBD7Puoe2SV6h//bBBJ/nfyrBcoUqNyHzjScCKVBFEUULa52wLUI/gAU/52rHoLXmu+w
Vse5ZTcpjOPZAi+rUax9xaH7ZJ15vtY7P9MTftK9X6hmXYrnburLoCzwQTUqnABAd1/uO6uqXSmQ
3TFjFggl2zDBo9TS+kfiLhqHUjUtBXIDiffCNkYQTJVPNn21cW90f8zW2sIti0sh3LZB1VrcxGY1
TF/aUwUcP/QZX9ayTShF6uZ1jddbvUhxXIBRGDqz6CV/yM5VxM9L5JzMc4IivfvfsXr6jQ5kkFPe
xXaPejKc070+mtM5cps2BKf+KSU0BK2wbk+yLuW3+pFWXhDjmjaIulFR/bRWLfoPdmiE/4/NViIc
FccUcMeg36tgA9MiBIsaazUU2j8UP1BTCf6Hw7Knp+JDvC+/FadY41SKrCFjoboC8h3QHEaRdwIR
Fx45DtQ+p0/3J0SxNMhIKCOD3MwEWZEQKKhdL/zdEDwt048k/X6/fdXgpSCufKgHQ4QAJ4r4YoDO
lUKkQveur2pbCuS6KaZyEmi7oY81Cn/77pLg3/2BqyLOWyPxaorblNLEzWH24ON4BG11WD8K7BDt
fYECFt0OUZEwZGgUWNMHhhWhCVeKUJG30E7WHVhUSdqTghmUkgDmFPgASLyHaxTwR9wIoL4FOfp8
30iK4cvoKBcK66ylNQtbvCOIynqkk+5ZS9W0FMEFhdiBW4JJ2wg+GHgBGQ7bhixFbjzWNR8yWAVP
1x5oEioNxvL9su5GypFBUCRf2FxbYIcB4aIf4hYShc0n7wSdC9RvoRjxSE5WdQSpBD3Bpx4Mzd5I
EcByRXARlEHurx7k8WBHyxcCaXgIvkAha5u91vm5CgMjzSkYI/FZoM8BPyl0ou63q9qvUCl6UaJB
4qJBLQUDgdJ60+Ml4GMAuejLWnQlztMHTUeKpZNKgVxXOCiBZx9F3uCN2fOHHoRMSwi93jd0FOqy
tMpfpQXatQge1Ev0MiyQ5RG4w1109wOqSKZSJFd1ICbSrcRDYO1YCWiSCCzwD/ZxPnea6VAMX8ZI
CZKwOM4pbmZQHw2tVZCsZppdhSJNy+goO+kKPEfBMq3zEwo7XvzUJJvge8SVgtlgHnRaygRi5k6D
YsWPFKpCrNjYuLShtu2hgeNAgtoAi7f35E8fK/Fy3yfXJHYjV8joKAs1AQaHTFRo01+08h4coz5X
Mfs8QH/FmAuU5OhqJlTzKoXv1IihYAzGj80QagDgkrj/Barl0ZXCl4GXneQcO6D0IXv2TguKmfHK
+AxGDbCPuAdNL6uH3zKUFLvMa4ZkYuglvoBL7cwe2dE5QeZhX2qcU7EhlUFSbibYCBln1AviMjsp
z278WKYfRPc69h8136DIP64UvUXWpwmB1Ge4oIC6Qs3oR5S6H6c/2ElAMheUdff7UfiUjJ1qIRXc
tz26Scmf0nq2sidCXwK85HklAfu3Jk+o0rYMpbIJSXKo0/OQn9jTStEHhbO1Ivad90G/MVIkDUeK
7LIu7BQqxCz0vemDO3ZPlYtLC9RZ3zeWqnkpthceGzE4+HGZQ79xcPG3FsSPv2xre+3zasUMRAHB
6sxC2/OPfHnz21dn427akaKZ4NTkzDHimNEggtLX3iTiKfVa3eSqzCIFdUsr2uBvDerg7H3wI3FJ
T/NL+gcivaF9RBV0WGnuvNYh34hsR4ps0+RTPswEZzJ6LnCgKb/et75iPySjrUbGrGqucDUxk09e
cILuF7QxUK+j2+ap2peimUFh0usL+D95XcDv2Ifem/kgTsse5I7hcKyxJqfhtgd/ImOvknbKjJSi
s2L5xMafrHvr+J/7dlJMtb2mkSsvjSGV5foLAgwlrUeb9hdfGHs+xZqXJMX0ytArw08coGVwx26s
pMnWk1ttbHidl6txO4uf14QuYCcB5QMdwVM4DLv7JlGtaTLoyu457pAXmBsqyu+XgcsZIt8n50Qf
V66E+72oLCPFMDP73hs9dCL4KXBOQpeZ32EaNyLKloKXpBBshKjcekXEyWF6gPQBioerKH4B/+OD
gZsc8BeB6ivHGbY6vBP1FDv6pqvYVzmUFNBlPkLOl2PGaepAh3SOoKWxI9OiyU2q5qX9NWOGwUaG
1FcNTXWg8fzPHEOYIAigQ3J/YlQ9SJE95CAC7xJkjiC4uN3XZvrKhk/3m1ZcR8l4rCUpB+Z4sE3+
YJ9qsDUKUA2C6UVjG9WiLAOy8pLa4yQ8tA/e1EP7UkTGHmwXuxGAU9DBJQdL8+ykOoqsnMjX4QcT
rcBhfMnyE0eRYx/6n6CSHYGZC4wL942lyLBEivCgrtOANviYFMwn+anmLwt9zDsNhkoV5DJOy2wH
JxsrNM+/jceVc8kAt0/7BSxge2iAanxJNeFSkBtQmBH5upDmD8MDODfPXghZO+2Er83cCHUZqdXa
QpDaHBFrxhPENnHev296RQgQKYYJqv+NqcKwC9DDpNW3KSPgsdcsnapBSxFsAj/c5zWOmAO0v0cf
xK5doTG3ymWk0HVbAYimiTnNOvqWpd6+zVlYTeBHDbLjfdMoRi9jtPK5tFJcMiKBFiB94vSBBUyz
pKmCypLW4plbGSgUXR66u/FI8AiVRPHZPK2kbrprIsXMynCtuuJFnWcY/lycl/T7bD7TYtu8WlK8
1pDEy9Leh2RWVr/QZTkZQauZV5XR16+5Wuyrhma2TXDxIfCS1adiBy0aTdOKg987OOCqaehcdXHq
wxsLsB3lYJfyTu74j+t+LbNtO9z3ZH3VQ9yOzLAcrFhOEQBdkJIZQrGL5nJCZRkpUiEwCtHwGtsg
069ODWiv48rUbINUriLFKYpo676zEExmmx0KiI5Ct4TMGqOoGpci1Rut3mrsuQt7/kayF8N4Iv6n
+xGqaFqGXC0iHws+Q3DOdX6leAdwHCiTAP92v3WFwWXUFRV2kLkjBr6YX6k7HADYOW1rWVpSDVSH
2EaJR8M8CWNxqVzdWr36wo1VQkZbtaXTW966K1hvWME+i5dt8IlfzBOUrU+2rpfVLW71IsUoJBJw
GGXopT+uT2HT2flVPI0HcpjPoPG6byJVhjTXWbmKJQKxrjl10Qk/gAcR7HdgnTt6OJKCT3VbGjPt
v7tw+FRNDPoo6+a5TU9pEd4fu8ot19m5GnprMb/mdMbalFyW+cmDLCWLNy58Mj2nmYHG3/eBShts
sMjVUTpCGXR+zHUQXNXgpXClTeHYuY/BOxOIednemZ8srgup241bMg5L1MLuIOQHrKeR/ewKcqg6
+tErt6VIS0ZfuUOfQeCgxv2tPf0TVLG9b61s1nikauxS0JoumD/HZh2797gU37I4TLqv9x3mdqax
ZPhV3XQkm0qsp7P5MGQPWaDJM4qdrxWs33LliSUnA2RPBxa6H2u875cn+lI/pl+aB3qaz1arsYxq
+FKoLsZYxlhZcWU7H2n6OE26XdIaiP9NNCCj/Xv4rlHyiTSrXaLl5J4s8IYvb+vNCw62gOgs3++b
X2kmKWCHNh8X4cNMc2SdUDcb0idQ0YN8GFx3IDPV9KJyIGmVHToQheQm0s0AXlQKVvyV6LTZV/vp
9X3n9xvrgSYD3T6MWIEUxJUFmpZ8QVcOnoFBLvV+paFv/n2bemNiZHhW0ogEGxu0Xz55HxL4Vdbt
wAjuHsX7LcP/MSiCQPhRV0qiwHCCJu5vZ+jjufKy+f2bnGgBamtVRAAhLp4HVkxMAjra+xOlmCcZ
s2W1HXF8KLuHpHmE/OQIBeVtT6sgjvv7GwS3+3k0sCc35vqY4xnIJplmVVaNev39KtRN6EbirAIf
Ju6j2Z5a61M3b6risVaSveumy2wunNFL2pDWuGxwf3jNL65Dnq5ffsuTpBAnZd5AJxgp22MQYPzW
sn9tC9rzmpdgRWbypcA2u2rqe4fjDDT+04O7sjZ1deCKx3/Ll6K5K/BE24/9GmKgIN43P9ITqoX6
S7MHSesBT1av7AI2XIC6v3ovuh2LapKluF7KxsxbEuCixIjsFrIk8RdbaK6UFLaSgVqU+51wCw7w
iP2a2mefauZAMcMyFdVSBiy2Cvh8xt8M74fZfauLh7xetkWrjMvyaJ4alY07vDJ59O3naUH9uWZZ
VlyyWTIOq8k8oFzXOcadzgE3//tk2kOlYI+r/z37MXJoaNxPOWsOuxEFMiYrxrnO7bkA/tr5xabf
MW/3kELcZ+UTStT3SyU0/ax7lVv9yJG8zLXTQME8hB4Ym3dceOKfnNkZKIe7qoXeuLFA/qe15qTX
9KjwKpluhw9GP9IB6tpNM0OB7yVrdIA/RSzIAl2ZG0zJQDHxLXBOxrfGPUOk+v50qJqW08YA/Jpr
Yt7H4CsKX/dlB5EOXU5SNS4ljkk0GSHQqg+FeyLui8mjYHi9P+73W7tb8yvlh9zhECyuEhF2RwPr
shMB2wztFKh54bl+1VAbjuaB7fMfQUR27BI/b3sKgKTd30tE4XnzkHbouAzC1L34qODSMXmoFn6Z
NStxqmlAufFavGH/rJ5xRfwh2Dsfl/34lJ+LQ3KiG311jZqrJXTKfA+7DEz7HD937adBtxtTfoG0
7AMDLqCG+f4FwyF7LN7GEKfZ/TTviheojJ29h62fsDrd1ScUzDYdwjAPIjgu+UNlaxaHm07rQlXx
73Y9X/TLUvkc0ppfodljNp+EseV+CE1LVrdYYDkVbqAj1sShl0AMeIbIRaory7u5/KB5yfZW10yO
X3sYOWSoUP9tQ0BpP2zi50Prkr1bmnoi40MeDSL47PFVg2F+6xwduvxmvkbzUr62qZjcInZ5RJwB
umGXqbjM/Yhj/0W4mkPWzQSNLqQNWBxQK23qDu9HHPpGcTM1+9QIdHwcqtalTFouYuwSC35DoUdn
x97eS3TXuaqJlfIojdtasIrzqBOgzydxZEzzhzbtd3Fq/ryfT1VeL6VTd2qnxGRtEVVWHnklVHNB
yV96OjKLm8ZxQH/9d1ARSzjZ0Dkcpk+PpchDBtGo+yO/6ThoWorXWHRTIVw0Hefn0X60oYiYBG9B
FS2kP9zv4qb90YUUt74BPesmEzzqSwu3mA4UvbNvdpyAij77fb+Lm/ZHF1LsZgWe1PCCIR7aMiiS
AIpi4Bg7LmZsBhALdYXAg/f9nhRTIR9oTbwE88ZBlgi679wXB8M0j/dbVphJPrZOfCBuzRDCYLvb
lxA9cCuIVCRf6PDlfgeKqZaPq2vGN1qgaqOOZUcTGhctDT1QR/F4PGStZrJvblCdQD64slwUU7v6
U5LYfB8MXdRSeg6G4Ahp+0ux1I9Ns4T3P0gx6/76+/Ua5g99g5tsHo1QshMJ5BT6f2f/+/3GVdOx
OsBV4xCjNswcd9fRODmHNvjUTsYunT+btua0ozKUnE5dRitmEgQeFDlcurMYBJteBftmt7+d8df9
j1B5q5RVZ2iCkySZeTTz9gspi2LHGEk0oaDyJymviiztTKAKeeRjy5i2R8u0d54V5uJD5Wfn+x+g
mmIpsZYLz+M6gZXyMfhkmtVTOYGSAXLxGndVGEg+yxZlnQQ2tqMRD/Bu440ffKJjflQMXb5SbbyW
WU2GeA6yJyeJKvJEdJusNe//Z/eOdLd+zZVv5plBWm5iJ9RAqyojxi6noZV9CrKvCeSECvch3URQ
jp4kL626hXcjRU94ofCHB89/jifNZZHCfeTK1tLPe9Es60cwviPly1x9oACE1cOBUU0XitmVi1vd
Dgu/VQ2r+/+0nFXkMDne90tVy5Jfpp3LO4dgclk8HMFIDYHMjSuMfA1iTpXbMdYXUc661771Xs1s
+bxp1PIViNk7UOAzUSdGSTztytzzscAUhiYfKDKmfAnC+ZhkkIfmETeWUNAaO1D6vbL/9QTQXvc/
QBFT8vUHcfv/TZqmN77kxggZKvfT6Pmnbc1LceW6SPptZsHb5+Y4+FaYxNVLxottS4p8EZHn7dLn
72tjZ+U7K4HYWZwd+yX5Drq4j/c/QeGYcmma0QRZZ2ZIaCnvw4VVT0GjuxNSza+U77k7+5WTxzxq
6/qxcLAqTmPIPP+F1htXdLkuzbHTrilspPsMYkPW9ILl6zNrdA6qsI1898AgIlSDCVFEvcigu9ud
C225uMIx5asHM5+ziQKFEuXd+CCSfieI9TzXuiOMqvk1h14l/NjzPFEQmF7Y45O9cNS5Tw91QI73
nUbV/DrjV81PZiHSuIDTLGX8CE6yV6OAPpJnmZq9jqr99fer9uPecZ2xw/B7wH9sDzhHUFC6jk6w
RDWvUtj6Xt3ZdMDwO/9bUvJT2fnbdphyIZrb9EMG1l8BdToG1Y8Skrn+D56ZD9vsLm3P0jb2s7iB
XYKF7gef7F0HYs9LsN/WvBSwQYpjabNOa58Mx8Dz9nFfP46lo1ldFflALj1Lpi5wPSNA1XH9YpJH
P852tvVQ6XQeFE4jl52NheHHQ4nFqmu/MO816y5ZrvFHhcPIZWdgdhqWYE0EnWsA/19dAJTYNqVy
2Vlfg/4DUuRomoid55eXqfqJAl7NFZhq4FKgLiUHQxLNsF2NxROFdnoct6f7zqKYTbnujI5WneFi
k0ep6IPzSAN+SFG2ekgM2p2nJLG2YGmcwJWC1RgXvED2hYja/pvvQ9UP0JH7X6AyjrRX7Q1/SK0Z
xmHkywgl647qno5ULUtxapSUVnGPNFBZy64eIcPQ9Bqzq7xcitGENBNqF5EC6gXi6MSAbiM5NzXd
aBNpn5pMCVR04lpEU5+eCDU+QublZZO55aIy1zdtgwYwN6XpzxZG6WZ3E/zHCeRKsqVjwhe8hYA8
kCJl/5VN7XNJDc2hUjGdcgEZnRrfSzsc7YvJ/tQ5PSjHes0WTzGdMjW3a9qliC0caphfXQI6vbCF
nWYebxy5tJAOBocwnoHp5Cw94XXoRKv0cH86VSNfjXW1RmMDA04DApN3DT/MMAqJ4x0qB7f5uSMF
p93ks5dUyOZQr/7k9vU3L+Hfq3gTTSYcRorQchlMO/CRVSrGyh2EGIdD3kD2+b5tVA4jBamdGazq
866MIMMyQMkb6IaYLZuKGjB2KUbbDBUHMYQ1InM2X7wWmuSW+2uhJjYbm5gNnEAuFiNNNtT5nJRR
n2blc9lm9N/KNqtMYx+F79jSF+SjPyy1X5dRWhpH00tPwRAfpkBnIEXzcomMu3DPx21ZGZV9d6gK
b78QiLknOvi+onm53G0KuNUx3olo6NwnNtoPSenuS1N3/a1wHrncTbjgY/OTHnvIoIMQVgFyMN2T
lWrk61p+FbNkoUmdc4YUzPMI59SdYfonNlfH+26van79/ar5KaC1b5hCRMkC/dvJDPnQvjXTqNkJ
qJqXMw4b5l7kZRGRqli6I53B5HVwmFnzS5AnZNI4p8r+UuZhAncGxfoVsTFEvgjY3uKFjn9B1biU
d5g9BE1bDSIabfrkWnW1H3MtU5HKQFLaaXnDVrRFGdVsOllQrfRwcS8GqjGMYscnV4YN05JlKcmL
iHvVc+BXIRgV010x58e2YNvmWK4J407SlHlQisjKTC8cY5bvyjL4ZTIqth3R5JKweJyFORV4sMID
a+jg1QdyVpD+1dU9K67p5ZIwuwhqtyux4g79mXnQS877o2e+QshHQJGcklGzPiociUjB4AZC0BS0
/lFhkYPXZc9joaOfUbiRXBE2i7YlbYcEFLfFbhj/jCmE7ZZC40WKa1y5LqyehFGNAtnTLfK9M7JL
vpSvXdbsusB6sR3jsCkXESkWBmr0ldVjmq3K/52J4LXNoCBeDrrSW5WRpCWspcaSsMKv8NDgHuq5
OKCG+JBm3rZ9uFwiRo2Eea7A9NZ9cFqC/tH2dO+GCs+RK8SWIXGc1IurCMqWh8Sb97HHN45aunbq
xOxzwNpwokoqyM3TEOS2mrBVJB+5Moy1jj0zI86joPKdL6Ztkd9223bPeVInbDeWrm9pPkLV0zrj
V6uYASW9Kp/goC30i1ldhOCO+trQ7qmdxLZj+Tuc56qLwJodc2rQRU7ZuWdNtYMA9cbNlVwr1mdL
HfgTFvl6sg+mkR58f3ou/Fxzi6NyH2kFK0TWdl3nYXvC4mwft9W0S3NHM8uqxqWoTWnjNDTB2js3
1UMKYI0YhuP9hKCaVilgiynlthhGAaCR9yWYexBasm9CgD192UTr6gRy1VjemDSp/AXXot703MX+
ZWC6t1OFYWSYlMu91s0CWkSJFfRil05l99t2O+fTJuPIUClhD3wqTWxLrHneG8VyIn2141Pxlfgs
1iR+RcaU8VJzQc2ZdbBO2kCfZCxeR+NTFvgatJGqdSlqHbDG8YBP8Pq4OHSueewH7zDXtSYpqJpf
5+UqYllizr3f2CIScx62S/rKs2ZPDHK4b3/V9Np/N9/gSse08raNqrgzgh1wduyLkXjTtnxjSjFr
ZDMwKBTs69Ww7JeyekDppOb+UhFWctVYOUERWBi0ipoiY4c6hf9gy0zPfOp/ZT3tNAZS2V+KXp/7
zEPtq4iCiUYZgzZr7F0ab9Tkndtf4cuAKV5aXowKLxyMaoBYjdfCMR66ut8joI/3Z3hdAv/7BO/L
uKnaGnk1Fkib2UL23DOeisz67NgHXCsd6vjP/U5Un7F2fuWlYOeah36Ksf5a2SuDnksdvNkdwKBA
W9zv4fY8+DJwirGuScvMrbF5mKPAYaEHbXOPlJrFRdX8+vvVB1Sd5aQcoJ/IJOaD55kf7RaFt1R3
2X5bj9SBKsDf7dekGNuBY56dNuv3MR/p3goGchhsMT7ktvizvtPvur6+UICSDrE1fL1vN9XMSAFe
x5CxJ76Lo3ECrTnjtazTaMYpDfetmpOTysGkGK+cznNo72PXLvpHnqaQ4iuysG+bqOTBcWzKTYX0
sKG0RntDnHRGkQzRUPFvjh/X+961fm8zkxTmXuzlXpGj7TguIVOYZ3tuxNAwYN9mIMPu96HwMRmR
l6OYMZ8GA6k8m3YeNqk1qXeD2ERL7/gyLI+TCdDRDjFY9FD8sjyoH1VHYjJNIry9UvgyKG/xmW27
BB6c019VEOzH1tAscaqWV9e9ij2RBmXGIdYbMTzv7henA22Hr0ViKAJAxt4tLdSLWx87OwsS6aM/
nQfDq3fMdx+CZfxyf2ZVX7D+fvUFDapdeUyww0g8fppoceyGTQuo70vhS4cedEQ2JnVYymPD3AsJ
NlGIw1+kuC2NmVaua+KK3px2hece/EZ3HAvw3TfWHLmSLA8YRFu5U0Wo4Nvlk7Wjwt1X8ZtnOrvU
+xb41s5fdIhylfGl0E2cFuwaNbaQLONsJwJRHzOj1b2oKdxHxt1VQ+CxNphF1CxAsMVZCEaGEOLL
O2HNmx55fRlHhcLJMegyC3khnr96hsh3VeqF9z1TkXNkIJXwMyslbVJHztAe7ArLPgckZuuqLCOp
YoBI3Bw6ShG8aUfd9NSUDV416kVXlHhzck2oaP4dWX6W5MHUJiQshbULRHd0E52gjKrp9SLtKmhj
r7Abo0pJmM/jp2psKZTAdcvJTbNj2NJ+CPAsz+VFYIHQOJtOMbZDhyTj3qPhgtl4w8yiCylr4sU7
SHvPAFCdjC8QMtz3hQ/ULNkE5Uf766ddmceK+74156W5iBxsPnO160zd+/fNmELTUrqcp5G13lLl
F4su57j8WQr+L+0+TEhv922jmlopa44GR724X2BqRyCJBTP+JG3wZ1vbUtpMAALtaDYRcHp/Hvrh
4AXB4X7LKqeR9jf+FHdLj+PAZTDSP7nTP1aWHU3TJk4DWF3Kk13JEjb5bX4B+dxxTPk+9g2NvRUj
l5MkTXhhFhNski7WoWf9ecrpbkl0UH3FdMoJEjx5KQPPdn4pB9c9VqTk52QMdBeqqtalWC0gzgd4
gJHhFRx3Myk9crc53Z/Rm+ug6cvpMXUFAZyhs8JunM95Ue8I+di78w60sOeq+OwSiPaN3+73pfoM
KV5Zbk2LuzASEl46Y2TTLv6H84ENmm9Rtb/+fpUPyJKSPq1gptzxwiV2j0amI7K9eYKAmaRwrcTk
AOgIz8Sppx6ibnjooKNM09Awt2yj0IMUtGY/ZgF2l/Ag7HWqYoIa7sawktUPnNwMnJyn+YW5FTh3
+MEwft+fUVVUSQHLE2JnoseMsjE9GDV0abrf47Rs2XWbvowx9eoq9bu+RDogxWnAxVIiHM3VjGLg
MsY0dXN/TMyBhALbv4LxE2/LfTyMGmyJqnk5YGec0xYiSNijntVk1W6Jl49OrTuOKFYnWQOB2oaZ
8YSTcIrLPRkpHvLZY+u3u6nQFXOouli/7CqWrG7uFmrUJKS92KcD2ZlN8GQ733HxvOU+A7MrRSvA
8wPPchs2SvnT4Hzm+XiKK1+z91DkAhlt2ghAMhwxktAqaAwJH7MA0GTKglQng6YykBSvvQfOuTpF
vLo22QGoPFS/rfax0F0mqcYvrbQNlCFHu7HHx8LEwx8qsmISnOqy9HSnBlUHUui6Pqtp6VYEkrX+
ybWCs4jjw/2soEiWMtq0JcSMu4kiuLIl3+eoAWjz5SJm+3H0nBOgRdvygww9jSFb6DcNmx5bsxgP
KV5PX9rSM17uf4VigmX0KVDiXd7Y+Iq8dEGMaO5zkoEgIob4DQvvd6GYA3ft+irI3LwMqjxwMQci
fyjK5QHQK41tVKOX4rcJIKVs2PD/LB0OMxGPQ5o+jF5+KhL77f7ob6szmb4MP41Ld6rMpXIf29re
Z6L96nXTpXTSf4LcPdhW92YXEHZLnH9J2e8zHhyWzvkprGU/N8a+jjcJmGEY0to8NVXW8XyufuW9
ne9NL/D2WVf9uf+Riv2RK4V5nfaOE0Ph8NFk/mOLV0PDPS8G6PDs/AlH4gPhn8jINddvtzmx8ClS
1AetOzKoCLqPhDTP6WwfvPkxEfPFHotD07X7DpV1vTcdLAscnX1xLtNNlCHoWUoHJbgA4iXDgaes
5m++xb6Orr0tFcvg1qIIEmsYsBi2hngtA/K9tXR4MMU6K2Nb3QA2SkBUEVp42QKANiLAwuANf9sy
LoNb29z0uYVi6Ate1x9Y/NMc8pNAVeB911JEv4xvLTkqqhc7zy9FXIYgvdwJXmkGrmpain67cgMf
YZFflsV/qrh5drL0eH/UKpOvXV7lLB+yroG3YNTDQALQuc4fBsd5Ia6Ow1s1dCmaa9uMRWZh49Gn
VnKy3NjCjUHz8/7gFVlRhrZS22lcSJKXFwI5M8HLQzPSyAD6sZ43HkJkYYTACEqvn1oCOtou3Qce
ESGdex0AQ2UdKUxx/QOF4QofYEx036LiLa50tZIK28i41qyxiyUv0urSmMVpZMuO8vpLY/U7KP9s
O+PI6FCHtaU5C4web6HHLs33TbvtaCkDQ0e/6fC8N1YXIzWxI7YOXWFtS1/2aq8rhzd7z3Nn8JmA
7dPwOmASCx4fRwsrn6aDd9zVf+6iTVCJ/t2DaKB2MU4GUn2QhLW/vJlF9TB07S43nIvfFifXHkPX
bU9J2T+5IF8ak+6IO81iV8cm1NUg5sWK/2Hty5rlxJltfxERAgkQr1DTHsr2ru35RWG33RJiFDP8
+rOq49wbbn2b4py696UdXWELkDJTqdTKtRLVDu/mAjVygBslkX+nWxIWKzZHLY8fieOZtpu9I8kA
HxAmabpi49PXhracPaJCucWCqozPhhYn3j5KjFfdBSjFvHr/nldaa+7zHC9euWSn+/lQeNVG7F6J
gtTaqFEMQBY48uzc99TdV+FcPKtS5ruRpnR3O1atzY3l6owS5VKwT59zqpKAlcc0cDdi+MrQNgi8
C8dhzKMFJeuy/iqlCSFcVN6FdCbchsIyxsaBlsQ7ouHsgWbtIRTRvkr1fVubjYKtOqko/kMRvsPx
oRuPNBudjarAysHFxr9SY5zRAevJ2SxnZ9kp/XEqPxuyqyEndXtR155guToP3CoKKzyBB/kOMss1
/d4XQ2L6uPU2Jmgljtvo18B0S+O0VX5OK4mD6b7tP1bpjxqUHrc/Yc14LJ/lsvTrYgSt/dR61ZEH
YvlOvExupMBrb2/5bBRJTjX2ifOg6Es4RQcSOTvw3v/Q/C7NHBio5bt9X1UuHdvqV5M66c7tm79b
h3y7PTkrccGznDaKmgon6zE/B7R/6FO+IyFLBBgMbw+/Mvc29NU4vrnexeVnVVSPUlUHObzeHnnl
xW3ka+W7rR8EU342OtuPETuWXXdAdea+iGPrIpBapaxVjT5T1Ys4F+WrkP3Gq6/4lA1/HYQo8kD1
EIYavsjiJPVf3gyROf80bTF3rBjlPwfgP1IAL2fu0OQMheuoTpNyMi/yCjNwa8UOORTONmx/bQ2u
q/7HY+a0WSQViJxTPsRVCWW5Sr/jpfPrviW2HLfXfg6OBBTcgEBOXGgc0zoRy+724GuWaflt2Ul/
MA4Gpz1/1u38Ee1L9wWcf8jq/5gWx0PGGDQYOhgl+EzSPbuLKI3wf6BQf4zcj5PkQYGRZRMcu3Z4
ZZulnZW1tPGuYO51qwmlwaPw62Tm4a5GoRnmc99025hXNS3EdXIM3zv5MWq6I2hO7ptuG+/q5CDt
6OWCY2kR6jhV6PxrUVm7y0xsoCtJmeBdulCYiXkYo/LJqHkjNnJ4yRtZtM0KiBzVVER6ODiCXcpF
IdbT7adAtElDx6+N3xzaOs3vnP6rF/xhODJXYIIyAb12u35paFvvSzLcmVva5IDA0kLaHmUuSHCp
d1O1HMJgedeM7cY8rVmm5amVN4XQ1sPwSztDqbfvyx3Lwp+eyu+1IGuDDf0lH9tIsCemIS4Z5y5o
9veSIlXYqJuuxGNi7bIDi5oWJ3l65CPI9VwoZCHPCf3spQz7jfvit+MZbsj/vcJ+yadloddFSGkT
66aRyRhsaZWuDX414T/MZ6iBvZhmmA8Hn1vn9Q/pqDa89+3VRa3z30NHY+8VS0XosQKW1tThY6Fk
InFlfI//AgH47+FNFXW08StyaL1Q/US+DGZDJyqWdMOx3nbi0Cb64uUsazCcUNQKxUMm+gfhl6da
B/tp9puE9hdabxF/rS3C9fc/FqEoulBzJegRN6+HxaM43kYbi/C2fYY201el/T4LPEqPpdEGpW+3
CeK8ZtllgRjHl5QFxYYjrH2D5cs1zv9mmCR7cnkeuqire+p3Og5k2liOtfEtT05VHToGkh7HiRW7
fGFJ4G+xKbydtYW2WoJQaAfhbUSg1s7Kn/XUzSBOzJrHpTTmA2c1CJRzv97IrFa+w8ZoZYUIllBj
jZesSPhAdx7aD297xIrF2pjWIOQSpoShq/RL1v1czJeAfO7p57l53YJ/rEyVDdUqIDapQFikzyon
MbK4OOxUHMhLOjxFgBjf/o61KbI8e1GzSQnuUc4ljZKJjodFbDFkr8QkG6dFHDY6ro+h/eFVuVnc
ykst/7792mtjXz/nDy92ezW104KxJ3Ess/NocHDcasdcmxIrYZ5o6gdobCGHRniDE1eKQ2s+9TX9
cfvd18a3vLcfu7kgCBHnULBk5NGhyLaKR2tWaTluZXQLfjRGj8CaXhrdKtQSBUVPexbGgM39YKH+
WpZiQyVt7WnWfgzBm6zzRYGqRvFOBtW7KhjiAsWZIj2ZojoMW7KYK8+xQVwRWJKcthn1WQ4/CvWY
o5wXskcwEAfIfiO2Fb5XbMoGc4k5Nbrm1x1hgV788hE3KUdVblnV2ujWDq0q5Xddq+hRuP6hlXPc
V9ORAs5/l1HZgK6gGqJoyrD35DVPpOgPPdmCPKzYq80YuDj+lGe4af0VRTomUfN+Hs3lvre23Lhq
TTM1JsOkOOkQD+gUTExX3Dm45cdDHZQoGVag8cZpIArpOR3JfWmijdpCMSalTtTOv1zvgjJ+zJut
nsy1ybY8OI9y2WkpGXowv7S+iFl+Z6S3iQFdNEGFc97Pv4amOoXqxdfh/q5VtAFb5ZhKfySaQqSr
+gbJi++Rl22s4YrX2IAtQaB+5LjN/Mubx109FsdlJAcTbEFWVmY7sJxSRgxkd9eMzavBOF7WwFSN
7mTi2/Oy9vLW3hotS+cEtZp/le10qEMaR37/XgbeBjp/bfjr73/sgaQi0dgog5uC0RMPgZS/nKan
ySjGrR7MlYTWxmpB7bGUYd5hf2UicfwH4eh4Qv/L0G18wkqKY8O1mBOBJsm/QoYE7R7U4hexz559
1jq7MHSH/VDcxT9EwsCzJiuS41Lk3APuHXTdC4CF0rsv9AaWyy4jDkYgw0OhqubFLkV58DTw4a7e
dby4tckGeZ9nLkPphIH0LXYF8kAXOODdkOr2Pju1gVssbLLAcVDn5OFC0GxjoGuVAS4aTce7HMFG
bI0V8cshxORnXR6zjOyG65/8vqpYaEO2Utyh5v6I4ckkDm0HBoRm3N9+85UAYUO19DSD8VeHFGIZ
4477+aEd7p11y325yMeqkRXq16QDwsckUZvtG012t998JTrYKK28zrhTlxxnHzE+hTjjei1OEuPW
4WRteGtz9Vg1GzGhllH7DbsEvlRFXKau8yGtSb4x+W/rkpLQRmGhnsEAfZqCp1o2fw0EzATgF36Y
2mFMqjB7EIw8V5N4IEPZxVHuNrHHtlqfViKTDckSDGHUhXDTcyuiJk4LmT7QkbGHCcoLsZ/O/jEy
7pZE9ZqVWT4eaWQpDimCp1442ddROfSJFNX8ctsS/rlt+c8SaWgjsfI0zb2BYvm56ycBtMdpRHfZ
PB94825y3QMgSXspeVxRFRuucE8jd0HwSfeXEsQKCzWxG36+/S4rX2ojtzy/KY3TiOi5z5zvrA5/
hMvX+0a2tnKvAHcl64BkU0EQ66XcdZul05Xzh43YyoKpgBgGsE/laBIH3pqlaWxkdZhMkyj9y4Qb
14jXKuNbC2WFhEU5YaGvzQA9f2ec1wnkpGke52Col0NSTb8Aut8I+Svmza7r80fu0JLFyGGucAYF
zR/gJ9lQxZP3voXOLem2aMNW0gebsLCTRR52rNTnOa8PajowHA6j36Z4uG/FrS19SYNZqOI6vBc8
jArEc9VWdWct8thwrj5g4F+iuLgcR7Pv6ydPoEFxOrdosWy9zzXZS/Abqe6bL7boTNZWxIoBeWTm
UOMAfwYxfpyZdzz/UeE+k3f7bEsRc2U9bKiXg5phtbh4RAoNAkB1l2+9t/OaDZTX2uhX7/nDpGpc
MHhkwCld6e+8eib8HC4nTV9vL/aKa9hIr2hRnacGNUJ6sEh8tFym00tTNbGbRklPF1BV/qgB07r9
sLVPuf7+x6dAktRl4TSqs3aqxF1MIgP1MJAHb8t01x5gOToApgK5IvOfcD5NXEfmMa+mc1bW6JXM
t7h3VizKBnAtqp3NvKB5acj1rp8esuFLPYDDBhtnu1EBWgnn1MoCaD0BDF0u6uz30YFOgMxgw7i9
BisJho3iAq+sW83prM5VQ2OZ0tiXQcxBGHd7+LU3t5J2ZwAr3aIxvKAH/4u7BVNaCxw2j6cZoh6K
5BgX2fSR7uRjeaoedAwytN2dqZcN45JMQ0S5bmGd/EfGd4H4XvPd7VlZsUsbxAV6r7LGhb46u+Nr
Z76k0xSnOtabnc1vq3yS0IZxDZ47DxnDA+ZjcEQd7Ahn3v+3yGeSHu6dIsuBtQopd4pGnUl2KrWJ
UWjleiPReJsxBd9gOW9TQ0ZsZkvwVJb6+2zyj9z4jxluxKpAfOkaJ5l7+h0MY7soHT/cXpeV6GeD
u9qlY2kk8D29vzynTbNrvTSemwfXf2H6ez+5u/TO06xNdeiDDzBzhO8/gfXtm6LzHC81ua8lMbSZ
DqE6lrlkLtW5bcWOVf3Jie7rCgpteBeYl3U/hBjaXz4Q56WtTrenfiVQ2NCuf/ZlaAEr1EDmXQGG
cTfYujBfCXE2rIuJEqoUbZae6yiPg99+X8T09+23XmkpCW1gl2xYCi0ZjI0Est/TAz2pXZRAh/Yq
tZ4etniFV2bHBngNXusj/uMxISRYeqoepmELULo2tOXDZACyWUW9OqdQDwuFH7fVfdVbG9dVpq2S
I1ibzleCgpp8CRf65fa0r73z9fc/EodxLnWUqgBGCC4lJ292Sv26b2Rrp/V8HlQ9LhHODX/f+OCZ
vXMurCTaKyam2ynENouro4Op++UIHuqNk+fadFibLACjXr9oiNY5/ZE6z/WWyOtKZmMDuMI69elU
YAckkeccOhl+AGHGp7wS067wxWvQzfcdMWw4V1svRVX1kTrTgbf7qJXhcRjLz3ctqQ3mGrXRk6pq
dWbQ0kBLzVAmHH01twd/eyd37cqqaGhTBDkTFy1IGyvanQbdvC7j9SC2lWCuBBnXLqpO0iF5s2Ti
0u67Z5bkh+xIXqeEHYpDtAs/3v6S1adYVoR7OSK7mfJ/nuLu8t31KWCWPWUHufmUt2Oxa5dZXdmB
I7Sj4rJU791hjvMoScct7PTaJ9gVVhO2puDqvz/B2+e77kRe+92y744iKe4KPq5dZRW1F0CpsBOX
dOnjTJc7t9gCIK9+wNUT/whsNBVTNdTs/6xBtv//8QFWxE9Bqh8NrYkuoZz3i0if0dW7u21EK8tr
S7OUU3RFRxXOBcdFhk5kxyS8UhvHxbXBr+Hvj8kJUCzvUWATFybe1RUo5N2XDpeC9725FfhlB+Uh
SR1+CdsT896l6a5nG7F/7b2t2E/ntMiKOYfNgxh0SIMk0izJpu7OObf8NqimpZ3AknRRqWgP49h5
INmU2YErdl9y5trtqwvh4AlFb8U/Jk9n8oya7UY54+09xrWLphClh9SfqcTF1HmmTpCB6WXSD23b
HMD4yEUcNJCt3wNFtmxkmivLYddGG3Q0V4uM4GNFXyRR57+OEBR5MAEINm7b0pob252tIbTzipGr
CKE0/4iK1jFL0ihmsZt4kEYvx/scwi6YeoLV7uDhMf9zm13Z19h18v7wtZkQEATNeXQR2QLtP1/v
onE+BFC7DhQXG++/9hDLoVMnC5nXNeIio4Tybw5wNGhWE+4WY+HaSls+3ZV9ERRBLy4DP9Xqvc5P
QbtxUry+4n+WkF271bWb07JcBGJR6O/D6IObboy7ajqWN3d8qMapQEIxHNIL3S2nLCn9/3fTscqg
0ERfmOfiMTCdpn2nyrvDnV3+BBQt9YnKnP+FVa7Njt3iGmYj6QehnMv0z+yAbyHRYQyqqYTu5xO7
j97BtaugCntw5GmsbgHO1NAMsVOJk2qb3Ti7GzFixTbtvtdl6qBEUEjnUqUqGbrmUJoP4eTsb0eg
FfO0e16DuVJe43NxyYyTngBWVs1umHW0BS9de3vLc53GB2TSGFipa5J6zE8OGE15Ie8L0Xa9c+qj
1EsHP/xfmNDazFib8TCy1AtGFl5mrpNhkQeWubv7Jt1y3UjiTKquk8LTJQlHL16mrUP6SqS0y53L
iP68ehKYEM+Z0buv30NWlj2T1qnizAUDz11fYJc8+ykt/KoOw0vWhXHR6WRJf90eec1z7ZInWKgV
A5XpNa7VD9fTxXCa30+Jc2yOcuduRM8Vs7TLniEApT5gkc6lYwmAaKxI9JZA89rQ15X5Y0P0pEGR
vP+/Q18TW72RH66YpF3orKMRRjNPxbeA+OivZ+7EvXPkF9F9bIiuXdZM/Yh6DdolL72OkgDn0qy4
i2XKtauYY0aXsR0HZG/lkmhf7mk9x53ZisNrM2M5K4jiok53Lb/U0DrnoIeRhN456Zazhl4RiTZC
hFRul2iGbsz7xBiIa5cys3nK5j6axKWMBufLdS8JHyUp3K37xRVTtOuZk6xHWkoh/tvK/yemuDY0
/7eV52xAF+AyigsxeWKcajelXiz1FpfQShizy5hlUwdyKAt+iRo3doBC44t68rJv6WbqvXKcsLtV
kcQ7RSpEcEmFS3d11JRx5hk0NfalikGGWySBBs/C7aC2NlvX3/+ICaRXnhc6g3tpa91C6MR33s8V
jjJlNc3f7nvE1TP+eERdhnPrOVVwmUTnHHUKdZuQ+9kHZtAydfsRK05mq7ZIDcQqL+rgovgEVAod
CvD2QyJ96xJ2bZYsJ+6ixfebUbBLjftjiE3sPRrEHXo2b7/+2opbjgyNyVSKUfqXQEWJ277gpP0c
NWyn2yxGm/jl9lPWPsLKl0FQ6czg82UXZurDUnXv5loci0V+vj38imPYBVBW1xELGeYoH0zslOpB
627v8eyYufmX249YmSe7DNouqefU4+Rfolo5TTyTXJ5k5LYgUBzCR782GfAWXn5fBme3uYoOMtQs
ZeyiSCdiJUa2V478Pnti2TDblRWxe1290G917gXsQvv+ZEb5Tjb9u6C5DzLv/ke/K1ftqGfOLuVA
xn3GUnMQonu5vRZry2159TAUGa9m5V9mYKKZ+qU4/chHN8a5b2N7W5sd6+irTQ9Z9xrzD9UJ/jsn
2t2rEe1/CW1zs1G6+WeXf+MQbIu7eIMrnY70i4xlmybQzAjTj06/xIK+GjrvoFkTdN9yLpPQBCBd
3ef0e+3sR2/GBdl87Dxv17HpifQVSL3DRLIlTuX16jW+PcsrgDzXVoiBdnNawa/ExZ+93wvl312u
ntul2mv02UH8+qGeW52MpoSqF1poC4bLpInGVAOeTumnGuofkcPPhU8PG290DRdvzZgVRmgmi65d
3PoHdcfa7CpcTBxpPs5/txDL/eaYjGGXQm//V2hGjQ9pr9KzQHl5qzlmJQsndt+twpGzm5bcOzAC
WGWPzltaheZ9NAO9yk+Rl6ZBs8ek1V4Wp8xv53ov8zqq/+KV0MWS8Kjy6ioZvdKbTcz5kMkNiMvq
q1mpR6jy2mMIG9/lXD+7bXkhbErqcDyw1D/4XbDzvSIBVvrzMuRJ0Ux7URUbW8jbOyCxu3p7IKr6
oSvyn8h0TnUBplc+8q1LibXBrzHgjx3cLAsOhh2263iZQ9PG+AzXj5U7qY0rqLcDO7GbehlATrRo
HSMBOYreZWz85qG7tyhJLHzoIkEM7Lbxrn3I9fc/PmSuSRoUjhCw0CAMQGUyTD1EMuuu87sftx/x
dtQidmdvX5Ciq0OFgELYV+jFk+iRRRt3jP+AH/7T93Bl+e/3ryBUUIMHepJxk1fxWEIT88fQPHnF
b9aFjz3VsVPsFX2A6rP2PlL9U3flnpM8WchRZSbJmhOavUvHRcHjR7eF2V+bVSt96eq5nqqpwVul
zV9kRD3rTiohYvcAVwvInZc0m2Ucuf2Rg7x4GO9SiSTEbvmd8gKwkoUTcCCR6GdXob5UFd28Fbmv
Tv/GWtltv009yFGn3MXwkXvh8qNfYKMfg/1sah1H5C+Qrx7GLn8iVNZxxc0nkRXLQ8W7xOuLJ56W
2G+ipxksqVCU3ghRK0tlNwqThclFeiDDwT49oXLUVgjX7xszyPvuwcHa/G8T9SKvTJVbAuyKxnD1
0wVy2EsGJqatYLQCqgIT6b+fMBlflGUr8A3uwpw0VgXu/txuTrjhR0gGTKesqdReBylYxWbRJ04n
j7ede236rPjhlEhyHVzOYvoC78xq8qjkRm67+llWusObynGoWDA2CSHHmXpTjg6nLiGeG2s6vhSB
fM38Ajy6NTSz843tfO2LrIgCem0/yKAWrCBMosVHZKPme4g+uo2ItQJyBIPOvxfL52qplDM7mLEr
Nw9tIR/wjXivNUGPG0Hlz4me/ABypzIevC0uqZUYbKtE6LSnflu7jYohG8PicKbtoeogZ565fOuy
9Z/S1hv+bbcaUzQn9GTx8JAwJXG0OAl1QVosqxis8YksmpgNe8OnYzq+8vwjizIIrX6U3u+KfY4i
6KTlB6pOdfAppScfWsGorUxzMsjEVRulxJW1tbuUC1youkVO8IadG36ttDhMetNco7fDmy3KM8Nc
Ge9GDG6iD+X82ikei+w9xTw09dkbLqG6lPXLxD6huTw2oECP9F8N+8rHR+JnMWhDDyr/fNstr7Hl
raWwYk7kVnk4TDPeBQJHuzwU8SgT382fhq2sc8Wi7MZm07g0Z8X1CTOgdyN4NSmJq3TDCdfe3wor
aHRxI4CB4STdMr223hNlXlJpqFr5Wxyla7mprU8hqemaJaUznqGbx4pCwVgCUI49KIRYEx3mw1D9
yqc+gbJNMlaP4bwlILI2d1aIWarUC5eF4Ga0LA4S3Av+FJvh1+2lX7NxK76YrBxJB3FIFTcDHXHV
PvOIQntqkydh7QHWcUdpdKZM3pVPownlN01EEIeZ2LKrldHtfmjwdzKKzAmju62Jg6nfeejavD01
Lv1HjOgNx7B7olnJDZpwa34cCR/rjuxGli8zcbH4uNiJ0mZsnrImneume21LF03fLD/0ZmF8wt/x
XWO4K357xpBS8V0IcTJCfqdzWGTuWTDHGJUea1q7XfoV9ztj0H8TE/oUVVwDuRFGx175k/RjNOuq
dgE9EtrXzvWUAyr3KNFqH1aJzNzSlwmws2Yuj6ALKrTaBeXshF/agaAQFi8sb4E8CKNcqzauIghB
qp12Rw9QuwVVvwYtMA504+Msx9HutzOBf+DZ69ypycBtoSqm9yXIc9NoBxGuAtXTMnQNO13/p30H
1KEnDx2rIud9PpQ9Cb5y2pflAxm17psTHUaCW2x3GYffE56sP6V9JeYLA5qV/927Yl4gEBIFXpDQ
pmmdUca0HIXagxYel7nM8a59YClP50OZGegb9LPDVPZEjBZq2dXQrUWRulkC8iurcOssdxlhPf3h
gsbxGs7YovmxjhbIeqJjsQmzMIGg0hwd/YakBry/2LxB1YemQz3H1dwPn0MDYv9T1HMi3i11FUkP
NM2k9B5UP0JqxJsLXBQEIL3NwB7MkTadQYzsQbmj8FnkQjbS6+dkLN0o7+M5ZMX0bXFGJCex36DZ
5YHm3SCeC9WH6XctkJlTCMoVaOk8tDhJ46hPytRpT6lB6eaTro12vwAFXeHYnUYtybHrpaJH921V
9zvdDHlZJX7TBECx1DCnVsaod4CWwjXKdb6PUGJtu7hOjSzSmPqdN/8dhdrReZwRU9eHfvA675om
Vf7wyCkNhnOJC6Kic/ZVMQ/55z7oTeDFuHdckG90dXZxjGbueNLaC+TXEby/mdl1eZA7HwbXDV3w
znS9e9A+9X/wBlrvfKc9ZfK49uYqSBOjeJY95RJHkjYZuKvM3lVaklhWju4e5dBRcuxpk4UX1fSD
861Q2ssSNo4p+5CzZnLYrhP1rC9Q6q7dp8wA367jBXX45ZNhJBVPQkF98a8mcvTwaYkWHeDNhTLo
LXX0DF2hni+iSWQDvYEZFxxNUAeJmeSUf0Cvnm8OSxaW4uQ4hk6n3A8gSxmj5bE3l1ZXRfi3BiMQ
m64H4Io8g2qAF25shKyXx9nRICSMi0jC014AkomGj70fju87Be3swW8CYLMqbZbfTpSSIvGgYeN9
BeO4k+3IPIz+5wLU7/lPEflSj2hErAciTyxSIgd8aER0SQaPmyiI65Kk4z5tM6jPawMpxYNT5Sk6
Ck1IpuFLkLG8nkDBxPOohV8HLj/TLHfb0wxe4kvto9T/q2BNqi9j4WbtLqsX6IaIFsqtj4LrjD2k
2nHKZyFTp/8rA0eVfzJdrceP+RAF1TFvo8Lp9n7kDMUF3Gdu+Q1N4X3/AJZQPhzTuixQRBvqbuJx
Wk/65JE620MhuKl241BlbUwyWb+bTUn2My368jBFaYq4Ny2ZnP2Y987ifvJzygYduwV1cPK7BolP
VdegryWedRGy11lca48x6rLNfGrL3p8PzPOL/BPBV9V7ojMxDTsfV7YdkkouFyeOTCCrX7ScHP4y
ZSb3XowPcddvgmOhDsy0VO26Pl+42JuOXguYrskL0N+JbOge+pln2ovzbJTi4C6OF34AgVfk4BKr
Kox6zDRV4NYmDcQKWcz9WjvPQwkixr+9bvCHAQdlx3HisFuCXRek4/JedF73NdAoUfaxMTSLHkm7
4PSA+v/4vp1Q0tFxFTaIvsdFzn1VQ1MX4VzvhnAJUC0umSPH85g5TvM3FtiZhxh3vzUxcV1ULVLK
QYV1O8dgzTWEx6EPFfT8GeDPUquDy+c6AiFMEAryocmAt3BjGpVzKmJ0Ps3+LgU9cMpPDc4gNZSQ
HO9MZZ87XRJ4WdkQQAMM0Xt0mUy0TCYV+fiXIvJUNSa5NK54bZuug8J0SJbQS8YIhReczkZX+8Ne
Vhqk7I9AZ8lWxFlHa75nzpRTsLnRbnYfhBlQw2IFWrQPhEMi/qFgJBvELsjqgkCw0YhoiKOpHLg5
jODTRN9IhY5hQTLyCjbT+dEhkw9UEFe++1FjO2OXKB0UekqGpQ7mF5hhZ17cqJHynZEBEyfAAsE+
62dpWz71aauhwieqhR3pEpHcjcdZk+qYGraUXqIh1Dk/NsJX6aMRIVT6yqWXxRPWVemXCcBmHzzu
AuLnf3MWdllzgBSkptBDqBHw4jEE4jCZlQ6nEsx1o6j2S4mdnJ7a3O3n5oVBix3qyWFL1AcV9mI4
QKKd1j97DW5uKBMHGeYsoXIB0XLMgtTLvqjFiBTH20nPL4HTGb1XHYeqybh3IQWo3xuDC2hQWsza
xwKNY+7/tbRtW+3nQGjxs2SzUzzTSXvsfQF9tKxKpq4C9bdYHKn13i1klVWg5yqc5tH0A+pK6BYc
qfmBKoYLPTV01Mug2XnKKZGLuHmbN58yx+/rfF9zmkI4ZJBiacweIZU3CUDCZfsYkhTNJwm6MxtZ
/nJbOs47MwjTfc69An8jVoOfuzrO/ShzSpwVURDB8acqGvHVlzP+TT+2SKtiZB1q0Ds6StX3+wyk
5YG3Tw3Yg3YtqqD5L0jzjT/qjkbhqWp7cHuwcATNc8dcgZidM5nGTSTLAf20UN8Akt9hPoShymWu
UoAaMqk+0m7s9GWZ+LDsBvB4zNPRKzWb6UEG2FWPDa292hwiqt1s2AWczy0ajbq+676C74P5UKVF
R5v3k+eIqXqHjMAfHsDlznXxwOaixLoUSyBwsu1rzAqmMoyKKCEQ1QqBJ5KzUu5JFyqAkpRUDZjw
g6Wbg/dlg60k9kIQzT/WrA3bD00qQg80T1qU2J4UzdLfbQu6zRnUGsOgn70FQJkzD8sKeM7F4OCi
nove46PeX4tuGTt16JII5b4s/Pkoyn58B5Lmbjpz4jWje+AoKnfOcweUqPeuKz0+vBA1RPWyk31b
yIdKlFHR/yyQuA77HoyrZolBBaypG1f17FTmhUbcr8ok81PpfaBBxml+6HKvh7gd7idk86lpkAWf
TDvr56nguceSBikm9ImR9Pmen/wXYdfSHCkPJH8RERISAq7QtLv99tiemc8XwvMCIYEESCD06zd9
3diIvc/Y7gaVqjKzMqdjJtslwWlcmw4SFJ41A9dcfKfgWNoWqYpeIAYpMxSCqdr0NsE7WiwzPBHr
npCZ2JNK/bQstaZpusULLocZAyqcuvdLduBqWx/lwrMFS429AkYWlwBNRON4EjPYDa/o6oaqIL2V
5tTvaAzzE2KsR/aeFHjjnhd4L6Jf2iWiT6oCC0txbkYC9AvXRSpMfPAcHd9dGjh4ALfSJeYV3oSu
34F+jBNiIOapTKYnPJPh+J3ivK72XE5uN+oWAlFqu5qXU8DzNfCVyd9LzIjid6+HmX5HFye6R7Ta
XP5e9LJjSy9kY36HvAOGYal0y47I+byACUK90Ajy4IQaO7T5DSIjKRwdtgMWHPXheuSt3yQTpb2o
lgPuOI8K+aEbVjZSUBpPrA8FUn83XsQQmwwcCnsQ+bGtd4KWLkWp1QuGkdp3mhfkpI8ITvgR9hHL
Fr+tynY0vpZkYdkNkj+27PvM4DeoLzTvSjvjzHeFhxGj80y+CbhVjvoatUjMZWPoz4CX++1gHmAi
wsjNVeaDz8R5OPRO1otLAk2/umLHX+FNieTTM8YXzpt0TtzxDZYwnvwTGtX8De333gNvIu1GktMM
r7uO3XsttWoEgVeAPGVS2FjWHUulGaC/sKTzsvYrpmVyi6Z0SWiVwoVX3Ky5Vfa2M+M0PvWJ0Gk4
CZjnhrGGlazJf0WlrFV111GtzrjwWjJe1LR2aCKmjaVrrNYxR/AIVnEQGEFyBK+5m0RHMn9ameBl
nTwsSe/9IM1CLaqT1+tkqlSnazr2leqTbHhUdCuyt9W0vvtpdEzddWzzFTYgciqAYCTlXICN5fuE
sGwVi33Vp2QtUD/rryMjfB3atuzfkFVPVQ8ysKXusijE7bzHIv9CIlqWjt1DutihB7VAxl6+skP0
/B/mMVDCDaV2jV8OKOsQ9SlMKwdCmvsys+hzchfkgZcK2U/TOY+003OjXG/cA+WZXD5LHQpMSqVh
IT2NRyKz96ykOb/sfAHZj95F9fs5WcMeHiY4H6/z1U24cm5tmnCGBX9EKCUXtu9j0rTS5PobDLy6
Gm0mvEnboBNhqnVbPHy3h+OYcID2uTwm9kBst6LbD7D3Q3i1XRkdnuEzDqwnU3j+H53td1SNkS7W
faKjW4+tcbNmEALCjRm9BoSHNr1g06+flksoYWqp6y5DQymrQY29Ph2bRChVtepxPO47+KiQU6La
UmNkHIL237l2ifm7jT3p/jp0lvpz31fuf5qlVO77sDlnfiQZYew2X9oiz84ldL7qCdI7P7/HgO3W
c4eTu4Rvvu8dv1/mWMBY8xiHLf9rI8JIVt3Hhd9qaOKHuy5aucuKL2i8fhFXvGToxQDHruOM00Sk
clfEvrUgxduJdEtbTb1Md3Cv+ebDWThHlqkZYCvmX7VBtJqvF5Kmdrzf0HxukAW7iYWrCD1uwOu8
4MFZ1JscG9a2sr23w4/YpsWQNFJ5Gcz16A7R3SZUsflVRm310sBNbEg+yO5nvt0UaS6Kl3maeWib
HBM59AMDimgZTzGsBbH3Yhz94C4EkIBOK54dkWQ3fBmKWF7RduspwRaD6d21zHeSORiLoPycc5li
HvM5lub/bXyQDMi6HMZkxYk6esxGWKpcktL/YS3WtM90MwJN1cTgbVCvtB8zxER5yIMwbWwOw121
EiQn/jh8kVYTdg6AT04fHH/L0td7X7oxVH0OscpUlxwff/264eV+j67U3zvCpX0NqfT5U6ao6hoE
XoFmOqltAAzRbZANvCXLlprbPezDU6735ZxEzElUpu1aUeKRfCIl99s72dwceOUw+p0IpCzLt2CL
KT+RoF4z3bvbgwqe/uwlkJGqa0d/EpwvjYFtc1cVfHfTfeBGu2djOaSv1bjmfPYNpMhxladjoQv5
22/mOHjVJYhYCdORZg3kXm27VWSMBX/bGTpAdgNjJDJldaDSFt/aeRea3n4NU36o5VaUTlzi4lG1
XleBNzqt0NHxlDcU7xG6JnoAcMmu3kRc+ad9pqtCYWCQ+tV0iCkxSAGhyzCfU0xCDH3rLgv2yxrk
qz72JfIrhmp2OfTkeINkaLvmKHyhAyIgltzc4l0xQ+N8m0F+0h56Kt+Vx1D9z7ISwEw+H938z+1M
ecx2ic7y/6aUkBib1mGtHPtzkP4pfAOs3AzotDnuKKtrKtZe1WQjmYGjkJBrGM5HiLZw39QRabhX
Gcf4VMMDwnIJqQP25vKuJmboB/2a9XCyhh7GWYSzyfKC0Sk9tlulpmnBjEe3PRVVrzIgGSpMQGXG
Ik/h1J6uY1ZBO+/iaVz5+jujUa2PDACigkHtut+myQBL9DAR+ygGYItIqRfIueUry9KPAnRH6J7y
ItrQpLks1b3M5lVdtWGbbetNsMFUQHvc0DBo+MbxVAxHLlS9b1am3xFo1gIBKUSi8wJhsGiXNPAp
rWSseJ6ihjVbQAv/oc1O57t07yk2WXPj/mKFqVVn1E9RVGO2Zecgc40hfBFC/unYNH0AWJPH/U4i
3THE4EoV7wDhgJBWiZDe/8WwoPWnN7MTj1a5CV/cLpMZUSsomqbygMk6mG11k/LXtNzcYG/lgr7B
1ceaTb/m6NDQ3AKuxLrzTZZAGxxrCViH2T+lMjMAtBa3PVKGCaAIz59FWiRRXZP9SNdPTJWEuuds
EoC0ao0GESd9khst/2XKR+FAp8x8qqUk+iRkPH6IdbXrq+p8JF2zRzH56wF/Q3uSS5buabPJLf1y
eUl325+K2QIePfk1aPDACDCzGH2p4Tt+2toCKizqLAs+S18n9NH9d50woY9KcLdMcLTKuyK+zLHH
dHUCAB9jeqJlb2jSiLWLh6/TleB2rCnVseen3R/5AgMmtc1XQ8j0ZQXs54I1QNkW/tL2aJa7s0+6
HGUSYUi8vRuMoMMb8qmV/Jm5uI3yNDkp/VMiSzy9E1PJtodTF9Q2nsS4DfbXNpZmuMlpMJjIbVGm
5k7sxYb673IqigZFvd38mXukxB4NjWGeVnwi5SSUUkuG9IkECcp4lilx4xccM2yhv1dTlGGpmIHp
eXeKk2c+AM0wQpCaWGuwHwRZiIezJt7oMUP1wkrCU7lF3t+ZfYvmqBSgle3MucQjxBR2dN8FG5lE
Sq1Bwtm+C6wgVVvCZ9fsHI+soW5V8bnXRw8acsVaTzzv3VCErGIIn5QIhS1yQGOHnZfyrMyI+7hE
DNMDCb447uSx5IWqokngEYcvVSwXsYxj8ascYBSgYb83GcuqKdgs+QO7+CAbbZesnOCNZ1FsanZ8
iSCxZ9t1O8z5Nk8AZRAN0JDcBDOI5UdWYrfVYiCaVfmTQaOMZpV07Fgr3M9khiAal9GxI4UEQM5d
MIVgLwVz5QBKMra91E27tJH+UPMEXOfUt05utjFZ0vEEeJ7tw2XttUnv17ll9nlAAAnsXRXrM+nw
PRfT9qAYVnfv1VaOMO5cSXKktM7Bm6CXxJpVIliDcUp15IYsmokFzVrnxXrCmVbDj55ANPo+TAuC
iN7Kflj3ucJEKD2O34YG+m90XqWXdWSUf4e+Z59uVBY4r9jKurOZk4I0jMrhQNcocxXH5gA6MQyn
HBrbhT6FIHn4mPRK95dhYMrd4WFwjhHTk7G7z5WWxS+MPTuGIJn6bH/lBHHvVxkLplD/MwxE/zLi
chVOCOHweq8zNsw7rYG4l+NcRRfSY6lzNIsUuKj4MjSsgHHPx1PZoS34V4qw+gcU6f1LeGZH90zQ
r6/XIaopfenDUmav6bJ6U9SATdrcnyZYsORvID6G5Uwm8eUHLtclrFB3LutRj0mYxEV3yD5+KGa0
SP4s7BaL00rVzHhTQgvMXoaE7FhI7hKJNcwKl5TukFQXeuQ+V8uCvv77JHNmHkMmt+5+DOiTv6P5
whxfl8D52iv1jjLZ4Fdm9DdMeELuboDsL9PHeICvebDd1ptmy0xwoel8z/cP70Fe6BoBakn76NFV
kLMaSHxiW5KbCk1mCz4BiMXP4ObuZ6mGEmyQQg0HhBvo+i2jeW4nFKZ1v9kTws9d1rpl+bm1pZBz
jWhQPzdkWg/9e1rGfU7P3ZBZXd4xL/qRVDsMAoJ5bX1bluONPyIi77tNoH42eztI/ZendnD2+zIS
K48Gck0u303H1vIbAjzT4S+iaebyT1uwrfxvCuAdbjjLlX2OEyI0PkQsDn6Tdage4y1nrFzi7TYM
AhiXU9tKz25t++Vnt2aJqJdhP+SbxAsrMCHk2idv8GJR2+0asJOC3iktRVYnoE6SS3/QIYW9Veqx
DwNFwjRYdFq5GbsKRk/m+FQpho+rQvufi2viMoVkmG1ZSfYLeBsjd91ofPG9A0AFOjChCA2sv27X
F5njXX8CqRfcghv+yLYbyA0G/ySwwcLWhvDNb1U7C3GDxY2yfcDr5xWAXOWOz4xpFuIJgW8muaEI
8HzQajVPs3fb29f1d4sLLj7lKc4GwUUrCryhoIS5OC5i8BH9gxw6AzFkJ8shVmawmt8VAx+WO2YN
M6fU8q0mszvarxYugyuZGBy8s2pmYAT8AGhiOtDwATbgLyCSaPtSeFFGZKri2+vubTvBKK8CkcHc
bxhn+3Cc9q8tPdr4qXP232D3afsDxPwQZ9SchD3kKVPjL4KP4WH2hCc/+NcFd5H47GPUC60RTNkV
Tc5Y32Y3B59khGPO2Jf2Y4OjuMlvsKkOv8Qq9Dkw5wxBlhTpAIjAQwBnBjAD4zNcMTi2arRO0Rml
/RT1u7VFTg0crTIx484GvQtOgCYlWBHkDY4QJsaWInumLmDESBo6Q3l38tbQ4ZTpXc1PYHsnc9fp
PScoLpiR+XkwoJ8ekymz+U2UXuJ3ojqFotYw9u6aju4cSLDBoseDSq1i/IaCFmTQEvEtDCC55pXH
skLBKbcaey6lfwC0JgLaKV0AfeQp0f53ogFB+Epi/jAgmjtnNAyCc4zM+pTGHDfXS9pSPpmbvDdS
i5qPjunPRfsNELJ3mUwbvMDCIt4gFOXwUkQ+jZg2CDbiKrQwegT2hJiagMkQ2M+cH/sFQFi60k+X
7iWYWBQDg/ZgTjp81GoN7ei2yvE+oAV3icvB9LUYCjAaANrsQDZvpLCu9mqcMbYDlHLuNoLlmr51
MnPOniAr8PZ7L7uEyTrivVPhSZJ0HzoAr1tEpYpkKA8oMcRa6v00rfjPf7sxEqMrWXSJP2E5wYVL
C7/epAogksfjPLhY4P5Eki4fq9TrgWFQmBb8/hMxx559sh1g9wQBY7qlO3qCYhQzqMjdzXkjscv+
d9Iz6wq8wozx/TS0drEnxkgp5xtTLB3QtBLnpqKg6fg5KeI+3ZYYxtx4BuI8Q7tYFYDM7AkVQbZv
wI3L6Q2kG+vBJYxBt+298bkYr0m7tfxvoCExr04wkeY1G/IkrGdvccX91IMJ7NanmehctbczzOMr
IAs5vXMFcP87CQMfBsc/yuUjhcGUvaGQPhMMAxPdbsDt9KEhZkmLK/rCY7qCzNjFPYe8ZbxNEeeY
QRbQseJHGvm2gMBlyFyg9wCnerx8w2gXhqFqxXrDXUjEtjzmc78WSb1BjIP4wzaNx3F/oBC47/sA
COliJCD/U1+AZpVnAvT36/fjEK6AKOngYMSKJmlFR6QAvoVfgAXiV4YfDSLwix62Yn+OOcIZrsjY
cvHebbvaCsh+8GFNZWZaTP7G8XykTeFV9rPEYfnWu24q7vvdmk/OEEUh+wPHqFtAH1Yz5uD5fi2c
/n0IDLXNVq7Z+CICIkWaEZIC0wAg78ZnZ0T0tpIY0ZOhxgUm5QiFI6ZFCG/XZBmg3W9Lv6YPR8mK
9VeqA/kkEDqL+77A+o1FHsn/o4cByPh/C8X+t4n/JHg/zLJA78lo8ZUjPGIipeAIvxQxI+41qaC3
SDfb4TDnKGw0XzDgA6wQA8gItpAXrCqb8oeGJkINV5tjgj2ggDOT/8ypLr4oN4WCOp21nBnkfqFd
ofFfvM8p8pHClEfVHAi5Xq4OvXB89JB9UPvMsGI0ijeCJbMCd3bBpvG36TrEO95QLIzmPztuo+I1
m5XSaZO6MZ90RYS3/Ws2Dgmj9/OIoaFvvCCYiFD5yJDvVdoOMwgkzIZyWZvWog/+HLkG2HFFT2/7
X+ATmSzOBNMMxgUwQYG86cLy+aqyiJ4YnAVWEX8yXh7lEwHBfJzxiE3Ba75lg86qYQhgOyqQX9lm
gRNQsdcgAgEk1qMhBf5m62Ej0v1b0R1MebOtiHO2d2DQpHpPwE1L34AyjrOviRj22N3shCsfoHqZ
QUm8EjXBoBEbZf0B59BmmvaijWcy82P/dnhs/sGsbg7MsLqLpQlfO7bYzizPIIOHYriUYy4mbJmj
qQNv0WL8ZPUQy911j8VRAvmpdytAsuFoyQ6+1zoJZv7wSdIPvrEkG5Ezv6Q9Rr5LeyxLLitVrDLb
kFknRVJefEsLSRHEV1KeXnKvdYjPCZia4meCti1rH1y7a59/txPLu/5Z99NIxwuSGRlzGLaA4p45
m+L0TefdmMePY8RZhIviNpW7UjAQT6BG2B5oEtsODgu8y5aHwAsOgQUxdDamhuTSJa8IdZn1bWFM
KE6Um315xhSI2bKxNrDUVsoKbihUPFKX+GebT94twODWVVMJHOasGJrI3xj74/xu50joXeuQdwHq
vZz341HZzfBPbKdTrHjNX5KOKmAfPm1rQAcaY5IiYd7et42io4MyhIsxVpEHHGgRWP5aHni6gPdt
pvrbvU0Q4XtLsryEZXIPETerlnmBoKDq6JyNPyaByfchUs+Ovh7msEDkU3LYuhbn0Ywj+PIRTPpU
cdwV+w/nWE9/bV0JHwqs4+oCASAEsFqC11IkLPugHWy5/4IVNeEpCwg8QuWZievvGV9F8q2c2Rp/
A9Wn7kf35ebzV5bzxAE1u5WgB1WBH/npwOC01cPSheQe3Cbp7vFhBfuNkIK1v1BfAu2v6YoePoeW
QGf6o2ST41eNbZwsntqeWNAilmPtGQrZKc1foJ8qphHIr+MLuSXtoI7nxdt8+gDGn/mXsAi9Nv3a
Kf82hjkJf/ZhossfAAVfMIrGtwg6IixgIP4Vg2fzX6fWI9yymI/jr8GWxQQ6bEwjNG8T6N9wTRAE
mo5gvYdAP3NPA77Xkeyr+tmz6SAf+5C28hleRqTFMkRGyw2iI360+xsBNMQuukXvGutRyX5KzlvS
j2kGUsxpfw09k+GZdN3gu3MJWKL7nhVznv6hrfCqxo8SNq2OYyM8NoloudsrdVhEQqEGZLm6gewq
5pcM84b6w+ZBo89C7j2dbkFB5dMLfpSfknoN+CQFGNZQTu/40DvaS1hF9fBh+7IXhpFui5HmnPI9
qL9RJaO9cFdY/3skSEmHhg9CknMB7Ryirw2fkqMxfkuh3xIJSTN+ATyD0eR2SPSwgH8egsvqLOxt
TO+3wPspexBMkRT9MOxJ+rM78liIUxRB5ffbYtO0OAc8PQKcyo/treIpuEuUYNRpuchInyBSxSV6
7BJDWtUauHqigV7LmL/P8xqEqzRp2/Y3LhnAH/NOVPZp4+7jN8gy7PHHzYAbtsrn7RwKrJIA/3sS
UEtlpzENLfsPPcWBGylnh41wnc/NCj1CDv1GejR2Tib9rkCdA4uLlvHk3cBH/KtsYzvGPnpwxfB0
bI8SKuoSIw81TYKfze/Bd/cMcJCAWai7rsFp9Q+gTsdeA7ddj3ecQDB3xZfGxOdukjSC2OcGe3h4
CclvLUU/g+SPm5mqQ8AR94ITvm8/6BdQlNYLhqQCvtPAk04a0qvEVgAxofqqh2BWxBrldFiG1xW6
fjQz+VJiS8f1UH8CnYEEcb4fdQKWTNijnZ+/QAbw+3smhheadal6GzmSIZDWE4P/D7h3Jv8YKKrE
74OM7fQw2WVu7/IjYf5VYEmB/BdLxzlEn8HSl4iC0DYtRyf0DCQc96yDEyuuQpBFTMBpH/BzzQkc
qN8lBdn8LpY+K24OswyxrcouC3DYE44Pqa59VLFEJe/K8p92sBFEbi44OHZNtSrSz6mzOwZkvaIL
w63fg6BcIM/i93PYuf/eqaKDxW5p8iM9JWHI5bdlLLAyAKgIJfG0QoA2/Nq7MSt0o+YgxncU1M5e
EHmBKOrelHv2YJMxIR/AZkCq8RF3NoazL5zENomGXxZkjIVtRe32fHO8mpWn2LiywI/OuN2dXerF
gUl7CvM+L0/ui7+69A5meT3aT5PuP/ChdfEM8cQefiw0mbyvNQ48+lKCnaDjNHE1u2sL8ACi8zKh
kF0IIDDjw1LmG4xQjZ+242c2HdF8AGXL0+exi2NvqnbCa/Nf2x9if5tj6NDpFOMegZ6XbUAnVxFf
LPFJjsv40Pce3/2RLJP7DMsGVS6S+WashFQ7UEr64BHWkTzECXKQ/2YiO6drnFJzaQEOdC9Q+Zn8
bQmY9/AntMH+AFvUkkubojaew7YWx2lgWHE7j20xyvctmSzUOK7lf7osa29llKhC0LU9IXDzue+V
iW/eH+TAvHCUv1ozDBjBe5yPZ4VIjRwd6Lkt6eNq+2sKEPgEwXmi73Ks+shva6tcuD8g7zV3bNq2
9DrR4jqDi1JDjf4lFsNpx+hOZSW2mNJzCeHbgg2UclYfWqJjei+HwFBqaK/F7CreJogZPQG8L4BL
APVQ8wsEF/7LxDllrW/AJU3yqRvAnz/FePD0hR2LNZAQ7HrJ0O8o5hsNKUx+ngPBkn8JcK06gHUV
/mQ022dXc4m95dt9ydBaVKzFItzHfvhj88gow6ryp+uM67FsnRIscRWrzeGALmCAgEinsLWQQVJP
8vZRdrnCfhdQZG88VE3znlcupaCrp8T5CvqI7bgd+9Tsd2jqBW0AB2XJ7cw2094dWcLQbaYAy7By
lKNTjce4mgpyVCA5PYSMMDBUHowV2vt9uttTjn9TtBBoQ0QIicUN8Cf4qiArdcTrtyx+iQ1choFa
NjnJI+gJjKBxumu/lIkcCE3uzWuAyC35A68qn/HG7BAmIiB73ku2V8UUxfGfY1hT3s4drgJ0zcO8
HPk/ABdq+2nItLinvIdifK1W7DTQCxw6J3hk0F3z/lq2GNr8FU4UOO83cLzXUKp2mc6hqs5AzJk3
sq4aWwRbMnDvToWCrAN4m2k3tEVY1gdk0Di+SqgutILlq6stF5FY+DzZTfzFz8f9dV1ylMOXrO8P
7HPOeHniP6MWFT8UFjH96yzGYe1OCVRDLzNu5O1RKGMl+wfwJtPlKWgI/v4V9FDmFCHT3N6XzCXL
AxI4RoteB6sg3TtkflCwDJmj2QDENK6jvQNviL/6VnaiXZ68IQGyZOowfMCT3cptOtobMqGea8gO
uOMfu/S7oLWBDDE8Zpg756VKwfYYaCGxXOaqzU/z9MpgGAaC4NDYUQg1cHvA4tU4gO35tqKISV6b
jkO9hScPZ05SJZDIgkkipZ6XrCkLDpiqHlqNHD+8dQz/+6TJmvXTBaJxtfangJq9AjUyExu/dKoF
Lb5BPgHW61xa3YbXDQwUb88S9yG55C288d48x1tQlyCLwGQU+R7ZZXRKHB+gcYKbquAS1I1qPnRU
NwNQSP4JSlFFoGvA77Ah2CdHjxVziNGX8lYsIoetP5q5nJ8O0qnwdwoj3qvMlFsGrCIZIRQ4SsDo
+ckD0Ba/GBW4HvKe8n2rFiwpHMd7keR5AjsDB636f9mqZU5PkU0gU7BOE2jxHeTa6N4gj+D9Aybl
IPJqxjn92R/tCAe7iamifWFk8AEVmC2QHq4ZvBEv+JppnzdxhWAOPFGc1fYPqGpGzhDtzSVvJhk8
koP1urTTDe6SaNGfd8B0SrDQC/wFqn5N/Ppf3++G+RvQQK37fSxbKYczz+24ufM22tTzt7YbU9w1
qcNffQHxw7J3GYpB32M5mcEKbFhG/sgojs4jtgCm7CKgB9C3ys+5vtnNCryhSpMRhEm1Z60ofw15
i2Gx2kpCUIn8oUdc53QXS/J3hcAUKgFLsCVwA3JvTvUdwq3QIl32uUjngB3tPP4huYSVWg/Lv2I9
8Rm3FVruCFj72h0T5NEwcVjD8jofu01+l9uXmqkS0EvjtZM9OOoJ5Isy2z3+URZusMYTocAGtXX4
7yPkS3KDwH4aMdmZL0HEd2m7bITvCreLKZqh3XcAs162ZSVH7eR3cHYp3LN4Kjx9oSPQ+FvNZxbr
FpPLVtx7iW8E6yXzivW+ZllxoUJeJBeFqMPkS1tgKz/R/rgi/2Euf9v4ZR90maH7OhQctGY3t2d0
orG/N7pLc+zWqyXjGCNXeAasPxc/rfu9QovNv0O8gMkZyVks/4s/ap5UHdRAiYS3NUcsdoXJ3+Tw
i3ZQc+yNKbEzEJ5KMmR5/4UVLBzf5LzxUjSjyGV2XKFvLMZ3TP9mORXJloz/bW7J9V834xRPV0e6
lOlT4fDeveAw6PIGTQ+fX8AlbgiI0Vi/6F47Krs+O7VbzCB+FXDcZryCUfv8Zeq6AgwHnioSdPfg
paVO5KnUUSOWpVVfwtQKEmI39s2mWpSEOm2TOYEotrMrpTWKNfaT78ZtX2AsjBnjgCcEXW0X8huJ
NUmrb2PLERt1wSFE5uuegc7vatEJjW0Uk1n6JzsA/bzarpXxdnQdwscqv41OitOAdoncuAH18IOk
S+tRqbpkoPQ0Hawofykj7HwH9DsD+Dv3etHYx6VAHa9aWzYXFdwEA4NqlWADp0ryxBrbjIPMdvPi
8B0MHGJ1Z8Yngr5vDTXcPpLpIaK1Ad0ZJpckK7Q86ZJkjZnzYW6iw8n4OjTEbhDmO979D2ff0SQn
D639X+76o4og0uJuCA1NTx6PPfaGciRHAQJ+/X3wt+lXHkFVb9seAUc6SucJ0z3O0HMOtkhh2MkY
NHVcyuGIVNRfQJtSmeZlyyj1D5q9AgPi4cTMijtSkFX2e7iB58DTr00Dj5FGxqL1GXQV0t7HSxLL
3xVcR48S4MdAFQCxZ8kTOEVM77a6Tt/VI4wBxmoGyhjFJtNy1VpZlewu0eW+j5/Tzc4wdbumTBtc
CUpxYVchvDp6W/Fph0vByreGBaspFpa6Nvw1N+3leR1lLf+jlSWSzWmwiYdjFQFtAPwf+KTJjgak
IHZe8zR1Re92li2hnAT4klo72GaY2bnMSTYkZ22Yexj6WQ3BMcOFieMcf7Lkpi5PyoTz3gTHIt2o
L4C8zcqrbMBq8+tS9bKMs6KO25f1ca0gAgOsjp4BPeQ1SrvSx6ywcYeTZbOyui2K5CiKSCTJC92l
Ceoc2FbBEpQ6I65xrV+sNGsLxSIUtNdfKzY33SNUyDB13a34+97vEtyLAeVAezDJsPsd6PTGgOGp
K0dJKpk27joBZGD42PPH8nkD7Oq/zRl6dFZQrrq2vNcqs3BXDeUVJf5JcZqSLKe0SkZQL04yUJ5Q
FgLl9HGKhwbqOZMKy1w1ZIuxNjmcFOUhSRyiJoZah1DsMVfgxEzw3R71ODNRL2iskcJ8tEjnApCD
DC0BNgBUAGACPqgVFXhGTIaBwbuitbr80NB6Nt+0GgVzwyM2NQfUgJdmVZESGQ7aQEENsV0XQTbg
kip9AA8C969+3wySvF7qdoUCM1AZsWZfUKgs7TWwKwPYZG+lpgFTw0o1JJXeKYOBiiE+cFGnyK5w
n2U7yUB0BlFHrKMj6lgKtP3ruwk7mrhwS9PQjSfaACEA32qQ5lEHTFS7jxXUHAds0hzUYS1TdwHq
LOPWtSAYII0uOAn1UHwhqVTViQ/ihorBrrCsRI9hIM66R2fZUHNXkc1yQaG2BwhJciRpraoN7baV
ojdwK5AwQIDKSnevUVSCPtcNdNvWwh17OS8hcAwHb8AD1hIjCoQ0hWI9U/O8fMaBpTFAcITcBTAL
BoAZFe6Nc3sFVkCF5W/qWgCrFX/MDndNOP3NXdt0EHFUVsuCnketJO6cIJ/j1wU18+GbnXbTUHtd
mdf6I/BduuLZ42LjwqgFh6z8bFREo6Nvl1OhAc0VQyZveqJT248/2rknFq4/ULQtIwVIqwaH8BVe
eY2nJYsJAobFVNBY72tqMhzJJg1XwRumxfq6ohj1PPQVbauoR7IrzG3xzzg1Lu0wdbGLC4Upp14v
Q0cINdICNebMxabGKpAsOJ2MoGZ2tGbRJCOdITHDFrrctSkIfq3XzkmffsFD+xh/k8/2M0ORjEn+
ZOpFMntY+dThG3aSuC2FU9k8wLUHu1RZQs4wU00rHP+SxgZwMl1QKgEMmlm42EhjrGFUVQFxAWxV
r/+g7Fpr+gm8PgLIsGIRpcOVRd8007e+UdMhBLuP0tprpqy0JKeocJ/+llX4bxD3yUklAeOV4p71
l6FDJgQnlBl1XQnlm+2OQB47Jc9dlARpPsLtzCbLT6DxiPZod4DevICFJJcrCgQA7/7GqRNDyknl
htEnwIUAvPTAQmHJ8wLMPyDMlt5V6SPuAqDqgvvgFFBKGjO1hNk9kAtgUc6NtIISKOHeDxP2imn2
TJnW62/VZgXM/M1sPJ08C3ImVgjcASTkQZPIcZPsQ73cNjO3mmNQgmdqb7dfuChFKhSsSfJLkWEX
W57NUgtJEUFky6t6hs2Eg6hM0lPNAHh9LHD/3TxDrsWCpBWkOHAgikFLsT8XFm7KNgWHBAsYEDXT
UuI2UR3t/tfQW3J+UQbwQJKgop1aX5KmB5gkc4AmtJLWh3rZqvWPZRGXOgUDDuCqWPbg5QaUpmsa
Spk14MAgzyeP1BAcAexgidFcoE+Ad0hQOalXKfXguAw9ps60cccD8DuNqTo442okWYlC01LYcJXK
EWjN/gkvvHa0IYMFHISU2ziqDsowQTlMbWyUt2wFdha2z8yiN74lxoTL2wtKl0A+f9YpLvfzu7KQ
cd54Qe0ylrP0z3457kPRA5SFOL2TtV7VHBMz9vP52zA+LNb3OAn0tj6o9n2oOoDmOdWB2JZa7GG0
IZDNi2zc6ZJfjAe6GqI35zQHMqzQkAGNQWuQTiWqSikqZ3ryrFhH+iUfqgLg3TnNga1YbKOwNASp
fe7rMF+j/ZAL2uW9RcAkRCETcOtgybBTxa0KYMVQ5jxQM/xY68X4x1WkVybwZieEHHcPXxJcM8ja
r6aN5uR+SkNVPRtvB6p9ou/YZMR+fn/J6oT+7/8o/y8BxVvPcnSA8QbzjPbI6VQRtbt1+FW78VrH
wMuuQ7AJPENeLzLO9JTdgwrrkJMc2k/Zj/2OEIwgfRu0Vw+qUIrHvmn7AONEcI6Pww5n1LE5GPui
79h+v2rexra1TNjUB738kNeXNjlQ8xHklM6l7JBMWFYqeQiqCvTCfnbq/vNqHGTVh3pZGD1cwoKW
PmZsSWlQW/I6n+Vm6q1v0KLozM2gt6zhpt1Cw76+AD+YQxN3iFcAjQ8yQ9j1XE6bCeCRyoiQTT+B
PgJT8jQ9amERSG/LGJBT6UteeiAiJYoil90mCljaaulDoMr3FnseJRwR0p/7A+uvMdk/ih/GP14k
rDCoWk74jvwsvervxFWc8lQF6rm7Ay7jU+LiXw6+QzDKeBMSBb7hAMhmIyR9XxTrNS38/W8Qtctl
dw81CQXIiyFIFvJztMDwM2l5IDQoapvL8F6DEIgSp2NgSy6xHovlZf+dlW2UfhR3LqNRtVex18TU
oTxiY3Lqgj5MzszT3N6VDu08BdPGP1bMcZYCJIX8K4wpYqBS4QDq9bF6xpXdwdQhGJy8EXM7lVXZ
FXjEmr3VJFxzVMRv0dPF0OQSfAbMIQEerwtkoOumT3UbQAZmP/yqKDJc+s46bseswsLMZLngGfi4
9PCYH/8hfuJn9+N7fFpOmi9fYKF1kZ3aMe5M3ZG93GcX62j5E0xghMtr6M5kzYwKbvD+bgT9Of2U
heDk+mtUO77spQ/IvVvtFHG23HS5ruZ4BQpH0F3AWj5Ob0ob4gB4MAIEKcL7k3S9Vto1GftAVVD8
A+lohOSBdeT387HMHd6by+4BrA15hQZDsETwCXBpYD6wEwS1w/FgmInen0vxXJ0AH5owFFJ6NtVQ
Tw/aFS0RvCGJrqaqBkXGIWAu9Eqc0iMu7J59259dxR2f5LA7eJIgB3k35jKNF6gLYSBN9Vd5Ddr2
ZzofCKAKP4JbwmeV1KTSyBDUd4tPnfrUuJKbucupO6sOVGW8m/y20M9ctkPEYm1UC3B6IODl3Osg
izoFerMkN26SNS7ly2oeKtXcNsnzZbSjrLtt+eF9SiqQRsuJIPop0895qpxQOrit6X+8SeSG4n4X
qdU0hZdQ24PG1MHsIxgzvDeJ3DQrOHRjGxj6a5l9grEKYYdSpoKU4j1J1jTGytOp28hnf+onlOkx
aDqvgwSth6PriYXSaX8iF62jfyf4q2kNEiXJmhGcCuW/pthruDzBy9vR3eIEJp63/xTR92xBvHrI
HBe063EGDkhDQjCSHi2Qw/abFvXD9sirpkcwJEwCaadAS14MEMaUz2N7MC1YH28xeKOSjNApgZwM
VEikWb/AtZOCcZf9kaY0dnSlAi+gbQFTA/b8tu2+zM0VAyPAbILcHlj9napdWP11ZgffIugBmZsd
YlyXGrlRdIFJ31NyNujzfvhF7fKTgmVKuAfSuoDhTg2e8x64BgdDU7DFkLnlHWIEhTVDcyno4A+T
sUdWo/76slZH8GTRyOFCAukPwCIKJFkxfh/bN1O6s6TbzssqFxVKM4BmQToMIFHxUqjT09Cy7GDi
EYSFd4oBRLlKBhsRt6cvoIBn01nKzprxut+fgqDwPjF6npjppMhdMKifSf7Dbh6G6uW2prc0u8rU
2iw0MKDQNGhqi/ynkLxhvG0U/hXzv2paslerbE2cjDTlTwxOr+ztv/JfP5MPThm8NYysggloxWi4
fx99K4Iyjms+JHejp7hW2AZHW1lR1Lffr96fVdBBGbfQ6NUpHz+T9VTO7wefsI25jz6BmyDBQKli
DaDvoLyLAz20zmsAHoKL05535Mkoen1u3mrZXOuzhUcoLfuBw/B5sdZwgojN/icIRvzfpesqOiW0
qlR7wSpuSa8xNOuWzp+pD0mw/eZFS+Df67Wr9oEvTEsIBOJcfZb/AGUVmD5uj5eT7uK4crjJFMyU
f/fnV09hcGNn0DAbg7HNvC5XPZD3DwIkiD/vBAOeTQrUutwCixtpUHmwH9f6wKxLEHveAQZ+lQp0
53CG1Ok9nZ5X6yHpwkarbnxz7nCSNNSKlW67BdItH5opUZw3p5UVB6ueKDDbV13FnKIsroIt2wZq
/poNp77+bLHT/qgRBWZ75FXTFWsA3U/7PmgHmT1auCH1lVJDoQOIoddaB1ho/zmCYSNz6csU8JaV
FhEq9FdCz6l50O7HofnH1aNSGjYkFVbXQvtaqm8FWEkovxx068cvLdvcVA+h/T5pixyZlFMXShRu
TL7fEo5/bDeWBeVbtq1P4Oc4AIIB+X+TPYEh29xg0RqI90LzC96Cq7GGkCXMv/bAFms3xoQbMNlM
egqqKzJpgfimj8rYfkS2mP47v8s2N0AySLg1IMN2wah8nWcKlghQzi3zpvFlyHMI1RkH149bTn70
IG6Wn9R2MNQZ98UmxE9qKKTIJWBbxGjCTSSrL6ELtP9FotGj/je1GFCY49AO2INI9zT7lvQHexvB
WVy2uW2ZtQ61UcbogvIu+56EFNB7dw2au+5O8eVQP9eB/HLbJ3B7Vyhjp9BvmtughiRCayeeDW71
TU3zLhqj3FQT6O1I3PZpHB7Bft5v9+MJDfqO/436DPUH+MRg+AMy5gNU+yMGmMOlQKOBZjEcjCFB
11rcfD8YJVQyerx8awFSVtVeoR6dcATD0+LSl5UQq4G5Whes6memPqqrr0H3JbPOpDk4nomewGUw
2NApNDswfMbFLwkIOC+2+ayxt5x9va0LuFRWIUIEJby0CzK9dUHx0dnduPaOWR6YkQjmfIvLYGUC
QzZJMxoYdg9NsYKMblYAUoQ59MaZ3+JzF9LSkHqLMfB7cFDnzh3nn/vBEUWfS94mAUNngQ1WkIOC
rpbnufkyTQCwU3D0bowPl7UZ2ciLmYR9lHKnJ5dE+iYdLeOC0PPmFYuh0z7P1DbQS0gjNN8tCM8u
ynDbnMAbT8hzCYO+CbGJkyQCbNXNysHfD7sgY3nbibIa1InZW9PtEy5XFO1gMhZ0p8ml69rIWivZ
2JpV2ZeBuOv4wOw/4FCAZ35jULh07bWmkXQF6VpRxR+gpWmMxkHTot7kElXqu1GDTCgOgM2TpN9D
74MdLVKiprkcBZ1kzMttmENRaSCBWYTxcDC8t0rFBwu4yeUmVutGGfRtB/KonXCrdcnOZnRcBxCU
QiGg9t8VxDRzJQPTCeu2p5xAqXBXj+K+fnbkVztoTvm35HR0YBac2f4/4fxq+40OYNNE8Czq47zs
5yf7O32XT6q3XAAlPthsip7Cu0WweWxsXBlvT0Fp128CqPd5w2eoujnHRUZFsIPjTSN0ZYByooKn
1O/GcxKyIEMJ7SV+klzQ4dzWcbtfUPEMii/7GS3aBvGkfKgH27VKETvl1Xw0381T5qde5hJPusce
TnPV8KhiLRjMBpfkYzNjv7WtmLUFHNzvvHfT5X3/K0RNb79fDQCAeKpp1pYuSDvoSmVeMY61LoHZ
OSvLu9HYc/J824O4XO9HMOgmCd+QFGFWBEoRdUc2NKJv4HIdZD1LhwRtFxDlWVUvef0btNP9txbc
XAFt+t/4KP2oUvizItnz6QRJdMewIHJtgjD8C4qbPoNgEzhkULkzICmpw3nika4/9p8tWDIMbh5Q
laEjKNuhayAS0FhgkqsHZWdRy9wCbWbQJLG2va8t/5hWVxkPNl6CjvgHpwVi4QTKLA16loG7qJjy
Wc+bH/HU6v5+TET9oXPb68ogFAgtvDr1IU7ndbiScNoL8SZf84uT8TAdAQrUrYc/mOb1bcW9ygyw
XFV5WjCqmLueilD6Kd+XpwynHRSRHtQn+Sd5B1LsU4spRQ6NF/WiP+1/o6B3dC7boctilzBowakf
ksFJPEddGR8koTB8XLqrkPmHfCvCN0bwsQjLk/EElabBgaZlqF4gjmMcdJToI7bfr6InK/BY6doV
U5b0GHeKk9mSc1t4uGyHIEi3xKCwBYpiJ34Lvf4H/KKF+60LFncezSUPuEErgDANITXlqCBNDWvh
1QUIe5AR7fN7oJcNuzkIkuhhXIaXXccgqM1Q7Fc+J/UZWtNuseRQLp58CV6LZRaty+Tuf5hgddS5
nJ/Bb8vytldDm1SeScGUGaFtVgMBMFgvVZIFdF7O+48S9D3ZPveq78E6XLWlwGc1XeE1oNWZzdHZ
UdQ0l/5QO+9TlY5qWFtm0C1QJoKew/5bCzqDcPkeqwTST1AiDqUsB2Vy8tr6NA0PxCo8q66DtfRr
mXq3PYtL8RhqSBIt8awJSlZW+cokmKrMDuwxAlN9r6evk/K6/yRBtxMu4ed2SDopRcBkssBo9Wsp
/zKL7KWMH2bzywIpzf3HiPpl+/2qyyEsDfGdlqoQ366eQThonJYsv/fbFkBvZB7bRaAvMLMFAt9d
zJwBiPLKgrfVDH50TCAeDa0Z+V2JqQte/kGyiD6HW/VjI4E9j4pkGQvoHq9j37jTeoS5ExzZCJ/1
Q2JIGRyzQzDq7xgGgpOuSdjZ7JJXUOSbpSOkydbHH6xgPLAL3CswUiwo/q0JuAcF086JQesgbjR6
cNkliBMP5oK5QCZpkMgJk6J+Vav8QV+qgy4QRImHczWkaEdjAhAKvmIWdIpBiYGsPAD/yhRf7NGw
1GeaSWr7DllMCr7m/lgThIxHeWkJSG6bojOMk+yfFIrgLrTbZLesWXKwwGwp/kGnaFzqNy0k6EZI
d4cqraTssahBfgvboi7MVyotivx9BJhbO1rvtzH1wdP4ii74e0yt2Nyd4fMBFWwomHUvRg2mYz27
iV24hdL74Hq6aa6dVxAP96Mo6Du+3Nu0a1tCHr87txDLhpy+QxiUhnqIORgnyUgOMGGCwff3/Hw1
54BUvyqNlVXnFlZTF7uw7Ad7yqqD1gUj4e+p76p1VV9AOcuU5syS+8T6DDF0Uh2sj4KV5u/m7Krp
arTgbpUl/Tmz5ZM2xwHEP+BpF4N+kHuJBvP54mtyZFEu2vL9PZRfPW1MKFxiVhteDbhOMNzy1A2P
sNAAACr37dwbY1c52LiKzvl8BbgwTJg0QkLvDCYriTQPNPcn7d7+JqMGjJsvf390iXqG28mM02zb
mVK052yA5HgDp6iIWdj3aznYTPuPEAwtHjKpptmSzbVshBpO+T+hxWVNvgqK943rC4+UBKsJRU9L
N0Lcf0n+Ulgl5Fvj6WDoit5e++9inMI6C+Il8O1oZUgRhkM99ewFBh8ZSPC3xYdbHzeJozYxJSPU
C5v+VHW5wF5PL37sty7Ys/AISYjQQSRCoeW5Nn8YnR0qRux1sILI68KT2vYRUiDe/pMEExWPmbTW
LIa5S1ueoa2owXxFMd7BH9ce7Aw+RxWYtB6Yn8kBhl8wbnkUZS8BcZRZTX2mhvy7myr1pOv5eanU
Ptj/GtEDuM2xltM1z+A8f4YE1ifTHp7s7QA+lQfBEgwrHk3ZFko5gIQKPQIGezAy1qmbMRBqbnt5
bl2MoZLTKXOcnwcNYp9T+Tgn9Sm31IM5VxSb7ferWdBWoXFPxqw4Tx3cyaYiVFAb6vPlYFUXxWb7
/ar5BoUDiLd3xVnuWwmabBqu4m3rxoHD5XMjMcqgF4t3H7oTpG38nuXB2jN/P/Kid+eSuY0h4WFA
txh+c0mUKtYJYrsHGwFR1Lmtbg4ZQrMnRXEeYfZS9tobLD2clJQH91ii5vmVAJqscw1PNwz4JpBW
KNm18AIajga8oHkexDfa8BuCQcM2HE0Y5ZVBMc/Qfllui/vfe+yrMbMYyiq1VE9wRwZNaNuALviU
m8VB6D/sVQ0c/v+OyBkqrSP0IdNINmqPLIoLa5GDpj+MC5refr96cTh6DnrXdfG5TRTiSJAcPhWG
ZHi9BgH8G8YkHsHlkwYyf56oKcZjAfHuCbsVKKPtNy16e+2/b2/W0MVuIXQflfUcrBSaMnoPX/RB
+rzfvijwXDopJlQRoRGQRDCEiCzYbs9j5u03/eFyhahw6VS1cNGxoW1wXgmceqCBSSHoSCoXZPJU
+rX/jG18/HNiwDO4nCrUjkCiJk+iEf6u0IpovaXpYC6I+nZu6Ad9IIgRvxQCetFTaiV2mI/kpYYZ
Esw0mps2V5rCUwpS24LvS6xIZxkCerlWXeD0cLDCCoLDL4ElrKYSKLya0H6BzpVVacxdYCz2pBrV
n2UtuoNjmyg8XO7GEFaoIDhihauUuVrXfbEZxKf3+/fDzRWiwyVvDonvHJKlEg4Zr1n6DIBdSQJo
GUIk82ExDj7gL4r6g1Gkbl92NUV0zTrDlTszoVJQQzsLqmoOzbX1juqr/KuntXHCetyeGLZBXwzZ
TINJLtnbCPXYJ5jJfi+NaYDT4ahAfzGFzEI3sOWsmWlyMdLZeMokvXuZF4sepKwoJtyUAJ0NycCe
SQ/bfj5J6XeYjED2rnagRQ3VlhRKYz/3gy+Ye/7WGq7CAqM/W58lTTrjsgegIw16ePnB4Us0Zri5
odETuHPD5/iMfT6sHhOK8sVzWpdG5e2/u2jscxODKsGZt4NnTggSfhNQDZ6OTtYrxJ2rvnyC9ed8
cKkkCNI/yy6FAlYzYC+yQPLZdMyq0Hu/lnQI3qdMUo+mCcH38MvvKE/xrHVafJZVyGfAKT1pSDRW
xOmt7GC6EPQJf/sCiVTNXIwO6sBMTzxSKFZkjWvm73eIqHVulpgyeaiT0bLCxCzzT30sWZ1bMas8
An6I+mH7/WqwgpZKrMFS4rNtpX/qrIArefJT6ouDAStYzPgLliKDq97MWjNkRXvSrSglEDfr69+d
pfijRI9QkILc5i9b7KaBbXfX2GFvQsdZSRSQWZfMnSUUpeD0o4XSlJxgv5gezK+iYcUt/wz2afAW
wVxSQaoJJusajOLMuDnpbIRjmtbdhFXSFP6uxWIF5C1BcA17COjfpxN2eVqnaz/2x9bfZPtgAudh
9nJaViY8y7tLQRpzszPX2eqONkvOJKvqu9TI5Ud11iWYQigt/AUJU3UHto/6KzxaK6i94o9iRW6/
LIUE0SvoAY+RZMGe2iC69dKsS6a5o8XS23KBh+5n/QwZdeiVQ90SImVF+2gN9HU/FB/e1mkKD91P
5LWALkVshUSmz5AZDGGgdFnhlbEVuI1onJY7eKUROLvNycFUK8hseUuZq8zDsGSb2Vse5RDwkSD1
2qM4tP81gqSWuUkDY4YSsFlhLs5weaYt6+xAQX98tCGteuMjuHmjWPWxr9shjZYOV1C0i2q5C7Xc
uOWojf7YgnYVHAZdQnXOyzSq6lc4GDoE+ou3xYbbBhhKqjR2O0nnEcaQgQZJGAhRwQMSGulHi6ho
MHGzA1ylSEzlvIjU4a3UPg/mS66FyvBWaX8acqdPB/svwSQkc5sB+HzD6gwGrlGxhpV2IT1sc6qQ
0D/7gRKNT24rMJG2hbJfl0e69EgMK2SmfnCi/1iLB/45W+CuerevRvhRjmZ3Sc/tWX7LT4Y36Q5u
Xz0Z5pkHHf3x+//Dq6C4v1yB4csjFN6AGqJ9e4KKn7cfnI/XtX+oFcTUm4JA1zBa4HmIxbggTzCh
8+Dz1h4VdT+uiCJKXBbXuQ3fkyS1w2rVT031uxl/DAvZxPZgfknv4ZPpN/DvruYDlosoYFxKq4Yx
61hiukseQ963/aQecYM/Hqj/sC5sUuMOdIi7iwXFMlCYYL89eUbfnWknHSwNH28AZJvL6qqTekYK
yQpNeMivox6yRHXhdHaZYIwI48jC0A82rqKP4ZKb0dwYdT0tI/hjnPQOovQ1HMJnGwtjr7/ujy5R
T3CZ3TUdq+UGQzfpcscsYAA7HmHORa/PZTXkK8e03QauSe8LdEUL2Wf2LLH3/Tf/eOWBMcN/Mxtq
xr1BLGT2WD9UGJ1qDwnY9XRb41vnX00bTKYm7F7t7kLKOr/D3e6PVEoSv7RqdpDWgujwlAuY1dlm
rEsFlh0pauFnCD1x39C7X7hVvqVuo8k89SLTFgL3iryEmPgA9wMFS395MDRFwecSuLUGo+2Bt75k
tc/yz73yvZHtg9lU1PY2VK9in4zzCg+lpogIXZw1aby8X5yps/39rhWMeJ5tkehaw2x7KaKZQDdQ
huWfccQBFzXNJWw2wdODwmkjgjdR3w2RJMkH8Ra1zKUpFBIx0lO7j4pNsS7tzd+SDkTXfkREAecS
FS6+nQ1sR4fL+t6JsTVsFyjP3gb412SeY6GYYz3C0zaL5vxlHZWT0t7EI0XLXJbCGlVrZEPrYRIx
xt7aQaca6seSAyfBoy4VxIbnWQwZvDcYdHkj6Jb7NXwda1M/Uf1IrkQwC/B0izGrlqpK5Tyi2Zlm
9xv1Sl6+KPrRvbfo9bffr3KpJFYHy5W4v0BuF9crbfy7asfFWy2zPMhW0Rdw2UpmGFc2lZpHU72e
06p6GqWpdFpVgoVVebSTFuyBTG7NhU1RDzuzkoZdEt910+YvCpRWaZ4NRnyct/fzQPQULn1LqR1g
3qjlUbyirAf3EIU5tfxpkGZHKmtv/yGieHGZDAMH2AxYbR7V7acsg/3lZ6kME+vgE0T9zaUy/HGN
EcpPedQWjwTWmQb7XVbf999c0DbPuoBmcp4tDIeAieQoSf4ux7dZ/7LftmB+47kWU49atm0AoFqn
T6YSTUfUPVG7W1dfj3/oFudUm/NIHuHFmpt+LsUHU7JgH8iTKGCFbMjjgtFSwVIe9xaA2VGg9+Xl
Se3vzfToXkYUdS6DwWUHLClX8qhfjaiBR1Wd5XcDTEX3Ay/6Ci59YUU9me3Y42S3fEv1uyz7BZ3k
jPwp2BMMiPafIeoELnsXCYbOaVlk0VDnCfZpvXzOSp097bcuChCXtYxNiiqh3hypsFt0cimA0VwO
6z/9Zb990dtzCYvaAlw/YL0XUg3W6zSBk7Tm7TctmHB4fVuNwKihHhnsCrXWpeS5LH/nQ+l01amd
wv1HCKLDUyiyirWrNU9lNAz5i50lsBCDETU7OqIIgsPTJ4wSJr6sR9dCk/akkRhFloOwC+ZJni6h
NzWZNdJkEUxZNiOR56W277I1PS/tjadQnhgBjAV8kUepusTS/MYq6OeaA/25H3dRYLi0xQVbOVUw
mA6XtXyABe23uDUPtvWiyGyPvJrTyBiTIrXzLLJr+aJqqps0qCkN+X1vHYkXiEYNl7FqyaqhgQtE
BEcsJ63pqwzFKyU90u8RBYdL2VGnKRTHMe5TJsOJzv6W2DeJa2qyzmVro9h203Z1BhtbzYGWraPD
mrogwW29yi2vcr8g7jlCPy1qkAFYFCdHEDhByHmSQ71ZQEPdt4yYMf1phzWkTPbTPL8F86PJvEit
kcBAcCoXbDtiuE+2DHaaKQhg6sG+Q9CjPNlB0ptxgYdnFqUWlsIhw1WVRuobDyhky4SrER/rzILY
GFrvlypcNCgSm+/1Mr7e1Kk8pWFZUouNcBKKUMH7pTYmStcFyne3Nc4lazINcbnAsQUOmLgBad22
+7bfsGAW4EkMRm2lJcTd8qhLmenRYsx8UkM1TZGgqLPC7Nfff46oZ7lcxdXjAENhRKeig7Mahd+t
Rwd90SdwuZrIxZKAJJpjX9B9ptLg9tISZVB2MXT91/7bi7KKT1gVdZxRxkyz9qlXaPAnbuBbdlto
eLaClKHK3ww97ldqeITEnkyOZjFB0HmyQh6nNM7JlEVSx85lsQZafwS2Et318pSEikmz3FpjFi0p
2CElrF+cfNQrR7Lr5XNL7N6pGjv1qVEVDiO25Y9wSbtt/uRBZBVssmId9uuRBf+aSZEuSXJ00hWF
bBsBV3MESrK9BXubEjWuX0wy4MN8kxCwJvPYMTZ1nWrr25lKG/wkGQJ9GLybhqfGrbNTPS40azAr
z6xzh81BdRjDnJHbJh9ee9aex7poFCyGtEpOzCZQzOzc/TcXhZvL3UVrbFhp4MBWmrZbq9pZa62D
QSKYFnjEWFNLqOYuKS7olkutwUQ5ecROzYdP9UFYBNtuHi0GWyjcHBUmDftBd9LO72TmJPrPpTqV
h/RIwUfwoDGIotB4AT446kx4VZLGhRDfHcvh1toeqV0IuoAHj+U5oTNQORXqoZbmwLZ0dXL4e55u
6mBegBa3bbPRjEURxcv3ec7ui/VIcFIUfi5TKbyxGSTKaciG73X32MKmr9B/dGXrDktz49tvMbua
DSZ40KkV3L9hmi25Ums8zsVt9WJZ5XJ2HNQCSp86ws6Gb23WwVatSG68nOYBXRn8fPNEwXvX0KMh
MKOT06+39SeXsMqywvIG93NRAfBxXBQPinUEmxbcIfDSp30preMgGVXESkh1JyBxGK6UxY6luJqa
XpTkaEwKVnMeyYUdsgJzb4SezCa8qSiYjgWBP7tpH8wMgqzlMVxsXuD5DS/2CK6vv2E5fAKm67Gk
v6q0v23PwEO4ptiwoMvbV5ENiGQfN74iHzGyRdHZPupqzAM1p2lx1sKtZf4kD9Sd4JVLuoOVSjDZ
8OQ4c1gKzdQQ+kL9Vq8lQM7KQUREr82lKs1NRWKkLKKk1ZRPVm7CCxT2TE3j9F2qHNkgid6fy9pc
BwLQnPStVKDrCpxjR714lUkT6wf7ccGsxtPi4L0Fc0G2VpEME26buGS8l8rf4xS1R5qfgjTjEVow
YYZ51JpX0QAWZLKMbjHdU/UXU0D0Tp/b4baTIo/UwiXOOnQGRmiiFCfSLR6BI5ybpml721DisVWd
jnMiwSQaZUp2smDvpfVHl+uCscRjq0rN0K16m+TgV+zPIwn6qT21s3mwqgimBx5HBZfnnho1fPGI
Sb9C5MZZmPQ04jzRVUczkOgLuCSGkCaTMgLzzToNYAHvVOUz0Z/3lwDR62/PvJog8rSB026JTGth
V0/XCYaMUkhUuLOqR2hw0etzydyqs2bUKcUYhaP1EsPTOLafbQl3DfufIEhjXop9gqIB3Bqx59Eb
GQ5yJgzM89t2tLwUO1Mt2F/DITFa09opc+k0WdLBiBcFnlt7iyGF9elqw0+x+TTCwTeTnbI9NerB
He/HIDCZV2TXUQRTY+gKXUignSAyEWrB6g8BPWj+w5irsFz777CxSbmqgGNiQigBeO1UpzvkznzM
8EXb21x3NSQLbckUo8Cr9yATEzfzrXN9GT3yf5x9SXPcOBPlL2IEAe5XkrWwSrIkb2r7gujlM/ed
BEH++nnsmYOMLhQm6uCLIgywEshEIvHyveNwCuJa81Jzc1Nikj1kf5jEGQBx6QdMkjl/UesHBRNL
pQsJqrElf4VY5zxsbQ9agb48ZNkWuoH4NEP0+oH9jk+XXDbPnMypUfW6EPt7RtaYaClDVB8ueSrL
a9dynD3M1+hxW3uIG1Z47nR8XdO+attIJ27HWOduldhj8dd+8Y4T9LEfMwr9fT2hzQvB7sHoL918
DoIF1DOu/xCpOQwuuSrjvU1zAbMUIMjyli+tuDQBh/TkI8g3jC8VpKYNyrkGCgq4/KxnHwX7PNA1
oikMLgOibNPpwPvQI5HCm0bUQwAD6ttch1RQ7BeZhxYyAU3R2mZ96SFS0WZfPIoow3WdaKpvl1w0
4K0ATMQlZy/zjmvqnFotKOdm8KWBjIIC7/1GV6SW55Q7B5LytxIAiBYF07DudPgElXEkN21RtEzB
80HOpJ4/ieEFdBgn4Fnj+/v9ZnzHL9iN9iF+oYizQijEHq+8+xrQ141DAXBrQkKu9Xguva/prAmU
qlWQXBbAqKL01qW+1DMF0S1P6kHH5q8aWvJZXhlkhXh2f3HYS29BM6feNNZR2V7y2Ik4ASRrsXWG
ojtzxwt7m3/fLPFYsPElhxVlk08AX5HzvBknugvOLuJ0f10VO1MGRjmtM/ntCJvY3hfCo1H8gfX0
G82Hq0aXjtYAAr8k33LwT832c1/Y57oow3YyIcDbPJSt0kBGR/lwrM3ye9g+x5sYWlPwIHFGnDjc
N5Bi48voKI4G4BnssOS8Dl0KnUL/Ndh47C3jZWZ5Hnb455v2s7B0PFoqm8l+XKckHyacWY2x/Ik3
rVPq9d+Y60aN0N3SFY7g7X//4MxlytM19Sd6tgy7Dc0cKuYlVMwfyxdkoJTDy3W2AmSWRm97z4z5
7p+z1zzUIYbllpy48ikgNMQgZ7eyppdyRocVb7zheH+1VcaXHJkGRYb6tA2UcGWGpUOP3lZ8cdov
rQeg5v0pbhvfciXjZ0HjMx8y1WdjAW9yD4GtP01e66BwtyORJSs5G1NhG3jUIJeBvayZhWbnX669
Pfjpsu3n0hGoW4szIINzEHJcRv+qgjzXWV9lGsn6+dTN3mRC8npiz0BYcOuhVbVkjItnTrVhUBsm
X4N4CpZjPvA0Mph37UwE64fWVUa5zKlN3KJ2ABwLDAHwjKieN5oO3x4bXYqk8wLZe8cy52snrlPz
ieiK1Ir9IkNcRgpCKAqExXXJk7U98eGvPNBYXbGaMrTFZFld2Ks5XKeOvwQNh1Qj63UEH7cdFbeE
30MYTXkT1BO+W2QnYX4tSeiI46YjJ1bcCS1HctKVgeszne3haqWgVMmcuPe/u2OybFBHErHhPtmN
iN02Jn2Je/pfj62xlPpU49bRdJ6ma7Yd7fnAuGYh/uUo+0/jI7VkAtBeFE02rXS+MhArBNuxBsBr
ACPkwP7JRyijFn3oDVY4lGBe6J2wHZMhBwshbgVWGQ8PQfDwFZJ3jxnIFElRmVgyYKQ5OINQp79v
OeV6SRnSOjalXzMCjHH21bTpkcxWshpWbFkiqtJfm/GWV88EggmLZYYQNnykTkktGTBDSV7nec/m
a2F/zqarMH+w8u3+T1I4pgyWAZVxmfVeaV4N+6+6+ySmPGSGpiNtDxo39oOMlKF536yT3dP/TWvl
W89TNVQrQDmgxi5jbvW+8ZbxcfDeqNtt2dmjuMc99JANi+3+/CH1AFpkyt2xIxe09Ed+BeGlWXdt
vp2pWTKGJvVKwQYLewDsdhUlh9TNkOI/U2sLA+u9N39QFt9fm9sdffgVUnggQZ5lDePTdb2wUwdN
b3YOTjTsoNmqO8gV0VPG1vRWhreldZ6uZUFTiMvl03xxjcx8LEuzZAVo152nPO+W6WqtRzRE+DqC
TpUrylSgo9sPbDK9+TrFbR2nZ+ucn4oqtIaQHOpjEOu4bW+DSLAIks8zurYuo5jIvKTX5liequ8I
XFETBQ/VSSwZWzMOpQja2touuQdESllnyJW3/Pv9PaRYXxleE6Rz4W6mhQMs/Zzm32ddnVdlfxlb
Mw32bK4uBh5i44XE5QHnyftwsI/8OYidr499veTGKyQ6fFH55sUA2RCaDg9VaSaPDS2d7CTYBAfj
G7kEK2CCi8ON4wL2GA1wVWX2/e8f4o/frILlrWNe/eGfPv1cZLpXAUW8lmE09UI34aT2fPW8s1En
Bjv0Okbam8961JIhNKnoqzQD5+V1Xc+kjNrmc7q+TjtSuNXkrqqPl47m1a1Sp1omcpla80fqea9z
V/xciU5QTmV0yVMNdzbTMlgx/Jz+Yw/1d9PSEWcqhpZxNNmw5m6KYuxFDF/94Bk8nfd3ocIiMnZm
2phwqYPltIcn4Ryy8rlkmpKL6pOlOqPBjG7wFse88JR8YksQ+oahkXFRDS25ZWeurTW4AW5/XfrJ
89ItdLJWd76qBpccM3dYnVsEJvGno7G+oKHrvqkV57bMq0Rz6gK7i4/ec20xfqlt7zXPvm30x9y5
kUA/izHN8f25dkPcyHxk4IwgRg1xw55cemqHDKR9jl+hwXOq8QiMPOH+JCpD0d9jTOpW2WpWWOC0
4ZegEKFLggf3juSotrd6Da6BWOCyAxDQ6d3TvDDdy6nqwyU/xRu4sPJpIKi9zlG3Ws/LwDT+pDC8
DJshqYcnwgZ+muWQmG36cFjPffFtEb8esrmMmmm9ove2ADan2fijbXd66/Ixp5LhMlU1B9yacdaJ
1juZyxrlXne8/9WKKCOTShNh2BD4hVXKBpeHmHrgoDrcH1qxljJYpk7LvJ4H7BR3+nuG2NpWPyRW
QeHxv29vJBgD4zMjl3F5ATlXVBm25ptV5pAuwBAIIVCZxjcb2We/eRLNP7uM5GP2kJxy2dIJMu2I
MlQMx5VkL5ngjzmlDIqxnEKASqIkl0ZcSX1tygfNIbmjy2wqagZzNO55DEDx9DrqsnSFpWX8i28U
lcV7fDKulmOJTuvtQB9T7qVo+v99g7RZzspsJeSSGuZPvywP2wrdxVxXvb7N/o3xpQM0s8Zp24bd
10/kaEEvpzyNU8yjJaZxdiFFyHQEvsqp9nD2IV0U1jAsXVqRy/ZlitlpPmWx93n5QV+WeNcF3XS8
ZP8GkxsHk7kv1IeJisI1OKvxm6bYjGg0/gtDqN+MT3l6Zuf1aMZlXEFbfMGLoWZ7KUKyTDpUpJnf
GQJJXz278WKaB38R/6T119axdURliiAkQ2VaEKcPtuma17F8n8ov7hjdd2ZFyiDjZNzWxWuYMy7X
VvxZQdFCvI38uoEz13ha3Ze2f78/jerzpdPWMqd87iEwd8mz+pR1WxrOi05XSrm1JO+uCHAbVYcV
376sUZfgnecwnM0vPEL36AGNjJqDVzEPnvt/31kMJW7HGnF8OV+qrw4kzP24upI3HAzH8licqOaU
vB1R8EL8+zRuZ4yDv2cmblqdq7aPOoLkZ9YliarhJZ9v/BqPoCUlF7Ppz3n6TrruT7PX9dQpjST5
eT2CcC6fEQ93+FJ9yI7VO85L67TGzSFIslOgAxmofsf+9w9+vj/uNVYZmMApDydrmr8FVRZZGdOs
wm6O/4YRKis+uymvKl6BM2bJ7Kju53Btv228PPjom/Ife8GiMvtQZdmLgdYWZC3lmdZPQld1v+1u
NJCOaJKnqZFxBNtUdLE5pCev7g/3PVlldsmTs5RajeeiqIBGuG+0G40/wBzzae19oakE3w6mVMbU
ZIEwHd4VJuB1feJty3Nmstgom3hMe83aKswjY2uqPDNsn++OjFaLNP2z9B/clDKuxnY7wec9ROAV
fYHi35iegsnRxGrVZ0ueO2w9Hxwb2cCyZlmUMRYcWlpkmtEVdpeRNZPVL/BcjL7SN5+AVbD40vSf
l1FHIKVwKF/yV1rZtMrQoHbxqjEGEG6XMmrDuXaO+Vb/6P1Jx6t6uyZP/wOw6To8Y49kvVTVT+E/
d/4P0nwynK9pd27ab/e9QLUUUn5N+7GtbAsOVizN1RYE3OyTZh1UQ0u+uzZTsxQFYgKYIv5yneHi
iP58/6tVSyz5rjUsTmajB/TsDct7MXVnkaNjJ3feqvmxKx6VATZ+4xFw6sAB3H4NbbLFIMTW3Dtu
S6pSKiNsSOsE/lq4e2ZH/jAP1ZF6Bzfe8aX1EeKE4IQ+Gg8VrKnMRcSBqc7aDEHIFG7cUfMpn3TA
f8UbIpVhNpQtWZu2+BlLtCeoWVS8LHPspGH6vEstUvyaYUnSWPx4aNVl3A0NMqsuoc9xoSCLyJyD
6f8y+r9Qbb4/vGK/epJfj5vrdiPEdS/WUlC8IE/vPh6s48cG3yf9cMhDCm1e/AG22sR1NL+n9DH/
lZE13pzyDHou5oVk66Go5lOXP1YuoDKsxhx7F5SwqEQEhmuH1lRaoWfzVmPt3ao30hJZ/tkygtZs
C5NfTeOprmKj/T7qOjlUQ0tp9NKVrWlnFgJ0Wxehzd0ghjzcT9t7jFmTUplzqAdctvLxsHiZIbjt
/080f97fJYqjReYbyrt8KlOzIxfG2bH3zZA01hOOmmis2dWobU15VWGg/0g6m9NSjcJdL31TJK1N
36tmfqFjqXlLVrw3gTbz981ul2woAmfgV3FcDm7Un4Zr/rQe9+sxix5Mr9z9x33wqKE1oFtCEQ0q
4n8WYgQBTh8Xa3aqmI4+QnHMyLisoTQHw3at9eLQ1wlcgvTJEckG/qr7q60IODIwayP51AMBzK8p
+5KNNFpaHT5ftcDS0WviIXH2Swua7ea5b55o/2zpLnWqe5Gs17wYxYx2FL4vrnXsL8WxOzs/nZN1
gPRZNF+s18eMIzlx5tXGbPp4IAJf5CXwa5Bc6koFCuvIsKwGlUojX5z14jpNnNtrtPTZ0eh12rqq
4aVrryBl5cw9SuaNhVq8leXOc1056L7z2YOhWYZopVMdVMEOmQgG0Gc6DLoov+6bXYFjoDJEi/Z+
babgVrjwY/mpO4rzBlV5EtVxHj+Yk8hALSHSmXgrdtAGjd7SpYdVuBqXUtlePmYrtFhXfONXv+nW
GGQR/mHlaxt6QVkc7ltI4bWOlDF7XdC6YNPkV7s8m+LEdaIrqqgpQ7KMYOircv92HoTpeT7VURmB
CUBEe1oYxDoIgyKoyZirxt6GqYU04wUgkjArjnn2PU1PGft+3zyq4SW/rSsUTkChjKrMwo5l/k/Q
ixFQlR9eSr49NIOMsOpWPxWiQ1lpXZxDXszROE9daHtuaPRa/RjFKstYq83LGRpna1R/JqhIBn1U
Qbzy/verhpZuv0vme6j0Iew3mcmBrPPe+a4Xdn9wRQYhg6lWz16b3kcxafDP+fjTLrB97CeIUERd
8/n+FIoVlkFVYMFNN1bl28Ud/uL5YWsvXv7u5pokXxWAZCAVqjIO6ScUb3FuRdg6URZ3qHbv50t2
uv8LFFFCBlIVk+9sPsUUvH/zqzqss9Pivj02Nv09LZkX05g7gujfgmeKD8+lvUS98VjS/B8gleht
CE5jV/L0Mx3DNP9Z69ANql0p+a2/Nb6br7AJBUILEMP5IXQNlRFT9paNU26hSgvhimMvwKLU+pqh
Fcso46VS1pfmasAaaJJ99VE8rXv3Cx0e4lGiVEZNmUUbmEZl82s/dwn32f/s1NKWAPbT4sb1R6Yc
YqNn1S3Ft48HHqMEELeREbEjWBaT+vj/Uerft92teXbbfciS07UeCVSm+LVNj279KV3AqATS2NK/
zjXe+JB11vxkOiVIeF9G/s99H1AdZTI30UxSo+cEv676Y4r3hwx/CXlIPk+/7CM9r4/h6wGD+v3H
jcAldEWAvYViAGuOy2NPoeAq/H3c1XONpth92MedlAc/3SC9goQj1Fhnr1LdWhOpejVwQaqhh6st
ly6xoyoWZzNpE/+axkwTKBTeLJMVVdDf4k7a4IysT5b1c841NW1V6UoGVxEX3VY1Q71wiEVs41Ey
hWJw7IxIU0jEwiFinwxDE6YVP0IGXFV8dPopx/I65Ffemsc80FUIVCNLR7BhpVYAemh4X5kehxSP
hmUb319d1dD7qfnB4YpN5F7bwvK5A7x+jlupTqdTNbLkyubizhkAaNuFDIljL0du6rQjFIFUhlt5
LSjczQA5m12lYAOMd71FvFXcN4iiii3jq5auY5NlsO7qBGUz9ZFDB4MPYV7Y3ttabGbkzAV5qatm
q6895Mj9w/15VeaSnBjal8vGLKwxXf3rsP4VrA/RxVFKJf8F/GKwjJqP124cngC/BhJj0ny0yljS
KewWjBvLgN0DdlMQkHQhm5+n5pI6n5n7t+9qvFhhGhl55ftoeyiJhwzOpO+l+X3xxet9oyt2koy5
GkcWmDnDHi0aIxHrmNTQvvLMTFP3Vw0v+a0J8IUnxhSF8ymIW4sfTWuAOoXu0Wsf5kZglrFXzKXm
xEcDRdo2O3I3j91KfOWpG5suEIGbTqteZf79130IEY7rp3Tocf8de/YUrNnzjEao+/ZXDb3//cPQ
bg1Ga9s3tsvK5kPX1DG1N83WVBlHOmyzEXWGIi9RHq+z7wXHEvvdpwEMnHPuXtum06VGqjWW/Lao
vIZzE9Zp2bvnvY3sMruahFFlHclxyyFjPK2x74eKv45tftoKXau9amjJcR1vzVZ3r9yaledc28H2
ISC06ATcFVcuGZtF+maz2o6TC+HvpYiZC06Sv0n1+f6mUVhcBmd1Hgic8NaFt94Rrynv5hA3nmbT
KMwi47I4K3mQjQu/1ixrjmO2pgfRd5q3LcWOlEXetiq3hwlgsMvqf/EgPeKCS589E/uN4VH2vmlU
ht9N9sGfRgvE54OTmxe7+54ZkeV+LbzrWv5xf3RVNiXjrbhFanT8Yl13wE/1NYv2265rhdupTvrE
RkLYvt+fSrUQkveOTW0UGweyi8/Fp2JtnydHZyPV9pEc1tkgGmQyBGWwcMzjGE3dU0GJZgEULT30
PxpvGdizuqJcwCLEn+oDS8iJHt3zo11VVKYpKnjVeBPplivahkT23GkbEG/vHTB8/753KBS5SLZh
4O1lO654B9mO+yNpftgvevaLjytXiK7y+P4CK/YSkdFWdVe3KROYzgnzT0EW7l1o4up+ZT1elt2j
eZ5DrqnR3N5MRGYuMlvOO5gNjlcG0Vqlb1ufa56mVENL6XM1T9Vm0XZB1+bU5JDMIdk/LYCijw0v
Qyo6sY2BWeI6vFXHlMS27klB8dmyepNrZyW1baAPpyHJGBhRjvdX9bZvEV/yrRq5Mt1WnFjc305m
HiQ995CV6NDVii3qSweiqMFrs1bTcu3mU4FnOo49IkAQ8FDbgwvK/N9doO9JhuhvtokjvhTsddLB
oPf//59EDePu6fOHsDxXfmHO9TIkuekdKHk2bRK6pQAfRnayShdiykZYpFTjWjcXF7Pt58+H2Wqw
uPQ7sVPSTGnUFcMXq2ff7q+vamhpu5vO7Eytw/rE6tMIDbjH3E8P94e+uXXw1fvfP3w1+OgWM5+C
PhkWClJGNhd/8qztwxJA6S/3p7h5AGOK/Vd9mIL11OOTn2IZpm+OZ37y3epQA2ntel3iBbMm6b9d
TcI00tnl+GwRFvQmk9kJ92JSG9WR8d0O28SEXKaubUz1YyRXGwxjc51JDMkyTaeGosXzlCartVdZ
K82SqFZbcrdZ2IIbzBqSiU4Rs/gbbYZHrnSwkZR/cn82ReZ4bVJZWegMaK7VUSTdNr/zH6I92rV9
uRoYelwP7NQc08MUDgD7fP+/pUrdu9S/d8T/ODXmkZx6rTaISvo+lvnSPUHN7GQVEfnsvoKS/WBF
NExfoEd2HuLq2XwEPokZZccuysDwO8zoOmY0NUNc6/ozb79iYGjJse2eiaVYMHSWDIn1VMQs3hvC
ly9G/BAzJKaQHHwp+JjbFqbIg09ifDVzzZlzM7hiXMmrh8onxiowrn1KzyM6KawTOQwnHaRXaRrJ
nRs8yhJjwn7Knng8Jf3J+ey/mDEEy2M/uh+YbjoafoLky203uugDZ20yjOdi/EQKzYa5nY1iYMmD
K1ZT26/sIQkaG3ol9nWq0jMuw+BrN8LBcOK9ZbBs//EcHdHXvvtveYXk2BMoIgdgQIekK3kUzNeG
WUffpGEOnF1g/JMPutKBYtllLHGGDvEmbZC/uGZ1HQNw6+bW57y2wMpdRKn53tZ4Q6Q6XQTVLpAB
xl1V0RFlwTbhyI2tuD2tS1g+LbF1WM+dri9N9ZskB6cVsdlkYLn6ZTr523SoUTOdA0CSCtzPt79L
cIKY2iYnxa6TgcdDWlQ9iNfbhHrx5h1nLVmL6mdInt55dpMuVQql6Dcv3GIOgOghOORR+7TGNbJ7
C/CM5lSg+p7GOq0l1VaXU2Wbdy5vK2NIfOqHZfe/1Xnz8ylMJzOcjPFpEV+ofS7S9I/7LqvY53IG
PTXWKuyNDUk1ZAfDeC7IN2hTxev26qavO93F/WlunvKA2UqRgfh1YM92MSSCDmB1NJ6gQxl3vn9a
zC9ruuha/5XbWwoUUzdMS5YHbbJeIC2KhjQo7+3bmxyyy7A8+GOk2GD4NShBfGzvLG1CY+Ch2Lao
LMYYr0u4idiP5BZOIMOVxTQ1JCgDvDqg3SzDweCZeXJ/ORQuI8OTWTuNORux6uXonvjaffJTW3OM
qYaWfN+eJm/2bexfi7Q/ResD5Cg0X63wRxmI3LXZOONdY0xscCK5za+2X587rzwQ+oM2bwEd49rU
8dD/q7Fw4wCQYckgg6uKoXTg/GNar6AX5JbjH5yxHIOveWM4nh+m2dgWnx3Siept7Vtj+CPlblV/
R5W/ad/EyioGWtEgt3MWjV6bk5cN+Df6hYtxTHGMWMy27BDAAmPLkTj6LkWNqMggIFk4jKafzcIg
TWxltLMfIv3BntpX7cPVwWFeM7k9m5JmTMFB1Udrq0tY96h4y2BSfuHkAcfrjDslGyDRDtgfDQth
0tDdq1T7SooglSAuaRd8OeUIxlAJWQKd0qtqaClodFVNNrIYUxIsQZxmQ1JPOkyuamgpVGR+Pblp
6UxJu+aHju2PqfSxZEsGQxMKajRiePhqNwsLGzIJLIjvhwfFUsp4aKQbs2HaWMqVLdDbruPW7k7o
vj0/NrwUIujYNX7V7Tslza7bWB2hXvbc57rCqMLmMgza4eNCC9bOyZotp8peTsTSPWDv14gbe1wG
P49jbaV1TWYIAi/vYGgJiV08zbz+Vg+ZBsWtsv3+qz546LL1KdkMfL3JIMtHx8RJcZLNlSaGqoaX
vJQQsThbtc0Jq9CFuJbD8ypEvLStrk1LZX3JT12keem42VhcasQoQyWb9r1ckUTIEOhiZuAEda0p
KfMsWik/ZrMHNiv3mHUelEx1xEQqE0k+yyaHityGUNOwbjH4reMBkHo0Y2j8VrGHZBh0Dc58L3Ny
njhD/2x2TVyTMoGmUlT5Ohy6Yg1kHVbCxtHt0pInpC1iUcynBnLED/muDIEuydosHsl44kPXmxvb
353FI2pWb/eHV335brQPu3/NO9NFdwRPgrqItoA9Oa4OEadYVhn+nHnCGVkZzInI/cQu0SrlrG8j
qTRBTbE5ZZ7KOW+p7ZTYNUYLsspuqcgxDbw/0dfXxpnDWcQ6plMHVVlJcuJ+KGvLsQqEIcP7wzGb
NWrQRqXJblV2khwYO9In1jbPSVrUp9Uwr125RMzU8eaotr902FbLZo/Zti/D2EOsNhsvtDO3sHLd
8xboNKhUk0gunKZ0IVOQzQmSnU/CRo0jb15FA2JNpgMcKcwkw6GXxV9ZTqo5QY74RIQf1UH/umqf
CBRLLAOhLbAdNyWhWAW0XCI5XL24LCody5hqdOkEbjbIOfqrgRAHGHFeOz/aodHdjlSGkVx4sCxr
46C+Q+918+JxenV9enHt6fV+hFANv//9Q4QYbGF3Htuj82wfTBDetIY4uN2DWawMg7bWIEefAeeJ
2dTOYWmGDRD0qngy+aaDu6iML3kv5K0st6YuPMADuN2AdNNUFr8es47kvGDpX2rmwTqNDSoW34dM
OY5Koz48NrzkvEHu23WzwnmJVRzpVryV0DhhpNPU+VRrK7ktNCnFEHhsTkCHearm/LnFs9tspd8f
+noZE70QWmc9gNFJ51Y+WhbcqSyLGkS7IPZ0w3lFaqcTGFP8EhkjbRvZ3om3clyGjMQw6aV2xiNe
iTXroIhvMkZ6sJo8cHrBExu6ITb0vjdrfB2G79zOjvdtpaqkyEhpdyaFL8ptSgQKoHwjT4yJzzXz
/5g2I1zMAtYrjgTKzg6IG0c8TNyfV+Ec1m7QD+7t9J4YPNC9JGu9PaNb4zMB0c79oRWlLhkdPQK0
Ui2jwNBrGjfL6wpGq4nkUUZEVNpeyKEdc38m1epLHj5OILdEn/yUWLnzffCC55k0ieHqaoSq1Zec
3OxKkzkz8mCzyF5HXr9s8xpRBwpkDte1+qvWQfJ0PMltzWqs+xWwvVqiu6ZcxI9ZR/JyXFvrim4I
sf5YH2wwo3iL9ZympQaepPhyGSrNHVZBWQQ7KDCzJ2gwPWeLq4lPqqH3nfVhc04Zyja5hx3UusuB
tNux6EqNUVRDSydyN82ZWY4QWQGP7qeWzUHs5UJXyVZsGFm9dW7rscqGfEEFkZ1I6RYxGfkFSljv
tRO8319VRf5LJce1IM3R+MXIk6Wq/wAZyJ9u9RlyHOhzM54bqvNhhWfJkGmxZSTdxIL7AV1f3cxM
tqE9OXw+3P8RquElx7VbKC47wuJw1vQ8bOLAzPkUaC9PigKmrOeKlM5r6g77p8wJRLyfg+zHXKMP
agxCMxCHsXtpAh3nv+qnSA7cBN7o4KzmSTZnh77In2r7V1ltmtuOanTJh02/KI1itXlSNGCRT3lo
ttlTMOrwi4rNJCOlWb6Vc2lgM4kFzP48uNKMn7sgOE/28KYr5ih+gwya9kVqLg5DHGqXFERHy7FI
6/fZom/399Jtng4nkNkqMxfn2LIHos0uwoAv36zButilcx2zPJoMqwiLtryS2Ts3i3EyAgN5viCv
Zd9c16049lNSMB3DnCK8yBDraa2t3gbVfBII8dzuonS2jjBPNfRu3g9BMRcEPJEjcpG+94czCBi/
VWatQ+Cq1mif9MPg82CZHMR/8PeBHgDxvZQGfdu49ef9NVIExn+b7T8Mz+loEK/wkO17LDLQqyxw
NoEZab3aFRSo70+iyDv+BXh8mASM/cSaNxPJGs+jbRQHm40DUqflMBjLAWJhz4EDFNj9yVQGk9ye
O21arT429VI489feqAQELBD5CzbpqkuqKSTfn9q+D3zPQGTx+zfGxq+syc7QDYzv/wLFfvoPeG2r
oBi9DKiPIdaHc75up7zNusfsI0PYSFt6kMfMRNK31bPI7MNUMNBK697sFLaRMWvL4PGgMDC80dEj
6M2vAQ2SptElIKrh9338YSvRzft/vpamR5N8CfKIja+PmX2f8sPQ+djYojZ6kZR0DklR/j0PELq4
P7bqs2UvrvKG5hPOIhvAVXM1T6wcIyN4iBrACWSgGutIRUQ+ioR32bltgj/MmekucqrdKOXaRmuJ
0qI46MhIya85Rz4wbX6rkYlWGUbyVp9UprcWyDfwwodO8SEKxBaa5XZ8zO6Sp7bEywLulEsCPaSf
1BnNS2fP7xbPyUNpgC9jrbeOp07azSIJKnQGZXzYzmvBJ1yp0d59/zcoABG+jE/L/amgRdkJJDJL
CEWtCM+neFXtI5/+XTjASPR9uHAvsSByfn/K22vuy/i0pqx9Aw+ZInHyYApx1UbilHma33N7yX0Z
ocYNm4y5OYikyg3cPZsViiJpiddSz7M03387zfRlhJrtcm7nrol0v2lOfmCHeIIJojqzTpO7RXNl
X1dvNGNjI4PmR90+RzHk78Fjymq4XWcsiQ8Vpi0QcYqXvaaK/eKRFiLHl4kuKSnbpjEwQcf6Liwg
dRYKFwRT9xdctSaSkzegWjd5Woik9dY1BA9LF+az3R0LPF9rnvUU9RRfhrAtO2lkCbXIpFqHc0Om
iNt/FWQ7BBMqUK4PffKnln5bR0wt/rn/s1SrIrn/aAqc0r6Ykz7dRvvHWhgMz8TC99ztkzNPJLiu
i0fHb/dnU3iNDFepZ/SpNbRZExDu/ySL30WLt+gQ84otLQNWjL6w6gI9R1CqGmKavnvzEtGxisuc
HufqW45Ovgn7+/4vUYUcmWGv57YIqjQwEwsd1h4D9jUfzlk5hpvTRXgoDilLD5bbxwINH/fnVKyV
jG2pV5jOrClP3Kqh9HXtc5/9yoMer5vlXHedFxZGxazxcH861WJJF92uX7vFMwcrKXlqjOd1cur6
4oll1iTWivFlVGOebqYJoTwcyawIDbOJDaKLbv+HsytpkhRnlr8IM0AIwRXIhczq6q7svS+yXmYQ
iH2HX/95zrxnVqNKJWZ55SChJRRShLuHrmklCONJFHUY5maJpWliKQCfHJfQ8oXYSoDdVgCnnnd9
lb66CpV0ppmNh1Kctccpn8LM86J08nc2NDoG8WWgTWRgXWYgGEt56pY/XJhfHV7vhXGs6yaqxnlj
mTTbXoU2irxIOpLYc+wYUwA9yZNw0jArwIqVXw2RBlUlQzE/VL0c474ej6/GPZd272WUzPHipWCi
iyQJy3XOA0A1N0UYrkfqWwSFp8IbDZRPBfuzX2KvYM/T7ERN5Ye1dFEtog9Y4hxtWT11/i+5TkE2
oXiEvQVO1i6rsueHUlg5y2ecId2vXL5HWqcNkvYCmlvgUxKYY3bMynZXArokfRrV6xCY7H3Cflnp
R4NDRIznzkaMUreuisNJwdsFBAYzDaBskGVl0Mg6ygsZ+n4SdWMdiNEL2gcj3+CZ/3dhc1rbAJXW
S9xZbFdaXxlFAILTwHTkE3QTAixTdP9c0Q1McTn1ZIyL5XRL3IgCLKEfxBUHq5tQ4dN8GewlSM1f
U7GldHvdlzf2kqqUmRYW6Rl447EhveMEzhNyEsuTafGNS8fthzt07P87bZJ2MwqIJnbMIPdW+kvQ
giM6DGVouDVKjxw88uClkCnT5mKFpEFTEoMJf+gq88Ut6SeL078fWhUVKlZbJJV8FXYMUOM72/5u
0Z/FMO2AwQpqC2SeKw6w2QoP6Lynih4bZ+rXbEztOF3MSJAk6JqfiSd2vPUD25yDPo8lyQPEQDd8
p8YjqLqacyHTYTZyYMrthaAWrm1GVe5/vz93mk3wBk2WUSfPJseKqxXFp9LvXusFdkODxZOBqC9g
NW6c9VfvcmM3q9iyOUuLEtc0C3Sr6rmZP6Po2s5w5cucfANfbeNpoJuq6/dXR3zhGLa0O48Ah21E
Ke0OC2su9ydKQyTyVF3NBGUAywZUz5hbqTFmMfVwzCEyXNisfZeNyDt8J37uohRy3lHgmoMm6yYk
Ey1qZRB7rirHGUTgNQyCQmBnz2UZrvPKvd/uWHbjsznT1nERLJe2h/tfUsoXSivhbkz/bYFN6qmI
C/yl4VqQiIhpMEZr1IVZhBKtOyfwDxVg/s0jVFh0o1wu6r5AiJGhG5RkdMizUW24FM32URXooAct
PatzsjjphjDlftDBg47ylAuoc3sblnab7Yy/V64Iq2nBjeQ4SaZw2PWxdZSfs1/5OQ+uDJLyME9h
t/Fg0uxUFYgx22DGEJtkcVo4YeM1e5SR2m/sVI3jUIXobJN5yYj3REzfMz8oP/nvu5/XOi9GiDJw
DriUAQ/so7eRNdQw+Ty1wOfY2868mNKOvXfJM91bxyLEwr/DKbVP95tE9Os15sb5oYrUiQ76qkOZ
Y1Af2zRo4+7AI/sD/SGeIQezNyL/0/3Z07xU1GKf2dLJdnXQj1f+5XQnUn9tazD4P9xvXbfDVJCG
kfJc4Cj8v2FcBTl5RJ7Jj+pp3fUhImSb2gyagagYDSbq0im6WsZXqXm/jJvhyJuXxdtiYevaVywd
tSKZsSZofx2bwIF8cUK+LN5L6T5m8SpCo+J2miVpI2NvWAOAAS0Se+Y+MYBqmDacn24IirlPts0h
fIguWHoZxpcS1apls+PuRvMaG1cRGZ7RIfWJWE5MO7yluYNy3luJYt2fK5d9ZvoVWWw0LepPhRma
+Rza/LOEzP/9fXrz14mnogzy0V7LxvHJZexOuf2TyEfcA9pVXrcdreaUQhjmwhYk58tnN9+iKt+O
QKFpZT+WsjWdtUqdC67iuyvRlz1nbUAP9pXNvVWn6+a8o5Pr91cXjM5CCC3hND2bcznRPMrLbmpf
IF495CIo2oV7BzosvtgitNw8ytHfdX1e9eeltuNbDSeXHrCuAcwZE1iejej87bMIjSubqGCZbLIS
M7ZmF4LC20P1OxsCl/gBqDtRSVF0BwpVMqlR//EC3kGYeFlsD3xjj912HOjf/u/g1pJ4JLP74dtV
hMWFg0o+G1/owd0XH3PUV9noRjeFyjNnrPNhIlnuXOR6tJpDnsVjtb9vJbqmlXeNlXpdjgATuSws
g4TDNzL/8NMNT6HZaSpGoBqXGXpPWJxhjZf0Szq5YVcGC1S57/+7xsJVeIA/8rZkZoX2GQFFfUrX
TzVg1x8fa10xxmEc6r7xybX1JhgoitnJIX6sacUEXceX6dyw/lvbG5Ezubti2CJ36OZc8Qe9yyki
h4tzcRG2PhGn8iIBzOkZcDQWSAfR0vtDuPnoIt4/BvnKqksjzbskxxDG2d1Z9CK8F9r2KLB6tqB8
sykJqhuOYt8W9yt7MVlyNm25h9La3m4mpJzbKpiScqvcpa4TxYhF2/icJB0OCLkfyB6o8WBkZ4xw
Y650NqasSdUbM+8tHBJD9cFJjrb4XBuX+8ugafofT/JqGTqbW6Ip3eS8ZsvTJJ2XKjFQnXJ65IqP
VVZOh6JDzoWj1MNlqc41PW8StzW/rSIIhtLhqfS4c2nJ74xEBaI3frbhn3VtK/7Z4Q635tLHP9vd
y7SwNJD2L+m6jx06Kn7AMom1LA5mvFzXHM9/VNNkbfNQPph4qnKbT6hVrE4pznaGi1bnpkhGuV5g
dlu1iTR7XRW/sStAjLKxzM5GPZRHGPF8wA2bXVBw+GdjPgYSxjgUp5+DGj16JOUnoN2/ODko6zY/
3t/ymlNfxRKkSQ2XMiFUSpo1ars2ovQhmAL+WjkI2oV5HUc8DFoS01X4GfHlqakfYhWgdcWLp5aT
pOTqUOq0hM6ZaJNnPhbycH9abgf10Lxiq6bI59XrpX+y+5+NtIMlPTWJF8llDDtiB/n806+fnKnf
OBpubySmAguGwZ1NiQvkpTMSKHs4bRatrZWtQUmQwk6QR91yNZprMVPxBZPVWJbDKv9kFPxQDU8I
+0YuF4HhozR2BX1w5AcS95ghYCXtNLw/n7e3GXsDMVh4Vy75Qi+t0QezWYVl3j/kD5gKMChQCHoQ
vOAnOaMSxNQHi2M8Mech0WLCVHABEEiLx7yKn8TED/0ynToTtWi8h0Ra0bxi2jRH8R/gEhao63iB
IdcDN7fcze2jm6kYgmxdyNx2wjgRkx7LNX2/groItt6D866Yt8P6NrNkaZwygLRCSXkfGEV6zNiW
ML7u/xUL95phmuYpFedB+AfJl5DM5HlBKZH7W1JncoqFT8IX/bQO8uwk2PEyWU+rm+5y1yuCZd0K
1Ws6UfPChGROO10nKTXsT9MEMTHqR6shj+64JUCtmSZV4WZKbZKCs26crL6Pa9JHE3U/rMNWiXFd
88rFHaWvHMv0+TU5PIZW2u2t2to5qXjo8s7UjG/Hl6mtPUYvgzfsirx6XzdbhXs1Z46a3nVqa0lx
a6GX3PwiWHemrH25v3V0LStG60+Fbya8lme+VFX/NOUN856H0Z2X3f0OdJOuXNQR4KrqBIJ0p95h
464b5y+lBflpL6m/3e9A49+YKlAjnTk15mH2T6wozwbNgtLJkRSDYANAqLUHMjL0DUeRBfb8636X
ujEp5jxUss+zpDJOGNzBMbyjzI2jZbKNi+p1P74JBxOmFtJcK2I4BsQnznmxxu4c2fZ8dDEWhphP
OT9UvJEwFfSTdWQqm8R1LmPuBU56YN1WVEKzp1TEj92zifnNSC/FtQqiA6pwsgX30jWtmDCn1sjg
8sWZ4kwNqGnRXc+nLX04zRGnInkcP5sILxvjlHvlp3JOXuyKhGbV7V2re+yQULVpfIg7g7Ow8pPf
OTWkJbkPGXA7770NV+Df3juqSsxSZYI6NapvLBWwT/3RKdfAqIzQwf7h04S85xDM84bp6eZLsW3m
eaZBQDU8LzbUwYy1P83FuJM+R4n36XLf1nQrrvjmoaXDajh46CPJ14dTVlWoI+5s3bh0rSuWPJdN
VbcO3oTS7/dlse5RX3njnqg5JFRggHCrvLE5nrK5kZ39ubkUow9FFnOjec0hoQIDMgRqVyRXjRPA
RJ89A+FmUJFQtjwoOApbsw33oFlhFRCQ19wrYQjwyLw/OyAlF32+a5w2cMdi47TThEqZigEY+s4Q
3YKJsl/I76t+ohe7T87vaw03+IkNN6Tt5TrCVwERIrOe1SCdX/qIH4pdssv6IPs1htfspxGnW+JT
mg2lQgEAN3eM8brqFYLmYBwGYqsEqcay1dKaE6IiKLXgJWcAJgJCjXAdnx2EokxXBgwl1yQY0CmI
SPfNTrN7VURA1UJaYLFw43a75ji2/S7FlUxWW1yOa8zlhotzFatOk6VEqWusxuR/qC1oIAHZhXqP
8qOT7nOr2RiEbvcq1p1wvyh63+envKtOK6w7Z9POKYuwys0NoJFuvZWrNyjPEC2vRH5eoRSMNSmz
tAqBmtgCH2vWQZWcoX1NyrFAHLWa3Crq2soP2q4WkSmcLdSPZgiq5EzDMwjwAAN8oeU67Qp7Lo/Q
+yse8xGq6kwvoYObTrk8A7POg9XtQ5oIwPO9KhjTLXVr3RAU46YF8qlZDUpeskAJM8/br7hxPlRF
CKrJ16V5dXIM7YLiF2nvXgopjc+ei5tyYADUPEb3TU3389fvr9oXU+Y1humJc++JeDLKffFQuTf8
ueKfvcnsKbFq4PmZf1oW8bFGYKTzHot4MrX85sxRqLVIM3op8fjc+20rnv253oJya4xXrbppG6so
M2d2L6gpuWOLPHHi/zUZEwrlbOHebwOHMEGK9TZrLrOxwgicw7+Squm7lgVNNO5KiKr6dbD+ub/G
GjNWJWdGZ+AryRnSkfafPgcErfyeZw9xtAhT4U9paXmpY0p6MZssMA0kKdJ3pty4Aej+XLlxQ4iw
tNA+vaAyI5UiSMewFL8fmxXFbEk7Tn29YudXKDUVdktZBW7R8pAWqKp1vwuNcamop4SONZioXJ5X
SD2G1dJFGcj6G43r5kaxXKtv1jUpPOcCQugEPgHu2p7Yirfo/lwxXoOJpfN87E3qiKCldsjIFg5f
431VVFPhDyuXU4ZHQvmld/4yQVHI5z9VMx9cvw3NTWysbgiK/10tQFNrp8fZbxPjfTomjAVLj07v
r61u+hXrXeosWciK/H2TTt0BQkJWMC+pcVosbwt0qelChTThWpqxrCvSsz/RSHbTrhloZCb28f4I
NJf4NzgmvPR9nnbyTFpjCBy8wEnVnMxyeEY5+AN0VKL7/eiGoRhxVrWm3QAOe2H5vp+eGMin/f5+
05o1VqFMa0ZSqJghjJCaI+Km61ANHZT6xbhF49TN0XVMr9xjyWSXVh1ON0lMpHTEoVjITyb6HRJg
obS3Eqa6cVy/v+oG8RVZdjPGUdqQ6wLR+8GpV8zYtSZqyWbKz16bHh1avvOkseu7rVeBxpTVwpse
4hVXSX7nUiAcRZr+fNUNzHMZF8Bdjq4fs6b8fn+ldQuhWHPerl7teCOizM7yq6cu0L/TPs/zT2De
HfN1C3iiWwjFqnPusDwlQ36uBqMIy342w85GXv/+IDSWoIK/CprNpDfhiKGjfGqZ+FSubdg6qDx8
v33NrUUFgfEJuU2eXZfbWiCgIndeKfaQTAVpw9s4NDQTpILB1qyu6Vgt8txn6Xyc/XWIJp9vLLJu
fhSXTIeOzfz6ZJL++G5x0i4wSz/qrGHjzNa8YlWtmSw1DGeVaXLO1hbCzOPOS5NozDpU0SmClP3w
LNB2hy1alG6qrt9fGXVppoAejw22rJ+EcqzDBnXP7y+0bqIUu4YwdA8iHh5mkPqLWh8kiaql0IIW
3mOXIxVB5k8NQPklLu+Ut18hW44AMxDb41b8SBc2V2ty9hC1tiCCjZVAyHw2/aCqi8CySVBkSURK
HggL1URIE+D6F96fM91yKKbdcWL1Qtj00rNDIaM+i++3qzmZVDyZWKyukaVMzvXa7prA8/mXeUGl
e6s4pIu/8fOaBVdBZa3l2HNtY8Gn7KtcUCO1DUZ+eWwAin+eydRI10MCry1QR9OX7hxy6NABdryk
0AAcIf4ilzJ6rDPFxM3OMtalseQZ2ME4E2lcoEZF03xzqulTkmzlJDVrbV2n8ZXpySVN5qWQ7oVx
Ga0QoG4n+uBKKFadit4uiFm6FwPL3dpVKE3Ay2dzw7J1f07+++cuw90LJFh6wZsz5cd+2Jh3Xbv2
f9sVpEEWhuAuSQozMJw6GGFw95dU17TimpfCcVnJKszIEM7+ud6q3qJrVzFYD2E6alb4ZbtOoJlf
h3m1VbRU4whUpBeCQCj3XFXpWYo+ylYZoou9WXwR8AWGM34bwLJwt/D8mnGo0jFtxidrFnV6dur8
uUF0vEaJ2vtTrzl7VNhXTnjC8qFMz9T8MnT/cNiC1FojBtqZt+GUdb+vWGxf4TBYp8S92O7Z6P9U
9s/7/65rV7FRNyVezbxJntPE/0gss4+SVWw9nXSNX7+/OgDcfjCrCjCKs207Qdp7wZp8vf/bmpNY
BXoxHywTaZt4VqbV/JdRijksKte+oHrk5/s96P5dMVXQw70ipbCnBoJ7RYYsZjdF95vW/bxiqjS1
yskrsZZdlYc88Y9z4oR26m+gr3TNKxZb5KNhpNe4fUHzi2OwNvD5uF+X7tcjv++q6K7cNkRtzY17
wSAieU2yJ0bgr+ZDd1tXRXTRwZlEWWDTTEP/uyCIfIx0C0Rxe2pcFbg1Qm27Tjos6uoeETwfwAXg
m3jk2zvGVaFbwNiNrmUI90KkvQeeaF/Kx3gSrgrbGgqzJgk4DOceStieYQBO578v04eEgYmrwrZm
3sxeNuFZVw3yp6hI1E71V1DON/b77fPRVaFbCWuq3plSmFK7H64FX+pn03kyjTmEUPlGHzcnnwJi
89+jxuhqr28g2xVX4EoHyziKsC3FQ6gAtH7t9dVB5viDZQDTPsetSO0zM7Piacyt8ehnDorTLS75
fN+0bnpEipIx/+0nm8q+ruaWxnbjRQhuBV72ZxzTAOo2YQ5iY2r+SeRWakwzZW8KMqR5z1nXUXBZ
cQtBfsaMkNLYysfohqKcQhWzDSbnhsbFUATQmQtLE2V/UASdfpNegZ72o2Abt8GrE3yTSqSemiFr
0zxxyOw5sUB2dH1KlqE1v/tjx/j7Mqsz0QWSGVYf31+km4cIervGYV5thkkAhI1ifE5M6+4AvlBo
mN1u9bdqNGiWRc2WSdfKKJRDaLzK/K+peica59v9H7/+4K1pUu4Qbk+nlSP/Hee2CNh6luOxyS+V
f2Du3hm/3O/kdpYd06NYYgc6gzf7i3WtVLhv43Iv3/Wnab9EfSh2W7l83RooBll4XTvIpbYgXWYC
IvtszT/EvHHVuk0cwwiU2z9JO9N1nML6l4v7L4nVBBcXmMp/SKzJfouNezv7hK4Ug1/4mlwRHFYM
2lYsX/j363A+XEli4kSmAIRHZ4vHfP37W6uv3DraxcxREhZd1dG6XyO5Azj6WlP7ypDfJ/tqw33f
RmRjSIrhp+lQV+uKfv6/RiEERPIzPZS7+iC2hP41p4uaTEMZT7NqJfjl1VIGdP5arJ9aOw8YRPjI
6EZue5jSLfS8xiDV+KqTlBUua14aS2eJrMU/QIc+2jAWzaIQZVEmnvI2sVo7XsIlvMoWyBcDogUI
rIb1qd6ULdBtaaIsSs1LvwFd98rLHv72Tv+yy7vfMrb3V1r29o7WnDFqcDXhyIV1fpLFDKEE0zoi
6fmBFH9mxwnGadr3/ZYuq2YHqFFWViUoU8RFFnuQYBucK3Lkfda5QVN8n+s0cLzTmvy5v0o37y/0
DfUWRfHSgjVExGbSxUOJYKXT77OhD6z8T8+26hzrDEcl31pjQpAowNRBt+7Aeivwps8SCgcQ4gjc
BAsl2kCQb93yuzE2PIJuX6ixWGhhTmTpcY7mKCsLjV4c1m4dsN0QXYtkGt/LcNlKw+rOOpXsO6A0
xMRq9GXWofWtjp2wjIBq/WPUofwkjuZxS2dVcx1Qib+LUVsDv3ZkTGVY2qEjiyAjn5x0o7Sjxvmo
Ydm8xxXXb9G+bTw13k50TyY93N9quqaV82A1bZG5VgrzGQUyH41ABWdvtKO5QWL8fhc6pRdbOQsK
VEygTdJd3ds78vvfw4A82x+/koNx+Fek4Q+L+MbdTGM8amDWHMGlWBpko8y0iBPgZlYBNUuAakf7
WzVtiClojmg1MMtrAV5c19txY3xY/HdlsvHzmp2kioC3kKtLx6JKUU+Gfcn4j7qv36VV/3fZDxvQ
R92fK3cyORfgscpBxPZiR9yRZ2jjbOyl2+F96qnxV1oSwWjuwHGNyWlJgBxnhxYVDKtp3E+r9Vwg
7+8WQVKWj0Qe0OF1kK9uxhmxxtbOGCBMaXuoHHYWovgxEbJxtdTN1dWJvmpettxMPG9KYsarI4Au
X4txfXAZlHuYUSdOPZV+EhPOhxCBQmNX03brAayx6n9O/Fc/PqYsTeuWJzHv08jup91aWIeu3WK1
6uZFMWiO9+jMqtlGbbTuvfTLp4q/bJwVmqbVEK2kIqmLBoHMf2RpUHh0zyPzQ/XtqudCQxlt67no
erpeKF7NEYcAqdfNcwJp72lfzVaYkg/3B6Fr+XoyvWpZTCZZ6+u2yWYaGT3dGbzcOB90Plvl5BJr
WJuuhh6USAwTxQ7ysRMf+6EfqmPR5jl76etcdjvPryzn0A957RyyQdQ+spG1Mx1rVhhs41mq868q
fbeASFGe9J4Vr+Rvu8iDtW93xP5p0iXwim5neDl0EP6uOJgwudyblAFkNW9MhOagVDm9NHXqenZX
AVmh5rjYBiK9zidhGIeVLA92oVh/McvJqnGkxayeD50/PhmsOcxOsxu6fuONpLlTqhxfwNzYYM9Q
uOuhHG3wgBhnZ07CjH9oySeBOvVZszEYjVdU+b4ocUqmxWjyuEx/rC7UcNMBOIdiNxRPU7qloqPb
+Mq5UA7TmJZJl8dTk79LJjoH1oLb3X2r0niXNyRfc+gllKk7fsyEOLaZA/ibDBPDPrRtc8yrj0M9
gYKV72e/2d/v8vYx+obrSxwn5660krhMijCZ8PDLvL2ftBtromteOSfKrmhkWntGbJnrCqXWjlTV
sgZznkHbPeoWkhjf7w/k9sK8Ifm21GqpW9tJLPry3Err6PtbVqIbxPX7q8OOTXRcqhVzlJYyGiZz
R/vfjv0QTZ2+4fe2rmvnppEnsbd2oSmhsNcWG7N/+wR5w+8d/Hxk5lQkccs+p/2+KBE1TL0gfSwB
iH9XXPzE57aWTpPEiUfDGpqMg+1s/Ptta2aqOriNtO4qr9NSg4FofrDGZ9F/GBMRdsmWuem2jGLL
xDKGph7LJEZhN2ACrMDZwiVrWlZJvb5jmCvnVRJPMwsLiCTjDboxL7qmFZ8uJGSk1oGL2MClKrXd
EGCAjaY1+1xVeUaZnTzhlmEc6ZztRcIOtM1Dc36soNcbIq8tJUMhhySNUX4FxDmISkLo5yHjV4m8
klPiZHWCjT6KaE1F1NRbAo8aG1LlmZOFDfkEtGSM+gGBdL8a5svSfnK2opW65ST/PVvMitUojJji
bHGgsb9kHirF+7J96PHwhsMrQCuzZ4558QxyhLcKK2eO3HKLzaT7eeVl7ZUwnLVZZQx6ZFCUddBz
I3psRRXbLMs2aSyjTYGkKZ+7an7XLVvEkNs3kjcM3TGpfdCM8zbOqj6eVqj9LnbIlyFyGzOsUtQD
SLOP/WNsKcpU2u6Q5EXWztw4chehSGvZGaQpg3zloSsb8ZgBqPr8nhCJLZmsQO+fgwbIsiV5SKQF
/381jFfebxxlmQjbMo6L1UDVVE6/ZrA6H1tmNcVIO2qylmGDiqo7VKZ5NK1p4zTTbE41v2hkVi6r
TiTxYJdR07Cd9LYqHeuaVoyWrG4G6klexVDt3Qs7D31hbfz17VgvUxW8rdzv59q9BuGLTPprWOH8
Hd9NI6TQAZS3SvfcdJUzfoUGs2QfmwqCkY9VFmMqs3ZMEq9xU4wKpYoP4MoHmWsHfVlvvKU0B6nK
rGVNYxSNhebzMcyMQz0CmOrvN7F+ujVRziJo/Y4+F7gvcK8/+IXlgtRspLv7p5Hu3xWnOwxGl4Mv
WMUoPOBOR+n9TPqw840N69U1r9ySG5QJnOoazftGEeT06NZPi/OHb2nra6ZGFewGMR4F0BLMfOOi
dsHo5l3ATeexe7fKzJVCpq64njwZMUIh3uMq++CsXIfz6uAxkkyMRSmqOOHucbLZh6U2A8LmYJ62
nLvmxqPSccGzd/y2r+q4muvTamVBVxsR6hRvGLNu4u3/jqCd+rLIKoxgHpvI58aJDewxz64CDcTE
ysS+/jno73Hej7taTAc6jw/OveJ+JXGGsWL486rKPxH/pU8sqMYUkWtswW80c/MGX+CM3XLNKMRO
SxOQVyG/lj0m4EmZCidIewNSkmtTxwNQYFm7oxQ0IPrn/mGg2TQqmKDIEByp7DaPhzkdSdSVa8Yi
0vtlc65yibvE/W50E6T4XZ6QofWWlMe5vx4km/dFv0VN1oTY3nBvZ2EXCeeCo+BwdpjHE8+MgJni
sKDgcwX0L0/OsjsjuxT1zUN8X6zJdZyvzLk3vMWHUnYd27w9M9d4ztef92dKtyCKO7ZIMVldmfEY
bpiHnivToDaIGfrrFspD14NiyAOetaOf4t+X/OPgf5HWHOTi9/2/162z4rhQYUbMNs3rOJ0h4UaZ
hbKuxqfH2lbMuKz8gpteUcd9ibf/VKVfaZ8/tj9VuIDks2egjCHW03o31S+MbeSdbs41IW8KswK/
XHfrWv3oqt9+HbdrHrT5l/vzcTOogLavfb7ag1PijKTimXsshdN98Ke+D3Gr/Rscaxm5tQkVg/lB
jiNREzdta9ZyHe3qB2tekqtdZfss3Qiq6sah7PjClE3hFk71Yyn+TpwPY/EOlKuEH8gmFODmPRQz
pez4aQJjCFoS6GGcnqyKx9Izo8Qc93btfkU9m2hyt0om3jQAdKUYQN+7Ne18QYE6qMI8ARF0cff3
1/vmUw9NK/vfX7yF98Ac/0g52yFrF5ml8fds2e+AnXw/ggLntsmurujlfnearatmdqiNgmSLPVc/
TFPuISwaDasb8s3Ys6555RaKksKDbViYqGF0IitbQmOwIzBNNiZLsw5vIPdTZa0ZN6sfMv+a5Uvg
Zluc66vLegOTIkTN6BRZP3R5ZoofnXUC4ZcSqPPT56bbsAbdvChW3aCckl2vKY0Tt/rCHBlUPQQY
Z7qRx9T9/XW+Xh0aFneoafM8/WE15cXEPXRK5uNY/yXElj61rgfFnEe/kNPg4shbDIqySrGYZqTy
T1BXub8vdSurGDNZrQJiw2h/rFACk9MdiCCPtazYLso50KafKI1d10KImayhb9rDgxtSsd6iEawH
rT39UUOtzfSHfYEqXff/+/aWsVW8fTMNBWQXsdenPjs164n2y1k+Rva0VbT9vCQGTweXxrU7PA+W
856V9L3jTg9Ni60C7odqJskiaxqTubNf/CtJ3+qWLfGO23vRfoO4n/g6mygj9APaF+Hgh1PtBJb/
sdvCMupmXjFWE6+6XJCBxn2Wi9A0mBnlqIm2a6el2LhB6IagGOxoAR69TlcvP2aI+pRh5zKUfB3q
sJggPnJ/B922KVsF4EMkfe0yyBfEhTkNH4H+pS8TRM8Oj7WuWKybQQSO2tKNTWk0UAZxzbDx2fF+
47e9oq2mVgbIyNuSNuV5MOdwor9EdknrMjB6soMwezCMoVt/vN+VbrUVE56HBKV+TOymwaoCKr7n
qIb7oPK4rWZZHE5diCKPLp7XPqRf5KVwfll0iw9++45lq6qpwqyasUhwfzNZBwGq9FNOaJiNdmAB
29PSbiu7qNlIatZlrFrIsnSde0Q54gbKr2Vy8CgUZ+4vwO17nK2qpybm0GVcsOqH1z9BDjvo+KWv
ZUD83cwvvDA2zlPdIBSrHkpp1Mgl49SoOCJY5pM9sIekwGw1AWMB+DzC/dI4HbLfNWEQ6Vpnsbs/
Pbr/Vjyv0609XExXolwTQXGwdP3TOg8VzSa2KqBa8mWxXCbcuOAJipgb03olenpiC/ypsS1P8b02
cG7umI8gthBCo2bp8qdmnq3diA364Nwr5osrid9xA+5dIoEUNWbPIEWScIds7E6NjaliqSPS/1At
qGgMAYOjn+S7CtDf0begwWCHXldueEyNEagpGBe+oBYoURgDPbRHIWHIB1ZOVHjQok7hGLAidpZv
9KVZFTUTY+Z5RdumdmNWdACBQ651zdL8HYGm4EP3UVtNyLQdqX1IIrsxejnIqQrm1v+aIt9jeCS6
bxa6QVy/v7ryks7xZ/hMGjMmnpLWno4rc6c453z6+34PGsNTszM2aMl4ScI4FuQFAtOS8rga9WOK
CDZTzPp/nH3Zbtw60+0TESA1UrcautUtj7Ez2DdCdpKteZ719P/qHBzAH7fZBPoqQQOmyGIVh+Kq
tTqDs3UeTONU7R3zIDeXPyQGSW/bnMU3GqS24i6zbP5GzN8LLzwO/OdtVhFCejQmq+uHirzl6eJv
1hpulYoTSWZwIZTbZiuhqVq277aRfd8t/bXNmj/Xey3xFvFlx8o70+gW9HrKtDON82NnH7gBmevb
mr9E9QdnnGbbgX7mjm3e7KBoOpDmzPrR9PteVz3ASIwjcqUOAODkkJYyT049jX49T5Z2JGyfllve
vnRNfIExrW5MqEZwI9iYb8/2uxETVP5btpvMOFFct5NklRNfYrpYM3Ku4Tjk1Pl7YrduTApvgdAI
Lmd2/YDUVuM7c5ncgtjHmC62/DAtRjHMZrU05A2lKZ6V4VPQmyKb6u1E5lRCCMd6MwO+nVinQUcB
0tbO6Wm1Le5aU31TVSBGoP3vCFK+4pYAXuq3bch8s439Lb8JJoimhUCu8i2rrQ3ndy3p36e0NwIT
L0H+9YmWeasQymVMJ2JlNXlLwawFCTaHe52xq44VktbFh5kVx62J1ziy7wnIp5fZ7/Lb+DQ08VnG
3PMeahkweGZC5yBtDr1Sy1zW68sJ44M3OnuJHaUesQal+luiVQ6O6iB1vW5wiS+al4vmh8arfdKt
dYSrV7v2FRSrRTjouMiAoCsOrn9BchASCzzbsS7pug3pe+V8X7Ngbc6FPrjd6DXdy/UvXPr63xyc
Jj6/aGwd+rSH0xT95mIx+k75BN+BaGlfvV7/hGwQQsh20KpsLGtM39sq9y3Hc7qI0No3Kq9TiaHI
ZkIIWcjGplanwYP4nvic8BMqvE4oHb4pk6iJ5Kj56sycaz15w7IZmNrom9oMOnzVq6qs90LgmgU3
KmuCk+ZgYDB5+T1dRzfrVFBrSQyILzIzBP8axosuSujSLK6ZjIZ2mOLVXhVeKum/yIjKmdW0oMRp
QKn7uFnumr8oEXySzUsUgV7WliYLdqiIFMORjo9O1eNUOARGCsqNEb8+3eSjoih0UkwmaO9ahEHx
UkE7d7u7aGQ6kF6pi9sOcSI3apUMhl5SHG1T5mihtdMicaFgShU+KglkUQa6XiCgu1NMgk2hPWD9
2OdDPoIQL1ZcL2ReJESxAWZX6KTNsJBJ/Q3aH2k+h9eNL2taiF59Tnib9al9Iikbg4mZ01sF2UTF
8iPzTmHP3Qrdxv0OU8vx9ttlme+wzTd479/WeSF46zTuhmm8rG7mGIC9302a95taFtlQO0AHdJPm
w3vCqadp2bdytBWrvsTiIhNqtuX6GBc42Jp7Ao4+bmlbC5h/MisSBBKb68K2C8i33vHdTFDFZ4Ym
hKLzkUcVuMOuW+ZzoALEzYWdFyzz+q4T3uMJ4EvatO4EgbXllU0QAegX4Md0v2VhTIg7aKr0umQX
0y9D/bDZZ1m3mqjgTd53gLHiJST5M738z3mt0sP1YUlCWFR5bnm/8BZYoJOTbe19zKsF5LdNFtbc
Sdw+M/5c/4xsJEIkx+DrBWdmNrzX3clMjrR7r5f3IQvoeBPsFNMjBPQcd+mQ9jt5Y90byXavJuZt
0SYW8XfTuIxTPbTvfTz7iI07mvS3rUJi3T4QphosgJgoWvvVpnR0qa4r4kESb2Kp/upc1rMU/pq2
s2c0zWmzR0W3JaEmFucbHPwf6w6LQHPvwFPzUCUEYD6iaF7ikyL96TRrKJqJDStkk1m5c/LQFMPX
uu0B+U0rxeYrs44QzfE0L8MCnY03B5X4nUn8RblSyKwjRG0z2mkHiGb7Pm8MlN6NZ9UccnA35nLF
OnutavG2aXTte1OQby0xIqipWorbhczyQphWBd0d3Kbb95jWwOhAt2g45/n9Nv++vgzITCMEaW1P
PMtsnryTqQ6agfqMNE9ptipyG7LmhW1Xg5IJIzRO3uPiuzn9Zt23G4nsNbGqnk6mBmlxNK2xkG4g
8agODNxo180i21vEKnqrysAKBMKvKN0OQAoec9/xEiNYg8bPn/Pj9a9IJlesoid92Vq75ZA3sJK4
pD8aqMKdzICrqvQl1her6ac4G2nazfYJK+YTDjyGW7b9ZVfsbcUIZF8QgtaZRuj7EN0+VcYUzOUC
ZfftubAWxYopM9Dlsx+2WzuZajbHmn0CY2JUmW3I4sUvp/5ALaYYgWTZEZFY01zmQKp103tNmUfj
NphGVezKmhZidwbfWL6mq31KqdXcjxueEwhNRsVRXGZ6IXI3Z0xMZCaryG7G5JhaWh/MUB5xC8fR
boKGaCL4qmnzFkT51AbKdER5eB9ywECvu76s98KBuR3GdVtmx4bW3vrW7lbt2Vqz4x3eVCXwJF8Q
8VZFXjTMjEtEcEu/knTz6Jzf2+ZtUn6aSG+K98ZmAwzXPsV4tTsYTTE/9LWWfL3JPCLcirJ9Rj6e
4zKkgR3a6PYt2Mr8uXMWFT2rJLRE2NXadH2lI/d7mjcrSMo1WAjL3LJn4bhxFUpfEgFihXwGpnyO
5swwzdPGH/umCtNyVgH4ZK1ffv+wOgy7g6eFFWLDljn/uxV0C/Ui7YLrMyBrXAjefZznIWliM1xm
JJZrKIx5vM4V5ylZ42LsWgYIJJKRnDTnZdYfF1UZjaxdYbvt590AOYVOTn3ZnzdzD7VdAZuRRZMQ
r1iJ93EYd3LK4+M+/xqcU83/vW7pzz2RiXCrWEdBbM5hjITd99rXaaBuxb6kqAG93v7nRmEi4oob
CYQx65ngnbp1O6p7eLu8sWn7fz3QsoeRr1lHTlOaetNOg36YFP73ucGZCLVK5qW2+mojYAp/bvrO
1X9SFQmVzCCXT36Im7aL25FAIfY8sMpdOT+CyV2xY1wG/t9EMhOJTfcC5CUb75Iz0e6S+Bs1Nm8Y
QVRQu0iRK4wu+4YQmSDtKocJr3AhGE63E2gCVqTp6OznuZ4fKrAFnaxpVx1wZLYSIpXYW2zpFqZh
NYujETeDq21K/I2scTFcUzZMJLnMcftvV2lBDUbQ6z7/OVmEzhwhXlerSXXotcJI1e+ZnNv6YBfM
nfLaj50mTPsHkpduScybFjQmoq0cUjia0QzDmXTjKTWSYKgU+S9JHPwHaVUAaoWimuS8ZM+6w896
8grSwZvOUEyEV8XmYrZd0iTnyphdwnrPwN2zaG+TI2UivgpKp3PDGsxvqSWDy6YfndX9M3SqTJHE
fcTC9rLoUYzMAA4r8v37bg5vjZ0r3m9lTV9+/7BE5P2QG7WDJaK3/xmX6Vu6q5KOktWeC9HLC7CG
2bNJTjFI5/s0iheIILwp+dxkHRfiFTIC7aLhXHwy1srDMQoCs5liC5Q1LUSroecFUo6NFZKKF262
Oovbpa1iuZc1LsTr2BNUgG8Wdu6GPCfx6OmLpThqS5oWcVQEflINDSJoWJrjzpanpt5vbJr/r5vE
ix2nVQvhTTO2tTMHgbibo8jNv76ISRZ6ES211msLcl64Sq+lXsme4uZrB7rWun7JOsUAJN4owqWM
pl9RZA4KGjohrwWhKOg2Jvflqri/ykwv7LSTA8pnjQNsrBOriKy0wWvhUkB+T7EVyrp/+e6HMO0d
i1VML8Ggo2dIRwdEe9zpfaI69Mm6L8TqbpkAdbVjctby9Jit1TNrB0UwyeZWiFMHrz0piCHQ9FQ8
Gz0yiTmU/dyRZODcZHsbLrTlilVeNgwxcCvSL7oNSr6BJn7eZZ5m/LzuoZLNSayKZ7RCgTPgOigR
jg/Z/qzPqzdWqvyBZHZF6FS8pyCKMafkXO6jBypBe0jcsvmjp4rDmqT3otB0z2MzyUBuf9K71yLL
PL373U+q52yJ0UXUVJOuUEVfc4LDGBbJTTd3Nxnqr9ftLmv8YrEPfj9QrXVsUmETSdjTlDgPdqIq
dJIZ5fL7h6a1iiYrAd3B2dCbB8BGXH1qz3Z1E/EE6hcvI/rQ/JZ3+tbpmR22nL/mFjE93Sluk3Fj
YsU6nZEs4NvKwzXlP9nlymPTdlZEkcwwQsQ2QwlANF5pz5d3AM6Za7eamzd7cNuUCkHakNjQZq20
w6bJ74xatw/pOOuH2xoXdleD51tJJjgjxLCCUttcFH0odhCJWURE1KwP4NngmFCnGwuwulvF49o6
zyC0NPzrnZcsAyIwqq9nbLPAQJ+s1Cxcc4c6QdJEbWM/tOWo2EgkASWWrWf52mm7AQPZ5rfKSA/L
pqonkdlHCNWtxLUYMunkgm68q0bi1o11rJZBYRxZxy+f/RBPa1fGvUkT5CWYhgcvVFTW/Ka3CyaC
ojpqdL3NsMg0CfmxFJ3tanu6uXM3qWjMLsekT27LprC/OhZUzPmOmV2r3CP9Sz88GM1rrh81IxyY
KgknmwEhcKcG2hycYxwadcLYyY755d9MFQCyGRADt2nXMXMwA1qT4ZRGjsVWKWJLckgQme1BGgJF
vqpAZsiqPNPwpvgLc57y5JUOikVN0nkRFVVAiL1yljYGs3R3zJL2zm7N4HrYSswu4qEao6s5iGLJ
aeNLQPfGrUcNb+Cqo5/ENiImqjB4q48jDsd7dpdQzy5/GP0jTe+0/Pl6/2WmEQJ3GiFDXaT4wGXF
0efJ3XNVblWWnRBRUDqqchNL761wtGO3nx/MoXjjFfcYeWJaFFM8haV9AL0pxfImm4vLGD+sElob
lzmHkjz4gOvkzl5MzU1pjC/U5ajwVckqbQixjHuKnuR0iU96vx5jiwS87+8KK/VQwKVwVtknhEDu
6lnbx3hAusiagnQDJfNc/podx52qmwilQUsgBPPEumRiS2GHVYYibwNAC2/P+tVLtl4lzisbhbAX
Y60mWsN3EHK0OETEFi5fhmX2B3DRlVFuZ0QxIZI5F4FTRVM0074M6Tmmp9p+3WsQP/28HhqypoVr
r5FlZrd2sJIF6mQr285Zz0MHFTHXm5dEnoibohY0+tp0Ss/FcEjYYb9Jw0VjoqhVbDoZr7WMnpO9
9dk8vEDTxZ/WWdHtz9/M0b4QZcQx07G34/08mVOwL/2TYXCPJKVvrFgBrfJMtgSFK/UjQOo/qDl9
uW6uTx0KnxUiry42c4DmED3nfQhyiGV8W4wvtO0Va8ens4HmhahrUTu3VO3EzmuTeHuz+qOloj74
1I/QtBBtuqMNrbaVNIrrb/Nv6DKupeJqJ+u0EGSlVeNNbNHmCNULAI3M2dp5draPN70eav/J9+66
mfIky+kZBySft7GbYw9d28ZruArS9Dm9Nr4hRJmd1gPrnX6J2Mvsmz9Sr/NSv/CgZKAdKgjoWMFN
/iMmgTMrg4BKY9MzbQrdBSbL9rR15m46b//qOlfMiGSuxVwwbeu9w52Ang2AIFNne2TOfDZL83Db
IC6f/bDDxeXS9ZbR72G5GHlg8pw9c9KWz6i/Wo5ztaqOHZJg44JjVSYQ4xYbxyguj9xy+/a4PC2q
c8GnZxqNiZlKC4dSSCmOS2Txl6x/qNKgyo9Z/cjSP9etJJkEsdYTNYVOZurTGO36lwwUg3OYM0Wq
T2IYMVmZmJrB1xLLhGXM4bRufmotT8aUeBVXyZ5KglpMVu6bPrOEo/dx/Rt1Va6jSgR9rlACwwve
AxoNfcrXfo7Ml/2gBbNveKmXBMXR9pbD7ulQLFp8ze2Ptn99Iv7Ca/5z9cEXL2P84K85I2Zhd/kS
bc/x83gajpXXR3FouemDcciD5KArdiWZ0YTdYW930LElGNqkP7Pm91aH10fw6d0NAxC3hYQZOTUS
etaWf+whSoHjH+OnBZxRICmaO8VXPhd3w2eELYL0bWYlLew0+oB//xywBGon65F5vTt+1d+uj0UW
FkJQm84Wg4QWY5nKxG2W+wHw6bVWbM+SxsUsZtOwOU27fYlo543Tv3pyMKfn6/2WrBdiArOIl7ga
hmGMyrZ9mbQp0moa2XPhVy316nJWFFU4n13TNZTl/6+vlnCgnXRwIXqOoeRVHPWjcSjPk2KOZQa6
rCgfQqGuVnCxp9McQS8M8uYH3m+eNv973UQS9xfrPmfCrNJKZnZmFYqVrCLAeUYRw7KmL79/6HfV
sLGxLpFVcDsgC7TfdVU6SmZxIWh7LUlSWqLpi6DhdMSCehhO43FQWFx2tBCLOxkbCz2Z0L5xbML9
kIUs6qPxPPnUn49EKcUkm1kheLehjRejwSnJxCHYmtm3St9cPVcxQ/1lpvtkEbWEuO2N/2+m0V8C
5p8uB6Q2zLzLiv3QHx2/Utw8JYudmOTsGB73Nw32AhGPtxsRHw8oq6PJb0hz+jbet25yVjHT2YK9
CDJsPY3G4eQYZ1tViCLxVDG7mZR01EcLEVaDhta8lDZqKl2Rv1jaT+ZALP9cE9puoPaZI+s+f9UP
g1v6xTELKm90x2AP0gfdu+hwqijhZZcssRg0tSl4+I1ygay6Fx+roDpuuctSz8CZOA5UEy4JQDH3
mTVFbRTreAmQJByOY2geWdAfVTdRyWFJTHwuid4U0EhZIojd4+qAakQHwPawVlEgyrZNUeZz5MZM
lgUfyE8XRdQ5Sv9hR3rQ/C0EE9z329xVCO9ha7sURQtztOhvVf2Y7rddFcS0p6mP2aiB9S3at7Jx
CyM5mbbWu1BGO17vuGzhENOeUKek0BLH9Obkfp4eTAjiLF3mrnFoGgG3n7Lu3SmPvVZDwCZMyE+K
itG1/Xr965JVUUyMkkofsnbE8Ir5q7Ge+/ZbbCgGJgl0MSmaxs6+AbiJGYkfIBS9qh7WLjv9J0Eu
FobuUKSruw72Io07jV+7/bhNzwP/OuyKQ5LMYcWMaNWCkb5rsESVd1jK7/ZQf5i9+ieEU46lp4pq
6VeELXuEQDQxS9iH3+8H87CHxBsOUAnE+T5T7np/ayQ+s5awe29F3Dp1hrFAmuiwHqxz9lB9YX4W
pL6JhbHwjMf9XwiINohG9nTdqSQLliEcx828rNuuwDfzU3xEwIdtAG3Fo+qMJjsxiIlRVhVVXi5o
35o1L08f6rFzeyPMlijjC95wn/LRW5DZmh7JjiXNUmWfZOMStnhkMBvHuHg0Pfen4jyGy8E4jEeV
hpnEscUkaelMgAvnCZJb1pS4LdOjlu1ni+zMTQn19D1VbO2SoBdrTclgj5uFGq+IJV8K003GI6GK
piVBL6ZLewNQ1s5B07p+Z9dPu6ro7W/91id+LNaXJh1Qz46zwI+bXyXxrHl3+z5o6GtiW27BXlfn
OIDMpnvCG7BrDPywxoCEaW2gr79yVJCTsB2/pMX9UlH8PLpLdtfFh+v+Lhv0xc4fDt/gEm8yPu1z
5Jjtsah52C2Ze71pma+LFagZCE3TDJIqET0ax9W3D/lj/t08clfzaQhmheD6d2RDEJYJY++3mCd2
FyZNsbk7X7TjQLSb6jM0JlafkhnaF21XsnPbW3gxj513wK4UG7Ss58LGz+ohLcuWd2HdaNaRVcud
sfH0RrMIEZ8vYNdftpVGCz3uu2+rCp0kZy6x+hR6lXzCGRjtJoVPtcZNsvsJxQf29uP6fEpCXKxB
1dqGbzRFx8fJ8py1OCxmD8ry+La9XaxBLTsg7WNwBITz8oPG9dmobiIR1JioAz3VuTkwJ25D6Fif
DQfsbxbSObdNpyj4PLB8aNMuoVHH/ZSdtZtoe9Hpi29+WAAsuweZbrvRCOIC/tRaL1ky3WhpITDr
sjToYKc04pQ9Vvl+mlRgbpkPCrv0RgogznR0OjeSR9tgD3ggPaTGqLmDsspa5oZCcA5JYvC0NUZc
Ur8miVs5f1JHMZey7guhaY9DgmfevgmXNdgSbwD7rQFxuOn39QCS3e3EotM0G40+nmwkeN9nPwu7
o5648+Zebl6xpymyWbLUq1h1WlcLNAtjfGUIcs3vTy3KrQv/cmaiJVIHiTeXxxECPwpvksyHWISa
FnNmrhYfoxXpA/OLNt4XmeLULGv6Mk8fYgAcl22xbtYYJeaPpbmjAMHqkyKfL1njRTUAk1dOZawb
2GVQtDYVWrCpNH5lLQuRW7R5UcxV14ZGVXzrbNRhMEeFrpdZRAjdjrOeocCgi6qS0sOe1rbfroXt
1jT+et1J+edXob9Xiw82T7t6bOJlaENeJoeCIq+Ynpe28w3t39Zy3Kxnp+sfkplJiGOjoX05ob44
RB2km6zzIRlVhYOSQ7XI/G9BY5bY0JeJ+tg5Trp26Oz5V5Lv4VLHx3613dIwvpF9ULipZCRiJaoG
KgleVYgA0mhBXEzBgJTHdSNJ5lusQq123g8OlMYjkjhx9mxn1mT7mp5p3duSUEN1JJSN4HJ9+DDp
G81LhxKMICNOQMr5tasrRZzJRiDEcNfvuWlqzRpp7I1MDwmg/tX667p1JPMslp+uW703pC7XCBWG
QGWXnU2PzrItXr531WGpUEHtAp+/e52WO17mcBU5veyiLcoz6zQDWmDMKRLY853lNcc+NN+rk+an
58ktFQcuyXZEhWAfzRQPdwAdRWvnk+G866dkeZksxSFXNjHCXr103bysDV8jMn+f+2e9zCBjfVts
i2rMw7DUzKz2LVpBF9DwPEjzm0pgNUaFPbrDdXzIkmyKSL8enIX6ZFXcMyWTSsVC1XplKWO7tUcO
CNrc9Allzf4YpaXbnKATGao2zM+DjYr1qlnbQcdMuxhnOuv0za4Uy9DnE0pFaQDAEQ0rWbMtYshT
NCEhd52p2OMlV0YqVqu2Kc7QbW7uUTp5+g/md5fXY4j+upbbvF4ejm98uqEiiInhM2Ru8CX6PAUx
kNxeFpBgPOOuEbs8TAPVE7XMXJfp+bDmNZZdrT3Bh+b0n3V/XKawNFSStJIzGBUxS+BdXzZWwpWG
QP8xPNQHEJfnLn1ZvTUAZOCl/mO/Xl8DpV4rxLENjCPL2n2P1gM7WB5KZI9W69reHFiH9jjdxDsK
JLGwXY8NKFlryJ1FC3/owQ3Knq/3XzYNQjzH/VaXTYZbZULvd36ANHypehb6ewf7b4KHilWryD4Y
jbEZmGKjzkjj8SwfL2cYS+PFoaiyvHhnezHvP5bOtMeHpoWs5g9ClqYoPdOsqmE+QjaLkiCbcRU7
T22yFNQzpr0qDiRtu/VLW0JIRHMbKxsz051ITarERcEAKxr8aR+zJpi7olx1r803aqJQxsnN+Lve
dcNw2qbVjFVK4jI/EOFU1JlzyzLhcoAsAN1RHuwvF2qJR/NcB0sYN8H1+ZKsXiKaqix5Ps6Xzzi9
n1aBqaqCkLUrnBOKpMu6uFz3SFt+DnvvlireQYmDiVW0fZ/X5gAO/siavvZWUKHtTcUMJTW6sIhU
Hc+63Fj2SH9xJtc6T8fGw0ljCLpTeTPIhYpFtWlWUCPV5h2b3nPdPNSqrK3M6MLakUFhU29KdJ+Y
9/EQxCpRJlm7wmIByp18AlXAHjGwasSnpH+57nyyuRQWizHr8zEnG5yPEa/ovXb+FZu3HYKpiE7j
YPPhpMJCyumpH75AA/F6pyXGEEFpBq2ohQdLGHk7rPlZXxWb8uenXyoi0gD/BCaNDZeAB8AhbEMb
b7hbeFv6lv4HjcaXzIgLdHts2XZe98yIzIKqSj9kRrnM8Ifdd08vWDcTrZfO/ZKGTqnwEFm7l98/
tDvuvdnnq45e53e5cbD/XJ9D2QFIFBWw2zyeHDvfo+lsHWkwHLGhP2mvhstdPWiPu0oUQ7aiiLgz
Z+ID4UmBWT1aRy1gYXbcfvfB4uuY21l1r5SZSQhQ0zIYc0Z8ZRnvnCqiu3+jnYQIrYayyClHw6nj
8ufdh3pOGPsNIAzP+pkF6VmF+5Mk06iIO8u6dCrLpcS6/gxYhsfCJFifyTMPoVfxpBjNZR385AAh
AtBMq9Xpol2+cc//ToYTmPfmkfrFIfFVVFmSuRDhZzzutHVI8JF4PVczBOgV64PMlUThAc1Zh33Z
0XBWulPA/0Lb9uf+3wsAszzeeCAQEWjjtlgxm/CV2jouyXFSvfVL1nqxkjbR+20FPw4imZw3HM5p
aC63Wka4WefTtqV0zMcIBFnOj+TyuENx3qM8KCBJsh4LY6PzP/MK6e/jCpa0LxDpm4vO08uWsqcK
6YTyy0Arwm6SudCoCFhb89juDGNaoz3ufw5Z/jjS4jvIpBVXQ6krCPG+5dPqgH4CjnxBFV0Qd/SF
PVuP1gH3Wk/FTi3zZCH4za3vu8EBRrOFAntpv8X8122BKALUilWfgJppKFbFSyDu2O3GoHUvwIbE
n1zFVy7T/0m4i/i0nMf6gMocZHV+7ZOXhPWBQ+DWTX+SZ+NQHBxftbBIDCUC1lA0mzlpndGo1O+K
+tFggWIEl/n8bATiKRqwIqtdYaflzA6gswz53eTHsFMapIqEni35hLBzd4OF4hDa4mFq6E4LuMLd
EuwRWgrK/1IPVkP1PC+z0eX3Dzu5Q7c1He11jeY9LiKtB1qBkvimBBUVAWqatqUmzTEIu0PhzJB5
c6KqC5X1WzhTl/VgrktJ+qiyi5DYu5umKmFAyZIoKhQk1WZDj5T30dTrbv7DGt7GTvVqJNnqRFBa
V29W4hAkG8Hl1Z50PwGSx3rdn7VD4xO/u+0sLALTZtyE2dzA7s72a3N+xznzr3u+xOoi6Mzesrxv
94tXpl1+BMP86hZJrVJ0kRhexJ0NxNqzPGZrVHavo01crfd3Z1UsO7LGhZgth3pq560ccO943uZT
C2lGVS2mrOnL7x9iqC23SXfgkVGD8gUKYhT+p8qC2ywuxKc2bfVUVc0QzU5odpbfT9uNLQu7s5kO
/dYW1RDle+P32hTo0C+/rdNCcE7FZldEt7QI+6unN5kPVZQbmxa22LoZduIYaxfFPYSgjyAZr+72
fCD6jVYRNtdqa4eVZjFw7JPj6kTzy2RTdF12uxFhYk48L9W248ZrdqeYBw4S4Dng8vM/g/59sQpQ
MgV6fNeMm7cZpy6vveuz8VfW/ZPtSkSNgV4V0HPwV0XpunwvyWtvcCgAFqfGYNFM2mNVdZ5hF99j
E1omhHnjYvlaRV5sJPS8biKPdT0p+nIJic+6ctnuPoSK3cb2OnT5EDl2WDO4XMRNxUuLZG0ScWbQ
BNRrLYc/E3a35UDjHq6bT9buZSgfujzGe2mXCXaaaZ86LwNhDgpB+cv1xmVHRhEllicWBHGWBFF4
uhQfFEHs8zvr0ThcCg9sBU2UzOpCqE9Wi7fTHk7dVBkesf2VAHapEpCQ2UcIdpAaM4bqzyGqsxqQ
5xQAt368MVskahTYttGUuo2Q4bbvtEdDJZEsOV6JAgXrYpd4Gke7Rn9o1jsAkjnjXrVFdf7P9ZmV
2FwEig1dXMwMyhCRWb+tzupteGBRcb1KTC5ixLbBGNotx6NipaEKfAuKkiicXbZGifgwLN2j1jJk
FhDyKD/3UcD4TjxQnv+/+kU1vllmH2E/biteFa3WYmMzvjQDd9cyXFXEVrK2L79/CNndavc6rXBZ
HtceKiYPNTIjm/Xl+sTKjH/5/UPjTlyPfauj49SBJl9AVEEqa1cIUjam4LjM0Gm20PNsNA/pokqg
X2z6yaqrCSHapvZkGbxBGjAu3cQwc9fSt6eeEH9qiIogR9Z/YWc2HYJ6lwRPV1h/Z/OIF9Lb7C3s
yHhwMSvrkhMcHRCPHw2qSDtJnESEic3JOvb7AE8HtMfLf5nDH9KqjvmSC6IIDut2cIiWKdo2jqB9
aQ9rSE+WC5nUZ/XLqsTeIiJs33cTFVNITM9F4w4jKgIaBSJCtgj8PUh8cPHcaKo0mWFyPUEV82UR
2P/hvuGilJz6vacu7ZONQQhUEO525hJjDPsIpUJQL+7tEFx3G9n0Xj75YQxrDDHaouwRTvpwMM0l
d0G9f1dX1uv19mVdF8K1shKTtAkeSYaxC7usudtXVdpY1nUhXLVuaQfDRNNZ3Llk+LFRy91Vvinr
txCmXTaMTkcosG2DaULaEvKT9h2DqE6jiFdZ74V45dWob2troZh7Ojvdy7aB0V91sZC0LWLAkjnL
qL2iUHzaw8p6WPf7olY4/ad2YVRkHiJmrs21UdX3mU1RgoCarUT1CvPp8oumhflcaBcbrEbTvGKW
G/f9A0vjn701AJl6Y++FWeXTug55DlHyFdTLpT67deHf4OfovDCdlMUlqpPRct2y75BXDKZZ9bT2
6WwyKt6HKDFJA9nh+l7D9dklZe2tW/FMURx7veuy9vn/LgFL1adJPE31PRv0sxHTJ65pfxynVTQv
mVaxYmbhZtw4cV7f67Q+zbnjMrZ+nePh0cwUSUCJT4pXmhWswG3R7PW91ZtRbZe+nqguhbKmLzb7
sDxOYzY3gwbbgyEpgEBXUPSqYiuZXS6f/NC0AzFGPTO0+r4ff6zU8Pj6YmyJWxTP16dV1nVh5QWj
zT4b1KruK90A9bVd0JQGc78WqXv9A7IBCPFqtwjhvOvreztuIItcejWEi23jx6L6gGwEQrRq9qCn
gLrU96QGhuj/SLuy5khxZvuLiGBHvAK1eCm3u+zpZV4UPd09IECIffv199Dzzf08Gqt0g/vkCD8I
VUq5KPPkSd86Z0GY3N67amlJXQcSYsBEsPBLbWwmErjAeRe3qGXKLxoKAn8Hs9ghFoADD35JjXii
vSZkUuxbftIYorIEWpmweAHjZXlxTv+8LZF3n3rYtpRyICYFzm2h5cUN8jgrXlf+wzMvc3gofM2F
VH1hu0dvL/xsMKecrOqy5m4Yz02HtMoycVAfzdUdySd66nJ70hywwqjJnTChAXbkGWU0eL7nFoxR
7HNbaO696gy2/7/5Hb5hh5nJKZZuy9egZmEkvOV6+xQUOmVLSlsX1riMTlhdJnT31emja35q1w9r
er69vGrrkspao++5WZryi+U23/O2+oLe7D0k/rg/krISy6kYKSDwHIwBiUu77o/FrvtPtzeuOk5J
X2eaU8wCp/CBDaujDkzJXgVwW88MjZdSSEZ+5niTX2clhbXsSWOcw27NAPLUdjkqti8/dNbAoPba
wUMxxwXj+BPPn1exM/SQXzijSS0MhnGqSwmEIFgOxuMumcvPm9kaVuqwjF8QfpwCUcWdPZxao0lu
L6+SuORaW7BkFrMIoUZ16iSZO3kXe2h12A+VxLevvlFS1xlWVlGBYHKuIvenbaZRoKuRKJT013vw
zdrZNPt+7UPgs/OTeQBnoyFo+XPRTRZXCUZS0oCjR4FPfnlZQi/CKyeppl0jSCzzF3zlzc5p7c6B
E07VJbdZFLAIfEaxwZ73Haiko/lIinxkEIvN2dlDmwAyJ6+3l1a4DvlBQ1cW8CZg/FKtVkzWIUKG
w+t/AwY2DiyNAVPcGLm7pWs7UdHZQAQPhtslrb5OMARTX+8LUuUha91aTGDEJPDcrC4Pc7P6931Q
NhrZqza/XdU3BzvVfZt5ocMv7noH6ggYxpjoOgUV91FubLGtZS2H0qsuIS0xORKjgSOzsb/fPlnV
xiU9zaZ+MamNjXf2sa/urZ9Mh0VXrSy50rHxx2bxA9jcubw6HroNg+W+rnUQYdXykpbm1DFcMeK1
WhTnLjvPxjPdNWoHTSWSK/VKPMS8woXtEhU/2i4/MDDWn/YJXNLSwm/y0Mmx79YtTqLhEfeW545r
M+Pv3ha0rWwA0Tc3kQ++w+sQ4e/8YWmj/NkFkyb6rZ6NT/zROJEH80w0sfC7J4AvSe9WyzHbqWpg
b/K6+tMsyXHh/e+ZrcP0qX6IFBADLh8uk4cfgsM4CvBFF/YeZcXGJWUt8BBOF46VG/OrP37zW/TE
7iMyxeKbtN7Iv0j7xrFTXHsji4Jo4yPKkjHys2g6/sVkqpOPSvyS5o4WmPYNVuNXgINkcL9WyEvS
WVOKUwlfUl5ML21Gc4C1tMjvRorBSpmlybupVpb0lnE7Xc0ez26ejfdgfauihni6VMq7KGgIX9Lc
fGmZYBOijnZhfjSOBb6QP/f9fICZSzzi/pin/PNUs2+3lfndSATfk5TZH6bOLbwSZ1D98H/6HM/k
NeY60KNCVHLHSjqgc7sHLP+yet8r70uti5/eT5yj50zSXAcdQhx4yurSf3dP2xXlJ/KY3ln3KyYe
l6ddk9vxGUmDMZtkIGuBx9RQOujVthPR6qjL3wf8Ym1Jh9HCU/XmZkbtDcNYoXSxPhUsgoolTEsW
rDoASZcxVs9tq7zml2zhf/CywEDufNZNNlQtvv3/jaGYRhqii9fHXUWy+EiN7tVwp114HIhH0t+5
qdqAWEj6VQsAvsV6aYMsuX3nFXaHSAqMMdPMNqa+urjmpcHwWKfBIN+Pt9dW6BOR9HdOg4kOHd4k
bXfvT3eGjwki2V1u6Or02wX/V4URYpH0tYFDdxbeQeY8/b4w84nw+b502MMEioo2exUe0UhJ8Uvk
/pHep27odLAMRYaR5UXBpygvwcNik3l9bMj487bAFIcht5PUfcgXN0BOp2vbJB8+Od1jSfa5Sbml
RLjVAkAO1JczGySKXsSXJh5RA9+3dUmDHWT+mOdj6zXwhbSIu+Z+zHScogrlkjmOuRhyhM2ITayt
0EDyR0CG9+Rw0Fgr6S2fWB62BlzjWC1fkAnJI8F3vZqxtqS2IHzux2BBShejKvGA+GPps4O/HvcJ
XFLc0V6EsRgIa90cvGJV+OhXUbHoYGOqCy+pruWERu0TSNy3uo+27d+tZRG3VTZHWakbdKo6VUl9
J9KNhtlvb7i650lGtoFaza7WQDQ1S4FzWDM+ew7sMU3Pi/00oKds+HRb8op9y50jHajO54EiJlxB
iFxl5Og1uzhAsGvJx+Ky/KcemM4eSywfObkWNDvBzDTgaIWFkftGuB9WZdOgsDYOJxYc/O5g7npn
Ye/bJ994QJ7TumqnVFyscM5fibP24IxZdlWQsbqkp6mDMVrtgmdzv9qofKdJ4OsmzCjuujx6zRsx
boGi+Hpx59/LPh6D1xHZ7cbSRJWq6yIpKoaZrn7P4KV8e66SZibLoaxB0Hf7MqoOVFJU6jhFZRED
6cqi/dF0zSks0P7h7kJHQ+ySjrKqGjGaGY+rqScveB+WERkm8+g4w65eAHACSIrKjGx0mIcgHzHT
I8jr8PgxNEkihWzkno9yLDvX6BuwmlXDkjQ1m6OJMuNxAiP44bb4FXdH7vYIK9FirggTl5LlcUAT
r2qjwH7NddLZFP+dEEemKA4bv7aFj8gPmONIDMZyWFf3c4k5FHXR+okgmBBy+5corqlMTiwIQN9j
B4ufrWw9m3nB1thc7X3TE3HOkgLn41LXZomb5Ftu1HvFwcZYydtbV52z5Gd7t6O8LRHDMqOwP/bM
rz8suTlGNrpWNJ9QSUdS4gJD3kmPNObF9krAEW3Dv6sB5tQoser9I3d/5I0LRMxQih9BJSKvzI+m
+7SQMG7cn2Z9tufvS/lohwZKY7bmk6ofJCl2kJUggC8KcalJPidei8HoAyu+3D4QxeJyKwhZgfYR
Lc6ahEEy184TQsOf+5aWHrtzFeQU9IEIkblhAL0eluWX2eh08ApFykGu/jg1ZVYQjPYpz4UX94Ao
8PCBtPnnoS9/INvxeUh/p6FuvLPi4so1oXA15mXuavsUsg5gUWOOwlr80eet5pBVv2b77huXvLQY
ZxlUzD65Cz3aS/GU92sZjYJ8aqos6dzlQ8bZsfTnH/sORwpfrGAO+Tjk4iIcEjEMrJ93EVSaoczi
DHYSEo7B9gAzz32GIlRNwyd30XWNKg5CpnDG0IwWkyIybFyg1bi5zMw67er/xNY3JXlzCCmvAs4y
RC5Nfga0zg2+BbuI7rC0ZPjsogkdn2Hb6MjeaL4110YlDcnYtcYC65DiGKmZXUCYem+CkrGwdMg0
1fJSyJJv5F1mh13PNIzd5Z6mGGWmw9irTI9k17q6HOoCVcpLmPHYxTO3XPfFcTJwzDfD0hBwkpcu
zWKz/o2lOv+l2LPcKkOnFLS0BJFzZzyz7LdAl5xVBCcyVoxkaV82KerkQ1NEwXhcUKYk6cl0NfGV
at/bd9/c7A286IYbfGYIl6RCp6g7dBp/q7gjzvb/N0u3HQVG1IZIqhTjGOw8Knt2dAtdWKva+fb/
N8tz16XlWsGLVCtKQZ0Q7RnlVt15qjYvqaVpZ5nb+JD72GVL7KVjNGfDazatP3aZWZkfOcd8vmwZ
MfJ+bADdILX31Wif9y0t6SZ3CstnFrae5dlXZlavy6wbn60IZeXuF6vFKNul3G4LhQ8NvCTLlmSZ
3UtW94njGIddv0AGjK2BWYypgQcR+KjLhNZLeVi4Hey7lzJiLCPZGpYFHz+0KRpeUfVHcz//fTYc
Wj2nfrm0r7d/heIKyfix2aidZlqEfWqK9oVjSJ8V0K2uNWnSXgrTIPMml9ix4VTEOi1lds1CHlFP
3Pdrfo9Y6nT7J6g+IalwELqmazQ5BgkMM4IP8cq94FSxIEbL9vH2JxRqLBMpz4uzemCGtE7cHL8M
ecCj2Sk1NTPVCUhKjE6hVpggq74EphXzmh+NoI5yWu28ppKPZQUXgMJieZGWZ0Gy3xxSaGpyKsFL
OpzzclmrFW/SYWiMxFus5zotn0VAX+psF2rPDG3JzQ4ASBSBmMTFCO3TUNcjWjbHXbzboKOTUgJD
bfjEHFpkkjhxMTW9T9BJpHvnKs5VBo8JdxjAAYfFQRwWLeU1r59Ttu8+/qIMfONW0DjozClFPJ8O
zoE1zdGac01MprjqMkqqAgpoCrrFPhn+N4xaTAaqUyKVQKSbaHmDzTo22yerB/iq8SNvXiOBv7d1
VLW8dBvLpcPoMuE6D6IM43UtMTIgTxprZ+Qu8wGLJpyyNvech5DbB3ACHo2WHWq0m97evcJpyVAp
jPIVBBMKnIdc5E/MWSMMpEraPv/pUw4yQB1hsuoz0qsWOU17ZlNrY9xnVx1aXj3nLbcjYmZ/Bl75
MHNdg5LiGsm4KTs00fqb4hrNYQH6ioD+xKAFzatfcdLmZo/e3H6nEpQhp2WDMWs4LXyObZsni6dL
waiW3/7/Zvm1Yr3hoIXmYXGGO8/OTiJl936aa3RXtfwmsTfLB6EYJ9biIuVIK7iNGfvhH/7gatRX
dcCSN0kB5MHEzAovcX9KyqqJmpp88Fv3sJT1IefLvojclHTZsUtnXtPePgUD6CbCds4f0KKu+Q0K
vyIDqboxm1lGEZNU7oR3Wx0PxEK61vtZVMgq3NY31Tckv7I4LLSKABbU494jWMzugX46sKC5F46O
TfP9oyAypGqh7jTOAp8oafNsrh+Hsr1zpjShFLRDYtEYjvcVjchwqkKUSPnPZn6pTAt4Br8wT06J
99dtMf0yb//OCyON9s/bWgsm+FTS6WH0sk8h95ImZCdz7OuIUGt9Hhh/4nY/HTBD0o9MkJtqPvz+
+RAZbOWOWTXPPc8vTvjBKj+S+cnojov12+2f9b4OEhltVRmeTftZ5BfT7q+88o4gm3o0easJelVn
Iqk4ccyeNSWWJw0m/LksNnWIWtXGZfV2007wMkWs2zd36P8+bYNAy2mf8yfyHHMxtqCV8mBZ/cl1
I8TPw2Fmhq7WqxKL5KHrzG/gFIr80mA+FqfzcfS65PaBqpaW1NkEbUoH/pv80mHiwACjmpqf96zs
yJVSZKQ8u/Ar+hhYPobtOEP5R1vWujF+7+/bkcukwmSrVfYTfTQGYsZFPYCLbApO+7a+XaI3nsYL
+3xJaywu5mY55T5vD36oiyRUO9/+/2bxlfkhGyqOxfGOfwybyv1aeFWneRQp7I4j10rbpUkxAaGj
j6QK/wD4JoHHvLgu++QE4YuNzi865FfQlf8226Uui/2+coHB558/ycdEn7CwQVIzLs49OlaCyKAk
Wufw577zkO6/wFN4mp3W+5wiPTvCc76w3DM+3l58i+D+bagduYBamSLsaM7Tl7rAn9/qwmjCIx4J
3hLceayvs9/c2kQc4HmFYc1xNphzp8nl/OIreefbcmm1GTK3zvjqfO4WEYXhH3BKMdiFMK+rjOCe
4q7qImqgHbs0I6fuEfzP0bBc1ia4a5z6zKlI/DU/2+nTMPlxw4oni9FHXzTHNW3jKg3iMH2ZHQck
AOTQiObeIOCqsVnizeiGuC0/xX2Wa7i2S8PeyIzp8yj8+eDa1HgQU0s191lxteTy7eDQIsUYs/yp
DfJoztdjEWD8W3DYt/fNib7RRTQA9lT4bf5kG5+D1Io4GOP2rbz9njcrV65rkMnCysPsIgdVJqzO
NFGeSsXlQm3voDlsXvDcQRvE96UndVT1WXEerfqpCut7Uxh5nNbGGb3lZgI2W13K9/1ilSPz9qFN
zxq9tWVZRFyRRdb4xaBz3IN8EMzQiWDjcS5/hEav+Z2qiyVZFQwHZEhf1/hcYRVd1JUtjS2S6ugU
3udYMh25pJtatln3Zof1Xcs7OhkInMjybFs8YuF8NNIek86d2F0xQGMcYrv+QrS1XdWtlrwu2Wj3
O5A6X9e1uvPDNrKK8pJlwT7JydXdsobnLUjpXufafSysJiZertHH98NLR6b6G4eqWsmInU99x+OW
4GIb/qlq1qiuuj926Y5M+FeEnFTN0rjXknfJ2mF8LtMxRSjulFyltFaQ3tCVu9cObSBZVHde08ZI
eusA6qr1JbUHfNNYrNx0rqZhYGDWgObiPvKo5Wh6QBTOSi5Vjih+O55wzCwyuIU+uWg1uGiB+cmd
2vrgjnRxvztiyrMyFk3XWmm0BsOgw2Epvi7n1kt3SM0hpN7VRbCIdEhUNOywZAAmlNnR5cujPe5q
HzMdOb2+5qWbirD2r3N3zgiomjT3V3FAclrd48IWjVX4Vw+IRtu3o1RLqKdaWj77GrdpRsfxVVBM
cKfjk1nraqYqwW+ffONNFlECdjxk/hWEbYecOBGGZcRhxyJRhUdrYPHAdZ0oCtMkd2QDFmSkosen
xvrDEGYR68+oBu/zijLjFCNpw0WJC9SP4gtvTBAMulqCCdXOpSixXwKUf0fmX0UzHXtC7sniJJPI
NUl71fKSzXazjJlkwY0sgiWh6XrHJzviuW7WveL2yCn11ugDP19BR2YwN+ow5IVTXUJdtfR2q97c
noZMRd0YoXfFOL+4HYpknF/3WWrpVS1sr89KK8eVt9P2uVzr+Rumtejy3op9ywQ5aVfxAegh75ov
GPncCL8++4CvHvbtXbouoQ+WOdFh7xZQ1A9Nh9pUa7TF+fbqitsi8+OETjOgXSzzrk5lorI/XibQ
hCAW07xQFcvLUIfcBBQm9wUEL8rXKQ2iMNjimF43zFwhehnwsJJ6ISVh3nWc8zTy5xJjBOzR1pgB
1e6l3JhDPcuuC8+7ErDumCZYjgPjGEypxkmqlpej+twyPNJsNn7IUWlw72b/S5fqkgOquFFGPjgp
+lz6lnjX7tA/WkmZkLv14xy7R465BPb19v1RfmU7mTdKCzYCmy74If/5SnEoTubLkGxfCbVfUR2z
pL88qybmbfa4AEI24m1jxy2ILG7/BNUx2P/8BXXARGO7uX9NWRjzCi117R2QBYd9q0vqi/mV47Ra
2PqQvvZrerSqP3su7vYtLtl6TOCceOYJOME0B9Vvd6xATTAauoH3CrHLCIiGAFLNHPjYoamPnGb3
eaZr01YsLcMjs9DLMAE1gFhWO9kkXpBdfNamI2MhV4+FdVNM7pU036cwjdLmNUc3zm2Jq/a9XaI3
193mfVhNGXGvob+eHTYdg52mUi75guLYcp3Ac6+sec6WIhL0G9uJNnHkoq/TgSNrtTv3ipdxMrb8
wU1B8MP7422pKFTol3F4KxXR0HCzlFdufywsbwvGMqqjm1ItLmlQEBbg/7QGPLPGKWKcnIBKiIJS
p0OqE5V0yMSM38kYqHtN+R2j10xPmL0ZkHeyZnLJVwBiXFsUK/9lgBlM4/yxS7LzNhhmF52C6cj0
GFZHRe3XqXc1KTkBtHgXemaUgrF318nKZV70O5R1Qy33ulgXp/vZ/UiHP2+vrHihy0XejY9gmofF
vQakuOutNl7N8Nw5RbSGu8YRQjaSsgaO6fA1QGDmtR7qpOGBp7qOcpXf+9dw1yaYDeqFfx9ueSxO
9ksHv9ee9Ier/Irk+GazGqvZ/d8rVBz68/yxP/zfvqJQMLnWO1KrmzAuGGEO/RxkH8Yexk3zjFUt
LevuDOBN68Go+TWLuZ/k0xwzHaTi/QGaOF9JdRtqzxvC++8zYIfx3B2b5G8Va85klxbYcqUXndji
V7vAtSiTmj90P7iOWExxwrZc3s1FZmLy9wpvFaSxs4i4WV6cYIgM/4FOX8fATRb6jdfBXRcCTWD2
H29r3/sHY8tlX3SUE1RNHfda+Enmf5zcmJrfbi/9vkG15cruNBphkPXwNe0Y9/m51zVivm8wbLmm
6xp1YIZG4F6bCfWCkJ9tW7ySsXlo/XnX29kOt5/0xo9N67rM69S61xoDA8uwe7A6EYth3BWu2fLA
1x7zK3na47HVlGe/vzCW9DoAv+o8pSC2qvLVZ47tXofWP9UF+q668EidepeDt2UCDTKOIvVKw716
9DUbwzgAk5SXH25fGNXeJTWuvIV6XmBi7+MQ5Sm4VAdxyPrfb6+uuDYyWwY6xXKnyXFtHCN/gJ85
dMP82evYkQodfZ/iB8i8GZWRb01vcJL50se9fxFTHfm6V6JCnWS2DLPyUzLacAEOuM45H9BPqsNe
qva9iezNdS+MuRxNhtihsruodiLPf7WM59tiV629/f/N2iNw6z7Qnog4m9fC+8PGXGbd4FDV0pKW
YlKuN9odIgek/sSWgWInAMQ0Ab7KIMsUGebYVlM5QZP++2x2LkNinDbHbmmkozpUSV1L4KlCZ1NX
nz7ZqxcBCaNxVaqVJY/rVRbN8gWGnfpfHNeOC23IoxK7pKbjOtjZPCJMAOvr2GFUEAWDwp+7botM
iwHUSysGx8Wzqjsz9oSGL61lVAhEpsIwFla6o8DSs5nU612uG3igaLW0ZR6M1psKUQ9Y2D2xq4tZ
yv25+d5joHZxnHUoKYXM5fmqztr4DnXxjaw34gzzfAak6eay0KD8VJdd5sMAbQ0Lh6H+O3uzRbH/
zd7oniiqE9j+/8YUuAbzFoMiTHMWK8EAnUOVf799bVQrS+GxsVLh9G3rXdMC0G5nPOTZj9srqwQv
KWhuixlEPFCjjCVFDjYbpNC6caeNCSQlHUzhCzeF+o/H/tE+bC/DTezrocfYHPu67ydI+ooqg00t
WqEKZhwqw41qPLOA0di1uMyK0ZZVYNKCo0LixghlsjYO+K43gy2zYjSYtlmSEMmEcX3KjS+Iklpd
WVJxqjLWK2ztEN0A24MwPMHMVGGsNTOqpSVfao/h4nQuBGJO08EO2ufGrA4eB/fUbYG/X1qzZVIM
UGyvozHB6TVZ9oUt32pvOta2fyaCnPMFTYo6YLfqh0jaOtWE5wCWeVd7oMeuq5I0Kx7yVEeApFpe
UlnaFIbj1DiCpqsTkwInFMwH4Bs07k+1vP1PWzMDDVLSFsfghibaFMldMC3Hjk2aB4LK6PuS5rbp
EKZN/evJmT07CTuEB+Onh5na5pnuw+TYMtIL7UJNw0jjXbO2jtjUxLRoNLdIYTBlIJdnuWaWTdv2
XREhN53k407Jy/iqbFhNNEMimAwxZ6wSX3qwzvvmzlBVxlfxpaurOt8cIYqlGKGXDGmZjIUulaC4
NjI7xtA7XuiXsJUiEBFSLklVuvE415oqm0rs22ffeMBw6YLSzPB8msKSYZZAatQ0rggF6OK2dVB9
QFJaTFqxwqGGu5odO1r6PGbLj9srK0gBbU9W2H7gQ79Jvk/cezfuYhEbcX+PV9qpPKRHQ2P1Vb9A
UlzSF37X9/gFZN2yBmIfLZcto6dYloerMLGuv8YkOI26bIRqv5J3nbohXT0Mp7/m4/g1JU4Ysc79
elvmirVlXFRoCKS3MX79SisRry46wGrddAvFRf8XLioQBmsFxGH1zRHzP9An5MYz5ubu27lUMW0n
4O1h4P/P0lZtW/Ku3KimwQ2hQG49VHErwvyICVUXmAWimb+o+oKkok1WDmuw5Wbs8bGHAWiMb4zs
a+ezZTiU3dKqEQuSxUCdJmtRJCbTEftuEvh3kcGWmRtGY0kLsr0kEa7GRhlGqWm81M2DS72P+85U
0sypoZ7bbdmN2nq2wgYzG3SNWKq9S860Guy+r1rs3W5o0nW/F2v2YV145Lf9zlOVtJR2wTZCG/fR
BpdS2KDVbg6mj/W8/LwtG8WtkfENFukGD92U2ctAMD7besIw3aihv91efFOad45WBjdQgwTTWBrp
CwbEJg5caVj4cYFjFumnDhDj219R/QRJZT1MG6zttshe3PER8Pg4H34PmK4LS7W4pLfB7M6LV4rs
ZUobI+r9UXxYh/zHHNQ6HJjCVsooh9FJ13zgWfbiFzngqWhXyKt9LkkebjoXy9QEHuQ/BUtcp9kJ
8EHNvVTFkY7kVXO3dabBauvfMJQmCZ2r7QuQLg4gRUu6sgcRIDt0VhXX9THn3/YdtKTHIfMpEbZP
//Nkc3k8TBpJqW6qpMhuZwRm6a0UGVyKGSPhca1JEjD/LEwrSZmV7PsFkja7wdgaYdOLFxecG6ce
ExOAHV+yOBxTXaVHYZJkyEPuWIOR1Rm9cu8BPQguKeIGCL1cl3DZJPKOTsvQVDIv6dCa3ZJGIiAn
5ox1lNH1VKdhsvAh9pbqzMFzO679iU54d5WtRs1VP0xSc2P0U5MAvPBS0vwStFN4lxO09bkgOzMz
m326fUIKbZRhqwITKTOP+uKFL4y1x3ahpnd2aR/oIFmqD2yG5k0kPcxlCOSPKV4s25+uRBTWCzCm
oyZ8UZgrmQair4veZtyyr8RckpT/GMbgOBa6flHV3iWdHwsyVGOL1UeaurGVAxcbprOl2btqdUm9
16wciUAvGyDdzrnniNHBsbrvVCX1Nse0KBfPJNfVRg8oGidYvi/SldkfGtsxRoK36Eu1FG0sAPR4
sWtz+Xx73+H7yiZjVYueDFlPiXUNGnBaeQdzxXsazBVrCUZwO4tALxoPPdVISaFhMh9EMWat8Ed8
bXRZZE2fGLhF1+yjGHUDhVTZWhk05dlGNzm1E/wqTfwzbZgmhUZoCh2Q4VNugNnGwerYV4HHR1H8
yECD0Pi68ooijWVJ+stHr8B4Oodc8969kMI9B0hqk+bVy7Krga7RUuzDJNkyngrTS6jTD3n4H3dn
NHGuQzUoVE1GU3kWMCVVsZkJ8cnonypjFyDU/nXub4xb2Jh5ydoyvAbT59b/yOvXyn65rQqqU5VU
2A2KqfOnObz6SCfxx5XFqW5yvWppyStnaCT5a9eL87Ue+4QYF/BtJbf3rRC1jKEyeLESMkAkghjb
ytZOcJAtA6dm0KAYadaS61hcGbjBJkOHmVLtWXK15Zp6K0N35rVy0sjOgkNKdmZPZdDUIianIA1g
alNxtwxD4pnnLqg1slYc5L/gUm028lkw+2p45o+pR3fe2A9l1Prk2+3DVH1gE9ib+815Ppl+CpFb
eM/wPAq+iV7X9KdaW3KuGHWwFk6Z0mvQnV37CVWDQcdOp7K7MkDK5Wxe0KVE/hfIN57/rpLp7a7C
fcikGMW8lui3ayCcyYpFn0eN6UV1T5NMO39YAZiyZcAU5iQLSv0AT4Ak2QpPZWIcIvOlP6yHrbrN
d7kQS4ZLBbmB8nY+hdeGnzGH+KleaMxtHRZFcRyWDJkihK5ZjbFmv47DPPxVtNx+g33WQ+/ePw5A
sP55V2e0uYzC6OGoBuvR7dsYZJCfh26KMBjqsEcdQPz7z0/YprXm04IH2Sw+5MFXNBFqC11KGW1q
8kbV7IX7mXBx0n+jGLYK4/8TnmjJeCnqZjXakUcc9IE/WaiG/F0+zg/6k3hfsy0ZNVXkVts5Pm6T
aZ5NysDUG5v9PnCxJRNiIEQsXIZmwWswgOumrX+0gYVir6lJ/CvPQfK7Zrf6FbOYgXPAFI5EnIq4
8iI3IpFzWM6VjhJRJSPJB9cG5c48emQLdgLwKHB9sKP6CTKAqhHePBQOrmmboG8/+VvdXOAc9If8
vs+0ZAhV4BWi80FFsqE0zOCO7EQ4WP+CT4kGVrVwwl3GQikjSZUR+lO3DuzwOh/Z1UrWcxFPGDAS
WbGd1CdfR2ChkpKk1cbgOQsIqwxA4U80e6S7ZlKbFpEc8wRGQrcXFoSE7GvJy2MakONtI6fasuSX
yzrPjS0cuhYgnKlFFi+d7lm6meJ/51IseeJQzZHSWnoXujtX8VRbd2l98kz3bLcNGniKw74fIGlw
7XF7HbhFrjNmbmWRt5SUxWXf0e+311eorjx7qDJLSubt5iNwGcf8/2XeZFzVOoLpn7i5cUUa/CNo
r5fIL/3Pech07aCK3cvoqnEyF9BdwfB4Xn3K0MfTeD+dJU92yUaGWBGwf4Np0kf0X57b7v8U1Kk2
Lmls5VbVkoGD9VrRIsJgirhw/sT0Zc3GFbdexlUB9pGtztghjegi17BamI40cN1AV5W1kUcN9ZhM
OA5m+Jdz/28A9JdF1gVxyq9ImosqOA1TlPR/gZT+tvt/dfbp7b7qGKSsVeqgH9R0cMKjFZyK1dt4
C6NAy8KvWl5SXpL6lgiJRzdc4X9iB31jkuqQJac7kKEQRUMQTUOJ7ydWDr81RrGPf8mSEVaT21v+
NgzuOrgY2FEtyajtTFJsXEZY9aPTGV5lQK08EjWrE3uTDtqmELiMsLKN0ewcgfw5rBk0Nqt2P8PA
N/fPmHbA/GU/yGBr/oppt2aY/6Lm9oEVLRln5WVsGs3KRrSzPDjT75az700kjx3K8YZczRo3kbtz
nIflxZqKQ7VmL7ct5bu+0Avkun46cc9fA17fGXDdcRMUx3Cg0YRXaxwMaITpdgH/8CHpXdQvXu+x
qarvVjYkFAiiahhQ+XTi27/jVyLwX04d60uHzJg1gZxzHe6IPUa0/rQUpyzgdxbLkilPYa3rZ3D7
xC64zlAMOHukvMccraNvsbgm2eH2Lt69xdjE9v83r6diLBdnDsPmbp06DEML5hht5k0EuIfmZ6o+
sGnmmw8wi5fOAlJrhCzOEeidZMjYfc11cKZ3FRz7l0x3Czh1bg7LcNc1acRq9z4b/D05SiwtGey5
RX9n62TtnVmLeCm7e2dyDqT0d0peMtjbDJM1oJA8rximc5VxuYRnPvBk38FKJhsBNDCT4/9wdi3L
cePK8osYQQLga8tmt5qULVm27LG9YfjOeMAnSPANfv3NPisNLDQjuNFCCxBdqCoAhazMok8spqJa
lI+qAfdG3j0cGl6HA9h1v5WO4KABnazY73AiqvFqXLCds/T7WCzX/wMR4JZq9husq1DOEwk/ECC9
qP8SskeePdtuccqh3TdUT76delZqTXtNBQZ31fUfGjWzICNYlbKeYi/Mz401n7nYkzd8/zUcv0sL
+q3PWe+4bpa0ors4ZZjWYXUGsx26aB5C8MnxBpQ9QwQa1AcoFezEoCFIdORAOYQtqSjLEjnXgFl6
J2jx7QxtspcW3uVIfTJ7ok/W2k26jX+Ant2lcfqDbqaFN5VWxy2C4butjceMxQXAkKN1iFEeq6GF
uN0FPR0WkNl63bxGVajcl7lcnR2sgMk2WoRT6DtnJZdIIMGc9l4RF4X7QNiebUyrqkW44lsuHShl
JDV6fgf+e2wPVZhdXOb/m7PbObADq4fVt3y9NkxEC3rQp2zvbm+wi44MyOqhnZ0BibUKx2c/XONs
5F/CJt9xyfeP85i+tnFTLjMQLWJVezZ/hkL1ydqqh2KpPzdcXAeWf3OD70XLAa5F22Y1vXbEPeau
OiigAuKA9WHTJxk2O2cZoiWfL958iKwJP+xm0Dd7qSV56EwVHIr6SgBjxPC4MMhqx24Gf9IhAY1T
QZymzeekmuTZrtdr6ec7YHLT0FoYOwOBSNTUY8VXL26K8Cst551d+t1nVthEC2Fvm5ytGtYpIe2T
VT+XvXUC8X/ECxFR9oXZQ3J/w7sl6HdOa0QLZssdN0b6rk/8PnuwaPiABouLOyKoWf5y/xMmK+kB
zTbG/Q4HwrB7ycvXrj7mlTo4wEUPDgdmaUrQGprPv6sw6fbI2wyhrCMBNla6tkQfceKG/Ws9rh+G
xb1aa7NzDDBYRIcB1PMwSJ/CbwpqP1hg97ehF3nf2KaZaxsx4aNNrCaYkpaG2XQKrNHqTh7duLyU
Ph3V+dhntJBdA2gFQDC8TxaFIkZNH7wS5ETWoeqL6+tP/6sISrGV7Zg4a/M788My4v72en/qJuNr
QVtmdGjBiWOBVi3Ig/FUbgV0UkByV5bZsU/Y2ifa2Z+5N+bweEHO1rRc13JPH9Iwe/0ls7VaS+YQ
oEyccDsx0K5C7CK6b5h3wTZo19ZSgWwbhdddf0zm/GuB7pIZhHnl9BvtAxA3r6IcxMXDIZg5vqXl
BLtaVQiF1zFR1LUi6fL2aS5meycvG47Znv5+2bhjj/i1s2tWWe6ZNqAXJE3+OQMH52zJxzJbRMTQ
l+MSHucQf+mghx5zSNcUXvD5vjVNgagl8GqVEgTYYky4TWIH6XvaygsL9+LcsD/87yD+Zs8cKeh4
C4oIyfNGRn6/xQHUHSDbewYpwnm2eexxdjDYtcWCgKfbclDYJgWU1+Q4XqAmmYZltZMNDZbSESJO
hm5wgODHxAq4OIeyeqbhKq8FJCt3PNsUNDcjvjHW3I8Qh3GaMZH5GJw2dxxBWjo/319o0+DasWxp
p8W3nBArAa3QkThgNzpEg4oo0ZI5r31nWmYEe9X+XddttIowEt0aWXVwWVcbfK9/3/8NptDX0nlR
VryeFUI/qP51yDfb/9SpMRa0OVH+3Vpea2cPnmuy1u3/b5ZiEiU46YcMvhSUp7xfY2/eOyD/7yD8
51nG02EFq6eWfGhtkYRf+qQ5Q9Qm9k84nJ1vDU/eCQzCX8NT/W09t3FxcROCvyNAEzmIAYa95+L3
f5+now4mIod1KNvwujjdB6cLovEmf4Pu5te8rn4UpET/enEds7WOFOu3SNneM9QKvs5FERVTt1ee
unnIe6bQPKcohrFZSje81mz8UrVFGd1knUiwfuTK3+HlMP1UzWl8WYSBI7fwmlul/VyMwnmx56Hc
Adi/n+A8HZkAwm8n2BRF7YjTH20zPkGv43snuzICl86XsFORXbbHbiCejlBAD32OFoRqShbRX8B0
fAmyYWcvej+0wJjxX4e3+GpDebCcUFECcZv1nFXfmN9HxGcnNi7oNZkiVYnT/Tg2LYm2hbu5GmqV
I7qE7Z2tsoOQl7WTQ03roW0CYm4hlamQ5gahomCNfRSPCBeRLx4gCUvsvQOO4Ts6WMEv1kHWOb7T
Fz8db4ga4D7r4nVyfofdp246dgT3dLiCLBsfzYpZeKW0D8/M87wPnq+CndubYR10zELZDNOE+gOO
N1MftxmN3Vrt7JaG+roXaKGd+S0UZcqqTtrcKyYVgaEu99x4WaEwGiaTTUfrZ7M01fRjrYn/aHEH
egOjQ1pxarikUx7hDcaSPwcxrvWUdtmUQeQFQiQNfyqJw+sdx39fPcD1Ai0/KCpdu8sQVNP4a8NK
ZjyPBhacWtX/AC1a1OPNinnDx3rbu5UYYk1HQSjOwe0o8cUCdYqa4a0/KE5SLmd7LMGg8MVZmlOx
/d/9WHv/2OLpNDO1dFin7HHGseVjSD9MtIzCYKfEZvIfLWlkdUukm61z0o7hM3Ljh7Df42g2TVtL
Ebna6tJCW1qy0jzyg9d6QVUh/HHfJqZ5a0kC4o855yvmjZahS9gHcbUndGvyJh0I0TojmIIJzA09
lnX90rlbVNX/sAICV/OlZdAiudatvRNkht+hgyJ6Mfj9OIA2rNnUQw5C5bHdg9MY7K8jIjqSrX3t
dHbi0P4KCb4H2nxq59/37W9InjrbjN9Av3ibWjuh7nJavc+s4TENpzhQX4iznbbp9f53TD/i9v83
p7hhCyeRFb2duLfnBD+PpwD6fmt4bBvT4RFB4JDMCzA8kX2Mi8YDETS+P3OThfSreQ6KcqAFp6RC
91Ywb5HIH8J2+AIYwIlgoZtpZykMucjXQriaGtsiYBVLvLxJZntEHgIZfX0FEdgDxHsjVr0u3t5t
0LQeWlArq5kAsR/sRG4WNPnsp2Utz/tFJVM4aGFN2FD0nZyyaxXM/klZ289lGg6eWXSYRO9ucsn6
vkg2sP6CIsmFuDE60HeOLQbL6EiJCcG2BnwqkmUDlp+G1RQ5jtNFhK97zBYG6+iICc+2w01C5C/Z
SNNHq5xGSCctn+/7q2n+2m7v9GBY9cbNxmu9OjsNf9xUcbFZlxwb/vbZN4HcVZ6z2rNtJyxbzh6v
zm6o0snJD5VoPR0zwfIm7FD7XaA/Sc5+Via0BL8+4ztp2mQcLZjrAOmuke2SQIfsgQ3ygbf2eaF7
DzqmhdVCWHkW4VvXL8ma8Ufm9p+AI9yZuSEN6Sw0nj2L0FlzkrQsOwF3CvGt6pF8WtmUyP5568Nj
BwmdiWYNCRFVVpDE85vUssFC4VnDXm/4zQffuWTqXDTrIntazGxJgomfBe0+sq29LBP4Wzl68+47
qGENdFIa4g7hUEl3SeY5jL2+ThYwP90f2rAGOiMN8UXe9A1dkqn6V9rPPZQUp3+XAmKm4XXeo/U0
2ej2/zcBtgzMya3NchJWtOtTXa80Bj1yl7CKhGeo4/26/1tMZtLi2Ctth7GQLKjH23Guskg0e02L
hiDTRcCYvW2dK8Il8QPvIjb/ymzv1AkeH5u5FsPbEoR9Jtcl6Vz1KaTdp57sNQObjKLFL2vXqsl9
GCUvgXRi6mRDzuj+rE1G0TZcudpQbPTgO2IJY4r7+whOkIW7O0YxeY224W5eWHu17y0JJ6jDB+kK
2TOQhubDTs3SMH2dn8aGxI+7rljTm4JQ21bXds7P82ad71vHYHgdy+YJJWWzYfp54z70fDvn7f8d
G1krttJy6mroGSwJEOnRtkElUe15i8kmWqSqTbWFWLIlUR59GKvlsRHDScl5xyam4W//f5MINp9z
CCXzNak2FtPV/4ALd4TOkp3btmn421K8Gd6DZkrtUPi6nOgTpAiuNQ8f/HyvKmNaUS1Ke6j8NVXj
L0ktFcCJf7kj3bGLaWQtSFH4bwQQMBiZEWgOFB9ovie8Y7KJFqSKtsHKXDjLjK732u3jDkjHFkzZ
933REKS68k7jBqhgZNia2u1jOJ7HzIrAshXxZa8f3WAaHYw2WLVaRIj5K88/+0JeufB25m4wjY5D
s4d+m4ceVl8gDGJ33pO9yXjO9l6MTDPXwnSgDeHLkK+JJM+zm8W2VVzvG900shals11lYF3DyP5i
PbPAgjqI4x5LLjqeLKwqsBmBvCNZApv+7vOQQIyoCcq93l+Dw+h0NKWSeFVZZZ14w1JcmTf2l5WG
9HahgrJwO/KdQ5/pO1qwhvlch6uLVOMOKXP4KQCbtQgQt3Rn+zAtghaz4JLwbFc2ZZLlU//iQQwe
0L6MsJ0qkmn+WtzSnnOQ+fEqYaQM7eLUMkf1qDQTq6qeLTXVjRuBesrHlf2YU2nbrbvZZWOp2knm
YpnaKBAuHjdnJyv2ws1gMB15VuZOb0+VcJJipjJGUb56Yn6wd5kw2EsHnhF7rbd5a5xk8O3Lkj1V
a2o35EzUzt5iGl+L5q6y28UPaZOgpA0dTpd4zL4wt6ybhJd07b649eyxHec1meo2iTcb2dpvqFXX
q0q2mpyzBeyczbaz1RiSno4zY2EtFwedUwlx8r48bWINxkvpefMUl7ldHYMou4HmviPekLJ6tNyE
ChLGI8mXh061qHcXrN55HHvfSFQH5PloqRbWkoWIcBlXk/PEUdC9HwvvG4nqRirqIF8g65klIZke
WrDG0qE5j2hJuD+8aea3/79Z3sYHIrVrKpmy2jmHYPoCgGhneU1Da2lvZnNZkp41aZsPjy44q9ap
2Bn6/QigOhqPZqXjEh+zztc1Zn1dRdaC1nvowNfOIZkAl+pIvFWB+B3S401KUcCFekj9EdqPn45Z
XUtwy0hG4BRmkZIiuDiKXb11T0/L4C86Co9YAORvbBKpvQkoNReRHfyft0fcYBr8dnV/4y2zVPNM
Cq9JBf2dKxVVTRv1+R7n6i1//Vm/oH/A8KzKqhvqdWkW2CDukm2UNeqiZie2hPXAeXXsIPeHoJkP
EUJCRywtYG1fRB2Cen9gD4eWVufjKXljL8Cqi9Sdv2eOdakyZ+eoZXhyoX+g8Nqt6jwvqNJhmXAL
rSLVidhXI+hvP9eAb6j5obP5qRCHuE3dP0TOOq+Z1spdRCrkixgeSffSu8ci4H+g6jee1NqZWEc3
l+nS96cmn05A3kfHVkDL93LbAq/hmDUF2/MqVSL4vJPnDXnnfyvzZtYLr+tstZDSiPvYVg8heqRU
/dKPOwctQ8bUkVd97tc0cOCXrVU/IGOevT34smHiOjdP6QdDxjIELqvbfyb+MlsenkeHC2DYh4yu
y5qB8FbYU5F1KZu8hyJrv4A8YYfiz2QV7QTSruVU5iXmvrgr+afuq+Hql1321/2JG1KaztEjQmmp
7JZ0hC0TfyufZ7xx4YHi87Hhtf2ViqKHYleTJc5QnjNrvRa1laiDBX3Ir/03IQ/cctrFFVnSAyzJ
1vw6oz/N8v34/uxNbqNdLLZlJZtVbF061vbZJeFDx7qvjKgoH/O/73/CZH8tWuvFrvrQDrs0XPFQ
09iAnxHVfvGbdd75ESb/0TZb3tUolrSot7uFm8x4ZlzdL/fn/v7If6iY3eDu1PaCLrX9Fi+Xy63p
3S2OIQP+EDLDqcepxAy/793pgxR/OziCONsxtP4femVt2DTb6NMmdXpAukf/R7+1/yyL2Ana95f1
D82ybGsHCJH6XVoFKkY/5inzUZLZLQ6aLH/77JtEDBanMus8W6SToueeO5fG9Xe2D9PMb598M/Tq
z3k7VUjCNmpqPtSDWTB9YmRPJ+79kPpDsqzk3dBsPTbxfPbjqcPFrf1IV/tUdDtOaZq/FrNtU6uh
BBwg2WznxHsFRYIuFnI63/d50/y1eGUF5TcNZOTLwC6gVZ7Hfa1+BE1zCoM9/bL3X4JIqEWs59rl
OkGeL83H2+Pz32JRUR/+1ZFXJ0+3SsSHfooObStDSexK4KeEzfPs2DwK+n83Jn/W/iGOWJf8gWrL
SNf1t223Cp8CPEgMbTTKb2yXo80QBjquralGb+T2bWv0xos15Cer3yMFMw2t7bpulvkoi5EuVdYT
aKnOnT1f7pvdNLIWuxXWtgpDbCqu8wn3nniwmh3fNI18+/+b0FVDzhey1TINxJfF5h9nb945rhqC
SgeX9VMWoCsFruI01hm8So+FKGNWkpf7JjENr8dsmztrJhfcNXMKbSQFeN4Xny3DEG2LR77f/4jB
OjqKh+LZsAtmXJodvNXceNXzKdwxvCEp6CWWPO+aybPCJp25rCKZF48VBEuCNY8De9upehmmr9P6
kIK09UCzKnXa4UGE7XkGP/kxy4T/9Zsxb2o33NBPWfQe538VORXiryDPIEZ2OvYF7eLcFSQkTtbI
dG67L8pB63Wm+K9jY2vlwAACFEXVB02aNXyKV3ujSeE7eyzIhlZyomPYRD1AFT2XTboig4mWnkYA
OdXyjEaIqG6tk3K8yMHt09usOGvGHYO9XwsgOt8PlgP0VmilSZn4tDUXvBtHjXhuizPh7sFVp/9d
9crfLFUNvE4Lyc+eFPFQ7QFfDb3B0EL479iAW1qAM8BoEKP9UAgst/PcjwuENqyTr+qTV9jn3llP
SwNSM0+d6nDvqdqQSnQlNPS/2rTb+ixZvCASeOvJoLzK1zE+5mza1ky4FZbrbV28Zow9iCyGldpZ
D8OurwPPrNCeMztYMyBKp0tX/GqZGxHsPJ4/n1f16jbq2G/QMWi+N1FrtSaeOt5Mo0l03ZktWb6z
vRkWQIefFVtZ4DYwZMkcbJehay6TR6Kq2qPsN1lJ25cX6TrV4i+4ULL5vOAFo66jzG5ixn+BIj7y
p50tyZBuddoe6OqqIQum22qQU8aGiO8SwBl2Cx2FRitrXIsJPiRvrX7KSUpVPq+qONti2+sgMa2C
Htyl61itO2dJjpbPohWxN9QA1O2plZuso8V3j/qVAieQTBW4pKZiOjXB7/sBZpq4dr7uyNJWlcIZ
Bvqdsds0T/PqPTTz8OX+8Cbba/GbScWyHJe/dGly/lKiJznmQKvG6BkKoq4L92jsDAbSsWgSglw8
X+GmeBxMgiBPoQd0vv8TDFuDDkFjXUeGkLQybeQIcj90yW8pW9Drt6jzGP57/yMGO/0BRmu2wPV7
JCM8zcdW7p09Z4tH/mLR4FDFjOgKaZIP4UYXiYVmzgmp75W4bKemZTL+zbfenIO3mQro+QqJ23H9
yie1RZbNlp00bRr89v83g7Mm9Edb9Dhk190LdNZ7oGvHYGdwg/fr2miWEHIBRBjbvm+f5Eb+Clc/
qli581BuGl4L21K0agUnrUxXZ4WqG3/oaxLlx/iH3T+k0daqh17OAtN4ooymdgKK9KfF/7nvkSa7
a5G7sn4iIeC1aQGgUh6yNBgOiTq5RIefQa92IjXQ3mkffBXkV5t/DsXO4dRgcR16xkKJrlkGLy/Z
cqrCuAA5ntxrQjEEqU6dxpxhBCEbMkHX4mY9MTGc58xKhSI0yv324b7hTV+5/f+Nw1eyqICI6nkq
2/HvNh9PauVPvF8fqmDvkG3Y1HV6NMalV5cDFkDaLzhHRxVhUT09VkBqe9kvVe8U5Uy/RAvdbCFL
bzF8ZnN+i+5a9rhqkngYD3XZ/aGcJi3ZCevmoXX3HZxWqSqPgRCIzpGmWsfOFxvFymCoLA62P7xW
R0M+rq/3l9jkpdqm2/I6D6QzN6lXzdt5yO02KuntPrgdZMAjOjrNzhx39e2uTIXvIT+IR6tDv5d7
jKGD6Ni0kOJlisqiRFHlVotbXWd1IIJu762AwXV0gFoHTFS99VjbsIDMFeuuG7FeR/S8U++Q1JFL
dE60cArtYaDYtQaJ+xIbHraxP1Y70OnQJkfZzVbZeLcDsV7ES/Bm0K48luJ0mBqupnm5+XAeF2Dy
zAGhqz19QCfEzonNkPd1lBq6uvFAcisdNEH7MihcJuhI9loGDI6vq6ahzg0dD480KUTknraieSKL
nYI6/KDdtf12boJ6XXKFuFp64OraALDpMD8G+iZUi9p67FmYV9hum+6bP/6rutdp/udQQqDaZlsU
/uorC0Mvi7rmQxPn7fw4c3vn7GeIJh1/RoYazANi5unYk19Zt/a44BIWdyVyghpdvpPvDduKDkQr
ppb2Cx+xP4rnyo0oKD/BZT/2fzvl3wC8HDuz6TxoQmTNFMzw/9xazyzvL461nMH4f7q/FAb/17FV
peMof2Kojaotf1qY81rX3c5zvsH7dWxV6RULOq+xrbgtpGHt7ac7+1AIYTvebxr+9oveHBxy4Y62
PwMtsE35uczDOOPWda73IOYmJ9KuuDIfhL0uJfLlakWW20RV8Mzyz0N+jKaF6CirgszlBjg44gtJ
c/PldVoOnjh1cFU1uG7AZsbThg1nCohvXS4np3Ev933GZHktfHtB297OsZWE0CEqCzfi2/g4+9mx
hdUxVk0Z+I6oBU9n1X8eeRl7Tvjal3t5zbCwOttZo0bfEhUuQfkko2L+4ZDnQPygzR51hME6Os6q
IkAlkNs5zS9QvHDVaVZWJMY9GlDT8Lef9cbtK0Bq59pueFqEdew33nnd1MWZ553juCEf6AAra2sz
XlMc+jN0C+MgFW/NHgDNNHMtYCvHoVvpYmgoC17b7nNZgmSUfrrvk6Z5a+Eagv9gwIM47m+s/9j3
tRdXY2sfNIq20U6rzNpwG2TqWl51dqaMXdD/sHMCMfmjts+KwV5YJXCHQzb7WUoIc1PeRIXMkqHe
u/ibrKNFrLO04xiO2KqmdTrROnuZgnBn+oZV1VFV1PYHhwaKp76sxuysuAJewGoFay7lZlfLsZyj
Q6zqmoHgs53hPGh+HfBaOpfs5M57T2wGA+kAK56rMgCa1kqGIZC/uc0hnSFKesx/dGarcCsJ+Mq8
JpUW38ByTn+11h4DtWnmt3V5kw86sSx4OpJtWq3DE9AmH1rn86GQsm9ffDOyWunSDV7XpmvdprYM
IhwVTveHNjmNFq1Nmysi3AVVLm+J1RRE6P6LVRUeOzPptIGD7VrrDI6jNM+D74MLIQJCPmXBsHPw
M81ei9i2HHqrY3OfdrkCq7v1o12+K6qOVdF0skBpQRq1nFeZCjf/l+fkdduYF4fQ9orvG/99j/lD
7iwDmGdqKrxojm5WxCRzvROX487mbRr8dlh+4zTCrYTdN7jyWI1fDifPqm1QbyvB9wqk7xvf0R9M
Z4/6dg711XSr22deNedCzD+U3+1UWd4/1Dv6y6jwZrB9rkOf8ir16w+191Gwj0WPas4TwKk7/mkw
ko4VwEmsmPLNQs5cZBSQNm3VXjeUyTxaZI0zCIUBYO6BumnBP5Q9UmDnAlac7/uOYXid8M2tCxoA
NoSjX5mdqpxAF3GILL6H6DENrx1uOjT2oO7kwDVr9tkL8t9FN0eq3nbysGFxw9tn3zgn2qwq4dsK
FeTci8T8aSshWvqyto/9+qLKl/smMiyuTuVWVfayrXTD41U/RCwTF1ru3UlMQ2uLW4SQjwokUoOk
YQ96D49cGo/vdfKYRtdOOWEVDnlRdX2K9veT6iWqyXuPz6ahtYwJkbygAGEX7jotv4jSO1Xe3qnS
NLR+tMl9b1sUroEN6lqLyq8j84/lMh3BdlPV4K6DC6worC9S+UNU2eFf973kBn75sxvjDwE52g6u
FAzGDoNf3fAxKP6RVpKrn172lXWQQni9/xlDQOkQNqtcaeU0sk9Jjd1wXD5CQeC0hvmP+8MbjK+z
symIaVVBufSph0sy7b3IIzuHD9PEtVCthAc9hQB5bB0f6vBSLI/ueqgu8Yd6XBGwCTLmZQ/E+/yz
mbfgnNf2B8hD8EOnG0eHs8nCHnBlwPmA+l8z+sWdfoly55pjMosWowKl0LLKMTQnqdU/Dn2i1p1W
RNPQWoyKze2qDQx+aX6TAR7RlNV+qtVeteP9W46j48vCvl9IOcERrVxEIUoSPoMGRFvjIU/srKvB
GXXOtKrPPWn1sE0D3Mk6hCAHOFZQcXSGtKWWoSpuZm/nX6WQJ0/8rA7aXadIk6UiC2lhdx50kTP9
mw80KpvtyFGDMf3Jtxn8TdiBS1JCuvXaVxZ4Ytd872XtXZ/B6Jo7FiX3s36hNFXD/KjUFFt9mQzW
oVIKhtdcko6iLjpCaDqWbVr4YH5u/Kd1PlRKwfDa1uGWbCV2E9JUjvkTk4+SzJ+EMxzJAgx8NP89
bHSWWgUgMWuq/PabNzrf7Ixf/cn5ej/1GkyvP/06tk8yOTOa8lkBfsM+StaeSOnv3HHejVfM3v/v
7L1bD9BoLyTNei/GFhsvXvjTQiNPmB2iZcEntMOe1VtNXVYVzC+KuBXNGdiZZDumGofhb4Z7c9iT
nVzZvNYMZURvgOTMMJ5qu9hrcjSZ/5aE3oweymKwvZaSlI7Ndam9q81d4A7L67HV1U56gKApdL8g
sEDRcgbvximTMg7FHgn5u6kSttHi1p2gbyInQdOOWZeFF2fqHHrPx9BazAqblyy8GSYgAXQMeJyt
5ZXTzx5Qucdso4VtT8rACVdG0n6wU6drr0uwXQFvvNwf/t2TGWP6W6/fOJlfSJukk5cXp36lMpq6
so3IOmZRIDPQ5i+Cn4ZmXS/MbkVy/7OGJdGfgCXHKZZMSNSs8p96kafdfIjZDb9Ii+Wyxl3QGQl+
Ue3eDoIRhFx2jGWatR7Dc53Ndlsjhl37IehY5Ih256hzG+KPEzJmrcUv8J1+LjuIwY3h+rRlqJvV
9jeOB1o/CA/OXgtir1VNGQbhkvbiYllO1PNpJ/mb7KLF70AcC0SM1pJOzXYq0csN0Ngx99flrsLM
Lv2hqZDXvCxqpzZBU9y3pcA9/L4jGjKb/u5buFambHtF6qnlMwvRX8a8v8dwrzZ3c7r3llWLXgVy
8FYEEtPn9KVq56fcr66yqgAwxEvhtscvYPiM/gZcu6BpkU22IPv/ZTHQa7927vcBuBZGdgLW4J/6
8y/krvygGfBD2r7LTywM6whcPa+8ARh5DtadjcDgSPrzbz5y4CnQmZra3HkhdjGerKo8pLiAXUCL
Xie01srxhJNaSxuz+Rn4oiiUdTTPvzp5cafyWDToL8ELZB1bn0j8iH6gDxVpfniyXuP7/mpaBy2I
Ox7WfBwLlspi+2ch8lxU9jc2TE/0aDQTLZqbCkXNTnROWmxePM/qEvTB+f7sTeur7cScTZbE5NeU
VnD+yFKlk6jSn3buRIZg1l+CQVDN+gr6eGnriKtTFz9By/JQc++gd+rB7LoDmKoDmg4DietWPnNi
7xRiDYbRX4HXjjaTW8PmPiteAM2Mt+4QKTVOKLfy4JuzW1cK7g18YGlfTN6pFOrT0vk0FnO3U8I3
JB/9CXgOJFWzkk4qhjx2i6+D/d0fisfMTzfcq+87jmFlHS12RZZZ5dIiTVezzCKa5TwafaeN6lXs
0eCZPnH7/xs7TUFbNLOL3FPeuutp+1qu/GyFewnUtMJa4LoSQrhyHnG7s1t5kv1sx81M9kQ6TZPX
YrZwxi2oN1zuANMB3JCkbe3HgNM93De/aYm1uBVdCGGCoHXSoeLRApGIxvvS45FDZeEp6A7er3Xd
I6gHh8vSDjSlbn1ZGj+qFy8Zrb1mGtOP0MKXFgq8IAP8dEaXmW1/nFBVXnkVb+wHbw/RnDCmPxCP
itau22OZq3K8tv58yXP7S6D8nRRkWGf9YZijZadsGKdpBu6BZezjDGB/q9oToDDsLvrDMBgT+lFB
RS0l25xu/j+8Ub8C/1/i7r3GmeavxfHibZ09LAFBk7H83jVdxLvxuzMUO2nCEGQ6AccKZtUZ6wwP
qsTHjpcf/Gm83A8B08y1+C0W181B7YmF9SkY/Zp2BBXBRk5jyfYYMkyf0IK4lOVYTBsy9cjq9TSX
4qsVVl2CuNtLoyb7aHHc4pbaWnN5W9/bvQtl+cel9NSxTUwXmWs3EWacwzlHe7AfCLqAzl4gdnYZ
k3G06K36qSlXUDqlnkOTrugil0xQAD9EYYFrsFa/amnhBzMoc1Iwvl/BGRixonpUyNRHvIfq8lVd
KEDrVqL60znWR0jW/ajpikbNPZKD941D9YdKZx5H3ncFTd2ePNSMxoMKfob1XgHFNLwWtfbWOzxY
J5pa7Zo6K4k8e7gsxbHCJ9UfKtGvkI+z76K413qf8Z6eDoKXkWu7n+8b//2sRvU3yqKQnsw56j8u
HtHdpT5bFIVtKKRDrXsnO7wfWCD2/O/hgQzOADi1RdL5/zm7kiVJcSX4RZghgUC6QpKZRXV1d1Wv
MxeslxkWse/w9c9zTvXUpZQZ1zwoRUihkCI83GuZQiPAFhkPkY42oVN0n6A4Ltp8877psPtp176T
S/5QDVk00eUqE+fzfSu9HR4doaSyWuJOgk14tuSbqKOqmFjAHAD6SD3+3Cq8laAlWx06px2VlCNH
IjorCqw4ByAMhftiPjl0MJHdaBZDrWSWLAcp0oj1nor2qdjTBtKPnalurFkJlYbDLVFQqDp4suem
w4lL+Uyrsg4Zlv/c9MQUbnTfcFulV7dROlk+5y0eqw3YEE5JVnTh5uZf7i+1xp/VQmY+iaolHsUj
sih+j/P8uV/TPMhmkwCXzka3/301+QQlx6YCSj9eClIigeg+NlbfBKTLPqZFZshI6Cx0+/3Vn6AW
ky5860m8SlDszvCPAEVxE5/L2wR5rqOWNVM6goZ8wZU3HYf32P+hTL451X4dG/cy4wbcTVuYsmtO
TGomuu9RXHwo8rzMHM+NC1KD7XWNJvv3/eXWjax4ti/QfUAIPgWcyo/Um55rUpzuD63bSUpUziFB
IWaRuOhCIhG3smh3hzjdiOFY1Wwktcjpgvdg8QfcV8a2eCqtLSCp/95fqghtFIbIrDGOWuysHcfy
nAIJFVYwgIhkWjXzyUuQUjOcdbd39p8pQEeteEL/lFnDON2e9u7TlsflPsQ7EDlStqEEn/icNIbF
0H3KzYqvPMJqcHu8UezGfNz6y5x5P4FXnQ0vD93gik/vTOZyZPPNpwHaC7ytlO9tSFEarne6lb79
7au5JxvU44izIPo400MPgEKJojCooU/QV3y+v1d1X6DE6H3NCxCBYq+C7fWpTpwyGGYTvbhu+orz
Li7ji72nLN5ScM6BI9JN9i8jshQzaf69P33dPlK8eGBobchwbsc2nyFsLUPh/21vacjwhEWFvtl+
3f8fjUv7iku3owW6kQSfQiS687r0Mlg3Gp4+OjS8yszhe2zaZ7fb4h0XbAj3XvI0j2druNwf/nZf
f8PbVD6OpcxmsSEOAyBcBznKEXn3sep+7H4drA0uAgW4xj0T64vuz5QgvdB+bcZbRiFxpqi3q+tI
27CokCLZxKlZ6rBM/62MNDaahfEU9+ZWzevWcZCC96aHYnDfbxKyt05+um853fC33195YN/vAAaM
WPd5ZlcoCX5YkeFsF//T/eE13qcSdWxSujNe0G48QYe4SOffQ7cbzg7dzBXHFmvqoTDXIEosHait
y4hZ4rdHD4FMXcdTfJvxDclHsiNClOJ9RkTYzcX7AnKTxwyj+HUHjGY1zMi59OnIkxAKqZwGhQ2I
hWFhdVcZT/HoXAzOshJs053vYdmzIPf+Gvs5KiDimMx1tCRfQJUZ0N1UgtUsiErYYfX2mCc2Uqnp
lpxTtuBq6TzQ3gRs1Q1/OyFf7VRLjLV0Fqw3ofu5natTh9K4Y5nSMJqdqtJ1+EveT81aubFgvR/Z
NhojaE9M1SFNpFCpOrjfCmtebTfOx/HdPixhtfCXdZuDnBzL+DtM8eRizoa8mW6u5q2h4/nhNNBz
il6e+xtW9wU3u70yPyssyNZxyUDcDSx9hhXul1PmsqfJ/nH/H3QLrDh0n/ZNWYNmJIag2XWFVE8L
wW3mHELnodSuOLRn777PR4YFllO8TQu6AmRcTL9EYmIc020hxadnh9bch6ZyvHr7S7o5Hz1TfNON
rPjy4CWeaBJcYiq7+Zn3zqPNTPKZGqurEK4kH9JKcLwKV+HFSF2f0nw55b3p4awbXvFaMiSg0VjB
NbJDj6oqoN2eIklImaH2p9mVKoRrmUGxxx3rtqjAdNcsAGnjJ4buJmP81f3D7fdX+74FL+boeyle
zdMCpUOkaKek+ib34uwkJjERnZFuv7/6jxWp/G6ZbkG4hP52IzooeNmPtHCOBRtX8V2rv8mJtPiG
2hdL0C7cC0BRa8j/6iavuG2LhybkNy0nnpf6pRhIOFrry1CabluaBJUK42rKqfWtAbbxaPl3MdDI
Bv69cdIPYJwJncwUvHTLrPhu5g7QZ0gyNx42ed7RwTY07Il4VVgnq+GSqnFilb9jqCZIY1kbi/ki
vwg5lCevpMeqaI6K6KrFuAs/gSMs9U2Tc0Ird/cx3U1QQM0qqMitvNynkdrZHjdLc3Gs4iqAaKlT
EYxcRI5vYrTSrIKK4pLjjmdH17K4GV6EDJvqg+89WothATQ7VeXw6PzaSiqvwQKQObDa6bJYIpzy
4nw/fmnWVwVzWZ4LuS3UKfCESoqgRptxuOe9iY6O3PzpjTeOyuIBcYVuBPkIi92hlXG3V1OQF8W/
7r6L82w7Tljusr9AqM9FK//6PcF7F1fiqgndJF/PPgGr/v3v1JlRcfjOGnyv210WL7MVM2e54NV7
9YrekHLQDa/E6Xyp7D33RxaLEtIg9Eu9fcitv45NXfFyOjA6Q7oDD/ZOgIVUfMIV47TXzqf7w+t2
gBKmR2fDK93FEm0ZZI68BAKko9+83B9cYxcV7dV4rFkBWQMMcRu/pq0zXjIn4xegUYa/7/+DZvoq
2mujpGWQ7kMuMu1dN0qt1AXqwkss0xVM9wm30+VVnIOcjxDEQRwa0Hhvdfu5bKsXqIOYkm668ZVY
3fjF4tlu7cYZKa45+FiXcT3njSnTphv+9vur6aO7vJmLMsch2IgSL/6BBd1a7KeSJ4YrsG4Fbr+/
+od2YR3PVpvF/VI80aS6FsMhqSzXUfFdeG+Ci4Ctt4d+H+Ble/Wsv3JiUp3WTVxx2nYo7KnssLJ5
7YfD3kaOZwJw6IZWfHZDNxdeyh7wV2XapoHrTs0//jQVJrVy3aoqTgvChh7UXRVQw9N4aZL+meQ0
mPzhWMFCxXhZRDZiWIDR2UVx7ZouO7uQUjx2FKsoL0hJWuCzxqI2Q3qeSx5tfDhvlgnnrjGNivHa
0qVMCj6zmGU2NDXyBwJMwjKbOiZ1wyvuCtlUPlg7wdNj60LfEZd+pyfapccCiUrzsYKAfl9quSNB
NJx6QS7DWj+Cv/zj/dNSN3vFV9m02J7tIYNjZ9OHusoeWru+QvjbcJu4nYlvhPv/rgGvjoLdcllW
pbMb21PqnLp6cCLXK8aPk1XYEXgKkwmNiLMV3v+Ym8nf+jfFf5cx4zIbyz0Gi8Zpwn2ud/dPKS7z
K3GPRRcV5yUrPq0byvRxlngRS8trlptkYTVHxH8psFe2klJs9tQApVCijzr0SmsJiLUd8zEV21Wt
fsv9Hac+LTsSLKTGvVSgZYib0OKa2avorjUpdx9vesx+sMG4V4Aped6k4XWmG1wJuWC32dcaaRr0
ytNI0PpczfVBwyjuOzLZOQmqK3HfO272HUIleRslk9OQdzwVuRvc35pv+xlVy9aZD0G0zLGQeKon
UBqj6L56D7QzPZzezuZTfvvbV3tn3hsOUDJSK1xyyMXtRRtVLfDhNkNbfm458jTvEus+N/1ntCxm
Bod7+6ucPzBr7mgnFD4OWGJ1SptPklOIAps41nWjK2eTy8d+8ETrxazrnrbux7DSK3OPdWf8IRk1
UWeGzj0W3m6SYPQArW9/2FYXHVlvRyU2sYkDCse59OItL97V1hTmxH2qCtMdVHPSqXA1exvo0m4+
MDslf+qS4dKVU2xZkJLv6KEd66jsJlORAPRVd148TMkLEnZez1/67VDT4h+KUflCygTvS8AFGyvi
lfs8udnD7G4RneShV9IfslHW4qZ+Dc6UuByn6+Y2Z9/yrpZRpPHtzfmHblS35pZsQOoN8rAhTPPt
3NE+yotjpcY/dKPAwgpCRwuJ6k02IeoEl2HkYcqnQ2UnqsLWiqJHzpGjLlQ17Hsmk2f0Vj0utWUI
+zrjKJ6LRz7gJyv2DrO9j7M/AdeXRq21frnvXG/v/j+0o9zZLseGFFuc2tsZKaKgLMeIVu2VC+90
/y90X6BcJQRuvCKl0ouRpIrZ4CAeNw8grThoIOU5QDoKTokGb2wi+YOdebj2Jr99x4qOzV55DWx1
KQe5Zh4SLEVMkv7U4VrhCVMKSmN/FaQGjetp74Z8i5PGiXJqBU2TzRCYHz70c/310CeoWLV8gvJC
2yJjurTVu34iCJZZZMvMsL63nfjnVZGqdBvgNdiBRgeYu63mcw9GUMDpS1OW683BcTQo5s8bx+/a
EuQ44AtoYRxqvSNlKQ1np2Z0FYUgaNEsuwMdPxBiYIWHvRmDbuDi1wHD4+BRah0Qo27syRlLkKX+
Jcqn1pmDyajK++bOweDKRY5OWbaQGwFx3/no9P6M7pt/ttoL83Qy3Od0/3D7/dVNqEi86cYtUcWi
LSLA2wv2tFM7qMtv982js/7twHg1ftmQBLV0dEAO069p3IugtKmpoVM39u33V2O7aK23vCwB/4vX
nyT7SqU0XNR0Izv/PzJO49GXmfUfr13YEY7kuoljVDe0clLWdQVQftKWsdPghQogiTN19HTM2Mox
OS9g767tEZRB+xTsYg7TsjNcb3TTVnzU9sHHjCd1GRfb0AXsJqJledTA0KIZXAURVM3m22WKTQhy
1FBY5QMU3o+ZRFX9cObdY9DMxv7u22AjNOiWg9tPBQ/IuW+rvMT2a0doxFRDJKxDQBFcNxSvdNx2
GRZ/KmMh3NDq3Eu7TwaDaBxeRQzw1SotaAVUoB0pLx39AIBfvvuXzaTgqRv/tsavnNIq2NKP1W18
EgOw5Gci6KynnZso5t68acA0imsuY4riL7jHr06z/T1a8kONTt9AZAc3uooYSCTgrRmDjif89MeW
kRSitds/9/1TN3fFPyF3RmQhWBH7yaVJf3F+xb8ZHFQ3tuKgNe99mklwpq+Fc+W8LAK514+55ZtA
y5o/UDEDYh6J3XPsyUmISPbtCQCFj/WwGfblbX/8ccOg4g/aF4/Y9gaAY8yt/KHJPhblfOwCoMIF
OMvbwsaLGwqAi3Pa8jpG6sLULqmbtuKp3EpX5OZgdqSse8gjDk1UpcLUqKob/bYWr5zJtZN+K7Kt
jJP82yqfx/YIARyMffu/V+OKilsgAVlviuFDSLv54kOa4dAedxX/9AHZItlN1kBMZWT76VO1NydU
3g7OXAmfYACvu413iEOdu6bBZFX0JUPv9/n+7HUGVzw0t1AfXJFQjEtAVv1tfajFsRinAgGKXWT5
YJUSFQ2UkbYqosl67LaiwgCAAsj6sV/hOlkfDFP/3hLE4Dsap1chAEj61F3TwCvLIoXmHSQVceQ+
cW/+ct/emmih1v4bmeVJ3idFbPn7B2h1fi3qQYYl3qhEbAbL675BcdHdS6bUL1kPSdqPzHsW5Lnf
vh+bvuKfSbKt25St5Jpu9qm3v+Ub1HdsekmmJLr/D5oNqQIASEZR0BC4d40+ZAEt/sRpdcyVVBEP
2213fyvkEAvLDWUNPpT0EPYICQfFSydUMPfSwbbJy/frmp6G2gQt020YxUGzbq0WK8tkDN6xzDmV
SRc06cky0cDqhleiqJ2WpcMHv4hn0HoFw5iUQeHN87Xrm+wysslE0KPZk2pdf6YOkHctnkVVvrxv
gUnw/fEMIYxjS6sW9X2XowSWIuSt65gD5EfYg8UOwbshQKs8SnvbpQC18gKtLaBFQkm2yP69v9l1
VlE8NU0qn0CRSMZyBJI1yaKtHk5rZTondcPffn8V9aZu9zkOAxlPuffC29+pa30b9+f7c9c4KlVC
alEn0Ka2YZWW1Ge7ss+cOV+PDa2E1GnzU5C3YzVZHmH3R9wlhte/ziKKn1rUnjr0yRTxUIjQLWm4
Dvm5Gw8x2Nykiv/f4KVEW2znZ/QKEq2HcUuitiyfNjai9eoQSzz+QnFYRnxadO1exYjbXzPPsR/z
5BhHERVqGR/U515h3453nJP2qc1aSOJalUnNR7Nj1Dp+z0QqOOtlLJZEpud0ANa6QvymwDwe2jhq
KR/o80b6w0SulbN21xQUD6fEZqYXh+asVIla6E0RYahncq1n58NN28tp5I+ZPzalqZh/O1HeeBOo
xXz0JfdIO5Z9nDdfWRW6y+d6edfZHwvLlHrUOABRvDYFSYWHWvsQL5MfgmYGgko4+7vGgAPRmUjx
XLddl1GCSujqoEk/H36sgAeKqfmZJsnp2BIrHtw0TVv5PeKhgGJTSBo6oAmXmhCgui2qOLDYt124
Be/jBPJ5pZcDkmCC+OpMoziuN+fdNPeFBCn3F4KE6dA+U9TlxoMrq1bwNwQ+f9wXmN7Jvtrg90mJ
99P1xLE7t1q/T9dp9JcZ5464oQ/GEaLcIJgxxBLNrlS5WZyaDUWbSxlnTRHi8goKGxIm03Q+tGdU
1Y7Cl3QvISQW1zwJrGqOnCo1bEfdzG+/vwqxo7Br4m8jrme1+5LtSYSL93PSmZI/mv2oKncsvtx8
nggkCpvx+86ax6ow6YVpzhpbcdV9h1rnUllFvI1V1FnWF5k3H/2ZFAHPy6hPDrVeUKFWuv15FEuX
Q6TC8VfgntwP2Q5d1j0z3Pw0bqVWuoctpXwinFyh5fNosfQD3xOwU/TvRbl9ub99dGuseG4yrnQp
/J5cN7u5oP/ueS8zIObtQ1/AVXoWe9sTUJwgrTrs5WObotV/z5/9bA1Ko5L721/AVYqW3rYG4Kk7
cpXZ8q+0kBne/fdAKB06G7hK0WLnNdDsHo6elaT/bFb9A6Wyg0Pflv2Vf0kvySpRZwPQ7ECC3xI3
SWPoqnnbt7ha4/ZaWcwkR35v3OpvxbRUQb0NP+9vmVsx7M9AzlVallFaW5sOSR9PfX5q7SYNCrQI
zuhT6x371Ann6je2CYmh+xDFk5e2K1pASSp0T7c8Aq98f8pSkxS0bnAl3jKeF1CUnRFv3X17nCQu
VxOpPt43k25wJdzWib9VnYX7zlrzQC7ueRCHOvkoV2lY0JLFkP60oA1wSwr/m5AhaNeT25je5Zqp
/1HjXi06Nv6OHoWyQ21bzsNDOXXloYjF1eq29PouQ58dsqz+AqVjHi7chL3QTVx5zaapDdSaawMa
DSBktXZ/7atrQI3ohladdbRnuWUOPEr8Wp3y2embb/c3iuYAU/FrglY+t4VXxn37ULbfSBkR8c/9
oXWTvv3+6oTJOMtEOlAMvX/daPo0jMOnYyMrfkmnss2TxEdutfiLLc4Tgyjn/ZF15lCcsoBueoGO
6hI6zJ8SNGyTZ683TPrteMq54pKlty05qMjK2G8+OPmHpIEe6oaM2SFIIOWqfAS3p22xiVtCwns5
kcz+tbVe5JP20AuQq6wqWQFmXci9SbRwie87rk5hnjkm9UCN2f/gU9k8P2Mo7yPBNJ6Kqe+D1BXh
NtcmCRzdHyi+ycQ6TmwYZJzYNEx96zTxLGTSPh3aNqriVtdXy8wosh/Uduh1zfb5cbLc6uSyynSZ
0XiTqrpVzJ1YWPOf/T+s7f648PFYrFCltuaupd0EMVc0Y2VBjuztJGh43y66SSuOit4CcPHsAhCF
Jf/IfSqvW1K3hmz82xQFQBIpzkp3VzIx8hr4S/GYMaRU6p+k8sKE8DBbJpD9pacZcth8MKChdbvo
DxfuXCY2pNC9xQ9AZbeEADFd/fEgDoWr+CUkjpxqK7FNnX5+WWfmh6tsjiUtuQpfAvDN92vU6uMx
jxjDpa99kNPv+wutsYyKXaILAMjMz6CzDWkWyvcHm0wgKsgODq+4b9V1DvLmFOmb+nEhjzR9Yfmx
NVUJUhxMemaJjevG2kVSOM/pBg8W3FDX0Rnm9vurIAi1NtfyxkWibyotQ3dwpvO4LEnM6s3EbKEJ
LCpJyliuQszLf9HwXUujPQOD+w0PYGLGuxn5jSu3pzgxd1wIbPtpBWaIc7sQtAB8ysFSM4H3yjeh
PjUHhUqXsrM85Rnr8ByXX5jVnwtqaoTRjaz4LHr6bIqbGcIuUAyB3ZcATkpZRvf3vW505QVb8Lzf
nSRB4HL7KAEpV7eaUt6aoVUoU5vzmeagFIkz+rFioAaaTVkbzRtKRTLJjbiEZZg07V/QMrXxiAzv
c/G09E979eO+YTT7XoU0Wc5UTj1B4mkf1gtfXTtgRR+UDS+D+3+gM49yJYamtlgg5Ih1BYXAFVg4
NEL4pVUux0KXim4asmSvAPuWKJXMv4jVfLWq5VhGkbPbN706FIizNkOL/ixUp7zPnpNfxPQr2Txp
MM1/We03PFZFNq1OgtiREnoFXht89mISJz5WZbRsOYgzRZmd1inrwnKgf292RcIuQTigZfZ7W/oy
rGcQ5TYd/xuiqtMxP1GxUHOaNg3ulHgLrL8toPcDsA2Y+gA1558qgVVY3HGqEtbcu4eehgLcHaR5
hHD8wZ2g+HjfF26b1xIQzqx9kWNWhYxa2zHDqFiorWxdujkQORzboMKU3W03TFtjFhUGNe5zw2iH
5Bq3USe7/YXT+H+XoryAptAQPHX/ocRl6iasaj2YXuznri9P6x616e89+XXfx3XD335/5Sdbndlk
buGDhHztu+uYoTGv/diDgv3++JpDStW/sme27Y4DJVuvuZQ8DafiQyFM3eSaA0pFRm2V04qBujKm
yfzcztsjzSbTc0ZnGOf/DdMMWFvfx5YUOXuQC9hS0nY9p1UfoQe8OGgd+v9/smX71M8EYKAevBdX
mZIuZNWcP1ljauK10tlICc5p7rSl13Uy3sBgkyLZU3tO4JRLe/QPFN/NJRoyJOIQKANYEtSeWCO+
9v8e2j4qWgokUJv0mxGZMPnYUBoNGTLMplYPjWlUvFTZiHxeihX1xHwN+rq5up57vT9v3cNJxUoV
oz/Btyz7yuYuTFMJIlwugxEq16zynxIPF4I9D62qjr3qkHw85Sp7isUKTlDixYVg7E5I4H6QXmWo
jWrcWGVOoePk+cAgARyQ0P4EnGoZinqXgchrU9eKxuFU8FTNt9LeXLy+JajSp98t+TxlwZCYmlR1
i63489i74LTKKYwDAu2iW0IUrA1hQGccxYuplUFStFqG2F1ktKb91V6zkySlYS/pZq54cI+09QLd
4uGx8pgvvgzbOFSP3kAB1r6/WXV/oHgwya0iq6oapoEMweNe98serEknfx4aXoVPleXqu71V0Ku7
EtBwQujghKZ/U7eoZvIqemrd/XRaWqzrUHXQlJPFezod4oOiXAVPOcgIbbRGfFnFHviZ/7W2ADE/
ZhUl8M6tTfYKHE3oEl3+sZExv6bSz44ls1Wpq8G3yibvhX21mv7rPK8JEjXd0ZnfVuLVlWGxRgsJ
FLuM57a9kViFVJhQKrrFVJx0pqVEbysM7qXLpXCrB9eo4qobWnHSBRC7dHWQKq8bO7IhkdbM5Zdj
S6k4qD+i8kPzklwL2tlh30C1bF5dE5RfN3HFO1ewOgOVgomnGw+WrgrnpTx2qquQqYzIenUayFMk
xAbYCM2C2/ZhkJUheGtmrmKmSl9Yib9gNbfM/SHl8psRdCLct7nmzFXRUjTvh03kSONtk3vizRQk
0BBl7sEjUYVLSTBbdXjuoiffcdmLrOfsUzvtJj00TahToVJJmTtjU6OM1Y4kEMMcJX731U4f53U5
0iBOuQqVahrkBYB3Jle2WU+yf7fszb/bYNK41mQ3VOYTuoLWRHh490gkJM8jZ1PYtx2an4jbnrwB
FAyiXL53y9wZVlu3kxTnzZedbiBsxueQ9Gc9FSQge2LwXk3uTWU9YaRyy3THvcNtwac9nyj5bedf
6ipITaexbrkVD+7WsWon1ydX0ldXvvrnuuFxQ182Pz/f9waNfVT8FKB3LplTl1wTCJ78hTTf0gV9
ufLn+8NrnE3FT7Fp8Bz+326aulPPrWBYyXugbQzDa+yjIqh86VtQMcYx5KXle8cHuQqzPzmoLFBI
Wt7/Ap2Bbn/9KmZtnse9oUECt67nJprR6fphZ7upLK2zz+33V6OT1Za8TBHLt8IL2nT5J5nGiDSD
oQqjG/72Ua+GH9atBXskMjvjlIayqV/GYgqlNxgwPDrbKEEXDwnfSpz61gQkgjnl50yaEGa6oRW/
7RY5yr6acVUAcHk59Z6VJxerTbYf95dVZxkl8vbz5rcr2vXj3RrAOL39ooULZlbXkHt5e/pMRdns
VeFsfdbYuKOB0XTpgIUW/TG4JlNhNiQvVpmiuS1euj606vF93vuGuC6wMf5MTjJV9ahyh0TmJMHD
dgaRbAYWbuoi7zXNF3AlnP15TUPqDYFoTS+gtwMCE8o6S79vCs7K4bGc2HuSpNHasQvaeaN6bV9c
N3/xC5MAjG5NlCVPs9KbSHpT5Kw+g2w2JHKI7m8m3Ucox3Rugxiy3UtIFJDpoRKf2PS4dH+PyRKk
VYH3nGFTvb1nmQq+AXedLdYWHwDQE2JNN0WWKZmnyTowFXqDBpvJzhnUiTJ7jDJoUbD+QpPfPLNP
sv4rHb6X+adp+Pe+vTQrodJMAHWW+CPohOOM/VPX2MO9aTvpTKSc1pkFLrjWbyBrz/6ZbCsEnjnF
HePYtG9/+uo0pcWA0CLAMp4C+gDWQsh1dYaDWmeR2++vh3brlrscIhc5H0LB0ij3/ODYrJVD2iLe
PK4jTgvoVoKbXqTgx62PdZgyrrqvXVgunUCLnt3QlV55Ycl6PjZvxV1tIZOpK8ApN9hP25KGWbkb
LKLbJIq7QmyDgf25pejK+tbtERK2QbYc6qREVuX/FzIDq0ndgmEJ9dhgQ7qaoROAfLtvEc28VSAO
B5e7XWyWHWcjWg/RDXddl+jY0EqtwMK9Zvc8mGSDiF5K8yDZ3peF4ZqgOR5VAI7V2UQMFfyGJ++S
9HvbfLd80MPKoJj/9pbfx75Acc4UKfeaOimJxfwJ0hdTDVTl5f7Qb9/zmYrBydok4bkAl2U9dY9J
/1umMZvXUE5Z1G6f7/+H5gDwFS8l5Va5rbOD+sgbo8Gu/tq62bBtbmffGzFdReI0xbjOA0h/43r5
lK/XXQ4B6AiG3rC6upkrfmrVVoVyJgzfb+eyu4BU75hFFC8t2dq57mDb12nyi2DE1SSgvvh0f3CN
K6lwm7bvK2pVGYHowueRhrP/yT9WkWR/oG1YY2XCxdCDNZ16F9SeB/simKfucWnZg3AR3er1sWYX
b7zet4Zmg6sgFVrYttdyTFk27x1+SdxPAeudwJtNiT/NFlRRKmnbjAXcBXukRpiQn1cc6dMDZwYH
1Q2vRCGvcxGC3BkXoyQayNnueNAXj0KaxC3JbaA3XMhT9nhPc7GXw05j6xGprof6PF+3j+hZjcaw
vfiGDa/bk8qGZ+jhW0q0duEI+OK2j5xkQWmi3dB9gQpY2SATkZMJXyC/ju/A/x3zdzkwQg8kBG3D
dTSlHDU7SUWvQFPWamZazbEEYe5s+aHD5ilYmvbS+stDl5tKPrr/uf3+6r60i6W3M1LO6DzHox+o
0fxrkrro5A7J+v2+U2iWQyXnQT5k90cfe9besyfI41zrIQ+r0TNcQjR7VoWwlJ2sqgprElvVh63/
Sm8CJPIdn7/en73mVFZRLAUEKWQ3YDNVg3w/lFsIfpTo2NBKqMLEi9yxKy9Ophwp5RZ3Vud8bGjF
kS1n6DwJpv3Yd74W7ndWHLSG4r+LV68jON3tuOGPEOI8k93Eg6JbRsVpK2v2WJLWkAccXiCBl5J/
KShz3GO3SRWAYqN22lrb5AFH9dwvH8v210B+3je17sWnQlBKltK5ho4UrnwyqMWF8acF54H1l4+L
JfKmD/78UGS/7v+bJq+gkvPg0tqLxt7ta+1Upyr9Xufec8rryANVF/WzwLL+ychmCO6ave/e1urV
4TBVhcXsfLfj3vvlO3vQtia0pW5kJQA70ilt0eCaXBQfdi9gy6GmLKbCUTr0A7HRkzT2RjFAqNyN
hm76ct/0mqNSZerpQFuWLGtnx0lKg9k6iRo0ADawOue9NritxglUHR+5LCSxqw6Hzf4wjqG1/WzH
Mx0NaQ+d0RXnZWVp5YtT4GZfhcN6Ho5lL5lK1ZPMpF+8DK5rj8lpWeZwlL/vm1wzYxV7Ap1nUGil
AqEDssJNb5/rtTzdH1qzmiryxOlGcZOuw1Wn+Cbdj5W3Bb4EY89p9E3dt5rApwJQ0iSjFqL1jF4Y
/+xDbVOszSWxQAV4/xN04yvuSayZOzay6XHdPth8DKAqwV2Th2q2ogo3QRrFXkguCTLelzb5nNHP
/vKUmsC5uoW9/f7qZFkcdBwO1TrHY5c8tpt4qEs/vG8VzQmp0vRAvyBBkh5RNa3fo/clGPL2JG78
wEtyZnuUNdvJak3aErrvUOLs6lJWQ1fIjrvlZ1slzxMT3+5/hm5kxVlR3pNJjWdbXKz8/SK7LQSt
1MEnoaME26auPQSrar02lh9N9fqPWIaX+/P+r775xhVfxZoQ6cAIDcHR/i7/4ZynS3bqr8vH/Xk6
Zdf+KYmkwUKaHarCTroebSp8he2T/izGJ689E4l8hWe4MmgWQEWeoK2vAdUrzh62iseuTB6BrzfE
VY3jUsVxC+BJnXHGzP39I/P/2pD+KI6d8SrspPLqhS2AhsRF64SJO/9ybROtzn+15bdWVnHaAvwE
c5anCK5P/Dm9DhcrSq7Ddy9wz/0F0H3DI1pneOf/zwaAN2rpWRwXete/Fi6Lis2O7m9O3dCKu9o7
ndu+BiiH7z9ky/52Ks90GOuugSp5TwG+5yVtGKRkq+G0pN+tMXkA4WlQOGB9IiyYSMDbNZiyn/e/
RbeJFB8mpCsSd2zneHHF/zi7kiU5eWb7REQwCAFboAaqR9vtob0hPCLEPEgMT39P/XEX/cmtIgLv
3AuVSGVqyDx5ThIw8VwN7K7gW0RBmlyjCkzxC96iXkusS+uI+6r/XbV1mHo/IANxIQAFbvET/g/O
8Y5TqQgVf5rLBvrdOIdlGToTj0D6GbXuL2hKhos/HxkQs45Zhi1P2vxTn2bIBBdhRVlYT+d8kw5U
s5moYBZWmmY6gBn1wnyIk78K70QFupk+3F4rjd+pWBYznU0PGtLy4lpLWLrINwf9876hr+7x5iSl
S2+QzEd2T652jobANkWjOv+8b3Al4j3XTwt/MS08bX5lJboBuya8PbLGe1X8in+lFEWFSV6sFa1i
v9w8yuZft4fWNIa4/0vdvDEJb3vHAvZO3NkPdUKj78MDykDRdKxeLo9FnMVbVyTdNyhHtOycxRpK
3DSC/qG0QUW1Hq+Cg7e/Qje4Et5TH9ARWXjrYkOlTcSLdS9lcntojTeqUBWIuYDiw0DVMBB3pvGd
kL3pPRWlUix84jVfkLI9WEca8eP4sz+vJxHTo3led9YmVbBKIHJIRk4pcs71xQMBEqOfTLoRqZp9
QOX6Gf2FgBnUwa5Ky5cZTMZ2OwUh7dM84m21lXXTLK4qbMNHp679AftBujThNHlHq8/DfLA2Flg3
vBK2QzlmFdjRursAWWLbeTXWMqzKLYSobnTlfOYNzp1yRHi57UuXJW2dQ8fz4z7XtJXdrAaLR2/i
+mKgS5t77KVfty6mOq9XohVN5di9AM6/zOihJquLytxWb5ZuaCVWScdW0qY4wwrXRV+2hN7AVjvz
+0MTld0Hu4tr27TD2xqcUyQ92v0+2heikvqskzCcesaJZ49lBDmJqFhlfHsV3787EJXQJ5shg1dQ
3OCaCY2X5aeKZ4fOZNHgUrRN/+LlVnvk+65IAuUiTWwKiuoWCapKriH1vsnmV9ls8dW//5AkKvTI
tjq0XvbjfBbNVMdg4/hTySIuICwKMJgR86WXUZ8i3ZyX+yqMRAUkEfCBsYXghu3WD+3w6Jhn2zm7
464XDVExSUHnj127YN+EeFSEA+CUdfbGnV23EErc9oT1FpsaeekcoF3y0CkSkk0bR+H7qRoSKJHr
pTl4gkF3fpG+fQ5oGtPqe+uM8Zya0RxkG9bRfYISxJZrFwTMknjvARRgHbPlSP3j7XjQDK3ijahX
ykKunbjzqqfVjrrso7GPO4uocCOvMypHIldzcdAUX1XsWIFW5PasNVuPCi4aSIe+KE7tS2afhPWp
bj/fHldnDSVo61aAo4FhOT3r3u4+WhJF6c7YOenrj765+03AgYp5Xbs7f4Z6LrYfX+QbQ+vmfbXT
m6GDcvRnqATZoE59JPlzBeG14Mttk1w//d9HEPGVI5XwbO7dwqaXqfyL1n0yvsr1qd0lb2gTFVtU
2WVpuSZepoI/VLN9bom7cdHQbJEq24/pzW0prm9Q2dZ3RTsnjQFJ59k8BUEbFZ6M1zE98nGfzAdR
yX+g2VQV2VwAY40wHWx5pGxfIo+ocKNhGtNCLCPyJu79lJZRVq8bh6HGbVSw0VBd9cgp7npkyc+L
X50nhxzGdKtBSjf8ddN845VFb0Pml2BxkaddxAc+xzXdwNJpat1ExRuxitmTYTjw+AdxyM7WuYrS
++p+iau43qzWa7YZlfKHdnNaubiu3qG5PSRDeajMLTkITVipeKMpK///NjkGT8WUgOI0lM6HCk+1
22Grm7oSttJezHRq8UZjuOYYidjKgOnW1FbWVJppTaUnwY2dhR75kY0delR2UVyh5+G/gzvM9smU
YlG78pNrfii22oF0xlDOz6Wrc9at2B5BYxehKg9Q9Ra4X7PNqCCjoQZMe5kxtHnJ4YXZyT3ZMZJ4
h13LqAKNQGxkENa5QAMV9GAVX113lw6fTVQ9smJu077NBSpAIzkE/hpKUz6kbnu8PXGdXa5+/yb2
+xKcq2uA2Hf4EHleFZrNI5DNoeBzZLM5qqbfi7PPbVTIlO/4Zu75WIPKRHHeDoNu6zmvydegw/u/
nzGuQceaUYi7AM1FoXVEZ7NzrGN+DKKZn9e/TjSesniLN0TjpyqEqh/4OlqT1d1RIiM6LAc+0I3k
uyZuVX6frG6k1Xg4RGz/sQ6ObP6+KcqjG1qJWrszpCx7vAOntv++2MsnYQKiY44/bnuSzihK8Gbj
5DK25PLCjJ/F3MRZuyWarbm8q3gpITPmzCWuCL0lTgP7ZhrOc5CND0FBTiZ1n2/PX2MeFS5F16Cw
phHX4FT+gKpj6NZ/e+Tcbw+uMY7K8hN4y9TQzpQXUfXRFJTH1hrifUMrEZw3y9CW16iC2OtdZ6FU
xpaNzUE366up3mwOwmxrK5/89ZJN+dHkfmw648a1T1PjIyooyjRymacWpj1FuOPFZcxj1wubKSQh
WozCPqofjC1MhKbsRFSeHyNrS3sA4+ClHdKT051o960rv64kKc2XYv5Ur9/S8aU0Ptr+k0f2KbIQ
lcqHLw2vqO0g/Xptrniw+c5VUeI4tdEX2JbIQvVieRykuPN9YyOGdTGgxHAzlBwCpjjG1ubFd92w
MS6Ev972U83YKn7Kq5cCpT+Oiz5bQxdQIKiwR3gcbqQPNMUzomKoHB5MIkgpYIjcrkPbnJ4bx0lK
8KS4kMPxEW8lMT5L0ASGrZ3uAgsRFUvltqIpe8/D8enVUyimaQyrWWxUITThp2KnDLIYoyxyRDZ7
cK3PFfl8eyU0uTWVzQeqBShaQvkJPE00zLIunJsuMkoaFXw6VN0DW7wNV9Wt+fXL3mwgvW2mpAqY
RGrBeKJGHwrhPNlZtzE8xTDvvHlVOFXb1XbnUkRCMH9N2e+g+dLVD9k+rBNRkVTVUNVd0OFAS9sg
C2tifAE/3sZ5oDnSiBLDdoZ8LLWRAHfYoasT6eSoSb4y8OC3+wrV4FP+r+2Lall79Ahi+7HreF1G
qPx+uO0/mlVVIVWSpF0Fdxd3eXMn5MGYvhfZvk1ChVQFTd4GpguHqVP/sW/bU+bS57rYgkRrIkqF
UwWW3fB1QbiiJtBH5dxXoWutG29dnVmuXvrG2Ynv+mVZcwDTx4TmZZiPybI31a5iqSa7MfNAerid
jD/BDx25YkuFQXc4qpQ99jDVGRmwnFDLPtkHjgpkmN0vxz5s8EJKo/X3PrdRnrqND3yu5VzXNv9B
xyZs2bd6SxVOt7DKc3cktQimNlgvlA0h/hf7m6lj3bIqoTpLMKvNPjUvM6VhR/JLYHpR0GxljXTD
K2HaGq3LWYqFpbIIe5LHk/GzI3182+aaHVJFUi2zGARUFjB5ZNKa4ndOg0fBqxA6MKfbv6B5QKoQ
KqulzlD1KNSY+XSaUZ1ps3vLySPXLc4VO0ByI4JG4uH2j+k+R8lUDegmEX4LYzFxsprLbGbHejmB
12BjfI0bqaiqebCn1PexP7QOpBjO5dbbQjfudfHfbA1ObZeCccwbRzqyMS3yPO2G/XVDX//+Zmjq
9LbVF113t3jxYJwM63jb1LpxlWi1J8ctaosINDg7YdqygyH2EdaAseu/U84GNnNwXczncU0/ZWMV
VqhPSXNnFukfFJXFhT2D5+IyGj8zEBuRfOvmrYlVVflszF177qUvLiT70Na/B3Je9/F+EhUr5Rbu
KhzWYxn9KrJTcpJDtW8lVXgU+C3B6G7CHn155O3B20qNaqyh4p2mcqxkh/Iv+ou8QyvvihVZFn/r
hqTLHP8DeOJj2lKQjUHKIaSX+siO7sH6gKzU0Q6L41ajl2ZHUUl8KiAF/RrN/BdKgGg3/kBGIyyc
2E0/3g4jzUVPpfBxspE4kljI57hHm/HQNpLJf3LAJuhnG5uW1lJKqPaGYS7dCkvJI7kU5+JQnUjS
/yXH6pgd142bmWY/UBFRKVSHStsxh7siHb9YAOeGAppEG9dhnSspZ2xTTNIbpQcwcS7wTnA/O0JE
TWFt3Mx0c1fOWNFBJcUeW+9ijR+khTPDypPby/u/0H/nCaICoQZkNN2KNhK9iPTDeiTR8lDfLwcS
0QuNmhONl2ORA14UOtH6ffm65bYag6koKXDh5l0KkM6dz7/K/EivfQfzhrV0YyuHbJfX/joADnih
fQlJnNdRVNCr33jTauJBBUc50rO9yYIb8dIMy47GsqZRPfLTTL+OTbARdbpPuP79zaHIR97QdcSq
UPPU2MfAPCGBdXvFdR+gnLc+rF7XFTYMnl5aM17ll9K4Z2Y0bELgNFuSKotGJiTkLcHHuzlbHlu3
vvd7Fi/mmLhdvZEs0QSEqog2m0M5syGYz6af/xrpNIeL3FkcUuXQ8GxOGxuoxjsDTLv50J3aegtv
pFtWJY59nrF+cOGZvGnDq1YA1FC+GKx4ub207w/vqECpvGDg/XCxV/OlPdRuFXoDRcqzjPYNf03H
vHFK2Qz2sojAvBTFGOfeEtFiPpeQWNk3vBK25thUmduiqg2u9CUMikmEQ9l1B7oYW8UiTdLWUcFS
rgHEu6AA87ZWXEMdNBqi7NCfq2/FPZ4sPCxiSBPvNJcSw93oBClvYC4ePAAjaA0f+T5lLkfFSJm0
FHXRWALp4NI6iKYyY8/qWBikNY7MvtjKO7//NnJUtJQI8A1u6ZtnJ/uY9mCpIF+r9HvvmaD1+GmW
34xh2DCWdmWUOzXrUphqQE7PlnY89g8VyxEhn8z5PEuSGARcsFB1CAYeknEOm/Gv531d8+fbrvf+
ngikveLZZsm9IAOVmWGSz5MTJLNlPluBF9e8SqToNz5SZ04l/FkDTltvcsUlgLBVWFjBN+jInhiu
DH7JEiR3Po+FczDkPsp5R8Vc4RWbTxV3B1RVoMpQFnHT7WOyc1TMVZk5gAWaKPuv5XGi9/5WH6Xm
LuioiCtHlnmDDgeQLqHda5qT0vFCihaq/ns+lkkrfxrD4/S7k+l5mdbD7eV//8By/Ovf325sYpC0
Z/C9XDphs14K+ULYx3HeylC9n692fGUngFpXZXbD3N2tRRVVjfjqF9VpnRfQ4QLzjOPl0mfL6fa3
vH8yOv7172++pWC0a1uszGW0u7suN8PatTc2aN3Qzn+HZm3RCeQWgDQlr4XFImPeYk/WHFwqOiuv
gxYd24V5QW/3cWyDkBvlyVu3+lx1m4uK0QI3H19Fi7QI/cxh8MRBsa56AGx+asIltsM22t72dVZS
gtzjlju5oFe7MHqag2c0wO96YzgqPMs1ZvCF+xh4bF/K7pO3PE3FLtyno+KzxsUlhi1wJyTOcAEm
/8TX5uQP+xRWHE852UteO0Fj42QfiY1NnUQAim8YRWNtFZ6VdXQkAvcF8JwQ1ILspg+91tlX9XZU
XBYPSuiyOjjCCWhBvNKJjWVfYtNRcVm9mxIUsXAVLNbmoTO9iw1WELPNT9yYvtzeCjTHjUoD5eB1
MmW+YV1mcHA1lXWwhy+tQbCdAhLDQ6gfRsyxdi6Ecn73i2/lzPbMM13Kj9LjSbZuYZM026eK1lrb
xQHhNNxH2GBlgQjkMN/3/Fu2OHHZ0DMP6o1zQOdMSuj6AS6MJfFRDF3zH15qQoSkwg369mpovkIF
cLGiDJphXZs7ObhZ3BnDc+v1cZenuKnzNoajFeHk7CsUOSqeywWt59yVznDXukEazvn0h4D+d99a
q5AuUmdgzwdz/MV2XqT5aq4fb5tIcwyoCm2Z76Cbf7luQ653GFokySrAK4at15fmmFfhW2ZnuIZj
DUiLV4GBUgV4oStTzB/mXD6sVlFtsN6/u9Auta/e9eYEds0eB35jzEluzpFgWWhdrzBAMfbrZyP9
sqIWe9tc77orfkg5j41+5XYbpPihMr3vaX9CJ97GhVg3tBLNRllcNRzpnKQzoZ+CVYJXaO3J6+2J
/4/U+p+kE2au3LfXyTIKJmCimTdhmkH3V06h138t2+4ia44r0V/PevDLKZSBvRHc7+Mr8KNKdONl
+f8/2gsCDPjnaq6iefjr0jbkvonHrAwneWJsF8jOpWpGHI20hjMV9pxkfYX+XTenkd/LXxsmvM76
HROqSfHV6WzLbPo1cfw1sqHFKNgfhm4u2bCoLdZoyn64aJfi6xYV3btvJHyOcoiPoKtobRc/2KdN
NNOPNrpDRPnD5XZYEWtjkTR+p+bM63YlAESYfSJrSb9mLQ1GMNjI7M9tq727weAbrn9/E5qd55et
MbIhseu0+JJ1LH11M5DUh7nBvI2V0YS/mjBfsqZCaWhYk2yaI8cBM8DyQobgUPbNacwfOrFFf6+z
lRL+JJ8sufRVnxh1Q+xnmRlp+tGxgE7ZwAbpVlzZBNbZWAmW1oH8RRfn3XCumfeQ4QnjVR5gNmhB
v70qug9RdoOunEUqoa6U2EEmfkOziLNTx1nf7HQqJfAt9JmCuyLtE8vMxki4VITo698i8n33VIFv
Xm9fb3zKXIV0lnJJk7HL2POckyeP5ynEnHDhmnr/8y4bqflys+78a5Ofk/DMu5gDzUJT+Bv3RN0X
KJHdeI2EbiN3k1Qs57p2w5qXX6jwI9nsar+Bka4//cZIvr1AeKNhSAHXjvWtXTPv12ygD+G2cXQf
oIQ1XDSoJG5vCamECHubA5ld/GSEPWTVVpla9xtX533zBbTuWOBCRy6xM0iRX2ljcu83ZfLod7ua
zWAkJaA9ZNtmU05u4qTZHSnBneluNYm+j5HB2EosO9aCwmBHBlzLE++TfyKAyfhx0Z+D7/Jgx8Vx
67KuCWY1ez4vwsEzNRC4OXw22l9psXONlSCuoLRdAOIsEhARRi6YnrL8zBFizfhy24k09wNXzZ4H
qTR6JvALs5yWczHLNBG53TdhH9jyG3PnOgp85I/DymihcuoEMzrKLbnF4fi+4UDb818H84va8IfS
7RKorWcfKtfzHw1Upzf22Gso/HtdcNV25HWd0G1o9zRxauPJHK0DhAW/r1v6eLq5K+ENhKRnjRRz
p+N9k9959gYdsG7WSmB7aVmnMh1pEgTzI12b39L0qxhJw3hjzXUTv/79TVT3a5VCF4B2yewvYYaK
A+HrYUZVbK5DaoyhJUk8958M8scqrZNRnFHjDUvRRrd/X/fzSsSvRiBLJkSalHnggaYAihrj0xBA
63xPKdT9RxEBdcrcWJikCWo3kTScg2uhEcdmG+ujm79ycs9ksLJsGLxk7B0z7KkpwoCLXUV1TF4J
eTyRl8a3aJs0zcmtzmsQITt42/DvX9L+UT9wJRmH3oHSRcqaNbRmI15Z/pw5/AiBrld5xeA15en2
b71/cvyjhlD0Y9kZ4+ols3AuS9rFQvj3nY9CRjnu8yM1ab7gHMoyKIMnEonsNe5BfApNNOYYW09n
TSCqGXJhdKDc7BcvqWew6zF/+VLz6WRuklHrxlcCvbIcYVoDbFR6RWKL6kiq/JLn7eH2EuiGV8Jc
lsbQ+NSGn66DiMpSPNAeJdI532K/0P2AEsgBQPmkz0aZAJmxnI1lEMd+piwSXj/Ft79BE2tqjpwE
YzE0OFnhRhkHuM9jOAb7fXdwV20rbrI1LdxmDpJlzVGm6J5y395wTo3/q3lrsOUS/3olSCixH8ra
jNKsjUe7/dGvcuMnNLZR89ccNIqdBamEZCnKs1jIQx/wfa6j5q5luvgCahFBYtD1zI3uzFb30Flb
JUGN46j5a5oaqwm2Ny8JzPKV8ylmRvMM6Fyyy2nUBHZRUIrNoPESEA489Kbx0mfGxrams/n172+O
TkgkTJnMsPeLFUWsIONZRA1r47anM4sST9W6DgHYz2hSF+sHUqWvDc79ok43UnS6uSu3Ya9iDhmx
qSVFMIVlNkV4rMW3Lf7+o9lVk9W5kQItXMBf0iwHF9nQlfdG23dPvjfbEUsL+zD7xbfbv6WzknJA
OkE5eJYwYaWp/tsWA41EkL2W5bhV/9D8gJqznnuzZ53tBwn0rU65ZZ4raHNl7RYaWrMMapLa6trV
7dKVJhnqrswso4YvGzvCu7UP11VT1G5elbLP2fXAaiXAZebYQzMEmUhof4WckRboGL+V3fwhrS3Z
fILiZ299GTuTLs+7FkdNZreQB4RClIFtz7UfmsCNfa96qI2t1iHd0lz//ib8nB7vE0KmMfHoR8v8
OQwPbfd538yVyJ6LVVSWiZm3MoidJjsMUwfSgK2SnW7mSmyDat8y3XweExArBtVLszym9s/bM9c5
lBLXpjn7c+MhIIzJjbG6UFndud39o9pQur2xtLgxZpNdPrGGzh8K4af7NlOqRHK9ruMK4WmaWLgX
jjwNV7mFQ9ZEgtp8jMfkNIM9oAf6jgXTqU+t3jvXeWA4fwIa5BWP7LWzCY8AvynlR3Titv1vo2va
dKO4rFkUtVE2ncu+nbM5uywjRLtrI0e+uir27eRqY6xfGWhZHOGr9dqBI1P+5XLden/oJq5408rM
NnUg9XmpxuaxCJY6NIJsi/xRc064ytOpGjrmmQtLE8sexMGTgxmzNJdhtphFWKLxNsxbvvX61+U2
XMW/xAjwzJg62SUFPTDNz0PmHCr+bFtfnXo6Fv5DNcxxw5p4VxyqrbJjNhH0HOHjmmqE1gCzwjyo
txIlmvuk2udekN6pkF0dEhMyl9wTYeX/KotLkO28C6u97oPM0ceQw2FpuX4tF+5GZIHW6y7TuNev
erNvz9BgQMdIMyRL93cKipjxXfAcF//+O3LdualftVmazN4Cqo1+rF15F3TS3gI0asp2rtqhjOy5
WbJuRCSTALmvto/X9EU49QeIwYTjgA5N+2PlFievfaRb0BRNEKoNyp3ogMdzXQShaz1Zfoe2qZ2P
WrU9ObC6hZhmll06F1metq6jitUHZgq5b63VPmVznGwqTDknq8zAHJzbftyhAWzjiqOzzPXvbzyJ
+annAJ6cXYalCoO6eqJtvbGratIjal9y3dpQ+56GNLGl9TSYyZK6AHCvR4jKRrMbd8tWqGnuAmqL
Mu9sJtFMhbQ0FuIhF7Ud9zUUwCev2uqm0v2EstHmjZO6dZpml7ynJ7jv0TSMe7vc4ojWrYKys9qt
ZTjFiBQe41D+q/xDa3f73EdtU5463jSrn7FL5gGmM1V0AA8i39Ww5bpqp3JpT0tV0BRpFmBRZ0jc
0WLnvV7tUga2iQZWYeQXMw3iUf6szJ3PZUfZPVfOTJKVmDSUvyPqBWFrkWdJ0418puZoUZuUjUI6
qZNieERWmHefG8hACXKW+R5yHNhcCdlA1FMmHBjGn0RE/Obed/i5FfbO4ZWbNXHHuV8My0t6Tx66
3j8x4Rzaeq/HKPchjp6UlEw5x7IWX/u0+g7Vqa+3T0VNkDpKkKYBZ1Y3MD/pDP+ES/uRWP25M7ak
oHTDK0HqpCCf5BlmbmQ/e9E++OsX09ySLdUMrrYoF26/zJ4Q+cUiPKTD0ek/Dv2+PIjanMwMD7Bh
45o7NqEN57aHZahfDNocb5tds3mp+g6Ap8hqkpxfpGXFoiMH5M72nU5qJ3KaUwFngS/OffbbKUB3
28/+xvGkm/Z1Jd6cfJltcj5Xs5eYs2nFbZ9bhyLf4qHUDa7EaJWTyQc/RJrkVnGopyFBTmDnvJX4
RALAlvmAY9Vpxi6xwaT5lE2T8Xx7MXV+qISnXRtjK5zSTzg3zi7aWZYhODr5lqaMbnglRPs2NSha
TflFGNVxGknY4/6Xg8v/9ux1ZldCtJBzYwyVyS9zLQHLoiFNt95xmpmrQCxjsVBNLWAYKPVGNMuj
At7u052GUZFYQRrIoOMlg0iKF7M5PVRjBXGD6nzbMJr3u4q7KptlddN15Rd+VTurIVzKn8sZzL9Q
WsuNzwb55Isv+35KOV2rymQVUOD8MlavJcpurDuwhYcT/ZyZj6DRCi3m7tt5VCQWSVM+rHXDL8RY
YtS9kzE3N+JA40kqACsYy7mrsplfVu9Xm6cfat/4dNs+upGV+K1K0bmG3flAdjpf7RUtvpKLXZTy
7j+KDUuGYndPF35h+fg3WwWJgiX45a1yq2VHc6n/36vuza5pQpI9G1eLX2wgjb3aist8Qq5pAGPi
qzV8n/ZR7+NLlFDuejC75oHjJXx1njKPnadl/GSPWwgTTTirgCu/8pwA3QpYBZEfW+7EPTaktth6
Rl+d/R2khIq0ykhnzF2LIKisl46dF9MNx/ng8p+3fUg3/DUf9GYVyoWa9ZznfiK69scIUdMyKx9q
Vh9Js1UN1hlICWNTWP3MjMJPzBQ5Ec/qQ9wYLCx1vxG8um+4/vCbbxA1ETwLRj+pgCygGWob9XPN
QLcz0I1f0ESaef37m19I+WwXzXBdhOBuncof/opmndsLoLOOEsSUePXg5NiuSyRJ3LQKe3e975xq
I5OrG145hd3CaQYGeqnEpgyKKPSco83C99L49ux1hlFO4QkCR/ZazH4CfBiLBWd1XI5y4/2gG1wJ
3AnNpCJjFPeqHrB1WZRttHTGLsEP9x8Zh7W05YIMsw9FKPA8FFmcdlNi21u60+875T9aDnbqBDmf
UOok6KcUQDhNU/Ayms5xmLbuKO+v7b+aDp7tdtUCr+TEeSCAQVsoM3d2u1Gs1Q1//bI3Tj+wCZ5J
4Tpg/Y4WAAdatGxO+darXGeg68++Gb6dcrMfmc0veOEmVfmp7T85plVEPs7LjdjS/YQSttmy1F1W
4YiZWvrIkFtGiyMTES+bDRO976H/yDeA29ExrNoOElAhgsxqgXRMYRZbPVm6BVBi1/PWKuddayQ8
b8ewJeTM5/ZlcbfaqXXmUYK3SsclH2usACcBD0vpxs3YFlFfkMhstrjW378vkn9QU73jDwgGjibj
3z16f2wsghlAocMrIfz4bFdm5Mt0Y8E1FlM7jNt6zuha1DkKbfkp4O0JWDOwOG31TGkMpnYZm7NR
jswEbod66/2Y/qrb2E7Xj0axhU15vwpDVODUxEk2ZBIrztInI3gFLXJIug8zu6BwEd3esXUmun7b
m7CzcJlIS/QDJYuRRuZYxlbXRNjHj/uGV6LasFwCzqLOSKBqEFmdEXVI0Pqb3Dy62SsR7YJznAo2
gPTHrGOUV8PRGg5i3LqT6oZXDuOFdllmEdjfX0GMZPN4nUi8BFvq4rrhlYCuxVg2Kye4KnrewZq8
e2qU4dLUG+hKnXsq8exnYzDXE55mFTq9ZOrHRoUiSFcOR4gf7eEcR8lFOZOZZwcecy0GVtg+bv3h
Nffsv7ddR7OZqsAsYS7+mAd+doGg9s8pn/HmdvotERKN6VVIlsHz2apMrOxYDhG6lmORp1HqbXFG
6eauXKNZ26V+a/QYvi6K0CHea7tskbHrxlYiNnWFdNks4fM5v6ddmeCpum+/VPFYgVgZGWtMO2+K
L+6MSy31u8fJZh9uL6nO6kq4FpYPhdyxYBfW56ecoTDaItHcrhv5cZ1llHDtZZUx4flGYgrkfrgZ
91Tu28c8JVTzjJVdNufsMnquLZwQwKOxe5FOleWv5rDO5kZTkyZmVXwW6gfG0IO0JvG7PzN0cdzm
sV9evOzX7QXQWUgJV6t1vTHAv6Qwgt9Ol/3IS3/jINEMrYKxqDSqVUoYv6mDSEAUvUYRf9esVSCW
mUlWW6V3dZuhOaaZ+QqJ2K3GQY1PqlAsAxCN3Bh4diWrOTQTCb0xvxvHLSi3bnglWpemp+MUDH5i
Ax0+pzTGxxxSNPjeNo1u+Ovf3xzfZjraHBCW7MKgabCwPjLGLPHk1l6jG14JWCDRLOp1qZGgA+5E
Qd1uglOJGUF8e/Y6n1EClgZ0YWhxYJeic8GRHXRTfnL7Kw5n3/hK1MqqqZuxaYuLN/iPkLfDQ52T
nZZXTlfk4W0LBXR28fI2WvPhOOd9mBpbeZ7302FEhVwJUlUNRLqh0VLxxOjnIzXmkEHyaGDB57K+
mPO4seVo1lhFYHlFYHHHR9qQ8ilq8K4DPBR03FtQR82OpuJhrMEe3IXgXT3UNMlB/RVZuGmyLPuA
dNcWbEX3Dcp5mxXzYJmyhyM1Rn72psI5FxPL42addpGTukRFxmSGxX1IhxgJYVNkZiTOgGOd061e
H90XXP/+JpC91LOgTEtx9KL26lbs4sjvk7vzPqKC3PzeluUoEAhA4ZTIzYsqAunSxqGim7oSxWVr
8bz3wbyJzFLIlvJcLn20trsYnGF4JYidpskmnmN4M2cnzygfbQeB1sjDrj1CRbp1AM8bk3D9pBHe
IxXeELb5sNMyynEr7BHIjgJTFyaEhYo1nqQVUrbV9KkxvIpjawToW4sCR+7q0MMUgF3ctcNuEht3
Hs3urOKp1oaX9RogqMA3eJcx685Yx42hdTNX4nUY0zEtK2IkbVudkfZ5klL8MaX59faa6oZXDl3L
q0ljrhg+dc3nxvKOgpovreFuHCu64a9/fxOrvP8/zq6lOVKdWf4iIhCI1xbobjd2ezwee14b4szM
GZ5CvEH69Tf73I0/2WoiWNoLoS6pVFJVVmZeDZUnciAvuzuvGo7lkp0bc4v0VGf36//fDM8dY8mb
zvXPAWtOqVsnqVHsnLniqm1RF567Lv55dINkzNowJdfC/T5A/jtJhxUgCcdo2uCMzF1sAkw+V/lp
bJfDvmVVQq5lS2siognO0CZ/kNyNqGc8DLV3uj28JlKpig5BYYMUA4KaQG4O9/1khcLL7hnqEx1E
ZW9/QrO0KmZqRouU6fsw0PVJXvXzqaG79CgcqgKm+o64TuuVwXm2OoTY7jBO3YZhdLNWvLV0O8vo
nCo4L66IV4scRL3TlVTElAVh5paPsPk8A9tYg3a0qB8harhRndYsqYqYyqbKWOuiB/568GI7mECh
goKcC96R77cXVPeBq8ne+OpSQRaR+V2AnOxD7p1ckDKN2bFz9qVXbMVf16bumU+xqODqPGaZJUAk
W+58O9hKYB0qs62zCbbPF/LLTsmhycx/xbCV6dWZRvFWWffmshB46+w8F9WTUw/hJB7SrRCi25RK
bPXM2iF2haVdUOiul/k8TPvKe1SFTA2kAMjOa7JkgubCUPXn1tulJuZQFTFVd3bWFn0FvPA8DP25
c4alP0kX8ob7fFXFTJVN7Y4jg1kqVsWlQ04AgG0MrQl7KmaKTXnV98OAwyuX8FUe45ESD0RGt11J
N7wSVauWC8/AW/k8i2n4XOW58TOvTOe1Wcrh6+1PXA+s98VzqnJf8a4D+fN6hVQH3SkdRAgy6OfG
TSP0MsS9X+3LQ6nMV0jf2DlurQCYgue+cw2wXEq2laPT7HtV3WE0StsihZ8DJzHGZh8cvc17jW5o
xWNXJIdySeGxFqfih3CdiqKxig0bnTa6BVY81i7yrPchUJlAMCVyTBmNHFzxQbexfzTnjYqjagZC
0WJg5EmTF0kpncd5se5Hv31oa+dwe/9oDKRiqebO80o2i+5c+lnzY0XH0M88CNJd9W2qQqmMEZfK
0QYef+oD+Thy4AZrWrONuWusr3JXZU4gMwiGo1kyAAVXUNy5LfIWs7nvcHiHmAJPhVMCOZK0zDpy
V0RENncGSLhuW143++uKvImzXjn6zcjyNoEw37GxlouTQZwSb5Pbw+sWVomz40ghcYzWsmSdRGTj
bZl3Znx7aN3MlSibOoNv8QJDp8YUG0DRMM84inXnqanCptaptBfLIMGZyyzG8Xlne2ZIqq3Z6wyj
+KzJ1jzzTWgBsUUUUSpRrW24+7rLNCpUCnnoMnesok16IzDDjBlG6E5BbFXTxqbUzF4FS0nW574n
HdzojSHqTOM8u+vGGa9ZVvMaYt5syKFc3BL5P5504KRFY84vIcoDxKD3nZXvGKnAhoOkNEwzGdmp
bM1wrdrf0py+3La8zjDXX/Vm9vWA+gVpMXvPfyYZCfN0iyZfcwqr0KiZSkNYgcmTXJLYdZawscYq
EqaHR1v29/bsNblRlYkqdwBhDdAOmPj860yecvt1cB9Aamaxn20xbuR3NUAFlZIqFy3vqylrE2eg
Ry7OhpG92oa8GJJBZTYI2dJC4JHtO/tVXqqgyQ2LdSjMiIJANhU38YvZD/tgWegaU5a7nGZGRiy3
hVsJ+NMqeliGcWvJP95M73QdkC5OW9HXPIEkiB2WvOeRPZEtdWLd6NdN8Gar0qptRNmXbdK21pFa
3kmgN/72Pvp4r9oq6xQZ1kamXsGTwh+P84Tyfi2/drT6BFbRH7c/8fEx8U7RYSmdSjSGAXfoRyxr
B2Qr/9Wl4nnf8Iofd4tVruBB5Qll452YvOPIIZHTrfHt4XW2v/7/je2zfrWmfsTp7zTOCcVhNNtt
NRvobK9EXCrF5BaD5MkAZqkF/Rc8x2WzOjVswzQfHxJ2YP3v3HMyW1kBZEsis+fcegomJHaH554l
ZDln3a5z9J0yAwj3TPQbwEDj8NJbzlNJ+Mtt0/8XwN+/VcDi/b/zB1OjNZsDY0lag/vLrj5X1os9
fumh/beOMiwFS3haH83qMxv/vf1NzZqocCmn4pDuaKcqkQaFxkQTZYJ97l0nWjx/345SIVM5HHj1
wbCT2M0cNqt8aXryenv2ms2qgqWYRdKl9VOegN/xXJLsa1oaG9FYZ5jr/9/4gUXGwPFdn2PvjGht
6IwJik2pmdhG+YMBRbsLsPNOiKFv/HqQbOBJPXTHMSujcnY/BcI9eUO/8Ut0Rrr+/80vGVDtqKB9
hEIQTx9KN7ikzb73l+0rHu0JkRaL22BbwiCMfS3RpGQ1uCB5W7oyH4dkW+WY6tBNP3oLXMLOy0gE
5J7hnVH1ZtT07LBKCPI0l3ncyjbrTKW8hhvkHiBW2fOkGfND7QWHHjDF21tVExVU1BSHgEhBbayC
NU5RAVxZBbL4lmwpo2u26zvklCMMKWzsI38oIpyC4eR/Gpd/RL2R9NRMXwVPpWWLpqUU50RgVMnU
ZHHW5g8Z6PtuW0djeJXTyvLzgEhoLSVzn56adHwK0AK4b2jFkdG7sgZ8wh41KxGEgbeAJLrr90FJ
3ukxdDb4EdmMiTs+v8PdIuaFdaztrWXVmV31XTZ1nTQpHqnueBiCa6nYiyeybNhGN7zivzZDrwwf
lyYZ+JPt/6DisdvaMLoVVWKx7IDdh35Sk6CBKy4zZA9nFu1bUcVLWZGuCFqySbhPQ2fqjyLbKh7o
DKJE4L6TPqCrQZ6YtffYeG6UduYP3lW7Hqf2O8BUM9PMbkWTwOxxblbHcnOnaOytAqZ4ly12Dd3p
ZGYvrtsd+bJzk6hoqTSAmh2k7NvELys/7PLla8s7HlpiU5j0+oD+4N6jElP1eSns3qVNEtjPpP1R
ZXlYZc8UjMzl79tbRrOuqtCCb5Pc88jaJFOHNgy005tzd5TptBFidT9AcdMqr7LFRbNEwqqkLhgE
BP7Mzb3h/BjoRqOu5mrrKp4Kiccid9GfmBTkZabRaNzn3ksuPhV2bHtbMUq3hxSfnQAwavoRwZba
1Wtt8zwcsn399LbKVuU4KEJL77o/l/wBXIvQczejXm4Ji+kWWHHcaW3BWiuwwHSpDvbK7muTxkY5
nW/vH80Cq4ApEvDR7mqk9/3WPtoGOy0AxlU5SXxZfHNtdx/7iK0ipwyxcBCcWDiQW3S5glUzYHno
79PBdGyVR6iwRLvaLQ7l1f6TiZeGvNZiAsnvsnEya1ZBBUw5LQHVucT0jfZSu5e1/e1m+17V77iE
oHk9rQJDO/S5ap4t8cinp9uLq7k7qUgpFqzt6jYuZr18selD030b0dTc7zx7VEIw14R2jJ/B6I39
YJIvkEKe9pFp2ipOqu5oneYeTgWj+ZlKP6Kb7Y66lVRibFaQkrVG0SVd19577nJcDOuJet3LbZPr
hlfcNTMoGC+7tE0ayz0Qt4ggdnOerHwjzmpWVEVJ+bRd/NppiyTrGDosTLiq+9J2VWwZWXz7F2jO
ShUpNeGtPjamC5jBuJ5sJ3vtK75vP6oEUwL8mRIaYrg6NT+W6p53TtiNUc5f981cuRCnS1lZJWi4
E48WgXu34g/+EAxNV+x76qgkU0Exc7/G6+lcS7MI+9SywlTSvwZb9nXM2vS6KG+etIYNrFfaEZY4
bfno5v+Wq3m2+33lVlvlmsobJpbZhP3tgoadUUf+stc0SoRdGLIhhQ23kpZ3Z7TFgYgZQjxbVWgN
q55NFbftoATtsBIRPB9BisXbo8e/GxWP2zEPs37Bp9wHIz+zNt0IjBpHVgFUPgkc5pUWS1qeH3v0
GeXpFHfOlvqOLiWmoqca2wMvZ8dZ4rOnnv6pAnqo2unQyfw+mPmlKSFkVXnPHRri21ps+Lbm+FBx
VXnBHTlOE0s85v9LKa4s/QmqWjy07a1ij+b4eEdINS+pJ6/n60zzmNnBT8vNtsoYurEVBw+mVrTI
4LIkY0FULOsfT5J9UVgFV+X+jKdzjm5XipbBKcgPiy1jp6yOt48mzW5S2aiAWK7oSilODuymxTLv
DFQ4G2cLiaMbXrlEZ34JXU8JPsLFEnELouiuG06slBuz19ldcW5D2iPwkS1Lqiz01udl6+qjG1dx
alEF3lBC7gUtrdfOWROdJBYRW/hQ3ehKKK7SFWQxFWbdEPGzznkRO0xuCXRrPEmFVUlnndYceBLQ
XD3nI5pNofo7PZjLvmedCq3ywaQne1F2SSBLNPL4UzyL+dFcNyVQNDtGhVaZUJ3zSYX8C2+WU1mT
WNLscxD0G5H+w+GJo2Y3h9Y3bWcam8tCTsX63fsn20VSiZGVPZOKFZn9zEJydP2S2s9iq6z44YJi
XGW3kG4M0JzcNRdvBE8vKa1fHQVTr0sKoN2zLNjzkCCOms70h3ThVUnZhZbs1HTTqbKcu2ncKnJp
7K5mM6087WUwsOaychsSOuCiB1uouQHg1JhIzWUatrHwPmubi2EtUS4fF9AydPS5nOIdhyRsc/3u
m8tPuaSdKCvCL2mdh9a/wfhncPZEcwx9tdeboYelDQAaEvxSVXde8eL6J9f9fHvWHx4zGPr6/zdD
W/0EeTbPxIZsl/PEUJAbvtwe+cO3OUZWTvXAo2TJuhr2hj634Se2uAg6hNI5rvOGXXRLqpzsjjt2
TbCuzcX1lkPPvk/uwzi/Dsbrvl+gOOuULZXhpHNzcexD3cXlOED/Mc7Jg2Xf3f5CACu/y7DBRorb
DkHmsTpFJT1fq6hdrHBKxSMTZTymj2UrYnutY7ZJCaNZkXdpzs4A8sCEucbqmLVPgNbn3+b51Vv3
pK2Jo+Y6J7hXCYhAc+HEfGIiO/Ox+mTVxcbwmq2qJjwBgCrSkcPBuHvP10eSbSyCblzVcZ1SghSX
eicjSPo2Mf2d4ypeSyaDm0Ka/EICeUot8TmT9c6hFa+1+4nPBWSuLivU1a36h2HttLHitNBu9Gza
ut6pqfJ7a+CfChDs3d7rOjMrzuobtGCdCW+ifhoNlntP2l2KN9h4iqOmfMm8GTqTl0Lww1gtR2DC
NmatOWLU5k9SdBWE6nCK5UgmmvWdK/OoMQ6OsXGEaayiZjDbvvW5iffhqZUk8m3rYKE1YpfB1aQl
be1lqaepuYiZ/6q74BenW/dHTaBWE5ZssKpuZgjUdfEKJuOm/d1mGztQN7Tqjf2w+o5ZNheZ/VNW
n33jKLdE4sh1q31w3KrJyq5vCV8zk13yMzlaEDY0ouGHc3KP7amOdgGBiKOmLUtuQ60twzG1FN/E
T17UYbkljqnZjGrKsiZeyU0K2wSSxwQyziOAoPSPFWwgKXXjKy5qz5Xf4ADnlzaVkdcdfB+lBqcM
vfR535ZUHJUhESrFimtqSwSyi/NT5VjVFuu8Jryp0gUd6M4Y7qS4nBpzNPCT1TyY8xfT+kuMv7en
r7GPmr8ciZSF7Ap+qdGr1wevY0lO7fBrJMfb43+cVgEhj/+/tzFR+m0NRvXm0sdrLGMSrvdjEpzq
Q3PaoiH/WOAT37ia782Nz7FWVvsznKD9PR/TU3ss4zmELDQNrx8yYmfjEaU52VTS/GvDlwRXZ3Ox
i9fRf7T/3bDRNRR94MRqGtPlrDL7VbJLHYRDHzZnKJTGfszBkyVCdgbVyKk83f6W5ixS85klb1C7
ZdiuVvfLksnqtGFRv9weW7eXlEhrgRCLuy2WwTb7Qwnq8O53gUygNW2YXzd3xZeZ20oodtgMb9jy
3yBoY7t0/kEGKrw9fd3wiicP1GgaihLHJa2GkExLOPXoOK82dUiu0/xolZWbce7XQrjzzC4dO5Vn
/+Qd+am/z+WdOFoxGmXj2z9DswpqHrNdZkZNp2aXMW+eptR4zem8RADDR6g8bXi17huKU7tButoz
kNIXyv1v87qAil5CstD95qEd+vbP0PiamrZcu7H0q6uvcWf8NQdGhELC1g1Is9JqX6jwTC7aHE4g
KVZ6OIlRRKW1MXGdba4ffXMYCVCdlVUKL0B7QMhReR6eMuvrugXs0M39aq+3w8923giKs2Kcy+cV
TQ2GCO74vJVZ1A2v+LBtuWkdzCu7GOVDa7HQWaMm2AiVOsso/rvkk9XYOTJFTV7dy0A8VXL5anTk
zgUh775do/pwXkrhuHZzmTr34o72pyD9u29kxXvrSXRlMJXtJR29qIV66bJLxok4aubSBmx+aWas
qDAvq//obwkRaZZSTVmm/lQP1YzLg2M/l+Uz8nRRIzautBrvVLOVSPpZcuwx9kQ+k+4k8w14i27O
163zZnd7bp2znmFcGSSNEa/lF38rMaEb+vr/N0P7/ogsmcNxEbHiIvuTdS+i2QVnwRIqTmlyZ5oq
OOZFOMb6RKBp+Z3n+RZ5rMZv1I5P18iceuqz5uKzfwv3KRiPjP8otuBzuieE2vOJ6+u4zgWGt04z
bmhNzCMwKX5Ho92xPm3RJuusrzhm2Vh4ulWEXYL5vrJfbCQUp61ii84+ims6OAWtdsGrENwqkZdN
oTHhzdw+eeXGI0IzebX505og4Wo7eXshZDxQ2wmrvj4s+RaJkcaZ1MZPy7OqdOBII0jTO83GeOqr
37sOLbXpkxdGBSg5TvMm+8frvtB6A0uum7Hipj2j1PQ8aDpS6kSrYT9YabeRB9LZWnFTKF3RspiQ
03a9MroWcoIk4FvV/P948D+4g6n8+IW0jZr0GL07kOzQnhku2nO4fi6/1l/XQxZtX8M0T7f/3ipv
jhujlzh9B5ioz5+D6RtJT6b5NZN9aPINS+kWQQmnZKF+BdJhZCzQKRgks3RFdRL51G8AAXXPqv+e
dG9+QlnWxRwAWIuUXIhI+un6eiuPfuytB/PoRNUxPdzepv/t9I+WRfHg1F6MEbBJhBN0tYczD5si
rB5RB4uDQ/bAH4o+ruaQRFbYRk209brWnXzvWkSz3ilKqOteyofl4BzJXXZxH8q//MyPzanY+oxm
R6t9ogMdC28IOtz7nfkOTUlnktsvUBXbCMWa00/tFfXhjEVaYZWKSkZ0fBibNaTWX4tEtxdHN33F
15chlyDbQUhumvRUFdDhMOevpr0z72Yq/p4W0yAHMiAwTDhThXlHh/HcbSbIdLNXIvNUVE0pQKRy
6SAU14nvtWkA4pSHt22jcUG1V9To0ACcjRjdBwa3PqHXdd+4imtLtP2wdlrYhVft0+x7UDsXG7FM
N2UlEOe+WYrAQi/LwIsg7CX9ZiCff3vaOmMrbjwPi+eYI6oxq/mX1wkuFmGxxR/+8djvGPSnKu/X
0cSbzeSttCIpzP41oHxgd6PhBBu+9LFx3vHodzhR/z8JbJk2iIj6aon8Mdt3S3xHoZ/XUB7tXNTg
3WG+582aOOzXbcPr5q34qBUMWWUOLuIxM6oQjWpOiJLrxqrqBlc8tIMcRZ8RHDB192NGS9EIFel9
075+8U2AsZyqLper768ILhR99FuR6+on7+PJO6p832Gu66YLShzIitMDP1VlPBxN5FnE3YTuro1k
ms4yiptOyNsNC23ZhZFgRR+UJCGkhZ9uG0cTnWigeGqbcebUwCFfxng5eMc6zo/WmZysIztmMd+5
c1SXFZOEXg2BpfpDlp341mtLYxq12zNf2kyUOe7kE+vmECS4NDIca9e1lqp9nrIo86u4KPKwtD3R
oLrv7C1aQs0xo/Z5di5zPTEUiHZTcwCEK66F82mSGxPXXKmorzhqja4/tqC54r81tePiUJshPY/h
fLDi6kiWUG7tHvtjF/AVry3rLk8ZKDUu/dE/WQd5N96TIJ6jJb46ATKCzsvtffrxRZf6ihNDy9lc
8rXH3W3hF4sYZrxYIGbwahctcNM/km0JInwMOSVU7QGlBWmyocUbEuRf4M2raRvXDk0PtOyHuDbH
i+tS/zmbrT/5XFhQLio2nOTjKxZVwVOdQMVUFnigNU1xWk158kX9e/J/Mm+XUCt+muLroweUkFlw
pN0W/25MBwT8NaL2FrmWzhsVL8clpfbr6y3IGZcqKifDOZC22XdboSqEagD37riU2AGkretYsDqL
2Lgv6U9VAFUnpnQEiTBiRFqHoEin9oFsMcZr1lXFT9kNX6dgxdW2Fk9s/AWprmhkcb0FHtFYXYVP
ZUaBclGJi/+6OCH3p0vVb2GcNMeUCp/KmgH3CAsz5/xxmOKWI9Mf3/Zn3dCKP0NMzJK8YBi6eUSD
mZU/2rtaWAlV8VPctxeTOBiazcU9ByuM7ayvXUA2HsS6mSvhGAIRmekJnN0AOH/uu+ahdPJLXqwb
twrd8IqPZvZqlJ4c2SVz7jM/BvgrkLveWFQFTWXmPLYGxdCDNYcdMFnjXyL3TVuFSLF6nte8Q3p5
8phzcEb2d0VeArDh9fX2htEFNRUkZeUTcfoWsxef5+/92Y67CGK2v9coe7qWLrcggxp3UsFSKC81
qwCs6TISC6/EIWr4lpTPtW71wX1RbQtt0xly0Bwbc22XP01vHdvFPRJv/tkuFOX2p8omG1dGTbRU
20NNL025jU6Pi9c1p2WFePkSRPbCDmK5t9rxcHtJNAebq/iwWFuZGilxT4yKkzTlgfZ2VIAGIAWB
9u1PfIzzo2qbKPrTC8ik44nazq55crzhecgd59FoF/5Q2dVLS9I59I2eRYTYP25/U7cDFAf3Z4+P
q4UKKsoaUe36sd/uy3JQFW+Vmy23bRtVO541x17U97L/7dB8Yz10E1fi79y5nJoEHgLCG5r4hZyO
uTn/3GUVFW/F+sxdJxj6QphbR06ZOrh4tUO4b/Sry7x5owUWJWjzwTp3QdTIs7lFJarZoireaq0A
pqhGeLMECi2rkd/7nHLggD/vm/b1s2+m7Xl9sOQtpl36rylUfuyX2+NqgoCKt6rNoWMB8esLxxnq
Gs99tobuVkZXN7jitpPsSgpk2zVd74eeh15FsBlY3ZbglM7k16fCG5sg+M64pzvyfi7BipQH373M
TyaTRmzdFK7Q7HS1T9SrUCYt0Qt5mWb0TjH/4gT+Rh5CN30l/lou6YPZtuQ9d/n9TFC5n+ezJP7T
UJAv+1ZX8dO1t6oWMV7eM9+EoJXxvanJPVoXNw5/jXFUsBVdg1yWrS3vQUJyYtxM2nTnCaPCrKzM
sXvsRUSwMQh9ZsaT3Cqa6GZ9DWVvts06WutsO1Te96nzrUMbYcRKoOhuW1w3uOKndVMxp+VE3iMy
vbBiAW8K5cHOwa9+9nbmfsDdocOzh84piKgzaINT5m/dZnVTv/7/zegTsfslDXDESMP6Pon0S7E5
cc1BoPaFBhlrLAh6yvuxBdUR51/mwntl61YuVTdzJY42aT9UpYTRu564IXeoG6K7eyPBrJu74qZV
x0FPYZnYLkVzysQUme782/d3NaIT1Bn/1+rot8ZzHBQ+qCKL+9bkX4XYkq/VmEVFToGSwu+nCj5E
LPraTuKebkrI6IZWoqh0rSz3eYocanrpIEzsz193+Y8Kk/KDpfPMlQImVSd5+uRuhWfNKqoQqdRb
l9oq8MA0MuPQ11OYzl3E862+V83tUe3uzErLq/vKQSeNk93V5RAJPoaT7YNw66rLvZyqqQ1duhE5
dD9G8dSUW05fXCtwc++EEyVh6pZhJ59vL4FudCWs5kKAGwEQnksvnsY0lBwZ+GYXlp6qLPo5IBPL
AKHFS4W2c3Fn7rzu2qqTMh5MhY8Hjxigwp17sTNAo8zbYqnRoH6prXjp2Pa0nQekf2dhPdX1DI3X
v6BjCUtn+rR05SFznoV7ls43Guw7dlQUVW8GjmX6yBNJ/1PFwow+43O3F1hz8VCBVAyVFeREkObP
hBVDozi0hXNsOnJqIL6z7xNKjM1Xo5lBGQ93Wxs3XsEOFbGK/xMY7Tfryvl1+yuanapy7NNCBBNp
sOqed9fb596L/XTD/JoDzrp+8k0wJIIGKFjiEdLLx5WexBa2W2d7xXWbuiB4MONKvDAa+VYRWim6
EA6k2KDG1ZlEcd4udcD1XTvsYrGTO36a3F9O8O8+aytRFqlFq3RdmEQu93Pwc8WbNfU3XsK6aSv+
O080b90aD0rPL4ejKFbzsDBfHApbdofb09eldSzFh/lcsqZw8Q3+1/qb3ZE7oMKWsDqTA/vkH4vj
lraj5reo6CoxpHaemvhOa/0xZZiaOTSbj7d/hG5sJe7S1Vz4wLF96uGuts9lcxDNRgJEN7TispmE
eunSADa3Bhe7/NSJPjTYP7enrfEmlU6fg/SVA0qPrTOVDp5q1S/bNYsNm+gGv/6gN67KXFKhUx4T
p8trXaRhle9SaCJURVexybAXZDnwfi1RA5Blc+7a/I9vdBvOqpu54qxUdItPQWJ6yQbj5NU5iQtW
b3Wq6AZX3BUaz2AOc5CQ6Iq7sTmJrUrodT98kFtUUVQDbygTBoyS4QTL+6Q2X8fmqTIfO7Kvh53+
VzB7s6Jl1VRQeSlR3jGfaPvKrL+gj98IfroytAqSmpGb9peZIjTdrTh+UUk0ouzc/pOG5aGJ0uj2
jtd4kwqSEpVFvNVD14Ln+YcZhO4inZ8bTjYin2ZxVZAUCEXXDs2auAGi0p1+WenT7Wnrxr2GrTeW
R+rNXnOnRT/10B86kExPZblxvnwY+RyiigLzwKmNzuR9snAXxLP5sTOayO34d7cM4tuz/9Do+IQS
RRwuLN8Cp0oyWLQEU5t5yaopCMGeTA+3v/ChffAFJYZ4Zto4LiV9Yssvgy3vlnkfVyRRyxotd5sx
A8g6kZACKMkYsxk9ZXQrKGkmrtY0ZA3Kg4aDToQ0bTQ1dpRmWw06uqGVwJF3uT8Vs+iTDnRhPHfv
5nHYg8t1oCf3v9uxgb5Zaa5rn6Df9Oys1d+pSTfKSLpZq1EjCIoMvUU9Wsa+QsrnoRn9jZE1u1At
VngjVIaXoMMeab3PgVN+4cX8GRDu59tbUONHaqEiW03HWwC8TUBPHbXrn4H8re3PM9m4+OqGV8LG
SLvVI0MG3aGCQZkQtTvSdeFslFFXzL9u/wSdhRQ/rciagvhx6RNajDiE2dPiGhdoyn++PbxuaRUn
lS5Q4kY79pAfz0PkguPC9Y+3h9bMXK1NmN46llCQ75MWQgi1/VQM/cNY/Ht7cM281W5wIoaxGhhl
iWsPkVVysILZp9tD6+at+Kg9ZAKK3YwnYCx6MtiL3VSvJkSk942uuKlt+ZmcC1jFHVweNdP8skIu
LyJdtScsOejY/t9zoHZNz7Q4NgyEzk7IZEHWwtu4D+gsc12MNxFvysjUm9f9bjRl1Hbpuc+6aBq3
8Fcad1L7wR0o5lJzheHL7Jmb59KskKhZIXG21eX54XUMplH81YfhRSlNnL6kenQZsA3ScpuwBOkV
RM4rz9uVfMaHFKethctRpsRZnDPxXcj1z1JvKQbo1kBx2NYcxi6vsz4pff+wGOsJxMmnctmntkXU
MsXq9aNnBE6TSD7EeeAMYWVkRyrbfeeNWqtg0yInWnpN0ubpfWGlL+661Zh6fde9u2yjVUTx20Wu
1lhbMLqdv1rywPgzyT9Z/qe2vhP7aD/wEcV929GsAURGAG/dMexbMOs5+ZddJ4PaCV7UY+4Qhvmz
9Kmfn0zyt8o3UgY60yiOm7dza+YUm0a0SPqjF+HT5LQP3TBC5SN4rdYJtGzpnus2LKQ81GRvQeo9
B8+tNcpDFRhZ6PSbcDPN7qeKB6dDldI185sExdInF/3ZK+m+9+su5hXMXfHbueV8FT14JqXpd1di
ZxbZfboRD3WLoHiuz5yOTBZOHx8qhTJFCxJPP9X2dBABcpagmTTGeiOEaQ46tZrhzqDtMEFalzTd
5758aeYplKCU8tdwC7Soib8qeSW1l2LKZAd9mqsfQMOCQMTkth/oJq/4cb1wsXit1SeS5XetPX5e
0/xog/4tHxCHt4T5NMFGLXKIacXtEAQhSdEVhzKrQ1uWX0zxd6LtxnrrTKQEYi+HQnANlbVEpNal
tPkja/rDbRPphlb8uQLzWNnWOEU9Hzo6jfNbOlvyQP+VAT44RlVl4ICWLnMMczmj16LjP0XV5eRY
16gyXxonH5YMWvPeSl+BgA9MEc2z7xgH4eST/DoQdyqeKS8oBd/HZFntqTIsLpewc2doZ06pK+tH
d5yYgXY7M+cs9LKmOxTXfJeIPNcy/BfDzQwjsUTXT5FdSBdsixOblz+r5Zp2czDlwFcesprZgDeB
EKjC3l4Jrx7zsbLrvzl4GZsNM2tOG7U7trNnUZOshFCLdBM8VX7m5vBIzXZPSsshlnLajE3BKkoq
iGD1/MGQ82Wu142agm7mylkD9Vl/aStwlYmZxsAtxgPu4CYIn27vP83watrWJeuEOyaGLHvrYIzF
41SmEWnpxgmgGV6tfHWy8ciyInPQir/Mq1Fc/y794eX23HW+o1hddIS7bubhmkBAteKur6uxC6UC
kWjF6r67AI1FXIRZEPgBmxUyezhBsSEeZRnvmr1a6hqKBsWiGbPv1urQyvbh/zi7kiU5dSX6RURI
gBBsqakbd3m22/aG8HAtRjEIxPD179Rb9dVtFRFsayFUqcyUlDp5Tt3zDZ+xGMZ86gpp2lNJRJOU
VSUvdeq4cb0CanN/4pZ8a7IGsICJKij8PqFO86C6j0GO3lvtnVq956EX0XT78IvLCWWRx8DSUCdL
o0RcyeBKQII3bhZDbea5OeuL8aepGNoOXbGPgBqXwdmbKj4/+hE6dTZuhrYP3H5/8QFwS6Y5mWB/
nQ2Pc6ivTjpuBJRtaONM5o5O5VNd50kPyq1T77gawpnBltqhJVzNHvYbNe4c1iXy+1Sgdk5OLfQl
IZF32uU5ZiO7ExWlprftA6Csd8HknUJFLlrUF0bJPuc031yWOm3KLEWid+n30PvEph+Te3THrUdk
m4EM13F1CHYhwBAS6qFaAf27tywHUpM2/vN9E9k+YLgOD/2g0Ct2Eqf9HHQ/Zvq9yPeJhQCw+2+3
DHmkO4i/Y/uQ/+juWbDf0/Tn/rQtbvn/Z4cXHl9I4ZTlAr2TRbZnFrEPqcz2JTPz5QXUYyBR9bsK
lW3I1XO3XWMXLPX3520zt5HnoxuT09Ji3l2qL81cH9wUsobZPkFtar66hMtCw5yDXn+s5thpkGtE
F3s52ziXWjKx+dxSTmM74Vglk36qTjxzHzQo8lYF5cHF28jFloU1n1yc4kbFs9wEAkCtpET6ttbh
6b7tbUMbaR7tRiOpc1olBKplh94F5ceg++O+wY1Alf4q2/kmJ+Yw3rwJJ5/UcRNl3r7iB7n9pxf+
rhytIPwHYa6KyvIwA+17WHq+1WJs8UqzIR2o/9rBcfKmq9Q+9ar6Iuvpor1535nPlC3WC/B8Qceq
RLjsrPL+3LrqROiuNhhkbuNY1oN0TQypryAR+sPNf6v8Cyk+319Vm2GMcA3kREuW9zdpnOC9R/Qj
ivYfwmjZeMN43SNJFP17VWfXmcfWg2aQx/TX2ssvBdkSLHx95iS6lRJeOIwgqxZDzRReor6jKh0X
1afK2dqVXs8DxBQpzjxae7THghboqFz7OeZ5cODweDyFb8STbf5GsGonn52+4Srx2bd1/JvPz2T+
vWdRgfD6t2ncjruyD/shGdx/wPQQO9XftZMb5wHbvI1AdbRTgus4gP46yEh8OcbR+HPaPA7YHMbY
UZtMsyJkBd4XU6A8av1GruqwzypGfSxPq6DSosuSgC7HALx/YTo+FNMWdNPmMkaQslS1TJBhSGh0
Xd1T4Kg4cy9Lsy+FEVOaWFbFGPYO/IVFzSEg5OS15ZH6zkYKsxjebEzvdB6KFhIoiRbej6Ji/FFC
P3Jjz7P4jNmYDlKksldge0ny4tmFppps/qTDLhw+I2ZrOl9YOmnRyERMHRTi5VIfonX+fN9pbGYx
opRNGQ1UeIvSqY6DrjoCfLDPH81OdC8YcEvWZYEqG6BjBTuXdXtwpi2RAtvMb7+/yI+yX8KS+TAL
NHrPS6MvHQl2nfGI2XAO3ZYykk2GAudafPP95tKK6v20Lhuv9TZvMQI1bIZCl6jTJlGr58PUdu0B
eyrYQGu1Vcy2fcII1iBay6gYQpWI9V2jSazKp1lu3flsljf21H4dIA4DfqCkYvmHzOVPwbR10LAM
bbaUN27d1F4WqSTNUlzCgqRIox/3Pd2Sv8yG8jB0+xwyeSqplrdDdqlCCfnDn8Gy7Ns3zKbyIS0Z
ThsE+zU6cSrWHCban7TyN4a3Td8IVJdCt13ksIzmj2lwCMK/43oe241LpM3uNz96EUw+1OCGeoFx
3GUG2lMdpnrnfmrKcjBniDpn6pBh2t9hmsWZ8z7YUme3GcXYTYO5aEblLkUy+ePRZ+HjOE/f88l7
N7vdFpTp/7WG/xbFiQnIUmvAuyB1cOu4CaTC9EvByI8e1FvTYy8JWRsgNZUIvqlwTCk653OlAyce
pikX5457pPFi3IXyJVEDyCQ+y7mGLheYyD2u6EEXTgopyyx3gizO07Bet854lhwQGGHaCOGlkyqG
JI3G4+BV8QL1knD6ez+cbB5jZBjpcoCRWa8SDyj/G+flIr7eH9m2qMa80c3qipQFTRKI4ntGnmmR
vmvS9aLRwLHrCyaGbBxCWaQVVYmKxuG0hOHvZVZzXOQUorHRoi73P2NbAOMEv7QVGqLzDAvQfO2G
d070PPIP+4Y23slKrsTAuRzQu/HrFlRu/iXdPKPa5n1bmBfJYEhTSOBkcByOKn+Thb/msTmseb9R
nrENf/v9xfBeqp1FFMhkefrsj9/n8lM5bbiObeibs74YGpisrqiaukgGACTCpTigo+KB4zn3vtUt
Pm9Cyro5qMgiUmwhE42nrjuqTWyBbebGmaACfrRqJcLJmeRp4N41a9QbV+9qd2DEbHNnU1pWEw4e
CYVGAaPVwfH7x7TmG+dfi2FMuNfICyf3w1Ul0QBieeKJ+tQ4vD3tMruJ90o5pHhw01aQBwe7D6jx
3fnPvpGNMBrTOixGLx8AsINgEc5ha1Zs5BjLgv5HqFiTecyqqkjWcIBw5PyXNt2pGrfUum0Wv332
hadDL7TOMmhGJ02RfUbv4pfB2UU7zIip+hHqBqw+DmYOSdtDh1p+PCzuIefrk1L5vhO2Cffq10bK
gGJJ0abvl7/C/Muy1RlpM7wRSRMfx3wscKNp1upNwPw4d+nnfho3nNE2vLHvNfCSIl2RA7x+vqZT
FY+Ufxvb9bjPI43NLxCeasBkjgPwBJYryA124y7VIkZMeFcvwZacEsyc8z+BP+F82mzc9CzOaAK7
3FRAjisrB1x/oTYQ9e90Ld7ft4flMGACu9qeUOFzhr2I6xN48Z4cHR1ADHwuZfjl/idssze2O7za
el2k+iIhgRhBfSTUB5D57/R0E9mFOm8douAD28xgr2zoY1P+nIg435+7xRtNWY8elOOozRKI4xJI
8Lb6lPH6IMp9WBNi4rkWh7bOkK51Unv81AbeKV+2qhq2mRthGlTSdecA3ohG/XhBES9aZBzSal/6
NdFckoWen0UT/GaRT+0afcrBwSV4um/DM7vRF3/mkKmAx0PHCK2JYCiWwUYwWQxj4rdaWixp47RF
Iif30vrZZaXORWT+Po8xwVuLLp2+9ZchUV70UOY6GVf34oVy35nX7EvPOtZTlkM328+Lp4jQc+ks
H1S5pYJhiVUTueVz5YddhWiakQ7aUDxHK9ko5dvsfvv9xY7qtk7r6qAekqJt44r8qps2zvxuwx9t
E7/9/mL0cFZ0jG4nDdybYmgovInEuO88bYK2VN90MxuQAzRzzk3BD6AaOQ9gKrufYmwzNwLVD5ql
JqC7SES7PNN1HGNoCW2hsm1GN3ZTPgEsLZwFCaYEtU55wytFv1251Rxu2T1MUA5rWK8HOkN46qae
dSkzHqfRzyWfNlbVMn0TkZP1HhgcqSqSLK+OeeldfAB+ar3Fj24b3rhA4jVSKepi+n7118XJ1KsE
GCR21gdMVE7pNrUsXKTIiX7Pnb/O/GPS/9z3GdvEjS219suGDymSTE/LCwnSJFu6E/ia9yUZs+nc
myWu1gGSjHLWT4yFaITGARKyVvtmb8Sqnlsw43oCL8EePazgfKLjjzUMH/aNbtSsotIb0DSYy2Qo
2KW6CT6DQTzP9uEWiYlbbNqMFAHqeai69yB4qs/+XJ36sd23O5m4xYmuvBqzdkhqp01Shx3XJvtW
z+LnPuMYx99RNn4BCGmdhAI6Yo066yp9ioKtRyBLPjCxi4CYyEgF8MuRqFO3NDEd5pPU0WO7brWd
WVzfBETd+hCmQGEbWdl0oA7U3LgPgLTcOHjYhjdurGUfClfhdAp0d3GcZ//AneEMCMpGsrcNbwRu
7jUu4JG3ulIEbqDMB2jcWQ60ljsTPr19+MU+6HYrqTXehpNaOYBKoiBZVAkrvI2EbFtgI3RzNZZD
pwHib5vpF5HPYsne9HX1fhB8IwAs26EJicKl0hUlz4CgmZcCABGh4o5WX3a5vwmKCrlQXObhkDgo
00Ch4i30AeN103ls1jF2W98rJ+b4GH71Alzq6WM7gWN8BLFXsKVKYXMgI4CrSA5LPnbYsnQdty24
EaBmWJQ7j/UmPEqsItTRLXmubI4Xnp3EAmqHiG00db46e5+aZQnRZqzTfhYkCGCCG8m4nkZPfquC
cdxwn1eXAF8wTlNN5eopCKiX5HgZPTYhGGXmaSyPZJA8Hui0RSn4qpviO8ZSh0y2rVfMQdLwfpaX
VHr9+jBLx9+DX8f4xjqnXQnF0LUqH6useRpm/uQ4Ww10FhOZdQo3KLswq7wgiSrPixutijeQHMNN
zpn/eFpunfctFjKLFkCtkzScBAMgoHlUWdDHUzSUG8tsG9xI03npDiWviZcQUWaPnurDJwJLne6n
idso/3mRAt3GzXIvkug8qKpRYx8lVZR9kUN3ICs55bSEZLw4BaU63//M68Tr+M4tTF58p3S9uoBk
SPk4cxV7mh7L7m1Q4gwdyENXewdBshOPvvYoEd7/os1st99ffLBjY+jlPPSSVfa/WACCEu53+c7B
vX8PzjKWZSOg89Dhyb+slRMcqiXTG4P//8j/2poYgV1Tnrq5w4tHF7evcF3OXaFiCK6cXbE+k3R+
KHz1IwScaOR+3I8q7hd59LL6AGXrgxg/50N1GufwyQnkJWz1ofDJgbvDx0rUx06vx14ucYqkF3nL
YeXZQzCth6DfEo63JD6zXJLPrGijCIYfddGfcYhEa4cagljIYlddA85kZAxWoPQYyDZKhjH8B/jc
p9bxHnS5lZAsMWGWTarOm2u/y3iixujR01Nci+LCNCiQA/GLEv5+l4ea5ZN5lA4IbJmXzCKXBxah
0SOaxmUj4izLYFZP2kL0XE8cNnI/6tQXMfh6Eh93zI20ZBvf2BVStDyn8wgJqmZKz81MYsG7M1rV
jveNY0sY5n0bUEgUOlgWJQ0RYcYOyFE9aeOZZYHfoG4AIvhPyq3S9m0gOxfUcCG0Rg8pzddaHVMZ
TM6eK5xPzYu5F6yuFF7lo+raAlAWiHius+YApOnGX7VkKrNhJhhbX0iNFIzWYxr7IBe8eHW+SxwL
0ze2j4ARSVHB4Ym85Va+zujb8H+CIm4jW1m2WLNfxtF0rKvWCZJ1csZY+tMzuiDfA3wOrkd/V20a
f8LYPfiYFSKNsAZA9UBPiWcfuSDzMRJbTd8WbzbVN0Xalpn2BU9YCyu5U/1biPqcZlsHEdsaGxtG
5M7U6SoIEfZl/asGkeQhL8It6nlLvjLv6a0TToymY5RwFBnmwH8YXPKWz/JBhcPRr+WwsdQ2Ixkh
DxmEqQ9KtOf1lTq2gCW5S/8QrVtyzbbhjayehqpFFweNElFDVbFHU/mNPKPZwgpYrGRe2AsZdKic
ulEyUygR1vSTGF00kbIH1wOBWQ6x7vuZy7LU5q2dytmjaTpFSV379ATizeXQUffDvsGNaObQ6Ipm
3OySMSTOUQYBdqeyzNXWqckSzWYH0+QJVqrVj/7fktJqFntt8yAmduyLnRuHeW2HFFPY50UaJHkb
iZj662GCKmAlnY3rxK2i+crpyWSQ8zKhinJYoqSduwMENG/Hy4epJcfUGY7E80/zsktEyv9PT5Pv
THnr9Z2fBGC/wRtCH8VtED7fX2rbUhinwLKuGm+USBncW89ptBxGvzu61D830JW7/wlLxJndTR3K
qJrrKEjCsHzIuvLAdHMqqj/3R7cFghHPvc57Ejg5S9IR2qLrsKbvcyn4r/ujW+ZuXt9B3O7IwHNY
Uk5p9yaY1+F9mkFWRbf1LpgnKPGMmnlUc5+JW0Jy0JYcdeWfaUwTOS5H2gfjRrawrLLZ4sRkCAXz
oAmSttBL7ClIXS1h3cZl62aHKlRbr102c92+/+I6VLjE133L4KrLOjUgPfRFdo2EzMJDEIwD2wi+
19ecRMY+1zeeRt0mDEDx9aXmaYw72K7zJomMcECh0gkmCV8dlHsZw/eOAvlvuVWKe30ZyH+E8qYl
xENpHibFQt9GxYJy9/puiuoj99yNYLOZxgiHQuoZvYQLR39PKA+6TN2Y1cuelwCfmC0JU4dEMRY0
TJowVDph66CaOEzRdJlkCji2DW99/T9QU2m1GsvS7VrhJWDRzNWRl44qQPfFU7VhJJub3j78wk17
vnqoVeKIwVgbxIsEpLqfe4BeBWBy+xKH4aJcp1WbgmY0KSAdhaY/76OmUEpTYff5/gdsRjI8tcjz
pgii238YBVjPs5myRFB33OpusY1vHMNCLSu+dpOfpEyTr4PH0Ayf44Vg3+wNN80hKlp1/cqTtstq
qEhJFq8l/Xh/cFuYGT1uXk2DhZEiTDx3/rS26mdbBodmTL/jvXyj7vq6df7T60ZoFuUjOlGSMqVA
bOgELVgbnmMb2jh8zSoqs66beOJ2dZzjNKGbciN+bUOb6TkfUmcpcSgCJCx2iYtOse/7TH6LtBcR
lU8gTJgDpJ2yLvpYVtWjx93PwI3/CvUuUgafRLd/9eIb7riWnj+5QQK5o5+u6zx4aB2t9BATVJbu
/43XEwMx26KqDBQ4AwptiaiyWOUPrB3Qib1xxbdY32yLCjyt3ajowiTl6m0azc5Be3yrf8Y2uLG0
89rSMRuxcTnpwo6gJLqBcTerw6/faojZGcVc33EWAP7RoA71rMTzLuP8DYvs6t/3DW+bvrG2i6xd
jhNCgGbj6LPXcyfW6bqFbLUNbuRiDV3GrnBgm0n1h1WC7CsvN6AsllRjCm5yJ+VpVPAgcUfZidjx
WvaE/gKwU7ZDcSoINGj2GchIx3PIq2KBamASuZoeSoi9HsNAbfm9pQ5GQiMfu7kb+EOxhIm7EnAY
udN6TPM0j2tKl0M0MnFctVu8rams4nTmzblslT7e/2sWG5otVAqNJms1jAxvWCz7mGYNCm+rw4/F
6gxxU7rZZd93jIM2xCKFBOEbTwoXyL1RgD17RXlbLuXJZ+u+7G02VWV0jsp+5CE2hio/6q7X8dBm
Gx1hFkc2dTpdf0BoZtJPlrwfnpizRm6MwrW/VeKxpD9TrHNxQiVDFYYJKdyP4M09VWyB9FNzvr8A
tunffn+RwKc8j+ZFtzwhldc9igi8WypM/+4b3AjyqvRZDlrYKEHt7lqCj/qIpgR/I/pshjEOW9ho
ltrzaxREhvGnVzsnEYg3TCwbBxbb8EZwqyxXDSuKKCFRdXGHIlYR/ZR57b5t3+S2ZkyuZZdPYVKV
YCcVK0uPTUO2rkyW8DV7k5owW0udo1jEM+HFbRr+0Dn7NLRQyQq8Daij7RtG6EJ6q2m6PArBzosb
h18OD1z17aGTzZm1W/z3tiRo6nYq5slo0TJKCihNvaWcX0GCN5x8lMNuJR0WzzKqDqr9Xs9fXS62
nMv2526/vwiL3i8XEOA4YbK6wxswK65Z9tEt6jgd9n7h5ncvvlD5dedrWqE8wtx/0Af4UDdzFgOs
91bpacPJbP/CCO50LTORSYGXoE5+ntI8yZnz5IvpOFbOeVeIm91MYViLueRITzWe4eS3ZnS+7RvY
CO9Qo9sI04+QV9Fp1Mo0OxKxxYFryXpmJxNgBhIQCiQm3nMaa8/55k5i65ZmyRxmy6Sbgs6qJaEL
9ErmvM0XMieqoPmRL+0umhmf/KdVinqzF6HDPKn7BgWpmdUgCpjYrPcZ32yWYmERVQNaVpNsUD/7
LoB01JymeKzftbamfCefl0pTUCJ+nFYUggUe7GPWDLsgqTCOEbuVrHxvqNcItRD6ltP0d7dGQBCF
G0cWy7nbpMcO0SEcpLfcWmqXxaKQ5yoYnsDI/cdJo1M6bh3BLD5qdlD12cqpVtiZp6n8Ef0zN+PG
4lr808Qn+dxd9Jr1ePFyl/c+Kz504P0qm50ZwQQn4ZiiSz5GLOHUH2N/Qh9JOK373hCICUly/Hat
wMWPR00dHT0+PLj1/NCWW4T8NqMbZ25/UE7v46yYkEZUF/AryEcpRvn+vt9b8rEJSlIkq1ZPD0FC
uu4hauhRk/D9VP5kuDjf/4JlbU08kkBjAGvHPkhGPnyk6xIrZ/yQoy153/C3mHixaUktdaBGvKQ5
0BBw3fQw5OrNkHUbs7dY34QkZW205hTKNomPFtxDHvL0CK6F5/tztw1ubLilXvJmWYbgYxSKf0IG
AI3Pup/3x7aZ/fbNF3YhS9f2VYpSyzzMbwrKn/JifV818te+4Y1zNFsqAQ05vHhUJDgtipyl8k68
2dWN6BOTE1sJtGKUtANgkTUntNo8Ffl6CibyZ9/sjZO01hx07S7wImABPIu0/yAEqKTFvHEOta2r
EbJeWEP6oxGog8zeu6km36ei3Uj1lqFNONDoLRxlbyA50VH52aHBk9P9vW+TEI7x36dKYiKA6qkq
B/CcI04DIK9zdsrC4nHw3DdjVr4pI/IkWPDP/U9ZfNOEAzVRNdLGqwDirILp1OTye+UW7cPizPsK
x+Q//VSzhhinQqFIuPWT9GcwLw04me+bvhG2aRU55TojZwKS+Gb1b0J78mMAWd77w9uW+Pb7i8jN
UdT16xzHzJ7nzrnO1W+aUXK8P7htlY24dWo5axrhmBn5Yk5aRv/xItqcC168S8P0mY/VM8m8ra/Z
Fto4MWvuBBXKahGa8ton4KDeEjxe6mzrocxmKSOMm25hVTRq/uyHOqaVfpOCtvm+nWwzN0K4ryMP
7b94w6J5cQjW6ciB66+oc7o/vGXbNXFcOe9rh/h+CF5cIOFD8AroFgy/ysdjnNpFvusTE8u1Lv3A
cPIJcV+ZEuqr8pS2ekvI0mJ7E8rVSSg6dyVKgYGvxvOkh2ch+mxj17WZ5/b7ixCY07os5tDnidD5
Ycydi5v536ZxvdSV/HZ/BWzzN4K4HqWSlY5wX+HimS0riZvO32KSsniPieBifd8pPa9hIlmPWzQ5
UocmIIjcMM+rw4Nj3Tjz1JNQGd4m5ZXkfhn7w3LI/enBFeGG879qG4xvmH/ofNLVOqqvWUEAGgqe
WB9tOL5taMPs0RhOU8tWeZWa/1k6HMdFpz/fX9L/96r8ZwvDvG8ffeE22s0HFZQgIPSv48k7ew/o
Gb+0p/WQxsMhP+/T9nPNVhknWLJhnEqYXz3N5Yc1fY7GD/f/gm1ljYS5yqyvQ4J/kJZQFoA8oXus
5g2Pt41tZMtgrPNc10ReW/lu0F/H6FLojVV9NV5heCNbgubb6dXoYNrRpyn8yktgqcpHSbZ23Jtj
v7KwJr4mzXQFMZeyuc5heQGg7QgF7EcwkRyaQmAHJvv+homxcYGZ8rkP60/9xzm6zN4ao2jupfvC
1oTXiJqIrMKJ89oN5RI74kdbgPiwUFugQssCEyNsQ5CKEzJCdDls3gdNd6zLQyC2kAqhZQluH30R
W+BSXKvOwRI3S3MaQ32ZfP6GTtFj3a1H0Xdnprbg1pYcYVIKEzn3GSeZvNbT7MRrPhXHMcp2tUtQ
16QUrpYGSg8ZRi+oc1h897GRWyrktokb0QvCSbDXgFHt6rb0L8tztJRHwfF+ZrCNbUTv6Ip66rSS
13wcgi+UMv8LqbYW1za4Eb+lB3Qojvj1Fb0S5FC5tXxwJjzp3Z/6635JTTJhqt0lk1RAzrWIvnDV
FbGWf0m91ePx+uSpSSgcUp2ncloQVp3DTtr3PFCfuRtXudczDzUJhXXDPM4gYXXtl/LJxy6epfyt
cptDPpKHdusrlp2LRkbocrZOadC52LkuqFufmgugTPOH+UAP8iQvFNxTG1u7bS2MMJYgoas0w4fW
9jMd/3jTUZW79i5qAi+KsItSEArW14B+ruVHd32v+QazqG2JzVtLVFSUQdH46s/vyvAU7KI7odTE
8U0CZ5+GwxppkcdlV52w2BtP/rYpG/EqeKiF32LKlbq2XB0kXqT2hZMRrNXEqoEX0Bf3M3oRwRSD
3+cB5tkY3uaLJnyPjGUe8Qp62tnTeBIP6uIc2jfsCiLKc3mOjvUebBSlJogGIsxdWa05jiPu12n8
Dr3U++axzt84HXeQiiw7VJCu6jQfQUhZniC19Tb4NHwVh+FS/LPrORZ/wIhZTzLo4vhQqZbOj+J3
DwyQUhu2ef2NEWMbYVoOUPPJB2xSLNbH8kEk7QM5g6bovKuuiQ/c3PbFdp6RDniXcJTXcKjCN0vn
qrhZil0c7xjdiFcXOpo8jyZ5Has0zkF33Vdxt0XKZ0nJJphGY2Py88yXV9AFtIes8Y4taT9HWRYH
QmQx37yrWHJlaIRwGA1jhQZa5P6wiuvhqVuGw7TrSQgmMqJ4gjKAl1HRXLPuc199qLvrJlXD66dx
aiJlyOAFrjfr+jrkJ9f95DYf1vVE8RB+P8Asmc0kHC67Nhcpx5aooBQSFeslbzdy5utnTLyc/9sp
pyiVkQAt15X239r0wtmVuY/ZUMVTfhLoub8/f5t5jLj16zCoIoplbao8ZnkcFNBR8U/hVonW4jYm
PKZMo86rQQdxnZe3Yvre19BQ7jagPbaxjbBdsaM088hxxF9O46AOww8t+IZdoldP+JQbQat7Oc+t
60NTPnyX8zgARxSdnhz1sQR7GRkTtu8eRLn772UW6zAR9AbiPDj3kJcG4+gUa/d8f3VtFjKCNs+6
oRFD1lxbdMEMwZqIubtGY7XhojbnMcKWzmVf+1AovFbhY+6/xYX9EFTXlGwRfViCy4TJZGVz05eH
83CwbQ/1ANKrj7sMYyrANz7TA4cs5xUFmGMNsZkqekOCreuJJSmboBim8snx0eN9VeWntPjllfTQ
eXnc+m/Ddj7d/we2bxiB23b+3LfFrSzlOge8RT9xuiReJy6AwRxyCB7f/4xtCW6e9WJrRKdc1tKO
IQtV55V8KabP98e1eKapCz9krVAB3oautYiJ+1aBp33adz42IS8p4bUfthh6qvPY6/xLUNDjvlkb
wZoNYZ1W5e26zOv3c6BRSIs6tOJVbFcvCqUm8gU49mxOK2T9QAxPaYpkU2XRxluKJVxN4AvpUEme
b9e3m2FCdPdx/4CGJqffuB5a1tREvTgd5ZJoGL4pITuVxj0empZd3dK40d+2yReO6I0Af9e5K6+l
Tz5k7Xff6/6QzRq1ZbM1ES+58KeOLMjCTgXVE/2TwtXJoe3CY+ifZHHZ5T4m8gXKjrxHwQWHheJr
S76rLNbQYLw/tu2kb+JeaLqIoc9RiE2/pNf+UZ6zs/uefKq++uf+Io7l8/3vWBKCCXspczJClQN1
u8L5NXdTEQMnsXUYsTmQselSMk9RqJBswuUxo++r+WMzPuybthG5I/MrmmXwTbT9PjpBexzHrXqs
bdbGJttPuoFSBi63jvOj9U6sBdXp1vOnJWRNBh7prn4+UxxDWI0jYHaaeXXR9EO2C49C/6MGr+pu
zGbQSl5zJh9GVn1yRQOFGLmxe1hMY8Jdqt6lJZlQUsB2eF5AKkOz8NyDAXLXopq8weNS9noCrcQV
V/SYxrWz9WRlcXIT6ALtqYxEOebdNvNF0v6o2J/7U7Zs2ybbjqygnA4QhLyiVXx4CooSvC/Zz6jK
oM7VZv2RttPp/pds/+H2+4uE2fjj2jgNrp1+mC/ukdWO+rJmUbSLOAGuYwRriqbqFk97ErtJqeJU
jXncrZ/uz93mN0a0YlOtQ/Sq1tcOol/sScq3efpr39BGtEZqjdgwYR8ReoUQ2kNZNHFLN3ZYm82N
A/Hgt6xywEx3XQJ1KIPqlG2KuVmGNrEurjcqz+0deQ0UP7SRvuSbolyWJGOCXbzJdQWEuevrqKCq
QHq3AEuW/kEJRNNJEKXv71vesseaQJcw4i2pSyqv2vEvi7OchIi1AqKJ/YYowrHpN3ZZm6WMk/Hg
8Jrny+1FkrkZOTW8Qm6b86jZKuFbYti7ee2LyKrdxoXIY4877Qo+sT74SljzpCNyXpsl6Ue2qwcL
HAZGBHfeUjRZqW53598kP/rZxjnNZiAjcrOuXddyQXTVVfc37Sp2zmrCDvdX2RK6prT30PBJAfos
r2AA+kZT55xi0Y8dkt2+8Y34BRBF5rof8PSjvBjsp3nP4so73x/cZhkjfiHtNHstxcpO60mmp1Hv
G9dEuIwdGZpxwLhyOa8+hIA2TjUWY5ugFtG5a6anVl75qL/UY/1EG/B58XLrAm4b/xYBLzxdMUJB
6wRjD7i+Ll4Xc/CZrNC+u29uSyCZDEWEDHgpRw3h6nkfpf8YoCrHuipWzYMMstP9b1iW1CQoSsGt
RAOJ2q5Y8uDI25A96N6bnu+PbkmdJrbFRVtqJmSPnJaWx/57q+qTmx2bcmM/sVShXCNSKV7b1r6L
JB6oloMH4qYxOPvkn2zgcRE9l/1j2+wLK5OpKNVjOkAeFC80M4Rrs1O5zPG4i6iLAhLxP86uZMdx
XVl+kQBKpKatJNtVLld1V0+n+2yEHkVqnkXq61/4Ag/wYRctQFsvKDqZmSSTkRH/daNQAFrntdci
NZ2jEiqn4A3od8lXY3AtZlUPrL8cZsQAd09z3h6llcVLwzfymcF/dHKiOR0sEKrimAOSxOMM9fmc
b0WXaejrRnkTXT4D2WUaYHWd6tSIp7rY5/I6Igq1vn7tfUy5soOPTgjX4VW99eBmmrS2uxbtWM4U
eueoRg/HrGcHUWxsS4ZY0umHunLo/GCCOZY8h0i7fBBNenKACKyHYCPhGPKZjomy0Mo6BWCTfYb4
Y/YAdYqvtKvkYVmWD/fzgck6WsBOPST1LB+Iro4t9klVYRZnwtulL2DD1//rMCkRvpt7Arc18DWD
2y2m9s5LrE44VIUlbDNg6JXxxKO4BZLC/j76uwjRMXUtSlMI+PV1hffBhYQPzAujprESy9ol2oXR
rwn0JpQqOjY071C/CWeU6mNOrR7t8Ks9bmQBg+PoYKhRQUPKdjnKck2aLCsalDMIB3fZ/GOX3+ho
KHSGAzgaXjfaYIVojxrrGOSyOyevhawY65asOTappSi+LE3+AqbSaK622I4Nu7hOPWO5rK7mErb3
SJVDQ67zw4e2HZqPXYqOSVIR609Hw+S+oUwLcQ28m4UGIbpXzDVyW+hUSR9aUcaqxJK7mMvhR3r8
dqSqpwx3hzVdp4euWP4AYfCz8VK28Zhtmr8ewlZZ1GAUwW7F8oj/9KtfwdYy/y8N/A0M/EthXRZk
bqFRgcm/G3jcPrbH5sQScJPNhybhh12CFbCRFsp+Ho7rwHHC76BUsRR48XzOwo0D7dv58y+p9SUH
61lQXe3fP2bBu26rT9k0rrbVLqq1V7qgGDJb59w+W1tYz7d9/y+JdciDobUTZF3PzvAdBBNRgMv5
WjQPwLNHchcHAHKbFr+l5Os0Xt9oZVf+RMcLymiDs3HuM/2Bq5/exBOrV77IAnf/0uePRU1+oQSb
ogK4eHHdt98zEDHdD1zTCmiBa+WgZoWEMIA05RwF/hgJb+OQ/HZI/cVs5hd2CpYEmGcNPpduHkMi
c+Gf9s1aC1fij0GzNrhgSSufIoeP39dyPewbWzsVQ43QXQZCgahoquxF9O36WNv5t32Da0Ha5+6A
t3dsKHlfPbg8O1qbmCjDSuqQKGtsRpLhFeA5sAY3JmX2WI2Lldyf99uHwL/YhCrlCq6wYz13pE6G
5TkHqZAHraZ0fL/vA9dAuHH4Xtg5WJFQUR+QvYDQtp0gmoLHlB/vj2/wxr+AUDNeNkMPR0xFX1Mx
RvMExEZZ79rKwVzy39mHyg6bfOgwe295dXv3Zxjmcb9POgW0ilqQ8pZ6hC04vqZyOHs2tNpU/2r1
ZZzOxcYCm7xH22HnaZad7eHdumuhRE3TwT9St9kF6EQP/3/No2RYpp6Dy8nSPFXVhwZdSs3n++v6
v5Pw37sr0QFQOOutHIc0HNGO7SNNsnP90Dw6Eei1k61eCpNttKAtWZF7KB9frydtk8fhkJThUG6d
Dwyj60goBUF3SnpYPpiyg5Nlv+xll8wCeNa17dUqea8yF1c3Fdg06UYA6FLX/nHf8oaI0oFQebAC
Rp5d8/vQPRVuGEEgPYb80UZCMJlF211Tp5/97nqcaUBvFAkE1UPvld1GOjCNrgUslLlt0DJekyUI
wAbpn/z85z6zXL94k8hcPo+sLFH3WCp+4l2VeIV86uwtYm/TxLU45WoNZ9Ji5wuLOepol6Tt1lHA
cObQIU/56s5oL8ZhTDQvwXpaip9ZW0de846i0fa+cUyz1/bWkE5VymtUFoswbOvTwHobN6q0Bm/y
/Q8YnFKnCkAvcxGOXo3/gGcknyfu8L3ZgqX/rxzxRqrRn02phbOS7JCGhwPeCL83cZpkp+xxjWks
vtZxmNi7AFxEf0Ctsj5tffTBP3fBC3L/oRMkkmKJw63zsWE71x9S2TDSkXlACzjrI55+24cq+Ey3
8CamwbXYKhcg9PwZW22r7ISWrwOe8oT/ww2/7FtjLcI8yC+r4lr9psE71HAW+zLs6zEhOr1UBtIq
BhYo3HNK9Jig4finJ9iH+9M2mEVHzUmWVU0X4E5SrO+U+2IDN2ctybwpTGNwfR07N/SrE0BxAZiE
pXsKOq+I2eQ+QgNnI7EZYldHz1FRKh8VV8CI0NO2pthevS1Up2nqV5Pd5Exli7ILr3AKKLg99b9U
JU5V+v2+2Q0AHOJp7ki8Gl26pYC7fFRx9lAfwY5xWNG3wo75wUp2iT7ZREfOWZ69TMNyPSH3P3Na
xZ0/7ctpOnCOpmQNRHDNBrZ7XIajXfVJ2/y+bx7Tqjr/Nf2VY1n0Ob2ebZ7m+klsAeZMS6pletUq
lqU1lnQBCgGTnlkVA024b9LagSwtUJGuUgzueCAXm5rpD2u2xIQMBtHRcl7uKznn2L8na47FwPDU
vgWnNw2tHcds3nOwMeDQsfK1jgROrTGT+UaZ3jS4doHKfTh67aACx2n6D5r11wTIObbP4DpCzq5d
JRnHzB3evu86PwkITe6vpSEt6vi4VqWBI1qsJY6n6tB10ye3G8aoDYM2xiFw4w+YvnK12k2GEd1c
09S6ljmci+teeP0rtB8sa2O/Nji7Tg3lrLPv2jZOHe3QRd53gRqivSUXYxpbC1DXI7laKHZT3Oij
tEqw3Smy74yts0Lh6UzaC0jisd1BoDfgS9Tl6xbHsWniWpCSyfYrBalx9EO/I+TBTbvI2sLHvbmc
xKVadrEcmUMfXbFTLj4z+5lVFljD10hOW7QUpg9ok5+6aZiw3bGT05IiVk0xH9cWuFzgaNvYlsNG
jezNoAXuRXsf4cPolKWa2am1oChGJqCI2Ol+XL15msfQWrIZHbSP9HKxLmUpfxfQ6+W9eAqgzNmP
NGJNtRG+pn+gpZ2GePRKNMBOWVk9WqE6lPz1/h9403/wB65LcxOyNsN11Zkn4MTBr8EbK7amACI6
uwpCGP762ZvhOVRo7aIu2Klgwxns3qd8bQ62v/XyZZq9lnAmyG04hVUCUTWmiRT2QdEDrTbONCaj
a5fAolJT5bYVO7lUJkv2Ww5iYzmv3vHXFQdW0bJNihqWUlJZl6mofHg7OQb+8oQTd9QvYRxU9j9V
uSVxaPoXWhDXqV3nqYsFJo2KGkGSWmy9fZmsr4VvYP1/+PIyeMBVH0J/wb9luPXaZZi5Dj4YHTHX
aDiwLnk2D4/oRJ8f5rDeWALT4FrglnnX52WAnDD64RL1mZojysXGKcGwvjoGwS/9lK3Wal1sSB5y
fnLUV4lSbjVBLYdHq/3xfuwako9OzgLG+5Vnfc2fU/udX63fmikXSSvpl76qwMLQ+Vs1C5OxtCie
e0dmTjZblypsrUiGClqcmbvreRmkidev3uQIBz08Tp6R9CIBQTuofHitwCyeFNTfODiYpq8H8gga
Ts9RKc4k6jV3y9gR5MO+JdAiGU9FcnQWnj2DScs91lb9biiR+fMlW6BdGXjv3GX9ev9ThmjTQQpL
0JdeJyoswrxUkXKXPC4n57PjtVtU5KYvaPEMWaQewhpt9hyueRa56x/CIQA9+1vMqobxdZyCyO2e
ADqQPTsNtY4iy4qINiBqQIvSlhaGISR0qIJarLVs5ZQ9N6CwjkoPEi2Oc85c9yHr+JFvopdMf0Xb
kEkx1WnW4TvLSk+BXSdT0bxz2Ma7pGl0bVMerAU00irPnmVp/1Nn7BiENiAv5LTLk3TMQs+oO7Si
ti7Ey4NoDXl5Qqfw74A5abLvC1pIM2vNZmw62XOx2O9s/5cXyq9s2ur2MS2yFs8LF7PgvMieW8jk
dV13ttCCWarhsU/D76TZhfEnLtFiG0CmlfRzw04dRDcYmWPi7HrJwtDapkwBhGAT6bDAlngfrD0k
HenJXdWn++Y3nKt1kAL1rXHpKAJtXNE2ukT1+JQp75ACMXL/A287KPuLx6Vd0E4HVb7nENzOMasL
JyrX+oG35YaLvr2Dsr+YXFKJ3v6aWRcxMxxHoXGbBa/1Ejx1EO8kxXIc1i1Ex9u7A9N5XerQWXt3
8HDMmOuDG3QPtr+FlX97HZiOXUAZrwhyBlpzR9DjRL0nm8k4F82x7sbjvpW4rtDN5pn2C+voQtjJ
r/3i4FA0UPt1Nx98G6oA+z6hBbPdqtppFGUnyxuBcFKLl3jL+HXMrK2sbXInLaChfpG6AjxGp7pJ
v60MAm3om1JRzfM/9/+CaSG0UG5wNQid60Jc8aBTD2nHC8XT91hsAJtMPqTFMwMkKB8zal3olc64
EWDr7DKaJfdnbxpd25cr6EqjTIbjpKXSj3x23lWbdTiD5XU4Q+5C8nINsdN0Is9hFiga23krEwey
thuhbLC9zu4CsedZKkmsS+NKoNWq4MGX68FqS/ckui2SToOJdKkkN2wggyWRL1RWvmSZH6Mdd2P+
pqGv/+smwqSYBwhs29ZlWNuzyslTv/XEYhpZi90xDaxucDFp5llfHLthycgssi9qdTQDLZaOZ5aH
erPgH6e0/974YBVd2l01FabzuuBZVzg9mqSefVV/oHT6NZe71NgI03EMA6mtqs0RrEswxCzvH0U5
JkHafAwHayMfmNxei9cxx1PFMGH27oyAep/RAfJRv+9Hq2lsLVpzSO1UWYpc4DncTfK2e+1XkNHa
Mt/1vot3S62eBdKV3A8VygdOwcNjOKfhs8eCTYkCg1v+hWdo/GHOFge31+wyZcMXMRc/7pvGNPL1
QHcTSrSep67KUS2zR2BiZVWO7zh3tognTKNrgdrQtcHjEMLJKl373KeifLRYjXv3/clfrft30Ybp
ZC4e6FXUUgt6qnoRQ7Y0ysYjxLxOM68eQQIdheKnIGTjBmD6L9ffbyyVpTPoIVd8bJX0XE7zV7CI
b7Qlm4bWNltw8C3Ks6rs2cuHp3wtY1qNyX0TGVxfxzYMpSqZO+TWBbw6p9L/MIv5n3YYHu6Pbpq4
FrQlJKvncRComtHhNQtycQxruq8kx/Q36dGimQpE5pxcUv5StpMEw5IEC/kEKrvIsZ1TSpyNw4LB
SvoTtVjHtK9G1l9wz4s8+WkRQVTL111G0t+nU5ik8TmjJxoG4k/hgo8z8uhabQz/NhCMMP19egRi
VqjM6y+Mj4miblx17TGzXmznMxhxXgkPonlBAQRFCUY39hrDCcLTAruey7Yeeu6cVFlk39HlJJ9G
Kllk8eIXgdTWRoAb/Et/wlYMlOh0afwnPih1QskLcpo4vGQb+4Jp+OvvNyGdDjLsfRb4TyqwvBc5
heoJ8nX04/11N9lIi2q807rSkgE9WSr7KAYQ7wYHvxwvWbZlnreZ6LD0zn//gOvUagksZ76MeHmD
bnAs5g/z+FQ1n9GIGY8oL3vWjzr9df8PmcylRXvodbJr8o5dZNkcK1VBKGSL1ue63byRyXUqmLwN
S7pMFru05OLM5FRQgH5E3GcsWTdx64YbrP7CXWTj5FslPlJY/ZMLUWWwlql6+trOn/HWReutngrT
d66/37hVy1CFSteFXdjIksX5N5DqYHVz4q7Qt+lrSJ7JZNeK6DQxeQkB+xa6OZdaWn4kaN9GLNtC
Mhh2V/3tO1jUalNJ2KVZ/gUl/sPK1gPEM2JurTiEvCjncyi21JwNsaI/hgc5aft2ou5ldUESmNdx
U+dJ157FblNpse5JJwvdCTWdQoyHbuq72Ka+2rkOWqiXvuu7uJK7l8AqXiewbaNEC8zp/UU2uZMW
5KwmAs1wvnsJBxWPrImrMfjF1zVCHswy8rzWW73yhgDXn8UhP1vUclDssqJLGW2OUsX1KraKFqb/
oZ3CmW0F6eL57GJDVr7yjpR/az1yHN2vNHs3VVsPswZX0pGQ4VqPwIPk9NSmI8iAnGNbS1A/VY8t
20LLGY4LOh7SztzWBsrHOREKuHX/GdTJsXK+319uwyLoGEjaEjGMIkAo9PlBQE4gmvItEn7T2Nq2
vVaNB91YhBmDwmZMnWw8Zb3lxfdnbjLL9febvMehkl5jI6KnpUKb2he8T0WZ+nl/bNPMr7/fjE0n
d2qCGuF7VRy1Qa8TyHHjLcrkMFrwLo2q5tGynFPZhMcRjcndUr5zM/uIu8vx/uxNGzXTYrgN0IQ1
TVhUy/5FQYI1dlEQJCn/WRTFQyM/1jlEKYM2uf850z/SNuo+TdvW8ULntA7jx3FZHiqRf2rFq+OK
w/0vmJZai+VlGnlQWogA2aLa3DTNt6D07UjKLcEj06lW55epvJl5csm8C2OgwZbfK/upI0E8gMCm
BzVo13wr1Be+vIbpLoJ4wnTambR18dxfeC70yNkQ+/0qDm5Z79widLaZgTUSktWhe5lyFtf5euzW
LWlQQ2zoekpFOs9s6SU9+Yx7Eaub37MHEMP9lTYNrgV1KRqoSTM8qfUZnZ+s1as/jHm9Jc9n8FSd
UqZxrcYGUw1SRv1rZnHBRZyGRdTZG8nUNL4W29CqCUnto9VhJoljDdG4JCAJ7opdPSzwGS2u1ZJN
3VDYmH+4JED5HwT5sc/uWgy3smbLImAZMoijoOqF21vsL4bgpVrweq0swzIbcCEdm8SZ009ErJHn
zPtsrmO7SIu62to58Ji1SWxg63iFm2hOo9TbBx9jOsZryhT0dMbQf5qUFb5zuOXUkctT+8su2/8l
n5RWvWp92B7VkuM4TsfR2nrBNDikDu7yWcG63kKs5uNK4sK3Ej/nXy3fe8i8LWpKQ8jqCK8iCyrR
ECxAyKbTlDnxXGxJtxlcR+eXqbKKTW2JEnbuoak7QKiuNf1Gpfdtn+W1ePVIR5y1Q61kbKM+lDES
8MaeaDKKFqnpTKx08l0YBYhDu/Qf3dI/7Ju0FqrNusipAB7wpPJnUogTxBAe7o9sMrcWqXVdrV1u
YyWrDk3WASDf3vqY2f7G8Aab6HCubHIdYMgnenIE/0qscYjoprKoaezrLeDmwDbaQV9MYME4wUsO
YQq1DLxI37eKaWitZl3W89xlPYauui/ZOiSznSf7Rr5G7c2kB690vIbU9ATxsU91VfCoJluqcqZZ
X9f4Zuw1LdLMt5B11x46Ddb0gCawfXu0DtfyeRGotUFpumN9n4A5tktAar/x2PZ29xdh/+svuZl4
W4ipH0dpXdqQiVU9zJCSrrNIBpMlP+e9mO0h4aqyyAMriCp+eKqXYGcWqvSqlykMpyqp5tbKSBy0
lUw5GJf4Wn7MgTEa+n3FeZ2JJghGIVJPkN/+QqkXQ3oQuspkoukWr74hEnWoVzlWy9wFQvxZiyJX
X1xfQf2rbltef1ls4e5D6YBL/L9O4hPpzoPv8j8qbIaDUHL5XGVAQ2aWk/3a5eM65CuV4GRbhsL/
05OaHwtL9uB7cvp9uVBHe7m56lLX6v0/gIughDBW7gFU+GpfwtJpaRxih+MSSkDhusJ33ssU3nWo
8AIx74skXaXLzu0pwCMkPuANAC6DHvVhqPm8L73oKK82D9KWh7zJImeg4hwWU/+xKaz0eH9l/8dM
9UYVVdfmYk4prEk6bRb5wXdXfGgh2drNDdQ363+5S8aIp9MnjzfHZvyKCmUUWm4SDuAKdzOcM/1d
NLiE6aQ1fttdMeYMOaLNymRq66S2twDOhqKkjgBzmmZk4QIgVVSIf1TboIlWoZKXHdtlAn3Cj0zw
Q0fKfTuNDgpbHF7Z0FpEA0rJq9itZOIXW2MbMoqOCFNioqXA9pWB8PwBGtCRm596f+ME+/Yxk+po
MLxGT2k4WxhcBB999o6CYR1QQqCE77va25sZHq7+m6e6nthAi6QY3yUr2jnXaPX8jSh5+y2A6uiv
ciBpsfopNt9gniIhPwtJTkP/NcchPw33OSnVgWBKQrTQYtev8LH6zNL8PQW/xH3rvO2kNLwu+c2O
SQkYWsCNg3fuPjwHJZAMkN/2Xmt0R6ao/Ni/XWuraGH61HWBbj5liZmWeIKtOe4/6JUe3Cjs7did
flUQRwQULZL8eRm3xEFMS6Mdz52mGJzaKyHkk9b2oWqqKODF0ffe52l1dGS3sZsbymVUl/5abeKW
1Blz0N+LU8msuA+dyHfkIXcOARytJmjQl2x6qvtgY82unvt37oSu8n8NuaL1nJPMyZ+DfHiuSwWq
5BREWx6AvixuFvEpE1v9H8a/p+3yIBZ0CRECfPuUeFHvW8ecvg96Fg2FFdVodm1sO5Z4r7XrLVDi
293AEBC/OtCNo4zjQOwUD0bg+G9e214eaaDAqPnid96xCjnKRm0Uuk/YUeOx/TK4NFryaeMIaXAb
HW9GFrZ46EVWeNoZbO8L+N1pIsJ+PPTDDF7P0cFrn9NMy8Yp4e3MSnXkmRhW4VqVj8956/zVIek5
zVwc57d0K0x/R7slyKBkg7+kGJ+X/TngeJEZoHMSyEMF/OWUyw32GNN3tDRitWOdBzYEbSGOMbyU
UiZuPh4gSfCvhRdFN9jqRDV9R8shBZeybmyK7yg1P7t4C22VeO5S8iwXPwI3wOl+WjR9R8se5Tqo
xqpmfKd3Ww6B1UbgaGLxF2UXZeINhffiMJJuYDpMX3P+6/CtFbTjDM5qjhea6kBT73roegg96D5L
wE25+HT/X12t9Ebi0Hl4yqlWQ99dnduxK/e0rECa+m397f7oho1cVyJTITaMIaxWhO14PZVa4cPs
9Am33DFq8CB7/yuGXUSHr4klZXU3iR55vcGj2YTXiUpFa1PHwCYl/dod+PpqBdm+XKvD2VZ/QbtA
1oCnr3Dc2jtUmQW9h4jZdoZyoRRZW9oxSfkwodfFGjP2MjnBVKjj/X9rWDEdkOPUxOmKaQkvKgTZ
IR1X92FZXWvDyw3ZR6cHCuHLxZRawP5ZdTHFRFrfeLOuMWjbtvYq0wbiaxloJvAKSzHygXjzv6H0
kyEEq2JmQemDix98EE9k4IeA1KfAzftkl9l0tN3CA6CWJpt86NcFfFOd98UOGr4xuMlq17W62Z76
3Onl6lPyobJpGbkuKK3Y8F42zYaHG9Zc109zupbxMiTkw9BBlLNmeGiY6nVjwzGcHXSQnTPOSPxr
Tj6EPa4eYzsljS/OzgTlq7CAsBHKbMlEyZbUlum/aEcVO18rCLEM5EPjDB2Nc6fLxHGqg/DT/YU2
upd2PnFH1+kC6MB9kH0IRgKrW2KZ5UBMtPlLOtg4gq1/wrayTjZt5whMlht5wfDHdBgea4c8Jcuc
XmqefROhckH0pLaKZG96GEBd199vPGzNWd767VKf7ak7ZpTGTmclrC83kopp+Ot/uhle+JOsuyCv
z1WfHTx3juUYPAVkK0O/uQ9g9treqVJ3nFq7gNAf+1CMLxV5rIETJe2GB79peQyvbZYTdYYmzMrp
nHV9UqbDxZPVnnyIoTVv5T7Hwd13p3OzepeG/Dsp571tf73vqqZ5a54qcHAZpYfBR79Kcli+77cu
cYahdWe0vVXmeISGSUYRYe64g+xKdizQN6DQc1ansK3qjF0tfA1BvXIUY7/EAsLwGwtqcEcdFJpy
5XIO1cizC7DsWA3HNKwSajXJfbubhtc2oGxq+nVtpxrMtfJoO+1j7ljRwNvDvuGvn70JJhRXszFc
EasjLYLpmKO6PBxrQKT5ZSGkJhsxa1ri6+83n6kZTjygoYDaIkA3UbEWL27Tb8G2TCbSIjbjdQm+
+346d8RCWxPOU2MRJEJ23+/byJARdOxnXmYVLdDqcfZHDrHFInEl/SfAsXBtqw37vHmEhp9qoQup
HX/OVT2fO2U9BcFXxafHGfK+kUWmZFFqozffZCktiEHq7kALo5nP1AMoqfJiQVdwaW/VkwzD67BP
WRVgLLbwL6i/nlqaPoP/Ai1/u6CLLPhLCLApG6+/zl61ZewHgOWB+CnvX4bun/sL/ebpAh+4rs6N
l6KTZwDGQM3nURVxU/VH0k1feSrOLu41il9wrfl8/0uG9dYRn5AVbyfHlfO5t79kzaH37ENqX2z1
eZC7sCr4M9dFuvkzK3QN5Zx283lW3TcrBdXUmk9beGhDSOhagG5DGxm483wWRXZcsvYCXYiPTpbH
duh+uW8i0ye0qA5V6PJuXudzmZODRGGtRxc7yCryMxvXT/e/YUhLrrYZAxhUK1bgb5C+f56q+tR7
fOM6aRpai2guJ7SxLBjaFVMSSP6k1i2ZK1OYaVGc0o749oo4SMOXdvrDxx8536WpwgId01kwfyz8
SkznSWbAIBfv1dgfCmYf7hvcMHUdz+nnS1PKCVMvZJBI2Z/kRA895Gz2Da8FsMhK0jJvms+sXy6U
hcBphc88ozuHv7rqTUgtRd9zG91P55V455LkUdCDulRtBZXJONffb4avSwc89SEitp6XqID8KG0+
Wt0uimGsrL4F89nqRjEiuZX+zyobqniSEG3YZ3gtWP2+nyiy8XwO7PIJSpIvVVg80qlM9g2vxWkt
iTe6yhrPTtYnopVj1Mvx2Dd86whqMr0WrdCDCbngWNnGdeNxdCJ0McaOswsnBNtrEZvZeGQGJTgi
Ng0PzF1PbrpV4THkGR296c8t2IvphEP/jBJID8odSHzssroO0yR0KcaFuvPZcZxvpQfZYJTpIhVs
vTAajK4DNVnRVLy1EK3eUrzkwD6AjY9WB1DdbcnmGPYQHa9pB9DnQyFvPJPCGuOKTjWcntF/ISXi
XtxWhvvcX9cFBPG4s8xDj8TA1YFK5wmF98gbt1gaTH9DC11/AqTFywl2W9RxoQ0YFdNzG7YRCgMb
S23yIi1+01LxuawQYCGx4xTk/nm7hSEyrbIeu3lpp4CrwPfzf3BARK3uaZl/3/dQ07S1sK2ssFmk
lY5npeqHehkiqbYUm01DayEbKDpwkmLaOIY8zilLUnsXeh8t3tfa8E2e98c+LRwHeZ6J9LvtobWP
QUJ1trYA0IbDpY7Z5DmYeaEaMp+lcJq4XsLEh6qhInMRu3N1oanc002LP6Jttx3YAdxiRqkEvfwn
t6OfvWqLBcjg8jp6c5l4N1Aq5nO25CcLPEmU9icHjMOtt9V1ZXBMHbzZVx5twhpBW9Uqame86zos
6uk/913T9Ae0mF1yD+xXcq3PZeg9zT5/xUvjyyzSZPZ3EW/A/FrQWhDjRqcj1lnI4aUv00s3bEze
ZBotZgN3pQ1AZfN58ZfDMlSRHVbHANJg921jGl4LW6cQ2SQIFjet6XHO64Pq8pfFa4/3hzeErq4L
mANG34Q2Qrfz3Hd5CFqkad5nGB3HGYbQ48kGjlJD2ubg7aVgeC5AEIx7yq6uKhbY18vpTXbwrpK8
7opUjOPZWdkAwyziXRoEhyWvNp47DQbSKfpsdw192uG0NnP3y8JJMtdsXzVMp+XjIZ78ettBUHH3
yWOvs5u+4NVuw3FME7861I1tRoVHs57hHMWCVB444BbHYs62eHBNo19/vxm94JSQNcX1P2/dC5H+
V3Ad/3vfJQ3ZQEd2FqLtXdbAJX3in1wRglKL/Yun7WdUOZL7nzDNXovZzHOHqczpfIYKMhBI0xEi
ihv3HtPQWrx6Xcq9MbTnM7e7b4wHJFkKcPztm7e20fa8CfNewRmrsbPRxZBOh2Vct7BfBsPrGMzW
L0JUxOGPMnfgKyRelxa0BujCgAzkrj+gAzEry+IdaqgoVFTO0fbK5zyQG0MbEqWOwpxtaXddCn+v
lvAxyPOokf0Hf2+9Tsdg8iCcA78iOPUtT2v5PDbvVfG6zyhapEL2L2WLe83BoJNoMgAlSy5+3x/7
erz4CwfAAh18yQsIoHvXF5oVmKViCIFMbNB8V17U6p8Iqpr3P2Myvra9AjQopT0iHczSOwCnEc1z
emTrLt4v/AstXuumanpfwEI2499LGZ66KX+W6Va/lGn2WszSTvoNA4PD2V3SKV489Xv0/CYa637n
zVOHVcJ5Qhou1XQu7T6yxXKsyVbf1NsJx9dBlT3or4Fbwc2wG4tDo/hTnm3xB71tF1/HU+ZOmBfW
hFXNJvZL8vIL9cvEH7fQ66aZX332Zg/JLJ9VfoiQovl8zNPp3ZryDZiNaehrirsZWpStP/vWgup6
CXSjvzySed059NVYN0ND6dtzPDylnicGF89JQpk63I8i06yvv98MHQCJDd1gZEcXOtmyBw95sMUw
aBpaC9CFWmub+cF4DqBHlwxZKI89K77um7cWnmmYLzmyzHjmzXQOK//RZ1vQd5MLaqEJQh3RlS2s
3Up5DIGz5d780A1b0j4ms2gbalrIkbcBXpgV5XbErBFPPI77Z5dZdHBjCUrKjlCEz8iRTNLhwRbN
PifUsYtz1ZNmbpCxPDnFcPYPUBT7vG/WWlQOyFAFa3EK6Nw1TYamzmKQj/+4P7hhOXXdv7T0JhRs
C9xmFInBunsYxjGGZPDx/vCG5dSF/wrHkpks8ULrEMeN6lqJBHenfUnc15nyyp5keF5GBSW1u6/t
NP1U2c7w1FnyZl6DE2LG4aVviinqXNdOGNqRon1m0eIzVzNKBDNDympdJ85KtkSWBx6E+6Ob1lQL
UbSLKOX28EU7/Dmx7Cn0/nHKYqNs8n+cXUmTnLwS/EVEABICrvTes3jGHtvjvhC2PxuxSOybfv3L
fqexZtREcO2DWpSqpFIpK/PjnNTXkYZt0dC+H3G7BmkmhQQlaoVpXV7K6Q/L+cJ/GLxGxxlK15Jt
hdZ+0APLA2PhnjkL7m4aOfh3Q28daD6rBLGEPoRXCiz1Js6mdbuLjujrQtGrosFhkcWJ3JHCce5R
Pix2txfVNPPrerw5iuKy4SMAgqhqzOHvRMaHZO5XJeq+DnliTchI7ePyBea0ZhPO6IZrgWbv1ykZ
UN+/ftObuUvZWTbrMfecJ18Zjb84cPh1ZtGOUeaBlHBgc3dOQjx8eLPDIdG+SgUR89bCNEynsPMn
gmqGtP7wVKJ5QbZLz0KGQNIBT5Zfy3JWSADwPlSiGan7GsdZu6ckvx/5ym1MJ8cjBLIvQ131Zzf8
bqFOW3urbtW+DntKRUzGjiC74AXfjmG/t4Pu6faSGrYvHfY08hjghhxzjtUzjorU+q3ydUGkw51S
GoeOb7ndWZF7AqSip1amRTrTXU38dpSEYjVnPHO4k/ODgTW6l0u4QUP46xR36CLgSe8jdfFSN4xC
0qI+tYrNlvq6NFsYF8pXOY7RUYB4xLZqa0eJv8SC9PGF138nz8bAYuMJzLwWuGXlFmrI8+cmr05N
Hu/TaokazuQ1WqwqiBJAfXZAcdMaDin/07P40E1LwWr6CO1IBcFcNqu4g0/mwo1y2UZNQx/nufke
tukum/rtbd83LbOW/qbKrlMFUC2gVLm4Ry42njM3X2BjNJhIRzjFbOB56F7rvwHKVJyi31IexbyK
JgAsq9rZSkAyRzhDTaDwGnBI4g0horG3sCkYDKOjm2LwW4e44zXnOG3QRBicwfK40EZmMot2sk7l
iPpXNzbnrAn3KGyckoxGbrauEuPrUKbJlpj5GJbncew3klRgoQ6ipl7quzcZ5vr7m7O1cfMC+gy0
PHu1J2vg4qCKs1VZXs8L5jGcU+/E21AV6ODs1Tkf3WDX51kJ2Yx6RrugTYBoCuj+tuv//+HtfWXM
1/FMMXFiP0VLMOomUP26r0VAyrvWKQeWR4Kqhk+gYrQbm0ZeS535rovteHpwgw4UVtuqyut8ioa0
Auegb5VD89miXechOU068dkTsaq2ilYFiAVARhrbPELLbg+R4LiACEICePrceEE08m6a7tzUiQXd
hNBRZD9pMWb5SyPw8HMX5oRSEhUjcNDrbo46zY7tuC0LO2QwedwMG3TTJfvQXlkI0F9rKz7JiqUT
rtP2VEQ9TdPoGpe3V8zgevpT7djMHG3813JRclVICMrqs5d0S6KBptG1a6/P3DbMCMBcTsBPaMSs
NkNnrxLMob7+QtuNeKGNO1Rh0ym3o7ouvIgl5T0RS+SehtnrHIl9X5CJN2V7Ljs+F59bPD40RwDq
kXSsMD5BI+i/cU/KsiqqrrF/JOylt8ZjI9KFgP9w6sCZaS/8kJcBQjtR9o8igCbhTOwfNLRX5esY
XDskpI1mqip37B9lAKV4P9iLIltI7j7cqDC05jBjkYzQe5vsHxywuXTbdvFGyvNYfV9j8HeSIHjV
6XHRne0fVedvwRF7Z0PQ5PbQpplfT6Y3e3gB7VBOk2o6jlUHYoLEDRMPPQokFjioeZ0UzWci+1pt
1/3ddeHf/F1Cg7FL+zG7JFm3zfqdD7hM7qHJ0lmzpWEltEvZLMKg4daQXSbQ51YlKIbzdMHtPzys
MbSW5pXgch8n0eQXhYaFTOYHP3PPbrbUomXyfS3P40LWcQm8/DGfsw34/e5YG3y7bXXTzLWA9WxQ
vVIwbV9KgIDlzg1zoFtWgRII1SubLkQWIEY055cwOBE0R9bpFhzbC/u8wT312mYb8zhpWZVd0q6I
EnEu/GdFXyeQbN+2jMHoeiN2R1wOrfUuu/hQhbUFwFAkWdgTDEbXy5scIsj2VBX2j4ZkEbo4di6g
dE42H9bN/Pq3byLJK1UmmAd3YRDHtIts22X/3R7ZNHEtRiEaKkbB0+LSykdvODToC5mWcunrRv4u
0YKzaOGpiD1MQ9JjPWNAdUt/U8wyYkMd9c6XyjlM4wsJ1h1TwPn8a6FrmdNyWzhmW4OzUf6Ks6Wr
0nVb/+grtFAN+MSR8sL2haMgTiMhrBccWzfHBTbf5f2qvjQYSwvbUEjZVKzLLy44/91u37rWRlmf
V62yXugcQwdEpQUGz5PvgoSR6+5csqoRl1C9fXoIbPBb5UF+ARFnVOE+o9Iltk+Dd+qlzp4EGcm5
m184f5TkkqZbwL/X7QZ603LcdsrBq0R+sbzf2RBupqFdd3bodc6iBbVAANDfhfJ8G6Z0B3DFrvPa
7e3FNGxjepXTBuF5atVhfpmxrQt0jXr9ku6faWgtYrkS4OAEZ/KFVY+JP+2R0y/sYKaV1OJTOQD/
JsTPLzXEL3tIf7Pwa+c3C4V8w8mh1zgbuw5yv8jck1+4u2rCDuOF2yAtr0T0u9tWN32AFp81UmMR
0KK4zMwDgMXtI3A77a2xXReieqHTbhyoXeZwdcvp7+ncbrosnIBjrhbAVYb569VOX85BmY5wd9Vm
D1nsPFV++qmvy4XavsFz9Ipn3A6sKv+/CQS/HJ4+TU2wph2PUL3i2YOaoVchRcqh8lPGQOINkfpu
WpnR6AXPvh9s2eQhOxZeufUcdgyqdqsKtoAiNJwees0TmdfUAYGeX6ruMIWfyLAP3E06PwblmgI5
zKOFbN73PZTZRqR7JY9yd94U0KG87fKmNdVitkxibwY/XHGpC2enUrbhciFeTVbRztQiS3LaZCk9
hV22d53LXNJzTn774y/VL7XymBxeC1jR+ECnx5QdrdHasqY4iIlvoam9YHfDlqMXOZu6bKsgq/KL
l351hweHVUicgMx7WmV7vcjZVVSiWz8vLtSyXtBFyCPbXcoGPiZUIFQvchLuFsEoy/wSq3ZHUH/q
/9D0Vz19H8gn5tzb+afMXSrLG5xIb+IEaZDN0JFdXOIcPcFIOpi/1DBkWGG94lmCkoGEPZagDR4t
MKfkSUT8heKEaezr57zJuMu0jlPB6uIiUrUR0Fv34m/gUFu3p+m1zsprx7KqOnZ0iPXgW+oucZ1H
1YQLvmmavBa4cziBg3LM84usHvziNa0fhmxhPzMNrUXu3PUiH7wwu4TJXTs8+9nJq5f6y0whpUVs
Hnt41+aYNs/ukULm4vOUnyy5sKKGPUdv2rTiGmD62MrA+HAq2z3acSt66aCdln27HbIG0+htm8oj
nod7gXtSwRAfRFq/9knSQ1e3XWLrNv3D9dPeOGV1JUjuwji7xO5L0n0K/K8q/rtu8tc1eTP0MDSj
i7a+4pIXfNOLbu83aUTt8XB7eMMuQK9f9Gb4pPSlRQDnOI5NNj7MfkafAF7oFkY3La0WrMHgZ7Ev
e3FR/ilxXxV/mcb/XPo36FZx3FxL7//O3/PrpB+g43LKCJg3SRGGQF9MZHfbOgbH1+U4Sq+Ms5ow
71hMMdTRwvbOAgBbONk+iVch3/EFWuBOXtj3iYdaWS/8aAQxI5dLXOam6WtxS4CIcHJfZRcRP3pz
CwbLe2/8nNB1m6XevJmUNGUAvWUXNX532i+scyJrfr1teYNf6t2bcdA0DbEbcYnBGRr7fCvDlcGq
N25C3itjnGDaYfs6Z99cl0dt0Ee3520wud6z6c9+M4aNld8N3SGwX10vjIS9F+USj6dhp9F7NVXi
NbwjcX5Hm+5A6M+6dg/9tCSUaYhXXWaDsrDuqMI1cyRDVHhHkr9WLoRu5D4Zvt02kGlhtYB1J7xr
t3MnLs7A8Jg47Gm31Mpgso12ukoYXzosyy62+lSD+HMOTspdasY1mUYLUxHbaUDzWV4c6+L5DDoY
bcQY9Ae+OUvnlOkvtHCtcttS/dyKi1Aox6l4Q2roJkBXa8i/D/LzbfsbjKQ/CBYpaLBVMYpLMLe7
fLwvoCzPab2wYRo+QX8RjIXfBJCKxejwfyJe/bLctDOKxlO1G/pFktKrRT4o/emtm2mega8OtdeL
AFWuJ9WpJzUsdXIzsB2CS5rgZ+J/7yHcd9tqhrDWnwvjZPZTCKxhq/MPk9g0Q7JtpiiVS+MbokLv
5pzRAwLS3KS4a3i/teW0afolcgPT0Nff357wqRoCJQZxafIApL8umqOXNjuTL2mxXDqWbQ05SMOd
QW46pXYK70lx0S04k8noWjyPXV+EEo9fd6A1PTsvSdODMK0/oOlnYVVNptFiuq8LdCYmfvZH5uS5
bci57Zee2Eym0WLZwvtg64a+uEyQVXVQzQkARQi5u13lj3onZxk3BPW6Kbu4HITHzqbmv2c/j8Z+
FYSYUL2P0ymCxp8q/IHAw0M5PVdxgurIQsZvsLvewUnAZ6AcD2dAMZfb1p+OOXrn1hnm6ktvvN1L
snLqOeyeNS8x76LZ/sa8nYDKw+3xTVO/rveb8f1ScYbcDxmtnW/rvv+Se0CnrBv7+p9vxp4Ar/GL
EGd7MPdlRFuVgVrVWsplTTPXgpXNeGOWVp5duiD8ploc8JUqX27P3ODtuqzGBLGIWspcXlLx11fb
mvyO+3X3Wl1Qw5L1HE8pEqp2DrYiaKLR+y3Bk3l74obz6v+FmDcml+21NCpUfifTr629Sf1oUp8T
0u0kFGVv/8UV2PDBWaX3cLY0m0IeCHkZ2vNcHEfyfeweSuvM+kdSfL79H4a11Zs4mxbgRDmN1kte
p1HCOPjPl8rrpqGvlntjoaYXCa9zp76rRHtI+uZzDG7p27M2eI3ewGnXA6hWgzq/i+mr236zp31J
lthfDGeHLqEx2nImrhzlRQU/g3QjrTKC4mcULEo+mP7gaq83diGDyjla8a7kqs9ifs3S7864Y8OS
COrHPOzknThG6g993EmMz5vXYHhI++oVT6c7kXZ/rtg1d8630NY6sXy8Szg/8TTbBGopZzCtjHby
ljahMgWd9KWavoQBktG8jNSQbW6vu8mltGM3Y6VbSNpjbQC9Cke66ealRwPT0NqxO9m5J60CjLRJ
/QR5800IVbM1k36nlFHTtJ4qG+sxBq/VODyw3F9A5X68B73TyGj7bqikM1gvqj2G4lWgfhTwSJSv
PUm3tyf/sbO+k8qobSRojQsm4Aq4WdveJWGBC4aA0vy6m+M7mQyauh5KARNOgOARqnsbFnxjSMSd
ZD9Pq7KGd2oZthriQtCpurPSyUMZDDzfPAWN2W0TfezyJNTiOaNz59sMH5BDIAaY2ijrftr2r9uD
m+yvnb1W27ZNCJ3ei9t0Uc9PDn2I6+e4+3J7+I+9/p0MRgn+2aSlmPvYWriUTIehahac0zS0FqsJ
nUc7J7j2+qGIWrl3vXV7DAm1UC0TVRSj5cmLnO9E+gi6u4CvKky907AAI0MvhuvmL1KQBuXOxnGh
kbGopfLxiU50OFQA1eiRg43rAn25bRC4+w5tk3MKFupMHjg4toXrLrzHGcyvI6MqqYB/lvirkj6L
asDo08JThGnkq6u+Ob9CKMClwhuuPvPHj+ddXarDbW80RJLe8kkcR442EEUX3u2KYM/lzqYLQxu2
ynf9ngmouGTsAEKftZ+ojPfO4B/RK/SXQwXNVqtoYAjR8VGJV3hWTOCafTFu2m7cFXUFntB+YSMz
7AY6JCoZ8AmFi3Ad/N919jSIO9L8l4y/b5vf8IhIdKEJ2teJU1a+vEzNqS/vnbCNbP5t5l8d8cT5
f960ZdXCxmP6Ei2GGxFOvcfL8iLVl1hlWxp/kskfCrmn299icCUdHmWJLuyA3s8uNH0YLVAvAwHQ
0oXBDRGgw6Nw108Kr56Q+9fjWF3lndS0QX8SFGhvz970B1cvfhNidZIXapZEXmrhbq1B7cZ4er49
9Mey14ToIClqpxMLRIjayMO48/bpmZMjjYads5uPVK7CjhAdL4UyeVPgDQGOOrONiH0Y/8/t+ZsW
9mqyN6aZuxFtCfFY3WXU2te22Fj29Gxl7dPt4U2W187boptrzy/z8qIgYset7j4TqzTTYXj335kH
hd3QcbDkpXCSiLKnIHig4Se6xDxjiCgdMDXWOe+p5WZ//AJimIDylrF/bAYu+LeYzqp7cgbR2Qur
YDCTq33LlIM5JHSkd7K6EoLgQd+i6tAuEZubRtdShxIiWcnMO+8k0+Y5ABH1pm/CdXcIorOk8UBl
c8As79QU82saxyOUeoIlBKLBO/Xqmgt5iZnV3DsN2Czr0d7nLI7KVu1ve6dheL0ntxNVP/C2KC+j
OLrO9wbI4W5hRQ1D62A1MTHftzJRXvoSLLlRWBdRvq62T3SgWhgEJahaA3kJQFxeTqfRek6nL7zZ
QGfitmEMHqNj1cCM63h+OpSXoPoJdpFN4qe72yOb7HINtzf7DdqX4yQNqvISFmBZEdHkHGP2cnts
Q1KiA9VQc+2SOZPlxfd+16CvZfJFqSOY8MdkVaMVhGmvBnszfQUlsdh3eHWXyPFxjOWRTu26KzPR
cWqW2+RO77XpJS+HEwvzLemXOFFMVtf3l1HYg3Sa8pKQly6mEYVOslhXvCe66ECfQc6YUswbb35Q
T6pe87T+entFTX6opTVtaFtQAUqru9p7aUFyuoTRMYyrQ9NoznlbYXO/C4ovXf+1pgu5vMHOOiYt
YNRvYwfjDull9J9EX0ciXNisTHPWkpgwt9LOohgb8t9lfPaWehBMc9Yisg86VdYydE5oxMsewrHs
No1jh1/TNF0ibwoRHe8rrwD5/Bs1DIqy1JZF/ofbau8kw0bI4pCXJZTD6o0CkS+oIia1cFMzXAp1
TQE+Z5Yj46S82M0vJr8U/R8l/2PBsSgOw/R62y+vtvnog7S0Bnd8QXEZvMbTjyz8AXpWyzmUU7yQ
rxo2Mr3/Fi36AfUz+JA1P/WQd3S6bR5Cgzg4hl1xuP0JJnfSkgKChgRVDaq8zFT1uJcMTx6EMxc+
wJQVe1rgdqWXDRCULu8sp6k9vhm8XKAxpHI7N9ni1p53G78IrBenZNOpGrNqD1G+1PqCTJrZ56yn
9s/bn2lYKf35bBgcCAl2Fr9AFDhS8bMUwAA7T2O9YEZD9OgvaIWFNnNVk/IiWAkYgrUV4xg10Li/
PX2DJ+iQvKwtp6S35/JSg48ElTx1Kscm6ouXfGX9HH01/wZnLdJYeNAwPRE7+SOBHicx9D3Crtw0
5RJOwOBs9Pp5b45N3+kdZZGBnlSasogEQ3PkTISb20YyrAHVdjDeDgXkGnx6qkR6rgLrcVTtIcum
lcNruxda7UrSMouePFqhK05mX+HK1UagoW0hXEwfcDXbG/PIVGUVNA7xD1MrTw0t6dGpeLEHEHhJ
jsy0AtqOVYRe20KGTtxlrBvTTRdI4BpY1qKVat0iuP9+Q4xad1j42LPo/MkBMEAVX6zk77qxtb0K
jwmKCLf1TlNb7AYni6aK7IEaXZi6yTbaZoVWYmbHjME7QcG6qUhV7kJpLRF0GkbXwXk+eBkaaPOl
eHas0dpg76wq3962y//pkD84h3Rwnju1FLJhMv/jl+HW6+RzBfyHA32ssQiPue+eoDW9w7v+o8XR
GdmzvUrb+4I4X31KTs1wPzurxGQIruP/Lr+PvQKdr5wdVSEByuyoE5EsDYGjJEtE64atXEf0eSPp
44AV2Kjc4ncfzI+h4g9TOETB2nxTB/UNeWYxL469Y+8M1b5t8vwIkqJft1fLEOU6po9nvZ3VY8WO
3KNARuVzsSE0nvceaxY6mEwW0oK8JIlDe4I4UXFyrAp1LGboNNf9GQ086yr6RAtzgo5yCwgDdhy6
/ii4u5kV+ZQkze62jUzBokX6LDw2JsHgnWg5n2kVHAdHPq8bWotyVoopiSEde0obr9koCJJvWjqu
6rMnOphvaNI46VtcsKz5j7KSTQhdnNvTNniNDuTrqQsOTlWy05g7hzH3I5K0d6JeYrMyDa/FLSnt
cEAnDTtKO3wBr9W59bqHpA7WFRJ0uB6IpWKRggLnjjgiPku/D6E8MsRLL7am2V9/f3NwTpUcqlj1
KODwh1Aeq/KxoN9v291wjXCvHvpmaJWMmSuGqbzEbD+i12conjPrvmW7BMyW7bSwJxj8XddeuJ6/
XkbD8tJ4uDuHRRYlbb0kBPXh4KCB0jweBBw29vq8OocZe1b+I52Wen+u3vHu3KFQv/rXOHZYSQj6
gKdsAMlapOxJRmnc/uVz+yudRshgVHWw4P+Gj9DT08TiMktT0ZyHsAbcIiC9/61PyVLuaBpe8/+0
LFs08Y3d2R+CbAtiPnnO2KgWJv+hf8JOWmaKkij0cPIEkqQJOr/zPImjiqALcQ7SJf4c0wdoIRDY
ZYiibAuesrEMI1qXuEoFw7DwQvZhFOADrv/6JgqgXOB6dT9VENwUnrdLKpLO28Tls9xQJrOXDlYL
DngVKZDxlUW4qmAFViDtq8bZ75h/ZUvy8fABwagY7UgJ+MCAhVlI+gxfpsd3a8e9G3ZgqbNSMV8g
QghNbtcqTp0TsI2vvHPrNvwTrl8rmWb1Bhk2TS0fbHha6njjzqJFG3UqXIVbxkJp53JtFXETcNWd
0YA9RnMZsKeKqWyhpmJyMu1YVrT3ygAq6WcHtHJnH27wOLnVEjDPtJto+5RbgLBxTDrIsrk9ttfh
GAMgRkGbv3FDKFlD/3CpPmf4Dj0XnzoRZmWZ1+eZpQq6eJyjh8hpFoLlw/SL+no2bneED2UDniyI
Q+zKeHjO5CiiucnuRCJfbx9Lhh1Fz7MbB3Q4FILlaMqz6CYtynbrWOl/xcqLHL5C27PSLq04G2V/
ziH/dCdJ1+5qZx5xnSj+3v4Gk5204BYuL6yh87qzZTknlYhIeO64SwLgWgqyqvUVn6HtXH5XQnSd
t1eXBemB89md4+8qZ8fbn2ByJC3TtgK/aWcKPlqJVUBHF1iM+e720CbraJFMQAPDZ2435wmadl0Z
BYrN47fcFaIjmyrt+vIvlymvF9Jik0Npoc1C2c4QuGvOfobiSca3td/dVekSS5TBUHqCw5WrfDmk
MBSZn/wxPJTuqg4snBGaoahgyquKuoOE5pQe+jbODlUmUnASyqU6pmn2mnHsBs+bkpYQ/qPVxpLy
U1LwhacCwzLr76YMipw5FNa6s2izk513KcQSgpNdeo8qcJuF/MMwf/39VDKOjGaYG5SnQYSPsquL
PSmrFz7BNPr1aH2THGRF27iZBYWArK1jqAnWYy3Rm2AtsWGbxtdyM9F0RV/OODE9Kbpzltv2lpVs
qY/MNPp1Yd7MPkZfV5dfWZ97cGEfkT5326Fy3YWwMo2u7XFjX2cVdjl28vy4fLFkBgK/oeTi86pN
wrn+7ZvJd+Hk9Oqqr+uhWnWu60bubZB33QfN5G4qv/11+28Mm4OuN5X2k5MmVyedAmbvAyuR28lq
jzJdVRyjvt6voAiIq8cR+2g1oI0ry5TcZum0UKswrYEWvVYIGZKhx+BO7e5KXzylfbeQEBmiV29X
qJtqzkEDhGvDCNLt3ntI/PrroOSzsMc1gE/q6+0KIslGP2kh4Fa0ib1PLSLvgEdxo9sra7CN3qiQ
lUHvDRbO4DajG8XKp0SsIrrBxLWwbfIinmKeY+i4TV+KUuRdVDPhLJjeNHMtbp3WD/ok9HGiDG4X
WTV/bF22MLYhE33XrMBxm5pjjvta726KNj5ZwCB3fr0NY+sMqOm66NWVp0TH3Bm3AOz9fb6DKse9
ayc/xji++DxdWF9D5NpagpKmharsOqzPzeAexBBEwm2OIl4n9Orb7r/7j1MCNlN1RXcuWThs8oR3
wCW7S2hG0xJrgdtJJ0uAZ6zP0yCmg8ydfBe7auHUMllGu20QpwnmZqb1WeBmabkjKl7FPveyVZsO
0zlbmQ3eG9pWuI/nw9ah8Wbm9fZ2zH48c6YztobSIQ1PcQurSuQ7Mn/0R+sQivbr7eE/3tOYztqa
szmhtRPU59FzZDRAeKp0Z8DB+V+IEi+45ccry0IteIehd6oOrfPnBLICD3NOhiTiftgsnLr/Pzfe
F6ZYeDXdm3NR8RFHSuG4566ZN271ZOGxKEkvld89M9XtHOfZdn+VfY/HVOcQDOuOMab3LPBOFg5X
k3sukvmLVQTivkkqtlBbNi27FspgOeqHluHo6gjuSgS1o23mg0OazfZSw+PHxRCwdP9rtjoXAGX1
yj1XdH6lGZpRere5a2igPvltQ7EFgjbLzWzx87armdxAC3BLqQlqGGDabiv3rgQTYFTxhCwkvSY/
1gLc93M+xDYOiNF+kOpX76RnIZ47vnQAfQxuoEyneBVpaneDfeXD5i095TMIBsO0P3iddU7t6shV
OkSWyLdtQHd9MjNQnZa7VYbTOx7GQfZJPUBOjLrlo58DQ7f4im4wm97hIOuha1SFbMni7h5HYN/a
QJz8dLuFysW1NvxBaOoEsHMCtrE+y3C2do2zg7b037YcD22gnGiynLuh7MWGh/WeQcpknbG0zQDZ
vAOgN2mhRk7dyK5nkLrLZlUFgOkdEF3gCelf9XUZD8Vnh5XBz9mj3YIPGwJEb3wox77pi45DTEc8
jnWxw0X3sM4oWqgnme3OAlCyc8WtneexbVY8rRtZC+psGsNO1SGk7ob6IefZU9JYC+Yw+aYW0gHI
xLklMqTbMWQ6+XG23WgQX4ZhYTENW6ze3lAFPJ/sjrXnHNXfz4FkzT4D683RZsXCjmf6h+vO++Zg
CoM2KyxUb86h+zeZkfGl7FG06SoCCGBdtJx7AtTKbyUMRMNX9IxeBm9EA7X8umpl9R4Hx08LB7BR
JB5oe9qFs4uUT8pV9xym9zZwVwQO4TjeuEwenQ7aUeAVX1cjAgboX7MXnOTK5Sgtc3f4Rjr1Qvp0
6wZLlFGmVdWO5hTNVQOnGYTG0vJMBfQGifUiw3RhA/v4OsL0FofBs1hdzTYOGp9uEueE7jx8z0ZN
27bf315a0xdoQcvrOVRj4kKWovY+xexxqMQnylcVxJmOr2cKbaGzBevTZNj2mbuZaCOiogi2/ej9
uv0Bhp1SB9qn7eRVaq6Hs6vsdK/Q/LpPZ7rUvW4aXQvbGJIx1ew6/XlqulPRtI94MlpIhQ2W1zH2
7ZgoSm0UqJWTn6gKoipIXsJpCXNr2DJ1UthZFaBTkHDNMPVOo8+PqWfdp0zuC7Z0HzEZ5/plb/Y0
K8kERy4ynOnYkE04gCt+LJbuyCbzaJHrKKjTpamE8iCtDmGS7Wsun/BqsG7X0cH2Y1NXpCgt1C6D
5FciISyd4o1jnUtqR6zjdB5UborhLD3xrZtcJO1Z8np7bJNZtHgtZpSkZ4Fltbk4TfJlJs0LsInb
daNr56wbF35A0mE4t6J4YByqYHFyV3nVgmEMk9dh9xZt4jqdrj7psQEKQaCh9uZmz6pgt2r+Ov4+
a3yBRuYWb6xB9V0MHfACYf2kCrV0tzC4vM4L6yiaeDOBy/tqRrqaV+Gm4Pbz7dmbBr+G8pt4AqHq
EFQWqq1lTrqfTj6RPy3t+nUer4PwpeQAsnKsrV1aeRTOdbsVyu8WdjPT3K+/v5k7XjqrjEg82Nds
THeiCsVBXgt/ty1jOAh1NlhvKIs+aKBZPWTT0YnRqhufAKZ4HMcC/aJTv3DTNn2EFrghtKyQwuO8
Lebu5FfivrNX8cZTpqsQDa7oynrAOZv6fhVVE/pcv66zjRazLGsqOxgn6BHihVOG6hD6wJeAY3X2
AMSZ3IWz3LAEOuTHd9ABTDOF2MUTlfD9L+EYfp9scqqF+Gv55UI+YlgCHe5TZH1RsgJbRCLqfktD
6u0aKpfefAwbkI5Dx4MA0LKzGM6pcA7eFVAcqC9ZtorZiTId7uNLvDkHORS5obPxzZux8QNAs7Dx
mwxz/aQ3ATZT2kgmIQ9tKfRusji4zyckU7d9yJAs6DAfL+DA5I/VcC6L+lMDutLIHZvvVQ/hGmnJ
hUucyYO0ZJlWYR1kHsRtWQJWQFE2e6tyv7KuODuW+NKQJaCnaZG1KG7C1MlTtDBDHQct6r6T/MbL
oQDagy6Vy0xroR3CVlA4YUUGwEg8527i9ZNvLxHEmCavRfPc9xYZJaQboa10DmceWWH402HrxGKZ
DoBRuMepJs6BV3DLT2FPEoivix+3nchgFR3+EqQNSlMxpLTTOeSHPKHOofMh8rdu9KtXvfF/m8hW
BgT+3zjeD+plOUhQ2oXYMri/DnkZyFDYM8HRODLnTmV0z+R0bgNwi1Ziu276Wvi6RPVhECOdLbzg
IuD4UWCNa0C20De4Lsgb0/h+iL6IFKdj6rKD44kRuSyottZNXItaJRIbBO9Y1dajvxor88AoNKxd
VC1UC5KKAMkObhBXCfPSlb/apusXZm4IJaJFaQ45FUdIBrPYwC9a40Zk3gvNvIUVNWxnulokF21t
l27Vnnnw06mTjaPGA+qbm9wrooEtbZqGoNKB5TGLJy7BEXgW1Ml+AazqfVY15EtvL67BRDq43M4C
CwhYB3rjMfsfZ1eyJKmuLL8IM0mAgC3kVNTY87DBuk73ATEJEPPXP8/7NnXUpcSMXVkthDIUEZJC
4e7Do5KDGypP5UdhsWbfhq4zxDrrDEUSa5nQzZ/fddw+seDnvslfo/mN26czbTjYYXDNqqbf65hF
LjaYsGqyjeqLyfRayPoSVRenwIkHTZtu5Ad98WL3U7NrdKbXj1mON84SD2xxkNR3QokyJN3w5bZl
3p8506vHTeLmDbUbB92zA70QvGh/WESyizUB8AMtaNcMaL5iKJd4ror71eZfXGiDe+MWz+H7Psl0
1hwJ+TmaQugLYatQ772rOhKVOd3ljkwXERNM+YFb9nbciiC/DGpqPs3WWu264DK9jjxPOYG4YMbj
dnaP6Lw/ZkN17JJdCCiH6UQ51LbFulbFEicZnq4psGpT80/dyjNxu61GYoP59UryCKRYn1m1E3cq
fWR9Hlm9evJI9s8u19RLybUAA8Q0w3kk7T8mbvu1V+6uZMb0QnLSWsD0iASd29QHma33MgA+Xdr1
LmI6WP8abW/yTRHYPWiWcx6Po3VAkQcYTRX6+Rb0yWR4+7/DV44l1NRVbiyc6cO6inCc+4+z2OqH
NeQEvZbMRJDajd8AVeWuTy5zcdbZup2bZq5ttMJKVZmkGBqaoHdeYh+dNjkv0y6mX9hdOxL7TJbZ
yNslrlkRSXuAMFq7L1714nEjMuHV/eDE6bhcRis9lktw1yfZYZez60QtSzm6pCxTN+aW3RzKgiVh
N/rtRrXCYHa9gJwMZWWn6EWI1wKNDG0w/aLJdNy+rxk8Rq8gq0TQQfDEiSGcfmSD/awsf2PzM039
+v83odTPg++NFQxjzfy4tmNUD8tpbbf4E0wzv/7/zfCDqidrWtIVSuyORGHdzu3lkmdk2ZJTMc1f
i1UeQGENYn0MyKr6PAG1JXh5bIatdhLT8NoOO+LZscsyDM/L4kueDBH281M7bzGJmIbX4pVCeGNQ
A3diZs0fkwGq2wJVtXzfFZZxLV6LiiUZCkTwy0zGKfBhHE1cg9wCmhsWVy8iJ8xr2mRJKNAi9g81
F99Hjxf7thC9fpxQiR289Z0476dvg22FTVWWIUTq950+9PIxcSz0bDAHm+ucP+F14wXJbWPqJrNo
p+GsYA3UvhBSS9n4JwC053Oyio0LsmlwLV7tIG2ughJOnBCSntzEgUS1PSU7p66Fa51DLaue4Y9t
sMQFRDXrfGck6YVj8LS07WILN/agjxAm7pCFGbH8yF+2zmSGYNK5WgSZSQKQqxujPn1q++pEHXI3
tMVGpjRZXovVpcqmaV79BYeapehCK2XssngeLmq7tigdIxoUpaDQkHXiijbf+tpxQ4hJbGETDbbR
a8b5ZBd2BVq7WKbzwamXw1ysx6Th+6JJrxUnQdH0Dehe427J85d8sNcLWo530XE5TK8VO8nqJ2Lo
GJChMA/1Z0joNcm+Bh+ml4qzRRSOZ8E0zdR/6lj5s3Hd864l1ZXEanvmsysVibPOOqjVOhbrv7dH
vuaSv1u4kKf+u682ONNJB2RqsXKcF4tnUe7Tj7T1T8AbHm9/wuDvOkrSX4O5CxJ5PdQ0FysD65FL
tgReTWNr26qqEg46IGxMPHcu0iL3eefudEUtTEE/306WBZvzqnyyh/E7Sfc1mjFH205X5btNe03s
qbKd70HpND/TZgv+bzCJXg9Oc2XXJXT/4qxQzyvlf6gIdr03Mr0cPBX1utBa4ZTRADVfdoScBpb+
uu0mhsyiwyDbgFfroAo3btX8heEUEGYi6UJJ8l169Q7Ta8Ke39Xr3OILrJfnMnOOfZ+fd58EdKYR
u6/oQqDxigb6vAWtsa1OQLBt9KCbrKPFaQ7+MDvNcWOqJnXvlXVw8Wjw2Na5t+Hupg9o59+eJh53
547EVpedUF76p/P4gx3sLPYznWVEdmgtgdKlEwvRWs8oUPofsnXdUu01pDG9MNxJCvZqm3jg0BMg
qKkhCwQyeD+W7VbbkMk+WsyOPd5Z+ISwolCRslQ6hY1VRT4rXm+7vyFs9arwWq9ey8XCYpaQaG3T
Y7pucQq9X9Zmekk4m/N+GSq0gufea0lf6wCStx+YfbF3KZE7TC8IQztjmJ0Zc58ggaXyb0IeR8Ak
1nnrMdNknOuyv7n9yZR4kk7YQlguP0jfasM+Q2vebcsbfEcnJsgm0suMjF5MCN6H3DqPpkmKcHX9
lwYSg7c/YvoFWvzS0V7bRYKMZR7HL3O7fgQ+6Pe+obXIZYNnzUnVsNhW7YGu/aEjOw9MOh63xTkp
qRMcmByvbF+o46o/0k3FFhGOySjaFrsAMzAoe/Xivh3Wc9vNz4Gwuw1QkP/+yUZH49oMUBo52l4M
LJ93h02lPjSircKu9GXY+cVrPTF1rKmTbfiRIUPoyFwoxVS+TVBmXWVSz2GWJfJPBy7640LBL7Nr
rXXuw8m7lp382kahfvnZ4g9I8pGtH2BYDp34sJtolc8pTsYA8/PPc4nrFZDG/dd9U9dieGlx0q4U
FtupoeQjksA+enOy1U5umvt1Ud5kCM78nFcEdzZSdOlhBC8LVOHKLcYaQ4rQsbnEsp0MAiluPDrl
ifVfmbt+rOg/q7vFEGDyHS2G6yG3xHo9bLpQaVplcJ9LFnnVcLxte9Pw2jF5Jtk0UmjUwDWrS1qy
qO7FiUITd9/wWhxn0p2dtcXeOMsMQudFllT20fXmRUWlY3f7WhnxVPffNQaNheeOZHTjek1fSVE8
2spC0mt2xRb1tDUQgD9aVrXweB0t/1kE5dBEScpQMrptJZOLaieIqqUeGrN7EtfJfKi67mFh/UbR
2zC0DizO0UDhoRkQ7lPW546RB4tsqbiZhr6m1zeBVQ1Dy5IAScEuIV3dFBN5tbOG7qzm6MhiWjjZ
qgS4efJu4net66nnwS7JYRitYGNdDc6vS6GJStFSEuXGNKiemmR+Ud0cr+BHu72spuGv/39jINef
pk6xCZlnbD7asj8WpfV8JWa8Pbwh9ejA4pzRWUEmBZeWJHnqpukRz++fQHt3qPDgc/sTpiXWHN9r
INLRlliDSvpF1Pa0vNg2yMpvj276AVruYUFjrTjToqRT5x/LSgQRIuGVdza0j/38n9sfMf0ELQP1
bdU6xB9sQLdSC/2SEBRW4VRZatr4Fe+fJqh+d8zyZOqLEQroxB2vmkQnEny3J6hkTeWz6NtDo3Yp
fztUv0YmggTCB1l0nNdj9QiKyQ/LZHlgaHL3XSWJlof8qpmJRwYeQ9X05AXOIZmsg+9t3bLfv21Q
HS0NkLeXWnZG4nRi+QGIiPxHX3j0z1JNZTQxa/pNgq7cte5Ux08nAR7j5ia91n8m7DYTTtl/Bi+z
P+9xK6rjpxM7HQlaF1ADEnkXesPKn5beX3dlDqojp4EdQ6bzXSxEkqJ19TOx+juxThtp7/2QoDpu
WoIrdgC3DbabUawfvX5YPlEr2zoRvZ/1qA6PtkECPjazpDH31wfeDuGa9pc2+3nb7qbRtYzUk2lK
M7eh8SS7KCcPrbSjZV+dlurI6GXKB7EOjR0DhJ3Ji7N0tgiZGuotRIFh9nrznoW6r7V6hYde0qCJ
RDoDKdU6wWEWo71xuTF9QjNQM4xjrnqLxzSvgtAu3CZCRYXjXJfvAzNRvWADfj5cCNIEn/DsPPRH
/shpmYVe1+7KQzTQcvbcsnWtfSxySslhpK85SFYb8em2B5m8X0tyA7eg8j1LHmfpON8vXmp/I0lD
jrdHN5hfh4vLrqtK9Jjz2K6nO3QyhGOWvZCR7ltdHRLe4227tkBBH+eJcKJkmMXJ9Vgf9Va1hTp/
f1emOjQcN28l3NyBfXjaR+Ck/yFoDS3X8voOWJB9fKVA2v73cJRbrjPnyrPjcihFZKWejNAzQfal
OF0NDxrgwlFTgQRaiYsg9lER+f32Cpvsc/WrN6c6ImuraznxY6LUk1+rry6pL7zlUdBuvZGanEiL
YcdZJFOd4rDNMJ6CtAfP2WA7B39Ntupm7+vVQWlcO3wpqWgtC9ePi1m+Fl7zdRbspNbxKajBIp4n
9yDN+JSvuAw2amdsaGE92OD0BrWRH1NhXbKKvPpzfuyCYKMz2mQ1LbCnYliqmVE/7ln7hNf3Cy5V
Dw0a6Hatu97uB4kBt0X1I3mR6lVNz9LNDn3zb7FPLdaher9fU/bB1No4a894pz00rJMnNtZ+tFbz
B0mHYOPB0OC+estf7bTlmHVobCMVii12BkpJdL2mfhDXAdl3fNH7/lZwNBVJyeG/QfDvohg6Rq2m
CzPWbMSgYan17r9MucTpHbReFqnXPzTE+5OXUAWFZCrf8FXDLqF30A0ph6dew6PueHoGiwUBmWG7
j6qP6npz4AzibZLgQShIy+elrxMABDxvX+7TW+hU3aUiAIl43JfVcFpSXEeWYUuIz0eW+/tVmOpN
dMA1WHiHFxzdSuKirDzqcXBE5B2dxDl712YUQT/eDjjDIusNdbZoeMGHFr3BEyihehI1qzzyeost
wLDCekcdtdAQxQsLj/JQngurPGjPnATVhv+YJq9tb13durQXWITRBdcgOlM+Jyyrziz9ss841+++
2YUyYMnBzQ/jSAfVa7zIV04RCWgw3B7eZBxtk0v7ZKCtjSwxCO/fKi2/c5F8vT20yTLa5tbnud90
WNsYZZ0j7rA+V2fW+BsTN42ubWv16Fs5yhY8dnsC9nk//V347YssfbrxAZNltE3Md5OKtm6OdLm4
PKxLPPUF6fL7tm1Mg2tbGN4Elh59zUGcz/YhWd3z4G016hmG1jvpuO+tBa0qDE2Crx0BmtCS+17/
qd5Jx1w1jBCdDGLHL6tIekUaDuuWfFvwfsbR2+g4mZUrszKIpWq+iUaBPKiGJi1NfwTeGDK5gsS2
PYtgX28ddbXIFeDO66UvgxgPc19TYaGlMdnMzQb31HHZLM/LLuh6HkPgwT6WNifRsKT1EXi6fY+W
VJdEW6XbyQzXhGdVe4v7fU0dyz67bMUZMOzTgGZZCGew1KcdLguIheayw0CYlw2qRJnWeyZdefAm
uXFUeddYwFdcPeJNjgOHegDCeb+IE2a5R8La9gAsXXtKq36rlefd0xA+cd3m3nyiBelZvlpzGWe5
+OIFySHHY7jquniCxPVtA5l+xbUa9uYTFXemBPdYenGJ/zF17SD0Fv7YSMfek5HwGzSHzSjeLrGF
kTiYaFi31SErtnaxd5MGhr7+pjdzb8uqs5a6qGI8hkZeAWVxUu6542Po6yffDO3V9dIPVlbFTHRo
++ovC9TI2j453ra6aebaLuP5QL/ONuDGPg26c1/Qu8KX88bgpiXVNhlqFc3aV2kVczI+2XQ65z5E
0QNno8Zlckpti1lysNo1Ph0v7fCrA2diVf9Q+cklG1ACk2m0iC2sFIcodtVinWYPsoyoDv0ooLzw
ZZfl9QoIxKjwvDet9JKKvD1wryqP2JU3vObd4ycwUVq8VjSfGVvt8eKp7DDUh2qQoXN9l65lJLpj
4WxJfRvWQK+ClN2kxk61VQzS0AicAf6KZln/izV+uG0lgwvp5Y/RTx0IzjZVvLo0CUU7sDs+X6kY
rbY47fvE9dNvIswuAgnaxaSI7bWPioSEFX91/eWwb3QtfkVRL1bFybUoNN9P5GvJzv66YRyDh+qQ
RjXylCmvr8CKvx5b230ABG5fstTLHkkCgid/ZmCJVPm5y9c0qhh+w22bmOatBa5MqL2WnmSXsvUf
Sjm+ADa8i8MZnq9HregbJkXXxo2yfxIh7tcy2aVWwgAh/6+nrD7UTVO8oF/6llwVm6AX3G04ocEk
elWDy1WikFSzS94GT1BEiwZ73hj6f7pSf91FMW1tZ51sMbEqWbF8vfpu8fVs8S6yuu8KFI2qDaEY
B2GRj3T5AI7Wo8yfZlDhLOI+XZ9k8FHRLmxT51TXh2AJLjboVKoyxBNA2FU/RvmrdF52OYVeDElt
exoZWI3jDJccxmec67cUh64/9D0DaBHuJ262BAvWDTeqiFSf0uqVidc8LaJ02WCCMeQpvbOCFgqp
vHOKGJq+IQhWVwgajePn26YxJFm9rwLCmraV8KmMgQP8mafTAfeq59QZztny4/YXTO6n7dR5AbSi
5aZlPJYlj/KMHoo22colhs1Ir+JYok07j+DwaAGMkPjBkbLD6KxhB/ERN3ni6c4foYV+ruoV5CDe
eCkJByGDPIhiF76KAY7738if0MobzAnsU/V92In+4Lu78CAYWt+qU94UgP7RSxV0d1CZ/d6MwV3r
FH9ur6zBMfXyTeOLsfYCUsTAVYTlmj/bawNk4RZlnME1dTwkVeBLcXJRouecXho3uZ9ccrQT/wNv
7cO+X6BFL+c1r3oP1xtVoflwWn/1pOxDPFTvqQNiAa4x8Wb/r1LmlGkO4ppiXk6qxUNy/vv2zP/X
3fZO4vmLUG9IeLPmyXiBct5BBt+96XfCOxYGKgvd7tUKcNVMkqgWfShq9SlVQ5RTUJCJXdxO+G1a
XCeuEuNUB0VcZ/KU5r8dnNJAFXP75xmShq5xX+TJMvkKZAoCt6mwhWxn6AZbzGyGnK0DJpnwpkEm
bRuv5IkGdaiGS5req/UfZ/54e/qGyNArPU4+W5XnegWIqUYG5eLmWYDp6R5spcnl9hcMBtLrPU5e
+LRs0ukCIo5D49unoK0P+4bW9vSh7roWvXb0Uk/Jv3QY5SHI2M5zjl7aqaa2tyY+0YufNxksL1i4
NtPe0bV4dumEClsCKio5g7DdaZQ81GKo950t9bJOj07uBgI54M8q2+zoLkX2ZHfjFojEkO506CRp
E1yXq55eJiK/gLI46pT/iZP8NGweVkxOo4UsejT9ER05gDahhb6pKyjwbdEdmDxeO3f3aKjuLYB4
4mB+sUrwWOJEyDZOmYZ41TGTS6LsIlEtWkutn4N/X15Px8W/a/a9a7a4LK6b7TvZ9G/kpFvjRaUD
GUTTh9Qrwh7CaPbw1U6W49J+KLIf0+Ds2xR0GCVtyiGx3ayMm57XX5mYF9CZJ/N5V/TqMMogmfgI
zjE3LpYvQTtEw7zVK2hYYh1CKSvoTQcUS8zI8+C8UHZe8s+3J23w/b8hlMgGqSq6GOw2lXPvZ304
Tl8yQIVuj29wfB1IyWTGaMox9ZzIg2snT+O0i8MSJCValcuW/Mqgg5Kl1eZRjufJddxqazQZXAtX
4DI7V3gZYsr6gD6Z1a1DyTfcxGRxLV5XV+FJNIdFiv6juzxw8icrL7O3xWpjMrh2XiZ91rn5YEF3
ZMxjO7vvXLYH5sg8HUEpJyh99HMCfVrR8pCx9rfPxMY90ZBodAhlkEJdkI5Yy5l0YdDc1eJZJX2Y
VffortrnijqSEuGo1tmnLUTWcuCYanUSvvd7l5vrfbBBltDcWwIsqlrC3pd3U5tvVCwNvqg3vroQ
DU1byrrYZQfR0bArwGKxdZQ03OL0nrwGz/w5bUUH9MnTFQ1vT7/TLjjWVRKm1merWTZ8x7S+Wqxa
wnEr7/odTmMotlflGjrkTyAfSqIO+5ZAi9nVdV0qhFCxzfo0KpYUr0t4kdvpPFrUysoKQLGfQzwy
4f/IJakjSADuvIjqBHtg6c8dkDp18eoN5FD76QyGQLlRNTbkGx1Byft0agMb+abzLpS+VurZ7Z6G
5tsuq+sgSpHXdAbktouzNf8IHBZH9zoa/24Pbpr61ZveXOKkW7lFWksVK+l/G2v3PK/L82QNH+xx
F5SPebpsO1SPSSkK0ITWTfsIwbXHQWxcpEyTv8bzm8l3GXCrUkEAqqizM+34YzC3D4IkIZojPty2
jyE16MrOtT9bdi5aFbMJFGPNvZ2Kl77Z4hYyxKwuaOqTwmVXhvd4HOqo7C9e/5T3KlwL8HZ9uf0D
TDbSYrbuiqqdQUMaC8Uih1wCf4woeVx3cSxjdbWo7eVcpgMZgBKpqztZTXeWu9UKYbK9ts9CU6ZZ
/G5Q8QJIb7L4oQLV3ky3uAENltFRk9dXeFteN5QurcPUeymbAqfje5Hs21V0xGRR1qpzVYb7muJ2
2JfOZ+jXTgdrbHcmNR02KYsCDHIEkZU45CjBwT7PW33GJuNc//8mtPrU74RYkOo7yT+hynNYq+7K
C4byNbM2rvmG9aXX/7/5BsReJ9Beo0sNeM/na42KBvPXFRRStz3fEFw6dBJQkIVSORI0WgCVVoR5
8V2t34IEz8BqoyXUcBLUJU2nsXDzFW3GwC/Zp9UTYansjcK4afZa3MqmbHjXA2/LRHqy6ke/8L7J
OvPQO5tGeTXu4pJn3v90yd4sAqvdrEsWyCPKujnlvnNwyMYvMBlHC9806KnCvtuB7mYJl2KOCojJ
71paHXW4FBBdBFUliZO2CG15R+bvfvCFMdBjbvimYfJ/SZo2w5JIG86zqiVypyRclq0DoWlobcsF
QhWi6KXLYjE2h1ysF16vh3120aJWyoB748oZDmgzTrErZKBVROt/+ZKdubOlD2XIDbqwqWDQE+OB
cOIlV6hyfXTHOZqLSyP3OY4OPGSiz72pxPgqc+8F9e/K5e62fUym187IvV91igiGFhzafu8S+1Wm
u/AGeE/S4nWqlENGy2GxXID0d6YDHvc3VtWQJ4m2xaLOvvbJiDNI1Si8oshH5s15aHnORjSZrKIF
Kh5++6T1sVENXeeHThuI07xscoC8r3DI/hIxnceM5L0NFKzTeCGx3HAtT7gTnYbUDrmzXtIcEKLi
ae6mY+f/e3uhjR+93sbepLVknd2i8gIVj2kVDeXv1v9XBl/rAjCKpT5QFNqgSm9nXjjLrTLb+8v0
l+QpYbOVuQyIwKn1cEGtwpG4L32mNu7v76/SX2qnqC13dl65ZVwMdogOniPIyjYczDS0thGDQbeq
7RUBB9W90PGBk0WB8PZCmIa+/v/NOji+2/IkHQEomuznxbU/JO0Wmu59iAkcS4tmQHoIZQQ5ekJ3
Tlulp0pJ6JU/Duk/snme/OUlaZ4TsXETMP0SLcBXaD8AW+rgBun8q/zq4tfZRlYyOY4W30HXsqYM
7DLu2MzCmadpOCGPH/LRJ4fby/B+yuaBFuJDXwTgWPShXhl8qe1LIiR6Nb9PdIvY37QWeleWUwTd
NDS4yQRNfhyzKpQFmqjwWA2417EKfqX8qxzHA2md8+1fZFgOvVOLuwXPSj/DJuT64TANB5rt6tBl
aFb9r8/ObTXX0sddo0CnQ5VVfzKHve6btbZBozrrcoVNKK6nIvLTP2O6RaFicCIdkTZMzlCuE24z
dbU8DN5ynnsUgJLg676Ja3EsB6Jo0KN+MrFyPCvuAt3ry41sbVpLLZDx0qugBYkkASHzcwE8O6X5
huObhtai1iUicMqE2CjtZUexpEvoVOUu3g44iha4YLicLFbgApMM1R0nUx6Nfb4LYojBtZBNGrxI
5DaMsi7NsZTD165K920lej9WMWbchQRnB5rR/h++unmYz7vUTxnXG7KaoqFjZeW4t8C1VSXv6PS8
cm/fcuotWUE3NzWtMPOl7iLb+ZLNWxQvhp4DrvdR9aTw0Jbf9Pfia/N5fMkPMurD3g3niEYszI+e
FW79CtPpRMeXLeDLWmiPby0xPTWn+SIe1qgJWYiX141NxeD4emOVWKqOAu7RQZsgOabFfMn5Vl+S
aWgtXMeSZ0xeXyk84Z4JXU9DtbHHvn/p/UujlFPqLYtCEoOAzuPoBr8qDzyJffOxn/K7qkp2UTPD
SbXAdTMWDGjQtGOR9J+VZGFq94/VtIvGF8NroWuNGaK3d+14aspILcOh74NPqix+387FBivpTVUo
6InAJ14Xl+UYOvLct5/6CtSMn7xu603xfxWMv9+Mud5dBQ0qoQYfHuqGkAE6ob/xvLysEfpuouIQ
3OUbx0PDrqV3WRV94y7QF+riORkPVpEdhKCPXbulT2049uhdVgObU9diqGIFJQoFaLKJ0K33U9Dy
2PrJRkoy/YTr/9+ccAvQq68gyLbjZg1wbvMvc/fVzrZQwabRrzH4ZnRBChoMtQPKCDTPIUeFfGaX
whfH265kCGW90ap020JOIzy1G4JD03cnT+7rtOF6C5WUOaQEC4Wjjmgip/TP7bJuzNpkFC18R66g
8cwnGzJSSQR6zwMFHdcotjCoJqNo4Tvi6KfaBqU3ivzWBesjVeS0y95675RonDqbQGsRu+QbKCiO
HRMb+d5gE71nqlELmEFHuGFH+FEMJJKgsUq7rctWAH97Jx/oKDlZZcPgStAdW9yJ2vxOVZdcTZHf
ZYd1vaPq5zKojXKE6Zdcg/mNyysluilLVjA3KOtQ5tUTyLjRSs02KnuGnKBD5Lg11SBrQEShBS+a
ZHpI/Pplnlnki+zb7VU2fUILWlUpBr5fbsd4MGr4GpLqgdXfe7ULhMq43k01cH+ubQdR6xZ+2KEU
IGt5ZXM/3J7+tUby3lprZ+aWM9cfrlToqvi0Vl/G4nM6f4fUXEhpGvnTP7e/YogyXcTU453V8JHZ
1wpNmAb1UXXjRn4wDa0FcCMc4l7VISGHBdVSx4vGdguWYhha76UqCjdZeIasNjueAmJn7iMRJBu3
Q4Pn681Twmtnu1w4WgWAcOXDQ01+jfWn2+Y2HBr01qml6dxOIEnEnvzQZncUTY+SfvLb5znYIio2
uL3eQzU0udPPKATEvWuRH0UOjISwhumwzDIAKSnZ6f56QxWmDvqYDiR0KyiHxklBlvNzUW+0UZgW
+Pr/N9knTQDa92qsgcXGLy6zz8Khh9tLYBpaOzc3aeZDecgCTff0TGeoWvruBneIaWQtYiXvHTVP
HuQDp+xAS/LbXacftydt8kltr0WuKatqWVXsNwIHEBT8FztyWrnTJlqoBiK1utqZ+/uqKfGasBb+
cLYtlm69If/vNfedZPZXS1WAN+kJWND7KQqes5f1UB88/9T+5JE4TlPYHoIzqlX5kX1Lcbh9FFv0
D4Z409uturH0nG6E3Wbn47p89ZM7u3+oPeCBdr2ScL3XSl6VHL2sAj2mxz6wtQepYdFvPF0b/Env
tSqZRer5qs0gocbXOAydOOnG9msa+upnb+LLSsakSwim7a3y4BfD0U+2iEkM+UfvtJrR2N3kxYQo
KIenYbCPXdOD7Ybei02NUUM02FoIc+GjNOWCaXnp6LFxRRYWorvUlrthHdP4WiAHKyvQttw6cS/W
ELWUE1XAlFG2kSdMFtKCubKGsk4TCX2Z6qmsI5Qio1HcgWk72pUs9C6rFZ31DMUeckGCvs+z8RkF
iKObzBtuaTiY6H1WFDT7buODjL2t/pT9XZPTUEyfMn6i6Sc27Ysrvd0KiPQVTT+WHWcOB1wWRSxv
X4cb19nqVUlXp5ghpem7bpQm5ZEmu+i5GdebrEqHQxl1xOMTojXM3SG0m1+319QQsDpJPR/zpQP+
HLJ2UCgcQNOaF1sXLYO3681VaBUtC9/HYWrNp9fAembsSvPnbyykaXQtVr1ltS10XjrxCHwyRaf4
0LanzFPn23YxOaMWqjjnjCA+bKHPHnzraR5O/nrXdx+t+UteDHcD2TA/vY73zgamN1hBWbTwqqmD
rG6+Ro5co7wsTkMjI7JCVmEIr8irZmAHMtNwaO6k//n27zOZT9uZG1xghrFN1guoo9DOn9EftePI
L3a7j0uHcb0BqxKpK6sBPnul5lUZjuqQcncgVnn7BxiSnd5/Rda2dCc/IRfVlo+g2orYQh+yQhxn
unW6MH3iuvm/2cy8nrdja+MRykubKJDd0crFi1vyMPenr7d/heEcQa+ffvOJgKO+AVEIGEk9BOzo
OVVYtHfpBGTalgK96RNXD3jziUVBCp0t+BW2A/w0p2Hb+ue6RReAgHCos77c/iWGRKL3Y1lJJWl9
1X2rgulIhuZntwnoN62DFur1aMsG2sJ4dMjomRcsCkhLw6xwwFVdfrs9fUM8/C8+31gpnfuGrrlF
LpDyO6e41pRegofy+nR7eEOBRe/DAj0+S5gAxfw4e+cSjLBl9SCHPCqz7KPNPrTiB/W2tmnTSmih
zWmPzOiyPk47pBM5fkudXWIyDIRm//WlYWnmOWBOH/fecB6a4egt3eG2hQyz1luymPCL3iN2H2ck
O9RVeu+N464+Pq5zwSejwI17dtGJOAdfwEwGmGzpbsFFDOGls8CrOVv/vw9xpg91NYbZkqFB6DuV
oLX4vc80WgQPEgeCATLRcemkoQVMdN/bGydSk9Wv/3/j9tRXoNRObEQtIYesto8Q591I0IaIIlrU
dgNkCLwRJYnaBqGmKF6akZ/Hrts4LZqG1zZoXI5AskwFRKvYemjSh9VrQKT9etvipsG1k3Q5rtRN
PGwuVedFAe8ji/fPdlbvtLoWoa7Vucsw1yRuUaBshj7kZBc3JHN11quOjklj8VnFqefzMHUX9IM3
9kaSfD8RuzrfFd7xZ8HXuY8L+VvIX7l6teao2lrR949crk6K/n+cXUmTozqz/UVEAJJAbAFjl6uq
u9o93e4N0cNtMYOY4de/4/s29alLVoRXjvAikVI5SZl5ksueVFb5n93KT1X21JApaubPGyqfsxUP
3vcVxDEV8Yrs65Ki4wIXyXYafgD7igP9h6JV8y7BZ2rWC0h56Pxm11as7Z0zfKTkS2FqJ31bXZma
8arakiy4g7nnavEfWmpF7tIZXsbeFHnqqdG63WM4Sb7sy3n1vWT18qgLqmNthBl7u4QI9BVz4EuM
UkBipz/bgKbK0vejeCrTPz7FwIk+iKV4YdO3VJrwbnS7UawDtYu9E6kzIxqZYul+xyTXR4oKpdvm
4c1jwF4U87CvPc16B7xyZX4iHvgkTbnrN5UApBXTgL6xeeqADHLtc46DFqlrHs2kClPMVbBHNFV3
Bqeo4ZAanlNMR2GLdGf0L9gAk2eA2u+AB563picyzU7UAL3kAsCHQK85e6sfdbWV1GP226+8Z4dM
j35uf2lHatiL5jzUTomys+egWHOcB50mgLHmX8e1NcS1b/p36qkR+h6Q1O65jQta0L54cn9kXnd0
MNM7/A/mejFFiG/aVnznek6vPLHbOGSrabWgJF2iS4WHJXUfNgwGKdM1ui22uiO/su/VJ8q5lj1d
1/nszN2BNU7Y5tZ7tBAZLIhuB4qGN2tdV4QMC1oU3ecGb8l9MJzabDtUg8l063agqLXtpG2wT3I5
s50+z/4eNRJjX2l610s7DkFR7LRrxqqQ3Xy2u3wgz9PiWPKJWb7kBsvx9n0fX1D0mwR2PcwkkKhN
EZFvvzjl+zJ/nOkXmjaHJmgPU/m9JlsIgT64y11gLvSvuN3tLUqD2fUe5jmTLbzqUAVxNlVsM/g8
zdmr0btHV2es0PGDsQj5uR3r0EefamsTIJGbJoPoPnFV0FfSm+98sb0F4kXgoOQ+h1XHfqbsM5AU
DaqukS41lK8KzJ8ag3ZBsYEA+Fcpvktv2uM2HwzQjLoPXP9/tYXUxgDXHamcs+P5/3DWJsSDaV/3
Obmt4BqTq7ZWCBT1bGsa4BTW/rC6X6rl3Y6a+K7zjsI/Mp4ZpFh3FIqmC1/UezvOy3nsgoRJKynK
/mMw09Cmd2qi2nAhqsaxphTmcJLWvyyfvy6oVrrNJY23UBsu9qrqBjcYl7M/QFCzCuWLM3rbDZrw
5k0fqqYoeGA1xK19Ls+W1UdNV0YT/WTPU+xhiArMyCgxjaHr7mlNpn9F+7NkQBSZsJUyr96hVOB9
v+XvyUg/urnpEextbv0V8y/uPM1bDpmVjmPFGM/DHu0ZV657zuKvmN8qWzZYol/OvWPNT6wt6FNf
AJXzNvW35fSvSN8mOaCMXLBH0Pz9xlnIq+WnR9LQE+Xxvk8oKr2nfT5RF6qwWv17GfgH1k8J4+IT
rUzDBN62GkzFuu0zAohsgU/kskswJ+99Vf3ul7v6ZCFCii6PAQBdSgsudWYyjz0MNk6WrHY+L6u3
RF41GB66dWKkeG5myVWgXmk5t6n1ebHrPvZx8IbA5u0YjakTf/gCOF1vQDwu7e2R+98b6fUhH7IL
ZsJgYKq7mB57dLtQlHtyC3sFHhoMOO+yU7GEANK/61GAMrXHYp9rt84xoOq8bQ6JvLQXx8A1Ivdo
hEhtqBhqJ91tAepAkzxKKkPX34+TNDFGR15xztuALrPeS+czS7t+fWB9Ol9IgUztcZoW/89tXdNw
XwV8TDtke7u5W86116MZ115f/MYEyqy5n2Ls0f/65s0m88AKfz0PkoT9WBzytkyqEm3LhJ4wruUB
8PrRNqGqfgvuijeYiuILLUArpJfu51ykh3J2n4JNHFrvrupPCJRimjqn6ZBMgt0AYE4YFPupCYL7
zDa/ntCrQGbfAupanbOcK5ZFIwueO2LKAmt0WUXvbXN7A6SJjUNuXlzMcqzKT/XSRG3wQEcD3zVy
pKL4InGEkgHHxVXLL/BElsX0PqAp8Fy5QFAx85Z0sESkZu+8fTu5+LUAvnmXBqhdIznPgn1k9npu
p/HzMqxIBLvrz9u03w5cmNo20jO5obpiWwFEMkaz97uufhUzjZyJxoDnBLbtEGKglEGANKes9pFI
zrYG9Wrr2WmKePKDsBzsUPYSbfYv7To83LclxSotqDqS1bqs56mtARLQh/nahmzOQ7/z0Fg+fpbW
p7Y0NfppxEptMQnypXVY3ywoPa3lu26c+IOXYYzR7b1oDZSizm3qrus0wkAJQH2IfY0K8oXNCfEB
b5GJl8DnoZVNERtN1fu6/Vz/f6XkcmpkyTzsx/KXqAqcY2XL4+3NaNyF2qFh59Pg7aNwzv3ox93u
I4mbJV1hUpO370FM7dCYGuY0tMVFrpcY/cfzRI7tAxn2B9dtz/WyPVGnMD1JaCRZbdeQDmekCuCU
puYF8X1p/dvZP5j1UsyDIbrRMEtt1pCZcFq8+SLI9/oHL/inZ+1jvRl86tutIPSv12qvGag3iXo7
o/84pLRGr7999PM6wjU7dGoZChtYZcI6LDQ9kNGNMmY/9MVdMPP4/DV0fyVkQUWZyN1gPcvUa5It
sKzQzqY6sdbREHlqhMFT9GabUlHXvFuRen1H0FLjAfqo8NwI9UaRVZ24KA3WRqMvKmJuQz0UI3bV
hkT7uMcoB1oflnKtktsqo6OuxOkSWTSA5DTbWdRdsnjpo0NNc0V1pJXQp16JFXQAczwXk312NvYy
k8zgsHTMV/zhtu4pLXasurSWsMsvw3ra5PdtYCff+WdBguc2c3SfUeLybAPUIMD1nDNNnzr2a3On
cGNpOMlPvv1+NQHJaTyk2t7RMtkG5QZVGVIZ4uIXSyAu2+N/oxHQUpyM1r+pyRtrzkRt+FiRGSjT
olrPwDptwnSw/gRsNjyAaAyK2u1hAVIy92Sxnv3ZPaYZQZffGG2pF98+jKvq/lXSRJmKk5vjXS69
XpPOvrWcKmEfB/uaE3ebENUnBgeiOwpVqdEeJEYXR9GhrrdFvd0i8mRwvHDPvDANyrDjjy7mBdze
kY5h10N6ZaTWfUW8RaAgNQYAVGMdE5K/bwLLwDDdWSuq7eLJgLUDX9FzjXEndHS2CM+0X2+vXccp
Rbn3AGUnroAGZu0nWZRxbgMjfwmpk4eZNUdj+6e07qr4w8kr2s63lqz9Vu3nccgOjYUS7GaIAZFs
4JPuGBQt96Vtp6NswSdBPpAufZhQf4pBFgYLqyGvNn9YmPBD7brdz/3gx65Mw4yn78ZpOdw+CM0p
q+0fLmukRQX8kN1lL4FDjr59F1g+ZWr3x4Sn0sbfr+8fVvvArTmR1HsZ63sZo/jopQuszWPge2oN
L1VJYj+Vx2AxNd3o+H79/5V2jakj8rlq4H5WJ6aWHYm2ecSw2vA23zXmSAXQpfMEnC27XvGusv8g
WRVTJoFU0VYhXokMkqk7W0WDAb3hjBBK3CjdIo17dNIls3Xv2w1VVJgLYXeA+nfOkjRxXkxn4Z1S
ZlJaHX8UpQXa+JZtjC6oLR6QO716NCf0y5j7324fgO58FbXdi7G1J44P+MV3Yf2x+MdRmKpANYxX
+z9cv5sJxhI6GDGGHpCifJcWzCA3mmWrLR5BHpCAdFi21eXHzVk/ZWmZZKXpuU9zb1AbPJails3k
g/zs//RYTJYvafauoN+4Z7IKOt4oalsHKe22DV/YgMpU5CSexF15LKYi6qJsYPdmBn9o5W3i92uY
Ot4jLqIG567j/HVDrwwC7gDVaCHncKYDjd18O1lF9pL6231JE7XLo6ot4jUNwp/SG6IBqMmhG8iX
IJeHqrOKO6VH0VnL9SurBTbnuZHN4yrZdarTJEO22Cb51B2vorfd3gg/ZXiLHtBVGBW4QSNpbMTg
00TUaq+HV9lwKteQB4OdDtm4hCw7Vm4dUvJ7nHwMHI5vGweNGqhNH95SCso7HMbUW9jJp52cbLxM
k2wNm7uqpihTez4wom5YtxIB6dy5P6Y0mJPBG+9CTQbx68ZeCesuGKr312E9j07VhnVHRATkC4Oo
ajRB7fsoeAW825Tj6o/AJ8omZL05BnihJr02hLYaKVL7P1wbg9ImB86X5f0jpjGnUYXW3cPtw9UR
v/7/ijc088sc8+2d85y6RbR2fHzYrWY0iI6OuuJ0GZOMrgTZ7qa33ttt8bx1phJqHd8V7e05ZlEP
AaR/9ebY9bIkANRH49ypumr9WGpVkEkCocfhwgK5aBvcktss1z0TqgVklpt2Lvr51rO3bae99n5I
uK5y4E8yI4947Dk4QRZzp429cv56+5uag1BLyUhjbZvb4K5q7yIefXHAPfk+M6oWkTmTAwCWGaq7
YuU8zxOMLDt1S/tw38oV5fUbzkb0G+PNm46HVbbH3pL3KZZaNzb0Nvp6PATNY41Bw8Eq+kcyoB3v
9sI1AqpWi+27zdBMnl4rMMY/RbcnFXGf3VIaXgh0J3r9/5XiytKVNhDVkd8BGkfY2fQjaUpTzKZb
u6K3bZV6WDUCcrHkP0nPH/c+DYPcNmX9dfQV5fVnWogKKnZu5ZL03hR5uXVoq/5wH+sVv1tPWd+M
JR58vWKMCwuv7xOGiRamsnkd65VouWiDupuusVVhsW9IKIzxssvCsHYNcbV/w0J1/yj7DFEJKi2i
tJ7LB2oBPfY2ZzQ3CbUIrBdlYfERnJkxhaaUL6s8DnhIXkuDVOroK9rqjqwY08wBNt1M4my2Dn1Z
vTR5GY29CfNNIztqCVjjMw/IzEhsBl4a9riDrrKPN//OkFzF1p08t1lzYeOVdbTPpT98ymffYBF0
zFFUFsUVvr/UV3uDXLUt3s9z8JXXbRIMrqHjUic8it4WDie18KFXedfvL7Szmw8UF2uDpX8bNY1S
FfwNNVl23tQUiQhrjxZ/i2X+r2v9tjGBokcpumgRXe1f2uBb1pheHq6C88ZLpVpkts62xGMbTpvW
/9b1Cx2fR+eDy0/T/O9tjdCxTLEVjt1cJ6cjdVOPv1OkVdcpNbgXnaAqZiKwCz7a8xX+nFVJMM6H
jtpRmpsS/G9LE1XbSGxZOPC9A1SN7rFAWjEbxMPAqii17Pg2b3SfuN48XvmYGjF4RyR4g5LhcFgO
DLMj/f4Xhs0ZJOpt5lO1nwRRP3HbHaGtdLN3fPV+rt3w+fbadaSve3q99smxt1EAJXPgw7tlSMmh
yHJhMKNvHy1Vx6aLahp5T2AkME/3i6z9sBHTex6YZoLoyF/39GrtwvZzaV8RPks3/+3nxaHwgWbs
W6YOBh19xUysPkeuuFohmQU7DpjnEPDlYM11cpv1OvKKd+/8cvAxgNw+87wE5qfw3RDFcGPkst25
8xOK1uZ8YV06gENV1RzLheKxXH6ojRgZuh0oqstJ1VPUr9tnK5sTdPQc09U90nI83MUgtY6sqVrq
DhZit6z0E8fiHwbvd1cNBiegWbxaR1Y6dd4XM64XDlBXEca9K7MlzoLWUOWgMQoqOG+QSTvvN9zp
WG4fBh6EW0Ufm344bKkpYa/bgaK7APMrty2A3XGRweNzF3m2eyKrf5/wqFVXre+kXFI8BQe+ONGs
PpDVe6iI6blBt3pFewsybZOLqfLnql9hOadvq5gSlxaGB4e3n32oWn2FBr+uqDN3O+fTHhbkDxn6
sBrxsmTNR7yOAcHnvlCIqkVYwRi4Y9lDTKWVZVG1OBipucrPt3UgeNOxY0T4/9q4XVi+jZmU29lF
pnYQ//RjH6blT6DgRwVerzJXRJYYDX5GxzNFnx038NNgJNu5aAUaCb8RgE+ugJayh4cp68Kqng63
d6U5e7VCy+qzbCc25j/sqx/XtRUKgOx4Rlw1HXnFIad5hvdDyq71S9OPsZVfyBrMqDJCmevt9Wu8
plogVfdoK3QLC6UyU54/5VNGvvZLa4L20i3/+v8rv9aI3ao3HxenzUFDnrN/b/Y0znffdMy61Sua
F0yVlWYUdyebeRlAFJgMux5FcffxRvGag9uWjr8CCmjJgcfadO8d2hu643SMUTzmsviy5pkASP+8
Jo0DXJFmj8q5MZhsHXlF17xhGCwn4+65rxZ+WMvpcV36Gi8e6X15X6qWc5X+GFCLoZC1QhkSrzHh
dHcO/nrXZAdK1QquLUDNe8HRu5Q7dlz0VYJOo9gv5eH2yWpcmlq+5fDRK4EqCLjCcUDZdY4kUrr9
7l0ap2I3OB3dN5SbsZQA3hpS2z17FJM8ORpm9i/umsXV3n66bxfXL7/SrtR1rSXoMggRhoCxjEW1
1TzObposQJq67xOKAmcZW7p6gyCttvxlL9VlWe2wX8lXzy/+uf0Jjaz+VaIlqb2kC8a4EMxQXFj2
u+T9pRbOx/vIK0q8+3vGqY/2bG9pD9tSJ2PLHl2rNUiSbvWKIjsct461DnAGa/EP4fPnjtskGnIT
ypSOvqLJRVt3tLZwxkNbXbrxa71lj05mwpjV2E91dPkSeGRhBMc7LcQ9z3RwY4LRdQbh0VD/qzZr
91NBG5xsNgafxwFQN52FcfK3z1VHXPGMAKTc2qKB4+0C/r2xyyKcm+DHbdoapqvFWBgXse6YjwA0
8bz80hbO5zbrTmwyDQDTkVf0NvMtn1D0+Jx5itjHcR9pvqDe3VRhrePM9bOvzAIF1x1UhyPbMOL9
Npj9L6UHbJ77WHP96CviNbFpmXELEmPxo8jzmEzVZTKiY7/NGltFJKiHeioE3/h5wZUs5PYU9Rw3
YT4NBqv8NnNsV9HXoZmqrCPUP9crHind3kmjeSnuiwZtNYmEaQY2IZ3nA2rRiZtpPxa9c1y8PL7N
fN3ilai2qtvKWrfUB4Av8he5nJywJfc17NtqxqhHrRJqK2Z+BtkirPz910JN2SjNsaopo7maZtIF
i/8VQXkyuzzxwJ/NNj1y68grrhaVbfW4DDY/7xgluVlfYBvO/Xbf+7OtZo126o5dU+z87NtjtKBD
OMvWQzCYpo7oFn/9/5VGbV5rozgJ5CeAziwuijeyOc6NFdA68orCiiKzauJBo+ypRp4xfcast7id
TLAbOvKKey2FBApis3Jk6/yjW5cv6L1M1sGEhfR2EIXhUv/LHK8gdll1BVafZ0fUXFmnYS/raOtI
8Gw53ekuvVIhBspuxLiOoOLnAsDnp20og2gcPFP3sW4PitYyp5zF3riQn0UCK+2H067olMsqO7TT
3NS8o/mImkUa5MK7IKv8r9PG/q3IGFtZV4RTiql1g+kR9O2neVvNJeEyN45STPzsNbSLCcB5pml6
lCN/4kv73Z6su+IGW8UGW1YyI2rAcci+K7+KovHFcUw3Wh9uH/c1RPg7xWCrCaWln2TaDpKfU7Yc
cMuIsrlJSNtHe/snAKpvxUxP9hqD/VduSfhkEhs4xhgZIguAfNFq0jxNVYGtIgtUnSwBf9XzMxVO
wvfzbC3/NCXqmRz0DNM87OUPZ1s/TVtlUBMd3xRd94ty9+ym8k9WwyPmXWzMPGi2n071L10f13G8
z0WrGaC9g5ub/MY/ZayOq8aLhuA+CCJbhRkAENeyuaQmF7kf1yoPm+VDnRme6TSWUAUZsCbPcryy
JRdm0yCZ3Cl/EGOQhYJPP2/L7ZvSRAI1AbQTF9NVPHyhkzWmzW+YA2EIeHWUryf+ygdl+T6Ne1qS
y1DzpMHcE2nqa3jz1Q9rVlwzntDLNB8qcpk372dV7w894Q/5MmLqOcZSBu4FFUhfgW/7720WvSmi
+NzVPL7aiFiGWhQBNjJdR0uzg1sAzLn+MW0ySvuPlnNXHgvfuQrBq++0DrDK+hzbuj5LkGPJjrfX
/7ZSg7DirnuvmGWAgqGzwCm0+XIc2iEUcg+X5nM9slO6srisvtXTy+0P6him6HRad6KA4Ka4i0zx
FhTxUvyCoMG5fvNqJ3Tv68TExhRPLny6ubuA6mFkbh4iZAPQaWkaP/Ffjc1fJh3UlWtylmes6q7U
WZkQdgr2n8B7AFzMuZ/rx2V8KoufgfeOjHkINxIOzsei+upy58NtJr7pGPF1xcOv0xywfoVh7Bf5
DoVvG0V1clufpB3z0SDZb5oXEqgpJB9DWnwvX+hlGS4AWy/aF2Ka/qsjrWj/yDmnZTnTi2SPrZsE
MnFND2060or6Y/Cvky3lRi/l+JTOD1Xzm6LV9zbXNUZLbdXP9rRC9yWnF8t/KP0vgt2DmQVOX/fy
SreXNRhK5k/0Uo0o0z6yg+9Fd819BW1FvT1fzICu9OmFZl48dznQT0ywLW/DWIG2qsp2I+0einDJ
noo87B6m43ra3yHL4iZj1BzvumzhM4oij0VV1S6GX17IeKw3AOc+jqZmvrcbX0FbUWMnyx0PpVvs
gtk9cY8d1MdVhPnTltCkTtKDCRhZJ5aKwgZ8m+vOwZwIKerYbbbnoSsighEJd0mmmhTK3B5oCZlH
Lw6tkrVqzt1ouozqWKR26Rfp1Ndzs0OCvm9R/9AkWQzYrcfll3W8cmgzOKI37xMkUCt/RoAWEacR
7OIXLUbJo0j+iTtuaNWGiENHX3HUwD+1fAoEtMt4bXHeT2vpRJv7VM0Gk6w5YXXeo5tVOe9sGB62
JqWbAA/LMzXKa+yOOueRW3iDKQbYh9IRKI/fP/RZZ8jk60grKtwJWs2o8Ydc7hg2fewWQyGajq6i
s3vd0LwpQHfwcIQnbioN0NkcFTRgY/ZUBf4IY/B+OrDEOe1AQy5D/wjgPFgc7/NthdJJi6KvRe+N
2Xjli98+yyFccEFbyUfqfbpN/u06NxKo6SZrGaRjtzm7jEl6pIf1NJ7lQxGW8RKaoPI0R6CmnEQm
547ZUChALHwSwH08cml1ye0NaKRdhbdF261dugw2ubGSgIdZcapNzSAa1qtgAH1u4WEkvYpO/tUH
qnNHQjFGfL3ct/Lrjl45230elhSNvPQyZ5+LMULLYShdg43Rsfz6/yvapeyq1soJTOXA2ljktIkD
y1TtrSOuqKq7zWubXlVqLIFf4EvA/n65zRIdxxVl5SUrp2FxoFPdM+vQcDWHkh0Kdlf9PoRdcbKp
V5KxnxDukS0JgOAs2XtaGGInnSAqijqWzeqKHmbXa985zmFvXvrFYNE1bFGzSbklc29ZIeN5i0et
7FDVD1b3a8qT21zXmTK1uz/P15GPGw6060/dQ5cUcRkB5nCL8K4Zd0d+uPM7Ski8O1SgUwAsEl+s
jySZjvTb9M35IJ+cAyYdmHJvmoNQG/7dFAWEWYUwwXKeHPew5J/RM3Z7BxrJV8c5Ol1KRjSV0wuG
u+bzh7r/eB9dRV2nqi7QKAN1zaZ/9rqOnfTOqFud3uiOmKRWTmBGjTc+2EbT67SOE4qmNoDYHOT1
ppDW8W4fJ26QRR1dRUMnQNHPsoeGNgI5tkdqWq9OKBTtFPPKCjYzCIX4PI9nLyWhZZIKDW21U19I
iwkMLYDm5wWQJWynCRm14176hqBa9wHllspHt2zb6+KH9sWx/mFDEiyGYFdHWlXJwslHgEmA3/1p
TmNSAETcQFpzlOqERtF1W2cTGPOmSY9sc/6Zm94Q1OlWff3/lXtLF79clw5SvRSncoorB1VWh9uq
qCOtqKLVW0PdtLjA0PQrT/Mw6L7Q+ddt2jqOKI5TbB7mfjS4tpdBB18PzelNZaQaF6E25e+FR+ns
4Rxr++T6T+6Cvs803jzTuDtdnEgVxRT5QrYMkBQXy42aq49IxLFnoZ24cZkYZ9VfOfHGYxZV1BT6
Y3sOkNgvyzk9Ylb9I9nD9OSFS9wclpPzkv5710mojfpcyC1tVpivwo199+E+RDw05CuaWnisLHoJ
T70Phz2IZxOkqEYq1fb8WZBWFC4khwJ2oU3s4DnIDW1MOu+vzl+U4zp4/Y41z4mTkLg97n0E5Jqo
OWyn9rH65zbHdTu4/v9KZfGAP1WbgA3L/AcnDa3+yb2rHgZMV1S29tE+MPhQ2Ym072qWPnrWz9uL
1iis2pvvbLwMHApxpDzK6NE1eaP/xlC9IedEcZ/TIhs61eA5ffY+uNEQksfyOX2Sv/bIOvZH8X7/
dnsHuudhougt9wo/HQbEXPZxT67XVCuI00+zCId4id04OzhLZIuwNyEN6FimaDCgFIGJM/j04o7F
sQ34c89lfHsvGtJqc35LarshmD572epj7iacHW7T1Yim2pDvTqj+rjFq/NLan9I/ORJXRWkgrckB
qe34YqDcmrjvXHhefVrbLAGsPpucNeqLd4Esw706YJK6QZM1PkBtz++H2h6BYgkf0By9kYfL+i4l
T3NvavK6xgRvCK3anF/liyWKFkbTTV/S/KXzSOLbnxzAA/uZMJyx7hvXs39lJvbRFn4usIfW/oDU
j+BrKOgvVJ70SGrcPm4dmxQvjEp1Zq0edy7b/lzRB2TB474MAbJv2IJOnBTd7tGCkosRttpZ33Uy
3uXP0hQI6my1WmWF+gwx7SJwLh2eJiOWkBPSLVM4xfsBViOml9ss0mmaosSNS3u/3RBf8Wasf5Cg
GV+sFEWMt6lrDkAtt3Jk1thFChPRz19RSzQzjMqSkZyS2+Q1i1crrviKF+2mxPnm8GPt9904ulBz
sOpcFx5krFgKxFiuzZL0TzCRh2X/eXvROp5c/38l9wHJWJk1sG11/rAC7XL8M1hnZzAk6HUsue7o
FfVaFg2YglsV298x2zlknmswcDqeXL/4ivLOcBP0ggFuvXiaUIq9fq98w4uwTtj/ywO8om0jhQbE
cRwkalPei1OTpLGM1yxaDxWeWE035Gto9oZV++/rr76yp9Nay+s7rtMECdKmrDvMewWJ5CgFiJw7
L1pqoZXM7aFvd1iFbH0Mhj8YlpWaWh40NvO/hPqrHQBJmOwz9PPS+A+cH6aGnOqhOdjriKEq9um2
gGpESK2ysuzJ8/iM9RdsiSgmjPP7kMExckYJmjOrFXtAhXsJaud5ERVPqFdQgzXQKJZaUbXKrhFN
B+aI4N0mALDdduH6PRO+wZvo+KIo7pqie9Vpr0+WffHJmTHCpnIqU/2cjriitxkB7FfaL85vIETh
3T8YUD5g7/dSV3SXoBgM5fXE+c29gUee5HPYzKZ8jsYwqPMW4QGboSwQ79s+5oxmW2GhZC4Yn/FE
msf3iaTiaIu1K7mX4WhxifMwBbm9U9SVkBlYI1OKeb7uJfdiiyZDY3i10Imi4lUl8cUu8gAsKYaQ
ueFUiWjlUTDdtW6uFklNfeNcmxr4uW0mZOh6GQF8ylRl+bYocnXYYjcuZb/WJaqWgraIiRz950B0
Jp/9X0Xx31aYq8VSbeX4kgrkiPAud/r/7K514TGPySU9TbFzcE9sCU2u5W3hRLP6/3otEeRj6ucQ
Th/ggpPbncRME1rlL7cF8+2D5mqJVAVc77ZYbbxijB7qEdHz2aYZIIDHUyvEXcE+V6ulJmvoetvF
FnK3DdcR17g16ta4NY2/1J23EiUzVs+i6x1+Jqz+YaWAXCvq9p4WQMLVgihYG8pr3ju/t7QcEzfN
RDTti5t4mzTBCmiKBbhaFiVt0vLSRsjjID2LAZ4oFvCj/cNVlOokiPvk9lHrJEnRaV+I2t1WfCYb
Tyg3Drk8COfzbdqaI1Drnpy05zlGCCLbAI3DkNAHdF0cbpPWLFvtm68HzH8O1hUZn+AHax5ygrLs
4stt2rplX8OUV+FIbaV+sfCteCwKXKUxjsMP/bY1ENct/Kpyr4i7NurMUsxAuUgPqKN++thvxZEO
JjukW/v1s6/Ir7MPuNEM109/a9+L1vnlFvmn22y5rvANC6fWP3XIeyMGd/H4C01N/wzZGI6iD702
vk1ft3RFYR2eTcidwCA03i/RPXtFch9dxctWzJ2a1b4+42M8Sb185f3xNmHdUSpu1seoEwzcAuE5
LyI09ezZJzb/uE1bx2xFLRdvsodugAXuxBSnLqbCTdFWfN6JwYJpmK2WOYkZo5eIB7Xf89pBfa3d
xss8GohrFq/WOQVlYJeBFRTA1C/ZHHZu561htUrrAFxcp0DAkFufb/NJtw9FV70eM4wWARPTew/D
3EQe5vPdpqzbxPX/V5pUppiAPfle8Tgw78Gz7AtK0mPUfSRTftewM8LVQid7RLNvD1BWjHYKxsvA
szaB27r0dTCeSm+6C00Zn7ny7tVO9nKc2oZXyL4NP7vqT2tKu+t4ryjs2sKMzQ0pHsXSFIedyC/z
anv3xYLq/KgO4mlxuygeO3/j2VPX+m32u2B759z1pMDVVPhk1RWGatbwr5uHzo794ACr+S7RYQrD
Bctdr0GF62NXouMsly+cZd8awNuVAgO+7/qGWr2FvnegBHgtBL+Pve0fav9xncix7uq2gMwo9seq
vSpw5w4lMjTyERYUALxvDO8iGrupVmwNdG0Wq5TX1Ptj1j607pM0iaSOtHITZ1Nmd4MDHzKUH5e5
QmL1eclNMKM64qqtqTEWz1qw7jH7nPvhitRe13+/fZw62oq12bt06XqC47Tq97y+rPVxtgyapCN9
/f+V+lto/UJHVo9bW/oxF13s1gF6Fe8krog6mTtMJu4gJ3P3LNofTvAuG+9TUE8xLzvgDwlpS0g4
H5LJsp//j7Mr65EUZ7a/CAkDNvAK5FKVlVVdWy/zgrq/7mYzu1l//T3MU11POS3xMiOV1E4TjgiH
7RPnZJlOAlKRuZhUEkzo9eVVhYw45g/1fCwHTeCrTC1VBAsUB21aw0OWwQi60rkTPgnKXmhgFIot
SW75N9t4nXIXFuHJqUIvRFkbAe2+Mr6L68r2ZJzWRrRf+TZe9QpnWH55Y5I+um5b/eoTw3/d5egy
VGtqFk+QusKdh0fQKjvcrdA+6kvdZahiZeX2fzRCZawUiKM8vnL7H7xS7Zu2FJ/gcBILW1HS8EU4
oKWeeGA1qRXiUlTHxKaauuTvbVYNnmVgQyqse9P9Sum+wzyVnH2sBjNdQT/7MoHB8k9NpmAuoKT0
fNswCp+UNUq6hFUQF8asBWgmLdKHICAXQZXyS9a4L/t+Q9qMWAleQzbBZ0yeBjW/WNkXUHEGo66J
RtG55ckAqM4GTYrrxujOK5NwqU7D+MOk9C6r7NAe39v2AIK5IKeZ5uCgWGlZumRE/1zVeK79Yq2H
YTgTHQ2AYi1k3ZJ1pSQuOt9+cUHuHP9pVh4SdgQjxmHXOsiAKGOdG56BnfGlyR5acl3FGphWaOn2
EpVZ5I0qnWJiiSq9OAIq9CZ6O4I5XvblHVm2hC8QjWYW/HQw76rmdRCHWtc9qpq3FLgQxW2cGMjK
F39Ct1EDrbJSRyev2FD+g4pyMrqkfMsJaxOlk32tGQ9HJz3eXlDVzKX9qs99ynMThaqVjz8HG0z+
ttd4O71citqu6x2a24b9kq5Hlj7Wzr66QIY+UZO3CZTbiovpVue1wDGJGbYV3baIAibmyQCowU0s
1k6Y9XhEhw7ARHMZJA+oUqPlLHTUTAq7y2goKFv2ibdmON3HvP2nLPzsEQ1VOtl61ejSXlWgwMNW
UheXhDuvzJ/WKE9mT1PiKHKMrFVCRTWhW3Ir+MbLakarAJ95f+TG79v2V819+/uHYnW0FhwpwZv0
Yvkg/7OM82jpqB5VQ0th2oskb1uL2i8ZhLLTKotKqiVb3vbST+7GZDhUUqVG55IUd0yjHxgLQFBl
88PiL4IBGpDcexU7Ou7zgh7WcvVB/ruLm932ZHCUGc987hgy/lD9cdeXrreDNdm5FFL82r23mHWB
d2W8Y4OMyMKl97MFUjrNpv7pchBPFlawt+p+gnDCFS+9Fkjcdr3zgMNrQzJ98KBuKLLSK5b62tRP
s/Od645RivnKqIyMNCBfj6f6KkTl4j6utALHo5UmrFSjS2dLixTEz5lXXfESshRHTwdH3/79fxwT
1pBywcjRrFq1sIa5VAHE24vskXqPjB/rWPOO8+kWhV+Qdu0sr5bUo2Z9zdCFTsD0Qn91ue4VRGWW
7e8fFrPvU0+MDsxSmFVgi59a2IdqYCkZeMVK7dGPq2tuiwM17NBYNYc0lT22FPFhysvcuuA3xsjN
3AWTeZ6BDjK9PcdtGFvasCGHhngvMXgmjjkGJkXgAetxO/eqZi4FfFP56VK6fnWd3FezjCrnH2MX
+IJ4MvhiNQw3I21XX+36yfKvhU5sTTFlGXnhW3bDfQ/+0QjkXeecpCU4wQ637aHwERl5QQfuJLyH
scsF1X+XHCCzrDH15697MIgUl4aYjQV319UVIkfes3ffn+IoNQNgp5bAOOX39a9dD3z4pc10H/yx
8y3q5cKtrl32zpwgce/m5LjPQFJ0DkxMK0cVdnUQ+cth0j1iqVZVCs6C9nXVCaO6ttVjXIfCeyx0
NzRKw0vhmZnJUmbOYF8sM3beHDsljwMUfsJiqPLAzDMeFNDXC5w5/2dsyXNtpvfoP2pCi8VzmHbr
LpgxlkWKZFEWqTlVcIDcg/5pG0fod9Q4l8pvpTjG02VaVR7Mt4KgNm+SQ7eYmqE/R2MTV4Zo5Og6
GONtabx3iMXeke9rVBzSyA/7Y44rke9LZJ11cJDP3cCVERtZ7xWlj4P+tVm/oDju+ofJ3+W5rozW
yIeV59MI61eje4W7hS4Z99xuw0JSZBeeZVsgi6qvrvV3zt/q9rmpX27Hm8ogUijb8UBcoxUCLKLN
K8+sZxTJ52bUkTephpfC2VisdLRdrG2f5K+iWMLBi1+HWFeKKELP9aWw5gL9Uw7ZMlFU/qTH9pRG
8Pn5fg3Z0bywl+LbbTN97v+ujM5AK2jrdNVWNAwP1HttdU0PqnGlkLXrBgSOBE5j2d9n1H+PbrMw
zaF2847/1mmuTEPjTpZdmxBpPa2oGsbkRMSZUDNkOuYPxdxlKEZCk7pIW1pdUeqY7GHREa58Xl+6
Mg4Dsm5r1xWzuPigb+xqEvR9exEEW1gGlvh95YMryxgU1uT6beNgo/Ff1+XcdOFtT1FYXaahaaHU
Xg0UOzxaM0LLOFgL0tn6WA1vt8dXRJRMR8PrfOHcGOvrZEFSe4S09kSiMU6jfcNvi/1ha1/ZzC0g
oasrtf+3GC9r97IOGn9U+YsUq3k+Zl0ttqHzn+7g37lEd45S2UTagHGP7rOezojOcg2bBuK7v4Qu
96rWU4rQwTfNLndIdRVsCdr0Soq/LfBBuj5ZlVGkjXUZ8r7yraS+QqoG5LlOBGkWzcaqsIqMx+Bm
TUmyYuaV95MnD9jBA+20VYlXxmPMbtMYZMW8u+/VnRGQoH73wwz6T7jVSg9+tIuah7gy8QxtTECE
ZnyEWzWBk129cgzLXXzXGFzaVxdhi2qosDs1FPoZnQhm3duOYlllGEZNM1HlNUbukosoXoUOpKm0
uxSfeA0kE4ew7NV6HqPkTM5eRB67gxesh/yQRIam4lDNX4rVhTFnozGHZQp6t0CIe/VGDSeEIqBk
FAZ41/m6+K24WKV4XsfpSlv7sKbonrUTzU+oZi/FrAPmt7HrsFuP5pel+FUYmsZBVURJwcoyd62M
FKs6xj9n43ttfpmX77fz7ueNHSDklu6YKugpF7OBORvn+HnrSWwu3usa2mF5TCLdU6bC9jLrjDf6
RkXKFBdk9WPcHEWDjovhtPBdeDt8hHTltFpjXHUEKd7kB6e7m+fTbesoFlRmnfGgxQQiR5R5Xj4H
AHeM6/O+gbeV/rDdpa7De6hvYLe2mnvquSG3c82cFc4iCxnkk5ka/nZk8ugIeWznUK3Y89iuG3mY
WopQAQFHa7DgL52fhW09htNURPuMIm+nuPxYra2obtjfKrna3fvtcVUWkcJyGOvGYoAuXNBZdGTd
73Jqzl4y7tvuZCSDW9kJXo3h2z59wSHJonmANwvN4IrAkVEMfcegMNmhTi+L1zp5Gox7br5P2b68
IgMYeJykkPDBWpLlyN1n04pyorlKVUSODF6YFp7ZBYMXJnX8OxksESCWNAWdYj1lUhmRrfNM4i2b
uBcB7IjjnS0tnaMqIcpguokaZl2DXuEqjsPBPODdLCxOzqt1rI/J0TjuckkZVucurYf+ewbzzP9U
w2OyPJqO5l5V5TJSgJZF1UzmdmQcLPQQJZe0gxgLOlR30WITV8ZgLBMQGDWIka+Lw+6GPL3wXBP/
nzeeYGgpUNPWt+J6S7fWafhKIvuCB2jnBz3Erw9ALxxMEUCEodd1i6lqGiptqyVNCtHHsJR/tmhA
js0xPXpv5hP0ng/TXXrQZWTFisiQjGIujJzM+Cw6LuE8u+e1sw9sNAJmuppFV4TEf2AY68jNZV1w
Tya+N/4Q8DYNMh0TmGpwaXdNKZoCUxNHS9tmB6hXhw3YaYSj05ZRmWf7+4e90CWOwYmNZTBKLyzY
kbenKrEC392Xipztsz6MH4vMsHwTJ1e2nIbubhw01Z7KLFvq+zBuMdklFB+Qm736t+Mdcv8Rmke3
04MiezpSDNf52Lfjggc6I0+jyqoiMuv2723RPrmdkWEY5pgMbY4u8qvtndr8yzqAGjyGRstBuLqz
vGr2UhjjLpgilDH7tDziORSP9ret8jmggbgyI03u5rnj1fCU9M472VFyL+7ruw78iEm0i7CMuDIi
Q7ikBekonCVNfpbFqe++9zpFeVW+kfEYdWqYTZYgjoqvcx0k5+2hZAzxgG7f26EVZFrqHkVEyZiM
ysnXrLLi5eInlyZ7Iv43cGi7ia0pShQuJJPUDAOp/WX1l4vRVi+z/SdeQXBk5BcIDwd+ouNVVoSX
jM6o0SDcplsMzMQFeUkXLNZwahsS3nYm1fBS9Io4h+DglnWS/leawzw42OoOVaqxpfAFaVLW9LWJ
LZgelxrOmdAgGwvNq6wivGSAhlHVswUmVcx8sAPb7cNl3nf6liEYojaWdqTYqGL+zSvZm1/X3/ZZ
W9pqfbtr0D6HrIOOscgA+GiZqpe6mzWZwfs8qclsNGkvYoCD4PAdiLyo/TUml2kTJsjjoJoPi6tj
3lIsrMxOYyedB8tPeLMmzwWN+v4+1Q2tCCqZnQZaE4vVZKK+LtkdYP7WMAaTe4pxg9vrEHiqFy+Z
lKZeHKPM+IxT59/p4IQkyCPxi0XTd+c4RUm45dFEs+CqFdks+GFzhODmNJYc9X8s6JNtD+9xCREY
m7VRbVmRYY+HKR1Pu5zLkkI5T2JRzltAWOkcdBmJIAISQKBZ41yKeJPFwCaecMBCEBVd/SRW/FeT
gVQmko67kG5KxyzDVWZJ3vDydRc373F9JVV/AdeFm37dZxx5M57H1IceRX2Ni9cGL494daj3VSky
7KkgNfUzF7cuE32t6/Qg0lFTzipMLgOfSAy+wnbB8ahKT65zHYt9xpCBT83c8riacL041acSTFuU
hXn6v9uGVs15C+wPHh979eRTPFhflrJJgwLFeJBb/a/bg39OUkZcGfzkDus44EHTO7n1W8bvcnMK
Ruu3yN+X+YdImgMt8yAf3+P43YfWiJW/NzoktiIxyaAoWvTxJBpULQOLQ888e+bX1DoJngRaR1JE
wr8f/cF0gnVuUbbD9jpuVBEE1gOfkC+Vsb7WHQiwfRss5Pxw25KqZZL25qG2YvCl4vXQBaW/Q73v
jEKkaN/YUkQ37tDirIFTWG3de4BKirt940oxnLt+mpQOlgDvQZG5rtGcawJCZQ1pX7bnvPB74i6X
wUwi2+FRi8Pj7Umryl0ZKNVXNnXmbit3u8A6ef8Smntv0xCUD86xO8Wh7q1G8REycmpumOmgzR03
NmUVxB7wqZYOFqTY8GXcVGoKB53FyP1J8xsIF9zsZUFq71K9Jq6MnOotKxsMgBqvQ/naseLQLus+
L5eRUubYNSLzUd2Cq2YKweywBqXratyRfV5tyYpfXpI44JDHtA1xN4o/WXeXj5HR7YJlwypShPKY
VqYHxO7FBT3Q2px9gwaNeXAnTf2sWlMpSoXZ2l7mt0C1QPuO+NlB1CJiEH647feq4aVgXYUjgAae
8ULZXCt27fvvPNFsi6q7SVncK0nS2UjwknVdnzZhkv4E2Pf6XNxt8eTelZoLk8+/gMnAqAabWD9n
a311Yqi8C39NQ7CpuyH8dYpuG0mxnzEZEOXGtV0sM45I9quwoXgXOGEVxQBfUR71A4g3+SE5Eo3D
KgpfJmOk2qR3+2b7NZIc+B3Jgj7g+DVIVEPmMuRfl0iE6cHVfJzKflvcfNjOunIqmeMiaZhODZGI
6b2tTHQdD6+3bfd5umMyo00LAogxbZv6WrtLBG2BqGX7XmCYTGRjG6W1jh18N5mcqHeLMO92HS0B
4///NqlsMxtBWrZc6IIJt03Ies1JQ2VtKZwbd47nydsutGIRFJxDxqULEl/zRKIythTNwsXTZeJi
EyNm+rCa9jdhNppoVk1c2nuz0jXrieHYMo7fFn7HxxXX9RqPV0xbxkhZqUEHa0b+b7vue+pnY+iU
zqrZ2VWDb2XcB/8ebOZ1lZ3hSOGx4YjOKOupK2cdNE1RNzAZIZU2C09pL7ZT6hJut2RlWITJXf2w
RGWURTujVAZMDWbViI7gMByXSZAYdjDSSOj2GJWJtjX/YKKpSQkRM76hj3k01ElI/MPt6Fd4jUxd
Q+2ZjlDtRi04gctgnO0qmH2fh7496g6mn1f8TFbwgmZkb09d5p82HqUBL+pxEsQWZCqTIsx0d02f
FxFM1u9y154BH4gignTxEILpgJ3WvKvOy9L98rIs/rLPXFL88tXqK4pOr+tcPWEZBL3MOtoKlZmk
+F2SrGAxASTGs+mhY9Mjz+1oXtid7Wb3TrFLtJowGU6FgSfSFEj3E72UkALq7xtdulesgQym6taC
pzPFU2fGlsihySPrqjq0/D7owNcT3V4BRSjISCp7rpux2xBbTd6goaE9+FoJGdXQ0kYr/CG1IXGG
9wARn0a6vo47byCYDKRqPbfNmmzEnVJ+1zjHttBUh6opb3//kBistDOmSQzwR3QDLGsC8RhnX13g
Slvs5JvxKjJYw+k5yJqrsEn/3F5CRc6RoVNmGUOIYUTLS8sv5XQ/ZmE9/N03tBSfgmV8TAS8Y6Ds
7Ew/48l+ErqrC5WxpQgd26QqyAKLDCkL0O8XNa3udKswiQybWpeZp3aFmyRjzM/GnEal4X2f/XRf
bSADpuyyHu14yeurh87xtvlJhRv0/Pm2zX342n+fAJmMlqIlrO6DCwO3a/NPUqR9EOcJyOG8YGzX
S9bhjhbdSAHkyDROr6q/ZRyV3xWxycBTcp3uE8iGhu1XJ+zD9MgghxXUXVTfbcoV/U7jbWv2Ica8
1RySOnUQCDF4uSv+lVvLgbFZYz7V0kshLJo1S90U50eTXmIRQURY6Ii6VENLITz2mDujWBm+fskp
5n9PdVA25RpIdfJaZJ0jcoztFUHx1bpHb3/gioDdFVkw4QgWpucGh0hfU/CrPkUKbLPjS4EuOSCX
UF5Nww+/PDli3wFVhlwxaqARzMICj+I8doAKNA+r/+d2cChyhoy48gUzaEM7JGhKwqYgB7fsD7eH
VphEhluN48BZxpBGiUBzAZ/DBBcQsck1UaYafqtTPrh9Rixnrg0EmU1Y4JZHaOkGra85UChyhoy5
KpK6tvA0gXKNm1/jRpxLWj93zhiZjP9iZnoayu0hGxCL27ZSFFcyCstKzLXpDZQmbvPWidee/+pB
pLHET/mUaH5CtdJSHJeUJzG6RPFJLA9i+3+xTj1bNbAUxcbqjnwoUNqOVhpu71Fjo+uHU62xFMSJ
cBrHR9c2ghg1+TKH+VpFrvW2z+hSzFZ51o0xHvWvhglmdz4ffXt+Jt0acmM9WGLdl59l3JUJtC51
nAatDe45dZ6S+Inv4oIkTIZa0bIVljUj6/TGF8d7SnWVsmJJZXxVR1gHaEixdb84BCKIHjlOs6nr
mNgOzp9syDLZjclBHjCB3/eE8i101/TZHL91IjkQmwR0JiFvdU+lirCSaW9oVdqNuWW3kgx/aAsF
TYOj4P+epdVjbelI8FXW2rz3QyZKsno0bdv1Tv7aHAove2uLToP9VH3A9pMfhrZLnqWDgyQ39vel
e4zdLugp3ovqY2/qmsdV05fiN87mcaAGan/a37vjEbott8NLEbwy9AocHas/5PD7MXmZ+5MNAcly
F4ErHF8KXS7aom1FhfOKeTXmBxbfW4PmCK0yh1RF4+kRz/UjUv8y4WXRLu6op+tdVVhERlvVLM+L
aUU6Q/9XNHX2L3+iz92qE0dVAEqZjLiCsklS0xynrelZRJsysPGtDRMQDUTmXcoDcTBO1jkroMao
uRpTnKhl5FVCF9tcO+wp8zL/6Xt+MBr8MPfOQHEcb3uRYjlk9JW91uU4LTm2gOYyV11oavH3qslL
YWu5PRd+t5U+5jfP+p/vvdrFI8dL8+2Jqy72ZG2wNe8NnpO4/BdZTY9bs3VzccPu0N9tmuG6ylP5
O1L84krAmZuOA/B53V4ds2d2t76QE1B2h+ZkvM2auFC8xjAZiFXhfapPaYIbxPf5uGmijOf+Rw/5
Hw61Np1QqypEpMB2pxXUVgOWeyZfO+vg1M/+pNmHVZ4kBXZFV772E+5xXTA3tDQ9ZO0+kDiTAVl2
Zrlzn2HoNTs4xlEr1qawhgzAygqa2mOC64I8rx+g53UmS3tAFGhiSxEB/wFhjRDJKGYYW/SHkn1Z
QZVHjMd2b4kuA7B4JehobJe3g589dOyr78A83DjcDjDV7KX4LZDqqtwC5orlZ2c8Z/kY9GDKsXTU
UCrjb370Ye8dOSCTKYe/r1Ue4SqSjE3EdX6ucEYZZZXigqD1ty7dpPkCQLJWrVFRMFhSxWwUvut2
W5C65CurXivnuyFwPWZEFdNs64qjkawDRnxR2a0PRIlXH32UtPNIjqmbHZvpADn3B/DKBtSdNOcw
1RpLMSsyqyvyzCiv0Bda/SIQ7B/T+uvU32+7kGKJZeDVTJO5bHrcO7GhiTpwnwcDa8N42nkjJwOw
qmEoa5FjNRzHvItNI2xz3Y2cYqFlRbCKmT1LC7+8xm0djmu0Llcz+cnrQys0CV/hojIGa5wmL2Wx
V26HCxOHC113pOox/N8rmw+BBULvsjPXfzcSdwjYfXM0HvNf1hDUD+Zx0+PuL4bm6kT1DVIM99Ri
A6VVfS1c90Da9oyLYt3+rgiEf/fjD5/RxmzhMR6kAM/3n/wuct6JCLY3/e4wRfXDfGif+DsNx6/t
MT3szBv/bs4ffjRtxJz3W598jSvSFqBPNLNrPkhlK2nrpc5I07FHvVL49gmUm6dYpz6kCjMpioHH
ySwvBlAsJv2ht9so7ilIlnWhoBheRl5BrqAe5hTDz5N9wft4FlAONbJGEweq4bdj7AeT115cpWCY
RRCX5cmi6TEx2i9+7mhykCLFyZirauHGMOHq/jpVX/z2rfF+uE0eeFzTtqMq22TUlVNWzMEFBKZ/
wuty2INAwH0n9+zY4AUy2CVcRZiMwBqBfh5LwBmvbhH3R2fE+2nqTzq5BYVryhAsDn+x3XbF6A4L
wPgROejj2bUFyPArvIoD+j8jjwrUD2S9NLhlqqfj7cFV85Z34ylPxiqBZ5Z2cSxxe76miWbeqqGl
aIWkSzn4I4aGsnln32mB+Spvl2JVEKsxsBOiS9C/T7Oosc5cx1KkOKlQGWmV5atVGw4yDLi6hgP7
656Tg38o6sAcQoLDynDud4HeqIy3apt+5EmBXzJtM2JQF4nzFxJrDhKKkIKK0P/PCItTVFXGMHr+
AITycT0Xof9e4lEnPcShLqI+Xwgqs1GJioO1yN02+O6XOfworIdc93SqGnr7+4eMNhh1Dj1R7Ozp
+qWxDlnz5upA8qqhN3f9MHS/6X2WCTZcq39x6qPdv2hFS1RDS+fcmXTCibsNGVD+HYwEhJgvQkea
83kSpjLxVDM1XjaI7QDHzkVx8KYucMzAF2+384Bq6lKw1hNFdvHsEjfNkF0yaTD3XTj3ugdH1eyl
mB2neV5BSoyXFsj6TWs45HhsqZ+WXYJsBPdd/39RLQigDF2HMjnDYWV69YkmPSrMIlNQzaVp9FNn
lldi/Z6LsPFeuR/usriMqqrQUstjjikXBb2gBeJPmfAHPElp6kqFxWU0lchITqmLO9NiyI52FnnD
M3PGQ5HpuoQ/T+9U5p8yRjLk61bnJcYXUT06OldRmVyKT6PPoQVoweTmYoWF/7UbRWBRzW21atJS
hOLcmRrriPtNh47gDzGOqbmPAprJAZr1bebOdcFexgrMvcgwJLA8/9sOZ7GZLNi3mlYKwsIVvORG
cnLy8pDO2cWc5sPt4T/fLzC+FJ8zGaE5nXH2MoXkyEJcgohIQDmbAcc8T6HuYPWp+YFKlMLUHcVs
tmjxv28NmoZFvrRhPi26OlI1ulQGJ2lXW33XFC9Lkx36Eq2GFTu49hCu49+hddCayaOx/T2nQ9hR
IypA6eokAbf3rZEc0LFVrKD4bNlLl4CNLeUE4MgsBeVq5+saBlVfuAX7h70LIE87NbwsvYCvJkzn
MeqNeE+1hqXZwvHj0FYyD6uds5daDBjaP9WxjkhXNevt7x+GnsRaksl2YBgKZEMsQqtLNUn00yyH
WUvxnPYNRIIqk77QDLDLJQ9Y9T5YX/PYiG5HxqfZCD8g18f+XDRT38X33pzcjyV5SIvhm1/rtt3N
Nf/z0IjhpW13ZWScegecHXilOFbQve75l5RwCJEM973/y5p0nVCqH5ICnHGjzdManuOaaGy35zvH
/das1nXx5gN6rvpyPd02mOKHZHSk4WzXhhmENozYDpp8OTSGFxUZhVxRE8TUhUrionFZxeLLaMnR
ErloQeR6MRo6RxWp34plNA5AUpVP7jJrtgzVB0mldBGTIbaMDpZzwMru1kG9jseGNuE84X4DF3J5
q4MSf3pfYzOZhs5JB752tMRPtX6U1GjkeTcAEi8zE0AOM0hnsA61GuMpglLGU3YjNTPezwwip4s4
t9Ygji3J53/2eYEU8iweXFdAUecyl300JzzojSrsez9qqxE9W7/sREcaowhQGWRp1i3ISmp8ByMn
379Y/Aiy0H0fIcU+HpPmlNp9eultGlqjG1o9f+KiiRrxsFi/Specb/+Q6hukLDA7MSC5aZteTG9O
zzO0sM9pzyHGwmPd1ZnqJ6T4zyYfvUMLoS9JPYkWisIMVyti7cZ/JjoDurLrQ2RURgV9IIPMWXGh
Oe0OAH5AD6rlZljNCdn3EzLOcxB0EGRBQo4n8gSKdjw4ZU+OM2nSlyIsZJxnNg312PAFVVycWVFX
pm/+0LF9m4mM8/TLJVmyhrGX1YfyoZkc8zoN+lyn/KJYYxnUWa1tTTInd3+3g90fqjZOH4m5+IEA
c42mxlL9xPb3D1t5X2UrKbYvMDuAFsGq5iQ/bah+7XIfmSkvi5d64hSSQRM4pQDNCDrwZPnzLmI4
m8lMeS3tCpFCpv1CvOvqxkHWtlFKd87dkixjLs5Uk6K4lENzdJzk4tfoapuanYaXU0Ser2WWY+4t
O67+FKx/+nif0AuT0ZvZ1DiiYRjbJQm25+ci+WkyzTWXIp5k9GbMBOBNK5Y0bn5Toz0spU5PcNt/
PymdZPCmUZOcsRqzNvo0Stk1y38t3XkrBfdpiTKZMm/w5zbvffzCsFQRzV2I+gwPkCg73vZ21QdI
xbzpGjPBGbq41OSNMezwaxCTP5YTmt0uiRObyaDNMWaVAY7Y4lLZXyZThNmoOy4oEoHMl9fMo+XN
NmyzJF2A1voao4/Fr9uWUTmNVNWbwFeUqYDTZOM7s1+T5MvtcVXHXJkqD6eQolwmDOwUwYJ5n0A2
GxWhY4Xiqx12Jx3B3OfEWDC8FK5kLWsnzrzhqWj8+mSzDgCw+dL4oObja0oC1qZHYhu4julfusV/
aVfxfPsbFUWxjOVcRJrGPkMesuP7abprUmzBzWXIdPuvYm1kQCezEmtEDi0unteHpssP1NXdKCl8
SkZd5qnlicRA9ZDPDBccbmR4/ZnkurOiopCXoZbc9nnbETo88e57kd7F45tPn8v5W/c4TY7mPKqy
jrQ/GmXqQ+gGDgaUw49MIJCN2v9+e2VVY29//7D35n0CJsk5Hp76zArmLj+1RhLdHlpleSngClIJ
qOmx4WlcvuBmYSx6vGFpilvVtKWNcXTXeuHllub8+cUF75mfNO+3p604L8kYyxE9tdWcE/c363Bk
9oeD36chiGXPFaMg8D3lSx4mLN5pJKmETop2Wl1Ipz+VphchizzEOBDy1X29/TEKO8nQy6ztHfQa
wvuJ9+Sz+8nYVznIkMty9nIj4bB/VpzL/NHC2WLWbO4Kt5HBlQN1fHfMkeUgixE4KRp3oUgX71LF
ZTKsMplXp1qJMTx5SRFlaX2CdGIg8uxw29wK35HZ7IzWmNvJNN3fo20FVdOG1E6OMTHCoQZJonvn
TXOUD43mPKxa3O3vH2K3bWiG7g/PPrvceuVmf784877C05ZidyFrzMiQjE9p6wVuN4VjZt23Ymfh
KWMq6yXndecT9jvO7cl+o+0Slyzs+goy4qmZ5r4OeqxIzzLXXW4NDdgOsCCggQ/jzj77phuMxhA5
YKJY8L9GB7NUFF62HMhta0zoBe+f3Kl/ytPqALWm05iJsLSnc9fyfflChlyiLF0zhlPIua4yfJFB
3soB8ug8rt9uu7Ai/GTsJSS+eMo4wg9vA5GZzIe1rJ7wfq+JEIXPythLQ9T5gO5273fdOPYra0mS
h/bMnEEzvqpI+g/40i4JS8rWhmiYdSz6307mZUFjoQfOBflLCZkKt++ijhh/WbWerZns20itzZ4f
gtGb3AKtor19R2Z+KCr/YRl1TfSfAwhsJlPfLUWdMHsG3MFopsCLv9XV6wR6ognPD93Avw52+uqZ
f5rSDvJ6PA8Ve04o1aRj1YJJmaCJm3FImqW6rGM4mvdu/HLbz1TjSjt40lh274A+7TIQ9tb5yRBk
vqE7lKsGlyrliq1C5NysLqSjD0ucv7GK/Nw3bynOB9LWbkX9+se4ViH3/UPDdzFu2EyGZeZpTx0K
jnlcdOHRwZqHLsi4rptSYRIZkzkWjcETApNY8JHXNI+rP4zXTFOPKQ4IMiyzLzy/jWnS/BBdepzG
ayGMaO6PVMfCrMiuMijT4o1lDn3W/GBdcmexb2jmg4x3H4n/4+xKliPlme0TEQEIgdgCNdh46LZ7
qt4QPSJGgZh5+nvqW/lXW8UNFt54IVSpTCmVOnnOUBysdIvEQLP3qQjNzEIHTFP4dTyyubjPkuqh
4Hx4dp30723n0X3gujhvNonOG7zGI9efMdcBNz5TC5o23afbg2uSDxWYaRULn1jR1pel/jCI0zh3
wVzfs/y7zyJ3+SW3WE90P0KJXHQKTbM/NM2FCycY8RLKBrAqEXZ3+2f855Hv1GBUydC6FjVSgKW6
+LhNp7J5NouvKegOzaI5+v5vzs6yqSLfomGSvKDOFAwp6tspJPEoj/IyckE4m7Gtd0brGtjvTUcJ
eLfw+6rNTEwHLyZZPYUrQSdaH8+4BPtsiBpArUppRh4AmBsWuG5T73xSRXZeuXEyL4Mfdoc5ulJm
zWfzDo+nUXbk+xJ4lU2PGa6kTYJPeH4e+4CYj9x5yMutGtH7YGe8I10D+Y2nt7zL5YJO4ku9fjBI
flycD179tCZPbjqEKR8Cq7pj/oPLY4ebocRFwuQbxQqNf6rIz7lMbRsMuM2FMLxnS3awk/Q8bqaU
mo1UhXzmTZGZE1n7F2Gu6EgkxzSXh9sLrxta2R5GT5hzJiZxqUt6cpCecpHsHFo5xsU89Z5Eq05c
lK+l8YC89PaUdcZWNoNxRrcIyXIRm7Q/ysEHc039sqlyoTOIco47I959GgezTkbytU7YoWnWne8C
KstewwrTyldLXOb/wGnGB6PugxTPlnsM8w/os0h9WbkQnroY+YiWdoMHjeH+Ndwt5bj/7kr/bhL/
YD3TCgBwK6X9i8f4vd98RLvooap/pF56Tv3yMNCPyzzE1gh1RsMJUC557vy6O1jL+Cfr27vE78PS
PLdofrLzZ2leoHuWM3mpzQNQR4GdnhbaHNcBiCOvhIhAb5RBZZYfeV48LU2+8Rr6vvv8AylNbFlT
z0bekBRlfqjl9HPKAaixhcw3+nbezxz+wZNa2WTxVBJxSSlKixTsBX4bGOYlTX7wLd20992Uqlx9
NfJBQ153HDY60Tj4XyGk9uG2G71/qFOVq2+WQBOxxepfDPbIhbyXVIZe81qgpjCWr1ZVBBXbl39S
lb0Pz+eO76xIbbs1mQ/m5NcnXJd3MWaSf7CmzmpKUBtjdLOOXPOPGIJi+H3bSDovUraJarAzI5vg
RWtrfikz8xcn4Nsm0+vt4d9PbqmKY7uCaXChwMwBxQ8EfRIrCMjb47xLNpj8gzMFPRoVi8ROlJZf
J9aG7vJqkC3WAc3kVbDpAl0wT/iJuKyD9dB09DQzI+gH/jRX2fG2fTTur2LUmsnjDGHbv0xyxPu/
a7pBtdJftwfXrK0KOW371h5F79QXL/8MiBRo8ELb/HF7bN3Er998k6TQOmuaElqwLyyBECydClRU
zGojcnWDX///ZnBz8DlIhWf4u8i6MHXQ6yhAOrOVI+rsohzoUoy1kfcLjD59N2UWjVAdmhBUeRvZ
TnnfLnHfT5FRRV157BMoU6xH1wZG2tiod2jyYjDxKL+P5mKF2kj/QkGsMo78fuF9IADu7tqPXflp
dO0D6+ZoTTYcgWHcd847FdXWdh0jfTeIS0a/DdZj5ctA1r+F+ZTPd0uzL9SZkuwXqzmlQ9Mi1Pv8
5GdQHRPfS1ymLLoFkdIUc+g/WDZLlj61nf5FVhduHrmTHm3wRpKyCKtJHsYKcMbuUyNpSFMZQuD3
ULvZ6bbD/0fa/44RVXQbTcy8TI2V3LkZRKxpHhr2gzM82nijd+qXprojDPAOGXb+APlyGoxdFfHq
5NWvfbMEnN8P0kaHkx8CVBbdnpPGkVXmwLQwDRQnkMe4LjSZP03tR3facBnN3qdC32Qlee21yKfn
lUSFhHr38K1o7q1h46ahCfF/4G7eRPI8G5dLuqwBbb3AHP/uM4qyeeS8nBy2TMvFqC+V8dszPtBx
56SVjSNza96OTbVcVjA1UmKGBJG0b9bKlmBYloQC+yBi2xzPVTEBzTi+ZtOGTTQbgKec8lNtZrPv
lOQuJ+txNo+eNZ14JaMuKYLSGsPG2HrU1fmNsguMmelMYBTsL/0Su9kQmsl3o7BDQTYebnR7p4o3
m6Tjc05tcjfN2WuZRcT8KRJIG2frmYCC20If5/yrb83w9rpov3c16ZuzaKEjLcackLu6J1GTRf7w
xxiAMi3Lv2KO+XweTePOzLeonzRxoULSuOBWIwtp3+W59alN0992Nm8cO7qhr0v25pfMWVtT2VUT
8vcqnLom7LOtp1jd0Eo20HfuOCx0WC618MGs5p58uu7LBVQMmgdZ5QQY7+mSp6e++8DFxuVGN2Ul
lquqcwej86cL50+Gb0d9QY+3XUZzbXKVUJ5rd8k9hpGH/gcZg8Z5duQzGX5kO7HC1FXCOW0Sq3Qg
8XmZK6RdYIj0vS1/15lFid8qGchEl9q6+A07k5S/+A7fd2FVoWfScQU4jVvrYqygSXbow0o+GlBI
uG11zcajws/EUPMutaR1qf3HUty50xiyKpRLurERaM5aFXxmi8ICe8hgXdL2CXeCwMvvVrmFBta4
zD/kgfOU1BUfrQtpHs0icsTn2RRBg4equtuAzevmr4SoDR5ZHDGTdXGSpwQvh8U3Z9gCn+lsf3Wm
NzsL7VuSJCNsny9uaNXoEqXDT5F2EXWWXV3XhFIlXqkgs1PYHeZfWScxe7HT5tFYbT1+6syjBK1F
LVs6DULKTl7NuQnq4WGBcu4+31TitQTnVbOmGDwr77PiCbniat014vPt0TUhqyLM2EIrkma9dZGp
efLW8YzTfGMr0wytgsvGYe3QhpRhN7jihLj31C/1vln/A03nqFrR1jYvTkeCGqIWxVpsmFs362uU
vXHHZSYLRAmIebGIG3QDiarNldQNfY2AN0ODZ9w11sq1LubAojKl0VTs3GBUFdbBIyOI0WAQvtpn
g1dBOjqPubt1edLEqHP9RW9mDmxWbvF1sS4tY2YEJoBfi52YoZM4L6Rw6g2H0X1FiVLZVg5NHIqT
qfuWtseqHwM6Al7/97ara/ZJlSCwc3ADs1uBiqtbRgS4MnpvZ58XVkJqayMv0H1CiVXqNgClp415
AeoV0i6n1H8Bl0dI//RbNSudjdQj1khHLhdqXkRRRMY4HmuS/HIsvFgvW8ugcVMVu9bladphr7Qu
DHiXwE1dPBpZOFFur4Jmr1QRbMyz8ioXCAKaiuOSgDKwMMO02kVjQEDT8b+eCiRl0Vgt7GM567n3
fzrufLDLrXZmnWmuq/ImDsRkyGku4KFysg9JSe/cTfFL3dBXe70Z2p3Lri0d27qUKPgn0j+02Vaj
rs7kSvRO0EzDWWeaWNAmMOdIWDwg5en2eurmrQQtYSgSermD1KapTlMiPzW03IDAaHxdRav5XTnZ
eAE2L93ybDRRwb7M7S8/30VECldRglUw7De+seIQgfTejEZGv/x62yY6gytBuloVdMhLy7zY1P28
iiokRf5zJls1SI1dVCxaVyeDOZkIoXxZ/hrowSOpA5iBdcyLLUSGZlVVNJpTtHZj2TSPk/Z3XSR3
abduJPKaLVIFovGxGNw5QboHCevIbn+b+VMCf0SnVpiOG9c+3TeUMM1nX3BmwSdl8b1tj2lyXuu/
TgEq3o0foVlgFXSWDl4KEBX2AS77O5db97XjBLTY0j7RWV8J2HEdHNKvk30xmRkuNQv9zVKRzneU
cIWHuAxMSfbFG79C9XwB80hmg+V04wDUzVzJhJ1htcwRWhkXWthobRKHJvt7O6Z0E1eidYU6W58u
KU4lZwzycjgxt3oymh9d6b3s+4IatUm9iILhiXKunus+bI0+XLpTYX7eNbyKMqtq2icVBPkuhLo4
rZszgyQElCfvasF+3v6Exvoq1swmFFjYguGR1WqiypgPvrvVzqEb+hpqb46nfp6kZ4ww/8IAGTTt
1gvz2vmzb95KvHIDSEsPeoGXwVkisxnxArAFI9LN+xrBb+bdsRqNymttXsrBCOckCfEMEO2b9fWT
b4aWi2cXYuDWpWssvO4V52LZuhNr9hcVUlY3QrjFBGuTloXMyw9+nR79Yuu+qjOKEqXZ4K713MHT
a5mGqFEe8r4J9xlFCVNa+2AIHDv+GXD/qJvyEEiSnUMr8Uk9kfakrnAR9gKwPn2CTuaXXZNWcV9d
RtBAn5cwd2bfjSY4IZFQ3x5aUzxX8V4QrB1atAAi95LQ9SEsJP2BVe0paT5O5ldTbB2rmiVVcV/Y
dJHMSBzYVeWciJXFlW+dbv8E3dBKdLJlLpzBw0+wSna3MO8jIOT7jgsV02Uns7TrccCG5eZf7eGj
tXa/9036+mPeBCfkLRaILa70UjUZ3mBBJDFuETvo7KEcoV7q1KaZwx5JWh6FSe7B9H+8PWvdI6Wp
RKbVMzvlHi6QWdIGgrtwdEgWgHHBDNt1DkFKdFjJuamfQHEc4r2O0ZfbX9akTKYSt6lpFqVcQEc2
JcuvZXpOxAJuRefcifIg/V36XLapRoM3G125zEkXl8B2QqSrqv+sVuLuaTLC6MoZVdCZr6knu3go
/LCEASf/ORk2lubdVcfgShT49uQLRHIX59NXSk9usfEm9a7hMa5yQI3A2rltIbqYrJCiu0BXeCzv
5sRPvMOaLKs8c4B3inOXe4043F5r3U9RYqNcKe0EEAMxGJuIfYdv7xtXCYzR6Rpw3GBclp8H4+zs
IuOCiZSg6N3VKWcbpu85fZAVeaizLUWBdw9aDK24fVm3FGpgbRcX1se6rMKxkVG/1x+VA0sWPFnl
1c5reWz8OK+CbKu2evW6f/AElq9SW0oy5VYzCxlL9NFZ9g8XPXvWHHV8o+D/fjsPPqC8XI4867xe
eOV57FoIu91PWR72zWs1v6J4GSSGGxQLich4XqxdpzA+qYRvlaSVzDk+yQT9aNjQqV+sbKusqzOY
Er7CkbODlqQS+9uHYoEEWwrc0edkC/Hwbkhh7koUV2PbjW2P4akhf6De9EDFFomJdimUcF143VET
ekrnvMDLrleHI1pVDec8s4scqqA0UCuColCafPa3hH7eDQv8HCWSPYuOrMuwFNn4q7kSPSyvg1tt
PLbpBlfCeZWmEEmLwQf0S2QhcnNnC+uoWwYlnCtIkVpe4ZdnQppTlcn7NtuCLb+7T8MkSjAvSyKm
wsXQIvngDfekryKvQhvuD0dsnY4aw6iEeg7aM7Nhvc7ef/bce6t4nfapzPgqGjFNCGFjgqFbyCD7
0bKrH9zyVQhiizY43noYlzn0yJbmBHqojXRfZw0lYnmdNoNDMfTo3Y3kXCX3tXHecVBh1tdPvkkO
/cWfG79KyrNNlohOSdDvu6RgaCVYS1r0c2tj1k4KUcw8jTj/u2/SSkwyQQbDufq2K6sHcU2fxl1M
hJi0EpFmVrnDOvPqXJK/OLFOZbVEtyetW0QlIB23pJxbBhbR/uICIG8Dkl98vD22JthVzGBto5mL
ibyLM95W4HcnIsjJLmyt5atoQahwp2Jd4CJNllVhN/syLLotma33qUswunK6ghtpIKQsu9g5QTsz
FKf083RBU9fBjpYz5D92GUhF+LUt5BB9N6vOtGABBAxBdreVN70Lj8cPUIITt5RRoFegOncHdj+c
jMN8fxV7ohtHxPttTBhfiVAxJVZTpdfxl9C5R2ITDKfqBLbUV/OXf7LRkLVPztT3lIBdBzNzWqfq
Yl56v5ceOCF7+rCOdN8upjLatZ1pDqPAGpTktyXOrf+j3nrWudr6nRzwH93gkns0400XN8axmg59
+xOAS3/PfRALoAZuMSRW7eJqUPjGl6ZByW8ygsqQ98NsPUw92zCPJoY95VTNJ1G7gIp2sYkCOq5C
0TokG0NrzKNi/UzTXPHqhaGREpyy0QlpKSJANeJ5utyOL01KoNLL8XRYvKbAvURaP+eGh33Bg96O
wakTsG7a+Bm6vUIF9Y0DKywP+WVcyKC5qw750T84n5xgPpBDcfQ29gpdlqnyzUGp0PbcET/GbsLk
NJzSgwtptXCG3Ba6H0+3LaZZblcJ6xRVmRmkdtWZ8SRi5Xz27GzjsVA39PX/b850I8m9ohvq6ly5
sZ281GTjUqtzI/K/444lZwANJTI2Vh76DIhXLzD8p3qLdkU3b+XstWcwfEi7qs5WjR4pGH81xw3X
0Q2txLBlFfWE1kNY24um7IQGtdurqPN7JWgFVAVn37ueK2PxPJEuattvzD50k3P0jD+3v6GZu4r3
I8RyaMNysNxAb2ggINLZKT7vq2A/e6HeCjhYARWvKlirB8Pb2uyvx/c7O7IK8zMnUCnY5Vye+fI6
rU1QdOWJe+jwu8t6dljoFpmH7jvK6VsKC6T+s2PFHrX/FF17MLI2cInxOMsynAwvNIsf+5ZBCVha
9z4BGsqKwcv6qU/yPMozbwvZplvj6//fhCwZc7tzej8/t4SEvk3BIc43Egjd0ErUTtWaj2tn5OdF
ylDOBfqgZXTbJJoNQaWdW0aP9KXnFucJfZ73KXqBPgJK0ATcsseDnDuxb69UWef6xBsSdKzk54aP
x2KyHmx76yVFE8Aq6M+jY26ICTp2A8iV2ezPQZnN38HUY0CpHv30v25bSuOmKgCQjF7PkjW3Y9/t
Eb/iaJvPpBhF4BSfKCiQsVtvrIlmuVU8YOKLFQhPn2MTnT5NjbdE9rxuPcbpfsbVim/ctJEu6Osq
xs95y14S1uZh3RWh20I62B0KM2oq68XwqvNto+l+ihLbMrc9P2EJP6Ma34Ba0BtPxeqQDUNpnFfF
CTbj6NSukWbnfnbvWV9CfC7/6vjsIKxlX+ipWEF7zqXRLB4/F5QnAaH1/TxU2cb8dWmKowS2dIos
mWeXn1F4AHnCXH2wroQQghgBk90XH/zdQS6dLmhYHZmF/Q3opA+3V8Z/f3dX8YMGmet0LM30nLUQ
XpsOvJni3o/d5tFZIQ/TysBiW6UgnRcoRzehQIBlgDucuS2SF3uS7CsHIGHj2U3nBcoB7ozSaxmw
+ecCl6xgyddDllhLUJV5CEbsfdmHCiP0q4qgUxIU2H0i1oOzMucu9futN4HrAfTOUavCCFH+JoNv
99k55/JDW7rRWg+fmr3XNhVGOGRT3htmw8/gWnlZ1vIZigqxXbgbSaVu9kqQC8dzPeEJfu5k+YQC
qxWA2C/M59YMbvuq7gPKuZ3WRloXJcxjW9nzsC5gE6PxUm4VQzVbIrm67Zst0W0b0GGynKM+DBoD
LoPVsiGXvARWeVrRUrIO+YYX6X6IEu+enxK8TebZ2XKrR7SIHufcKAJKtkSsNYGmYgwb4bHUHAj8
yLLBuFfnRuDnO4tIKsKwMNDsNeRmhjgz79wm/VVm7qfbC6ybtxLCDZk5SJM9K3Yt6oUtHeawlPmX
24NrjK4CDNFtkKyokOIhL20DZ6k/Fg4/OZlxvD28Zu4quDDvq4WtXd/FNE1Cox2+gKjm4+2hNTub
ii5sq9wpRwDy4tFMc9AEVX+6CUe0y9zQMJKNzEzj/SrVnZ/2bl/Y+AhelJ57Up3lnByNzAgLup6t
dcWjfbaxU+tu/yrS0FnrMSmqCgm4Wf9ty+YjQ9Mgb+6yiRzapH+sE3kGVfnXhEyngYlvKO4ebptS
V4NT2e/GLKNVMo1WTAznrsaL3zK6j5bHIXf5uJqfWS4CS/BvZZEeJXuoF1AuOllguDu9RIn8fm1G
Y0LxOB67VATMELjaJNkW54bOxZVr97raNS0cYaE6lP7xBLuj4OmymubPbePp/FA5v7lHrKUkjRVn
XvF3pjLgXrpCZbONMpdFt7+hyUf+6zV/swkPyEpz3yxxC4T+VVhlVrjw5UTa+nVJ08Be2ru+zJ6c
fSzhlq8CGAtnAWsusfp4ND6LzDuw/HNWb+H2NVcSFbooJqdv+5J18eg/t5AiaHHVLKYvU/GX5j9v
20uz7ahcedIx7dqfvS52q9NcPAq5bztQOfISxzQsfg3RfqJJtDD3UdIa4kVQ+Ao62zEOpHaTB6Ps
Lvt+x9Wl36y7b3WtQ7jTx3KZX1crd47gAduSltetw9V4bwYfjLZkvLb7mLp+HjiVG7DMffIAokpn
aHOCg/n2j9DEn4pwdPPRk2NLesgUvMj8mznEU7/V7adbaCW2mUW8RUIGIV6982DG9paP6uasBLVr
yxld/AjqpbLEwUKnH0iFZ+sOnrtLeAIxphzrYinSdhC0j0t6GMmzOccr37i+aFZWBTlWsyfKa70l
rrKvpBpxrt/P9J4OA0gn9p2+KrwLx7pbgV8Ui+rhbmYYgQFemtm+0Hk53HYbzdKqEC8izYXnDbYJ
vztM8zfRft037nUff+P2chEMSrSwO+ci6KF1TcZdPUOW/w/Ayx0Lp8gx9GDf48CW9sYdQmcKJVIN
p55rM716+QCqPVBBppuyX7qhlaN3TYBJKyimvC722afLi2+bOxdQiU1LNBzNXxh6nL7W/odxizhb
N2UlNlPWthwdGX2c+k95/8fOdgKhVLq6wSwhipvVVpzM/tkt5LeyH08QQr5rCyPkSfchaaaDb4Bg
seIdSMHaXXUgpiK86npovNbAZjNmIB+m7pUoyZw/3Xb39/cCpqK7Ur8pvN5nfdwTHiCrW7KTmL5O
PR4Rt/TqdZ+4/v9NRKE7dx0t38azVfOhB5N/Sp6K9CQnEUzj79u/4v01Z6pksb8uJG8hM4Fk/5c3
DwHdvHXqRr6eAG8mz8ac1oWBybuevFh2FTJouga3Z/1+aogyy/+O3biE9Fnt9bFj0yOt5fPSJDxY
0aubAXex8yNKBOeOKSaT4gf0Y9wkgUEyqK+e2uHv7d+gs48SxaCymdx0ARkr1AHHkHg9+MFKb8Pz
3z9mmSqPOoDiVrYMBmpnCEZJJ5Lpt7wSG+XJ97NmpuK4ZouthW0MVtz2/RfLI1HamdBWaaPUWo/U
/p4bfeRaW7BDTRSokC6Qxk/OYHZWPHjmR9/k0eiYT2MnXxmBYk3WnG6vh8ZkKrxLimwdeIFImJ1f
ufPsQ8J7SzdPcwNlKsSL+rldgprLitkiDsIWdyYKPJBfifw5BRDU+zbLGRpZJChz/zQTdN1Ou+jE
LaZy0ElnLIFuhBd7s+kcffBfndBe8nrbZhofVkFgRQPOBtlgcKu3zKAg9GJnzVYep1t3JcgpnoiK
dhXGaayTUzd8r1l2NBL/MH9n3pbohe4bSozLunWgOoVv1EV9gupfd+0uoeToggO8tLawctr1V2I9
EQ5IoZ11iHPQxZycA4/YXf7TtQJxh0aZM2C6t9fj/aoKU3nmqoIkKy7kQwzQ0s/S+y5N86EBUUJR
GeE6+Xdg2d74km7llSSbjySFABu+VI5oC026v4m/cTXTxOE/qDF7KuCquMxUQMvkWeSCsS11NvZF
zcGhgsZGAeVKY1yGePXTc89SoMWa7FsytkEldxGlW0yFjOV0sCtuwjS2c0zpK7qU6Prt9vrqbKOk
2OmQol7P7SEe3d9UAq5eHNZdDW2Y9vWbb85raE/IrnFRmrBIHwKXdjB9Y5+zqPgw3O1GR1BciA3f
PaJQfCq6rZxVZxElgBleEPGmi+tSNWZnXrLDXLGjbOTGBUFz0qn4MFZa7oJ6KG5j7TczeeLVJ1d8
zocf9hLXVczml9vrqokmFSnWQnKHVuWMq1PjGU1c2vXk3lmork3Rvg8o4SpWDjXV6+L2ZXPd5eov
NfE+7RpbBYmBUn5ZwF6A1U3yIaTUmwLXNjcWQLO+Kj6s4amZthUmLsYsTlYzAMvvAxopDrfnrhv+
ei68cXo6TaIB1hi1gqYLF4Oei3mCEN6+d1xwfSjDu0mbgSe6ixOvCbJuirxp62lQN/Pr/9/MfALD
ZcO7FeEqcaa05Skxxgi/ZGOj1A1/9dQ3w69kIZM1wyMhHX/OePLEcgpZGrFRSNENr4QtbWZw16Z4
vjA7dplnYLwbkO4Hspi3FAd1X7D/9wf4qW/0gFihGFqjsLvgsfu/bW0+3HYcTcSqDHClk+XJYqIL
j/rytHr5K+mNfmO71JzirhKsRu4YICPOZdy1btTQLsgX/PnVoe7tsFyqwGRbvIEaK6kQsVoOaZVP
qOcmJDmORIaLnZ+neYu5Xzf89Re+8SKTOayxHdHHxO0PQ2ceZ7s+N8zeuIdoFkHFivkMKAkHlIpx
y6fT2IK6zScb66tJDFVCODkBMGJA8BrohMA0najKugOZ+9OCApFTb+AtdR+5mu2NedymNVkhmz6G
6OVUf/ATCPxCBNlaWLCmW9cnDdyDqcqk/oxC8ZSXErX1IgRq7zGndjCaP4nnRFn+gl3k0QAH7Oh/
yfqtRFSTZ6lkcQJwFTnUKbYPh8XjPN2LzLhrZvepFVt4JZ1vKQHORuJ3IBO61heGw5g2B2bJQzru
6lW1mAodMwVJeoM6XZyai0sDm/IyDclCnQ0RE53vKkGesbwExSCqsNMAIR1OMh5MYmNsjWlU0Ng0
u8Jbc8gv+SDuppl/GRle/+gWm7VmcVWk2DKlzrJe1Z0M6aNnhAW14Pe8dEKSLsfb26sm71KVT1Gi
LkBji5wCnhTUVgbv/JTnUO5uocAy+gHw7lBx9bdeiK/Hzr9IGKYqoRoiTTxjRbkkLV4LCgzS8Gw1
LEKX+olPdsyrqGEPRr8caAPRLMaeFn9njVJFkxWUDWudu+Kxqc14YP6RL97GOaJzA/UMxwGeL2ZK
4topj9Y8HD0Xvekg5b69RhoPVmFkQ36lv/B9O84LpGVX7qd2Yz10DqaEtuimpDDyksR0HR7Alhe6
WfZgcCf0sy2dIt3klVo3eNFbAWwYQZ/79ORP3X3C9kFymaNENqWj57YiIzGkSv526MELx6nYOW8V
EcZ6dLD1XUFi2eWPcrCOXb31yKKrUqh4sMIyE2gaLuLRPwNHn5yqAzRGo56jgaEPi+NWv4rGLVVc
mFEwrzLGGR7v/CrLb5OTBzJJN3xes66qSKo3mCBAXLIhFrL/THn1KFNrI9vQeKUqkIqTH5I4Y483
48p4brk8Wk335HVfOsE2IkpnGSVgzRJg99rvYZn2sYIkV3tp3V3PikwVRTUnCpXHpkNBGBwwwWov
gVF4j62RnHGTCHdtCCoOLOnXdZkFH2IpAWTp8mINTD6fbg+us40SsLSlNrDDo3j0cnGPB+RwmMlz
uckaovMbJWh7Dpg4GxvxOIpnz/w0bpX+NCmeCgOzcziMaOCPS2mdMydexyJyeR5K50I3nV7jmSoY
zMuXuncWeCbUCJ7t3AtZDVaDtXvyja0WG82dRAWFmcIXuVxTVJ7s/jC7MoTqC07DL152Zv2Xmn7Y
tcoqLMyui8KyIDzy2IovIw9M8otZG8GlWWEVBVY71jpmSSoeOQABzWEaNxxTl1+rGC+CXGikxKgf
abCEa9QFa9ycPTRYNqetJOE/fNA7CYqt3JfNDlv+suIb9mk92ofsYBy6YxvyI31xgiFyj/KxDNEa
eWhOO+9utnIIr6PHcwudQ48lLtCNc3Y4COv5vvKCrUZz31LuWRbCbXpdGxnM5uOSXvb4kKOCBczV
WLLOKEGCXY4ByEiCpANK4+vtwd/3IsdUtugspR6XybzEXVZUgVFPNDR7d4tOU+NLjqmss8cMMtli
qh+NjoLe2D4mU3VfJ+gQgyxOKZ7ptQIgRVjYB5rYG2fm+1srIFz/ew2FFo5M7byqHq+iKpXRAkT9
kgHLftti7++AjkoPw/EELLN+rh5tqOzZE8g22kNVotk89U/9lhbb+zugoyIMTHux25l21WOezfWf
BNRvcQM05aU36zzm0trqKdDkSESFFIxjAqHsBLZCl1hzR6JrJ+n65H+fD/8pXG7tKVfT/xvvRAUX
SJu1Pa9B5N4fmwfv2J6aszxMEQmh/B7tw48RlSzGhe4YnvxbGM35QvlFAqDWTb9vr7rGk4kKLABB
PChWG6d6XFHUQMstP9Zf+/vsw/9rW9SZ6erRbwooPDelZ5KlejTO85Eeu5MRJkdyMiMZZtFWW+/7
Rx9RwQaQTV3FOo31Y7l4kc+PzZUwBjpDSfl9qeeoXX/dNtn7YUhUwhg7zep58qfqUaArMRtBGw1y
/cJud1XSia9E+TSyBJrJIxakb3pkT8AMZsVyLC1n603wP63h97xW2dVnuqb54OAXZDz0Xtejd8wO
VWg2QXpn/poPqO+G6W7vVTO2uanGeW2qR8qcy8ryLKx6+4M5W+tGOvv+xkVU3EHbZekKobDqsWZX
8U5+By6Ip2W2wGhfnTq32bhWaJZdxR0QaB3nRY3PjLYdVNN5zL4mW7nJ+6cVUXEH62xU5gKhckDO
hywQIMULhefv4lC2iAot8Jv/4+zLtiPHkWR/ZU69Y4bgCs6Z7geSESGFIiRlKtd64cnMyuIObuD6
9deY3feOCiUE7uFbt6rKiXC4Y3GYm4kC5QWsH5vaVo2W66FrAlGcmI4iWDV8Kb1b0ZXNks78mq3F
MfHnU9O+v51rKsvb318tHIgSVnJnra4L/R2rVGAN+17aLCbt4AkjIh8YwrLnoPK+47oTk2IVkvll
smXsjCbu+dUAYQUkUfOzWPkh51BymdendBHo1LC/3faOKiSlPG6nOa3LLbXS/i5tP3viMunuoSrH
S1m7Ji2PjQVLhMmjvDhrITaKZJVRA+C+tSpwSFZXi9QA4x5M6xkvD0Fih42rqUqp9n4ZPNAjUW0v
MZCpxzGiUXEY75KLG5BTdSxPi2brV/heRg9w3yQE19rqWhhQ8PPraK5B3OLq3jVU5rcD1KvA9914
ZG6GXWBwwMbwXlRpkA+ag7dibmUEgcOydGE+1gPIxJxZyUIbLM23I1K1tcgQgirzi9gf4BZxZCf/
SxrmURqJoLgsz90Bjb6n5Fjo3t9UPpJS2O/yGeyOAy5b1YljO/Hmr0utefJR+UjahQunGBpi43d0
/f3iPPfi5baDVGOWUlZwACGcxa+u7fDNABaSOF/a5vNt26oxSzmbeF6KZnccri20DTb9ALo5Hb2G
YtgydqDBrdYdXIpN3PROiWNsFLNPJDei2yNXnUJl+ACDpo1bNHB3fmGn9T47i7N3so9VRCIdR45q
WZDJZWZRVXG67SVzGS6huK/ekYM4F11kH8Etc+9rrsxv89pCOUdKXSpyoH9Ac3KdzsNhvvAjORAs
DUe00B8Frv3zvjSWCWb8sSnWuhX8mpDHIjUOZNE1HL99S7NkKTnLbijp8DR4tbw/fVBseCAsaiYU
MPp9V1nLlVK3mQxiNwXO6llWRGZl3IP0NAI8RXNWU2SCrCyHhl0HtyRkgs0Pgp5tW7Poq+xK2esU
RuvVFey2iNH57OlEEJTxL6Vu71PLdAfk1+KA+Gjj/zL+cF/IqTwkR1tDGawKTBlEwHJmxXOR8Otw
JgPeDYZTevQel+f0k3kE8xEPdCUphZv+xjpTDmPZezHOVhB0TbIkInsXIhlKEBOWTHgt5dfZP7fo
QUigB2x+vL0KqYYtJe60LINoKrapsuES3w13cUGj26aVvt8W1lf7ebkObYY2MEzwu+xTc98c6xN/
SO796/Zmkx72en77aa8+k7n2vHhryq/F4N8DXNoHFqeas7hiVfgbVmBsPW44mNWmqoOqts+LkZ1z
yEL7wtThEVRTIG27C08m29iObmVaouuprN/5CdOJPSk2MRkqwMH7QYSDM9WcvE/8T5AipeOul3xL
ZpnJ297kfWfhuFbFARhq77x1OQ75pKkJKNwiAwVoVntTPnf86iffpoGHBaql+wJTBgnUIsdJcAvM
/JK9Nz/mEQoBLywAq0zgfiZ7qwAyUAD77jwbFOeesbys88VpH11Hc1RTTKsMCrBrA2DbFTET9+97
sJKgMGpr+yvflrWllvzu34/xMOcUF6HJqp5AT8QPBXaWcMhFEZbMtE8Aan5hYKA4LNMI7fOk0Gld
qiZdymVfTD6nKWJKNFaYVXNognrl9qyrXCZtv6ZVuc6a4rhllw0Nhjj/7DlpF02p+8ftD6jGLuUx
UFGpNyY4aw1LfyA1iyZNj5pq5NIOvC55DCU+VBKT9WrOwWL8HMVO09IenJYpZHcaUG/QpJtCK59P
IE1LDuXIftx2imLsMiZgRSNaK0wcDPPpxZ0+NqBkq3UVJMW9WsYEOD01RY679bVrxe9TuZw7Eb/3
phKNYjyctQCczc1vVA5lTEDDBIANGeYVsu2RGfbhere9oVngTdS9oSlCR0YGJJ27SUdihv312bby
YGk1Vy+V4W1aXu2N1QBlRyguIpMZmu6B/mfH2htFeHtyVda3v7+ynrNqaaft+aRYnZ92yn76ua7U
oJpbKVvHGuSwdoa5pc01b0DifOnqT8WPfvjj9tBVcSklazbMVesRe0tWHkHWLmjt7lueWhq/q8xL
KduNSWa1roelv0P5EYzfeR8YvWbjVRxKLClp18z8957eOT9G+4nn59q6FM7vtz2jsC6jAtJ2ziE0
inDHASe3KiDO78QIsQdd977CNTIgYKQtt0YfF62+Kw4zGZ7s0ggST6dmowgcGQxQtU3nLxQnNr9p
j+7Ig9V271CnPTqTFVjeqrltqX6FdG5ue4cDP4yFs6Aflt+t2Alaprnjqs7NMhoAMmhVSxvMgIjG
yMaCU3/0wz7aeJGNYLrTYYZUP0HKXg/Q25ozfIZZH1j8o2MRG/dllwwJiHlGlmSBaSP54szvy+F9
l2hMb6N7YzWWn/5BnCYc6jhYGPpzAaoG3Vqm8oaUsXbvz0YxY8izdy6yR4eeRujT3k4plW0pYf0m
rbpixPKeAr5DoLHN/DlCySTaZV4mbsnqrOU+hUsaKwkaowwsehrMb/uMbzX/V2s8T/OEe6DIvXb0
kz0H1vp11D0bKFYambClbVGUtThMG31+8k3vkjnsyzi4ESRk9/EAWTJ5C+t51UwrFuKSnPtqCNb1
4PiaUFSNf5vu165BW25ltNvmCpT0BiKI/TA2INeiK14oYv0Xc9OrD5gjS6wyxeFJRPTohu3Je88/
N4fxIB6NgIdlCDaz27OsKhT+WotefQp4ePdfBwWUBs/GoYycOirCOSye+Tm1Ax012K+5fSN9f33/
1XfEUhSl4W9Fn3fbYYpeupfxHpChMAvHA3uBlmodLQ/sUcfpolpMf1WfXn1wGboVncDIvf5Aj81z
cZ6DGVI3wRzaqEz2NNSpI6luTTK3C8RafZqv0/yQ9zTgy0s/MUCP86fJJpd0roJ8vqLkFTY8/XF7
0hThITO+oBfScyZ7nEEmU4IfykZrm44EV/VjZKoXyipRWy5+zLzkx7gALKburnVbHpqlPTgz6qNr
HnGn/zAZ9b7TpMz9Mo5oEK8tfNID/UbABc3DyXI+3PaV//a28Td5r6VfUl+48wN6AyKnfOoKGohs
OvYLqF6nR5ChAUemU29Sek9aGdzJr4q+sgHmW4rTWtRB3z2aCYCJWIHKFuIG0IDw13M/6co8qlDY
/v4qylmXer1XL/MDGAmzACqt3anBmUpz4FT+Huk0XpAMwMdqSS5OWjykLA6gYhaYcX4QfoKbloNq
uXVyxV0BHorb86X6QdL5fHCm1Ldj1Dyt9dEZPq46qK7KrrTNl4kBGTkPdvP0kOWnqT3cHq9ii5dB
XnYrltKxM361TR6IEosmfZpjHcL17VGbMrJr8h2nAyqRX7s0Wqt7S8f0/vaoTRnKJTpSF8DFANJn
soPRPSdNeiCW5hz79knclCFcDRAeQ1bCOOhQAt63ZzBa3psJueTOFNZMUwlT7FymDOaaMgqRiQoH
t9YJGPgL8oiE5BNQPUcnbE5edHt+VTMgZbTdz9wvKb7S+ceYRvE+sSxTBnD5RcasqsHM2mAU4HZ/
T0s/pItxuj1s1QRLiZs2Xe2wdAtL13hHOT+7gxWZXborS00Zt+V3gByW27Ofg9dE++TpOueVkyql
KSnMf5eNtl3bDfOjYQV2MEUbQq+/yz7v8450LkezCkcZeJvU+Zj/8LO7lmnOUwq/y/gsvGv51rwF
pcsfSvtasXtbJ8GtMi0dyLO+7evVx4EGvD8VOXnfLPdw2x2KGJcRWa5VOLScW9RE2uTAO/tUoenz
tmnFWiDDsUYoGtilj+KrD5UNvtjh6BUvvMpByVs+WP2geTNQxY1M+rLEgIy67BcM5l89Qvn39d10
3FRO+IlzTdirpmBz4Kvd1vAXw6KkBXQtG49JWaIy7kOxtTnedpbKvJS0TWclaDLDGZkZ0IWfs/w7
regBjGGayXj7LGTKcC238uvCpls/iTMeCrcOEpOFQCweeNuFTrcExfipAl3F7V/z9i3JlHlfsqpK
ErY9JrTA8xhuKNx3pndvFh9um1dOuZTEVAi/rPKG44A/XtxwQ3Xa9+m39A7cNaGhuYoppkSGcNme
yamd4UcMXf84F9WzlaYnYhKNjxSZJ6O3WlTXRkrxSpfO9qEfeVgnH2+7RzXwLSFfhSplfj7XMepU
tvOlb38X9Jq1+/YWWSOM52Nh8hiDHocTWpv9DiIcGtOKmJHRWl7jFVUao0ZYJsVDldah6/NLb9Iw
BgPrPsdIOQzR5bFCWZBfwSuYn/uYfu2qRRwtZ9SsRao5lbI4W7w5bVecmWnpsTtIBzhlQK3M0kys
yrx8QO7NdqlsTOwADtehnjf5+PvbrlF5X9p8syxJaJsA4N+u6SP6c0Nhl1GfpHez9lyiGr2UtDEW
zJIaeNztoXq9pmbg65DRCssyaqt27JybFbColne3GmdLx9nxNsbVlNFaLQF5T2dimSl4FYe5yE6u
Y3+a7Hdsyo8t74FqW/a1pZgyaitrBOWeg91ybSCtQABdxHtl/DC4btjb7Xh2tCA0xVTLuC0jH21v
yQi2mlR8HSENaZXPExG40325HUuK+ospI7b6BTRmzYagALG4iNgJDP8PgIaRj1sBpjoCGvn59pdU
P2ULiFcrXdonTT5RTLwwS3aCkjTvpw4T1YsAgiiarVMVXVJSj9m4tIOo0U8HwC067Un3VCyZZpNR
GZdSeplXN/VSHCuW4s5LjyaJbntGsQfIfDCrl1prbvjbi87FBaB8IOHSvNy2rRqznMjgtqTmBntK
G+NA5+VH2Q+a0FFMqAzdShtuCT/FGsFKcZfmadS59XO+kiBz4++7Ri+Dtgo+x15KcdIq+zuyXHdW
GUwZsTXN1ZSTFs0Bs/Vnn7zP9iGkTZn5pbRo1gCCjU1raaISmod1bYW1UWm2XQ+p8vfirOlsAfQq
heLOYNXooyWjAlPWvS8WO6hy7/uwNGB/nOnvZBw0j4yKkJR5XzrhN0btItSNuotyyzx7WfdS1mxn
s6IpA7dW1k51m+MD8zE+8WN16tA+eJkiVJfvMh28VhH8slQYZOrXZFpw27BL9plVBurkvq7ko4p+
aRNObdtv2Txhv3Eg/uZ4NKps8ygaL4c6ig5BoZoGKXursWwnB6+AV8/+I44/4c4dEM/XrJUK4zKA
y8xKSK7UOGH19F2bAZ1dnrXawCrb0iU4JWOTOQlg8KyrmvtxHP1D4oMKJ3GZrhyt+sSWJK+SoShT
zK/A5Naj1x5AkskPaT18qGv2adfiI2O4UOzmTsN5fe1AWRPYdFpDeyp3Gt9+1avRW15jtYICKD0w
cMedCD3eHrTKK1sqvLKbLdwHvQ7l15VNDy5Q5VBofuzJvrKvKfO2gA5202HHsKvuea2Ls0s9TYeM
IldldS9mtJ1BNpUnb8kPLQPGnukEIlSmpVQl/eJZDsNEZkX7BAm2azI93/a2yrKUn3wFjx41tpfd
avrelNUH09t5kpGBWe0aO2O3vevO2xbCrIglut47RYzIuCyvqUQnbADdSROfRte5m635nna6XUpl
XkrM2pnzVgwbjj6/oxXqjl/IeLjtb5XpbTF+Fd1F5aeg8sGi60CXmrE2AqPpYWr30YKZMkuLm6PF
wMo388m3qvmY1j+96v3tkW8jfGPrlhW76rjPBtqj2D7z6Z6vf0DC8r5xx4AP/k7fSEffZOFVXc9w
e0PO5vIlLe69+uPtwSvCXCZnAQJ6hQQ5Bt/6fdgw/+BmVLMJqUxLuemi0mX3ro0CeGZ9NWrgCkZG
/tw3bCk70aRZz6mD45IonFPWgmZc6FShFcOWQVgU+ju0LrdnqngJPAjLOrHuNqAyLW2dc8XLesS1
7JqgDQWJFHX2vruADL0Sac1n2sfltWR3dnYpRs2eoxqxlJXdPNadPeD+0jtGyGsResu3XTMoI60G
0ykNUuD2UpvjGQf2w1zoun1+yTS9kZEy9UrVJhn0w9vpgc9O1Ld/QurzgIayg+e+nwo3ykA14TE3
Mh1y4PYXYK5P/Qr8uTXe84SE9rhR4dLDYIxRzd7Z+2gpTRmZVa1iLsfJL69+TWooTpAi6uZUEwCK
5VPGZgm3t5vRt3DoECBMtd3pfdFmHxviR/umS0pmxxjmaQS49ypElaCjuxsvPZtszUuiKsykdC4s
CtQputKvpklY2OZV/Jj33qS5WymsyyCtlqQxr1ixda6B3zoUHARvgVWP+d1t3yh8Lwts5awtFge8
HNe1CsX4iTjHqthzETc8GZjRzpVPxyFOr64/QYX1e+w8g8UmdJmm3vima2Bfyu9q4CKJhzW9gqC/
DVARfGlHe8+uBdubu17t6LPR4wW6EunVFjW6BbPAbJ079CqGt72uGvr291fmXVRGAQ6PyYX4Y1RA
WmJffRcDl7bbxbSyxl/SFAQoCXq+1hUty2O8B/YP4+Zfh83QDEGY26ZADJLjUPMo7dmLkxWaY+ub
sQjzUp7OcdeJMU7Sa4VlderKJ/ACgD3W0jhdZV5KVEpFt7o+zK/8yU+fPP5g657j36yAGKDv/6tj
zDnOnRTkZ9cEwBbot+TNZ9t6P8fPaa25h7w9eFeGXIyjKNrCIinqyM/FHMXrg5nsWWIweOlgHPu5
ky0NIxcBVuBg42oKWvrjdqCrhi3lqN/ZqeP2JLmuZR/N0PtxIKfaupbmmKby+/bZV3lEZ+4NXYEp
daz34K6CPnYA6fJ8juZBB8JVfUJK1a41kmmdsRI0gOcZ/ZFZjym1g1gcoEG5z0lSzo6AGXp+j7kV
IHpIyRUPn0G7vNw2/vZS48pYizwuBrOux/Q6oQqafXDtXauvK8vxrH1r9pUxYXXH6aqdx8tcWJqA
VAWNlKgZWK+aoiuya5rPdtR7yYk00FmCGLUOt7rl5d8OWYYr4yxEnaHv1sXWhELN85CO5kOZ2c0H
i3WQMqlSL3CSlGwEz3WELmbd6XwL+re+Kh2hh3IpjcpKsmvhHv3xgTQHN+EB1RENKmb6bziMgjux
yBFGPrt3/evSHG5HkGI6ZBBGiVWTNdYaXxbLfh6Hl7xxrwn7edu4atDbR19lcM0LzwXgLb3GdvNl
dL0Uwi59e9xnXMpdvFFxexlLGG8fyyIOEkPHp6EatpSyy8hmh3Ww3MVXMn+nXHMf30LhrRCRdtgl
Ja6deE16JT0/NPPnzIma/Euc9mG7PgI1ctsvqvCXNlrohBKLLW12XX36kpGDUfwY8SqQWkZIOPqt
jWPZ61ozVUEvJXNseJY5Fj6iEpTXM+4NZUPC1mV31TJpzrBvPxYargyzyIBhpWlfZVdef5jKF4dB
ReZLyav3eNW9eHURdD4IkT8ISEqA/u7BM2fNlxVhIAMw8kS0bW5gc0h752vmBWO9S5UWP0nalAlB
c1+z5tkVl64qbEuv3FjP963dMgRDCGPoRLPaJ7ODb+Y1zCDKeTu0FIuFDMFoauwUbFnSaz11R8+7
LoTe264OX67yt5zQ4CquZsimXNe2CUwwRva5jnZAZVrKaCYcp7YYfOK2P63BjozZD2+7RJHTsuCO
k3uucPiQXXORRqlZBmv3BVSYQ2cfSu9za+06nLuy4E4948HWGWrEov3D/ukUeDc3NeuFalKlHK56
K0WtChsy9+/X9MNEIlOnF6EwLeMuCO/HITcs7MSu8WHJs88r6UMKkvrbvlesPjL8wpshmuttO0DK
Wg9raDsGK6vBP9lk0ylLFvvd7e+ofoaUrtxAZYH2WLd7BuUzy3CfvAzNfVZPP97+gCI8ZcTFnIlE
UDYmV5vx+QwAFQndwdN1samsbz/r1S7sALcyOkaeg0IL5yyIxnaljq9FNQNSypaDU8RzhjtjMf9u
u2EC8ZGBBcauwpThyuw4vYgXkw4MG+aQeMAJ1n9aJdVMqmro0macTXGP7ibYtuvHIXs06fJugJJ3
rNNFVgWNtA0bidnVdY85tYRxBiHnCdr2D1Piaq4VqkmVstbx09KMB45SQAMI5WD7fw6C7QtHGWRR
rqsv2txLr4bZ5iGjfDpSg+ruXArHyPgKy3bFYpom7hbM+DktzMaKYFgPFiG1ZkVT+EZGWvClRa08
Ru2oytMx5A15TExPB29XDX+Lp1fZhKfxqTe70TrV8XSATGZYDPzgjrt0mgxXhlsYk2XycnLS68D/
ZLNxgP5ldHuRUexUMrwiAWoG9K9LhmvRn37nR8OKUi8IW/lwmNDNxywdQajK/dJmW3PfsDnkbk7F
6J4Gb71bgVi+/RtUzpeSthPLHA8L7rvNMjtBx7sm9MBWEc5VokMoqEYv5e1k0MZGQSa5Qrjtae6T
+8T9uW/wUsp6dGrYSmfrxGL3rp+Mu9Qxo8IoNScRhW9kaMXAfces+GCdHDYfSNGcfHSNFLHu7Kfw
i8yP42cCTGXdVhIw3HuwopUBI/xll2dkUhwqTNvLCje59tBMYd9qvwDXpibsVeOW8jW3+8bgY4dx
lz4PvAayZBlEejR3BJXTt7+/Wg3AFjP3TYM5tROwnOZrcQX2hAdtygxNyKvGv/391RemdkmNhMA3
toO3GdMJ2yneaVpKVB8BGSMOsXvn7OvAwavc5UxHraPYX2VsRQKJlNkQFJdoFzCfr+W4BCM5rJPm
YUbleClNW5KVNo2xizS8vdYd9PhI+YV0uoutyutSrk6maPBGjNGz9pMxdXedvfNWKWMsOuqaoLiD
05lBHuqpuTPjj7ezSOFxGWIxDkww0SNScjqUgR2PgeENz1S0T3TRwTgUfpF5b1ySpniAqHK0ibhT
NHDUNN2+oPuWMJnyZqRG3iRVgYAUUOwQOdqIy5mlUZNlOnSb6gdICZtnq8foYGCVdObzMNRZEGdM
dzZQzYCUq0sOcsi197dzfH/O5vzjkjmn1RjRSryrp9SAbvxfl4O1qvBoVVDrlE0JRNJ/r6z0OJg6
oLzqB0j7Ky2aNo+3xaYQhEZ92QVGySNR4gBoNjoQnWoKpNQVVVMYzIGX5sGJhFscvETHI6MyLaVt
laAo2LpLcmWodJFyvhStrmVJYfpv6AvQEIsY5Asg2c3u6vxq1jrJWJXl7cD2aoVPhxQa5ACnXozB
XA79Ws5Xp2PO4faqoLIuXV59D9godGWjqjIaHwG9NCOQI+pwI4pVWJa/sShDfPRzcuW/qh9FYFTm
gYPaft/YpWQli+mJrPKt09xbYcXNQ7zqIl3llu3vr5xutl3S09yyTl7O3+NJ8l0iRL5z2FKOLhbv
yMqM5LpAbBCqKN3TylZdF6lq4FKKjkXeG77N4JPax0NSdyiY7qFTkf2mlJipX/XZMuHe15d21AJy
tYIazAA8ElLM7/bNqJSgi2tkSeVOSNA0RcXGCsm0C3htuDKYojQ7ozMFct8sx8hxsEJy3b6k8LmM
oxCr13cGxYS6k/jgWege6YWZa05hihyiUoK2cQwCYNYk12yI37tG9yjK8hlSEfvyXya7IdVgzd6A
eOm8PkjARtNXrSbOVSOX0rOiqDS3NuLFLD9PxvTJQuI7bNE8iqucLmUouPtqs/S8baczQ7j/wPZW
mmVim4I3aNY1bWxz1ad2ccN1HKJd8f2rIfXVshKXU940A3iWOcRdm7h7oGQ+7jMtZado4sSAakBy
rbLmYZ4gT5LG+24xMkuN72UiG1r4o8aaNV9dOwvSQVO5VkyjTEjjQbudeC7ir6rLK6XsOal1aamI
P5mPBspuI64vcHbVfnfT8xxDCl3H3KMatpSVBHjIHHLZ1smHHiZZ6dHh+/BBuC7/deuBrKEt4oYm
V1LNd35tHcb6+64QkYFNzOvM2VuwX04oZYK88+CvO1dXWUessZN1LRL4A6Qdx8aBZJ+upUvlaWm3
hESxkw0WZtG3RNQbNGyL4XTbH6oAkfbKqfZbo+fb3dlK389FcT/U+fNgaOljVUOXUtIuF2auDmI7
hT7lCHJ4D2Xq20NXmZY2SjPlhZ9TeKXJmzA2p9BE9WKPaUfGMzXgo/JqgoV1TtY2sCbUeMc01vQr
vu1yR4YyESBdCpoMWEf441AEYn5yden+tkscGcrkCce1KTg0Th2QY2waQ9fRHTRVo5ZSMi15jgPh
5pIhR4eCd825/46llcYpqpFvn321K2R4JRzrbQ20uz+yuI68odq1KTgyVUxhD8Atug6qlUleBH26
vBQz3H47UFRekTJTsN6dbIG5zMoSAgVm6OXFJ2ZNO8cuZSfnoxczivmkGVh5Jv+U56OmOrTN29+R
Fo6MXzJo67iuCdNVYgY26KhWlCv7c61jkFNNqJSdVsmn0fMMcoFYPdgy+PMw6JjrFUOX0UsJt8nY
rgO5GIX5sVjZGcylT07zbfRqTTSqviDdN62cdUmyYrcHoduzmYuQAugp1upQOYPmZPi2joPhyHAl
1HHGIWlwYm7JGBIxBannnxPznZNcSmuJhJlE1WydRXHvZJoXMdXP2v7+KsnSlqAqXWFOZnKeKAvN
5dnoTqmbRrezQWVfSmLg09phYXF8yVormOPT5PtYgQ4V1xzCFDHFtr+/Gn9TuqgwCEw8WCgCYk5H
ntqaoatMS4lMLFSMimkll2l+t/brh8Ucv912isqylMNWVeclpeD4QP4Ga54cnSXRxJDK39Lmyty5
ixtLAEadGcE4faryOsC62VmaNFANXcphbhRs7WbEi+j9YzJ3X+u4ed7lFRmyhOd2kjgtpnJGy1jF
0jOryuM+01LyAp3c4CIKh5O1C6wSrAxCV/PeTLyxaMqoJCvrIUA7oiRiOsuxs7ufLJ8/ZnGW4Tvk
lHhggyM67hyF82WQktlTnEtqF/RgXvUtL4QVjCb9tM9FUqIuNMmyfFpxWxfWETqrgVuW0T7T2895
laN42pnaugSvIS6moMVg5zxxd5qWcjSBGvmYeTm5eCQd79uGZKekiDUH4e3W8tbUymlqJF1RsIVc
qqk502z+UtRLHE5FYRxMNr4HGb+uyV41sVLW1s3AG9cCoZ+db+Qh4kfs614gFccRT0rYvJoKOhZw
frddQcw6bKh3MKZx3wTIYCW/Bi07702ETfXguGdqaNb1t8moDEeGKfm5m7B6hOEG5Lwf/GN+RCvX
hwwUW8/jiZ9qzf6n8LxMELNUxoomgpFcWGaUUZvl82FtqY59T+F8GaJErdFzbJA/nEjnB8YMRaP0
YEDx/HZeKdZ6mRAGTPhNW8azfcpNdOP4j10Dpcg6zOpdmEjcE+S8XQELXSb7ZOSrcTKNjEXuSneJ
9WCCpdQtwIgPrs8ZqcuSO+onUYwLym3HqA5SsoKXNU3csd0WW0knsjMaSruoTTp+pk3afnUXG8rz
HrhWk3UazlMMvhW7X/wTYdoWCVVYSQmdMZgqC0TvzOrfqTCKgMZEp8Criio5pRcw2rMMUWWxIhKO
d3Iqcl7xcnnbewrzMpCJiaX2HBNjz+zx7Lp+AHKvO2jX7lsxZCSTR9OmFxQVORBOBLbwIuLtohY1
wKzy14CtR9qM+VCQi2P75zK2z2n687ZPFPMp08XYLY49tMNVd/KN0E+mFLdGogtXlfFtIl7tj6kn
4nzhdXxp+x+oxp9Wf1/105HRS+isIOvgU3KJC/HdntEsQuxEp+qoGraUwDGF3Nmcc3IxxZy/W13I
r3vJqquuqqxLm2/jokhupcQ6iZWG5RQfOrarkx1hIiVn7TZlOQqYdgfcROrvjO5qHYVlKTP7pXWS
0fbRF+Jl/iHFq2pg1D57ct1p38MHAvmvwWJTl/OuaOJLN/H70j9nrHokVrsv92W8kofa7Zq6OE+N
vX1wGutsOvSP1dJVLRVLiwxZMspqGeqkjC+b5hs3IM9jl0ey7IxImQfG8OPeznwLJPHcB/+Ow79W
rU7VUjV0KUnruSs6UqKfkUAoI0l+dkn9x7zqGoMV0W5vf3+1BNSDN2exwDEk9wt/AFeUKT6BbnLV
nGRVg5dS1SlrZ3JaFl/SkhWB07jvqjHnoVXtUkcyHBm3BJRea9HcJJeBmw9Vlf4gLNXBFxXHHFtK
V17Z/lJYNkoIU/1pzbL7dab3jbd8bxedmILK/VLeliVUaHwf6gJmXJ7iaX1aY13D1duNRY6MXBJo
9anFhAIIZHUjm5AzwIahaYnjZF1RB3+Xde5LNq7R7X1KMdEymonRsmog4Bhf7FgcK1rcF8WxdXU1
cJV1aX+tZq/MxxLw6bkRL0ZmvXhLf+ZLrKk/qsxvAfAqCQYcl0kqUHDph/HFJg7kBJKvY8zCfb7Z
PvvKvAvocZJhtJcyqY/+8qcxtI+dqWsgU0SpTBsz2ZSjpoMUAxHkEMxO+0B4+Zi6w1OR6xyk+oac
xkZvWXWKI/OQWCSs7KYPsm6E9pNt+YHrO19vO0qRDTKJTANRKWNgrnVaUxL0vP59Soofv0z/14/5
v5Of9fO/bs/9P/8H//9H3SxdBvE76f/+86n5yV9E9/OnuH5r/mf7T//fv/rX//Cf1+xHV/f1n0L+
t/7yH8H+v78ffRPf/vJ/DlxkAq0IP7vl/c9+KMWvD2Ck27/5//sP/+PnLysflubnP377UYNLYbOW
ZDX/7d//6P6Pf/xGt1Pnf722/+9/+Pitwn93/VZmf/vXf37rxT9+s//TBBUd+thtm1FG6UaCN/3c
/gmhJv4Z8I2+73meadLtNszrTqT/+G1jWunrYfuf1PhPFIAcA/RsjEFsErWo/zuOv8zI/87Qf/Ch
eq4zLvp//Oa5v84S/1v4cDwH1X5m4suWb0GZSEYWEkgWpXXVH+OxAHUtTYKM+f49GdM2HOvAaOr4
a4E3sZOxhk2TPpTu/6Hpy5bsxLlmn4gIJECCWzHsqebR9g1hl90SSCDELJ7+z/pOnJsd0bZ7FwVC
WitzZSYmKFvJl6I91J82JPdDyuqSdpBI9SwoMqJ5tbk9lxQz7sy/jcPc5AE9yrUFetuqjVY0seUQ
dn9Ml+nLmtY/0XrOpz2Mjovc3xWEf0fbjs8ZUAcxK/IyBnF5HGCbWxfOJSceifHhQnL40Kt0h7Ho
vJpybAMuvPqE0Tg9OUKoWEjzdXTJCrua2VTDisp4D/f9vEMSAmywMgmBV2/G78MjHF/ZCmq/cb/2
1HXXlsWpkHFaLZnfRAi+uzAHy5llKpc6mYQ6hq0MuHOlW+rfunvlg764Jf3pZDTnIVt2EGY/Msyu
jPDBzfsNJjUTWfK62e5YF1+tsUBu5WXFfIGYibuupp1F2HdXO4b/rZa/2ND/ijlM6yVnQu7pidlA
VmyZX/ugxxsLI3gav/guSASJbQHDtgpTiZeAxue+pU+N1fpk+9cxGnGfk0PwHnBlB5g7cVyKdYdn
C3G/42ye8+PY0TUbU2oy3sOM//OwLezNbXT1iduvHilNhk6/0mz86uvhUlt/capPiwVRfbtaGjEM
3c+OpLgsCtuKdhrvXLe87RETq4p/eSiFfbwvwn4b+cixqDNd9TKBwc+InGO1kULVwyz6TSFgelmH
0i8hLQ+o7vAf6KobFHhLjbnxLLT6LrEeGEuIcIboeCNr+5/SMM+ZZ9D6yyyyNdTF6qc8HMP7GGWW
qmcr0gTuZyZOs4pKhCZpfc4acm8oKThceAQE2KbYBgxzbkEChVk85b7umgp+1JFY/puCHc9h7Pa3
Yc9wt4OchDw7qyNzBfqj9zW9Xw/KhYlYW7BkduLIzANfYiomUh/Xxc7HBRp10TSBOoW98fD2nRCZ
5pvsWeugctN8DY5e51GMigoRsg9hYpI8XCdQB3X8L1q9FjyoTKOzU9jotgAt+wRS4e+s1FImfv15
YK1dPQdhPdQ/+/T3GCCZOsbATaX6HmlKOKQEtpi7bLNv+zLlivb+EXDqZJNPun+M6rD5RvrbhizG
0mu2C0j64MDt9Q04Khfxtm6wHvUfdJB1ns2g83kWXDDYW6LuPA2LuR0ag/6HtEdOa8yAtVQ+mkU/
porc+bS7dZgEyJroI1vImi82uCSZ+QV9fVdAPnEnTdWtCRXj8j1Yl8Ctbq6L6VgvJvpHGzcKzZqy
MePd2Na7GKblcYFO3AbZb0u0FKCclOBpUtkpxpW5A97kYdhi0s2KICWPU5CWI50eKASFlwx/u3h1
mQnS6oEJwuMiKyPWn8jo4HpmaGkW+0ua+WZ58GPW7BzFpENos8m9Yl+t7ozo9Sg20u6CpenPHcPM
DOQduPGmyub9jR7uZT36PzD5ssIEoxGheomkWr4dq0gR7RvPLatbONXAjnw+kK6TINCNukOQ9dzJ
bi6JdF5sbR+KmVMpFMse3WqvhzL/JWq6HeZ4CSf2sSzZlut0gCOvU4LCkRaJsc2TVOpjXg9ZICLq
5Ouhz5MkbyOziIyOt22aTiF2TsFmaKzH6UZqe8lsUxwKwGWcuHvS1l976uFpXp/plr6nbqpIijdp
J+075IFd4baOiM1Pp2UbBbqaE2Zpz3G/3quwm4TBKK2IqP0Y9StiThW2Tu5yCqfpjiyFDfatBNOJ
Ilknhd14f2lRAnqflkgw/t0Ac6d2Wiq1rCfu9o8sc/lwNJc9maFQni9zPfXXAVYERdDSwkRLVGYB
dPYws7h4HiND9Oj0aUz7UzrHUyHD0VYbIjpEEO22xEb1m/JpOeuOPyTgwvHiGgzoDuTicHpfSH9c
5iBtCztP9DYl4Q85p1a4ncOfJA2WErtB2BF+5tlp6kwkLMN55uKknLbsK0LIq4ht1AhvyXlg81pZ
6BD7/oVGasxjhdbg2BktvLenAJpThMm9Y6vMJT/oeW0koruR8dY8d3X4b55wRrHA0cqnT3DXQugN
24MimWTOTCOLJXiNyfQzIgonZzF0zYdMh2uy1jzX4bIIL8nr2tDiaOlvHpuokMP8EwGISTVk0uSb
TD8DleLvR3utOcjEtX1jNecwmJeP4djiLR6Tt73rjmrwkxP7hp4bo6r5mLVPfbLP4tjiDiq5Nw2r
9TzBSCwMIL96RP60WXLn5+EljjAe3/ilrqJ1n5CVHDy2KX2qpbzhZj7YteNialaTE4lh9xlZ2YL6
Tp0bvDQRkIkipFsiILL8TWZ9CL2D2Uv1dgq2GDD7aouUSCN8sjtBux879I1535iughBfFbRNPnde
39xRQJ4IoEbPH2G63pyGGQPCePI6yhjesswIPp5qeWCCZvs7Z9gx9368TskRCTk15zFLy/WIgDcw
/wu+/vdBOyA42YVlHWh1tRyhrPuwjI8Q/DrX198KjbyGYi6fNcmE0ZHOJ+s/e7vcr2275WHYlcTY
t2W3EuZpyS+EX0UEEDKLpvMkPz3ymZtQyhz2oIMYZvmTtajPxm5jeRrJ/vb/PiCyOsV0+WRR1hU7
c9ClNqMI0Go2lgXlYODrnqBgWxsF83iH4aA6+2Mh7KBhIbO1FfKY7g/ahDnTUZpPe1RKVd+HkTml
Ri7F3m4/CSOf80FfSRurE2uaimXxIxRu9702bQUf1KPCJRTaTleWkvAdSRE6HyM6l0GXkmI/IlNY
8qNtxuZMPXvI9Ns2dKIP9vlsE/7KgvSGP/+1tPxlArkqhigk1bwvc2Ha9Ne8mT8J1sdNbxjCYMc4
IZiZfZIdllNTwLpS0bskG7/3vhi1Qotg7pqT8THsp+w6m/apSyKMuND5L+1mGGFYXb9l7pm14ALm
ebiOcW3K5tgeRhmd4XJLCxX0bZ4dzBRRvVtx8OSB6yysDiNbrJEJ29Ak7KzGJ7MjBnazwLZxK9qc
bG0pYTJycrichpDwpLf4M/1+S3ZSX9jm7Y13Lj3XETYs2B3lSxN3WM1MNKpNirXFg6NkgtrMDEhx
dl0rdAZPMMvMLZC9LGLflOm6uzI9ch6MTUnifGzQ++sk/gcLbC+c2Z40RIIBvaqBKqwn+TK08b3v
os99Sy77njYVar2/lvlyt3q86/SWczeOVZtAiVan08e47kVS0xsy5daKa88KuEnGHQqigLgnHvjL
RPaPTfM9H9d/YwCMn21uzeO2eU3RIAg/7BWDXOYW7+EbbDH+jZST0jXp0z4keMDAkLCQzjXY+px1
+M0TZKVma/ojOXr6kK5O5ahTEKg84WjPWnuJU1nwFvVUxjSifdlYko0/p//xcZH5ODKX837KcbQq
JDGF531fdeH/8ZT2RWv0IGwQ34XsjNmeDCNmA+w5MnUesuHm4u4RySY3miAIjWb5crR5y7qTC9mH
XGEJligElo7E5SniurjUfxUMMMt2/MwC98baQ9Qb9N8RS/6oZHjZ5/AuYeAN2udlmN7t/bTXueLL
B1f1Mwhylof1suSnjEWDgG38JVuCf9l65GhBcJVa/piaSDRyuDvk+sE8ec56/uXtV0os/p7ROe/D
5cwj/YqINeE3ZUTms3+RlbGwPloLgBIwHUz+KTv/t8ZhW1GzxzA2k4locduyAMlgq7q2bhE82sSy
mIoT8jZPdspx+H0lyLxJU82FismDWeYL75gUvfKnfQ+fR6seaouNfvBXLMrP3XSC4vWaJvJ7ZAY1
OzO5XGmX+/UxcOMZ4Ul/D5KWddKfwgDRNPE64ChRd0fczKJTZMFad6gMEkgHWlNvKELjp/ZpTAJW
2Ixcm84jykB7ikPaP20z+eUE4raFN+j+FqXf21Y+UN/cjgOG5knkcLEbdiMWPsXBnuFFkRefAaMw
5CXh9We48DxKvBV9p+Y86evbmOJeHF2fiobXBxa+fqVee4Hk7U/vf7crrRKUsWaN8jq17+HWvEjF
ri4ySLev3ZTrkb1YFa5VPJKLrWEhPuFNLIcmLEJLLkcTogYkwy/EDktkhM85/LbSotmSV5j6n/oV
rY+L1ivPZAdXLMTxaYxrB02PAgoOntdok3k60OO0yQih9K98xCOedu2wadi/PmF3U3b4Yg2+mZ8h
JCLMbrOJbZ59N26Ed+etT5XY9yk/ohr7Xd8i8lKa0iv3GGqFpn/kJ/zgIvXcn+FD+kBG5SsXRSgh
g8KM7376DIcY3qddJ+D81LD9ss18LuuQ5ipdMbXG0A7zhnxJ3/6c5sFWDitWcIbmsA4xyD0wc3VJ
G0MYGWO7+VrJNGJQB4WmGsN8Gre5BAhT50gxusDoHYtZ+0eSbRA3YSDmZEZ4wo6IP2u3vwdNIuwa
SpBAnhONR0lkb0qrmGj9xK50+ANqWCiF08mu6UlnQS24l/+tY/QfaviCJ0NTrJwYUe+InzxADe+S
LM+OLaoa8URvDdlzxWaJolNvhUrQ5ke+fTnspsG+1zRvWziqdscALRDOlD6SX2M4yxPdwI+ZmcsC
bdkojjmrGEEdM+D3nHEaWIVeucWb7vaGlCrEHHqUKV5sKfuX9Afe8ITA9ahBAmQ41A/D+OIH6c4d
zUq3mh9hPStIhQNzW9MFRWYv22pSWydmTN+U9L2OUB5nXRcUDZJd7jLdC2nkh6Yzdu0R2M041fnU
J6yk7fGVoi4wTdM9LtN35devBtCPP3XReIuBlYtwTg+xY9I1T3ZsumuLQy3Y0DQEWfYaLUcRwnu6
gHoLbNJ67ucsxpGECmaA3eEkDVo5hiZ96OQtSvgvBtT6hNjMVrk696avC56aj0UP6BbltsESboaF
r+VbNW/SoT5asSxif9vb6Q1YLpr9MNfsOtoe1QC2DgqbzmIw4xXzRj88e1NQxOXGDnM+OjjW92uP
LN5dQBTKSuK+l2ESVpLHdbksOGyUHgq1r0I2lL1LgryF1fWDCJu3wMX9N9jzlE5yKuwxVpYrpO84
JYuWtdvZterEu6EtdOuwsHhmcd5sly2OX2tb0zLq5r5wg9RlvED20/sgKXTNuBjIpKsRzJhIsk0C
0D34N9RwDliIhdR9j70EbREDzrsRu/3su4YKSQAWNP3YnWHM+rJCsSjm9uirxskf8hcZa/8Cs7em
2FecjXu8fnEVl/PcJ5iK/zY7GI4+7/l8nNstXHI30ASPDVOaUqP3tj67Zs3e5fKXpzh3jgAxg6NZ
H0eUFUy3nVDhZpBzzxByh4tN9adCbYVKN9kL2NUthfpmNaI9Hm8ma57nLohvx4YbHmJLDTGRVDp4
CiILIl+2Y0OvQBBrga1co4PMkT/EUOulb36ff6PpnqqsXt8Yb27KhCfZBu1bdCSI0tLhcCYGUd41
ONwhDG3RHa4kTXCu4Vd7whL/VO3SnvpRhXly0N+rKgynUFwF6b9oXNcCLpy/MzRHtCuS1SHuvaey
8s6jjfdqusgbGn9WTAwB3utIcgTDfzlphvNg+d+Jz5WEF8Xlf7hOxH/zMN7zqMaHNusBN+rsYwrb
q2RRdx7Zn21F49qlOLVS9gNHHpq0pt4vEqsIuFP8UG/aXaqoSX9zi0CIJGql8FG7oz/oIqHd+hJk
aa7mWt2lgKqaLIaKmU55MGw2p4TPsLRJXGWkP6e0e8FOMAiT0V30BD84/d6UUK1/qPEl2iiGLyZ3
gWtYd8Y5OeYY/3vwI/bFY8FPbUIsVDlZIJP0cVri08TWJLcLncoNO4laKT8NyFHsus0+ZntnS6UD
V1gn1zODGF1sG0wit8wf6GixrKO2T8uUnjXSayEv6V52WDKuvWmqDtbhgnd+rbDMXTkHTv60tIyT
7AT/nPli5ZTliYo9XshIXtCyXFLHqugY+1vT0jNprC/r/ojRR+PrmGu3JyOPuYiyD5K4+q3tdNVA
+XWE5GNmPMo5aUxu0YjuckX8lN8fpyN6B678G8o8eg56HMpr0B5nnfnpzKL6jyY1E/D7qhSjXzNz
f+BZViG3+xMF6lQO6mnql61cE/e8Nf03fANTZxmg8cvSDLOs5hv5XF5XeFTd69Rcwg7vzxh3cEiI
SnhuwrgtQhE2+O4DrzKkjF7dVrPmMDWfwzWpxkHdYeR/KdkoZ1EPmRU+HXQ5jES0sR5vY5/IYtPG
5XGggpvsTkop2KDX7oeOV5ov0/w04aWq+gOIO2sB5BhOKrzPodAW8GpKAX+imsBpWtYb3kA4WoKu
TOkEROzf3pHu2oXYztsBQaa0xfmdGRXg64gWqQ6jsuc9BE5pdL+iJFRLD2RlBZqDsJfHeoF/YhRe
UsQ+3tg0XeD/YQsI/haU5+oV6Ig6DcTnoHQBRi5DW8F95BbSw55Vv1dBa3mR6IBfYBGdg4JH3T5N
aBIb93P29X/STY0Ag6vFNnFgQ6iDJbF4CFwC1+Pbx+aTP8gv+q44otfMTOURjeEFS93m63pWnpDK
wQYj5MMoFhWEBW+a9ykCkgO5rAGXEeUGY5TF6NvPNcMUV4eqVlOzPRzQvxRZH/3hWQOr3WFKb1GL
IXqUxL4YDvs73siPuKvXvE1rd6rXYRAqAYi6Bdtdg9FhlPwpEw7Ga1k454vJEHGbCejRQtQfzBWY
NJrvg9mCgkn1WCBJMBJ0RxgbalB58L4Y5AxQb3dHDvdWiMAY/bDYKgFgQL8RYTtdbKrvZ3c9Ws1K
FNJHEWf6JW6l/e4t4QoJ1/wzipsTPOBkSbRpcoyWiZazCLeoYQVazkhsUfSTEXAeTs7XlTzNIRnf
wSq518Mr3E8Nz0ScN2JirCnUgnQlmZ7aJVFPZnq2oCZ4sBfRMSFSFCBnuY5YHzAKGXJjkr6ckkQL
nWJ5TbypIG1bC4fFAZ0Ye1TcPyVHe84gv79kQXO8xDO4Txjt8pyw9aVLOdga1UVFf7hba6l7nG38
Uu9ZfG9cEt7VY/unHoaonCIU3mFc1eNKKnTMUR4DabnQOh0A3eZT1OjTFqw8p0cXvoRNuAIQQJE5
hzF7iIP0tK4O2ABkHzmgjy8LgF4wnmZPmsc0r+tkqaYNX52Ydc9JKtnTFI7Tte3l32Pv2vMy3dHh
CFGed+2pJUD0FWnUMwDu7cHA89zuur9MYydxOrrtnMC8fR1Rh9EjTE59RlGHtY6WCsyJJNh5mT36
U3NMD1EAwF2r7ZqQeihYmqQ36+efA+1LiEiXd09o9BqimkVDezciluxhw3abqz1j531NPg7UPJsB
ES4P+kI9+kdfAwMLMWhUQMD4tgJJeUaQZR6sfng5YNmbrzALhkMmPOYHzMW8HlHwCIZku5ouPDHn
yam3sPKVkYkvodmfvG1iAYJ4zLsQpcy0DQ4HVwiNi8PG1oz4ZQJblzriyHRw4W2ur7ApLLScu+f/
fWCzcfmMeMVq/9o7LHnKW3PxLthOM7xG89i2FzOG+r6Z6mKVZH2gPTXPXStrnC8GbsxhcBrGdLot
fENFD1w8DvGsEA0J/21j7UmT6Xq45eGII42VS09ZEI75IiVH6ZHOz/jZwBzo1F+2wf5lsHquQp3c
dEbju4Dqu3mDL/MSpU9BT0HMIMry9X8f8/F0kFBVNmjSPFgw2Vd3/Jce4IaBXa7MjEeEYGOast94
kk9GVjB3ex2Q0nrmlLhy6SD51wjxvvbugtYtubJ76CbpXYuSNN4Nw6mXyXLrGQdqjObaLCjQMroY
gOEpRZ8xB1gq6ed2YOyqUWN6NxYw1/42AM6+vM7sqXd7xXtHUeJTVyw4JeAbe951dpx29T7q9TjN
A8qnmS57MYZQfSc1UjotQkpQNMTr4yY9WmAur2qDs00Am6gMJUq+dllc9LGdznOS/Ox3bOWxnD/7
aGlgUMN18a2duEx70+SUZeazPtBr99sskD8GAnUHzzQEgHXHMUpFYAbcHjQHpxAOOkM9n6MkWMBH
dFQkff8Jh4T1uQ1Qz9H+vwWajMcGQwyFsnELJiJyBbSyi1imDGF8HaaB4bmOARZzGeAEMy99c+4W
hGTV/9qJzVcWIr4bxOpwY4McTglM1c8o76u2i/srVyFiMLf9qoz5GqcMCOH8IKNair1bYL8aUo0R
7O4zGyy91Q0JL67uGxEc0Wu7w02YHdkDnjjYOEmLLAFWbFOErmUkvqckNT8iiRZfGp/cz8Puz8DM
jqJL6zyWIJM0gpOtq5M7kwBKBycKH9IRUHYDZDzSraBbgwcLAMkl4DXWbvcvMAtv7iN4vm3TWlA+
7PhyHJ9UR2ER+eU/fjzP0DWU6EDe5IRSYepOEat9XucuiZqq7tfPJoTZ+MJ9ipMj/OzQQqEADTOx
R2t0ASutT1NaocQPBE71Io0Zze2Okmntg/+mKMTvqo8fTcL+2XWeCu33yxGo6ao8+6Oz3qLzWbL8
4GOXr3OPYpGCEdZp8uw3P+YuqpciG4JBBKH8k1FV56ZHDrAEOIncPSAkepD5QboCcS+B4Edtr5lO
HxNt0srAV6wf+Yr9HZcBpH7MSmiiGqhyEp8vHphyHYNt2bP/LJ0wSkM2Dxajm+7CIfx7mKg5r+Q/
dFnu0U9pUfdtewF0/rZlI0BNh6pnDXhyRnPXiUP90h2Y7pTs7rFm4yrWVGHpHmFTkLXDgTPbFN2c
znXw3Sg6tOxB8BftzXjG6NPPMCRPi5YboF8CxJjDR6jTf71JghMDbtOsnViafhNMUpAH3+B6CmOT
XAsr/U82B9l1ZCPisEZ9F4RMUHAEJUv9Xy6D5ymBj7inx2vIZ7SIdf+F3lMMrO7OCzyRGhLBVjsB
39WAJL+5oP5VBwdHCmAHewBGznY6yCkIER09U0GpBWnS1hIkAEGEL5Kb0EOPUTElykCYb5qPyCF2
Z+UR+dHX6P6WE3Cm6TFl8pujCAE5te9BkJo3H6mHKIlUsUwAsueZpnfcZb7UAWBsWk/ojrSS4L1H
WgKN3u+m43HgXF46bbJq3KUt1sWDv1S0K1M1PGN7bkvvIndZWxY+bgNSnzqqcoyEbrd6Xj6zA9A5
xiBPHUS5VzMzdrJrXQS1ZrcOZ0weU5xRQ4hhlP/V1s3h0/PElgtyDz6S6bor+bTDP7cYwf9jo9QE
EyQS7oorjNWEHVJa0tDBPr9drmMdu7MB63tDhCmIdrlceoeF0KQBCEerMCK8oNTVZrht0M/sYXbt
2mi/jYP0t9GgaOYY8Y93359isr/jgPwpAx1VU7L+qldAPLsr0GtIUMRjiJ6A+9v/Pvo4HR2ubvik
B2ATE31psLTXVr3TNgJfviK5D2/Cm9S8rhRgEvTV+JBGv2sM3ADaOdDK+/ANfmgYFQmbvxua77Ih
vnC4WbdocGwEEWiHb2yxyfWxX0DWsfOaHBvaPEBE3Xb8hqUlq0aGLWGHvD2HsfE7Bh+CqgnSZzke
68nZUFZ7hkGOAeTNnRvsclJz9qbthlJxk4uYtzG+1UjLAVzhr3rr5d0S1uQUHe557TpegWn4iTHx
PR8s+crm+H03O16rlv9lPc6GsB+yvAPhl//vmyxVQZlsMDBrAJjffDNYDB9lEwZuTIRUmxaYedN1
N84oEo9XMGpJ4mEcMiD+ja+3tUWu6ncEcDlJUOqbBzoVrfRrV7usgoHx0z6bR0g/OpGAYkbJoh7/
931maQK8AvXFopiFudlyzyH2vTFAvoDJbCpSxocbHx8xA+PQDaUXOEwjbuH7Y+r6a8OMOn9XvlcQ
WQvq0muf9XseAArGgcsAK5sMzCwQtGu8xgP+1egL7OwcoxkiCeyr45v/XqVEILxBFwl+8WsL+iXv
nW0BXis04USijZfz8pviDRmd2tGtxycV9c9QnS+nqDY9YOeAF20a9fi////HMqAA1qBHTsvxM9qm
sFwHbF5QHmDIwk2p6L9FKvVcfyHO8IR/ANHKe3QsywkDVsbw5i6V5kXJOszNAcQ7qH+zbv7J9GCf
TAKoNUZw9yUbAMPHyfFAR5z+kmYYjmrQUXjcP2Aj2X7C0lUFZOD6ysz3JAEmzEJau39qb0u+y7/E
pfw8NVMEn0xABmTfXlKFZilK17JlJhAUGgYAD8cDq9l712Xzmay38XsFYphkL0Djw6l5XJMrSVrB
qUHmCXy5oU7gaZ7FQL8mx154vNMqTvyJHb86T/N179/w+P0NA3sraJkoEdjadhWa89RtuWyO4WHw
8XQfBz1Igfm6B3WNVYgpMxdbJJfjAoGjteO1M7jOvgMwlznkDcXycSJduUc1v2mofzhiBQFrBPM5
jntMeQPDBO2o+rIdWrC7TaPyTseylLx5lO3K72elcQTUGqQwAxRV20To5kx09Hh0eIhxu75CQ/UW
fM/uRdM0AvIzukDd6FFXgRIZsqcd+0repw2uvHEvAzG7SNvYl1hZ4X226Vu/0eG5hio5X7MJvFaD
UFyfenuH5vCl38g365rOoJcAllAJTPQIAzzmbkYrLyNwBWw+gY3/aOfWY7Ble4/mMq2pBo64hUjm
IeE31gqyup1ekY0CPBjpspj+z22XmSpK9h8doe6qm/l9nrYG1L95BuOKo7MjF/iahidC83hQSREN
IOtGj7kl/LGIGlSjgwUgMhz1qQtGUrQtyBUO0OvKLAAdgEiBiFPMADqHAQtcdeJ8AuwDj3Gf5f/x
dV7LbQNbun4iVCGHWwRmUTn5BiVbNkIjxwaefj7Qp46npmbPDUukKFFC6F7rT+u3cIYhmham0XXM
jP37c2s8nG5fZQCWe90xQIzb5VS4VD8jtH9euE9rZxATi7YQjQFM+KidkkwBD4NwJqC2QMGRhu1K
e6s2qbOf0xFc2HVlsNqueSgcTz8wOHDhsjO7w7DxIRZzj1+sxYGfWHozWOP0zbnnMokPltMjBlFM
heYspn80QDtNDaLYGaU/gpg5Sn6an7wV/aFbFV8mNZTvQpZSrLJrmrm9Gx3xwISqeF+v7i5b1uqU
JtorI/vy3ThvxDysx0JUn985y3KKlVaLOi39aXQD649XrOFAG+kTyFGfrDEfg6SoqkBFSB2QOZsE
C4kLPqNDIQECvTNKJF8ok9LcPjAAdFvSm9Psuo9MzkK2pdjt6XZ+40zdlcm6s1LhBZWxacC275lt
XnCjo2NlUDkL2PbVanXcQshqgrgEaGWUQjCs1jFVWlRioE+M/r33Bta8auWE2DQkYcOl44uyaY9U
O36XmUCzXZuESpImOGyzt1TlZp0yfpup6gejUdrTnGpRnxXWvqt20kT/UCT997J4/Mp+UoLKTADi
qAAydKBaa4zcqeq3bTmvaaUb/uAOM0uDpOly0vTQKx0UevlSZOmwI6ZgPTGc7Z0gBy8qkLie5NQ5
wo+9bgwHgcKgSsXVQjK8G5THke75eDtPoynqUzMeLFS+UbGW30VpxH5XU9kMD13jlEebg2GZmUTD
Mm61Zvo4cbjUaIBRSoQAvay5N4w83jeNgmTHoGNwNeVQt2UbAYWgMKj77mSWErmJY73RCvJse8jG
PIZ49oyAS6M+3U4/lUkGqz+pkSFG35UkjM2pChS1/Uu3h7rPqpNJHPSu5KyAWw6npM+3nx72UID8
8SM7YaIW2mEx3dAQDOikVm3aE7ll0CvIMVXAjpM6URgjI/3URyPs9PU6cxUfl/R1qVJ5B1TphJ7E
dZYzHPuaN4O718zxKFIL+Zer3Ml8RUs6UDllHhYCatqF5aJfd1MD3tMszSme3iHgxB3BGtrJzPRj
w8ikK2vcLp+T+TwqQwlMlP+slITcaT2/giBUeweBkp/HLUhPCRW0sfmbMvpQTUp/p9nFj76x2gM5
TN6dVuT23lKW7wqg4TzPTdSLDOXQYo2humiBIFQO6TMymFUV2L2Bcq5pjna79Mqr6yTwZxVhV7Br
xZm/b7cqa6Ihan4yGVp+QRsQGFWMaEwHUCjzyfBLdax3qyeGndSsxbczUkIbZpwXniKusOQ9uiEi
FZyueFqH5bCCLWQufPsT8qYiHJPql7AYu2d3iBQUdznQewOxJ5HKoAK4fNR6LXHEkAblsyjOzUxG
jOtSuZDZCpiSlCChCvJzEQ2LgsWi65dw1lGTDH0ZOtMoD6Ylf9bw+K2bqzu1T7KAf6so7Sib3PZB
sZrvuXpy4wmxbqkRBJeiU3ar/s6z9Xve8itT4pMa17thsoMyLcPiwQYxS6gbQQ/8mgV4meGYk+SZ
iSKo9NaYiKbOCnVWr9Ht8qDTioCZZU/CZJ9V7fLU61q+R2y6l1iP/TavV/SgWRs6ZR5YH10MepFq
S89gPLMMa9dGwKQ8GFTLIeczDb04/zEqDawGHwi5qrdRP/1kK+TSVfom1ECuYA5LYIo2uSRNt6+L
Voa5msVBZzr3VvqVaS27FsKt0NPRhWvua2oDMqFkAIou9WAYy99C7XZykl9t5X4Omf5TV9RjZaco
2wRtapzFPhxL7pscTxucHfaw9AVktT9tULJuX/Ol0QNEuHJ/RONTQWKIX+Yyl6FZ12hYK8QCNCNs
pdq3SFAorPo32+baN0HWoZfMeh0Z1ZpHHQr/VWnO5ETmyM9VZTflFrhgeo/D/XdtA3dVM3wUec1f
CIRC+HRSvS03g4nIP5IiTHPtrZ1bkyXMzLfhtt7OoVJGZVdlgZauA/CRDpKvvWjFeFaUMjQm69Uy
5kPcWhRFKODiVn0k+/1oxEsWslnGoWvkgWN0v8pYOZUrUkpXMuhFZqG3MINN9gwHdek1KeueJvWS
qCfbNH4Ojvrulu1XMg4vDULWRmOEjtO/xTGXFB8MwGH/tmMasXxG7tAntV+PbaQCDqzdcKdiuRYU
92qnoMZo1DZs5l9wemXUo+sKhrb97VI973VlesD0cyzrKnv2Jgr4eHHVo+K1L5me2juFbXyPVLqM
nJL7pWZwu++Mmkpf2F/mAhXigvIidfLnFKomEncezrGgGcQpsVQz7Boz22WyfU7EXoOVi8pMU4LZ
QKtu9aIP5swRezlXuzYTL7O1PurclYFTVxDwmZHvqjgxLqubvmhOPB3WdHHANSq2pCH5MwpLjxr5
tAh+RGaKF3TLz7oyAIjHT9j+NNLYFTJtu9WLN8jbE1JFEaIg+YPtOnJi+bgAePb2etR1HQikU+Ht
Y0Sm6BocqCUfkhUNVFdFhjYy86BUEYkpTn+aYnFnrk2860z2BWz/7UnrtR1AiBak86L5Xi9DTDG5
r6nZ6BvOXENLYLUv1n1m1X9Us0EXPletX2pGMBUgSfYqkQYBwiLQAMx1xg9LB1IfvbhDnTT0vqku
X6hRdZaRgzUqHzIxA9M1LwVbQNNYH0NsDT6lROwIFp+WNQoNZjQb/Aft7EVxYSH0Lj0UMIYCZU+B
BsfwlGsF+0mplAyjyILJ6rq7WIqD7Y7ndnCiCTuLv+o8VJlWk3+vGqEw+jbIZJMHdjwbx1xbYeYq
edTLZbmstElhV2yicnuQACOuEywmrXEiaEEyrWzPmd5d+w4BSmW1Efewsx+M9h3hQH2s8/NqWQ/F
KgwUSZz+pQpKW37LWP1S2k3xbLe/zNjeQXyw4iT6eW6LftdIN5SOh/PBuDhUiDszU4qo97oDar8T
hRScTIz6vvS+0rR5wChxR5MxcHI40VNpQ4YjJoGQDLxxUHZkSuzXLLlHPbiELERWoaQ7T6sTlGT6
x5L3UU/nLfKjWbp3dQ4HNGA0UJmR682Q2uXy1uUSODR9iFHN67FKf8QS0s31ElgJR0udHdR1e006
h3kCqZSe9bWs9snsxsNS7GKrfJ0nKUIHlGd3lS4IPEBDFzgmF5OQAUkdGjRBXodVZVZUEbF7Fj+m
fkAr1RAyUwLbqKVr+bE+3iHAmvZCT3/WQA47bT8wmyxkrEEeLAyabe3+SXTeR6vIs2iThjQmISPP
ugfICgUHNTDgkaO6TZvALJIPXKHFpx27KJqsbN1xDnc1EfcXZgx0kAjr61TM3plJZU641szZFvGT
nrtnLFoxavdlnwD3HOfYqS6Ta9Vsb0XYMUv3YpjCCMciBd4UbJVOXwEKgcAHtoo7qbc7JeiUmCGG
2jKE2IuQCo+HQtGGXW2DN1Sq2lHRFl3gpk6PlCWxOSzS3CW23QQpsI9vWHh1bAPGJceUsTZd+cx9
hv7sNGvaZzc7SZCStTwqhhkkS8PfIJBQFZX4VF2DXzRFlizWSCzI0e0GIcGc2mFlgJLPnjuF80Bb
X/PM0706RK547id3Crj4UNEpFS5I4Et0337BEBU/jmvUYmuMpmJT8FQlaLT2WHEK6WLaYzH000Gf
9C9SoRaE+IiOkP3tRrTph1n7VqfZPCSbb63JvIB/k3XCyf8oaXttUqYTV1o2AlUuLC/ZiSHdY7Si
SPOTFnrBA1iN+FuYrojaHFYJiB4MllQ1s7233JE/qcGsNw/ZfG2XevTBCqZo9X7hAVuPmmj3qeca
4MjexRqqGiBm0A70YeEU20Cjk33pm9mJNKU8iylkZowWrhXKRptg5cbz7mJxnlMOFb6DMrBGy/L1
ciIktDnkjBTDOuDoPvr2ai/NtoamVtdnO1HOC66gT02bi70sde5/VH3n2LCp7pN1W02y59xtrOvS
CprMoUg/p7qf8QhYxamYWezXsm2O01nLSWUtJluc1SppTumKecMxa+/DgBRGoTVTJKmKuWtyI36x
Uytainn58DwjP+JZMD0Xy5Cd159I+n4V62I/eIoyPIwGi7ibPnZVIz+lq8+hh9rttDIAFTn2CtGe
//Jo3D4hgopj6zHUPqbKdIvUPVv815RgdgOhIqt7/C3zWaz9T0SNT3GtGR9yKZ9WySckxjDT+fER
0PyhaU0VksS52rcIEe6Wmiuyg7j0dZDku6R06fUSVoi81WZqHul8ZLjGUrv87LZDQROpxwgDV0ZM
fepmWKjab3ROxn1qHmOCWzjB89fUzOc8i5s9rW2yr2RKnakMjysywHAes+Elbrpjrpd7ZNAU1QXy
jyQf3p3Cqg8eEzd9uX2etyoaiYDSPM+ajMOV7ImDjcDu9t+ZVWYdVUWqobnWy/1sg4lVayjN+Oi0
vXbXwW/d3b5CBPRUasyCTOI06t0e1VDqTNdRecoQgv/Q4yELi7k9VeZYHAQbRJQgRfcdE1dGykhM
DDfiq4d0CrseLVA1w6yAadIwdybosfJdyzkLpH26XVYT6+/F6rgekobqkGEhMNUs2Sl31sqnrFOD
DdJGooQ1A2vPqKLCMKsfRsPpHNfiApoBwinjHQ416oVJffEsjIlo9e8np/hq0YSHcSbwbamJF/Vy
RC4+F/0exl/N0X8K9VfTxto5Y6gbtjkshODEQVofCKFPI2bW25ErKDuJIf2DRGs6GgoslIcRKxI9
i3Vdd0Re5fdU0YmvpGV2YQ84eHP/rK3ZtU3zLMo1fDb6oCwU2Pqyj1leZaL80meOg7tOyx3y/gpf
Va3f4VWBuivm6TR6bwq/QCkMpgfHzMpOx2umjxXCjGk5O9aPrpL1fTPkZ3aDnZa/DPbY71KvP7ue
jgTOLNvdOpk43iYFvfucNldFXmwE6WbedM/SRfpl5tdqst0IeKJ9MDYh8kgl26t8ip6J/tirS3aK
S5d6fxnHH0CMgGlz73ttbZ7duTfOS++0rMTNnUaWCnYfWzwmo/1S6Qqhnpb7BxVBelWxJgddOrg7
p3S5HlUuLuU6WmB2TmwrZ7zKl3zJrrOKD7FmXgnuSZwPTq+uZ/pZCm+96A5QZjTyffknLuqvwaP8
RqSY+u3CUdyU30G2rkqYiG7wjY0gxa1y12tq/0SCzEdf0AqM0FznMqsOGIiRyHrVEmnbwUmFqJ5H
TXsTauX9QBMtAzttqjuBrOzBcx7pmintu9n+TPtZCayhMWisjddhYYO3UXout3Mv2w7+QYsQh3U/
EgRYGI0qakgjnbClKFMkMnlvT9HAbuvoXX4BnprYOTDCrYUZqE3ypFVHdy4Zvz7D4prMNiWHLz4U
mCs2JLZyE/1dMXI46jmuo5ni910hI841nLNujNar1icoKbdCv0nrqHBH8y6NC4F80jpx/c0vuf7a
agowtuS2NgzAFQhoSQGjkvHXLC6WArsRAJZbi+9Q6ijNz6zXTsygNPeyUrEEzsUpMyYcytnP21Ir
NH680NYNuCyPyMevuS2Xo55RBlvzcI0HEf/wzDkP8XKNftxrSUSsQ+QNKr1rA2xgDu2eeJzkKJAa
ovuDnx4So9uX8OHs0iIOVIMOZzTp991EfTbTJoSzerULIBqqIz3UXRqKfLsGOHcb/KH8UWplZ4j0
1VjqHFRIYG5VaVgQxrLxduzjo6m+K2bMDlGhyqltJKNapaxBp3vvtinfrWLcK/b4RnUjLs06nJYh
eTJt+TM1HTQabK+yo1wfZEaZWqY0hdSdwcqpyhfnydI56bBLE5y3F9VGYh8QRWZQoF13TAeByl3X
MRZbzzrWT+nA2XZqeY4tBl4MTLj3RVJ9Kl7zqEmKJqJeLRpnL7+2VT885aJ9TWNOuqmwFutZ6gZ2
1oSlFb9kq9tF6mbnw36GnWK4NzRIIhN1K2T4sdNwU7abfsGNf7oCirpwdffTMdZT16vGi0f80Xma
KOrGdgm9bcOWClKvtjM/Eo8OZzZVi319Zivt64l7KOt9tyDQTslB71q1bO8rzzSish26g8jUcT87
eYvZS3tLB9tfFm4DVc5g0l0FZ6+1oZUHvRUjE2Y2yTYrCpCx0J6ZYVQ/geP8mnLTObAl9X47Ge2n
h0cFSKQJc40tIcv7AQaolLtlrulsYpyDaXFO2CTmqVV9SlpxWXOo9Gz57gtO0qLggiaFY7fGzaPS
UTfASP503Je0aJX3dbKe28SiJC3La1Jnyb7Hb/mJPppQAlxWw4TFcarMl0Xlhr29c2ExUqcoHgEk
boUVagSguEbpTjNWhY9ufrOmsX5D6bnL5frZdRzcWpA2YBlf5rYTTm2/4sfuub/BCbiCTzFiW4gL
IzAcwz2YU6adWboVRCSMnlDVj0Wv6DwXgi1rnNqUOLH2If9u8133XKamSU/GUpjPKWDEcE2xlXya
Wf+AWqh6FlMlGVa7JkHcTvxBCcvRCE92pxgCheAY39/en2mpDsVa24eud+6qpX5WCcsKRsuhxC/J
6rPuNIWaRsUDcyDFpt+5pqJ/jjN6cxslPFaycZ6BAlD1PpHF/FyZsv5UGYsUdYnGxaEr9WfF2eSs
oUFFzbSrGsGGKEf96KwFV0ZaIyuf2NbVcrjPjPRbHW35kOV288ge9TE2S/yhADFGi+Yg/BCJ8tEk
5m4BzQ1EG3d7fTHvS7oxNErNuDPryQRgVkkGHRfcqJ0DhrUSy8qtrtypCdCtt/wghyKmM7To5ClL
Df6zz7JSwasm59VE0XNRlqIJ1CLNPkVXfyVedVdU0r2A543PWjo+3O6oSdUgtmS2crPXxYdQ/vx9
mbzovWmCrTYjlj9BhT3EIt0bnffpZIkNZO/11xlYyp/G2P60zVQE2loMd6Kf4ietzR7QUeSiy32E
OAsd/7jQu/P3cfuMACQyfS/SJYDFtj5n2X8XHXEKaqI+Zom2QkXn42OnoEoGxfZQk3zUagvHRRpr
qGP8e87y9bmJ1Wu9p7Osn1xZLIemoNjtjfF5gGzec7nMIW3erqvAQCoiaP1SUPwjpPI+hndBEtxr
MrV7DjjCCTtFO9Lk4w6CjE04Y/Leiqr1Oq1PaK2TxzmFz2yTNb/qhfo5JTWMQwcBkxuwgF6b0nGM
rM1YvacOfTCw1BuTEyIXFhxf0MQZzpGcLfZiI5F2IR4sWJLbw9xDWf1vr92+++8bt/f9e+3f0//4
2u0b6f//oNvT/+21f7/qP37a7cf+7/f9b7/5P752+1X/Pu3fr/+/X/v3F9x+4vbm//EaTiGgw0F6
ewy89oB4bmFZzpWTrQFoKJk3Bd1apeGaVPMFrGliV8DLrw7edCkYrIGJZPuyzPEi4/qb5wvmKaw2
aXmQ24/8t/f8ty9v30oazJtOrGvR7ecIxPVYtPcSQvusGliOSYVFlTd6VL+KgWpST19HTQeA2dAP
KLjCt6sE0/S0VJfba5jqq8vtqbs2yXEgb6MHfETPSOr0xR3p7OWsxhGQqLxIu/lTzcgxDKOPd7M3
/3Itewm5P2SwNE59Blv2CeMB2k/039nc1f4cryAzGtBqqhQzASTmdZnjd00w6o+F99KgzbcmhxtU
OU7OsuJ+ol1LFuIN2/yjn+xfPcJW8JMuv1sXoR9GL3vyhrUJ5LIFhLfpV2z8bBsVA/XaC1+3Ut1f
1vNAsEHYa4pgc7YjOcoOT8aIKLsmMRX5R7V9OOfLxiu0CQtouqhE7JDInxCTYhGipOzDok/CNdZW
tELs63CCakQn/WllYD6Gh4/K6rFFEh1itMow+kE9V2tElIvpL+141hopoyKOXw9NidwmJrAHDKnd
z+twZ2agsZrMvvva/BGD4pftr1FifwBPMk/t0KJMshISaXIG03LgNDve9KS0FM5YHoZc/WA5VC9u
q2LLTxXqvvV7ySd6i6xvQ0Gg7rTGp9FoyoA44m+kV1FuSu/ANnpxTAbxOfAUggaxhSoFilwPBur6
sTHQ3nAYVc6RPWLdhJ0EYJ9i0maqNlyzacYPQsBZNtgPjmGe0aR1USWGHEEdusKpSZD9gOBJqG+Y
VCJ6JqV9rkktCmIPhNbK7DsqwAnVqrOfZowLqpPuU9WjcE6cl7VwaS8MtEGQpSC7NIIbBoHCp+3+
4DK+FnJJDqltHDRVPhFkQkwDA6+ok9KrdDTLb93sR9EuGf1rRrO7XbXDMMhLpqIYquMSmTBhDUz3
Gb+4uJBm2/yQBsGvDu3MwctJNHJpzKraPlqrBSwnGPkwlsg647wzdnG/BQ7xF97pVO10OxxgK0O1
YPRaF2KT2umIOo7dFBJtid3WwibMsNsUsJJZCJk2RQbcc+gCttEp4Cfk3c+gJ6htYHr4psxgEsR+
zZMvL1aI4GB4iy+cgjDbRf0hVSo5rXdO2XYHuxClQZNtaSxEjJp5dVa9xAvzEpw5SfnXb/9/2pk0
G7fnxbBpemcAPRJaehvTkpv8wHzGMTedPup0lRVJDM/KWPm66fxuyR8OVOz0vXTngIQY7riVU0k3
YYWyBXMbWizcbKrmaSEoupi8g2i0b9yCdjjpaXbkgjj2DZhPTK/cGSBzhjkwF3aU9wy0O8bMdPGL
HmGgV6g9S181XGhl9gZ3hg3RE9qpaVy6quBGMisJoKr2EGjbQUfuzMwMTkmdMjrbnocL1pHWt0gU
2M1AKUipiqg017ekbrOoU+uzpVZoFERrhLQPYeGST0Rp3rBKbuyd8w7c91xjPgda5HwoG49vTGqo
mZMKwyrYuVdoQnZZWPRh7i1wQAJADSIdugynEDq8H4hr64PJkAHQEL3pO/bqTS8p5VObxnaIN+AM
thmZbjmijMvlxWA6HkkPeTg13vO8oieMV4gX5ub93Rpuy/6i2UaoWJmgg+qI2xmJKztrLDgJjUyY
J0wJ9nSRX0w7e6jN1aWtwW06MismNBA6Ji6Jsb3bnlyDX113ZLrESiIueRk/DQ0MODXjEmjNctYI
SDuAc33MRXstqLYj2/hpLTmyAgssYWb6I7EfcOmpmb8tC+a6LM32us2NvbrLGIAZRBUpNT7GBA1v
+/C+NJqPX0n4htxERT8QKRNp0LHKEtHy3pRjv+Fb4miOw/m2Ld4eRGVsaqb476bp2OtEdABb4793
3L5ymuVXrWVfZs2drMM+XuIFI67iEBF0ezrQcF9uXxXu7F1q2dh7VOGvnjmUcM1mHKypfj/H1qfa
zvJgyYPulBW91IQnq+bQuYRJ7McOrx43u/WqqMvPbia2anGUX2nqRmVu3seteE4U4oF0Fk28Bb7b
eirXUPaMDszjD2E1y+EkMpONWE3cg1VwOXeW+ejK9G3tU5giw+sv4/awqBjJFRUlquQXCcwQQ22H
GPtm6lT1pUqZ3oTDcY1MfbZRrFUvBCq+O+XwDSL12mhzBC+cnLw+ts+uCNZx+rORWHsrrt9dCyWc
Yzu7dV5+llsKSNcZdtS2IXtt4qOqobgQQLZLJQEmSraxzHhgmFGglLp+0rcNpzEnWtOcfIo663aa
BdaoodP2QKbiZMii0S19T4HsxPiOnByjbg/EtpvQsYuseoGjxtCuNH20zUS7DLUk/CnuQ1Uv7Muy
PZRIMv3JKnOmUY45et4y2cXej7nSqhAqWqHFMxx/g1ptmuNA05Lp0o6k2NkxJy4uIDOHVlxsZxWX
Umnyo10Yp1YOdxM5dNBPE6Ab/N+FSh5JSDYxEUsyvKr7zRCexL/9lnEGE2m8l9sTEzFYMFFRHWBL
r3nP9uN0HnkF3nMjCHWwTQcEazP+pv0lW4zusrnkL5O0jJNlk+ayHWd9yRdgfRVPVcYIe0a/+Kod
E6IgGkY/VBTzSROVmkKy368V+/iZHMvm0iFpgbfSQoZfC1z73FezZr5oPQklppedCwftJk3DUkKy
dejELvn20aXOCjDN+ku7ynCprQRlDxWGum5nP8/biOih1fcW+ZSviRnpRk22Hn/8BuAOdXa5Pbk9
jL0YwkVRsIRigzuUXfY4FT1ZGNJzgrxHFnJbnSfYkFYlik53BLu18p6ysmN6P/BXTn6/HVfsY9tq
lSwnhbN927yWWSmJlq2riymcHp1bgamoa14yd9X3aCDbY+LEB9vjlHe2t4YAUVGhL+mpzY3xUm8P
etWesXurB4Z0bN6ojg2I4gX7zHfXBUWJ+A78C9nHQhaZl5tf6egdVKtsgLeGJkSnOtPto8BMnqeV
jderUSrI1TtKNPkXKcmG0ZAiQMnLUKyzOI3pRcwLrNxC90aDht8VBZpp/UizYmcp6m9bZzTOIOhn
LVY/Suf5ATb+0k/DnS6pU0h2CZsthKkoSb5CqTcKXApJfW/aSrNPs+E7pRwxarg9102Cv/W/tyS4
DAuyTNS4ZHitBDCz+Efyrats1X2zKm8lH3j59+CR5XDRqT33FSuPkU0kQuQoG+tYUCgMYx0pcWEf
S8fETd/cNZlyWgQzrbDxAFci769y5bWXCkVb3J5kb5lRuc5PXZmhh2vcSzqYD4vKbankzJ7o92IY
8xNiWZg7+77ECH1gZ1Yv41ZUTeVbjkQ1KEg4oWlgw79d3ZnjUqZgjD4gqL0QQAMTX3w3Kp5iEj5c
KzYh+8wv4p+LvZ6QL+SN/dHL1jBBWRsgdKAgt+IjPIVGpKH3ffulzGxuLrevbjv7v9duT3WdVkI4
9t/3yu0eu73j3w/8j59vtsuz3ulpHlaeVnxUs13v27RedoqaaR9tpb4b5Iw+ulPRPq6N/XZ72RxM
ddeYREPcni5u8YgbsUZgJZqHchDft5fx2hPMQS23J76jO7geR2/YGNDE7ucrunaMwgaGRKs05uvt
G/++O7hnmfTm3e2tZFzQ81DkWYdUS3/8e5fd5+LUmM41Y7TqdcH7GQxKBwC/PdXkgP3KtaewymPt
2pZdddXcv0+IH9Gvt5dvDwoWqhzVpM8s+D2cWs4G7qENroyrPi7/72GEOD/YKRobbJ5rNw3X2xtu
DyAzxrUnTDJsc2JEqgFrTmq6pBxMjn3F4/DaudNHnszwJ18TBrBTJqqz0qA5s5iK5qk4QNTOvCst
uh0cpG//evgb+ICej5J2IGLTpnXz2wGlc5Vh0MiIPtQHpz9j0oejLQmoG7Zfj/mmO40auti/Xxkj
QshVQChv33Xgg0j/2VXFU2IhkVS6xgvdXpWn28PMJhYYNqGZXut5p02JQJ+s7gcsTXDiVFcr4rOk
yi6IKImYM9IedOj2KHT0tUPqtKcmGyJBoN+h257dXnIr6K4RpbYy2FaYGj+MzQ+hO1NzIjuMRtbr
Hr1Zf6WAvqQaAtyyLXGibV/dHjqjFyc5E/m5HpsRSLhqujUcNxGqW84eZiswStQmbB8Jc0NPhDGt
BOROb1Nv/aZrTDEYV7+lRtO6zulEfWqOJwEMHmW6/nF7CXjKxUHOySlRUeyLRK9PciydkPAhcle2
pw51NULYksgfXDwGE1oBn2KZqYdkkHtrGbDZIgzux6YLU/A9xHaEKLTUGmwqxEqlNs8pzesTiwN+
e05EV5e+ISYr/I8gztraHyWMeSQ3Hbc+ttWKcgQQLKmtO0vpYJGIW4nyrN1uKpUrZMyOmfaHDhCR
k5PSH0xLweduDjyjqhqGEzg/dd2QzHtrYdW34/H3CNivzUDwaWKsxQ7y63UidPp0e3CUWO5J+MHh
iP+szBGK4qt8vZ2A28MiUD2LUn2LrfRokQOMDLmjv01bLrxDv1p3tizyA5JWUfN0fCwoAhGJGu+J
nN6IQu13t6NJwV+fbgebNE/pW3XhIpfW4ihTrP3iGR+MWSx8yQy4iEuYydh1H7O0jzj6t2PyDxlr
x6IlBkR7j23vT1GDKpoemuyOEIqTS90hDdAZmcTfmihfbh8NA20ehbL/+3dswJ/aFf0aaN40Hpip
Ef4PrKwfALRBzwmO0ur0rH4Pulw3Mf1IjIRl7GyF+Xd1Nu5y8jtLUzuKzZtDOUq4Vpq9w8TXp9tL
w/YVUcGNYrwwiGsNYmF9kpiCdlDkVbpbWRVua8GIuwX/3faPevl/MXZeO7IjWZb9lcR9HlaTNJJG
DjrrwbUIF6HFCxGSmjRq8fWzmJXTU1nd6B4gcZEXETfCnU6a2Tln77UBfzDAEXseWaAaerD0oI1S
2TEYiVxIk32grKU/GPl5xFd/FkaDc3rK5NqsIqR3pX0CiBIhlcIvqn01gv57JFCu2rGJ9D9WOwEx
+YfaE49PcyMrJ3iJ9ebRDz35jhn/O+mahBYJB3GMnOwc5giia4ITGDfUUBqaoHEYz3mxngurPPLc
G72MzXMycMAf55KC52rtSaBlhh//+UfXjB8pk3BISVBQ+9oFJzYG0Ac0+z0Y/QfXhjHij0N4DHUu
uZX6rz39i0WkNz5dvdfaa509esZtGPvRTuUB3LGu6SlxWV4PASeZRe1TCTAWRjutYaxpf2icMJLx
50bFA+5bh+d7AtQxAnZmHrlglVwAtFn2HKx3hom7n570e9FiApbjbJsfwHtMUDT9rMECUowl9p6q
ok2FUyuN2m3QZ/1+9Kur4iPYtDhmllIHtOMFE5LtyTuYiQkcL9KOnu3leAUALBWiw66cNGA/oN1x
vjxUQC32VP7823nDmH26vuKH+OkprlNjayGMPVeSLChbM89hItsza8amtwzQn10LDA5xxL0CyUdH
Q7kL+BSC6cOE7RMFufuTZmhluuyzDjooPbGgHlVsX1kX8doBbSNdTWgB2jojrLesQ6DJkXbIGcpa
qjsIrUOl4X9ZjMTXSIIcjCX1URO1u0WLSZx18tJn6DH9UIfL1wwc+2v1HrjDlonobaNDBuLw9IyG
cNiOFuiPfPAG1twTOOuY6XF70d0PLFqE9+Fh1GbMC52zVQTNfNFn+rrF17cyaFKVjJa2ffRGPYOQ
W5T5mqcFlxt4PFVDRglFv2qs6qUz5uHIVBjYDk3mlpha0olZQyv9nr1009c8WYOhLpWtb6nrLpor
lgg+5ubIwO05hj+9Va1UV74BzGNFZN7ZT+HG0hsLxaoKbtyZu+RgNDZluM+t6aCC3EMWFFeLOtNQ
wFd0N6L4SNeRtTRs73BdRoz+AajnuImtVhzwN42bFKxaplGwWfZ4Ad4cAWUSN6oekDVl3pOsjP6o
ec4+bWvoIx3Mj9JDVu7YVrzusbSoARdgKcUDwqAXWtq3SekYJCBO5VIIWH6BZUNKpLFeut0sd+Gh
0IAwWn7YYWcpDqNmPbEFIDZPaaBOGgSQjBMFDQIOD+1VmJm2dpBU+0bmHVWXHzqPCXGfuMeqDu9b
uqvUzUj8gkQ7JgnLA+XHeOpkCzlGw+kh25iWGJiITRt5u9qsbpsGPZrWYNbpjX2IjgG2bnDIq5nA
lY7tTvfCI5Oh+pAksJk065zqoItrRB/vReC9C2HlV1VBBopr5FNZe/RqYS7COTtbIp9YGchR8VLK
i6+wV7hl813Bh1nkJPhCgUN532VpuDHq6K2bWon+185vkiRUu0bRAR0CWj169jMlStLANGlWzy8j
uun98DOK2T+g5mRr2AnA7VTwWEKFQNRoAjAJ0IMUibbKROczyQdhy2OuqFsFcK4B1ctMPdoCKs+W
vV8qIL2+sTAcFL85arp9gnKFN7ExKFB5x+WOMuqcMabcxl7uHsYO/2wmU0Sk4I2PmAF8kd9Qa4Y7
uzDeRoMlEk5vsNJr/bGuO2PnZgmV5ATniwp3A0PKdtnc845jZu66FH0FzRvYNk5Gaqnj5mrpdvZO
1M5d3/YfduJAozQBtWV0NkYV74IOPnaCmg2dbF5v0/xctla/8BLHP4WXhsvu5NqtBPDMQ4tUCIEH
rZgh3dSMPLqeRlrXbvjyzqKsRlE96fj33JosZVJHLcxsbv/hFqAomC94sy34UNJjXTS4J1DnJvgK
s3KZ+eVJmwoTVEubrl2vf86gvRtwelALGZBozQyQmNNfKh7FC7tUIiyPEQSvrs4T0ncYJWySAXeH
G2mvtu6Mu9GYfvgscO9V2PUNhtkLfiYL3swDL1HjrcMqNjZ9y/E6q7Ye87M9jT9G9UYLB6bF7xx5
M8um32kGPTQD99I2yYyVg/ca2TYw2nA4IJlCFSAnBlCwyxSHJ6mJbpH0KQNRO8lgD8nbNFJ3o+M+
oeGuBjQBwNsLxl4xhGtk4lPcLYYS3TQ2xScMCKcmniv/a19SRNH8ffKC/B0JTrLSZhImrXEPB/k8
v/5wqpnyRaMY1dub1ahwo+Eu5tpC7+0F16WJSiiGpbcFMl6eMj3bdbrY5K2NUC9PSwwvM0ZK6CfR
hQ+afqkczK8igf08BkAHJvTerGwA/Kgr+ASJY0BPD762IX3xVKKYBSfN0KtEAnT1wf0mvZefu6zf
0I4fWOknfdmaTwFmFHbv9itEb007Y2AWji+wnD6jHoyrnJpHbXLCs9WXJ8rSF81nfOQIgZvWMI9A
oRCvBVB4Pa25YPLH9E1XGlAoB7lMANwJg3Fpae2j3kDe9YGjpJr1RRfr2nsm8pEcQkJLhn1qtccc
5P5zgyYvSL3TWE/9c284D035HKJIW3b4frGqFa8dWifG2OkuMKHq+RbSY9SZOXgSxNUMYLBU5s5J
DX28cfNqbwhxohsyYN9FeTsW2sl0+0OROV/65GAyAu2HMqXbtV13KdF+9PXPZDbG2miSzQhiop4F
Jv1AyaEcAuaU94kwMt8PUXsAbvlE/OKzLIZLuR97+yELXB6LNLIwupvopTLsPFH77cggOwSu+0Mr
NGjrF7ZwJEASfXgWahSZxm3fx1fJTb1o9PY9BqS4UHG3ap3kQhkg0XyRkp3rZbkB5XkpKx1SMrwN
hN0awyp0+aoz8ZdpJ08bDxY9UUvUw8KqhnSNGTlxwmtWiqufIl7D6tJCbsD4bhwTrn+kh8kaN9U9
gjjcGB23o7g3SsM4ycqFHimjcdcEzEAVyOd2NF86S8+WJqa2jmIHMGa39ZVziXr1jpHvwecOpB0z
HIZY+ym949ypOw6J2EJXXXfJkxypbzFn3ljyMOTerhx+qj65CErchWyGj1ortg76hJFk2LaxwB2N
OKaVghTWZBp+cYxQ8AaRGYPObvPvKOMJbZ1ZNvFBq6lN22vCeNbqmy+vksWK9my8UOgHG6+ECG53
a6dW9e0ff+jNtbSMeB277i40Y2tX5WIfhXShRrzOu6EJvTtHF3do6Gs+GN9cdRSH9ILP6OVtQrTC
LcEFMc4v/Tj51XRTNcl3TFTvZmLiUbvcASycMEGd+GPM2dV0YVdHJ6fKwYRL8EZhAz1ymbBVJf1V
s2/XAhsenEL6ZUX5xA0XPwn835ELUDqmFzYhXF4Oto/lFMhcyPxhMUiUb46lveRoD6Hj6DGqSLaX
yrRN0OS6WgvstkvD11dN7w1r2aTPTB37tSPD5xBgXme9OiLqAaFK4yJkYwNPrAkQqWq15dOjMeDA
30S4ikZWAEisVlJ2O+bz/mNlyXXrwOTze/nFelasTQP8CdQ1JGYAyDZDPEJLUM4yCob7KmRCWjSW
v+oGkVzLOnD3Er+zTswkRsNwF3heDP/H42iUg+4Riu5ew1xzZRs4R9IQmURjmzfMesFdzecd6Fj6
OgQWQJRAUMVb5QTxMmssmrjTygAuRZuFHJOk4f3PEklXa8OjYz62nm0cvEAIYGfVyQpxLvRd1K2h
P9+0/Xj1fFzNHDXdpQ55JGfsvekmoAsT9sPSmQgBaGnhJnFyD2Errrw739yPtYAT4+MgrD1pr8oS
ZTrT8M5BgclRYdUEPFIAHzUj3WvBvOMZMOcJMdmWWfCd6cO4dF3ZQvFGkmkIlrF6xlXm4Ydm4S2X
Nf3biBMpRMNkB92PAInLRD5J3+gcXMr4K8WgdnAd9e5gpkZ4yC0kbxiBMmtsi09ZmnjiZQ0g2vIy
FJ4SiRiI46bHVuYa37ZgzGK0xGwoGgKLRHlyT/oPZUrWXcv2vaohArouB2nglPDPXlrbmNb/eCZB
ISPc8LinaaHkF6dBRJFlOOBeO8ve5wX+54HdZMGo5TazkgOEiGfU5xbTQc4pVW/xfsFJBlp55yQu
QLSUvnNQ7I3ZMMu/Bjnvo12kuqpkDo4EpCOCMyjGUNZ2GGTWGh3rvGRAbFY3g18nl47a31LZym05
2ikOB05ssVbpPDh5Wt8Az1J89O2PAJsEI/g1Dn3KmdFlzJ1XK20I0CRWerDt9PjJBTi5DtLbNnW+
SMVK+BCpv0om1Io+ERQPTKJTZ+4r0N4tUQco/SJ/A+7xu7S8+7ad+o3vJxwqNpjtGUYhOFihZrlp
crBnTewsG2QtG1mj2a0augWRA7d6qPZZ13bLgVkXEEbe8BQ80/Wf/e7BK7aCmLFX/Tjqw01mB3wy
qsVSmpYcnMYDzYu7MIdRFk1ybbUM75Pu0yqjB8MYnkVQE60QLnur/4lFrq39J51iqcW5nbf4flwL
Jng0boz0Aybawae7u544pkHwQKcfjaAxUvTbbD36B5a5tzpSO1l/UBHZJx9Pdjwm35PBpqr6ECG4
fhiKnmkHxy2yUzahgXtGImO3XUTkGEo2mZ//BH0Elz1yqqU/ssjTOWEKU/L7MTANiQkKuafhE5zX
EXIeGRsHI+AYljOUgvfyjVvwHATpWeThDb4oDdW7ACWrPYOSxh0wBbssYcjl2Db7YvucJcAHSkR0
2KXcDWy9+yxrtRUAHbowKX1rYtwJXDooo2Kq3DP6nUXSedpsPctFMpDg4rXNylsWoNrYNvI9lbXQ
kmcKHEhYqXY0TX7cqJ770KQCTNmo9GDmNnSPZYUgIQ4/0p6XiIPvoWGl7mP5NPRIq/UE/L6DEJSU
ou1YhdUZu1W2hCgtKA9Fhr1umKWDEKpoUBsUmEQjzebZsnB3bnoqh/LRDiFAZMawzap6y4J/Hc2i
3cB1veFYLgns8zgJMRuUvf1GFCR1Ucy7aLwb2igftlM662mod7uoyS9+hWHVNr1znILKVFH4agX9
Vre7b9xZPyqKXiNV7UJt0BZdeu2o58WEAcJWOYghy38vvHAkgQwVQRJxLI/ps/G4TsYbGTU/4zjW
7I4wjLrRgphnbpQv2aDLL6H19FZzEO2MpA6u/WPRaFjYOuf8+R6w2HD1mR03es0aTfyn0xVwB0fx
kvY4sbsJeRm5t8coVOXK5DBv5eGOATP+UX/Cl5xl69aKmZmC16wlS23rIFaBabuIuApqslb2hAxh
1IPToMqvXkRgQyClpKm5RS+2TqzmPnXUuKLSCVwLhNbYvrMtPdoNyt2ewxneCm0OFmkHjta6+ELr
8xhm/oaIK/615XKwoG6KmWaDT+bK6pp9Dtelg3vGxSm1lLJ51LPsCyUXVWKTPY14H8y6DheE3DzU
nl5xfCjQWsfs60NORJ1o4++ZLuVNg0UZ0qob4avFSB+m0ktIXxWzwxDuQOCBb3FjbjVIRB/syZsx
aOr9aJvNRldqm0foVCzc9EFrAHQrcByAGEBBn1SI1xvE5m5STzvXwIo2xGDdxIzP7eoKCthRtBYG
EvSzi84YwoPDzYoKoWLp6vptUIV7p41pLOJVubWcgya06dOPhxfNTt7Cptb2hAfXT9CU53wmr14Z
4VyNgZTRm2a+Q91lIrV6J/qwprRo9U1p+uCtdBFsbFWSl/dSSHVDrMcBBTXSAuFS6Qwaohr/1NMD
X6PB24/dSL3iuc9xiXC5wIlaE1Hq1+ZPaEePk2OdkPgwhAaF55gRwR9U2204Po5V+zXF2WPOKWJe
az+UzQ0jOtIvJ+MsSZcCTbZxHWsGhXUrtyihKgt5TuMJHZxTUQNJc+VKwWC/Ux8GlWQxU0qD4dlg
3rrhYORyh4PWwRVkl4gXAg/1kdduzIbmsj9NB5siBzi+zVnMeI3MDESqDH8adRJlrG2Mvty0Ga1s
9s+FMySbKXFn43tLS81EIdSaqx7kzMoxwltL4ikZBvZ9s9v3DH/oEng45Z2CZ1C7N8R3ltTJslVA
ykI25yKhXGAgHiIE0j+R9twNFlx8fcRICfXCcdN3L62qYwFHh08r+Wr7cEANGT8OY5HsLM++hS7k
rpUjiGdoDRw14L7zzVSUKREagNp7pHD0IPRdJ0uxDpHVJTFtv9bfTllwU6ZEBxXEi/R6dAYpx03k
QkFkWQb93HKX2eUslMpfh8ohCIcAscKN8BwUMlpBZhNLeCf+KhDReeoNugKkM46m/uV6gjdRuE9l
CQiDSr/c+an2STwW9CuNT6Tqy8+sdHjbCFU7LX2tFZS7OPhkgMaaEBMM41c4j8CMgOr66TL6avn4
BEZ2ZaZU3nFu0H3J8kdj7qUYM9kTsP3uNBXFs8gM3ArRa9lJMAKxtqYtc9CdAT2M4b5lKU822rSr
XskHk0msbX9BTeGXo1mDonStM7cFKsJq4BbbyaFPzn6G1N7MaT2COAwq4mekrHaNBdo3gazIOLWO
G1w12XiMVL3vQhMaveTorXH+WPhZ+CAGiKEEq93RKqQFxdkmHqRNvEIlF2V2SHWamlpMv3K05iNK
uDBLR1+oSoFlIfjXTjEcEWDB/m7Rtw09FCI9J+fJ0ZaIx46lSs8DNtKzg3sGLtO92QdvFVOXTV96
oPvzixEy1YYRhDrX4QFJuo+EcfUSqJFJBsZVxz+h+aDa4YvRWLkUNXqK3odF67mQPKBE1WHnbce2
hI6pA24kdqKR7Yy0IcqhKE5NRJOn6rZGhq9/StG8maRpBZQLNKnvqrHcah6LTpG/+LoVHGJUXNGc
i0Cf64qw98M+ZrpJ8GY0fIDG+qY35o3OBxatak3KHU3nTiM0IJZ3yK0OPfLRRaWKRzoEACDkqWUj
LGEObPHdMHDTxhuv6za+MPS18+gFzTPahadag6EqOBgUZCoRTKd/2IDfz6JKdhn+dOWvRhiEPSr/
TVchppA41u1Yf2o2jeG3y55MWKLE4Pix7y7qJnyUZBuEuh4dQk7Yib6qGi5kb16QLEWrLI+P5tnT
AaqVGk7OPDtHHXJlal00R+V0RKOzDujxb+MQVSjzdNzb10yL623fmW+6L9ZNUJFap6B56pHzmds+
42nvS1cot6RdwNctnHuIgj6DoV3aFQ915LwVsRtxhMKVGmYUAGgJPzJ5oglzAvMQvStEf52IV/BE
UKZ240ZqrEouHY6ZXNpWeQL9sR/3BLjc04akpWEl35JJCE0ATayt8DWYyC9qI5MiLvJv6HKM9DMT
/+Qju2tkc2TkO/uOJQzXpngSBY3cPObwO0jOI4Ii2Qqnr57OZUaAi3CDjSWw2NIVPIBDsUFRAnpw
3MIirqdDgVtbnBdyYDY1VcbCa0UGRZ4+nYnpi7uXdT0ILXIyV6J3vxN8W7be3QVqLGj0GT99rJ1N
D0e2Kkg7Lb7NUgLutLWbxpu9geDONTuG+TGE94HNWav3pueO2JjKyh/ADtQr36+yozJs+LkCvE5r
BPA0sXG76XMStHeDloPyzr07xq4XBznHEuZBvAa08V3UNIKnIeco6hK6M8o5CShdew6EeIz8+ui3
617SA5A6Fs64xPYT9fTkn2GmPNUd0Bu8xWc22Q6fPrFHbWesi2rc9QqGlyJQcxeU3rU17DdMLdEp
8+tPOUw/te/eW3K4uKgTq+kpNpuOI1Z3G0U8GChbDnVEP7+szaOhHQZl34Di+7BqTvg2j1HrvbR0
mzhFUffOtOSuNRYdHwvzxP3IpJ0jNAfBqOF8la154nau3bwrClAeBIqb0IWzPIHOsz21dpvmUhPM
1MmHgMTLZUPMn6VoxOQIl1a903ynVZyw4dR31eBeq4CQuUY18LOtLWQb5IFGfp8Vcgc43TQE3iD2
SrMM6EkAC/QdAG1GgSGQICUMYOdS0kUYEuuN8NBlHsgcT6tg2zfz2zHpglWt35FzUU3ymUjYjynp
ruznpwCP75qcGoh1XbdPWnUCfyQffSJvDXr8njmegVQ/p1psb8oetRaUwRvTPlrNdztM7K6gftMZ
2mrps6OPSMPaEFuvNcGyifKhi4t34ODYGTp1KqXPicFYto2puHC3QPkYXPqXAWrrwiqnrVaD+oFQ
OyE/AUWSIECgZn0SenVrox8oSeFSAys8BsBg2bGOQ23uVgJNK4EUdB+M0rrEIwGRzFjqjW7AF1Vp
0qOgVVvX1zXAWt5J5QS06KAmopx8kIHABsXQmvDr57JzNi45efSGCSnRaJrkTbeKPZzNvv7TF2WM
+5JRkTneF373GreJdWOlTOpTpuRC4zKmLLx+hbrOkbCRTOSukMU9Ft1o2UjBkcHmTtZ69SNDg+6x
tdKIj1xndiJXTbVKkUIhbTI+KqVxslNqKchR1kyUa7V+tPsgWzCjcoV6ZgjcLSyrZ7Oqm4tfk2HY
Z2+GSHalW94pgN3S49ZqUxv4NKhKAys70iIecBu2nSa5j43+4E+kPbm30rQV1Jp+oiH7zllE22Yc
l2yXiIvA5vFpw+HYO/UDoyy8E5NgTGw7d25tnGI0DlT12rQOPPGar0NopRD5zQXxw1sPbg3sBIcU
0cY4JB0Ebdk9QiyLtwUNvIXH4u46D9YI/r+7eknLepglKGDJjexRDozNFRCFsUAh49N7hfZNG3Vj
0cCh8apIodW8PdZPNqYA/mAQ1LvYF3C0CHCCEGWwzCTkWmkkGTLD9Y5dpV+RnnNDDbW58YPMHuF1
ktgUj2bDTCdC1TX/4RhEPgSyHjf6mLroSXPYXz6PJpQt110hhW2BFgbA5BPEAbSoNT6DfsWutAk4
KS/tKmdwVRO21/AxaPW4Tu3kyDmHqYvIA6biJrMpF4P6EIny2pT+D0GJ3opCrFyO4BlRSYfYHO7w
a83kMI9YmgiZrOt98ol8lU1d7hh+B2AnGOp6dX0YrXJYoNeBeZdR4ZAUieuHtiQY5/6IqShdM1Kx
kUuSSW12q8jnxNop1K9tfW8LmoraBHQ9TK7EWmEI6RAVln5EMhnj6dQqj10ONTZ0628+A1iCMV6R
1m6wlLDut7L5Ao2x0TJx7XJOkwwR5blvuqPpgFMNuozIr+y1nyhASQXTiONsAc9YNK7sMPrU8j5f
BtiL4Trcje3wYrom0SPkPPtIU3DCrN1auXDq77l0t1aNnBHzEt9eJa9i7PRjoEU7z7xH6tAvGn84
M2IbF92msQLINAIUt+DMqJf08Jq4hxys7jiElItmcq4FdUFjkSyMQWuj+xGA9BIAHXWZzQm1PfA0
Vdtm4nElldwrn5iUeztCfGnHbKqpvjqw5Mxs2nl2R/YY4quF78zutzFnYEcucpZbJ59+s2mM4mKn
5gV+1TJif1yVsJ4RHRUQswF6Fd0rmGYuLmV93mVbUFM/qC4ekoRpvOvC4nNHA0oeQa3U37gKioB2
do0FUzhiw0ZOsLkpVrT2BK5N+c7EvAIXgWCMEE6gYAAzbHQlehIAzvdfakWuQBZXH8WYf5OGoZaE
393bo97hTcYwN9WttzWb4qHQcfAp154HI4xbY3K3DW88loFfrvSWoJQEqpEddvfEiGYsHVT1yi+S
TWx7F4eYz1CT68pgCtRG1aNZhZ+2GwwrvSMkOc9hC/X2y2RWLsQ1iB6h8ZJb1m02aTEEKrFLEu9G
izFyDHob06AstnatrK2sS3/Fo9iFT1GNyo7Ehx+LVWVQ2UuX+kRG0gnMr3Z4mur02QuRr5Fdx+aL
YkB13zhjP7VQbSKIPYqIyrjW3wxUX0u0fkTh2eohDglgHnzqlz9S0pg1GBqz7MQA+cK2pBjmlewj
DNEy9nNQYNL/6XtK8z6k/m4xG0X++MHJgyamZEko3BRtWcoN3TCO47rX+ySGxe/QOYk7MPADM2Sv
MourvvYUgWlBX7wEdvI++ytWAgZpA0dhKamg1+xbck1rlVIlHlKK4InRMDwo6Wcbs6d7ZzhUv2Ah
H/yCThxQ830ie31ptHsZfsbcNlAgyhUGhha3OvGQPIFoioISRTu+4Eb5b4JMOWQCa4lV6TK89gRO
jUVlb11WJ8QXCYwk30M7S04aUVDynOW36EKgALvxqwldBhVQTUxlROKm7TiHJGv9G0ewVPQ0ppVT
E8Bijhvwu3egcSwFQrpGXbeK5KeUurfUUe5qg1nsJZI3mLdVsnVYrKu4vy8JNa1q46KlI4MX9zZG
trMObY2sRh3vnmsnX/N6iuFekrTCwDvz5MVMEBb1ai90VbOjc9zHJZRSj0DpjAikIAiGYpvBF7+Z
IGij97aKCNRl4IKbkg60og5vm6VOGRmwfF7PUOYKNPeVjh4uGBb4psS6pGO1bcvy09C9EwkhtIs8
ntfCF49jE+6hr9hkgzR3dd3eEsEcJHiUcml6WwSGb8xzVyh4o72tw5Yi4L2xu/6qMuoRyWyYiQbB
D3mJQ0ObfgxFl1yn1l+bOHSzsVn2Dk9kHHe3lSCZrzGilU/JvXK1cW1LjmahVLteG94s9H9Qv7j1
+XwrETmbEMGTLzlTZ6oTBwk+hU0PElbD0WkL0BckEUMxqkQic91gOtYpPL3Q7z3ueJQTqgJe2qVb
b9QV80LmWwOZhMueuhthSqkoVcsNKTbRLlPSwkXGrl1YgcmwqVpbPk0ASyhr4wmRoW2Lzy0TxYXu
6UgX6sE8F61+BGZ+8WEDRhUxUiUAZNqCAf/XgRmbQrKepo7FrqOqqoPqpbUIsiEJHU5nHV9kHO6M
OY8l994BLVc3SQCsM7EJagva9BR6+7higgr/PT1Wk/dgNKiwRgqaJEl/OtunWWsiXbG6Ry1oTyqV
xqrywx+UsckiRioQ15eItKxJefmSe99euB1iCQD8cBJ9wrOHYIfhS1vnzfBSluaPZzgssU2+DEeQ
x2X4SrfYIWiJRHjrjQMVXSKiKyvkRulQHvOm3Wljs69MYGiVdh+Xjb9yquScEi2GiGlNnvoWoyrt
OfO994MH+M/PgQxe/Nz/zq13HVVqovXfkUDNNAYn3bYxLKjwmIE8Sk3jXATRqet9hogIftMWKZsR
2da5VN6FphHKGSIhmjwd13Hi0lhwNKwaPoOHaTA56uEeabPCXsB/7+bwdo4KbRU+i5kDNpb3CFCf
sTVK7ojmM+mZTvUuJLUsah8IZMN+ro2vDEMelS+mG0IKPvVtZ3EJS45BZ30MX3QVf/FukbZPgb5p
fG7ditzpjWXaXybPB1NGrqQEmZllBKjoY+PiHyues4nRddveJI3bn//4wwjsb3SS/cbUSkVBne9y
ITcpNyMC68g/asi9amBIS9pG9jLzQMJejTIG7Zvo0ZpkFxpbwIWXQqtgfoGrPiUpYjBgrPcmGeq1
cXXH5MACOOuapn2leCSzEpyjru2HMtM2Wal/RaHzXmpme7ZatUo057Ez8LY7FtybWJLWU9y6iACO
pqG9VA5K0rbXs40jsH4RKfPBADtZRx6l2Oi9jpniViEyNBRRsxym/hXvDFC4xPqpjAKEoJXSQeAl
dQN1a5olEPz14uzJ/NFGen2wu30Ji+YkamS4mlbyzfqdoD+3gikCqhen7nKQ4ivRRqLoogDcU8Po
sPSBcpoKENGv3/7t7//+b5/D/w6+i2uR4hfK67//O3//LBRRZwHN9r/+9e8PRcZ/f/yb//ief/mW
7Xdxfs++6//2m07RZ1XUxU/zr981v5r/+Mn89j9f3eq9ef/LX3gWo2a8bb+r8e67ppf1x6vgfczf
+f/7xd++//gpD6P6/v3XJxqRZv5pOAzzX39+af/1+y/D0f+4UP+4TvPP//OL89v8/dfpva2iKSr+
0z/5fq+b33854m82WmZH6obj6IbtmL9+67/nr9jO32xEoZ40pKVL03ScX7/lRdWEv//SDP1vQki2
IBvkubBcR/z6jVHfH18z9b/Zpm3Znul6tq1L1/j1f9/8Xz7E//eh/kYz+VpEeVP//styf/2m/vFZ
z2/ONU0UDrZB6p3nGIYhHIuvf77fRXnAdxv/i8assIeU9HJ2/aeo6a9C0rbEnrQYakSeUyQJlyHy
m6koM7Wo3Iu8vHXKMt0W1QxOwLTpOVunFVT7s46rGZYeGYlGGK4bHJPo1uFycVJGuuNeAv/dGMtd
kA0np4nwfotVCMzSdbM7VeMFRVGLFi0J3+NwStBdgCQosXKkQGyRQKVLI+rcFWKgZKN40Iba4al2
kZWXpMbTwl37PoeKovf/cev/5c7/54sk5ovwrxcJeQYfpKdbUujcEf98kVKNrNk4pIJkTlYZzsLX
Uia8zJTzsr/kBHWHTswRvF218MjDKTi2hnM20LGiKDb2VctMbIxQXJvFmTPZSUeNVlts9ll5H02D
g1pRbbnU8MCTgeBcjYBv3z8QUBqw7ec3KnK2rR+d3Sn5ZCLwUIAK+qd79s/b4p/focFt+Jd3CF6D
1qVuOrYwPW4ubsZ/foe+jRpMoENeBb77HEHQkXwSNHJXqSMXQmfUX7Ub0fgfIm+2Kszu++Hzf3gJ
xn9+Cba0JEH0bLCoP//lIuf8ZqKGpFoV4XANPdJCfEzPynn/NvEw9iaVpcnYoqjWpluf/vtfbnr/
xS/3HN015rcvQBL+9f3nRmkWkXChYoHsDQkDAuumT29Yi5ky1EtnfMyQqYTALLzBpX8xc9Do6iNp
rtPNxMwka2omd0SqSCLSyTQEyryx+zssShyZaO4Y0J/gPiULpkrroggP/4e981hy3eiy9av0C0CB
BBIJYNIDehZZxTIsO0GUhfceT98fqO6+0lH/UnTEHdzBHUihc1RFgmAizd5rfevvP4A5350/DlG+
QMt1mCp4mIUhrfkL/sNz7I+K8xEhPWiQPytCwNFN4Alk47y0wWksY7/cWQbRUNW0HelitfWnU2Dj
MkDhYgusTVq0iiImEPwMaPeU+1f+Z245T3q/Ibzzqq2n29zmwY4EeeIjCSGT8RAO1hOS+H942sRf
PoptKEdKiy+Dh81wfpmSMs8qUJfAR5DINw1be2SLddRC6xnl1PtoGjut1d9b2/+pldz9/W3863Ng
m6ZgZrVtiYjDtH4ZB8ZU50J0PuWFhKwYQzdfsa9jGikICMqSjZvu/WRztANyGFGDIQnWuuXfX4KU
fxmLXIPkEizJ46Bc1/7zVzkhpJDMaMwmxKItoi77YZIGdKw+3Zg6OzS11HzV2q5fdD1Y13JEYaBj
EG81rMzuOFfA5gMjFQwmXSKhqKyuW+2o0YLDzWEuq9RKOGBVa3hDTNbqczK9cAWG/sMXKIvjikww
LeRVmzpFML6zmkBfBm7YL3EK3NMpRJGXxAdRl5t+eCNqJ9Od69SYX1lXn9KNyBd1CGnGyrRIk5YG
ByT6vFwoQQ26cwEOss2sWmttoThs7GvNx0qfms9+H59FFx6KOjqkuUHYrdzVlBf0Wn4wcwbTDWfJ
a60Qr7Wqj9IqTrnbUCJyP3VHPjuN+ozc8OxbNGe8B6c2nweP7orvt8u6LXcmSTnI8sCZ2j91MdVL
qTPgcYXcNsTNddXSTfsnGNNHTkscJmLz1bPro2m096VhvttE+3C6WGMqROqDddgztnXJ1p1yOktS
RnAxVRZ3tD79wt1nJOxRx9beKR7twio5w21Gy0jDvLOyPdJK7A38RGo5D2XxFSSkrbC3H615k0zk
t+4+BsgLgNyu0Vtcd7r1Sffsdv6nBqY3JNbO983XxEPRyvOaCWSkvvns1uQFpz43zi8/4IMh7yA7
Jg7JP5vvZr3EjfbSdylwHYURSqc3YunhD5tr1H1kGCFGJ9rCfiTH9pk99d5Aih3b0JiQpE8swulX
1pyV19xXMc8GfEIWbarcnOR3OX6XmMgMatBFvAuFeG0RhBbyqighWZaFAyy2u00CQHIy9Tm0saAM
OF+8VH/NpXhFhE8rhjrNAmXpTTb3iZlrOmxEnB7N95Ema40HI+oDYraM7t6miEU8A6LlgDe9fEYr
AqhiagenMLaWCg9oswPa985eOvG5GKxnArpvc3XDgMe4GIGX0TcqFleq5XTK4JmIh7A+o3oG1qRA
UY3gkIz0JDSOiI0xt8fr4IeZ/ccZxOuk6En4FhpkEyw6XzXqUmUEPw6qjDzsxSrNdcqx1QP6jFkV
GDvIErMTQTGHeGygAUTPvg8bv2jXpe7sR+KpVlVGAcubkjXehJm+XtCnGfKjH2godVy56HG212In
Ux7EXsiCJgWq2EZ/H0bksQHeS+2U6DgW62LvlbxtS3dgQRURM4w3nB39s6JnuQh6FHMIKSDBckqX
hfHutFx9XSRXfQVTe3RawgNNouTtcjVQet4aeorlccCDGFy5I9kWOP0PjU7l3vPdx96n8wnKjKf4
Dnbd54DPOA9zVsJe3/at8a6c5joPNICGlNLESBvEp1IWSvfKDOKJrAZaFyZu4GUK+BO9iBLNW6AP
LWG58t2raFDArbrpzFdL2Y+1MXy7g9qaKbdUwiNcQm+IzNeOzJEVcJKE0yAVCW+rEvuTNaJadLX9
WPVY1GW28q3q6EXRXfNuEF2wyCz7cagllkPISR2EP0++lgkPWkBPrpaHYGDcT1p4yKrPZlD35cTN
on7uSoP9kPykB46Q0KKfHdoBQjpcH17b3HOdD1KaZAiswusoHG4UxSFfV7cBQNfB8f2FYwCTwHvD
nB1BUsGShFIFmnXA7KtX90VFsTRujvP5WNPwnGCVVpV2XbbOHDP6I3xt2UQYUT2DSAHPiN5M4QM4
oEmtCm3fGvLaJOAOpVpAnAvOzByQB4XEXUJzNx3eO5wSfTIdFf1gq7FIU7IpBxvyEwzRhMCxRAIn
0o/E4eN7XoSYLUREUBQsCfPSk6by1e9M+OJJ+dWk97DQe0PsecUTuuUeZVcfcdusZ91xr3NxVinM
DTs7lbHziKObJa0xni01HEYRbLuBfjS6HIiYNPnrStLz6ce17IS58klXWJS59+LOaw7y9kfU4BRU
rfZBRgRumBRp+6oZNhYc+yqijC8iSO423J9hAilQJNET1N8HWSS3udevnNi9xT91EjH4W2tr2e3D
36/dwvp1F4amhm2kIXCAKtNy5tPWH3ZhLlR2N00QeWMJOlcuwb92IFl8IXNKVIOdup58dRvhsF24
wymS043pqH0so3PCdBrY5vvfX5Dx172USaNZXs6Yjm2LX/Yz0DnCIvUgWLae8XpxF8bmznbZ2t2Y
9ewjAFO3nGfHqZavTuGQH0Uh04Gs4nmkRRBR3LOTzE7AOOdlg8S/BM8xZZPgn3Z9at7W/GkHywmU
A4gjJMY7THy/7GCV5cQkJUh3RdV8XZXlUwL2zDCjq0biigwdqBcUdsm026Vj+tBqI8EW/rJMjVNa
F8+iJama/FvE5zeycieyEs21VSBa86NTBJrENjvm3ebJIvyQ9LHrAJaD0U/rKqa9DwHP7aH0OYh8
m+ZHRYKBWd0DpX731fBomGcZILnvILnYeXul93TU4B+8IhYDJ4oK1/y2Biaj4LXN0Ldb5rChPHPT
mu5CIBntnKtG+0DIy/2+8zXnRJttxZpxQLCBoDdfeAXH5tZZ58o/VMbw0yEE9w1Q6rFSrxAt3goD
uWrjSDZbuPsG/6EL2s+kyza6m60wpe87ZHIIA6LFuOl4Btze32sA8Rd0X1aDKw4YA85JVZJUXbwX
nGhErE5zbIFs3Mc6gUyCz6BvP3E93xnYm0oRHIv+UZfmSRUJ64mDV+cMJGRDLOUXnI07pDP3MraW
rZTXraA+7ROvPD0yJ+887b2G6ufZwwbrLQFQAtw92Jg9W1k9MzaBFx2Vhe7SHH/cjEDKyTRpGhPS
wiIMU3nhVdaZvFSUc90st6khKPXizixN9o18/5RMwpXt+NcmK22JBL0lwydDW5kQ847KcO/EX4Zf
YHgaIVK6I0zjuP2gFQ+4bdp2eXMLeR9zDDZbrb0eyujoDs1N3VuvQNrujJTtArOUKMHS96OLT7Xv
qAMDGr48nP+3K2r/slj2x1rZv/+rutv/gxU1i0mKyuO/KKgRVJlX338sp80//3s1TcrfLPDY5ERK
02bu/b2SJs3fDI5sRD/ZJlQDpXOg+u9KmviNg7HgUG/rjmFhFPk/lTRh/CahuClipgH6sxg5/5tK
GiDDP09gFM9Mx+LcqjsWEuK/lNK6VJ9ypSloyIEHlLrSUIRFz01SXdVocQpi0IWRYV1pFVQznFe0
IDhF6d6rG3S3Yy9hpjZU8CcVf1hBMFe+qbgl7nlyyPsE67lhSCOHHj9bN2A7im5vGUyYiGn9n3w9
3gVTf+jsFh0YVsW5PlwvkvEpNGWwDD0ijaD135WTPEjd+QCLTOpYi5MP8VFHH50LM/L4g008iinJ
T/MMPPvIaIOY99FaeMl5Mz14NDKov62CUaHan/92MOz9/JtdiCUR4DV1phroJP+70Q4o/w8pcamL
POUlB4M0i6Zk10xyD8RLtgm2hih0cihIgBrltAp9g7VHGES50qj+aLLqprbpbno1l1WSJQn4wvAU
eDb7Zv4BKNeocPhLRwAKvHyWQZFbLqf4uh7Ibbl8IIPsWM6gr5PD6wLrZ2tm1QTJOPbX/CKXVyds
9ttgY5cBvGImouSJt2Iku50Lj+gq5ghPaZt9KJTJbOYVbhwxy2W1s00sUxO2bPhHJ1zquDrcqfhy
VfRQBuFHraA91nXjrHA+N+uWMNCo07DVxPa+dvqT1aAyHPwPpbiZih77qip1exGFmAFJGFtlWnFP
5Q7pWKGTwJ7qXFwwNxP5lK3lwlWlOWHNF5X3w0vRi4FdlHtuo47lqLBpvLX5yvT4UjSCgQZU9qBP
JutQCme81iJ+Lyl6DqRpf4Xoie7Kpm1M+jc17idzFlEylus6+bi8Rdn7p77Sz9E8TACCHR0dcAMd
9fkttTbcGEKtO4eh3A+C7zFW3xQ6tqmCOBqQ/jVyc8p6FRXpFjsX2d/eWYNsvrFHMs9nBVg2j5Na
n00NmqLHZT2n2ENCjxtLShR2y/DDm0fd/H9dFLmG34hV4fNLv/8mFWefgImxnk0Q8w1r3eLa9/m2
eMg4BFSDiz4rPnfyJi4AxDad1NZaW8C+iLsPOF4aZNj+WjrOlQwqHuVuHo5ouDleviRqYoxhHy2G
sSCuclxnbbO5vPDldsvK/En6azzTR7fgxsYpT8HlumKPsV7P+yh5ulytlvMoI04dkHlvLj/i5Q3+
DKIQGq8+Wx01iD/Mov9DiXfe6f1he8XsRNNAGlI3bOXotv3L9spWZLRMfokpw2KS8VK1NyyKDL3m
nC/v//fv9ksN6/d3UwCmHNoKOoXJP2+EhaEzB4lkhuTy5PY8N/4hiQ0b4UIPRYEyDkLLedD8/dv+
sv/+y9vO//8P++8hHuvaiKhOdI69555/hKBO2Qoyz/39Gwnzf7qdFOouFXMKx798QCgLcYk3ihoh
7o6o886xFfJge2fMluEyDwoibyeefpfHAAHKTerDfJXxOfPd/T9cyi8tnMuHVkKSaGtwu2k3/flD
9wBjfeoBFo8JIjvVkEsJ+r1j2p6vRyAGW0RldoR5+ZPE+45UmsiXz/PVpaB8gKUoNoSI04anVCeO
7R+u7pcTyF+u7pcbNcQRlQGdcZfGZFVm2ilGzba4LGVIU/YtCxwsIXMRFeNWzvjSf3j/Xyvjlwuw
Ja02IcD7OdYvt8ed7MLUg5G2f632dVUTDAB4mvbWyEo5P6bRPLvwZX6hBFp4nXusXecLlytTVsRU
MzqgZqbM/DEz52yBDGkK9zUSzey7eqDhhx7BORM9ZS60sSBphZS0BCsOywMLyaC91lOIvzOejtQx
DyYrZTYvE/MqHyEs6tvi1FPa1KBDQ39jmq57ri4tWzKb8kMcqpvMTtDG2bh3iMloA8EX7fe3lyVF
zCE++vyIzUuNiBz0Ff1rPjt9ICgBIcooXNc+SVStJLCrzlYusYrzLNrP92D+jzZ+B9vzFs4fNZoX
OwrNNwJDsJOI90LeXJaOqvhOhLqnmrvtQnQd9rxYxUN3nqzklEh1Lodvw0PrkbQsDCRBUrPINxy3
9vhu1oQ23mBa/9BRN7qGeBqpQmMg4dZPdjxtxok/xpdbZh1cSsgBZTpPMiYubzMP4suOirzpaInW
qaDHDamXO2nPAzeYb31vOWflblrJMuySSNcwtfy+vbE61lDjua8ssQj5vJe15DK3hy7fUlbPv417
l63j8vffYg1RNObmUfH3Y9H4tb0wj0UeUiZix3Y57qpf5ifHK6dpsGzFDocNV9vRKMItfjchKlgU
qG6XkVkuCzSWi4KyoHKiD7u37wIvfynnlWu+FWQ0fXu1trVHBsx8E7K6vSWb7GE01bTrQjaX1awu
vDz7J7/WXwiHoewe45DB2eDZLlQhm8SPMfwgaIy5oeFON3p6I/lVbb7t86/OG88ei5CuFegoww3o
gBs/ZkEFu8ZdkzsF52cxT3owfT6aibRig9q11/GtNiVjy7KGNxdh40hS+PwjyXy351du7aJcyLq4
Jal5P7D8XHaMFaV3JrB56NcMQh/VGGnWL2nHUK569kF5ot+D7yAWgKfmMrhHEOtFELz0w8YMBLsd
vl1nnvY0v3yjZUvBoF6WVXW+jHWr+O6lorpEWEivO/eXPcng4qgt1X1i8JyMITu13HXPo26d9fkr
mXcZlcnoTNKVVW1ywwJ2ydu7LF62FfFJuwLrTXvEqsQqZ7bZ9vIwGqZPo9Q5E6O5clVz13Mlc4Hr
Jp7TGrX+szBRb10e+aLitrS981aX4/LyhyJiakm74TzHwF7+hmzXiLG5dSB1dOTiLGLb+JhnHRGz
05p3lLHrfw2Y/UNdezenl9BxH7KMB46f0UaC9yytoYdZ7zN8FZrs3UXu0kvN1Dzw2Ywt0oL3rDrk
xZMbnDJqtDIhyemyi3ENUM7W8NJYzIiXxzQ3iClH0rMohHZLei0wvDL6kPMeM57ntljO/8IVmvaE
lF8epCHsaJ82p6ZqRk4TkoeUn6ZryXxHcvHSATDqE+yHM5BvhuW6qNX58mSHAOkpS343QQ+jmGw3
RB0fDcmUS3KQn6rKfMCT/pHkjEqVX0GvQvE1T0J0c+wyf+8FB6LLfRg8jOKE4V4OZxFTqlfhqFER
Wjxhk1czpyHNY/TyzP//Q/4/yGYsprZ/fci//8Ya+5GEn+//tkSFU73/VPx3RnXzd03OrE2ZX+H3
Y79h/4Y7U3JKJz7Dntuz/3X0F3I+wuuua1iOpAgwt73/8+gvxG+6biOwMQVgI/7Nhvg/NTQG9QId
GbWuW66lu4Zt/28O/hQS/rwZtE067gaXMOt7BEIf85eObT+oTplIYjJl7KIJL0/ehbfxLPZmy9uv
jRjUTaw2Nq2bpyr1p7s2SMnlE92TIWLn2qYHQp48UKgamd221ownm0N7H/fePuyB8zXYg5PB/6Lx
5uzBv1INGF/UqOEVszrO8fQ2n8gkMvdKw2im+ukjB1Vykw4YL/JJrKU5fdUdL0QNLH8KWgPru+EO
iFr5Yz+WxEGQw7q//JEDnU1JoR9w2lInF619Byd7Ok3jLAyHT9BbN35fxM+kSgCLaaz4xOIx7rsR
1zG0sy8+n8syo/ZD4Sa3ccilVdTmAEgCvdLw9sQTswOGk8dGpWKJWctaJ0UXrQGjU2XkMOnH0ZVp
cxqsISxhfBiirYb0EaLG0Oj21hacy4W3sTiPXZmjFaKu4V+amupN7WDZh1QYroaiP6X5BMZctzEE
NiVA2hno0Akv33tJemL1xvuhQGOTKvaU2VdFEK1ja4rvSc7zRVdtHEFjjQI5Hbwg6lf0J++9uWoI
z9A5VhFByUVlt1ck2bHVcaorlOGgO6C2wyzX9yP8QSzMLOoWbZfENiPo+2XMKQDUhxYiRo4cl5ol
ft5V7UvI4D49Lar1BNUTX7maxmlvIR/bxwVVYsKkWgrASb+yKI0tcGr2lDtzuerNRLLsog0uE3/f
kQvTdDSEZej2e71pXkszfrfYM4GalB+5ba/tMKludFq4YMWhXrY/lWVXxG7ED1VVlEs6uGI12ma9
mUx05PrQ3KeV0x5yq11ruesvGawl+1qLKAZSs2JHJTQ4dPy/YDeWKUiJZWqM+5yGyzXd83ZZaBCW
x6DHtmNpq5CDed0hVAht7JBi/jJaOoPUcNTCrAJzTU/5xiNlbaEXOSk87ukaXpwfTcvR5TVs8WBJ
M+XgjQjVVBj33AxjJO59age82LIPQFnYd1VdERI9YEl0sO0Y7rfTM0xyXCWe8USWEcvS6H06Xf3i
lQOPEn28QiqYWH54H/UpY4vQHdd6ogOMD+0lCYfo2KHyHVtW2SjGVex2U7JVPZxSmrPavjCesKvv
o67O0bSlu0l9RKG1bf1I2w1OoTCN9qS+AibiDNSdpiS+zccZP4Z+DcDMSea48eYEWPAH2pNK3XEf
D/Dw3dwDtTd3hn3zXPn0XEvrFnEs7MBIfrnA3MnbWIaZUSyqOOJjTKWxUVaF08iEC6cJOUdJe59E
5FF2CxB7N10PmaxSd+iC3U2tpW9GZ51SozjXefqGAbo41MTV7Oq0xT/uOnhzJoBOJcKYVa7EiRct
W/s46E5wJUVvw2xLfpBAHdLUDjYxgnLiQCWlS2iym9Rq2SWQa+/YwblN90iI2kPnPMkMlSquDhC3
bpWwf8vBQsM4irTrYDtE5KU2PTKlYkQ/pRXq0ZmIeCtpT8WdC3BJA+9J08Za5AVpBY5qs0MhSX2B
KxFx+sVy1B9rDe+QboCVBQX7AazFQfuOW8zqX0zH+cIIss3MfK+Jolsatf0m0hTNWThl5Ly0D+44
0TvAW+h2PZGWBM0toBCyc8TRkcGn7Mr4Fmq9cQy5bk36GUhPcdTz5jDyDzmE6cauCLg7NYNYT5oz
rRqQ22vgUi+Gb990OR0iDywI15wfzN4Ao5fjEzd8S2Fi3LppIxZBkuv7ZAYRkddYoOzakElkLiNU
xQtYvwulGT/MGdYqddkX+VGyNqppk429i0mktK/wrm+autxOJRyIbGQTK27xoTzCeH7yh9QmcqaJ
l/hJn3W/2vU5+CCOG+MGPOHKDFwqoHHmr7U+209sh5deMxlrszGOuXCQNtNy7dv64IzOGU9juxBG
dWMIm4vQOp5lDCqY0wTSihHktS4BVNXdvatZ9sZ2q5upbZ4HqdPQQZ9PpQzEka+osKpKHOElA03u
VzCgaPhN9lPQyfs522HO9X1opPOd9Ax1owe7DJLmVm8EDnhhL5mw1dLp/Uc/nMS2cMKfRuVvU95S
jE7oMTfSfSPCoSUaRG2zZHpxp+TLTkJvG2lXeoZbJtt3kicmaNuEtJaWqYwMMjcKqLyGalyWbnGL
AhJTwrVP/A7dquFZzgG4Hkl7IUThMi/PxAtxMIqeipaJ1EE2EaNaSdo1MGYUo2NASBI2oUVptE9l
aOwqbKULu2YLQFQtieMj0tIKAvxgd2tnojtchSuWJUVoaKnj3ieCsxifAtk8xIO8ha9zJu+VvxQo
fPA5LFl261MfIqEf8KQFuCj3bhUly5nVuoTyeAwjgsq8pNx7uSG2Tjc9Zrarr/3eL3HU8oQMpFV6
s023loQ19xmcVxEegY5jP4AYNPUQQOIo4GEM1F2ERW0RTiaSCGspMBHSs8CsmRwyPBsdDlIel0bf
eWQ277QY0RqdmnI/ZfGpdeNzo+fxyuqMW6/gGZ6Eyy4+nWIIKjTxO1ogSGJnS5vcJEIy6Y4gUWow
1Asyqby9O30N5CKu3Y4oFaXXxrZrq7UFGQzalPKYWEP4ZzYLCLMGmtrmZzBLStvaeKgNVTNcDTzi
YHqDkBm6BjC+o9dCeqfmLobRJGLUyzG52LMgN0/QIKJf4m/yXQnjdTLkpgyF2o1t62x1vXkKK5QQ
Vu1us2q6Q+TmLOBQUMfpXkQ4OnsAdriVUs2Z+dMdTOrHfhLjmqkTgobWWjwAQCWo4j+5BtSJ8TGG
u3gbCIhk43dMTg5kLDiOYInnuaildDzdlSwFq7htTkNW1vfFXJ4yW7vcNv3EVWApBB+BJytvjyHH
zaVeadXKIMgDgOC5nTrx6JVwfW06tdTZ7zgbUZnzs2VuEy7LH3Ra60tDpQSfGxRytHIOHOSoHQ3A
uFl9b/1xwj3Emp+ZpDDo+Gv9Scw+9v5kRgmwu5qvILWrvZnYX77MwcHQZ5hDEZogPEp39LdGZN1h
su+3rgqI941H8Nr6OSXOAMpNDr+tq08To6u11MxZ+nLYaJz8qUFkLr/pIWFqjupu30XvbTyax6EK
vlO1SXDBXbOH3NlzUx/oeraUBlyuYnYjk8+REfnVviCn664CE/dQpPJTRqjCzituTHYNJwiBMNic
8M4MBb0k3JU05ffgrURlrFsQt0vbbw+paT9pyCNz0siWJmNtpWo6gKjr3/13Yi36nd2FHmamAEWC
FiM5wl6Nj8xeJqp3SELCGhqIAjYSG36TI/aq771qkzKBsu1gg4YC3G+bbRdsLdnKg16PT3JiW96l
tJrm3rnbQ8m1h9FZGhmoXL3QH7RaztlJBWjHHMXANOXNLvpqJ/b5ATiXVZAKlAXVCMot6IxtUhv7
JMwe7WAd+AkJSTU+X6NS17QTMPlgLIkbptrQGljrGwhDBDaB1MXo40ePlV35TKUdRtCjE5TI2NIu
2oaaeVNAALjttZsyvMbFXK+CuNd3YU3xpwC05ZHnSAgdZZPRS/SlvPOKKGSuYz+h69e5MyBdszrG
jYtqAs5Itip080qfaIwCf8bC7pbnBrAzWa0PaZZ5kDrt9NrHaV8VVJUV49es4YEN1j11NWYINF1j
JP11mX43I2jlKiKHOZbibkreMxp/2FWDL9onzaIr+IDBvgQ5vQ8s8VGEHTwlNVnreBYkuXJYMQMD
0HRkBg3txspGc1nAWlpwJxHbNTlC8QZA2uQ4i7invzMFIAPqmHwoqGurYqzFQgtlezSRWWxlHFLd
A6RldshUW0FgsXCxxmXoofoeeU47UbJSItLwdXXxrto0rjlsTSd5SAXZk3CmGJxDddMSDEWvIY3v
06A6z6wEzR12zN8DEJ6RHl021lfGLHGPfkTtYzr1+oYjG8nefg2LP+mo7KYcT/APJyYHgZOl0dD1
PdeFNc/ufwTUXCqUvElKGhMxNqDlw68JIMwIzRqsWeIgxpPkOrdmvPFsg8y5wzhkEL98daXJbLxC
vXugvZhtW76dTVt350YM+c71MvLJjGitx94dHtEMhBE14S68L9QEi0irTsaovYTgIOB/t6BuUoJ8
EpHf1z1mdSsarV0xQFLKFYFhungzteEjj7rPC0xhcOJojS2YL4ubYvqu2lRFtbf7kvJ2Yn7QNSEM
g+yXnGlm2ZbFcJBReK+z3q5pzwWlT8kvllSVS6pFVhd+B4a+tcNQ36pZpAvD6i0quC9GDSlIEy3J
nrbT0TtGBEgIdrtrVPtjZ8pdd0kybUu370juMSgZAlXZKF2d6phEJDFTMBEqPDIrUEQdEBGkLTpO
j7JlVHpwA3Cmr80CclJKEgY4Zg2hXLXLUUXscx+nqpG3ZCYGu9YFeQOYb1WPGKEnU0THwLodEjwM
+O2ezFAH532YyKjgsORkJzPX78YddCrOk4pB4fuwF4owehRR+dDb+rst02HXyNG/c2v25SFGA4hI
+VHxfdHr2mSxZS5bqwiWJV6fKCaPDiaFs65LNlZd/BNHFFj9vnvxXDKyAppRkKRc69iIkZKsw4HV
YbYEp68tM807oJgjQtUOvqtQ1bvRKbep3rAzYaVaAEWquHH5Oo9qttYDxlGnplDuYlMITXjTw2Dt
8JjgYMrZytn+gIejg2Do5MlmLAndVE5860/yVkjJJk2HXcAKjFqPOqgsGSmG9xFlnDUGcyTCKAQR
QdY01sosQEvVBV+VZt6FaQUrjIL0JvP8a59BToZNvnecuFgiDzOof4fbRpi3NoqisgYSM5X35YHo
Foycdb+pU/nkUR9esqwQCsIQoCvabhEkZUsEJnjVSbULdDCsiY8OOxUlocDTcpB5s80BXq3qeLqH
w9+sK7TvufapZ9qX0R9xU0PJyEzwV4IU6FE9jTGHA6UGnB5U4uaQcyaZAKBf7MdrM4zfpjQxNj3H
7YUcHrWc+6mpIl9ZC+pSkhNgvgdC5EPoEQ9O2t4OE1QbqhklPSz+2qzfIKKgtYJtXylKNczRPMzz
npbMyx3R5P2irvWPfoh1qEmIFpBcHCO33nq+Hxx1T3936ptQPE56cuqz/CMuaspKxnSKfZTBNWUN
1h+d81FM4khfNjtlnlIfQeogdNB7uGt2Ps5H2mQMKp3ey7Iqje0wcZxPm9TadgiDZxNAZzrfsOaj
XWtam65s3cUUp82Vlk8QVt95fMnPyNz+2KHj66L0o5xQFVakBk5q+Oj8nYn/lGzSAtS+/uJM2iNW
b3TMMKBWZaa99RRCGAuNuyBoZ58hYVgFjSQCk2KVa8p2mVtw54ryTejcpNLttkXaTTtNhlvfSmjD
tHW+1ZOchoGGfKViD+3X0zZxJ5M9IZD9HG9r6pg7Jx8pQQGKaK2XHFC432Chy2kJXRu9eskdmLMd
/A8FDeoqUv3jJFAXqfALg2qyIh3dWSPs9dcu/v6UAs1Kj+qXNqtzNPflmjp9ftU2dCeMTlBXYXfM
s9ZuHOfVQSfCBrIxV/NSVAEZXE3G1K2jcSjI5xsWZQhG1FubKk8fqTix4sP9GRHWe27SbxRQJsut
XjtNXGvD/DVWMzrISjnlp/AlaR+Ui6mrP7Kut7YgJQ5J6mgskWaFFEiD1F+8BaY5HRLNxXtShTsz
UjdBwZpU6OwRkJQGmzrv54BcL+XbwqXLjYbkBT+BaMy4ndZ91ycbXPhPTcWvDXbggcGTu6QJNnrA
9Oq9RzoncVGFJHeFEWYqmiXL4mh3Q70umvlsUQ27zMt5ef0xC1JoH5193TTlSjQyW+vWnWXv6qRr
1o6ivDWNygOJTbOMJWJf96w5Drj6ALIrankCd/FADzQ7VNI+0Vb7tIX3k41hCh4w4LzIv/GUlVjf
6zsxkv7Xxd5aRtDAhhAdP4lXZBXi9Jr6YxGlAFtjo9/k+NKylGZSfk8sHL4DA34H7pVUMs/YQGNI
FUXuk2nTIkBiuaU8+j3HBvRhtHA46S5A/284cRmAEpNzaGrfbY3+fHTwI9hG4K37etyOFueifIo+
LA2RGlej+9TFxgkadOK9G2l3QFLz0EUTe/iCd+LG2CKlMQ2upUzhuw4FsbwESQFVHn5qJEwLHQTZ
Ap7wTBExVxjyIVsDQVhBJ2pXY+tjHeo7CqfkbuL/agkvYEYc/TlHEEepXW16iw0t1LJgPQrO0DYW
rxWUxZSjPEmkrsZXlCbY99qb0MxTRChdA3cCNGDkW9dRnD1WWa+vMo43O0dRgO6IZkgCm0hmwQMp
1L2ILcrVMH523ZQ+ppQnwT5gbedB6IBDSbCE+KugRQoNqZsn9mVziLX0hYMXGzwYr1UIV8G3JC4P
bp9ZdEitCIUhCdUE7LmoI6ffi8+4jCBUqxQ7bDY+JCOd9qYy7EVjvuMEqlZJIgK6sNWP6bb6urDA
VBA7I1JULzYi/iVp0S8NPwxz7CGrB+pQg7gZa/bu1aBfk85T0eSsr5x41zMrJIAaF2m+H2wQ2lFx
rPXGXJvVf3B0HsutG1kYfiJUIYctcxQpUoHSBnWVkNFAIzae3h+8GY89c8sSCXSf80cnuAHBrILC
aNZBJxBNoZhlFmkEpUxYD+gUGGcZYOy+dGX0R/vRe2Ma6bJ0rHBh0zeDG60f9nHy4xChzRgjNzxB
zrbG92JK+qNBO2MOZy3s1KpPOnMXsk4thPmMnCWjCSnyV1G5NjyN9r+6zdYCu2KcMkElBJTzAYb+
ET3iqtDQBLMLP6hecnZ5MP6YXH/80lXu1EeqYDm+Ms4xja3PzajP6cuYFIKGw64/0878EbuNvcH/
9ksWJsvvkNfL3M/Xqq3O/eSKrT0IYhg4GQ0Nt4GK7GIjqGnR3VRuklHJpe2ne1AJb8UrsfJse76Q
e2Boqpdt71qwhi75+f+4D6jqIBxyVRHySZDbh44iMB1By4XiA/FHxv6oOXnpHEVcimyZ4rra9+N7
OkZoLyPdWWsNYxVXw7KPM+sgabBexEJcfMnGSOwR+E73VAUkMEzIRha5R/Up/pldM8dk9KO1klWv
be2GVdS37IWtcY9oesnu3iB8ce2e+nQnFWvLvo3t1G51pOvz0qzdehMNXy4bsg0wznlOts3i6R01
hX41/FdrEOyvdXdHFr70pDds+YlI3ldo3sSgYd3uqET0DGaEjBd6THy06XqT7c2Jpz+a2KQsl8B6
EZ06F8ADe0dlmCfk/ukOeGfpKXVNUd7bIwywSGbnngTQS4puZ7QwvmR3GqkdsnB8BMWY7x3Lyjc9
MV+AhkMKP0ME75CtHRJ7ZJgbK5cYkpUWtoe+04q1pyXnMZbHIc//OVN+b2ayDvcP56TuAV4JZhuZ
V5TiZTkD6HCnlnpYjdpU0cHibAs/CZ7clmkgIvtXUzGpKcYLYq2llQPcEoAWI/9FZWBn0XvTaFBO
ochBgAIybLx2WFNzm5spaOOUWHP2NmV98dIJLW/VZ5DctqxvgQ1ubQc8mnFjrkXO5mtXa9I4aQAh
0GbjQX4kth+9ZqG765VvfChyRGKf6ESFvJZU2QA+yDxFDfog3poXAstsF8g3sIO3WlebsYvOgvCR
BT0OOvnu/rVKimdIBFrvqCVc2rzfi6nWnkMCZO26tq9TVxPlmbF1aXxIOi6mVnb8bhwnm8ZOLsHd
78QbcJBl8DyHtvYWz07CboqfCIDZGl2FjD8rWBn0cu96DRdQvpcBXMhYbisp13lasz12HKUyJbFw
TE1eC7mJPBq/Q8Zq2fcrHPb8Pk3wr4ro26Qw7zFM4cNS2Ob12t1KP/8SY351LKJBA63XN0bvMEai
pBD+cirBk3TZE0CZ/QpI35Xbxa9xZGWv4BjlNor5sAb3c6Q/gOx4lwmDVx1ln6A/KQ2PnASkXPMK
8kNaO1RS4IeODdJEEnKbh9uq4gQfu3wbk5q8TNvma6IO+6rXHjD+HMsWtdzEZAfG9H9WfsR2X1br
3kp+Xelqz8HJGlP7nAhaEgwGIwOnZeaOjHvi28yeVVjsIZnhwGrTIEzcuuWxETy1gf9NI8E16err
VHty55DXjdvRIJI2LddVF6yMfDiFpv+klZDDHlAF/7GszYocRqwwlJOGjKEYuw3VwoJxCrTlZz+a
36ZlYh7MaRmK8h5+QrscE855jmx6gOyJopvcfmma4zChIZwoyaWwm6WpaQZCgzw165sQmgdx86IK
tMhuiMOFxrbIEK8sDLs5dZE2jNOUDbgaKeKzJL0JzlEvQM1MC6etqoHYEg1KgOiixtZmMB5CME7+
grx7jLleU62GxLDgCD2qW+fXnypXIXcFAdphUm+r1nnD13tyevrRTY31uiFKls3IJFW8eKVpEgWS
eZAWUHsL/TIQyMVvxXGA5SCiL5t/9UAY8mAk3hOIqQV9uskM92HByy4YeDeag0nEI4GIRJ/ojy3q
k/0K3oO7mk6opSsIoOMmxpwowh3N0E+cnMuClgNimyCAHds4lbV2dyOwxDjt6Af03nTp/gJwWsty
yPUV8V2OTfxRHtDK6LfDgRiqDxUmxlbqoN8TgvDWZCIgeGo/RBMVFcUySKeTiuK/hCzaBbtvthot
crOM/kXW8qzoBqI7JL7lJDEHyrxHlWJd1B9Vfx/s6Xcc/GCTDJ9RJH7wZ2knwdjuWWwQk8rDBckf
5qZIvL8wLO4sc2JP19c/ftuEpjkcZPOXHgeqOJpkflfs+As76sjjRx/gKd7ABsfxxpYMRbycr9VY
QD3pMOtMOf3C0IdjO3YEhBtiHTr9FSb9VurtE4NuuMhqs9nYLdyokatr6UqG/blj0IMrmXr4FE30
z5suTs597QUbjLPnJDDbc+rizEhhR1eYw99y0l1okkzISzJOcW2aS7py7vVowEQEOc9fg53I/WV2
vPSl9t2K8GRM3W8RKnJ5R56IdnhASl5KQPJE069QaivDhb+v6/pSO8w5PQo9xOjafeIGIrO/0bQX
U2PFmk29aY60TfdICxyd76KvuWKtHQfvRdP5GqVKgjNgXuSrFVC8f5hHa/66HiTx0Hxar2TiM9b3
BmsKOW9CMkQzyS0qKGXwny89LgDXzSeyWFgdRPMokK+FdmacR08/V40nNkUjP1MSZLLeOPRuXBHe
Zz68qsoXSf1W9cErGoR7Zni3Ps3RHLBSJGnySf5AtjbwUINDfPhsEwBJhY1lm4w1L7m14zRtM/0V
nfmGrNpjPpEkiDOyoxAvxwNSbIyOrzCHcqWKnfMjeHF0hxo9vylpHCafOvYgijM9JElKHeSctma9
gt9Jcs39t95F2OzkX3HEUugDWE1Js43tE2N6y0qVbGgqfIEVyNZZxKNhW/eIbuqGYg56vbStVr7E
vHFoEKY7Oa4utFj4RXhbPp9YhajKdVpnLyZXc9jmG/LhX2VBbVI5U9K03Sxoajo4VnZLcxINutlN
R9E1t9x47XrW8IixgihXW0hcHj/J3B5J5xCJy93a1vhFRnf4YVje4oPUl9r9/xHeSeu90XjnQJDY
UGYY4Xju87jZirF676PK2JOCcU8sMkO7CeMCq2K7nCeRgm4MWvfekfblYJ/thhyazYjb2HZXcdXk
+xi9EsGI83W4LmD9KMqiSGAxSszLRbtOmPi3SDeeEP4cZYBWWC3NmNqzEM6wA6NsiduaT8B0Kf1q
p/l4WIvkiwgqGNiGB6y9xjFCIyqMX+zmNcjVveGmO1CnWRvTnWBswAJ/+rtH0iHmtU7+hil9IhQV
GLt/Dk0mI73DY+e5v2hA3gqobjyO1hpwh99SprBfJv+tG05llDHW5fAXk/NGRRoLbDvQjEclVKRl
N8/RnmuABunxutU1cl/S05Y+VVub2hE0N8C5Rv4GQszaj6H3DDp1jWgo4H3vj20ZPQVdMu0Kh/iK
LH+vkFktBx8wrbWJv0kD/Q9p5I+PJxCZ5zGxbbUMaXpI4X8Gol+0bJ3nNbXQNUewScDhABXnmdFT
MvwUpvtLUv5rr6RLHuOLQZ335DK00Q5wF37/yHJ4pzp4Y+y71xnhuVUZfs64DTDoj9dzTsSkr2CJ
J//xYkzqStxeu6zmhpu+ejik3+vRoyjnR4t3dJUl1BMIHxt/H+6aOjgjTttZbrUtWpM/RruDXr7B
UAAsdMabSPT7pOYeQpr9SNO4sCYxXsP6MwUgGT8nGTeEV8uD1XX3viNH0xHnMSUnmjXmSunv20Dc
2vb/r8ko0jeo5RkKuObZado4sD6LVnAaU6WGpm0sV3ZB74ismg8qEagQWSICABiyVqWYTpHTIJ74
q50Myy8SanoD6/dQz17DMHgW3VxmggjBk8V2yII3g4YaSYsVOW5gwlwK71ZCoOJQk5HYn7ACcO7W
2By4Mdd6qv1riXy2R1CugQpQRApebW2HkiM5tZwH0PCvog6bKDUS7pmEcv87sXiJNNg6zRCfbg81
PH9DXB+6Xrz0ZfqWj6veq5lwXOruIL+P81vkZgjI6XjXnGhnZMG5C/NX9Ps7p8DlVLnVxeJdXWWi
P04FjwwOie+s4BRPSn7eciltKr+cYh+07d4rP/SpP/qyOVRe9GOriq1F7Mls5yQiHl+QSs4UmuEa
4rjQyody7WMZUlASq8fYZ6RRj8Y7WLVaziXlHQU8GxF5v4RxWcXwI/H6L4F/ifeQn5E+rceWh0i1
5mN0GXncqYR3SS+2rc8kdM1ZwgWr6eJC/vlr3YUbzai36BC9ha7EzpOcUJIXojY2iZte3VA/WS3J
2EoeLboplijxOHi0juZKjcJXu/mc8fCggiGt3eDsz2m8PXVfafgtYlrkNfgIk+I18aKk+hQPMJeD
KXtGqoIvNIpfbZ+8gCw11laJ1be0NPJvW5R6EXCKRo+tqVXwAWGx1LEr/3+sFao/1r0EIdkVKEbw
8lOrSaFudBPECDTfgdPOwhqyKWuDsxZj5Aql0z8ickgw7YOnJqSUSBTDY2pLQFtTnluKuNFF3YVJ
OYklTxP3aelktybWTwbUcJIz2vVxcyOm+dcLXC5JD+iuk7xlRGYuUsecQ6FWhXeRFc1jTGhfVbIl
kReZH6EVpAXsNE8/9VwttN/sLTuYOSE+Jo2DzhXG2ge64dxa5iiErJBo6Tk3CGXoFbj7zHyRl8QB
u+zUs6sQCR59baJk/NEipnQ973YuuIIytGd8Olu7HE9BARgYasWmD23mbuPa5BozpaevnS7/RYD7
1sM/oPkZcJqhsQKR0Z3pjtaTgPl54VRXq8p/EBnif8vycaFbqKrK6Ccx41vroNKyku5Ya6zWoSl2
+uCfU697KDo13XEdMW9t0P1fxBi91hWXgx6y46A3dFoQNhZUVKZ1wS1HH2E1ODch9XcEHh+Efo+L
ch9bskSSNVqYz7YObaVCfZCc8uY1ztnuwHk7QbWc3e3CwXoenPqAcuYoQrnlPHLx73SXIhzWZH3/
Bt6k81GrBWnfyfjd1BmFFMx75L8xEaBb6kGXPVf8Qz57sjQqsOK1bEo+YggpM9ZuoyMug+6hL9HR
bXQPAwJ51fbE/NrdndJ7xsfO3vaGeBkL/eprYm+jrUPJSMdeRBgJgdBgG5KIyOQ1afIb+XD8g/GY
W1a6tIS6Q+oT2QBhT8mTRpz1MrYZYQZ/ugdF+RSIASqFwNFFRaPiKo2+kllT7DCcIbnik+hp4yI5
lDh3tAA1N7rWjeeYVPgVMS6fypm/D+OP5wfyCP1xrdEXUfdqZ0XabnIIWi4leRFKN1+jUTlndIfo
EWNkUcGBDEvjFNnW1rMo4RqK6dx3EUhs0KCD1VN7n5gE4DIzHgk4JcBII8laC//Y85uTCbm8rNKr
1etMLn50mSq+TTUYAeIV1e7alOoBnsmZ+cmndeql1KJ3CqnaNhFDcYEJ1Gi/Omh68S2b7i8ceOvC
Vv+mtIdKGICcdIY9806VYJ7To2qAj9KpuXXGbFhQ875Mw+zCaLVkryWUC1hWj023CGCwcEr4OvOu
lOOlnzN4AuMxXwslKhs8nuadF+ajcSz2Wcd8hzBZNh5KRYAaHxhggLuYvFVeT5do0J/1dPC3bD4E
STXR7JvOvuNcJ/p/NN8RQUSbtKc9s0lHCgyM8M3zzmgJLfpLWKY891JmmIBSMfd5dM3O8ER8i8qh
Y1ck4F5/5IXH5xjIcM0tvK0Eqx+sFrNdRUQWtOakjcF58Fj9UZCvuxkVDPIXXDvdxmEWHeiLncWV
97QBadDdfDy4MILATcGWJAWxTgh/WEcKEAPn9T9an8HJt9CKyT51/DO9PAi5Kyfe1l5O+Wlhr7PJ
EU86CqcsNp2NElvj/9j+J2nggh7mB1Bw9heWTh4lcbabNG43FuAMsYTUL0U25uVWUeo8knzRs7kT
4HCJrZ7Is4644ikcncUkBYcO1W3bi4zDDzLYRwSFX3kEe6VZw5UAdG2dBa+pwdGFYPRBjQXiacTp
fWW6S2iDZhU1EAiV1NAaBBl3P2tfVPwzTM8BEXfpYUCgUA/oHjz0djrSEvTf+SdM5I2yHrGVjGdL
w4z4XLkgm5TiGTLdQz+g5ybuTpVr9VvGvAU53UB9mQBRJx5Hj/TTlHQBcHFLYs8dtMlHvca6QbzY
zkixRuK5+eGvWxEXc4GdXLghmuWmKJcZ7MkqFPF5cJ80i6kkMhFekftEAghlnesYDs9D7LNU4lkv
Bg3YQ7NJr/c2VWB06yipLmMO04Rc8IbiZk+G7WcmYeQgIQ+p1vF0NNMj76adqDLOlCxYezncYAmc
vFC08Kyk53ybTW5v6Ylbk+6Laic05IouvQ01F+oqesJ8DQmv7QDUC7QeqEdJEmkONSMavWzlwvDl
aykIMYtjn55WCr0QtilK8jh8DXvZTvpedNozxRsUV5jlTrZPHqfr2lS8ZDez+/BRZnO00hzaw2qF
efAVV5iCnC7+11IxCQcvgKQJ7ELP6nDUNh+maw3rkdqcAWF5wTGao+5DL8rjpWh8pO1n3QCorgLx
jguTHHeHLX1CG5nrvNO0l+wjpX9Y4P4MdpqzFEa0zKrCOdG1wzmBei52FOyJYyLmpH5kRRLrL0BO
uaBwaB8U8DpS0J7SOu1JpR1UZ+P9ThNzT02XEEfC1Y1dyDHYrqVFBUoc0t7XpeVXm9OBwAb1z8HB
RLAVbqnUCpZKR4ukoFysuv9BAJCotqMFwuMfkte9aJF21rRvYOsYkPr3wZm18Us5K5vvYXaguVlM
3igcejgc+YV9/KYsfUkO81YjQWRH6PHI1tMjc2bAECVimBycthzmNCbGYKlQhQ71BEuFzNwsj9Q7
dmsRgHzQOcPZkWvh0lYXL0byIUOqx4Opc7aWYn+OSqrWgvqpgE+9VDVLVYeYAoMPDRmBfTFnFyKA
wALV9d9gaTiZPfLW7ZmxyYzntWXGT1YMwB41oifFykSjoQZ0GMhC4pjI/JLCL44lukrlrjfLZlXU
1aFViubT6xSEKIdog8y0ef2D3wLLaUnUQSliO6+Fq4ldRsTPprbu1Hjg23X9n2mq9OswoQ7S3FGf
y7K6vWtUBFxX0wbKE+WivpqKsp4dAE8Qtny+iYVUsUheRp8rKW0+XFRI4AnEOsgweXbl5AMaNwJY
NXvFm0+BdT/EB208hS7p+b1aqZbi54p5wpYV047cugWMVuFmmPsiZ9FV/o3eupjc/vzNJexulzNJ
FX58qxX/EsXvmBtWc0CWbHOI8Dy9NqgoJKCtm5ofKo9eqRJF+j6xwBsZsfR1rLvLMUv+1BgwraK9
LfOKu8Y4qap/0CSB1MvwP4KcOW8SsAxZ8CGkR6NbdVFCoysDmBD45dLXyb4LAefsKFyLqHOPtd0C
veGQSmnwEynIWWXEHF3hL0kFP7IEMEhKdNtm64LRWN0xWrdBS+6Zh1yLBrpverw3eW8Gm2FyWIhQ
/Vt1yQbV5q8YA9yVjXVR9gyqKjOOTm0AtHb0zCWxde/pFFhUNv7pqXBZPsOOW0h7N1FodBrUtDfN
G9crGhRt6bYQZHXnPtkieOjBeKQ90ieVvEO0Z6D+zgDFLK2ilw9pzklX9kOyo3lcUkoxWanZsx1j
C8J2vOl7n5r7rIQa4UYSmu7tW3tAWNeCmDUpP/OAfn/iBV0EaCWOxgRvWEAZ5SVl75NQFPGZxBPx
jV/Nlumv951foViwowaikDn86jU0tkw9eZdI4NaOMe4TW9uENb8ERgQkWlO7sT2MLZFLOwG1fVyj
vOlNXJHIISiqX/TjeLTGxDl5Lkqkqvx1Wiaefm5adeg1XWSZ661LD01R76XmWh+iO74RUinFc9/1
L1w54OWxgdFEpjuFd4Eq2I52KP0Ld5i1UkWJcGjK3QPdOxQRtQBtg/s7iHugN4+0ibKdnjc/sSFM
tnqEB+GMazYZrDmtU2hHUS+RRUY1LNICX5qLquUS1er6lvLnFnG9plRDX0PdfYbDgyaL8dDDo1Gz
9er7OJcs8W5r0PV+jo7AVUc3JHo+Es4ikpFam8HDa8EzRJdRFLawAtBKUDl7MRYRi6y+9noTc4Lo
7GXUXKAKjrZ/xEaCUigPVrkq6P7MWZyhNECmf32dXBSRgrbYo+o3bkUjF8LlnsfPrnGtVKn/Ufr+
1TaogGxtrhUJK9DQjbeq4xLdUgYOOTX1QadfKkJ6uewiMIViKPC1D+fMbZw1e/y4iH6jJPnJTPlZ
ufu+pwFhnt8sLf+k6dVbad1XzQmszAExO22Kbamu9IO5zC4VTg/kkRMb1sJP5Fs+Nx6EnAsU5K6C
BImHmevT1tfiH4dczpIYAC9GVaZV2q+tfGed0I5Q0yIm4dDDsvjqBDBuRsQ1ANszezCi6LewR+wL
cmlayE3qZEJ0lD2nLLIUoJev48h8o3PEi5rNNmDPcKr8yy9ggzpJOrGfAEwkYno4qb1TAXJ9Owt/
iRcDVp40hRds2E62eYkz376NuLacg9aDeox2/hkgnCMCBH9BwwPLaEedBOeJXgHXaZR0Mm9CTVr1
FnT9ISBy1lpYfrr+wxrjfO7RRJRFPjaX73yS5HxIBcahKGy2tgFagGAJuyLdx9E54YRexE14S2S+
9owSG7pYUQv0E9I0tSEdkZIO1wHkfScSChun3W1UB6017/hF5WI8URrgLGdQi6tqUZvpzQ5oQ47K
n7AeVvnsQWnG8Y7qlU9fNJ+8SNnWT0xi0OzL2ER/khhfOeknUUSPSam9K8Y3L/EeRMvYK1uFDYIc
IF6CXw9RfWozS94tz9tNGpMkUvl10LKd57Z3LqIAILbunlDNr4vMvPXJkK+i0UQ/Rm0MWmU6QAxe
S96qlWE7bz6BlnCgtOCVRINWKh6pvgD/cCEJfY4yupXJXGpaGsMihFkDTe/sL8172SXb3sFEWGMY
pFR4qHFdZiW024jvQjZ6sWRtJnSQBTE1wmOLTRXbFLnkQQ2x4DbkZgKrjvOT4HI4jFOzsqLpQVOl
uWoYqaqiKDdS9dhHQvvs0/Gay+GCtwnlkpuUyyI59Cb3H5fWh21RdNY19Cba1KYXtnsDhv1yqR8y
+T7oo+FVsMOPSkKIyfwHIcyty+hPGp/yWk84b3nNu4bI3VQL812ecUoZFa6PrPwWjKonJmS+Adtb
CoWvCKCySmgzVBKEWW+7LY/63WjAnUKfTrQJdhRw2yfTee1XrwndfpukgxdLTAfoT1nxSioI+Qgb
p6jA1xq72tpd0S+YK6nIKIGZZHohCnMEJ0JNynWCZl6BycytXoQFe5V7tOomWGLd2NdVWj3npfHP
EnYPsu0gMre31PIQLYV97qlAvBX4UbJ1TO6Xogl26CLmjNp8pc1IHSrFF1pctYNVeeeGdSEeCrJz
Y/Xsaf7BckoXqVrHiC0T7IQ8LJlmhad8rh3ye/VFS8CjwIi08itoboda7p09tO/o2JkYsbNu6gio
mDRFra0PBDbgpUqrIw4HSmnRa1xKBH6jJYaDXcGqZPoJsQf/O/XDoB+z46CAN4VA4bd2ufHo6VwN
XgQKYLMWa2GyzkyaSipo/5UeAZ7WVJdRvvg7uhSwTuAngNfNrqfVC18KHKkWuA0qNPu3TOiO0hI/
QyzjJniCzLuGBsDPCvCPOHvicN/CJjwHGUe+qgpr7aWQklSXsYxw0+BlYg0QNEYxeSZfsW0c89D6
jsf40Pe8AfmYPcdlSP3w1K0GTdvTp5NubC3+dQvENpHH1UQf7hkP2o9ZocOOdYKHo+jJkEF61331
ZyV0xkv0yau0xzI90pettcGwVpxhi1pjv9BtSEyKzJuqwGGEXW2ynSeFOmmsneHJScE2WfO1HVz2
scEWsLSkMJc5GbCdGPelw0UN4vtcZmGxdjOX0ZpQaULfrLUYfDJ9+d6X7G5UNwrhItW41f1gbegR
DJEBQ2WX0qLoCxNrRYt2I+yLEx1TL9E3CGXe00nqHOQucppK7WhAk4d2gn7dD1XQ/XCateXdalAV
DUH22oF5Rll9AD+uBPOykZYmJExkrJ18eqasAeI5KX0Kpc3NpEARLTXse0ftTSShRYYwI4xINnHz
mRniwllinnyxCx/tAtEiNokr69Kc9h0BXSW4+rJu1GvezCFuZhtdMOJ0i88y8f9Vg+q2icn9bZif
kQM8axmcqI5jsQXEvL5WM65T1wWSxBvvGitCyfdlQLJN7/H/y+ePlC/zrPnU2BUJmmsK329BF7zn
lPHuhjCGeDL9GVrMlpMu/wQl5085eToUGaSbydPvgcjh9zTSlovsqxZefSW/vuliZ5uH/lYR87HM
K5pAjWrdWvX4PDbTW2TNXr0EJwUfiS5h71VkFGutHXNCzRLYTvdZKXzViCJlqn0W8XwKeYm7tuPk
y7NaBNQJjhJTL9tVTe6siZPSQ1NFXwjdhrRf9CFOiSZTDoryxMTRNHx5w6RvSUL8Rry68aGvDkkR
nKT+LyxVe0TZHi0NqYUbq804YmIXHJm6RXa4iQOpRFLGsbosg0hHksLGZxR8YmhBtpqNyiqzyy2/
R0uwUY0Ntka+WbfmqrKMZqtS3cCY25kbFht7o/fGMbVoCFNwDInm3izJcBei3wn76rkbzEObm19Q
mgF6q8zEfGGvxqEIFlVq3vmwMygQC4V7ZTwHhQiPynPPhPhvZNSf4qG/mpFIt11nffB2vlGaXO07
SUdTUjGruuyczcT7mNF9saJjdl/7lb7zOnWtbaKx+85xtrG1LxurJCW9MN8QDj75mQ+VHtvp2fhD
r7euam/cdvVcU9HX5Dk1+8FM36uRBOAowoM7evlrMBgt6ZLIBMlCHgMbRXTFEDQTG7BXApO3B1oD
6Tv0OoOTPyHg70yxyQV4deFBDej42dZ8V4y0zogmR9+TYu4cqYijXN5/kyB5xKxyb6ewXy26BGnD
MviEARhiUCtsmVi0PZ0q+p6R3kbFFZQBNRqDuxNDe2swZPAtEqGO9Etf68ZWGAUKJ8G7hboJ2VUi
wwth8p9ej07UNcIb4DpuRZ1DhzDbWY4sjZXm7VpdOUet0N+i1N80PR/uCKExaY/K1D9aC4mOlJv/
/5jjEhOYjTeLQJ+2WategBhn6DFas77aIM87KT+63tQOApzBpnLYdLxs6Zhdtc+a5pzj8G46wtcI
WX5tMjk/x4a/9E2Gmb4s/kAseThAzgMM6yigGLJy/c4hs+/rQ0tT1dWafnWRHD3ZaofBoKTbzghe
r/g5ZMHirJP2IbOR3EzzEE3lV47MY1l1/KxGM+pIRla69MMN8oZuJQ2gGoQKXDelwy1U7Ey9QLah
EujS3qd8U7m3SKrX6oVt1HmFPOVtsBdmSuNL4Q/BiUTd8PT/f0v6kQU11/f//53uF3RnUngUnKhw
CU7c8NzgzGmRitEeoqr5wCFMTrD9xhRE1oCTk5lAjXKW5+YHl/EzfvnqRkBdRl3fU4Lgcd5ku+c0
lu+87B3S36Q4mFjnHj06PelnD230KPpuQzR7Xm0vLTKG8MI4N+RHm6yf7iZOyp0MfO9mlsNzx2L2
4bkoEukgH3eIwcxdRysLaeDaGYX8NTWa+iUOhHFA9x+ivII/jqNuxD3efNWV+ul7mwRg03hOEDfR
syr+SZdVPUkUZSo+tHrQauR6g5g71ZjtmjRkLEYs0SCwPiHpT91MPaWxQwiaX24tWN9LWkjel3RY
GKS1g6mxabdmRmpmk668wFi3zMyHLiQO1sTwJyg+gdmtVsQ6pAwpyjjVqjlhGXrgIaXSWKv0ixtT
ChuKW6ai6tTTRPnWq58KjTh+M17azD+Q/++cfKy6XM31QGJA62/GbAIhjQeAXhwZ4JnWOLKOMHFG
bR/tUzNtWEgn7UYhwsF34AgQ+Z0IgjdWdlDLFRTVBqwhOhpd/WoGNftLaz86beSiZbskmCtILqVm
hIdK2clGBbI79QxWLDbQG5FMvoJZV+lZaINHl8kDKxqKf0LaIfnnqGc/X7mgaqrJpzOg56H1uMNz
FKEsy9h9usBGkB/4Kz8PHsww+VZm0OV6XvsINcr0qTaplWwEGFFNw4an2NhiKzrZIYnaWe/cLLpD
1jEdjUDn9I96EznyYHkQ+HCkdNgTTWbQAGnRLtU1/HJ6RA9HHe9DXSNhZeTq5K5ZgSv2OpZ/o3ZX
gyEJ4lLRYWj9G0pYFkJqM3FJnJKyPo9I37ogWDmh9tTKwuWPAihNsggIMiHUNArMZRXS46cThigj
IL2REXNbB8j1iETJJWUhRUyyf9xtaPOBCZHp1S9MolZsJmgL+7MJBrXoNYjRFECqRP/KymA2Wz/9
FEi1IAgyqjd0EnBzDnBCjGZzWo6pctJXZszt5aq83QnSS6L6rAkaPalwucKzG0uZqY+M2X/FqS9x
tRpk9PrWHtKSmP+JaDb6x79lziGO3uGtX7sqmLZBgwmHSJ54mY3IoRPhPftjBsDkGLR4TdlBN9xr
o1M7S2kZRdHNo8dA3tLX3BnNjdRVd5eW2j+hxM3Ux5hIE/E3ioMuMNcyfZvbuBpHVEH8nSzBLnuM
wzI6V9kcRFYSKQRruydvc6OncOF0INFXnmvPc3SyIXZjY39r+OvnD+pGXRnO96F+AkmyF17rwp83
3GgxzQiGWd26tqCuNLL2vV5usjD4j73z1pFdSbvsq/xoe9gggypotJNaZ1aWLocoSa1FkHz6f/GO
MZgBxhh/jAa6cfvcU5VJRnxi77Vb6opm63odOj1BNY00Q9nF3/y8OZ2CxYZRAPhZvrWKlhGyUMlS
9NWGlO0DiatPjUqznV/n68RRR9/TznlnT7vPUPK7T3qyGbJZLohZfZ0FOCED+VLMq00se8XKTTQs
uApXbIe8AuZLLuk9+9ZbNRmMhDZl5996+ltSs30sPioQFquxd8aVVZg3VPZQB1QKjr4onocsRXip
oboIvB3mrHhpV9Zrb8rHHicBHqCz2dFei2r8Qz5TLNGLWKYNhqov6qWu3O+iR1aRpPoCwfk36E26
HVXhkS3kC/g2T/7ollRbbqGzaYaX3DK0nd/5LwWn+qawvmKCzBCO6uUqLNqfbnB428JE56lcCceg
22wq3roQLzcH98rtuy/4es62K4NL2hZiZ4j403VjIj107xEFeBFcHax+u5Ix4cquXBJyLn4uvrVk
3HZIwpfKNB8y3Vvp8+cR427Gu58n69p3N0MU7zs3tvBhVuYBfcXB98Z0Zxn4SIbKPPON4R+cZrtY
o3awVGFHZ+4coX3ReQO2Nez8kLDuyKKLHplcIj2dfiTRCijVaPeDczfRgQp7/Ivbtt+h//4em7fA
4GmY3320vgwCnPJlnMJPRiyPaBKPfgXVuI6N2yheOBI+PSZby26kjqrin2QKX3MNi5QVnLFSdqix
cPNgVpv/4VD7b70X73vPERsttkmzqae97mZ8Cz674wbQK9/SqOHbI5Xv4E3jtmQRsIo5ePHSEQHG
e6sEQ/fIt18ChbnRasWudDPsgkyfbCUvSc9d7PXDh2VYgEfsEU+jS6p7Hh3CEulBBkao+k305kqS
J1owjSELUwIPZ0y0Kav2phB8kFWGp3PCp2+g9Gck8NB1/T0cGeGUobtzJ6JIShfyKi8tr72LJM22
vqOyIak89c44DY52euEyYYwb9P0aMthytvF3Zo1I7Eea/TPZ7Ni1XUYGiXeIXe1Qt51Y9Ib9OQQU
xolbLezS38+fWYL9bu1U52kuSCmXb5OpMKeQf2v29tGBohAG6P0RJoqVr2cosvNmmSggDINdogVt
7zjargWjTbYb2U8l7IIXJD3hS/lRmqR9VdRNbp8+g53lZ0rhRzfeV1WV19Y11iFFIYG5nOC5hTQ1
+LSkGLZjg79L135bEKG0i1950D/3/tG3bmVQ3czWHOZlAVstXgpquhiCSJ19BRMq174/6bP3tUEP
6xntSSS+D4EyICSKaK6Sn1fgv1xUrf1STw4EylR+ZopkIfzAPqZjs88+6hoGWkTxOHQU2sNDj4ow
71DUF6YWY+oM961fsUuN9AskdVzw6gvVRXbXSy4MTbynuCOupY+Sz5imn5qmfD58cRRn7lG3SC9n
D0GdUzY4FCbC9BCI+3nkYTV0431QvI9kQI4OvDDT0y7G2O/jMXlo+WD5Sg+1UVrbruneYm1e4Uz3
0SMGWXU5jvtounVjfEnH8SV1JyaUoXHxS2cZAs4/wU3dp3n6EJiofJkusoahDx/8b9+LJM6Nmme9
ug+uZe6tkUxJL/orsXahlyUn2GrGB7MgNK+P1RthJeM2mpKtq6ClJyB7mqq/NZ74EAK4rwt3BAD4
UYaIJ6bgz0okyzRQ2cC3k/QgvwkJu/ajdskwf5eRt5Pwz5aiaP7GcPqgDfcS58OJKmxVEy8+TJ5R
vuCJfpKw6b3afTYopINQvFFcUipm/p7DEQBaVxyMmMyTpHtSJWshGU3d1ovfnCH4raf0zgLxUHXK
WgELLbfge4DFadWZaQAN2xBilkvZu/lp/t6Y3q9AW2I7BIkkpv3K6OXE3m5aWcK7DEP03lgVnHQc
QJHCAFelly6b/b7UoIuo7i7VbBeRhdpmk3s1Io2xHJN8/a6s5KdrmPJG6UmvzvzbsO+0qpjZBcWC
wchz5eR/5A9zA7gxcwl/H5j1K/+xeZUbcANRdy/Q4y7CMhSrzvR3rcHQxrZACwrNkUvHdtrd1BoA
QoIcW5Dx1WaVvuJhmXtQn5CgCI0EW8WuEBkW6I7kvJq1efI05dnH0PHQopR6qnPj0Y1IhmfQYyIE
Xjaiv9uB2a9i9iX6ID/DEaZInA2n0QqhRsybZ9v11vmo4Yix8r+pxgKk3JLxN2L1BSRFpHmkga4z
X/52RYtdmeX6LAJculbyWvjPylevJI7eBy9/xrl1ydLmo4tQZCKKouLJnl3yUA9aYr9lDFlYnogS
PyWcNIGJIGKAEA3tZjLS5yxrN73TwNzwz0z/0QTErNIsYGpyeJsQq+6qLPoL5oOdZ7cMWa2Lqnon
FJ6NppiIxmHMi1t/O7AKY2aMb6TWPrQKC2A+YgGP9PKNT4tKmW8uQvXWEY9plOawiyL/PRyXo5rk
k/AyczWPvtAmUHlWfUTBG9T+FmXUSBmoA3+RGKsHrV8V6Ni1qn3XoKutO0BktqiYgQarIq/dXcB0
25TjwRBOt3GwU44JM/0c4NIBQczv5KxEUzSUTvGTZs2brgI1B+1APlTNJvJ3YT1kh3rcZ6GFHTMb
VmaM6MOt2MmF9DcpijHMQuRiG+heDIG9VVlsoU0jX7B8j05OfFINhDsjYeBtCvzO1BasLoxbjYqd
n6f8cw2PhZFntgt3EtfKQWGua9z+EjkM+w6uAaP6DTclntHeDtO1LxmZxFO0xvrL85SiTMqxm9Xd
ZCDMKTcDqtMynF4mOCuafKztLt54xDcNGG6yjppuhPyVa9oLgIMjq65b5W/0gt2Qh7x74fr9QRjK
Ofh2PucMteMBvDT3WLcUJZ/OUMtwm7TyA1oooUWVsQv99ssDgUk7nz42WpAvKleeoCu/eXk3XBRe
H9vpy00xgbAZkdiPAh2n3sPFpCOIM5oEw5kZJlwQKVbjlZwda409rHVuYC9HKaOf8rTlIZU2qXAZ
m9VQXacKV13fsyiy8vTbY8II+IhyEh1eLKLHNMP7G2BTk7X95FlEQQpmCTxTCC2w3uchIYsDHke8
348KfwlolvEOIQFAsSBKrYijU9wJsTNl+xRFwJVzVhqc0dYsm+LIcrNN7PjDkuUv1b43ELtYFEcn
VsXRY7qMmA7WhPF7Zzb+lKviZ8zruTNzzk5gsbMEcWhPZrMmr1ZfmhAyg4iZqNWZn7qe3DmLgSIR
+4TAIgFak4TGK6v4gyJXzTADzLyj+2IFwy6Zjy0tZELOl+TZLAEanFb2WL1Jc+rZADug1VoBpCSP
SNWwPnRL3xkd0UjPzaSLpQVlLfbGO6z7gz0j1VWNJc4W1y6D3OYoOpnUQNfup/fESsptN6Pkfm1X
PTLrs/Z63G+MaegOwBhcvG9E0cnsLJ3w15ymQ1YxCsDQtxkKupM20l+n5uhy6C5dVV+nAVGekUcX
FuqElaIqxvtLRG5+SbUYKC0ZVozBeHnWzBvGTWoisxdRd0HKTJnkhWvAzk9upwUrhYRvaXiQfJDV
w/U5xAYOtshOTp5dnizOAnSqOr1Tf6uT6G7iB6bLedJde98MjJmAcy2ExywRkfoO5NJvEAxPk1FC
3iDX1xkPFGRY0V16/8LdYX0JljUWXeIpxz8X0cWM1n/3SwMVk87dqUZenspb8Z6+BTEH1zB9xg5y
+ThANUnsF91YeOxkl63cjn6oq8UXsxJei55K2lVfSgtfSIJIFGeRitmPZ0+qNn+60rszejiYGr9d
0QJXZHnwg2zPFABUxn5aQcyqWAkDbK/qo9uzURXyhc/rZyK/YeC0Z6NxAqX7XHT0wnTXY4OgD+AQ
QFQ6wcYVN1j4BzfrfqDePulh/xLXI7+tFexBTvLtg3ML+x3BBAZXX3JhC1E0l7jWiaoLeQhm/5vO
zlPP5euYyzXf9UM4VTparP7JC2vM1IaNB4bYS2Q0zoVV0iNp3CATBxzfuveKdNFgjp9BoU3WFdFs
OIqOYZucbUAv0vam3ehgYnMTOOuC/WoL26Cb8nif9L+mW6uNUQ2HQYSYhjhiASQ8FZRe3JShe5qr
2naErTGMOQKgeYLn2Ntcxt2a1h4LO1m27MWAM0z5DjfAxTeCE2L7N8hatzhm/+qVls8nj+yZOQGa
jUXbDVcXIbite99EJp3xNHIshOlfaiAB9r+H6gbx9Y67CBVnS7lTquQ1FjytsforarhLLNV33dj+
TUZ2KhwG1zbbIwNHy8LN8Yfbus8ahSiZJMYulVr8ewxzRNFs5cxqDQIhJfLW7p9QPpw9qZ78jqrZ
VlFA5zt+hiwz2Vmg5vOcnZR8a7IoDiHw5Mh3T1n9jzVmeg+nOoWlMD4EZX6EekHJkdlPWBVGs2YH
lKJVs1qMdCyNHK36scWDQJ18clz5MdbWfUw4zeB8YRdgm+cFUKzrnVaU3wVFNVS3I/7bry6lzbKi
1ykURx7RpanUKmQYG3Vw4QtEF82Ad9FEWakP2JAtjgb9N9Tf9dyGyNqIR4OKnIYltBZdyCQzZ1xE
Pz36/FV1dbBHHOp6/hDYiJeGahcy/FymRbnPYdqD1htugXJerehzpAfDNLjPuT2qLDlVrGBDflaT
ze/GLtuL4mwbK7RC2T2gegfAEfFq4tSTiE1gnJw4+dB2F7P3thnvjuDnAYDXNTjdW6FxYPv1cmSF
h4JNJegb//kCuo43TbZiPek9nRONlSZKDtcMQELvv44p8AZlsBqvRacvZfjseanYZeldmCnDanvF
cEkDeE3bjwi6zQDh4QoG3NqwoEVxTJdA5Af6Fu1BDyIYPsz2O1pRoAuk7Fa5SaEAfYCP5d753hMH
mrMduLrQTGXLSZW/jt3++f9IxlBKaMLMMZrDTwH1iwaOJFa0Q+8JaESmYvu0p0NHMjs7MZCsU3kX
RNBLDJhTbn2PGlNHhZ++5lNXoVeuHMsHWgSHw42qaGvE6dPQ4NT0ZqAH0zJWfOrD0qZwDXDqFy8d
Q0sxHagL/HI8CVDVzPigqnmYJiuRXOMeCAU4cLdEduEDzuhGnVrcTepHR4PO6Q/6E8oLAEcm+cqZ
lvJFlwqEFiwSJ3S/hTYjeifrVbORAvqBa657zWJ5J8bxmOv0Wp5uQZMtCsRD3IBaEH+ZXZQcRVvf
jUIySWuBhY6ZrR86q6nXpAsgvkwgxmZg/1ZQgGitxcOkj7veTQygVPzkfJatWb5ZFbuU0tKAgVcZ
LIMJt2oRPpPqjY9r3szIEVQFCAlHw0ovPmLXm/O11dKMAV5QGcIQLTFVYSI1A5AprMppeCSsTw//
ozedWt1atbl/Nurgteuts6eQADdDdPK7HNUufVfdm8+tQj7CvPWaKRs0DdxyLXjvx4wJQP6chei9
bBv+IrLkdsWG6VnXGf8PNqQ1VwCgxz9MmCR6KrlnIBUtkbLCInc0rFchF4n8lZbcCS4g5YXWFrBe
snWGR2LOjnXP+oTl2mQrhqPcBc10qnxqnFKHnqfUM2LkG2KalwmwJYEQ2qsXUlpTJWICtOvTyLeS
o9/2hLPzg2htuN2Ly1CqabV9PXnGRR/zfcqYyAmRbRjwA0+Dy+JgbMzHhExPXv78uTOqhxKES1/H
oLB5R02pPTkDRnMVoPDh4WXrl5BjF9EF6eduBYf7yi2bAW1VOV9mzvMkDN7wkrvHm7TfyB5OZVQC
jp/eMi2+47+sUOEBexRqj3F9U8HvKK1w1Zv1h+5GH+aQnikpFq53dGpYQj04s6xeai7m4dS0bnWO
fMLCe1gaUEtt3/uS9ZVBILNZG4lOFFfNNq5B5qDjNi7IW+6wXfaRQQfExrMp7Hc8SEgHsAJAAH+u
USzgI4/+CuZd3C1zqYcatzK+R8lFFvPAyHnp3ycmFtmvyNePU5ntGWDdLbAmJJZ761RpT6B6fnJt
XA0tdAFV83pWzVc5NcNqktwofvHU1CMKEEN7kvPqtUKkK8GD9V5zmXQME4ngmG9FQy0V98/CLK5O
1TJDtkhdFeNN6eI3Zqh1aP3XtimqLYwDDoko28G5ddaDE+6SIERWWPovePl/a3B+YgpZTKxHMBQ7
TWhPaXFAlgyQJdFnPuqA+soT526GSNvlV5W53CNa+zBqYj+N7EPDcB8kxnkG3GrZ1e2qN1FkIVRZ
7mx2Kw48dmAbJhsAoruGEOmrMUTX2Jj1CzhI+s4hbj28k3p8xoRisOUJ77SaIxwWjZupaMHStxiY
PDBHveets8jew+Yg5wxNRj2oZDe4m6x33su+L7a+DPdpUV3RXEFScbUjOFFA2dggIBnL1fxXW2hS
y4Zbr+mDC9XglQyLY9t6n02b3QrLGhYhgs7QyWBuFAimjRU160XDaOaWxVHrNQSX4fCIt/wm0vCa
mofCwM2X6/Gv4rdzoxqRXYtDsXQf8TSftfrLqmd3pKYCcHLJ1Yzc58o/s3GBBTpNGFz8zxTx+ZCb
Js/KePA05GxVz2QzKiHtdO6v003lEvEhsISTNytPhZBXwUbWkEG7GcvpYg8OAx50zG2otduOwR3T
28LZZJH2UvcAwfqEEQRXshm7byyySFjwyi8VVR+jzqwtT8FGN2b8B37uuZVg5MIAh5eIQY9jLg4i
DJbo0CmRQ7SsugePlygMhuhtyOiqjDayYUZHhQeF0taP1VDuGRZVG/7qvW6jjrVVxUnTXwPizHcM
L1tmNZm9Uemw15AZL/R2ZvsHF0fZ/SrzwmfTpMN3dHihOY1c1piYoxOIaz07djsxl0NsX1wd5lCc
U1NG8Nb/8aZH8EiVkzw3fvkb4xlGf61eqVKhA7nRq+3oL6MxvCDTeEuCfEU2AfgKsyaCMUPmK2L9
2FTpIR/8VUuuziKaWV9oSWivWrSiiRnBI+kQC9gxluj4K2aEhXOovkaCreYANCssWVWUqlok5fTg
8A6uPBcAxCS1XzkiWoND6ozRnywpNRh/LIUTVEeuhWMRWxiftc+UfRvZnM5Kxu3WiyasVSb6EwMf
sudQrvbc7BEspyc87uvKltR+THeTOjwG5IICs8mmMV+qXNyCIjFXAjqAXsYfvpXvs4r7C9uzsgd+
ISMJ1kOgrwfyNwSDu0Ueiav0O1wZudaxSQy+QaQ/AMZEqPKVkuKgScZ4dRENBDd9pVX5g32ID2RU
P16ijlNbbLXZINLZ4Y/Ksh2gELl0Ab2nfzLRyAjOpL0ls6SjKyb+Am87kddczUh+uCUJiPDh4TI7
st9KxtNrWwF4V8MhMbp+A4fC3TasOpOARX6jup2bu3fMW8nccaAqHpx1VKYszyfyHmARjBsao5JV
Xo+iey3DJltzwKmIMUlTWt7SLtWuz5R1yEhrD7w82qWWvFVRgjyzo5toSDSs/+kO0Lt4sVazgHIQ
UZc2aDx1bRP7e5o3rEP7VgGDhfjKvM0smIDkOjs4yJkcxABp2RTsChvIvYTKA0vh3EL040LG3pPA
5YarB1bsFbWbd5o9So0y5PYkmFfj4yLWobSNq4t0zI+S+oJKKct1uQV1eaYeAd07HFVs/ta2ugGN
eRGd99RDHA4FTvIwYlzgadkKA3lEltWAEcNFjTIDewD/bjC+TAtBgAtOKmQN/1g0v/2YHC9EYB05
klmIpRWa0V5PdUGQQ7RWEd5LwL/Dsq/YYDKG8J1mBj7606Gdi7qhmz49RjQrUbkHdNBPmosFU7ZI
0/t4hz/Ho6o+SFDmx9HR4x2i7kM0oXnsJUHUyHtuPpa5x7DmlDGT8rcWRr+ZOnDECvOTlO1ROBgv
DTaQ8wcYyIJByHuXkA/aYXH31Gwil91Jn73OUjIv0NadcHKiVBwYMVH5EPjJwvKe3Rp/cWNg70/c
hJEZbzmPVQcBGeHFzUvK28wvWsSy8mjsHaZqnfUHNupkFarEPuuAy3rRCyPfuA5zKBcKk6T39+ex
AKuOcofWep8gwyyLXzQT36kVgeWWX8hi3RVhgdTNEZgpU8p9mY5scvL4hvpgJ0z4Ig6sIFSn6YYY
HigDcBaTZkcfpB/7VBwpcOlZpursT/G5r9RbPU6n2jWuxlCCA2tKkirc/GY7TDiKOc+4TJCWpFd6
cUwukoVVhPMJFkplZOl2YC/dWT6BFgS+zNoUf0f7jKB8YbqEy3RWMl5BG2rbdpyY2iuxRizr7LLW
u8RCbgPWSZ6dXQUnTCG5ofUB1Ski391I95o1Rboe7HhrJ/LFZ7dEIsi7y3HPJg6tkw8TvK1RnUuz
ejZEcSsVwUmQwc+pocJTQVIGfzg4Dnp1Nad4X/EBRa0GNDcieMmAt+zZfPi1A4YFwNBrnKGw4/mp
5mF5tXLnJAinoF33xuTFS9KHWNJ0sVA2lxWxUDAQ76NuNudRy+9WfKduXBlOGnJfkcJiY9TRcGpv
WuxNK9C1WaFda4Fwzsh7aLwGZbvFxTQ28cfU9vj7i2FXFHaKITFkfGUEj/zWE0vu7mnw9L1JWcb6
nF1nBtMyEbJGPTaekGYSZeQQBRVMNLEDJKWNqSm00ySSmCJ9Bls0M8+CR9XF2bNiNkyhffLH1Dsg
y+oeA11o674Et8FVRTqfiWxQy+JHqBIduEQu0SxgLcb2DIzRdOwn8Ous9TesyPGsGVrw0uWzcboB
cxGFjNlJg0JqQDYlDThCT38S1BRtQviADRWB7S9/dGN32RsCN/QmCRgTpvzXqS5vVuFXm6rW8t1o
N+EHnRpcjBuvCfwGBgcV8tFV79FHeq5uHHhbmRe2qOZFmWx9GEB3xx6yOwa5fRFp69lfsGtzqIDz
S9N4rb5xDbu9RYTHh3xXGlua1KzeiJRBRlQxR04ql9KxXju5fRrNsl2GJb91qZxtjOLfTTeagfOt
CtVLZTmPJH8/tGYIlinWXuNL3MFDE3MDEybZh5/w0iuw5dgZMKTGNDGBQCkkYSlJ2W2ygRAMo3Hw
jRNigWLc7rbtHdbKJStpfxqqw91cyededByCpSwZf6BTFFTkBWx8O+9Wmv5mDGgA6BaareoG7GSz
74ip4snKAKMg86cq4vbVdAucGiCkgQktchIcujJaiQIrFn363YjQh0LWZTIaBEccW+kRFRsyZZtx
kNV61/k/fcG+l7YDTrTVUEVBNSwbmvUhH6DXBOYVpustwmB8yJk/LeZ9D6LYiPAm+4kZ1rDxp1Pn
+u21cfVv5KPYMplgHAxqWeaI2Klj3WJGDOYkUTFc+ogNr+RIRm5SbvOqRl9bUX/rVKumy26rlf3W
mjCsuAZo0AgSttKB6g9wudgepHt9aq5RPvuQDc4wMoVJkZkijmj9Ia6G52ySGV0M2Lv8KxRJvPUR
A2yTPuNDaMDoRK5/qtidB7OsdfbhdKX5punxNv8LJcelxYq/RP5r4VrBcfCQ6jLdZnb2xZlBChxW
Vy/HjWjpv4OuwTKh0xvqiI8UL26N4XRGNO0Z6izKTN5o0GEWAfVHx0f523kVNZFN3IiZJ4vaphGX
aQSRClF8xWzD94trZTAn4h2G6TE+IjGKeHiTY5CS9DRyPJaStNkIwpjI2Rw7zBh79sxVzNiREvGW
uUQPxw7IQy0b7lWGQW+C2qoRlcYl6VdLcYaXlW9indl8HRY39H1fSEKpt2LnU7fTVyWfxi6zmV1h
wLBy9anx0o+LqXRR32eORC6FacBMIhbsgM4D40uzYDJJu9ERKaPpyiN3PEw65PXK/aL1fQ76Ltsw
sUbNx3QmjN56BtSx/IhzpgZpkF1HI9yMARp+vbX57hEsrzr24hiIEHB4E6i04S1qHgyHqtxCThBU
Wxoi/JqJ9aE6QGf2AEo/eJ1sSB0UilhfHXaPUJr3unQ+AVeIPZDSLoTQVsE9EhZjFkC2x1GP3oau
eA3i0tzXiJgyZIaZpoaLxYvFTRTuGllxmqo3raZ+C6W5VZUfL0PiFRhkYIbh1DfB0VyxIQRMED6H
6uIm/tcw2R9t16wHlp4LI+D/5XjzCiPuzlE57LLQ90BbNG+upex1PPm/YXjAF83zEAEUdr3mRRBY
3JnUUOj2nt2yOaQVr09YpbsxcCiacl3blg+6HWrbLHG+O+OuB/w8vEHsl1IAylP2YcIGi81xxo98
RxvLSOB5451oiEXcFB7hWUnDT6YN8WyDUucGPSyYDf4Xs4YMMouzNNDYI+UGz4qVa8UQBg+0X37j
iEINzTk3oMZd6IVtrmLAKx6GIhG2yPahZHUkrFelfRWCHWpoX4OqYy3uqUeWqhB3Yvi/8PYOHOVk
j0gF5LxFmtTJ4C9ykEEw8lgEquUxSnGrBhUlW5NUi2pGRcmwYB8l+9uQNN+9j0nG6t4sh4ZAxYxK
vTN239kvPtwkv64o9DcrEySGaOrRCb0NHLwv9In9IQyQuxjjV0znwBmnT/t4dps7kv0UFafX+Gfd
ds+mTypa7osNf4YTMf2m2UMAD6XIDAdWte5KwmYq8whSJH/pwqFXSXHf+hk6xrhsjY3fa19FJGaA
Ss7m1AWc2HE0JzZvbbcC6zzZeFy94lACPKYkAJ4xMigc17XGGiMp7qHY+xg1teitCZ33Rn5Ds4pp
P9zQ+VPOcKIbxqtths+N9/FP8ZrO1CkUqPqgfXPYbIQjrnWb7xoDDqQeJ/c06h+rCa1nrAT8lizf
8+sue3p3ApNOXkA4bTPXybat/WZ9uLez4TmfNJAzTOHy1vnjzQy3ZmncXe0PCzIM49j4yWC6o2y6
a5j18ejYqD2Fs3GEYh4DvgsLKyWx5m20GoUneblujmrLSaHuRNmKbOxfEBe4tZoXhr4Za91nQoQm
zXwNChg7CITxxZbiXjDIhVX/pBlbU0/ruYjEgRlm1WEy+zOZBYwlLR7BaILUYA/XLrhTqVtreqsJ
1XiwHPOCIiXFSh8hqWynYA1DLsCv/SCYmADzzNvt0Dhyhfv+ZTLyHxcuyTWTU7Qq+znSoyuQ2VhM
hRI3DTdiKuXK1uujPTKMn7TyI3WdF0hKz7VCiQ+dAgb2Nom9l5gEnxvik2yB3cq5mmmaPFRl9aVP
mHHxsJUXl31grzhRrTA2Vlghn4OkSN69+Nsfvy3L1C/026e4FwYGPjqNsTU/wrLm8PTzdplPRIC7
8GU4k6GfekzE2EzN5DYPG07ziAqzf8izGamRWN3ZyS1vp3SDSUyLhTjUUjDrxNowCS/2aKmx6BTY
5SeTCHKAXHfLcCOW5RCZtFE6R27vYzwc6kSvNlOi1Ze4tB7qBI2fK5GVdWGxFhAelnBn7fk6oH3H
v/Vnhrh6E8r6U2OpQ6Vp7adudgRYB7XgBR2tda4PRAIbbrAmlZsNJomPqyK02SWykdhquPrWSZ2d
U4KDeYeghGJyRIRIyt7Yr3wxdn9F0V8T4YHXDNyzW9YAysGXGjjfxldPNh3JQJE6dE5qrVPdlAej
tEk18rEFqeS7FhoszbjTGZzzp5vi5qp3KoivClHmzujne6tY2nkPKRelE5obVqAMRfpqUJxsU7NI
ef4AFdu/OptN27foSRC3B6ZAThoesACgDR8CTm5iqXnlZvKikSTswjOBDSlpVorNWCP42KLMdAAE
pDuHbd+dqKeHqOj5U3BxlLc1W4081TDDtYIps+35Xx1HqRPDF1Ss1FbEVCgPkWEGdlkyzlcufkNH
9OgMrjVKpsVg67i6PZwOpWWumbftgRxAub4JXxAXmQN3so3gGnFfLsZB2+VW/Fxl2leK/4O1Pd71
qAXqXuNB38D62g0OMJ1cYz89Gu2+aARenQ7Sc21YW9vMsR+OfJmRH2+MwL/io4r3/LUWnnjPK0l4
IdRg9GHjdulGEHq5xh1HZ9lAqiBb6XEwcd2zAutcvNzhLNvIgRPDQytM896YuHwB8hVQAOys/Iom
ZE/BZNH/lM+KJBHLZ9JVy7VNZGSgHekr9ii9P5MM6oiX3dmzJYqXyA0ztYoqYzmOyc/Yu2fkrO7K
9B872AqrwK1PGeCshehGuc7KaO+SnUCqA1BV1033eQXRnHtZbLoBML4eoajQ84vwNRctL27JUEIJ
RHlYxlxSwIfDbZqlr4mtEUa2DJOS7op4k6UY8LmM0FvQKyA7L1eEwv05s2/KsN/HYQTbOVH5pQIQ
jOW+gj3/aqJMovmJ3olDSAoOUKKDVqS/mKfUCwzKL+3TJ8RXGyElKav/cVrGU5qMV6klmgeYLg+S
2N0O8OiNkwBSXAKegXZpRYzBt6Hrm0TkSK9E/1QM8DHCRt+ge4E7nA5kv+rTqwtwqTBZSBuTDd2q
M+GnxPpCKQsDncGZO6jjP1HV/z/S+2ksf//zr++ig+c23qFFFPn/FshNrPX/PdJ7+VkW//XyW//8
/p9/5n+GeGtC/NtxHNf2LE/3+C8e/zr127T/+Zcm7H+btofmw3Ic2xauaf2vGG/330J3DE83dE/Y
wiN6mw1IG/7nX2R/S92zsLLYuiEZONn/LynewtD/9V9lkY5Bkf+TNu7qNiQHjM7U2YblGHL+59+f
9ygPGv6y/5FbWlvG5KLNCjDkF/2i1NJpA6QKGucax9aucxBfpaJ7kzaJF2kyL3mrfT4UHJ0GgHNN
exA+azzZ6/0yd1r8ABVwl3bAb4Pht5fmhzsrWEU7+IfCbLcqwVQ6/Dd7Z7ZbN7Jt2V+5P8AEg20Q
KNSDdt+qlyy/EJJsse97fv0dQR/cSmdWnaz7UG+FBIS0vbVFcQejWWvOMZMXy0MM0OqFqXYBFP00
56qDGJpoTgo3p1LNEdWMGkkZjl5fY0NVbM9gW98hhc1bbcLH2+TxD+RqPOxbGTlYvCq7R5sTMC+7
mP5r8Mqqu04a7t4qMXTWJdl4skDS4b5FPjo3U0emVHnTRtLpFtSR2Cs5x8HKSfbr/aep8n9odmPB
MGfXLGlBMMnVh9o2SKXUYZDiOmNzCaMBTJV8MsGU3CAnVmiBIo8+iqF5LuRMUtdk0o4FDKGNe63j
+0onP9SIQEAtPJUELBK9+BRODmVDEjgM0ONFVrLiTnwpaf3G4l0vCVovofCJVj7FuvbeT7wSQVjs
VfSrDTq/3oTbCU/xiqCrD5fbiYKxJ5OF3R+DCT4iAKg5gdcyd+3GsvvntDM3LUgbo+EXLzFScMhn
w8SxEqozt7eT7mGoBfOgxSeAw2VjtgZQ0fa7+gnLD1Yv4Zop2PRAkMUG1SlXw41ffqxI3AOxwS9Q
lzfNBHIrDj9MaAHI3+3D8lO7igtfro5+wXX5qdfiRxWY2F143TiEMw55riWYuMldT9kVb/CNrj4q
aww+3MY5qItR705uOZ+futW9zf/5lbzktvbsCvfJjpKPsmxOkFrOniqzdzq1iWwV29HHYFlXC31y
zjJ5M4+AHBmcKQq1rJEgb/3gOWyQNre0W0aS4ygRUganvBjqfPYF2U20jKIPjm9cJKXFJENVmpTW
S+Z5O3UnTOkBtQVpWZuUkXMAUzz40Sqw+LhrgV/FlfuJhCdMIYj/5dMgumb9pznp7tfj/B85tHKs
Y616bu2/PeZSuswaAkmVqR5z8ftjbqcjxYHI/ArKT6eyUXb63EDdiECJ8Qnan55kFyQZHJYaMwbo
wDGb1rbZ308A4349gpxnZoRzjFHZIF3iDRyO4kkMmZK7L1P3ivoFBFjLO0yFC22eRyiLs7VdZm9g
cWA2qr8ouG0iDd88rYOt41yXS4l8/lk9QyLy7gkJvV+GY4qTgBxi+YxYEEk9QyUI+XgLlFEomQ+a
pWpNfITLLGKRKGHoqh/N6Ft+Pc8lKYunLRhdJObQSZZHpWnlevlcUjR4A/06z2/uUs7oOvEsN1UY
fcyjv5md5CPxy+897KZtb9t7tGd7dYHFYF8lx6KytukDcBM0Z2jpPjiHZRirdy7VlcaBA2PF3BOi
8LH8hXoil2+Yc0bnFBFzsjwty++FfOAahNqTRV0x/PVokGZDTqO/yR20dOo5S4R9qCbSAxG+tBrv
oR4ZdUnLcK96jQOfg92SwrJrHujUxxMtX54i9S7pHH2oNyHp7r0nzxF02E8tQTTjXDv9F8wWewGF
E9OnHljxuKsnGX32Y2T7t1r83aoIA4nVp6gGacSQX16PPuzX3O2VfJNA72BF1jl0/acii+5cauKe
7VzR0v3TmLadv65c+ANdCQ3bAvXhmNZfhnRQmUYWTeWXkRr1AXruPhhc96YeuPfq6uZPZyyDFd7e
LQq8d+iTzHFMtbO6egWBQGi5xo6HWzxiDSIq6clxww/swk8zC9gyZeuMoN6Y2l/T2iF0tPeRARMk
wTEjCjfpuGHLGKUGznxUW6cG+yZekSusNcaS6T1lvUIujv0KHv0tzwfG3ME/a1kIGcPnNWX2MEXy
msWEZkaVR7sQPV4eccqsCQePfKag5T77atlQg+ufZoa/30VPoM3yTOYH7IxsT/68/rdELJFPFnz5
GAE5E1D8JkwIwQt/At7NkotOH11ZsTXM4EOL+evli1Vnd5qtwsXV/Uax6a3+4cLUD/5tYyLB9BnC
0F3hOIKz5V8ubA6GRskuatpcuWFfZ/WspbH/NPZyGfVBzu2bI+YZtOokeo4sVMu1qWFOb/gqg+SH
m5v7kkf6Hy7Os/9+dey9pCdNCeaSK/396rSAwn5Wlj/xg1FiHY54aUARVCy1jow/Wo0ZEk/7JQrJ
ZAa2icyQzYyaMquxQclIHh1QcEYnE+IyMv0KdLJa6juQXTeiVAnO9T0zArRsPFkIP/D0SPvapXy7
nSd7E2KW6zAm2kgelp1LXmUfPLhUlqYzVLs7rxxshKpsGXTiK9ai075EXe2qrnuvwC+lEa4GhmPp
0tWoHWaj3uKL6z+0nUpgstjT+Wm8j2t7W9eYR/VYXn0ONurhakr0X2QLu6VL399yDkAD+HQ0/Mpm
c/i1C+TQQis9OqmHrqZcsHIm57CMlEw71ykt/35Wn5va3Ukj/khCmhNaydK4oPGqPuW4xvzf8FSq
WZleNyjPBFYb8/Zyh4cYLznYMJPUrylaI36i8MVmoPCZ4tXEaE9juzFH94r9/dWUMWivgHeMIdHT
/sPam5JZqF6oOd0P4myU2QxZptp2hRrIU797XN6roRpnJPmPasJ7AFNrWamQyxN5Xb4OcfIUqXlR
/ehg8JlD2UM0GqjNZX5Ph0/UfFSv1YbGG+IPGiNPKcoIv02uidpEqN9OzfaxetpbVIQ9zUcj016W
323Z24U0A5cfsOwB1bxUaiNNRzJVvaB70Er7KH0mtb4mvayE/NZSqFl+vEgYlG1LHzZp9VMZE4e9
bC59LT8iL34vJbHDtSAkU1Mrf2aiaiUtyCBl1xzarS9RH/fwF9ZTPl7LYGbX3eGIrTQUAEmPSlx0
cq3GRB8Xr+aMh9mnertKnJm8xYykVg1JqMeudNn1TOIj6IvHITLtzRQadyQss3fku1lSY2wfkIWI
HEanzmHiH55Z3fvrM+vptudymz0pDctd/v1PRx2BPjwM5+aTDvRTIgLE2zmyQx7O0WS8DIX15AX5
Z+f5IMJMj5Z1DM3OMb4PpVmcpKU9Z+qIRD6Dsckje+VZ87C3XXdXGO52OQjUamvhQkKHUoZUmJXr
ZkyGaJeIAYInTdGYWYPap0Hv2HmJ8uaYkeW4itwApXOPrM5Ov0DUfbUu5s5CbzO44RTr9AYLYQni
R2Zkh0Vawe6UwgTTQgGNhMJscdZ0k6yI4daD0Q7RIyQK2O63IfOzatjTuWlWdVFzJTDj5sijKxxH
KKdL8KY1DrYswdpnQqwdIQyq+ASgMO11SvQt2gRugkR6aZZdvRcpTi/wHF+uEtnkzbPpAu1HZ/yZ
pTm7kjD5GsIcj7pxImH2bBT23ivjz7nNmK3Uu9BZ+0JfTutseBzcN+kDOSQabt3nNXQRs/U2pgej
vI6Nl5GX5iSYb8xq2Flj/4BFJ1sZeHjapsKZDC/DH7BhkIij71PwxoBU+otDY+kfBo46h/++FHnC
8HRXd2x4PsI0/7IUyTSEqaV3H5EznxVF68ZSv3UtgRXM3li+2UkFGGaKL7LqJ8qv4QM95XmbQUZE
a81i1ZtIlvU3LSJnKh1dpqT8UEyjXOcsMAdL7LL6E98M+9J8xC9exy1V91Vpc9gOLBzhdE8NpFP2
qnN6uSbghRZN1R+rvPhJHfMus0SPH+g8W85G75E9sTHxiPvwTiAhnxvHeCVNVK75lIFrRvkbJqYS
Rf2qTLCvFYlMV3Uc3/cSAP6cUWAf8q4gcFbrV4UeXMuB0ajYcR42KmPyj6FItRV5iib1Ow1ZuBaK
AymzeWhvxi8PBtqOnQG/i0ga7Ix3JNVgVY6hwEVmcLEbwIdNAoLfpdvu9i6pkwpYHAwwpIMpe9bQ
aCJ8JaZNjZdlXIT8Kht76m5DnWU+fQy79EuNDhS8H7r+0EAAUlhI8kfVO6VjTTJO4W+XAUQXL3bG
tT3pcIbmL/QaaNyK+qVET7byAgObNQmQOnYnTqjywqpMvmwRfkmn1FaEIq9H9hw3WYWMhckNwXCY
EZhkXKup7uAH8oRZnncH/VQSaRe9mXbIQKw5MFr6iCyA2x5MvnMzGsFl/OlrxOOk6mNoXQrY/zBO
/7Yn8YR0UXZSGrJt03Hk73uSfiRQh07YZ6iOyjlCJ7On/mKzFVF73mUxWI7qCLq8Fae0S6WSufBv
M6sMiPdjW7v7h0uiTvXXJ0e6TOyOZesmFUr1ZP1pynVy7BRDPH4KVWGQI1twwcc/mdgKAmMX1eWX
2tLabJkMgxqQ2oSr8yge7fd/fyXW/+YZ9jgWG4ZnWw5VN7U4/OlKuN0e0eDt57IX4gw+O/qTb4UE
CsgxYlPUvrUOUSt68VZMer0B4Qx2vCamBzMK7Xg8JsykL407fibptKs7x8SwBz+MKVvzOgSQGbYV
eAhR5m0mI39tTfr2y8jHFLPytegrhYO8n9VWjKMVcSEGpa1ZvTuMqBWdULYsDJlckJY0GSxBaraL
1VixaxoHQTo/N/+wjZV/HzGGcJnVdBs9m6Wbf9nF1o5D2uLoffgRpDWy4/Zp2HOsgeS/6Ulk3gkN
MdeNJTqqZinPYOglu0jrrE3j4pET6MEPZtmTAZL2v+5YDcroNGXRVjNZBV3LwOOh4gnsOUabM+Yc
m5Uzg/IXiJqpuaPjxvLRhoBZ5uZN9v3Vhw7Lhh7IWEHrU9030mcTqLrGdfA85CSGBbhRClSmgSrL
UIhf08TjXUIIYfBjN6K4LhOYW4Hrj8rysdbqZNWVNbebwstNWr34QEQ57vNdVcGDX3jkBYTrNKns
rRsTUBxrBJdVKROZhyCpIYvRL5tXf7SYHGSrX0ZacOushKE+YOdZURmNdplDc8NAs2nFdI2s8W55
xLOuj3bLZ0r5BhMa88EIXBImK/3SLLDAcDChDGrU/PsBL9y/b3dMQ/LBGkwLgiLzXyq7kW2zTE0A
LmYqn1JNpvUMH003/dWy22gDfrLabnRsNVfLdZDSlZZ9i95O59b4fN9QYptJGqj8EjyjUYh7PA40
xxgMPWK4lYnsjUxFvixvwIRJNVeL1uao1hG1ccIU/UoALvoveGFDuS8s7yGZR3JMg+6cwEzYybl6
JKrdZXh1LHwda3qFLtqawgQAlflJ2B/0/dZNV9gzbw2BtRwjCtquVr+Brsc6lg722UOR3wXYeUIL
7m3YVShhBqxGuKhrH3ppoh6lkUYmVZeENczMd5PD0mdDiIcciys4j54kOZ5APNDWT7R4kJS5l5hM
sXXknduMlg+pPiww9Pj21HjfQ8fAijdORHO5dM3U/Rh7gjIyj1LDFN0tL/TiSlxRZL0bqQsIgKrk
upkQWttV0KGBRGESW9mvcRwipr0phtNgvkeSOIcY7sqq0gn6szRGbwU8BiIkOeRD4XEewXtW9uat
BscCejwKvOVVvdq/iiR/rKdpH5MiwLGuOLUd+z3ZFVD6+3OJZJ8TKb/lssaSB8zvE4yvwobDX058
f28R3weqlawjNT5LhOdBfYHVe1y+Y1Q3LtVKSK8+2CEQF8J6NZ182s1aDzGAOxXja95GgmQkFuqk
qmmGRfq9Fk8/EO9r62V2W95LLeaay7aSviY2W85oQcXM5xlFSeOruyN+EOFfcsVawi2IVTcy/rQ7
El7jCtNVCFUGM1N9oR5PKkjM40aH9GMwLfaKsMbArYRfqjLO7qO5Xx4D4Sth+SjeHI3BHccFnrCB
z1WmVrGJDdC0//5RXIqrv5UyPNPWbfzbDnUqU1fdnD+vPWFGq8MR+vv4LWvpIYA1MHDCRgTeaxim
G/Qd6B0td5Np0aPh63dhQWxR47E/ZAR9GAmq30yPDFrInRLiUbNZLUcNRuUc09atsKMBOLBel0e6
SlmsaHkyzep8sAV2lXDu3gYJ5MLyEMfNLG1o9TCSALfI0nGV2v7nXOUwYCwSPTVwV8u8i1MVH5qH
ZD5M3RtfzehqQ78scctHtyxhtRUfi274JL6Df69BJ6lZXg2iaLmznkfrw+YQmcwM/eVdejzYM2I8
U3y2y7knZIeY4m9b6RonFcFG5hQeUVMivsH9tQxBK3A+iFGsV1XNbEVoHmnVcN6X84RedeyMy60W
Wd+Yoi9JwEuWz/D/dz//ofupzkL/5+7nTdi17791S9Xrf3U+PeMPaCEObU/L5dRkO5yafjU+pfzD
taVuOMJgT+iwZ/2vvqch/wAhIk3d0HWBclzwTf9qfBrOHxzc1X+O5EEClPffany6v3dENENYLv0Q
uki/P4yBn5NY2toGLrxqqm5cvexVwHKVgTmL6mOfjXQBnA5mAeu6SVvEsh0S12BJi/Y5SmXyIkOd
BGlwi/ZXG40Gu4kMXcacmB22ym6wP9o8Q63hoY0DLjvztjbNotR7G6nrfadZ6TxMYaBfSFqoLxRS
vfjOE2mAM9miI7wSZieg1jB/fiW1Mac3rSBt/KxZtPZugtJF+Yp1H68Q6okG+FUeWe56TmOO7pUE
50yXwsYnVc0EJAOMTAaHrIBR+Odaw8eIgzmMgCjFSOtrkMsbbZ7ifNU4U2tTCPCYnzIxsLKGPqXK
temlzT7Ke8oMs5NfQjGm33sngLVhWd7ZGIxon00z/s5unBGV4ygsPhBoeLfEbgDpDlMEO8KN0e5D
Bm/WlZuZwFJaI8MgJLLiJ9Y48jILr167VhklO9YShK26ibgu15qfuekEF6yQ7hVdmvfgijR99nuD
2ORqsNobCyMduBNJjtRsV7RwBhn1O9PRvDXo6uq1TXX7WKUxRsgmdbAXoMD+DtKle8gSa3zSAw8D
M2d+dzvYTvXhhKXzwwLau5UltiqQNoWxnvS4eZCT3hGx0w/xHa5e/PSeYVW3o5aS7QPn7OpZEZJJ
ZNuc5q2Koq0eFHAsO4yxn4YTW8WK1ifhaQ6hCgX9eBjvRbAPAZdsmlmIg+uoVkJJ0TBes5urzone
5kfXx/9BJUDZWgnZhrXD7sEf4AIp6U8AoxbEi9kD0NBp2uMCGUmFzkbL/kqmOmtQ1gy6sQ8Tw6d/
bjnta6trdrKfbZTsq8BPSZdCt2fe6jQI+nWfgeXa1HapkxhqwKBDMWQiw0un4ZSHmbh4uZ5SxnHt
8ehiNQBbA16MoIcgSgmzLl3tbea2PEWeo4HD5DxIRbgYm6PQRPCl1bNrZZxsyKLealUsCIizMxOa
dGWEERsRNz9DICdwIVEJr3UdpjidTTWSO9gqF2000vvUjtwHteoQZ5cGPTwdW1hHSn0da6APkzho
K2ufh3pEo4zoFjBX4c+MAn6/wnbXf9adO1AH9rJ+3RUEdg35FFIA9tr+m2920Fzh45r6N+XRc3Z9
DvAeGkjRvg+w6sU6FDDaCOTWMAVMPobDypbkORX4TIgKDksj2WluN352GuIkR84Wws5WS++oBXUH
I09KDOjYljhzQx97M0xSEmd2s/e04s29NmRJgC03sDYGiRaX0skcco3iQcuAWATd3ssHgJy97a8t
UQ9iTTFFfG9lXNDLy2Z0eqVug9DJK93chLBYAdBCrWGz2rUXqbvEMaShQIqftYITzwQP/YZ9Oyqr
Hq2WiZbork3j6QLzicMneWCmQMftJw+e2xJBwPnZOknYWuNWmAR9xTjxKDLYAE6qmUiVMG5Tgnr1
svjujaGNWqLqsnscQc4umB0uBg//1tOxuAutrz3s2jI6NaPpXiH1R7eTZfScCLzQgVjgTw+o2Z6p
mNBo9r8Vtt88l5Lns88cMnnbMRE7VNLDz/8nS/zuZ3F9z342/0PtHT6LcqqjIGz/5+9/bH79OfhZ
rN/b99/+oJQC7XTf/VRio6ZL+Vbe6F+v/L/9x//4ubzLPyze8t9Kl3bvH78rndTLf63diIwolZgW
4iRzWbpZof+1drMIO7C2bMNAOqS7aq9L8qlSJhlq6XZ0D9GSZUiDF/zX2q2Zf3ieJYQqvNvSRH/w
31q8TapHrNL/a0vNeEUz5bJPkBQZHJsaxu+r+DTHcTtU2UZMOAshFa5nB2mkYfZXuN0kAOOEfTJG
bzg3EZ03Am1ubbx9zEckO8mSXLQCNggyexePJR0fbdKhb9OY6EL3AKRkzbxQUoDFHG9MbxhXxKmx
7HBbmXC+mWjgDflMDkYN41VvPlGAfnPjhrq5h4hRG7T7kqNSQXH3W+qONEkBT2w9wx+3FSzNde5W
Ll5jILjCHH4AeYeEFnvseMHadlM9XsyU455hKR+fph39biCNmgpB6o1bryxZ7WsM/XVFoCEW+9uM
Oss2CJFf963+DDmnXuEPzk/aDIOucjCIDJ0wV2YFU6KuLOYEq/gqMb4Hrn6ddKldSUyqV5CanEMS
9rcwJQ+G2RlnwifIZZznYjc0GXY8hJtW8xibKv1HT/J94pvAJ5E4aiKb9phuktcyLJ8Gjr7Eb9GD
CKwX+IlRUCaHoTdGxEYk8oV2gmJG+lxau3eYwa5dnOw6MzUviKHDewsq56p0QiasxiImOXhI69x8
avE5cQxyxq3dmnyfMTxMFt2vsoTPnaUtaiX920ia+TbDlSijRD7LGXyuiQ2RfVGxbYM2eRI2vz/J
CsG5RBn/0GZPTaABJdEBVaEC9aoGd3UXpxd7Ct6TKfx0E6z0VulfvQCGuCTcEQSNlcLcTF9DWRD1
zNFfMi3v9ARMRjmSIWvAdQwzhEuRG2/Jz/ZwqUHSha6/aey03aItRmfqVTMu+Xr6LLJG/2ibQ+Aw
CkO0ApuR3cBm0qrkyE6QT7d8jSwoYWi1aI8JnUgUnO9efegS6x2u6GquGvel52ndmhgQb7qeOHJE
N8+QWrNNF3QlpYGg3Ft54e0mOerbqc+jHVzQNVtkFeGXia2+rBaYS/Uko+AA838N7eKnVWITTAb7
liyXY+6KcDejiGBP2hDgFwfxHrrhYEdYg4Clbce+JjDDV0ZDy1jboqs3lUliqk9ScEv6d9aJ/om0
juBRYAKm66vszeYprgpMMx6UjtS8rXXE/on9nb0pEwoqomaUO7foN9j6w9scXQ2ib0PfxFZ5qs0o
fKwtJ3xUMcmr1iY5JnUBioZ1UDzRFPL2YjzLGg1eA4L2OoVg16FUPXVZr4q2lrO3ZnIJk5pthJDz
afAxL2R1uKtj/RMptbzDP6nfzbRkO+9kF68OG9KugVGCOxXKVN6j1cuHXOX43WQY7JsUooKTJ9G6
9YhmQmkPIutHUUY/nElr8SQfcTsQYO0I7ZjO2C562z0mDbk95F4cRJPfExAHtjAdbhF/lKvGhNVk
2feF13QHrbL3uY1EL46a+aaKXQgSqA9QHxstsx/ERL31N0TWZiRdsMcxyPAdEx2mPczGTdm2lway
7hpawHoMZ+9ShUlBK0I226bnoD0lQY8TPubyAoA6WvIwdLRspiDYk3krN6yD4Kr1GVWgKJ99vQcc
pxHV1JT+T0KHv2gi5HdsBt/o5Rr7OMHahTXLv2GtTzZ4fr/BnDJPaS3OlLuPdB5/uoAfOanQOXTa
YVcaXYhaY7gX7DROE17cwgv1ddenL14J0LloSiL8qMmTY/ykzjWxZtB59Sx8xFh7YHkiRembaY0C
Z2tkNmWvGVK0aMtkPdlAXNvmYjEL3ku7fOeZTTckKufcDs534KObC2R9HO3FCcgIRrnIB5Y6Cjgp
5NTQaj1Ujv8zh8rEXhVhfG3Uu2msXifZBCT/FD9y0ivBPrNUNK11nMIK/gh04T04/k1hRfb9BKuZ
uiKijE00DBRfSQrnTWuactkrx5D4e7rYSP16LUTCCDdbnOqEpkbi7BtYpcaWIGcSsZN1TmYOqM+o
5+rPc5sfjJ5y5dyBJIuLs8zr9DhyBDoGQbuPmzq8zdoGr50sdxpTbnIz23Z2XL6EFFClG1FQdPNH
bg72GFk19ZEwMax3vvrf5c9EcGHAaKmP1pojdlHYvk3ZLo7sr7ru70FjhODooYAMgfcZGNG2E2xP
9fpHl4dsD3WotXqte6uWjfoqbqOjYxEa1rbRE+J9Yw2Mm9o7bsLDfKL6Dj5z6ombRWfCUQtJBYkn
76y2/ELMmCenoYtHkeyY0F0mcdcp9hI01bqX2g99YEQyf7hbmcMwhUD1aaJTxvtIxi2qrJ+hUSFK
sCnd5u3j7GdwhoLocWw4L/g4zs9tQQwO7qGvPsEiAVBuTydUHvsEcjT+qnDT2uHPstDmLX6xaS0R
sKyRMfmHvoHaPAdjd2/XtblvCvMlcDAJdkl8cOiXrvsRT42JaIImwnxycocw32SyzrnnHnzVEQgT
KIIFSGaUldDN2A/fpKaPIBm9UBJw95pKfMnOORBt353TnvL4rN3YZq0fAs1EXNr2G3N255usBr4V
NvnXRCHjUjb9WwEeYabgsrNn6p1dWvWb7CQU+yPF8sFEZp2nnsxRv58eDXJbLSMi37rFzOBJw1kn
WjY8ooe87/tUPFrUE7sS9l41JiPg4zne96LalTYPWUiaEOGnMElcqziSB7zSAvLQOeAiD8xEtc2K
EYfMkGMFid/cscxQbYpoPw01xPMpd9Y8ONEOREHGvgx/LED+YYNOkSVGYpTWiqHeGRLRaVQm+9zp
/LteZYzoHMORAwqwqtW403TyBlMX/C7F1VlPR/5t8rec2scNLmxniLW1SAmgUKb7Ok5w/QXuvO4G
wGo+vld6xK13A8Hq4re1AGpZElAZ9xYTd3v29OHFrcbi4FuwOAI5bQgwpH4cTM5JjN1j0rgP0jZY
+yrpsA5Mw9HIgGnZ7niDgu7H0NERzkpCeydY2mOXqb4bKptGirtgBAc5uKs6w26bNoBUgjIgvc0i
wE+vd0HFLsR364zsV2J2daNYOfGTa/SkPbWUKKapNYhi5YsH8HQM2yORAPdl2R1sWFq5H493kzM/
uRPwsmIuFYJ+lOjR2msGi0GtYLR7svRKj8q7l/Fem83vXgLtYrLFPfx9NKNDhHq6IbKGEjxG7uAU
kTEPCJh0P7ZvhBvIC0SkeEfc5labnfZ7PNTGZowwXxGgzbJgGZcsTsJN3Rfx1h8Y6Q4NYQv8Plmp
nb5pKDlsueNHp86HNxzqzXpUaQtVm+eEyzRHX6dRN2xyLfe3g2um95WG1z5K9XOsE6rZMM9ahbU3
08H6TIovTjnRVfeh4jjTfNGr6Tmv++gOUMK41WM8Ww2sfaMODn5UeFvNh/aAE3E42Mym6IgV7yir
7iAwkRYwk6rDpKu7EOiEcTKSCCy4xkojM58ulte9lHNRPTcy35pzG11EYlRH9AiTd4rIAsDOXdT3
stY/BSxDmQF8ykbuHFAaLJot9GJoRqAdNEXM40EczPkVDviPaNTWcdVbEK5z7NgGieEpIagTpcpY
sAEvtOFRB35I5vO0cjKEcrY3JKcodHd+K8aNpKZ0gwfyE57ODPj74NHt5XlyuzupTR81xnfXwaLk
VSKmRk/H27flbe3QrnSJaGL7BA0baXJqEeUgdjXILzg8yXNeKc08iZOGHRcrQ+bw0AdJjmSGuFnz
2ksSa3QEvZ6sDKtFRA2HatNSfCCypExPTmhVLwZNVoTDwrroZt9CbAhovspV38JPns2e9ddF5dg2
3Qt1vU8jNi/kAz72IzcQ0rm5QcyMsuBGNNr0Ta/TeSe4CTshR/GNODlUdr7JVKgXu9KJroQXU9OR
CYj/Gad0CR0gTmGWmt506YLyAGLKPRSB/0EOy1tOHw/rTnZOq4aTDXtyr+AM5ecIEBseeURMzNBs
w6Z9Z27pboMQ17GBE/5JeKKJ824AIUNqY8iOvi/RXtsvlUMOlBzNz6gPIXqC47P1CiN5ol+JTZIC
aVTrVG+t5hFIk9fVPaq8t7ou0zczL+cNdp555UkgS55EUweNnhir8N5RioHS6c213UH8DzJzN8/1
i1Ha2rXGqp2y1+mbLjmks1GdKuIxvdx39qPGXCgp4BC2g5hB68ajKbBFIDIcN/DwlR38bBYOYrew
jncaWCWKgK+1iKBN11L5zW4MtQUeJZMRZvg3v9hSQEguYRa+WAWH5ZEPej0HJml8EgbyCLI5mGxq
q3Y+X9PBvS0T59WgWnbtTX08kOzqrdJqOhf9rO0rrwHYDxVmtkmFr94BgfTryMHL2SOOC8LiRbS1
vokQT1ybxHy1UpQHcW6uUTfh8A8hh+ppdyvqrD1qHZbk0hrf+1k/4XXpYMcQ+2azdGjO2FziYp4P
zTRdYFmUm3lEIqKR2J1AExrBOh97VO0x0YxjE5EUzK0RvdOdZcAhPSaJDiY5KArpOz4dz5kyYUU3
c44D0k0hONh++aaBwbxvzJNhZONV53EZ2im4oJ9o1u4cTcyOcsbGB0346o1NexJTeBj7isgB9VdE
e8IcKNMA231Sn4T6AjkCb5PXXHJS5GafhnemgdNAIEH+RELeJBKOQc5sG+o+3dIgDJhjsg9ptsaJ
84dxXwdZt7aDaZ0DQFlZo1Ze0oBFKnJFvxs8wXPnw1GcEObKLovQc5IVZHSjuId/2+aEZcFiIu7M
zI8EuV4MezThzD9mZmacrWp6He3+SXcR62lA3PYTzcR73SOjY0iZ9whXs0Q+PbfT+D1ocdYks668
VX66h1p31TW2wWGIqZlwPcKwxgkfNj3v45TI+8KHX2T7FCUKEmXiDnTE1QMotaY/Y3M7s/5Bty30
lSx6qSlJoWiq1Vg1ySZlXiBel3OuXRfWri1i+hFJsE2weaGAgoln/HRqoe/12H3yCBE5Ll9E79+V
Q3ZvRvd2j12cGglGuJ6N54D9NK/C+9LYeBae1qCV0a0O3XfTFOwXRI2wPxlpVuRxOJ4RYOJrLkCC
GX3j7oCwMelG87PBQN6GIW7lpCOIxLqzlZNAi2cof1Q9V6KsoJG7Nk40VS3qxc6YZm1F90hA/qOn
MlDkX1Nyfqd6jA2v9h76oPnCbA2DNmSHmhLoug+LuVgjPqczXE4rGWtHFPb1DeLHn46XvMu6L9cw
K9JzGUDtE94zN2HekspHYlmsOff2aL8Q2CkOFsOATy6YyhNZA+UaKFOx0qcoPfiFv6EhJsg/N3pg
QdNZN++nueqV3DZZ6VbxYA8+KGf4iVngIG7iSctK/Vn0pGDXQjXFaRRFvnWa/eEn157vIsw1dUL1
zc/KQ2NWmBQnNH0YvEEQBmfPEOljLR60PnZWVS8/2957y+xBKSs4P1mOAgADiDAVrccLg3xvRyVU
8z64NdKTlCaiWszDmB8lBAqOMLUXvmuW9wIwiGNgH8Ho027lVFzZmO0ICZox1eXeRqYQVULYcGKl
ET9SLBERLvv82WS+Ieqbawaj246PVtZbm3lI/5O6M1lqndm29RNph+qUuq5LbDClOwpgsVTXSiml
p7+f+HecHfdE3MZtnMbpEGAWCxtLmTPnHOMb3+QTfE1k6dSUg+Ah34WXd9sJCjwJczDAeB/NJiFc
pnERdLoDkCVQzCHSpX0/IFKaGnFJLbYI+pXMcWzwZJZGiHIqCsiu7rbOFtiJ30jM6Tm+0gYxFG+d
a/kSYMIbCpEszjlJ9O1xflaNC323Yg4Qlv0DXsXd0Bg1Gt78hRy9ZCMayz80Sh3iZkA3GaR/kewV
YKx6wmRhgSBL7UllDhk2rIkfWPbxSBKSBfSoa9j3IZfGuXuu4DBu0qZZGmb9oFG4EdC88J20WEcw
Zxt8XW2reUvHDa6t5jiPNSxjPy61U6H/Fd34l12VyAacivO8n/WWuLzenV66crpKVOVrxqKo3jnc
scetnZR04Ib4UX3wEDJPTJBaBFyAdM55peIdPJK77XNxUheXoWG8iRI2ov4U+2Lay7jD8mhEyXGK
+02fE9VqicG49I36bLObPr7EXr1G9T8tbcgbRyXyldXXj2WuvRSia65hh/0vi/GG9Yk6JjLRTnHs
AHPvblGegT8ytUfLXmOYIStiwoJf+i5xFTrHeY7fvduT4qHScZnBL0jQYxa2Czc3R2Jbx/2xETJY
A2zB/lbIS4P1XTIkp2PZFeuMKFc0wpfCA1vZmDCCknBbRNkfsrBY3iSr2qQ0wgS14Cg0zV26FQIe
NFcxEWTk9BQWrAJF0uES2ILh3KYynGML+Yu2aq8U6Ao7AqVNn/Yv6RrGWicWycES6/SEBUIRfPIa
4zih9aULkK0KS38L1Yg4iy6RMbTvyVT/MMp8mUp69Gim7pAV1WhvIaNhPEpAGQCJt7tGgGpwaScV
AYnPNUBcJ7E3Zud3h8yQHzQMFnFtbVOcXPvcDyOE7sZHEBrHOtUYHJsgVTuJIzMF3tQ0FLZ1tkrY
DBMkROTv5LdEjY9aJC56wa9LeLcn0Neqc7FeQkcziKynExVF3bRVOguE7DVthQYbxgyNnRJpNsRy
0A0aLJeWxIS17qOuM6WN3fPOKLujW+OH7bvHhs2QAMok7pMg5B9OMBYm3f/oAgU8LG/f8bQhj/RT
aO/mrjDwknkjjdhq8P62bVUTJg3WOfMf+lr+TEwyV1LTY7Tg1sWfzBcNiPa+G78QdnL9NDlpHbn/
TiPnkOchObN9vxcjL9yJ3EMakt9JJCBuND+7DCOUpIpz1ULTv6LB/pA52tLO+zBHopo9P7mr3P4O
0oglq+DnoJdH2hX3T7x2NMqHLpDY21CCkRKkNyBbJ9pKrq6hiO2jM9p2+eD5wSsXh8nKHDwGjf4B
jp+bM3dmbqS+aGBtp2W2dUr/gJJWp/E2vgIEImw4DY6Qbzeo7GG6EzpaEz4eTdVTF9u72Z8ZaWop
W31ZujMsV4pz7MirE3vUXmAkSrP4HJJiX1hYVFmz/5JZAsvTd+fU7xSXH/lRZfwZy2nfaMlLa5fv
aFbOlcf3SJ6bI4VoVXJj34l9JYM+4aAwlnS3jXzuWuFZzqm6hYgvgWQHjYKERImCzJDqkzSpR9rn
jHclcbhbxIDhonemtQt6kyoyuDu4g+jC3bRS0drtT/RgOiodmqlV+GJn6idkdoK6i+2fJtI+6brr
GHmPVsMDucW0gfzuWTxqbxC0EJmA1LVuOw5Wtv1JDNEBdrbl1+S5p8V7aTefNZfAmmK5JDTUOMiw
ePOV8zOOkHq6XF0hpJPi6gVLi1wyR2V/7SQ70LxsHqbwHLr1FZ8YdlibZz80/JoaGuM6DTubtlh2
kN/mkO+GNNm5iXYm1AsLMF4uBTgFZAleMUD2JohA6ok0veNwIFbD3IwFJ0Wu26ulU+jNDuwpoG/B
ODcn+6FvaT70AhmtkaKzmPpTEY+vsC9OSQasOe9eIwEy3ww4+0MWccebrlkMzqPlhJ940arxr5H9
GGQpLCwjP7iZEW8rymwz7d70qt5gP+Ut1eakN9B0UTJuyNYbF5XRHAfJNW6HAysOMpHQpgMXK/uc
e8QHg5aqpu6BBse4An/E0Mazt5wKjIVWD9gQ8n0WCTpoGbidjvT0unjxTPY3RugHf2jgE1sQTPHk
eZRXCwORyap28h1o7xfPBjOSvqcVjiB6rntmpt/jCKQVPSQXUuCCEzFeNRXZi2KgkUrHaPQh7cu+
p/okyAJ2IWkktaGtY1PxxCeIQk3jfJGU/UIC9ZMWzrwSxqdkpZeHFPvOAhvXYbAi1Cwkh8gUOtOg
31wyjhZ9Oa4z6pgEHQFFGS74V7dqtjzrF9emT2XWzc3T2/fOgnZJ8NuCYT8NSchTLasioaQHN5Rf
VpUeu6D/8jMo9zBkStgXi7YX07otWtivLlnjek3B5nUPrK8TOXOhIU8uHCK3Kk9jIh5H4Ptg8/6I
t7jD/9YYV5IrMDCk7KpRKVY1s4RFpx255I4IfQ8UHjoep1ys3VL+oZl0MjJEDsGuV+M1776nasAD
wQi2iLOvOcnbFeIxKLN73dk/fWGcYkmdCGBXVFYCY5Jdxcrbvevj+S2oGR2GFbY97nIIecHgcWxx
0pdRFitPD54LU51swR6ek41T6CPUVZYcu/G+vcz8hFs2A/TBp1PR1VF9A6+2MfBqEwAXLYuw3Hdt
tTVm8KDSiDrVxu5dl953yITQy669O5iLqed8MFSnvCIS2ePma53uJkt/JfLioPm4ZPTRJ28zvVoS
ZbPZMOpD/or+KEVm3Pev0J5+8qK/gWV8GQFkDd4CgOAq6cbT7Lbs4D0y+4UjVLnrIA4PhcUm7IyX
1jdey2y4WVbwbBrtYYjTFdz7F5RbONqrdwV/kBNzCdrCO8z/mCi/n4AMAkuANE4E/vEgO2kkQBlV
tcvN+BJV4RcdFlI2sDw4Q/ZThbzXzMoJJ/FRTBWTt4tzB5+ks7VQtnptvhX2rotMHAlrPaJC0bgC
GSZzNCQzS2gSXIbTmMtIQOWDBWn5lNuW1PajT8dIGWJrhDSeki7ALjX0FWXkdE2n59hKr0AWZ58O
v3wiVZIuQXIZXTbJmNq4tplx6lvD9r41g2ArejgwCJ3xFRZ0Ar2b/vzesa2X0BVvfWXvcc1BSElf
SjJLlrZR7nMrYwNW1XLSFfO64p4DtuDy5dxE0uKSk+81qccbvO+VzbmpxbXCwBV7hWfv2H/JPEi4
Uju4iYzrrlaZlzT4HjoGFLpor/HgfDdaW6xVYZyNvl6lQLZAChHXBFlYDZvA/nAdnrJQwGFJpnhF
ZkbZ4Z+lC5N6Lk6GCoU+ydbAadFMMTldtJVWrh0TMdHI2XLucbhewYiR4AUvUWwbXfI8BSkpZvlO
gwEN5QwYkfvOTPG96Nt3iuduG5fBfmy4aoNqG03aI25k3I0tf/naCDd0T9dWRbRtGrMYMBl7D+/W
BLkMAs2OIxOcZu6vwJ3FB9lfPZJfZcGEaPIAaX4MhXvqrBFZo5tDyzS8A1gKQl2dV85lewRH0CzI
4agSCN1RfQ5L51wY34kBytCRy66URwjuR5SOcJTKfcpiqLv6ZYwhPxSzDzvWF2WXHKpivCWyrGno
/4jpKSVswGr7jQPPeBT+OqTFXIR4PMQww906orYtPBWmEf3RVHNIau1SsWDrbXOnvcZiEYUvLU3L
qq9IMzJskh5R1I/0eumMkB7/EuTD1WMcC/ufwld28qb7DTkGwbgO5uI5LPZB9jEk+qs9xF/CiP9O
Y3srBdMGI+bNahmPiopMPuQ8SxDnBTRa8hIJzrZb49snwg0t0gngNhlc1OFyOIHW2Y12fR2G+FSo
nz7Yp9K5qoTiJA9f0qreBlb45DEHpLFJZ74P6C39ujpo9DTGg2zjryR3vsfQex8iea6Koj8pE3dx
abdXm0br1gmApyB/Oxtu92PG1rHRyZcQBkI2lmeBwZT2B3OmE2/DLcvBdiTZcDez8sTUbkWfYpEq
941Z3HOYHdWkfdLaRQYxTOsi6q6SLjdJzO/FvMhY7uyGSO91pj81EX2vcHo1p/TCGAdgn7uboGmw
LYsVSoz7aDHR6YbD1KdMD8vgQ/jkJbgQ6VHlQM9xz0o5392AFyEejnAVrW3d1ILt5YMqkSxqK8wW
VUW5onmavzQKCSC/2bQ0aMMCf/QY01+biDOxUChY/Tuler1HXLrqA+fTrqEV2MNOQkdaTBbrYYym
dxu7zZ9qNB6lk0I99D5JZPn0poj2LIjOkmUxgZHv+TEYgJAil4bzVqcYcR3WrLpj6C81wJ1mu/G5
v6vYBesY/M0wj2oO5Tr5YyCZx/il1/0znpOpSU76DOcvW4OTVS/oC1mV2mHfwyL6RWvslaEa6WfT
oFaF/JPOoaNcw4LIjiyx+y02e43eDPzpETwAbf1dFKurLcdln1ckWdrwjVAHr3zZA9QT89EIvzRD
GkoZ79Fssr3Rs2mNeEWh/9/anuenW8MD4od1JGVKOKkhl7B8+4VjRqSgBKRn5Bj0aP0/QGGxAIUL
avNM48xaxCx1GDuyDKrumFGdVw2nBW0wt6JgXSwdug3CquqHiUVJOTHs72zmnhfIxaay30KEQ6w8
qov5R5lty4G4mRWxhGGPPuBBgyZoVW7poX3mxNHTlLYZYJH3Y4KUG5Dr6tAA57tb5nOorjg3g2Pt
xj55URXaFcLs6ZyliyFHhmloA7Jt3Z1bs7+yCQ9OVBYGGGFOfopcWqLVohMA2a5Ijrmr0f6BleUH
1ZcT0MhxakxlrrziriU6b5y3tQpvHm2A5SybYxCoQUF0cckmF+rCfpEzWGQVIVLr3TWcbUxUNKa7
pYtKqengNDXdNbLcnzJRSExImGl1hDsWll9Fna3gItFJYstF4l0ci5EzkqnR3ACSF8bJFSzkpjZS
0POkycHA1DQG1E6JKcMagGpWFIrm6C8+jCfSZWnsLiH6n+zWPg/O8JYRrEK/gbMZuhMwnRtu9AC9
z1TQUWBM96ij1PYZ7tt51yzefEg8EJMqkEPyqogQzThD9SEllKEzd/JifFKtz1leD06hG7PVJ2hK
fouaoK7ea69/Igrmg2Bt3PiShX9oEV2b47J5tZR1KozpptN2Vx5jUJpaK9NaQb0tUB1zluztbw2W
I+FF+IfK+uaK/qprBpmrUv8whxEiNrGjKmNkl02X2Op+gtx6RUV8cnm1aJ15OuabEU+bjKS/Ta/I
URi5cuSDSrG5mWVub11ud12AnU6MrYATuPFH7bkgTNXLnXsMhwYo9ixL4aCBkBzNy5vWm6/WfMCH
V/pE53hptNYGHYm/+V3/NPR5GZzWPuiuXZi7KwqUkfMWcUf2kJLKmXoLPNLSVmfHqf/alKGUx+2R
ZhFvwNTd0LOIqT+MtDfCPp/VBCXOA7ks+1iQuhh8grrnzOC0j+lo3fuYrMA2YeaTEEtZ0L5dJHO9
Y1EJTZ7z09TBU2p9C8qjpUepuMj8Yke0E8pL8y/8xX7Z9NA7mC2yOUOQXiJsJnI8eyVHGfmhWQqo
H9VBN4dtXE0f2cw+zjOELCgO9Iasc02TNw+vIJy6zqq3EtLjJq45hg2hx4kdrRxmtgjD18ICjL+a
f65g8LEw0Ug2MKaHkHxmXBoUGxxvZrI27cR1aXYUDlXwHTX1vXRAjdJzXZXuJHc8wW3Nor5tMu/o
F45z9GODtct2++VSB/p66KIW64fvyfbw+7VmJCeH7hnG1hjDeEuIcWwfUFDgFkejPoBZY8WLhTpm
uamvqMQFvBBy6RttONU+e4HdpNMhS7vpYJDzhhjykNMJpm4LkMnMD8NZt/d9/N7EVBa5y4zCbyZA
ly0FCZt+hISj5sygeyxJsZ2gVIkAcyAr+9RCX6w7keM98apCHgiTQETpWu+j34xLY4BPaZjOsUgg
soBYevx9Rb8fElgR6z5Nfowq13etgRFyfsn/+VBCY/vnSySCdIZL11tEBSklaejoh57j7T6aX9wY
sNbPH34/sxpWpaFs7R2kW6e3q0OQRPXBFD2h8//1ZcbOGLVJtaP+JSARnHoVJenSdBV1QkoRDTkB
bDO7RKXLVwHg2yEubp22zCID0uOw5mTFIcpzmocTIMO4Vd8BHv6FQft7KabHYKJYZxpJ4MNWju3G
bAjDSiwG+r8f/vOlrZOjArCXY5uk4zbEHX1nCYOFmRo34qEmyh6/RlfdBw4W69/HEieljvn9xu+n
04OaBGve/O9RyJaH30f/82UsHG6fobuN5fjpt/mxS7NhGxl+w1yIK+6fzzx3Bvg3TYCZ0aeDafzh
GISMS4UlE8z5gz2/iGjEIth3CncptfbBQxPboqKzchsmbO4t7aqsNmNk/zg5XaLSSC+O8ql9TFUe
mvmDS1rAwYweirZdgwO+4Oc6RCrmYvEOtYjpB+Pjw1ZYE2Jb7hTssSDTvyeXAUep1HunEf7IwYiT
OXraMoI7KzAbRx1rR4x4bBEa0WvYN09pBI2agMevYGpOTdisORQd8rY9iVT8GL1sDuAQiXVLh4dg
EJvwxy8pvghn8/nFNMTCmHffIU4sr1zGFwUP1yqh5Z9vc85YYM0hP9sN8jm7CzeEmX/pNEjImXe6
VT0AxsncFN0kGhAvOfZ4Wp4ZmfZLeI1C2wCBorpq6RqRNbuWZtCekEpMhEUaPvd+VO86GoxeNew9
MBb0uGR7YXC5CIUD7Y8xGcaui+nZ1Ufpa5uGc95KoVlZlN5Qb2nbpldzkAdFjJLWtN7eYygHDAbF
g4Y/P/AJEJYMepZSc0li0dhJAFJpu2ZiCt/mGe0Uj7cAwaDrly5qnPFNWk1+ah1qLRHHIJ4se1lG
tk6j+j3IYgB0MVPxOpVynQNuewi1ryRQicIclWVrszPFua70Z0S1VK7W4zA7gxGTZfMBedx739wX
o9WcejtrlzmBLuuGpZrDePFFc5Ch5MQENyqbimgMhzRBzdqnBXG+mmnvhVI55+Bu2JDecwpTgUxp
0ts/IJnp+7RlPsfo1uuw1T8aa2QeUMkPQydfdLLURZQd7UzKC/YQ8QjFkLwyfDMstGJ4djXqJNU4
h6oydFoiNo9rrfOnbxQN5Ir5dx0iFxGELnFDbGvVvVqe2TGGzUDpFtPOsWR0Q4gp15aztKUCLK2h
vy6dvWYm3s3CDCQC5S6RoVY7fFH1amRsuC8zXrLmMnBJtWIR5m38CFiGQ7mJ6GBskvABN/429Cl/
et0+OVLuBzSQVwSr5nLoNbkXKbI75ZK5Orp0Q8KYpKjMPxUo0xiE05My3IjIJM38zlpdXNOB1iTY
+CMeN2aGKKlomIfmo6wmAmVEum3CMdw0oKyOLoNXfOZj86g39r5tsc8pU6/pk1MDRTI9SEZxz4Wf
l+veymhcaqwq0RiVD3Es8fNFerQJCGc6ktTDaJ+/d5EkV5lG77/XxDjhXjA4zO6Ir3osQF0tElXm
z0aevoZB5yB0z9oVfSECjrT4mzzA+iOeQzZAZ17A4VsHtyJYgxdp6vD7SMYKETZs3Lx3yW7reCfN
+K4N9hcDu2RZ2FgkW6ky3o9sx8KBWHnAZvd7gfWlf6zmFxrhDmDA2qCARrjJhmAdOYC5h19STe2G
xkVqGj0fHZldxbC+bBrskKIszo5EqqGhrgQ0jXwhKV+1Tm7aENM+4Od4a86MF8ko9VTMSQrtGD6l
ZBuwhsT9znQC0urhS2yyNsm3+L1txL6J9dK1WUGDRo47PDPG8++ThaDOpSTXg9djq5jvrsBkO6k5
qpVl6O07JD97v/TaP56bUFULrzz3pWPTQNFdoHA5Owv0AJTU2nko7Bcvd12MEnyV5KlDLF37ULYd
hLEpEWsnphFfBb53Eq3wF66ZpadW9dfat44i5pHQIDUz8ltCG+dfOVgSvVBttnPBozYi5tgOl9pc
y1QyiOiqveE0PskHqkVUwXmB7iRJjfMHXK/yn/9koh+/zrIpwLKT7HszcVZEhuYU3lgejYD4it6T
z5hMwv0YgNitBXUnI+7XoUzKjaed+8kO4YsoroYBO0EaD+gQSTU5jDUJxsz/4PD61ZPZE5PM4qYs
8NxSlQQLiWUiLTQNg9c+VdG7quL4hJy9Xab20pxBJmFQIxtUDeIIzzpZw6ifcOBsItFZp9KhMh7B
OZ6ngI5JMcDDsOabsZ3oD7KlHFTkcahqs2yDnxeAS6FfS4wZZueykrFSh6lmPzhps25avO5x62/w
NLWgH5vXtg4IIhncaO314TfjRhJwp6RfUsYn24ku8N6acVMxVKjVYIBR+mcR80P7HCEZeEsfhWmO
GwYbcukQl7W1CxR4cUMfUo0/UdmNaxeW6zTFu1bqEV0C6zsxB9K0xo7hftZUK1qdxtHujGqVNQkr
gqEUf+CeQ4eKNr8PRWnrXwnfeLWi/BzEPskMMWW6g3EQxqgP0qnNkpWZ1iWIwnEvM54xL+yna/oL
bMv2MQzpMv6++MLp94bJltpX0xPiu/jB0rsV1tyNkej1ixyqvxJdv9lAeQ3wQ+4Jn8Q+YBjc16mz
Ub4wF33fRSgxOA7ZoJeWAqv3PiVUknBdHLS+4yz6zLE/cEQubBm0DwYCs8VQKkKYBuvbN+x+79e5
fzH7nh6vg9ZzllHh81rF2SUsve679cH8jVZW36I2z7dq7H5wB8cI8IjZqOpabs1KUodEtCGr+Y6W
mA/cjhFi1JXRtc5atEwBNlKbNMCzGq2bwiURZun4brVjTMCYbm/R3VL52OGrFmGHCtPhio33WcSl
uSnwnJ68uvR3v39/V/lwH21ONyp2j/As3MXv1uslebbpbSV2dodaUfrOTe/q6VIYpXcyQ37I7/ht
BJy7u9iaCyHEy49WlyYH6KO4bqxpHSXsY4g+HzCLi+9WaH+ISNFF+h72XrSsOvI/iBkuV2ry0kuP
nMkITLUbNLfeJNN8BkYzrBnMgQzDcPdcN/RhFeL+weHIqgdcISyP/XFEw7mQzrh33SF9REGDUGam
IXUIqGn5Rgd74s7pMhGtROb3Dzrl2okFPD3Etff5+xUkH7GJvbA4D6I7SKuK17UxiVUGxveatHrL
TkeAxuCGn4Wtm58jnwxp/s8noZbDMso0ncpl2iBq795pHHQbwsOAm9miWBd1wAmpLwkf/a/PNDs7
cVn327oOh50mSvMcENC8ibzcWsOfM+gnBc02SzRKNSHUOU5gdAw12ScgkOXOtex4kyK72yn1bKJA
OAQ1A5jYiqxtmDdvhVt+Co6pTecYz25f40GbD5RDqzeognExTKOZc/1Uf5O1XmfBU5M7Ng1wpz+o
AbPsIPJXEF9yMTHokhCdCZiN0Jszy9MQZjblaO+DItSgfDFZHWvdXNPSkQ8T5NKd0WFIIAIkCpZI
6NUaifLPkDIN04jkQGjHZ6Hev5UOvYtJVd0W8Ll70sKOODFibnEZY5Kc95CEu43btxuXSJtojXtd
uiWzEVVxuSlQFT0ERG8um0HFX1pUnUhHLV4NW4p1zYgn1kkPbrJ+vFvipFfd8EHsWbBtiT1aTn56
9zjgvzKbeCIvyr27nGuEFG9NOtSv9LS8NfybT5je+SYGdnZRWYVsQDn5txYjTLMFpXaivTSE+tKw
zPsHE3+E66bykDu1vkYI5d6Hgf56mL+WeXcudSyAdlJVJ8/0wmuKZZRZlmc8hSMRudY0rqXsCJ3W
MnYTkkVCVI3vcq7jEDE8Mh2445QhIqgZjdsvokQL0V6PFM3HcP5GrHzUbPpM1gpSkjUdnZMt6o9F
7+kFcaj9jXw/KiP2X8xhwcVuaYUFGlKSMa4ExxrDIuTNL1Z08ZPtWBqfrkGyimk898htfelkm997
hRZrR3EWb1yNxJfeihXONyqMXvPe4lS1j05rfSAwjO7FUiPK872bM+zArG9IQczeG2ULfGy22JV2
Xl3INz8jMr67ren+cSwunQagRRSqj8lsv6amJI5Vm/RdMYE2JG+A6HfJ1IBuRrV29KEgHxtdImQg
jV0yCLfkMDNET2pMCrV2ghJHczothmfBvIqedOHts0y/exwltrWJvF6VMl61QYt0KUgs2jAhucaK
gCAzat7QJVkrLQ/Q4bGHwUvGj8Duegu9+Bzb7bT9Zwtj9zi6zlkCj/9byfKTlqC5ovk57qRj+LQS
G/fs0ujZ1siJucSKtaFa8cEI4TEVg+JNGwgRDlN3bwy8cw5p4of/EQv6Of5uyrb82/3fpvNfI/l/
HOn/i4zqhg3n5f+NmTnFXz9NDPHvH9f7HFzx+xP/jtgQ/7Jch6AM39TJxPjluv5jVtcM4182mz2P
Og4qR9cGifhvt7r3L8eBmYbLHf8s+RyCb/2bNGMTy+ESiKG7AnaaCSzw/4s0Y5v/ncTm6hjmgUUb
OpBvWHv/zayeFQhgYtTnsmrNpxaCKLTLPDv2s2QoKS2xcnmmiz4nFmzQvW8mX/4SYAKdKNOQ62bi
qu9d3Mllf5exe+YFoXuZyJCPC7Nc5zh98N2y+QuFDydp+k2YMtjKy+rkNOGP5RufhkkoTx+Km5tM
h2iyyEeLTbp57vihVbW+rRKxDdN67V0XE3E4QKXlPbFONASIag7jfuHr8VWf1xB/oukh4/4eOg8d
sKsVChdsAmP4Fsf4b0T+RmG4oUl2FOxBMQ3mQwuSfsGgnBlCT+wuQnU9HqkWenEG8r3QDfsu56Ms
HMAX35S7YPIfS6n9IEj8Erq2zPX6Enko59IyIszPfZC8+MU05vDoHfWQ1N7JSLQZuUxWZj6S+mSO
VFTDuCIAKFtZbvRGsumwZ9W2bAv8Yt0DCmmYj8z9lhezMF60uGwwX8ygwsrZTYZ5K6tmk2kICmTX
3AEhsEMb5idw1aU1AQU1cQZ2Jf+54WLF8EN68SJ6H8mvheKS77yG4TlE8m1pjK+hPy4rlK9ryfwz
yvI/FF6kccQ1b2tX08hDvFuy12WYBGmvC9oU1riZrPpoQCUSCJ4iXd41JC5dOCMG6i0a1JFNsL20
4aPdxRdZTjfIvCmuMfrZoZCr8R4a4OqmhVFTXHhmc6wQbKEPgV1sFptQKSzsnf9ZhF5A9OJ4BIx6
swQXVsqQBPxKg2IgJB8yRINlFB5yZXzaavAwqyqlMz+yrnLbltVzkbaYPvmvEsN6T9mrsuykOIfg
RybpNEkrSEhg2PKCi6fo1Zbu/7Pt5VSGLtcLoXBlOvUIK4JVooDxY2Wmdds7Cwbh5Dwa2l11drOp
rce6raqFH7janqKxwoILbZE02C4bVx3WhKmU7FflD0NEoDB7wOdYiUO0wxYtvsgkMnOydmYSPmom
pMAKICW1MFGicaJwZZ2IeGIua3sp5MviBwL5MsfNP8dZC0TraNKUpNGkXf2h4BoUQbbJq/zB0NK9
hoRy1Xkvbq3dG0HrL2MYsenG4fkc1HNXU/OwItqrHo2siV1lGUziE7DuJYqs11JmP1rMyS0yYLh5
Bbk3cfpHse+tO8/+W8b1qc7C14GLC/Oav6T1hw9thEA0VJ6/DInJ7ak14ccx7M33Grv2OqCHYPrx
AGyiv9k+PzBoCAYSt2OohS5IC11EoLir2Mdf2KHFpiaGZqIwrJFA9RV0zxbnUvgnn9CAejIIFjGH
bVG0xyZtLkRv7VzKKSZb7aoRRboXehugRl7oJt3GvKUPjFkHRQ9lm0+BcmgMSmIkTdyS5sLPnNe0
s3DttM6Ny/5AhPFeaM0LsqLDMNa7ukp4C+dW5Jj1t6QxC5qvIcJe7+ilIf9BbQvCeCJnZW6rgACy
onjpZAREXqUvIihvUWpdPeR0klp/Obg+fTMUDXyzpy1KvwXwQM9xZAjfIqN9pw10QaGFsTQgUnoW
VZimRgA4hZjDfHrdGM1LaOWX3IYo2BoWggF4pADOAOwATS/ycqsb1vdYNzADSKYfPI5KeVdvc3La
lA67ADnMh29z2AqIOO+Yadae3a2l8Ppl5k1raxwIhbWncCPpYCK4As/56mbaseEQsKaL+8Z0oll7
Q38nhb5ZgvfVVvQiLmRNgVnS7G09JjU0MHWe+mlT5I6+aWZWPhKkowONPyOfLhnyD7tCfIGZ9ElK
8p6wTL5jsTm3pdo0pjgBC77ZYQWkSkPc4IMiDHTvhJznRJmPZhgxPYilKx6hGUFo/qjG3uXu3JXv
1yLrtuyjH16WPKaBjl4QXR1T0jyfnYNaai2r3n42c39Hfos6tMF460a9W0TIGVTRHT0YzItJ7KJB
7lrHvmF4okuLb69W4ycAJmcHAvQ7QksJk/TSeM1dK41rHljvIkDrwARq54zc1XmgSJ4O/jYB/V6i
ktHFiI0Y3U0dMQSZyIJZtZr+GTj1JSHMmQOWZW3oD7Ub2iRMHfBB2EVRLzCUbV1yWZaKHIWyfm6y
RwSfR3Lva9cVCz8PPsex3zAJYRsbGLBBAOff6mDikJVgaDpVBWlt2C+JQRc7XdLF5iK5FoV9RghL
2mh/GGzrO9IC0rhVs+0Fw8skMXEU9gmdRuPKsIZLPpN3H4Ajx7iS1DjSKAV5gpN5jjUmul2LVbEs
TXax0J/RU0sV4QCcmNAuWCZWrRNyVhf9J9kf0c0t5D5tNLQ1qCtNx0Q/ijDNKH6MmsMHrs3n0pr+
D3tnstw4tmXZXynLcSEN7QUwyAlbkJScVC/XBCa53NEDF33z9bXg8SzTH8spWWlcZi+eWXhEECSA
252z99rID+YbWhXGqQJHYOt9slZU3jd76OgNo/Z3im817zk0f+y6ZgegVHbRC22PgxqvqFlq29B2
mGwUMsIy5S5NJRLpJPpG6qfjxd2wgo7ySmdyW+n6NduMRwITridB+9On/LWkUn+nN+lKJwmRM+7d
1PnXQ9bDKMlVtNWsN7Dgl32N6LsA2lLQcdUVBp1iXRUEHIu5pxnpSnlwAu1nNE0/wX4gTkZMy2sb
C1dByqreEWPEmqVxhzW0AlWOwdxEI4+aq9q3tDIXESnpmpoc3WI8oVZF/jnCpB2xKtXBL1oltFkw
QwIQmW5bDoxUHp+ES+AfAmeFcIhp5UB7WRnjI/2JzutFesyz6q6ymOO1fG/20hOFT8kH/XuNpU0Z
nMc67x+lAkNTadV3lNuJSOxl23YolOaD2fzOtRManpK10beYDxr1EZM8ysSC6KEkKJZunO2mWfiX
K3NKF220zMwfYLzzBJx8dmLgNSvYrxSdc8MMceTcP1NAwe51Upg89alekqe8tpgwSBK1mVGR13QV
YL8JbaQc02L1GyMuA/aIvhjefY5YG9vSH7FOSFrt6EhnNxVNl0VZFc8mGuQFmQEHZMjkf9glXqNR
vEmsUpgAkttSq4EWFm+I1lY90JQ16j+YnnrMUoiE04LoA+rOCwXAe9VpD5Qc7+kRPmWqccKAv6jc
8RhEvXmrOPrSFcMj+gF2mRFKdZd9gD7hahzV4cCb+EPECH37Olobwn+a1402pQsXDHehOTzOT6is
cI8EneoplNNWVaI950W2i6R73VfU9vS4WlZoIVlDmcbdKrsNe0tZibF9LlHmIOI2Ec6YRJNAncjy
9E5v4cXHjTjSQPYGP/GGxJiLyyWmekbo/EgKDLcSKJ7GfjBwZi3uPFwKET3pcf2eEiBmSegcHbOh
r6nWty7kBUDf9LPP4ytfWmStvuHx/Uk46MBmD6Obrh9quBKrxKAqGJrYSjJqoaOBDkINH0RjfO/a
NtiYQXtsJLIgNf7uu6xgOloCsTP1oHpwi1VvkAIbpQ2yhNjaNiN8liqD60rqKGTofTx0h9QPbsM4
xa3kVwMHe8rS8FvtyYzBFiu3tmrT4h2tPW8AehdXDlhPyUhQED3gODNauBGujWm4cVswB7pxxbED
mrTVHzpZvlH7fRkAEmDUEqQLxweH5i8lcPuJEw9MBxhYAdsqNbVLgDTNDFMGp0JKMfIVdHD+da4j
7WYzrtTqMprAU2ojQ8ogbYLKJw0JAxEZVWVa/GLTxHN9Hi2yxTcrJ/CE1K+WiQbHxI4jUldPUv/d
UMp2NQrB/YSTJM4xAWW1Zq1Rath54y6x2HiZyejrO/c7ApkS1YoL7New90PBce6OJsK4MJkoNSU8
aiaNz3ZPeRwHhKD5aeTZe6nvc/xAnYp6TNd/2noL6QTSlHKaWkSrNA5KdPSQ4+Wih+e8SDR/lWrx
bdQ+2JH7UJKxAMizwY8Kdz2ddc0hdYqazUE6IXrAAfdkVbM6+pHRBcxFN55xzj1NubWN0fU6ot4l
0w+tZ1PAmoRYBv2dhZm0yzYwD49qT/PBVzoAmx4mJrpedvncK3QXmlMxoZwPu+xNLchWb6kIJ479
aKR2tol/a/RIt4OpIR/mC1Vm+6xk9UOY+OOC2JXQkg+Nn7z9noM7czzpo/7QmsnGmgKHw2a2EyRm
YB3qgFLmrBTInDii+I9xOJ3EaF9N3zHWHCeWZCSupzRzr2uGr19iloMUTMupKG7BfD9PtA4c7FQ7
FYiTwy4vZQuRldratfeNlCGFOJaJLDc9jj6AgcLIXGFqovkJdoo/HxHxMIYHpq+WHV5yQ68czkjC
WSJSrK07uWTdFb+Iyd2VFrNm5aM3m5qKzQjI53g8AWD+UZfywQnwU2iYLuLhF+LLaY2evqEWgGMk
jcJVZ+p3k2iJOM7fMIm/ly6WE013fmaBej3Gk5f1hUpBGXdzVAabAOEcNiaxUABCOUrH2WqKOUqm
+naAQkr21DMNl1vVYBlK2KUFTFLxcBdEWA+CtmANiCc4BOBClxnfbDn16rXKvgar50R1Hw4TAFoF
KyezSMM+t2jkQxeHh6YipTdOc5qwWfYOjpnXPcgBWQwixXlkvxg0lerb1F1Vrw4kawsTc2IN9yBA
NonJ2UwdkD7LwFyGFsVrfaJ+H2p3iYVszg30k2q1d01Id7Glzywtypi9GeE70N5wip5CUoyRHvCG
cqLTF2YUeIG4V0MeUGv0LzQRUa4h7rG7jeMzzGgsB4veqPwdfq2CAAj8BTLzr7HEfvMFm3ar5gZo
E7fCwP/SW2G5kv1kIeMJN4PBMx4nM1wX5fCASCc/pk7qEUFc7s0EeUUDH2TK0YrbuVw2DpiBOusR
TXTXgeWuG/1H1YtNh0NirhV/66PipDt9fKxtlo+mJPGI0OeAf7vHN4qgEDPHoJYmuk8nvta7XeJH
8jk0M5UZPnwHj39fSGsE8EGHK7IoY7e9ddOa4joP484jHJEg0hFEaxWk7y4hV5NRg34fhb0XTctm
22xjh6YpKKbApZWkREfDn7+qU15XqmeE7om98bQ1e7y+mkP80HvmWvQkR/mgoopfGXRuB+Bz/pTQ
a7BWQaazTgf5voumFO9XQEsl1R8Jh4RSQE+1GCrCrw13E3SYRtCvI/wyNlxcLrqWzGczBhWXpntT
jNT7g5rSLzRhewT3k2fXwod7oGjNG5qJ3SBUMsDVu2QKcZGBSlghWQm2uCSAQxW/NPeulfEpEP6j
ESjDqlTto935t+x7bKKfN8QZAmbwJ+M0RPKm76rH0AmUXRnII/YfzssDS1XW9suEBOcFit1t0bPb
4c4cdZ09kV+ylYoQ7nYYc+G0HHzNKLbpCPHFL0K2jn2O4b/MlRXp6Dyu1DyEjnrV68HtmFe/WhYs
qYZXpqj204TRwJ4G8i44JxVOuSscg+ZD8Fqb7r2NASApo4fKoAWPKYCGE+tZkd2a8IPQaRTP6D7u
euSXi4TjWAMzqIa/41P5pmxRvgZSIwPH12/VBJFVpVjxVTXTohrtRkXHs4Duwn7Hd2BnTacRVMqC
ACVrVanEmpmgrJaOwoYRJSId0hFS4MSk7qCc6TVPVQa0ZyZaR/cu60jlbYpTXpZLhB2TN/ncrmrI
NyisoG414WKgS7gtnZNwhsOEchMJhrkeu/KHrRXMwc7kU48p9x1Mrnv05Gz89GkvCc+hmNC2+9Zl
uWjyepsjwpuAa6zmk63hQrAxX32Q9Ds/iV8dWp0Ji+4EJ2a0GgINZkun61/3eOQQDPfL0KjGhWYq
jyjHVzFdrEXruzruRf1x6lnxgYJsBsufmUgzJiF2Vmrh3ILFKdiHW7fTROJZUVrXRtA/07teytH6
mfd1vQhnG6PRb1VH/6GPxil15b2SZzTDrOox7fS9cIyI6JcntLrBbPed21Lr+VGqFo6/Ms63tgUF
qsLpTLYxUgVfUuVNH+ZDppHgZy7aIt/kUCG9VrEgQabdpnAKEEjRYC8zeuNzqxo9RDF4TlrnKzQ9
0Rqa2tEW+a8h7vA7lbt+EjhcQjEx9YRMknRuVtWkPgaqBRjUuBqgAa5FDYaxHsw3te3tpSQGGrFp
fzJC3wAaFCEuaN+qPn9KiXBeYk6fO1K29oRBwYH6x4koHTapoyEaNNwHdLTo3wvcIQPXXieUgCsU
X4TlnGZlTpoBhdLRqi47/TRYkmgpA7WgmKZ1ZVIqirVqT+Zmu3XD/AZy8s/BIdEIoTPZHuE3wNnp
rqY+B0xMeBU2bo262ApD3ykkRXBB4vNVyzk3mPRltVNp4oeZ9D0L9iZjHIF3gG1rzPETqEmMZfk6
1rWTmw7PLlGJG18PtvTnxk0rdOBRgbE0hbotqbQu265mrGvFIc+1N5kbw9IKVEwTikkblVlqHWkv
ttLcYSn43tc0/2wzbHA1Jt22FaCDmg7vWRY1DCe6w9vJLq/nvzSFUw4d/94TuNxHbIxIW9qT6hKp
1zfHpiD20pweSz+FtxAHnhLrT4beb7KOFyEZGblZ35PcwA/irIKFMXxvQ/teG1HuYtDFIym3qs8p
F3gYOKScZ+V/Z7Q9CB/cQULZu98YsY8/a66iNLNKMNXcbRFqlLInrB+oNWqhbXkMnTDWvTrPWeZJ
K2GB+QXV0wK+bV4UXlCoN7TT8QaawyFOW7lynW+EbnCCLDHz5RPoiK5W1g1HwOV1pVPO00Bosf2B
wJYMdEaJWtrF7U2NSbT26U5Y2lXhx/oPuodjNNyEmX3oUx9UCM9SJ/kLm7gLKKyjpB+9AHxt8MaV
u7oqHhk9+AGDfZFRqbCretsF1Y3SzdNkXTw1IrmyaqZ5v2MXH/Iy16lNTk4J18JMd66Ez4XZqVya
JVQ3GP4HnNsGkZjVscNY4pEdxmzmKie7gM4YNBSs84msoYxyUDsOb2p81VVztnpNzX0qs2ec4xaY
zfxJ9NljjDJkm1hvCgJX+ua6u1Zg/NoFKsmywhKARH2qo8fQz36S8AZ5S6+/RYMmeLPTa5+QKRoP
KO2iJkL1jF+LmhOhkjXPPij7YtnUKuBvHaKLIanX2O014B8ApWgVw7RjD8x2qDFbgKkqCTbayOGB
cKU34qgXodkekeA94HQ2V61j3TbAyiG9aKwa9LnIaWQ1NZPUWmpDcujJb9+oFbw2Cb7FNdHLVSKM
DoDst9HPoi7vulSle1Hn2aJNaszQNMHsd/Jofc5r9UadpudOz/ZtwU+ASRu2LyMlR6yYOzPSfryD
iXuwZH9qSu3E1EGSCG4vlSy4DvAOdSQMfpqSvqilc122llwWzeChACa9WsmuyQ/+1f+273VrTWqg
TWN6EwmphnmMVMIwluSOputUq1PErJOxwYW410dlxjY2z/pYXisdJeRyGhBczsGauR9eI7N4KtgT
7/uKf1FN0j3OQLgkMYQVmwOtEmQ7KyZStL3F8ffTaJmOMGiTPDdkjznuvp0oSRwXSojvIL2h8PWS
MbHTm/edNcr0m7atXuKSw0+fFta2b/hnij1cBVZ61LRxoibHjN3bO3Jn3FXfsTHI1D7g9glYz8N7
TKY5W5eGnpISofdwmhWdpjkqEbWsVZLZV0bfrDR+V6qRrUFOAlIyjmghwP2jPO0szB6qyZFlroBQ
xBl3aIriJXjUg4Blswhnt4gdl14kxCKcrJNR87+WI2bTX2tWfkQCSxBWKK4LTXrxADelBw0xdMBF
bYH8rGejkhCmNSUMrpIUQAgWGTujUT5Rst1FVAu3FOZ/Jaw9VJgxQTSEahCH3Hbw3pDEpVrz3Ykp
OU6WEyJoRX6Qs/G3cvzFkrRNPHHDVC3GqtJ2dGzY2ysmPBJIJuP4XmrRS2ilIGik7QlR6FutueIg
LZf0UgfK/gV0y/GO28aMT1zpxrJJpXHbVzcDX+fGFDtaPX7KO5ZkfGB+zyJOLHiPDLR7zHTf33aZ
nm0jvz6qgWeqvkotovgVAh8sQudKzRyFV0zOLCpAhzHFn8znpXRYDWsEZVddXIlHROBotyzzORPJ
uNUrg5q83q3LWjmqsmZFDaf3fPA3wjKSLULrbIUf3kZcVS5lmuE3SH5bCfKpTI+jgiNUmiPJlXQk
tqakJtNUbP8qf5yWY9s8S1olrlBXYKv3dMxN+l05fC61oZxZAFttaQAv+jjVN41asl1r3ognyPeA
91hMcAdZtHG0cC1U+Ntqp/sL+mnf0S/t06wtH0YSBLpcbngBtmGvDN80k3N204yPagX1zoYfMjUj
Kt7xbrScn1FdBdu+9AK0e3OfAlcr6o9Io64cgancxPOQr/A9atZjB6yVGAfGteKY4C81e6VJYrT8
4HVsKgysgU2GRwE+Mh70BBI4pUlpqrsub++H2oXxTLavHCN8PwthO/G6aguvjot9NtdNC92Plllg
cHaK8CQLM19Lu3uuYnq3skxf4jy8z0xOLpIibEw56ordqdXN63AwfmPOANrZMC0ZjCUG9zPRKVRs
4HZq2lsKlmsTGK6DK1rbpqZCH8k2Vm5q1Oux2uVJ26+VUXvu0JEtrZCZDGbyFKieD/9lw7YRTwDT
e7oslZ5qYKV4StreGhmptSgL1oWo6I+7tDBtNwTX20uyw5qHzGieZ4tThZbFythaupywqCRF/tIX
14ZjMvJx7AfBeFf6/WuS8d7VkvC+OqPiyHsTo6JxrSZZQohN2WnY7xUWv8x0fjJCwJcRN8deQ7vG
O3c3ZOQeixrvXhJED0g3KF4G1iK8zQsElKWDKCFw9G1S8ZxBWh8CRO7dQGqbnRybng38aNy3Ecp8
4yUXKvgU5Qecg4eRfRC6XaYwkkKwqWs4yfiEwa1/1AnDnIQqSH/AkWpi/joqDes1Ro6fRs6yXM2V
Pi2oD+UciYEnNxrCY2UAcXDq4VuWk+WITONZU3KoK9Z4xcZ7PaZV/Y33bLSb58RO/LXR4hZM25Jy
qFSBbuergq0atmA63P0vrKV37kQy8wTaW0kOBL4sMJN6bWc1e4PQ+bwjUZQ7vm0LZg6Oe2bpLJ3U
P6hwurfRELwLfAQAdBKaiOM1WYp3vgQH63dOsYmq7pa35gClwfD8kD8Oarq7Yf4e0p/ji5Cz6pr9
ts2qE7TPamn48NyRXLaHQMlxqoEKT/Jyg0P5ynCm9h5NWF66tPRHZ9pXgbjK8Gpf0Qtg1WMkP7io
ACabCrdqZNVP2oKuAmYs6dq9olfqMVHFjan19lWiK3IdjKa6GntRAEfuHexFkdy6sXutSnXggAGk
upVq9lBPA/1vsO0V+LAHO0XZ36jc8ZClFjlucs9hM7kf/e51YsRe6U2S3MeFX6xLV5EbPXWJ3Bbl
64jrGbFL9253RXX3+/8KLII1eOWr33/XKHXlNS59sJyMBIiV5gMTLNYXLEPXmlGJG5Ly3sOW68vC
ar2yBPZrW0Z36o3SgWOMQkz3HR06DgKNusFDmkxxTkG4DK98F/mLm3OKaAC27rOw1K5a3PDZ6KZX
8dh87wEy781ZtBbTrvb0lHUWW6G942ZoSxQC5V0wh0aoYX6in7QOXCxdlWuVBEVDYgtci15OSKpe
24TILejnXUeV71Vqzd/Nf4R+3ThpwoJYqour1jb+9ecSTnqpNgE91bDwklYJb9WoCG8N3/GmKsm+
/f479jzjUovo7PioITaEcLzToNKu1d66i3QUcWJk+Xdy30WpavgrdLv1IxMQhquJXHtAOmyjtKe4
7GlPWO5wbLXgFQGNsTJKHHed0K8K3ud5lOtaeVCbcN/pdnaf2ioddzG9aIHE25Fl9UGfjGBVmoGx
NZzwzm0SmElhN+PjfaTSDdJNx2HbQ5G8gBJe+vQHv6Uj97SrkOOR5VMd0pCTU0r5n/YVTKs6cyoU
P0G6M4JoZhIYr1mg0KYeHcmLiMJaM0MWf3U6NDTTtzjJsfI3ALQdrd4VJR3VjhSUbdfrGib8Tt/J
iDh0EEXrUA+sX2Mm4LyjDZ0LVEf2UjaJ1CRwE/NzlbfOgBJZATAh5A75O3UWaaiP5cT91FMtW9kC
ZA/pRuqdk17rUExe6kwhOGF4H9zYPI21W51sx7/P8M4MsTSImugfRpXNWlrDOJWqKNc1ZDrSmHVn
As5lPMU69JXU725aooSOffrsI2WiA+hW1zm9zT2qqiVKLpsDQLAw0OTS6h0Vnkr3A2Z1w392wDO4
dxyXjSJmisaNaP6B3zhSKQF7KIaZNkjHJpD2CMAfx7drGFQfkP16tgXarQAptNYnBYJ2FxK5DP7K
476nmyKlwwjhcDPWo07W2nzWs5N+m/okuIqEnlo5932Z3s07mvt8sSm8DciZXcVOpHt4HOcddfzO
0axBCMYeG44MoSJLLMMufl8K5oIePuJm2mOBHEA9qchvegswuwgPqAm0q7xJBNXrkF6IQjlXJ8I5
8Cv3VBtZtk4sy1y5xIGdlKj0d5MeIkQaSEdMbEuhOV939x1nQc+Esa93Ahk00dhD1Gy1uEBdozcK
TkM0WFmEls94Hdq4/tVG8MNypVzUmI3ZbQXht7Yl2SSu/GzTEtS2atVoOoShuzON11wPBKe1KbwR
LdNrZJkogfzgYRgrf4/mbjhZrdbusgoJfyH6Ox6Se6IkAq9L4n8aSWtHaXPvKrFyJ8Q+5DfKwg5e
w4Ck+pROFxRx/Zj7ucaL6WBNHlFoJw01064p8OOzTHUhY8d0ImNVU38+tkUSYpRUOLSI5gZ3dnTV
ldMzsgUBAU3FIGQH+sbUK9aldDT3ml9QyNTKp3++iEllLewKuaV1vkzGQIVhBKtv4QoXmreRb9ow
eqmQziPhEoO9SOMk2eDB0r41bUnFZXyjj6EcGGpoYxK68PM9CHOjX7touURPexdFg7yJKWJFyDyP
g+3sAuRhBPPZFd6igqmFWFHP1DgZW7Ahuly5lWbBwbhlibKTaQPdN2jpwLPt24/O93yKlXvhLzML
NYJJtjfFW51CSta9yXHmD0xzzy35DtPaXSc+LiZnKu/ZVg+npI7r1e+v2GhN/E9+6P/Pnvwkvkr/
ML7qenzNs9fqT1Hw/B/8K8BK1f5Ts4VuEEZlCFtzUPf+owmeYyltTLUGkxMtcxKM/lsSTPikZdrE
S/LPEeoKF51uXbCQ/td/uP8pVKERfIUoWCde3RH/L5Lgf88iV3Ttd/Qkp6h/D62akNNVRtlKrxLA
bqYiyZ6lkZvRP1ml/6SEnf5JwfpfxEWfiihv6v/6j1lO/D/ZWP/z8Wcxs3lMxzehO+OZQSyvlN7l
GJKOKf18LLuMgj8k2H+5Cvf2r1dBuf1vYbbwGDpZ29Kz9JJ+Wcpm6znMCgvoZq2j3m1Li4JAEylB
8snvunTbiBz784o6NBJiuybwxSC0Ef/omjyEaYvK5uNfpM0f9Lcbd5aUXTZxFZrpSOk5qdzOa1pN
1J5lTvK70imNvyffr/9paHpwr5Bn+WxMAvKTA21A7lQmwMePv8aFn2mcJdSTJamYptmWXifbmfjC
0pKu7XikDPjxBS68HwZj4s/7GELUr9LGLuBXGN0dwATtV5yiRVyKADDlFy8yvzY/Xm+jPOBN1f73
IONcsLGXXonLGzF0mDrHpOqJuM+qftp8/Esu3aqzDNemYYNlhUXpYaHvjk5JcdCacv3w8adfuk/z
n//xE4pINl1DYQ8Vd2Q+JGM2kXOTOzblBRtp+Pbjq1z6DfOf/3EVNhsh2Hu/8FKlwQZUWpQK0jy6
/dqnn80FcazkGswr4taZcG5K8OEkA9mVqNYff7526SadTQNaLgeTKilCNmRxPSosa1QBqwa+sSYp
vQx3Yw88rYJmDYBYtSKBTi+ER2u6dqQerKw2ozVMCB+85QSbGaZjQ9coVBMRfPIV/9198d/ToXE2
bYwRNEbHZqLySaQHroZOL6QFhXGbIyPxCi8ALtCuJgQUGFfCbpJhLal5Tjcf36H5XfzLpGKcTSqW
GfYdeuUSpV/lIGz2zZsJafCMLpcH+Dnu28fXufAe/Taf/PEeoWJD2d9Ti0UFkt9mioPLMdQK6Xxt
9tXPZo0A5k6iFa70yJCQBEJpefZgZ6Hzyax34T2al/A/h0GDdA5tBayMHpTZMumsmCi3Kv6BEjz7
ZLa4dImz2YJTaUX/IUF35450tFOynmlXTL21iEPb/tpw1ueL//EYSISw3Tx0qHZHOpSkyDLo+yTZ
jMf4+Dlf+hVn8wWL7eSHPsuDWSiEnU19VspVm9VwbBJkfE9fu8rZvKGrqjmmtiW9EJcq7Qel1ZxD
zatMJFDNYfyTVWJ+ef4yOPSz2aPl+GGTGpR7JsY6+qeamTR3NrZz+zqHBkrnHDgTCXSFpqs3XTpO
xRffhbNJoQuJrzHgLnmii3Kc1pqJaLEZStzwEMX/tXO/uBOb36y//byzsW9UQ98MoNC8IJF5MCxG
9IPKulfsTK6gSEczjlM048vHz+zCDKCdbRw4WUuiRcvSa2vp5Gtf1mB8SOPOH772+WczwCBt1TAL
nW1rwsYa8FxdvMPIpjv1tc8/mwKUeJjlkpH0QAUS9+aIWQwMcebjT7+wDGhno78Yaj1Dv0tQh8Yt
oeEWaNGwpqnQ2A/pZE7Cg0eKZIanL51DgveTdofv9p+tAxfG7e8F9I+JgYN9Z2oaT0eRnfsMHk5/
p3U+BMuscZRP1ppLb8DZ3CDo+YuyGtmTY8SFZjr15r73bfvX127h2aSQp12i2kZWek400r81W+RJ
sFAVYAcBMmGce3VUIgjHJU0uYjIm322fLt/HF78wlrSzqQKqVDKWJhsNICF6tjIxyYWEiNGvvomk
0it3NsCF4vbji126kWfTAzCdgKCClFfRzKa3mBPVg1oNk//JHD6/0X+ZF7SzeYFobepLQwMYKh2V
OQ7wCQYHDKYaXX1ZPKQi+mQ1uvDSqWdTQuaCXAE7Iz3H6kCuYEJobaJjykJfRJo6NauPb9ely5zN
DCOZr8KsOm4XORv4T8uHxqF+58r0ixc4mxqM1I/rsuThEwKh1QuhagOMfmz8xND2TfL28c+48FjU
sylCLyeriArO5YCuMtR9odGhCC8ysgsbbOUwGHrfAB8NU0L55IddeNHU+Y7+MStk1DULg44zMUNa
fmvEBFys1M7I6k/etEtPZr7uH5/vwixDXc8ZRo4BgLIu0WxCFKWObmBC3WWdPr5zl37G2cwQQI/V
G58ev9EVDo1CkS+NtpRf/BFnQ78ADSTdeTRStzQOpBAVKznlzX0xoi75+Adcuk9nA57SZpSoDsdV
kQd44rAtra2mv1PqqNl8fIVLt+hszIewdUpFB3EtB8iflW3izisD7ZNP//v3F+7ZQO8Y0RmSJh4A
VrYDxMglPSsY9gU4jK98f4EZ/t/epBBxtZspvKlREpavmQofhZjIKH/82sefjXD0bpCwwJB7cUaU
eWEpIz0+/dOd2N+HtnDFv397QTdC6hwwvWikMYvWYomFYpXSY11YDTYRrBgf/47fc/j/Pbf/Lh7+
OeLGPEldeGE85zw+TXBYHH/c6E51qpP+SgKRlSG404ywRlvD7P7xVf/+cgn3bJjH6kB8Dnw/b4ij
vRsrbzDaP1kKL71ZZ0O7MWvSalJmkNA2W1qTCB81SRQEzHzlk/E9P4S/3bKz8d0OXepDOEBv0fbY
D5pp1Rg1ZjbdXeFHK79/7R6dDfGmgF4XqdwjJ1TnHCR6AVGRlauPP/3Sbzgb3jaa2MqQbPWLMjrE
iohXhK/GKx52Rh9+8ncfX+bC03DOxnkugo5EC55GQJZaiNyil8eSEwYGF01FePXxVS68TnPV/M93
WOmstNZGiJ2aUyEbIxlasPv/2tN2zkZ6aUiHZAqd5xAcpTZBlSYQWCNAlw7O177+2WAP88bsiNQi
b8KpNBIoUKJ3eP9E1XsfX+BCpVg48+P5Y1l1rBIeO85GT8kmZVlFeruvpApvt0TuOqR6emvodnh0
6tREbTiJu8poEJ+19fD08Te49ITmP//jC1gDObzVLLKtGzky6Rf1bTtiJ/j40y/Mls7ZmNcAEkK/
4mXWjUw5BnELsQsyI+FMbecmchk1hfldToi+vvjCnc0AY0iGmxGqXDDBhrycBni+hGMzWjcf/6JL
4+Zs8FuVHUzaPMW4Ailb7FsIoxC04+Ny+u3Hl7j0SM5mgDCvozD1aU8YjjBBe2Zk3jR58MnAv/BI
7LOB31gywYNJpcQVU3yXjfaGhEI0ZOin8jF/SyoC/j7+HRdmshmI8+erJeVgq71S8yzCkem4n3oI
/gbKy8CkD82GYv3xdebP+8usb8+/9I9XuDBV8F79wP3Sfd1rQI0sOKs852a4txr3ZirHxkvKxnr6
+HIX3gD7bFLI6s4IO1+yjkVQbpbjoMXjIh/QUyhl49dfewnss4lhUrqkiwNu3oCXGwUd2EKHZuMn
886FV8w+G/VNbYZqlvCKMfbtjZRFu3MxTH5tjNhno16t/M5w8dV6Aej0VZtDPuVEFHq2M3y2ibz0
EM7GORp9qzU0JpYRRfeVoD9wKqSLqzrNyd37+EFfuklnQ123Gwg0SK88jMgD+FIVVyXMkk9ukqbO
4/lv7+3ZOJcQA0GH1zk6Lje/QSPNleI28TLVmUAEtvW2tQxEMVMr2WSmNsrEGjHlYEevgxI2c2Iz
9PdVaVdkjSZIDuHyYOm6rcMSSWIR48ldcZjq77up0vYxGOMtnq1kb0+yfUijCWWD2g2HKDV7lA21
/qPt6+qhw4OJpcA0dGx8DfvyZefO9vnYJyJXpkp3HekhSXOpnGxrlQXdGGAoT6N93pqAOhK6XYAU
02mPzK3AlowMPhuj9nkiOSJAYdtkz7gxjGPY+/AXUqH8SvsSrjd+TnEz6uTFr00iQ/ZpYE+P3VA2
j+00FKTrokg7Jv2EiWC0XgC6q29FEo17rh2/AGlynvQmU+CkEwwcArFAuo0BnB/IJtBy/a3T9aoX
JlWzpcGkHoo5uMIRqYMdUwG/CGhbv7VD03mvNCEfRKy7YDuwpVGjcltsEIJW7mLKwGEtTNu2kQvG
yEZEMtXAVpwmkMvabsQvX1b2Xs9iuEip4nQEtMe+OPVm4WxwxIU3gR/i2Bsjw3nMhFGOOyUkdAgL
T+b/BBkSflYPuDBAzhFhQ22aJObIzEPxDa85t/FdSDdYG0rdfLL/urR5EWezSO4mCpBIFUhyZCjW
3m6cBJ7dZKfkKAQD6m0QBo6x08Ek+9vY8eEvFRPMRS8cETtR5fMdMiQ+Hqzz8vWXwTSrMP5cBGQ9
GImeZbmHlbu5b3I9+kYB89WfvaKEMSV4Gfosw9UrCcD2K8won6xyl2702So3UjrIoygoCC/M1K1N
g25TRES3IZuuP5mtL13ibIGz8r5HXhoV3lQ3MIWRSY0rg07nd6cOY/OLv+NsWavx4QhS1XMvcrQE
EpbRvAdulh8mV4EW8fFDujCjirOFIdXwy3a6mXqTgCy6bAy7hXnSOvL71z7/bFUgwzfqzGBEo6U6
yVb9P5ydW3OcONeFfxFVHCQEt3S3aduJE+fgTOaGSjIZcQaBkAS//lvMd+PoNU0Vl3GqoJG0ddha
ez0ENZgyR73o7advDTFrPYB4WGs2oyw5zui3DDShE9BO4BtHsIoAbAp57NqFkff6z7psyM7A3moz
a5XI4C8v9VjV195VYJ6peUhpG4c7q9A6hN4IG2qFzaQXuO56E9QpzVo3jOoT+U+BAtfnXKCScAg1
gZ8KgOF6pw03hjK1osXJhKkD1OVfgcUEpLbugddGpX0F67EJPNSX2z210WbUChiPwtiZIAt+rTpg
YrOa1R+9OOp/3n76GhFvtZkVKXlNDI3iHHZwlIdBorwB9cZ1FfhJNZUMlC1A46ad3t/KAtG1IV9t
bluYP6JKt0YtR4mq1zjocR0HTeJS5z9MnX8dpbkzRdffT9jtaiKfb3/iVgOuf3/11sWD4DTvTIYj
QW3SjjtOKgpYhd1++tYgsKaBio5xkbX+cHVdMzZwIoo4vURZE5NT02RZt/Oazbazp4O+Z3Vc9MOV
xOH0qFUjBNybg7x/jFzGsge9ZoABUoor8ISLnAT3MOLIAR7I4dq+8yPWgf3GYLE1Un3YNhMu5ror
2JDj3zCQQl0fE+BtiAVZbhTPiEsVwmKlRF7X7AT1Vu9ZE5WDfatb4FoLpiOCfPEEgFYwc9yJra3R
b89HHZymUWiQX4UJGUyXMnmeUY0O2375uXDib4eGCLHmJQp8LwUvnl9XUwZygpOn/F6LRpNzlzXk
/11yN2/VN8bhaub6epRHEtXcyBLEKUxA8A4Bj4y6MgRuDaQ73/6Oja4g9kykm7kBGRaudFmrXsIg
cN5nMJzfWe82+oKsf38VpqbJfEacKksz5lHUdUF0hH0/ilvOuusESv2RYO13vmSrsayJKBahqiLH
jVLRFuARjNj9Os4C26M4UHe3G2tjMbLlrF4AKYPsNb8aN6MFTKhwef4A5VGrU3jL9fIikMmf7o3G
3uTYG62ZaGxQvCVilaWFI1bjdUpo0o8KqgEY0WFNAkAP7o4wAlZ7IrKtAWHNScpEeZ3T0knHCoIe
GLsoiSrRwB29nRV26wVW8OcwsXZNhQl7aF1YWBDo0KpzYwSwa7fbbGsgWBNA6S/+0JdOBpYgkXcV
YIMwYZzMYwQzvp2BsPENtnJVwJsdxvaw2hkFbAVGeEqhcMPfE3BsPd2KSUoKFrpgyF8jU39TqsQC
F+p2J+O59XArJBdlCu2Tub067jx9oLOO78YmZjttv/V0KwjBs4GLX4aUAYqlh5UfFV+l9LzL7Z7d
0GDCK+LP+STmNbw+s8ZPJx42f0nmAGXSQ8kbV1Bj5zB1hWDVQNsYgKqM2nwfaCBU+LBSlVcZFcO1
MFV0B2e+bwOfd4bC2m5vrZ9WhAaCwlagBTsd6cMYwcky/VP6BX+uvCr8DWxjFe6s1BvjOrAiM6pn
jSopJGF6IsCAhpHNewYr6Xs3K7JDl8OhrSAFNSF2IKNBiofETYLLf1SJa9f/wvky/nu7D7e+wopO
JGUgNsDMeQXft3+QsGuBFLh2rzNMb3a6ZGMQ2gLRzIenOAoeyitAfmq6a2uDMiYO/2R/Z5Rv9Lmt
EG2GiYre4AUu3KxeKMxBrg62S6d+qOgHWK/tiVq2PsSaCMpi8THJZCaV1QCjJdr5WpxRcb6wnZba
6Ax//cBX6zOKvWcYkY/lVS1h+A/8Psi7qWYeMrkNzNUOdbitE0V+qw8Btyqu2QqjnlziwipNzxTw
+C4Mfxx7iTUxsIEzpPQy9IgHwwEU9rdlcfYB74XPII9gOH/7NVsdYgU7EZCY+K4pr8HUkwtsqcDS
dFl0sDesAK9CUnPYhsHaNyqjdzDN6T7gnOg91yi+/+vYB1iLr69iU+kWrzCD/0MAAZpwQd4fe7YV
2TXXoP+xpryCkdh/jGBdlAA9Ph6bmmzNpzZQLo5DWGAtFwycro4MDAaDTgan2NITe9myjR72rC13
yckiABUsrqGbw7ujiiLOT60TRHtXthtzh2fFNBK2LC9h4XHNOAHWchmToSrfEWOetAKe8nZXbGSC
bAloz3JUD6MoBV8RPC2ehn0qYaAYgf0Xed9Gx1+R0p+Js3y5/b6NecSWfPaVwuE1h+UX6sohmc8n
IFtcwuXf7qyOyfJDb+2xV3MVMBN+DU+3HHDNuD3Bz46l3gA+3O0v2Op3K7KNX/rG07y4+p3nXL0W
JztcPAc77bPVH1Zkc4d5cIrjuGFaRFxfOhNK8lAAZvZTepAYPzUkL56FyeO/58ZzRZnMEZL119uf
ttU5VszLCiRuFeLUojzf3PuDcp6lUsVjy0v29fYr1uh4YxP0X4LjVd/AV0DRCtIiSGfkZYjY79bA
qpDP8kdMZoDkSmSzUTXa7iwpG51liz3DENAdgFr5FTchsAzx9PQtnmEYefDx1hzQAdTpMnhnwhe5
jB8pD3BDo7JuRze1cYh0rQnAgIbFRd/xa1N5HwfTfKQjwGvcDf7KF7j9jmTnPRvdbms8+9BIgurv
/No5YXcGkkSCOog8iNEoCb/d7VuvWP/+qtubaZZF5Lo43rdQaCQwBM+ecgGAGIxvpzE4+BYr8AdC
fNXDVOxaua64srkbq0sZN8DXT3M97mwgtoaUFf96kb0KwtlJaQBfnmUUKxDxmGo4dP0/24nhOrtg
7eSkuIVq4KdZfKib1TZ6znbib+vXWyEuFObdMsIL/NUQk3jusBo3i/R2N2893VrYB3CnFXgzMQyq
RPEuMIt7L5x2T7j79tOpLehsDK8XFG/B1kA2IazVAS/IVvPtI799JRv9MUQLmDbhpqjl10B2/0Zd
3cGMzdvLnW79dCuU/VKhwMoZnbQFFxZoDnCOmKuKnZP629FFbSUn3Ki9doKJRTqMgQPFFZuMAPQr
x9lW5gw2RcdayApiXA4uIKu0yGWEgX9VSvNLN+rp0KaQ2npNoGThNVJ2ccrKsgQAOobPVeO3hxKk
NLai1ouMXGQG+7FsENgUUFVKc2IRXHxgD4RlYaeJtnrCil/4afrwisA8B+vtf/lKnfN7730PW/Od
KW5rIFnxi54dcS8LP+cBphCJJzXqoLPoWCEdja34LcCxF06Py5IBWIG/KjghXwa6OrXngfx4aBDZ
ak22yKgGEzRLda+Rn1b9t3GW3rHmt0Wa8H1GadyChwuPf/Wi/pE02QuB9vf2b9/oXVummQHbB1vm
ml97aInvR2gaH7EHW65GzXta6a1XWOdsMIFgctv6WRpMy3M+tw/uLO5hobZXfrcxfmyVpoxgChQU
RZzGuqzedX0z13C8WcE1t5to6/nr318t9CLgCmUpWB1FZegLkMowyBSjvhx7uhXFLSE6NjDCSnO4
Xb9jDZBIOewGz7ef/vaBi0ZW8DbRrGdjsDY6rYZfYw3P06pn5lT2D4Cxdzsz0VYLWRHsw0hUe0WP
MQobAyjfezAIeDEb92APWDHsV3kL9ciAFb6tivusqN7rBajLQ01kSy4Lg9b2MywBXhHoBA7P0Fdl
4bPCjHSCtcZft9+yEQS23NLvIxiRoj4Bg8iV37veq8f3sKL1o3cUR5+9irONjrDFlmXdBwqsiCyt
MVucNJ0oUqXM7HTz25t3amsrw1jNBDU/aCkqyT0FFO5ZFE57gmn9pW2i6qvwomxnA//2oYraCkva
gLs4MyiT8hIuzyDlDA8xdEz3DFnwS+i1+h6OLwAq1G2wE4gboWKrLucWUyGRTZYSGn6iAe6aZM3v
gFf+CIO9PdXtVgdZ0Q4XGreKG9wJ+lEhLsXkFeeaTnvp+K2nW9EeFNiKlSSHh5Wcg3M5xuwc1ACa
3x7CW0+3orzTmQgURIepGnqWZiEKv1Qd1E/Hnm7FOAQuA2A5uHoD/5uaFBnlVp9QNs7KnSTHhuAA
VM0/53EOE4qcZRhSYB98n7r4m4zhyB87y2OtZ5h9tSsAwv8yz+WDm5l/b3/WRsyE1hZcaDC9lzxz
UtRtdQMkqijbeZC84uO5bHJQD2CAGwBaM1Pj73zoxlQTWhtzGTtUtoV20txX8mMcK311AU3+5DWA
Ydz+qo1YCde/v1oSA1kEC1KQcVrMNbATVPogPDawPvzu43OedLsMO+23cev1PzRVEWWYnxfsHjpX
hDm4Lv5QXaDxb+aPoGw2HzMHoLv7rmrh/+5oBntGMIsBi4KzGRYk3uAO7AILbhc2mlNBQJ6HV7UL
NlC+q5raiAu6/v1VY2RylrpjNE5bYEbh9GmGBGv5XkHhRm9Sa8YAiX6guFTEQSiY3jkyf3SL6WFW
/NgRxVaJDuOMZCmHG20D4f/fg6xQseYy2b3cHihrbP1vbgxU3j/bJvY67nmdiVPJ3QtZyM+BObig
KL+UK9yMetmzbOf+yQEw/vYLN5ortKZAeKXjtEIEeOKwUV1y8xTG4kmLqj+2FQmtSTDAPTpIoBIe
mYB0XH261CkAiuPO07d+vTUJCojLRw5Ve2oAEyvAbQMY8hkn670E/8bzbUEhHLsoCAoK/pei/jR5
IIiq9o5mYidYtx5vTXa6kJC4RxX2adkUArvZlTA5mgYQlPpjCg1qiwdDAFCM7PAF8O38VfgYSCCr
HBo61JrUpIJB5zRhpoEte3BhosuuCnzIC+jFfGd0ro96IxxsvWCn4EeXuS0OoxqsBjiXFteAOfFH
NpifYEXsXZZvLDrUCoKgy0AF6aEG4i73LkYoeB0J1Z0CsPIufomKTp9Pe+vq1vRnRUSU55kgQ4/k
YZ973wHgbn6KImM7m46tIWVFRJmNuKfzUSFAUUoNQouBJf/kdOkS1nsbv40PsNVsMeMtNNxZlPYk
7L+QLPQ/uMgKpbdH1UZf2DI2HybiGoRGdPkiYNbRT218NXwYkcXl6gz4VVUnYmbOzgyy9THW4t84
/lQ1CiHIw3BOB9NjBqxJd7n9Mf/dBL4xgG1NW6FwCax5jfnc7cbfVJuawja+ML+XCncGIDyB5gae
XTh7xcc4EIzf+zl8Z08mnv08RVHbLzbF1fCuhP/yu9jxwihpQjLJ87IM9EsxjhHZ+akbA4esf3+1
Kpe1oVNvmijFNWnxTYsy/gwpK5z0w9G019vNsfUOa+U3xgH7A3TotCnIdBeTiQIJ2cK1HzS0nf7c
eoW1gNaB4KVeFEJZFwVo4PwJIIh/QVnc2XZvzEjEmiqqCNwcOns49Qz8oupcJ0igwNddwVkYhgzn
2w21NSqtOaJS3pJF4LGmzAOvBlC47uIWYEEce7o1RyjJSs9raJYi1YG9BKh5gBkz8en20zcC2Ja7
4X69ZQD7xWlFyhN1BhQe8RA4RbYAWoKD0Ojxl9tv2mglW43MQOorGoNpm8Hi9IdbcHnn93n2+djT
rZlhIp12YIaK7+DRC6U9DLyzKP9y++EbwyhY//4q2sB7rkCEwLIc5v7j3Op3QeADuVrAl4jsSRu3
mseK6DGEY3Q0Y+vloM7jjsH+6r1ZJvr19hdsPX39+6svgAeM77sltl5xQGDEX4Ju2PdZfLn99I0w
DqwwNotyKOknSFkzJb8F8Jv84S/w4BaDA//tY++wQtmBJXU46jhKTT3U913TAl1Ju+kCEukxixZq
S+SqJpvbrqURcmX1A0yrL8Srv7NG7LTSVh9YgayJB/CP7OO0XkL2yEFZvM/6yj12aLWVcRFKQURY
YfPFQKR8MHBEfa/h0HTfeDPELkgkxemhjrAVcrrENSpzGqR0+fij0c1fjuu+Q7HLnoh441BlmyhO
NWRYoVdhNu37tjvBKjsDBUJQ1qZtX8UxgG5BQe/RPzC5z1BlMCai7ZFruP15G71k3+GH2UKoZ3KW
dj52l3EzO6vZ9/Dx2NOtmUQAs1CVOWHpqsI8C+4Ace5U3s6KvTFP2Zq/OMyQThg0llMH8JFmZDim
GNkmNDRfDNKLh77BVv05AMB7mQOyKHJaww8t5+XqLmreOadsfYM1UzXGMwWLEITEqe95aXLQvpxr
XKMCiZP8mMyT+taMNSvHb0iFWxWftx8GHX+NG/HUZ/6XqYbw71g72TNWHqrYH5CuJk0sgFrNQvAw
hmFna7MxTn1r07F04eIN2YjJSnCDK/DGv+Rh8XLsp1tTFQp4dNgA7gFiRANI89wUNdBQHQw6j0WZ
LfnjWs2NIlOU5spkFyC4BICGlfxy6OfbSr/eqQe1+CJKp3n039FqaS+h8o65o1Jb5ofsJmA2DKoG
nXfgNxWqvugR1Otjv92aIZZsGKc4RL/SYahS8Ib8dPV33bl42IguW803AoAcDhGP0o5FH4MaaMBx
iN8TVk2nOYy/H/sEO4TJiN1GLVgKZnX5bQWUP+sJHKbbT9/YbHhW6A4Bchd9GYKGVTnmmfn5cHag
g3yEddSws8RtxJZt0+i7k6vBtcUMN0YBgGadyV/CpoD88fYnbD3fil2AbnDQBHsijUCS4xczDIVO
oH8cdsb/VhNZ4RtkuccIR5qwjSb6fSEduc5VxO9BE+HPtz9h4xW2Tk9yKQhqIbDUYO39PJEiu6Ds
qwQmo99Tnm60kmvl2zpG4iIKcGAAFlck5Qqn5QowoNsfsPX09cNe7YhVi5ltXFeAgLMLDg5/+9Sd
d/p3I8rc9Z2vnk2C2dSlwclZN3LiyRD7+X3hqSntjDx5JgZr8vZHbPWCFQuKT9Xi9vgIJLmvs2GX
uRff4yb4efvxW23k//kdYKc2tawWHD1hHPrStFFZ3snIH+qdtX7tyTfyLa4VB+PS1topkZsKwbVz
HPJOR+aXWOrvuLO+1hE4y7F3cONlhYRX8gGy0pAhaRhUDRgxQw3STJu77qGuILbWjTkZKhI6nE+E
AY5I5U06e9HFZOGhSZXYajdiglZPM0M0GORjznksoYqCwS85RqaAdf2fnT1VQ1TLIcLGi4GpLnqX
nfJ42jPHenukouj5z6dXAVQyEXBbKS6789MUVX/NLv3GUDq+0/5vxxxZeSevY24MprIXBntfEB8/
mRVe38Khv5NhcO/M7s7a83ZAEFvyJioJHwmJfJVcHBRRDShSczNAJ26H238a/v+NB2Jr3jI9h3WT
aVw8VnHOYY9H4elkOJv7JPTg2PMYeWCtQLQMfEPdRnCXaEUdvvR97Az/orzB/4vrHtavGYn6+xJK
mF+EDLF3iWLdHKuTAWLmz3ZG3a+WQAXRNHL08hCDlWgSbbTeq2/YaGJb5DFXJFyGoKRIE1VIrkTu
TL9PwIy5l9uNvDUQrTlNNFOgmsVEKbCNzXJm6L8JzLs2nBLBQBTZWQI2PiO2pjYKU0CDki6kK1o1
fs0CX31vFh2+HPsIazaLBuR+OfcRqyJ/wpBBwi4oHvNCfrr9/I1fb2v+xnl2wn5so9StZxDC2rB5
GWGstTPtbz3dGkIR4DOeC71QmgeCxKc4Lrk+9ZoB6nbs51tTWQHMed3DbCdF+in+jY3h/CVqA/X1
9tM3RhDwSX/MNKDj6QW+knHaA7/3EGjhXlTZQF6YReGhIzaxRX8ZbHZQn5AjXZdVXKKgB8LsRFQF
jY4Nz2jtmlc7lNnHnVyMmv20gyNKygzIDm1T7LlfbLVQ8OfTuWBxBawaVA0V+Jw8wCFDrcLmne5d
u/GNadKW/cVu7U/MbWnqdct9mAELm9d+ygbxkDcjP+e9PrTJJZEVxEHeGq4yh6Yom9dp4+DyoyLE
/TDSRRwcTFYkN7p0lqIesKzrWn2lyvGqpC4EKIGYQJy/bo/Y+O0Gs0WA9biwIM81wId9S+/1HJDf
vhxG99QrBk67RC21/ozKrizRXVPe3X7pRpTbejowHKBFifBSlxlczgZCngKn37vO3vqkdei9GsCC
CGL8VWomvZesXmAVJa9xjtS2IhdYm58ZjraDt6vR3BjRtnyunv1yHju8jhAQHhIlNSxFnYE1cEtl
ZGdW32oxK2yWaQBjx6AYg3S1uisi4F5p7+u/b/fHf6fXN8KGWStfhGtgoqIoTDvgfSfq3s26OY31
j7mWicrGJJrIo/T7+2UYk44P73CtdUymTpgVSM2CY5wu2frq2cMtQRAnIFjAxGocsoPDzQqkcC7q
fohImMJQv0eqMPgnq+JjrkH/cfZej7ZCBqILpEcAIq7FBa6Y42lQQL5jUfl4u3c2xrOtpOtNR2YJ
x6U0oFkieH2XBQC/drS8lr4L9o55ipfoXAR7KYit0WDr6LBxlEM+ICeJ/FUVpnXltt2lBOizBxvS
MeWp8CvwMqu+jBeY7Q8rEDNbUC8Xuk33VVd+iaIz7WbzIakWsUV3NQ77DSrtkXIMIe4rSxhD4+i5
59m5EVq2JSFFyQVUcnmYCj3cYaF7qci4k1LbevT691czEcqKY7VQ5Err0MwXmB2p0zjqPf32f/nc
N6LW1piFbitmsmArhhq2aLpEc9Xw7/D8g4FLBPdfkUyF430MeTE4ScZIlt0DBgS4rJsPLkuc0HGd
E1hdHj0Xy+h7d0Mew5+uKnzwu4dlNj/dIGJnxw8/0kwuoCxjl9qdNCwmw8vtob0xd9qitaGAoMwp
Ipp2g7h6Wf1SGJODHQ0g9O0XbPWANbsUHXNDkIbXF0y/PHRzgpzIsQIhElrzSrWm6vgSUvgcjfAn
jH41C/8ce9GvQ7/d1qzVTAZuPOBYryI6om530GendvcKq9ct6RuDx7a8QxbQ99gwhCmwEPIDkkNA
2BtYyp47WKxd5obHx2ZfW7hGi7FkIMRjp6SI/1Pg9tE9VQHHmLzdTP9dDLz1JesXvooy1IlCEwsr
i5T7QFxeHNpO9cmDovOLB7eUp8YA2/tYN7KV35yhKDmw3n77VIaYuc6ghsBahUKkM4OYNEfOSfJp
aBPwIlWJsZI3EaxSsSU+g600hgCMzHqvwGmrB6x9igO+dkEySlMpi5d18K/Dh3ElkrxUx85TtkTX
8GxZitZnaYXCoAW8p9CfTsR35B7bYCPAbJVuF6gYwk3kq0dJYOSLHc99nfvBztK39XRrXxJXigPi
4tJ0QWoRtnRx+wC/3fLYhS4ub/8cOTO8/bDUradNt+S/dD8gp4Vcsrvn+rAxvVFrgmAYSlJpQ7Fm
EZZoseoHahYnXuYeuxMitoYP5tKoNwplmGY59iGJhivRdwDaq0NXiTDntVqIgbxXjRId0HBxH+RU
nlgo2x1V6Eb32jZ0PZhKrpEjRQFbIB8WI+srOvyY9orYkj2Q5+oWumKS9h7Jz5kT03O0uAcPsrbM
LhrBpJEtxk4Au74cTtVlwxO/awv+UNEp/Pf25LYxgmzvOYjgF1Tc4b5s8oX6TDhzPzF/Ln7B6I63
l9vvWPvyjfmTWGcLOEFCzA0CfDoM7Ac2czUcQ90OXsFLUxHs7HL6e4p58dfEtKd23rnV81ZgQwyH
a3aszamO81ycGg8O4NgyD+T37W/amFuJFdmOEi3O+rgJBPNQRMkwjTQ4kWWJ/wlZR77MECm83H7T
Vg9ZMY6yWpyV8gFJyaqQTwV2NH+HUNJ+yqqwPRaEthCvoiHLRO/jTtAJp3uKnB6u1rxq50Zz4wNs
8V0b9ePcuD4+QLd0OOVKZ08wN4v+jrDX31mjN4ZYYGfdiCxCUEMpurtkKGQP+fJv3vmEJHTpZ3bP
F15n7/WAH5IskCbtoaA3hoGtzqujMsDAmjF9cfIh7LsnWbPzgkUR++GS7+ScNsZysDbsq/0H8IBR
XLQaOafQiz8EzUTu+pruyXm3nr7+/dXTY0IajGTsYJfJy99FhHvXKafV5fbo3ciX2fK8fGyMalsv
SOeWTacJPqMPIYm9O+Czp8sg4+wujrLyWKjYVnYBCcu5hSk7pCN9PZ/yvOjMGT6kBQx2IcvYQxVt
DWg79vU8wbyeB2mEYFx9Nz4HVV2fChMdjEcr5GvC6VJyFaQDLeb7vix6QHDInjvbRofbar2szow3
eS1J3a7q7yoFETnTrri73eFbT7cW9B6++2D11iRdSyZF4hfK+2IAO94r5Nl6vhXpVQ+zV4fj+Xnw
iSyseSJL1B3LA9gaNqggRi/nJbaZgwqhPCK/xxV0fKxhrChGwhsOQAN2OrpYykevKgrU0nfhzk/f
iDPfimLVGeO1Cnlpd+ya5VRm1RJBvdYtCAZCZnrHXBl/y5Uvf97+nI2CBWLL2LIsLKbFi4K0moou
gq59gjMDkqyOStZ81fupixrgB3wgGsdzH0xAYMCVFbigc1dMRCUENILx4uc4KyWx9sP5VIYwLMfG
YABKNitdOD2hajR4iBqZ/779ozcGz39Eh1dznVMMLVIZQM+jSEhe5syl57oRxyxPiA1jzks4LYHX
GqSa4aIvMX1bySTsyvngccLW3Y01rqkaV2PikeVwFt5ITk7bmvOhxvGtWccvidMtFANm0b66oiiy
eaZNdQyOQ2zVXa0jBt8o10/hbSPOgHPIh3bB9UlVl3tmaxubAFt6p3sc+kVHfKTxqg/zRCAy84v3
4TB+yVpoCBui/Lt+9z5+YxWwpXjBBBlSyNoghaFOcK8nxz+ZjDTXCF+V3u6Rjd2F7benStycDHCM
h/g4btiJtFX/LXazTpyCtoSBIHHDcW9R23qXNT2NsNAZpybw0pbW0zlyG3pyG39+HwCD8DNSwbwz
yraazZqoQi6z0mTMT8dlkbjCgLOITKJ4zINTL+tRHZttbaUegPFSjetw07jivYK9kZ1zaEt2PmL9
sW+caGyRXjO5KMAaAzd1mig65SRkZ/TNnnh3qyusQKxHw8cQV/gp8FctDEXm59FV+gxaBC5K90zg
Nz7BFtHVTs1GYH18HLwN+Yrq/e7EsqD7envkbj3d2gXMUV6RpnO9NBxK9bUndfm+Ms0eKW5jsbN1
8qqNKrN0o5dG8VAkSy+RZZSjk02JM3L3i5sLpVCg7mQ7pZJbX7N21Ktlowh8OpdK431aQ5JApuaE
a2a5c+G+0d02wlhTAgplKb20kkV9ISF5FDW90zSfE8YgAT3WI+u3vfqGWfIoqk3vpcLh4vMMrvEH
Ouq9HOlGVLvWEX/omB+zBt8w13Px3hRO9Oh23twkqCo6qP6x7e4WVF0YUG18bLs5+cQHWb/vQ9//
cax9rE19PkWqx77FTYFor+8a5LrOXl7t8RC22scK6QCLtsfCyE3N2C53dRzXY6KGOXsAbARFEkc+
IbBlgPUcwZvMm9xU1152DsFPe1yIOsbOC2wRIKMDH6EO8FBpSPpv3FnaryjX202Vvt1CgS0BjHRH
O9VliDGqB7DJ6HjWgMGhCLB0d45Vb99zgl7wZwgwWuJg22p0sdOzrx32pCejBE9CR6tHpwhaINfc
6mHsVfV1CuY9penWl61/fxV5zKl5XzSYCwtwPPxkEIL+jGdP5icDeJ253O78t2eRwJYH5mR0OOy/
sCTNwXzvebq4OKheudMLHy6tktNOwv/tuTewdYJLUXo4Tjhu6lVANF6XBqBbFI63U3XJJtaKC3wJ
Sh+GwOsW9fanvT39BrH/ZwNWcMZTfdu6aQGiJlJHcPOSUz7cHXu6FfgLYypy+Wr+b0b+oRsd76We
Z70z5rZ+uxX4U9Fw+MAVfuqxabgImv8ElnPZaZiNPrelclQIf0T9L2KmY31qXCe+Nm21oC6RRU8w
kTpmGB/YTnmiRSWC33A/HRqC/JmYu9UKfS/RHdBoXSb+dz+FS98/e9iJWreBj6+fmoDzf12iKXKq
kZzLeoLZRT1WHwqBdMI9NZUyiRnmGUdc4RTL56wda3We82xwP1DNYv80D22jLvBwNZD34UScneCI
AmpEOVIxfotRt+km4VwSdXadqUwMrBVknrsnEqGWQJffx2F+zFjWPOo4yJ6jYJqfwVIaT+3A1KlT
uUmGSFRY2HovcaJeJyjJeTDF+N0TrknamFenKlfiFNL5V185QCgORD+ES9xBkt+9R17HnGNcY52z
KrtqMuWJUzkiCZsuA06N+Zc2BsWxm+tTBzWuGttvHXWdu6rq/1GBNrC6r1CT6PDnQi+/W5GtYDzv
hc7Db1Auv1HpfpW+Dk+VPy2JcqU+eS4JT53U79rRhw2bR5o7BwXQ1Af/FjLf9sRL+qA652OYB8O5
VeFHEFdlMpTD0yS8T5VHv9Y9vEaoj01o3Yf0NDABGHPo6hPv5p8LN+LBcc1fEUokLywGrFN67deo
rl7yuPqg8P8X4FaHs/GNSnvZxidRz0GbVPMEUJ1TdUlQ6PmFy9FPOcGKUvLpvcno56wwzn0OL2Pk
8IPED93nMp7qBCbdX1ugUE/dEnHcqgpxjhh1klENzl3H51/dBHfogrhdMrmhhIKFP0yxKZKCwSBu
DH6WNNOwd/d/dxl5dklDn5xuesAOqYAzWQDxRxH8dn1HwGOlrlOp4sesNw/1FD+A7P2L1ss/zkju
h6oJUkNklBRhDcJ3tvhng41pgtqmDp/YqdOQVz+GMvLOkyJzIjK41IFbVN43DL7pSOzTK4AszUNu
xvzsFYW5BEH1nRX5u7EdoySUHk0oBYaD+Pm/OidVUvo1f554/wnmUCU0iLRJKslE0uESOmGl+AcO
TfNZ9rW6sNr92jNlTug2A9BmNSVz3JmrGacMF4RjdA6muj57ONolspQvPp0+i2z4QB0Pkl6JHC3i
KMJdLgQTU5R/5mA84np6rM50gSe2C3PglC/yswdbsaQb4FbX5YtIeubJd2Qe3iOofrPevTLOotOw
lvgrYJsSF/P7xRlblfit/FKTBucnr/81UfoDtVtIC020O8EMFX7DPnpx4tF31TbjpXUr79IjRXEq
SN4lRFd/Cz8GL9aZkGkRSzJ6jUTQtb9Jh3MeVMRPA/GeVR0BuKmW+5mr9hSz6h0l8R3MYqrHZfD5
iQbITGbKeZzzerkOy/ihGvNPi0M+LSHCBhf/bdo5mPBc0f7j8SmAZLgd7roxwt62oyfKZHznhPl0
9pxyOeka6qW+584prJdf0ldV4qyG+YCffJTC/fp/HF3XcqW4Fv0iVQlE0ivhRB/HttvTL5RDN0gI
ARIi6Ovv8n2aqpnucTgg7b2iSPnTGO5z1aN3Mm9xPBWOQjSyWqi/bTNHh6Qevq1ZJTSrBtqYUcTo
TYuWQiHlJPdON0W4w7mbhXt4YqNoy2GP2sO8u70IUDFwnoLEoPlzpwXpo/s+adtcJenXsCdv81TD
fYKgbjwpzuULwmWOQYRQWJ5t4gVwUnwZHbEiNxTWkZFx+juAeva3qSVaS4M6QP6ImYx44mh9jIp4
tOG7iJW0UEvNyW23mbkIx+TBQkrybCacNo7O/VKkETDsIkXic5svJGkOeP2bvWB0IW9yQR132jDT
4GMIzVEFW3QakSx7odNATxZVJYeFyQg3ToLvovbOX7rtpyu+DnCAbpBQnJMoml/ivTOm4DW8ZiEk
kkDexn24o6MB1iiaWEQ5W6FRypFOy++p090/37bxdR6h2cjtkA7HAQWTZYQvK3KXsPYau1CcljlM
XR5gJX8kLAr+69vFXqHb7//xdmqeTDbGL0GTSY8u7CB4arjd7zXDNFtk8dg/RVlDvqN9XX41ek3x
6WbkIfaiO66oYWlwx8XyandIuHM96v2Wms4OtxGFXKjiiZOe5HPI2B1P5/VkmdjUoSGWnbif91Po
rP+1ZNy9zqg/viM7TPE5Sh9lkvfNVpcm/OmyGPfY95UJs+lviqRzl7diG5GdvyNkcHP1C/nxv+KE
uG/X+GuaIUHpJ9sXgeIyH+fxa6+n9bkbN1hCmHV5SKl5HNHldkFO0A1Oyz1n4XbMkvB3rdhLhgco
R/ifweWFnwlNaboc3fRGQhGWiLgB5m3x/MWZfvct+fJ4kK5RY5+c1FBOIdT5V0drPCRJKi7o4Khz
VOGE1UgDmvc7zBI4xp/jLr3UcfgG56U7ZD3SksWu94uw6ZhPaywLO6FeV03g5GHm3nDsCvMI/XRU
xtC4FrjyPqwUDx0Bap2YdCwgFA6ue2RQ+ZklvmDx8CQHFFr2wwQRvAZZ1Uz0Pk7CAXc5XtYJPZfn
IVX3M2pJ4eWof21z3KOwOqwiQPzl7MYYF/hiitCLPQ+t/rINh911T2Th9mXBod7PuP+xhChijz0b
RDEkE8lRpHqv/NwUdadIAcqc5J7Dn9YP7FWo3RaeYrwY3Nafh3b6ADOMQqoGhGeP6STf2XxcEwz+
U2Z9IeI4K1YUoJXQK/8ad3jLpfLIDaPqIxMLKqOHualGGbwhBLbL2yBQ0BbrqFzjVQMs5UvRE/Nn
roNvRAc0ue32veSGnJJ4zNA038lyllACIpfwrUc2Uj6o8JkGbLjAWAH56Bzvt6RXGW5aJneEBenf
TTr3+NFMemg3th7GYexeIuhbcz9vx77R9LDgfoPGpL4tUKX+3VZvclzy9ARhQnsg4ZgcJqPiU92G
BBg+PC08yXpVZHZMDw2d0cmIJp2mRMe2kDjldzk+DR3BezGJFRRdjy6B7hYPTJtTBt/6Qfif1wV7
4U/T+d7Ej2yj0wjPANIki7iz6TMesqUMQ5udGQ9+Vnehvxc/yXPSan+CEnWv9rUxHzRpxyIdMveY
LRG7hLXITrvww3nisX+hLIwebLgNzzV6emUezjH5rIUdnrcgqu+Ry5kcCJ/adw2v7AltmfUzWnfn
cgbe8VDzVv9F1kFb9e3kbxln8xWRiw0ShSbQzbrux6KmkqvchCtOiDHzLwOLkOSW6f667MtqcS2j
Rnz1lF9pU9Mjgn3WakX48tO+i7V0XPkIJ+PkbnjWw3fbdPZXM2K+GZXEJC7ZCmvePuIVTto3GRj5
MnsVVv2yZ3DHMlXgU8HcJzVQMWMHds2Ijw9zFwd4ZPft1tixLh1L9OsSiOyihrgVeRa38LDgJr8b
GjGKg2dDVzayyQqW1mEBg6YskSHWHBAGFYPyDl0V+o6dex6OlWjnj7Em9Zd22/al1ga/p4aFVYJy
2k+erPyBAxHEk+G61xl9Nc+m78wh4/VQdVy3RzF3Y/nzOd80KrwwWaQaAtGanOzWTic1ObjYIoOY
HZasFziYFYYdDwkrSPKqRb1pgZFnK83YR2+M+uS64N0tM8uG+3GZp1KQeQUP0QePM5T6hf0JpHPd
mkInmISlSxPyxNM4OakZLFTuNceR2dR1+GbFzKcTAnnQ+j4n81qh1FcJNJmmY5fz1tLfyYw0o9zD
QHqTMiWXnkoF1+FI1zysl+ZR+jV+AoPsvqNtpm9rELOr2oL6Ywvr4HcoKA/eRNwMAHx3FaIBwO6C
/Ek7/DIPU7DXuiDEzuEfyQO1l2Lj7WcbDMt4E8E4jtWwwyWIZGKk+hWijck7al5rhf2k6X4L1hH4
IBqANpdgiYmqRON0nWNYZ1HJusZtFzzmarqwDOWjRWh0G9N8ZLX8F0Gcg6OcdHAcqjYV+wn1kzTK
LY9NW9odjnvMqeE4VWvA4YDohrYpXOSm8IT2AuR0OHQ6679hh+7zq112WZ9UvQQkF4tY/qToO33o
0jmGV3xaZHJtoj3xB7ORQOYCc1+bmz0al6fFR6H7bwY2vhVQlGBOGrSd5TnTAw/ylaS9hVQzxJ2l
UaKGoknxY9ybsrSDF7FpsCKhb36k5b7VGx6/Dh/BM8E1hITa1qBdAbZ4ro+BbdNvhUD1tYCZMhju
9hA6iLKOWt5fItdl+jKQORtz3ZNgLvjoJ38f1QHrYP8c+N0QTBgMxWZc9BQpBicrWn6wMngez7g1
01nQviLGSpCxivgXPukePQkxA6+dsci7gyAsiA5Lsm3PsOwT9glVKijpMJ7Qh4163khWPcb34TBG
G+meJJnAo+hN1nU5mCARqLqf5FQs4ZKY4xCMbPik0s0UEyZjAVYPL6h7Rmgek5fOjAL0zoSEmEvm
ggBj3Ipg25e9U1t2MaQJ+uO02wkfguyF3M6aqyg412qcs3vAAKkIcmXXkBcrX4nNHcPHlkNHlKCo
cZdDi/WzN9/tmO76tsfx7O/DRKNCPPe0bfdPpplsi5pkOBCINkF26RrtspzHDrW3YP3lhDwcHO9V
uM3YDChiMLq8I606TWHdQJiOMQE1j2vvcHYhebiuVEigGsVNiLeyEQvu4WUF8/fiG0bJ+09NNju4
MMAwTTvJsPbuY/ToaseQjwz6Io9XktU3tkehKluNc+M0WL8uOUjxvsPTLlc8VKLhSbUbaQnQjlgP
5wxSZPpZo+blFnc9tTlDKzAGpyyeW/xMI/KIvAr4fqBohQqx9Ada4PH2fFryZHJ8xds7ImsDJ/8y
Hmwwz/+siJfP2SBJuVwRWVufpIYs/D4ZSJhdwhDpfgXU/NuSY4xj2x36v3xQEju2+iaWPp6RIJGp
/qznug8qty1Mo0TNjO4tlXvAXkPLcIbhNl/3YrFNRlGlqdLmksQM8cYRwT+qGuHn4V3T0uHJdhy8
JtbN2h5wK2PvY8x18ibJTtKLw8AlEWnQoQkcr2C6nOGSc79qq5LfRDRLC6QmtHGx0BpkRIEOj8Ye
sEmP+5dfWhbdgzxtx78oCgncX4Su49sb0JtWhRnh4iv0Sn8EMfbDEkaomeXxtvvlfqLwjz30G9R+
hU2yjDyi/tfYMquFExipqAZZDmfyjssgjHAvQP0NhGkbJDxGq9VNuWOWwVHgRCsekY/RmfeGIsTl
InQzfm6SC/EU6XBCi2Fs5r4atFZzke31sF98NncBPijTKRg9xc7yPVyZv/f1uO7Hpdc7uahk735P
jZibp2U1C8udW9fxjGeHjfnuBW9L9JnEWxX4dViP4dQF/9jY0r92yfDn+gBD4hG7nU3vTGoDhe17
xVnke+fi27TAp3F28TzQy8j85s+R6cxyoFFN9A1PTBA/g3JwwK7gFY8KFydrVCXhJFzZrRS7PMOr
/gdNs3b/Synkvr9aiJp8Dvi4i44ZSzgyEVOHpPZFqYRC6EQt8ou7tjfXaNaZL4NgTkWVrNto7+LE
eVGwJCLZWYV9QhGLN2ThcQwWLAMc4A02D2JXf2hR6/edWLUOZTQOJsId5Fp1B457Zhe7jTPeYY/7
qnREdXFVp77l1TwPgzsCmHM46uu4w1OPuNc2b0e7RVUmDd8qWD4mLAkIdSA5GAVqcqcAw14xGUTt
XdNhpSikWRdfUkeiqIIIkdwvkxLiyBvYUfJB+BZMJWSINreaJvKKqXmcT1gLI3tc2NDupcKJj00s
3RpxFTryXUnEFnqgZbr+Rxkha5XIKdSlGDr1n4pl8waz7hAU7T6E/9IWCrW8X5ycy6lN2VS2bmVP
8DBMf3/+JeZe9Es2Vdy2pCuTaGjeUyTLBrlPkvi/OaKdOW9hm4yl2acFZ2+rSDAWsbLsH1z9a1wt
4OAM1vgaqFrIWkxHwAUbfd0QU9Af0tlJebQ2HsUFGUsJPhTUjbqwcPUwi8OQ8jbxucRr1FaLRVDP
809PR3s2DdKTcOQmjXlyHOVNBUihILn5bYCrqNntRiB62CiDgWLu1RJesAjHaWlS/LwHizhbjOBZ
b7A/CSQv4QFEPQqipCf/Ni6yRVk7Nv4kJyLa4j+mg9PxkSGKcDtEiKnpXqBRDdIGUBmyDwojZvec
ygEypDhGdtEvJWNpTqqBFapauFLybCYkWH4HcZMFF46QYRifgr6T76i6Vv0B53MCyNHoEFH0eCGH
ijSSRqVc3dA84AJDbbQkJBt0jjhV5MpjAAHhf1dDtroWO2ot8GJwyacvPbBkOPktFRuMLYMfrghR
3NjPSbi3fZHg+jI5LvVR5BzTJi5uOcj1CetmiP9QS5Azhx5g4gMmuqE5GEBMc+7mbdjLKYE+/txi
WgwuEdHpdBmArEaXPhTBCf3T9k4hilafB6Vx9riQeayfE5ycFdMBioWmMWYgHYa41qfZ2C6FHnqI
X9bdj5jT1dAlAFjiGXBHt9R1LmXYzWUSRDGg1lUZ8z3HjpISv01RP6G5DlChHqL4ZYAlf8AVApSz
gs6iCQ4gTmecivCOyRL5Y8Je1mys3wWu0/bWodE2wnIqpjRHQrLn9zEXE8TfezC6fOTZUrImXK/o
01j7fB7W4TRZHnwDEaePALfT97DfhwSX5zpVWzctSLNXk3/6GXKHfG81hEoiASqd6pk/tdO+Dnk9
pgCPRdShmDRun3mcMAS80P0r1VnzjmtluUp04v2qSUAx4go9HUfvJ8yT0voaCzRiDGUfNIeQtGmV
IAfrRtehnnOcSnh7I5z5aCybydUEq6Q/+GPXVkbV8lNOKzCSbp/Tu3ZA4kshHIkBH9YbrfqaOos7
ltMKBmj31gehdliKTPymLLCLeoHos5JGkiqdrbl0+FxBPmSG4uGpORh7K9FBiyDZ9DDF24rdGiU9
8DxZ97CzcHqtu94fYmAU+tLVDYLaA+eALEUkfOeN8/pgp16BeWhtFmIp2IALh1nodkw82X5KPFax
pzHqp0sc1NiLByp/kaFG8wgR8rHWMzlvJMRjyDN9a7o1RllIksHSaNd0wZmnw/tIgEFoloB+oBXK
HdcFluufI/tVyi0uPcjva+wHeRfi6+KsGduXdNrYE7pG6j/UDP/0mLXFskabyzly4U/TvlCW4wJc
gf+uHIcESZGgzHBJgUN77XwEjriliUPM17TceRmmnyYxOHC6MT7wJrKfatb2j5t0c5mjdv5WaQYk
fsvCGU5WbED5luntlmJJ+UCQbogzc1uNOuy2hw8ZkaINK8J0Hvey8bBpYWidXJTvSxz6fNqDtj07
kams0qbe1vOAnvv1gHX+S3rxKkVkKvjs2H2QeJUVAbxY1QhhPSZB7GuHdBxmWnlYINMc71sIfHhf
XzLfdO8bY6rkMyKommxpX5AZrf+N4GC+Mj+H31p5DK+boh2upNiUdLIKO5JazLld6fOcEZC8gn2F
uKhvEI+BcxbR/pt1whTUcItchMiVirERrUs9L4KV1K8sFT/tt93uK7M7pAa2iKMCa7TkngBZSlUy
npRiHMACqnfx7UaHDYtaxXX9Z6R7DTJwzQ4b9QLgkVAH3L/zO8xImF+g6b9vfH1Kt5hWdEMtQUx8
ly+9gzlfpcsf2jXkbsGvrZvpelV0X0/OaeMqOAYImCK04f39kQh+hggVrywshZW16DSbsyE+JITQ
KY91ln7BLZxwdI+a4YAzJqoMidydQ3nOeUoHfpjFBOWITqMCPCT+dq26SycScklcZs9g34LT3iOK
a8OkhZSdLSlDldWvycjdmdMgwWsZYylPYv6FDm2d5rh7/XtHmEczHKo58Jf9N9M4rAKN5SUFwZFz
RFjnoCA9JoaZlB7TxJG2WE5nNtrHhEbybJ23KIDZ8DaSLnrQKJZS4Nmy8YgCsS3vkazZQwgx+GeM
8HGp8R1Xbl3aFls7IY96mpZrxhv27lrnri2WrGLriczXbsYCHUq9ffnMryeN3po7EpLPPpDp27LU
2y9tm6csog6mflBfg9gEdiB0QQl8Ty9Uxc15j8epyEw/HcZpGt+B7mePe9wO7yB9bFRmS4x7BQWa
ZWLmpK+meLH01yB7PEt0MeqYpSyrEL/RlpBwa6R2xpmpMExF1UIm9jyrmJewbupLK53HzMlFLnUa
IGHmB8+o7QQqJ9rK0Yfsfh4bV/Zq7e4BSupjG+igDPj20WAquKG5vn303cJK+AzcqTXhVvUaq40O
CC/Sqf2sd3bf2gk7TNCxohu2rlAojvoJ5W6OUVj3pZll59BangIp1jWARWDqO5gNGnIsdGTFx1hG
URt/rRNpb1x14WWukzUE7PwD+q9hfQghLS4FCDl8a6JOisUZ+W2S1ucJm7u31YQ4l8AwnVk6139b
GdgrwhzGy9T+MHBwfERv6b4x8EQLVvkiHRtkMtdr4G/bT4NvvCnoRrB2PlPNondURYwOuyQs+0XK
0DyxifBXIIeXPsbQXGRAiwByi2lBcZQE75JuOF7yUSNuNm8YwrzyYJwcIjEU4p9315hvVDX4a7jI
rpy2IXFg+ixq6AG8nE3GajRX+/DQLuqcUTe/kITyt2Bv7KeQ4NomjKdlhsik4+p7AmOfMLfB4WWE
S1Ff+4ik597JFg/JDIKjAyTzgrArhe+QoOdS4X8NjYeZqloloPeywVZN2Lwgl4kfVrJFO4jALL3o
lnOAEUSyKkP8658hCpB7hnKuIgZSiYiKlNzjRTd5Cij/y0eEvkyaJaeI4CA068ovC3ogDjMW+atn
JL0B9rO3YbcgmcLuhMLWpkBsm/8AOtdW1C3ykTL12veBumxy6sCV2/WPmdQTfPJguUaDsixobY6D
JssZE9ku8ybwyUH66HXAuZBLNtUn43BgOb6E/7WqD173biUIbB+79ySS6qhVEGAyBqsBAdr+UVPK
/tEk+zsjuhnMxTSl5U+2AlgdDm6dy/7gNLU3FcTrIUZHVcHjnt07nPC4nYaGnqS0qoRgBnYnxZPx
mP006Wgqh6tHntsZEpHmDwfI9bSIBDnNk+v+bGxejnqJ95dsTcaLD2ZSSS3GBz5aUu4DhVG542Vn
ha/SQUBmxOU7uobqHEIPUWYEL2soNgDDLebqkMn0ARLD7VC3a3NTNf9ME6af0uEHZOLhtF5JkybX
znUg/oDbPEViXA+LXIDxC8r6YsDIXbXNiE82UTGyWiOcg8DogKjBdGUrRBvYb3iiwnvCOTm4RKhS
8g2SZUzEFx4HCYoJUv8WgJ3DNiezuxaR7W9jmw1o4yUVQ/tZ2Ye8vwsDpB3gi7DmS2eZh1WcfSxy
1PfDqp56ukcPMkQ3jQHWdAe6IK5Mv7anKK7jN3Qs8T+xt/X93oGc7MU0nOGi9DdUVrcXKC+DilJd
QWKSPkrMghUhw3IMNG7HPDSwAlMNWmVw9X99ygEeLtvwPRgALVskgbnozgBKXNrKRzqoVgP6T7ez
O2Avru+wcaYnC4TxgPcCdz+AqPPUrvvfbXIITzQ+vq49aGypcZ/TJoIoYHLJOVa7BmMiDsu0q4Pp
DTtEEG29CzsDeJLZW5R0/ATb0XYPJT0vfWdkPjnobqBSAGuDVMzssEBxiLlxX24AIof7jkl7IlnT
XYFTtLl1asQaPSq8D0hTG6BmLixfwDgkvil7VJ79NxlQI0YMqgxrDEAIJAiKdQem0OJ2uUsC/qqQ
7Q0BjjV3BETCS7OgtDMHFOjuwpbLu230H6lpCQJd6n/pHlSDYeo5YIFH5Ba4DhLSOO990B+g/gBK
7zGHta09bKLeTiZZPqaRT4DzbFiAs1qP3o/JPVwWBDhYt6iTHyJSGZ984aWRyCLexjtuqTth/1ox
SnTqCHQ5eiGgo85wwoM+UOl7F6Pms4Z3HasDqhSXEJ7jne7mHKgfYmMHbbJtqwamEbu8xqr/q+9D
mycYTc8ca2zhgB18AjsCXYwuhPe0y7q3/ceb3lLEsdSdJVesHNk5xkz8tC5NcDY4mA7o5oSahmDR
vC0zl08Kdtf3dHPiUQl0YJofxVXdTPoMOlzdhJkeAr7A7zT53xMGgQoIZ1P0Jianueb3Ntn5AVKZ
LyfStaSNat8Ipo6HDvFmh86Ay9xStVw2UAQn0UbvTYBXv7ZuCcuEdn0J0nsss4zhHmpn9RfCK3Ns
Y3BUJJvn005WXBMwNDY1BlwIBvy3G1TCEH0g04vIuM5XL+VfP4IDC4ZWV2uEILIknNUhAJ2JSURK
nO7YDMi6N2fKoIBSAGIklthWP6wJAzTdJEsB9ZYFTsfSQgR6vNN1bO6MVPV535btSJcM2fG6hccO
DuE7GO3GPIvQYh8k4VYsDQmO2EToo89QILTGSTLmKUCE91WCjk6VJuXW6t9+D7uvlG4IxeFL1Fzp
tGbARuwTVC1pnqhalGkd/2UbopSSMPVH24itlDOOOZUpDKV6tgdPN3OIav7fmEGRZCRfC4JdC1DW
6B7cz0+6Cf07EwM9ZAiAes76mt+sT0yRzDMIN+HjC9/pfzFWJWCjFgBD3Z8p/M+FJeIe+ZGYMINx
Llm/AhhFgiumM/3eZxhnnTe/DDDHcluBYkG878tai/4DGYLDQzY2de6zZXuTHcLvA8bEpdvJcFZZ
9zdMlgaDd/IqeRxWKdsYNCjZVLIRSI4NB1qFI5R4GrE3d1vtTgTp208aLXQlMpklriy8aittdkg4
cJgsCwJmkpYz/DhYM8CudkUyLu2Jd2GA2yXs7hjZALMEuMcpDRBbFsu/NiBLEcuseQ4ozk8EVkFb
V2+pO3j4yEo7GHCkqHkrPaRJ5x46hgJQa5Jr1Q8X+5M4ZccNej5wLjmQZn3Wq3JHLdEeYc0Io41G
vktL22fksRHoRrS5bnFE7+Ztaf6EIcdfXSbAbQZh4jpq6sPaJfWb6+GWqesWSZjxPD85XOOXhvR/
Jg5ud549fBdC4c3yVJXjFCcgYDJ1VST8TLb4N0vA9mxNHORBCGUqBAcV5zUka5A/464gI3KZdLBc
aMSSB7jn09sSd+ENhfBtIWb6ZGWynCOoDEvB+VDuJtLXmQKoiNwmc5hKHeruF+AcDbToUdeHuCdV
knPQaBBIUH0GtgulUICIQRZgRW1Su1Q0gqpAoyk0WfWfWkKHAK0bzRtIT/IGCol8gT2iIPC/Y5Ds
m5sVjt9JXIIPMuniU7vV6zsdEFMEtiMYHn5aYHNn+iXB4dQDyBxj519TKrChNUtYAQWh5g7CO/4I
8RhEGEFoEBhYryeP1/sCAm9/RJJGC+UkPUDLYG66qf8tMmh+QYoTl6nDZbiEgby2qF0C0YicuWbe
zLNA7GNhRyRrzy3ZDsA26zuQlkEexeDVREA+GwvAb1kHbPVbowdEEumth1wK6aoQYnw6/LDPoNGm
c+saUcTt/CQMPjBJ+9dunaOjFFDJ4yhQP7l6H+AvZJEk5Jr12KZA/8NqH8FVtf0RP9INlyzzsZ1a
VeC3pkD7xhFEn/Lzh3EtUDXPcNUnf7J1+ozAtd5niewxgI7XJA3unUE6UzxuuerG1535J48ssjJc
IXFhmTmkZP5tU/o60QWZXBvGjN2Tx3H3MC4pDSKba3ePR4qBGWCsiIfkrzaTOJqMBEXEAISjF3HO
NWSRR2nbW7+J3+mK1cgv45SnUTL8pSgyvMPsix5M6DDuWTb1WH4h6n3PYHL9pTc1UyhdOdazDsb+
BXfa78DO9phNy3SKleAVGJX4tBmeFR2BCAOCTUjKC9958T2IEZnJvl1JEYFvPJIZEKk3jQvu6Qy2
1GDj+QdafbxNPaYCTVnS5TVZx5L/Xy7GoK5q58WgWLAzoJyipIRsLAT+ETfAVMd0/sNpBj54dlgP
dr08U6gIP5Bvpz5MY36u+iW5mgaoGwSANbnsQ88w3OzQZi6Bjf5yNI/8G5oB3V8DVMG4wJLlLehh
wMAhQ1BGT6wLaYmzfjjUvI5A6y+IWWBEbx8LKq1OGTrDkBuX7ueoXaDTSbzdnuYxmUDUr9Nhjbru
WPuGFpgr1R2gzvAmt1Wc9tX0GLE7C1Uzqkj0IWB18g8KB3GeOxBdMhnN68KFO0mSQoaicbSajrOn
AaP8ZbNweK52WMvI98uvZKU7IEp8rTKL8aoSqPrfTLy332AXEQUie04BZCIk/jcoG/2KksnxjbYx
r5iLZOkGsl4ppeOcD2vn87EZ7ffC/WjyZKZ7cGC7gGQMhbDeVxYqVQSPdWLq80bX6QneDvuF1g2g
tvg4OyzRWMYwSbQ3rGbkStADeQdMUkGwJucQsm7Pw4+dI2oYclW5IsSpEw91AkoRt84ImQUGzvs2
m8Njjxzf52ayNC1jRCMDUZLAObDthnnWavUGNdKkwc2nM5bxHXF3d7sfKC8A8Qwcco1OrycQacPH
1lD1NnDqbgJKAyx3HtJYpEoCTS1AQ0KPnUx9ulZ9vHNQIXE6XaN+xtYC8i5ocjrNLVidlnJVtVI1
czH1U7S/0RUzb8634H+cndly3ciVtV/FUfdwIxNAAujo8sU5OAOHw0EiqeEGQU2Y5xlP/3+Q/bdF
SOLpsu2ocAVFAZnIYe+111o7sLcToM0umTKCwpCt1m7NMjEAda3Y3As59B3JSVJ8htlqV4ttsyQN
KO0u3OrD0NGQKGhV4SV5G+1m4kCgn7QlUyAo7o6V2RV3fmPZOyqNxk2RUcO68GfbtbclxAR16nSA
aUJTTP72hcp1d1M3bnLp5gELeDSoCuxU3gOGGbQkjAmYB+rWbFjtQwwAmL1J/BDUtM75KNsG3Kf3
qrS0Cg/ZYu/sB5qHdvsl0rtrRGG6u6o26juI7u5F2wR24eVjPWdbmC+a68VCo0Qs+yg1CCfb6Nmk
MYq1KQnA892UOuMAuWWekBDEqnEv7ChSNl7QCFeZkLT0K5/jrXaNz1BL2+Q+Ah6bNtB4pHk1OYWS
WyhmZr+jK5ufbXs7Bt9qizbuqPLVGfQ3oN/5JuqSoj5CsU/HDYAa8+Rzjo+eUoXhP7aFbPy3Y+5M
xYcwznojg6QwpPFe5VQN31NjHbuDHREMtXSen6r4kM+JdDy/z6OnOEiruwJbn4coD+10o4Ha39Ra
xFtyrhIqWU5oZ14mCmBtoxrrJ+pERuSBetbzRU83kXKbTW34vomF9LcVPV76y2oI68nTs9GmtO0O
TfyZMq9p3tvC1stbw9f99DDAA8OCvtFS6gdKQdmkqeRSKBmkw2XqjwudeyJqp1tmOT+a46R/Gook
OoRaZXpCVhL32fZNkoWMJNDjo+/mmYfNTvtgQw/1WlHdk3CPVwqLl11tjg0BR3MfJ4UPMd0JRoQB
Vr4fu1jf5HBdPbobg8Lyolvw4+JmHgUBRZJNdPuj8ejtaJVi2hCxgTlTN95R0R4/WFN/z4WYHCPZ
Gw+NaY2XZh84tw3NFBDvVTCaZr86BKXFkdsZ7eMMxEZBevzY6RDAggRich4OoedQfoWWOWqb0JHx
IcG4aYkR8XxLiuItdSjCTbNP7kehlR58hH7v2OHsjWmhnQazhKlhIcYeeuSU2gjthGii2Otx7NP0
1TaJXe1aTjct+cVt4LbDsHMrW3ygVKlzwhaUsaRfVu/beOovStggGENqVXUNT1KrtznMarklQC+8
uGucneaQEaCE4bDbpJUffITiWV9HCVkfjCIx3LjmVEG8H7v6a6QDmQuYlWLbuU4kELukCArSqB4h
8YiRa8Jthr3RWPLWpZoBTsmCoj7bvw2spt31BT1r0M2YcP/T+EF2VXBRqym7qKfS+pIUkqBQ5uVt
PoXltQ8X662ydHUlw55bY5Bpw6VGwrIRvVmG+yIySxz1ZL+n2zcJGzQ6mlVj4k74Tx3u42jLhLTK
Keareuznj2YNpLWxpskdNxhz+l5MGe+Cy7DZkas8WVL5lVerjhZ19Nz7VCdQcsqyFW9NIk/yo872
xGjhV2vDpLYC3XmyQeUPMqIB3dRGb3xX+4j9SUJJLgn3eOneZAXxxzzN9oWJqe2ek/HChvbmYefo
73SQS7K8go9X3Np1fG30ub6LdQiEcT5AYNOj9opMAlmEsC0yVuO5iCJo/YVMD0XflJvYbO5cs+i8
uYxjT/Udhjedc5pzIubKDdLL2LHVtmrV5GltYyPiKW+cTp4gDu3K1MiPc5sc63DwYhviX1E3xg0+
JXd5DpmaRl5PaZiZGPUW4h3t1p4nav0bsy+drdaHMKRs64E657DTMNTc0Xv9GWLRSTXzwepy+8LS
yuvWUo8OxFZcl8aaUk94Yr1PYNA5WqI6kJvJF/XRAGPyuy7wHCPeWUP60GnJpzrUic4oiNCtDLw0
vJBWeO03EK7Qop2oP9uboBL6hVNO9BrjqGs31AhtD18Sk8KVufONqCXU0+4WHiq8d7YYumSjqi66
MgwfIlXcGHPbbWmEm2yFEcTEJ8W9PyL2KoKQeihffjOCtVIeacJsE1dmtDMraH0VNxxlrcDYN81y
+liJHp2IcJ4zMwI341bZUb3rYaE1Nkg0eZqRlBq3FfC76feXeW2eymJ4dkRUeoE7fXBhCYYUTqlN
B8ZF5M6gfINt7fOwRsBRleAWZlRtJ6rCFxThjd3shNmuaxFjGUNpf3FzClv2iPYH217jCrer8p5G
A+2DCmLQrn6MPPxfOi8czAmWqnuKi2lms5uB+9S51lNppDSVIGnq9rBnrntdlI+anZ6cKQu2cKxc
ejUr/cOkhvJT6AQDUVkuTpSv0/ga7QRnISXpa7uwQIY1QsXJn+K99CH3t8gApiZ917jVeIfuh+Ix
3IXtqALrcjR6cURiOn0cOP0fKKIFXlyB27uRvO1QVVEGG/RNa9oVZelIQrAsURBV4TMBNkKwoAmj
N7WmCxRpUP6b3A7H7ZBDa74CUqBaWHefWjiLlyZyvrY3nb0fSwhWdXcfQ73gmnMeiV2hi2gQ0dOI
vW5T6Q/U1B3NoWq+5LWcj6UMLtC5nUzylqOQYXoTQyiBD/YhLpJH3S8/JEVwlUMROriwik+4M3ce
eHTvOV0xfWDyxGEmoPa0rF30OmWrXVZJV3QbfbLkqZCIFsOEXWpnEwQ+OA/hNXpxtmRbIW1sTUjZ
tiG9KXWtY6IN1nXl2MU1lW2i/LBrP9ulHlxojSq+zRbrQ0lH3dicSFskU2IP9TrcJr1mgkd25XU6
dPPXyG7iGhts4DyKlAqKg+uHl44ZRx/7HM+JvKNtU5Ybxfss5kBUdkLVzPqGdiG4muxRfqP0P14W
oZ8ec7JFaJN4dhuYIR7bMUy2Fm1ibhrKkzzSsS4iDdkiwowg3TQ067y2e59kR48y82MvZ2KOkLav
B79tnPiUoWJJt/Qi179lsw3aZmZD1b0Zk1pAHIld92nMGuvRpnlvtKmKcjoVWtYfXSqN0SGpwIMo
n+vRnTTd/BMLJ0iv7MKw3wR2MCqYhhZCOh+ftk4NSDYW/5Qrf6zUNSZk4l6HuV9s82wcMSaK9MGz
3LxCQKC0T4Wive6IgGIi3wqsBO8mI7uL0iz82JJTH/u+n78281BdJ24Sdx4Zu/Ouj+ZSP8ThNAEy
xHBie92+kyzaZjPEHfhYjzSBeFiYDzDAXGtb5LOAlkb5j1gtrCzwgrq6kbDsHhIN4MVoyvQanUJz
AVYDewzt1KnypXaaE7rP1GFU+Yjd6nzcCz9UXqlrTc2c2/INQaca6WjiRh8smNNXqak3F1FuTQeJ
0zXMnNYxTpB4s3ujc3LPqQbEDW1hnLTaFteEqPASIkwSYK9AjhnQSiLPd5uHnADXC8WC6um6U96V
8BWT7VD2ymu6Nt3OUlJcaCMK9tb0wZTkf81YtU9R6Gh7a4oX3dTg3MdkvqQ4BsWSAbn8Pk/Hb7Gq
ovvURbxLSdEvv8aiJJpoYNMTzeONEejVSUgzurTCdLy0qtrCVshEVecX48mQs7ZnjSQ7SznQlOfZ
8FoMZ57idKKbI/f/LYXot5ZooiNM3hlaTtSIY6KbPepVYHhY2Z91MwdkCUnHZisdtk4PplchxNiI
VL3VEe9vyr5C7zeAvlSGDB4g9lgXSTDLtxi29LumggEvhr7d9qmgeBSa6BMIh1Anl9MOrpxBssY8
1MALC1MBOK9iZGTl5A8c1w+9oWdeWNCEtA1gshObF4Q8KrgQlFg5NABUDSnlBa2AARLU1G59yKp3
tbDGaQPRRHzhGhr3TUr3CKurATE1knS6a4/kFekdmK+zJzHDc58aENzBAdKFq66jBtCtCkP3M33n
FlTMH6/dOuw3tvSpzNJJeY/PClG6ovQdzt1NNk8RZF5F8IC1j0fHn5i83KXAGgn/Fr7GsOXLh4cu
1K+DuL6l4BwDh8LAipuGkF85xltzKeilWfStJ73Z5GOCoXkfCrZjEx2mPjM2OqKVbatDbYIpLXYB
AkT+4aubspAZlEnXvhkS8ei6vb0tYFndDUzfR7gf34xFopIHpHYi0u96Kw/3tg3VD1wI6JOMZSMq
XKObvg92MaRNEgZHAymxp1uFI2YRz3BoEWZWi1ijEcO8oVOytal1lr2Zgs2lcX8insg2dTBgwTsc
1QgVLbCg54nKPdZjwq8ZJKKmtTSpH80T3Zyibdkj9DQrrEN9s+T6KO1vHAQ0dsrG7GtmOf3BnNUX
4uH6tjIipnMGaEFt0V71AermOtHvaNXiHNvCqS6iyE82TllUpLuy4aqH7uUYUG+QOxEQUcXJtdRn
eVmNuEnhAB5i+LzbZJyo4C39yaMBH6NxLt8nXbb0WCKEzHLzoSUFZIGo+DC4kUsBBx7uTIp8STe5
9zgUulsutysg6I6RB7kHOSHb2YIOMsj/MgJ+gyI+3aNuYkiPz2Gn2RFRSmtdGfZQvcGiUbvlap6O
Ud3VZLhVC4sxsDgMBuhbOcTgllz9gHbv3oEvdKVZTgpSn5oEvxHpH8jrRTb0+ZsRelUX6BZZEmeE
24LIdrNpbBVaiA3xUYQ/lwU9AR3dwXZCjd3r6sY7pU/ZlloHOz0vRqr1yAbKUs+B4Gb7Y+9OyXGg
E9HNDGH5zZj2nafREupGjXa+x2GW3qQkakAJacP/HVWP1iqD2+2H05aGHcnNqI8BgVuce9IZZzxT
WuOIg9Hbbm6Ep4/u4k9QWCcTwdwWRjO4sUTHRlofXlZRdoI7dWslZbqPmiA4pL64TbLqpMFm2xoC
ZZwzFlyMgDMXjQ69a4qc9p1EGkehIWugg2XxcTQje9Pb/nQb+0WM6jMnLBy6TQSDk5NN73ec2qch
X8B/mLVNDXEmzxL7qp1t+dCGpA1pT1PfNiopDU2LYDopgLbrHEA51roDKFV7qGFl3eUKh5PYbPtN
LLpb2MXvtEHTd03qaxuoaM3JYN4928wuCyN8B+u92eoj7OvSIhypp/YG0G1+2zh2ed3g8VjK5uOo
3GqfIO4FdqOFy9iAfgYmveJ9SfThc2hYMzwxdCFvRo7QrR6Pj7S2/GRF3OIqHMs9tJd+lydZfzDS
8OSbprHrHOutFXQ9mYd7VImZ7ubE1fd6UAR8jurRtPl5SQ9jN8vf1QmszMGS064GK7BsBHMVbQV2
BqyUoz0lERzbJLvwm7B5tHvj/VzPCXwGag+52UK+7N0vgv7IhHIi35o2C2+aE/Tt6HtRh6ccEW5Q
HkvTBQ+LorfGONbPsZlfKhlNzwi1kis/kcGlkLHjoSbEx7aon0uRSBI3q6baOhm39JXoP9Vjkexn
UswPcWr0Vzmah32BMPFtWqOYs2pI2YGmw5IxLIkaw7zFJ4ASt0vljyL8xiBP46ZCLWh2YiuVcUtu
keG7AErY0/AabdJR+eYdtqfEO+Oh1OV9oLV7TsZLaOFPdRNei5g7Du5ctG1KaMc2sw61rt2hb/8c
jHnCJZotN1W/cUTSeNyrN0hzYZ3q8Y3E7IJEjoO19HVEsqN28ufeK4N254Y9SpNOu6FzubXr+gZQ
tpWIJ4ODmmOYeGn3TXEDY8Rhj7uJWNMb2fcb2sNLz3XiLyinSOxT7GiRHeIPkiai2Il2Su6iqL1O
M4cVYLKqAo2JQKv6sZrlI2fhR4tK6t7vXDR8oWZ6jepgYpHeQjnNoj33+Ey9Mwl2QeBu4qY0blwj
pBAogkfEFmyStJuvnES9NcppOATTdC9g2mHoUMDqmak5zkmSkrIjPy8rkV8Ru1WLvCYtgBz9/inq
aBzQSEgEQs6wtsfqgxM137ATQScLBdPROhgOqR9czz4CUNhJ8xbxI9qfiq63Nr1wj2auxm0XZDql
QAKYLEWYIuYCehNEoY1R6BG1reYxDOYYJG++IQ1bQqc+3vpw0XcWyumN3hjXaRvUmzChhqkmrdzm
CCE2oNYPRWGITevLOxqxQz1JwRwTy0SFA0S3DbLwQ0D1PQLRTka46pW2jci7dk7iOHsI6vnWyrKv
fjE/za5K9zQTWQo+6a0ZyQpCaAnVLoHHGlmISF2/oowr570w5/HWTSa1DQmbnmpj7ral1vvsrinw
jIpyr10nzh4PlPKKyprcoMNX+7JGQE+RFwmhK6+moLavYBYMFMrCaK/DC+RUGj5Vw+AjNBvTg2G2
T32S3lXAiZseUGxR40dHKavnwtEfw7BDkjiE8xZTzpRVTSl70hffjObRae16Z5s9Up+FqF9K8uos
I0jK5idnwACCDI8uEL5Ghd7S68MM04qWmjEQs9lnxGh1OZuHNGvgAKMPdA1Pm4gWNmMys0k0kUa3
oa3zEUNDpZ9RXTYfQbLympK7FWCcOtlXaIY4AdFHis8RZ3rv1YZZZwetqzThTeBTxUFWOrSfoNdw
nHFqt6V2ZeWxfzEEYYeVbBLZIRydseI7akbtHiyrK9wbcwis8UqIun8afJbvQ6J66CYy9Vu1KZTh
d3vq5FFDxcGd2Wrg5wq8WYf0BfsjOuf5/RtrpXUvPL+zhCFtkmulVdDEXVefPjnoqL697gv1G9uu
dR+8SZvHcdQttNJizuBHjf01uB1dicJiOmPsLRYHq1/5Hi1D+8EaLEhlj24Xllukm7o4ElTHglUH
yLWdIPBh21NENT34chU9E+yXn+u2mhSYni+z0yy6rDxg1zLevz7i39lJrUz8aO3AlgZ7OvhFQfzl
Vlxs1vA5U/2H2ZjO+Oz9xj/MWZl5aYQUiUMZ/lDlZkb46PtPErAm2qSBiTa3jBP2uKjgnr8+qN+t
kpW9VxBWdgIVdT4gcwO80NLZ68xavv3P/vaVvZfQjYHybD0f8q5SHimPedT1Ijrj7/WbJbjunUc0
oAcyVsxVT4EMzqmOngiw07b9c/7sv5medUvVtHYL3YFYciiEm9G7DB2KJCaMwzO+1L9ZU+uWqlou
cgRxaBXD6j6U3TExS28iHBu0cx09f7Og7OXJP+whiigp/lzZjH+b8bnyqQmKG+3JkPsqqov/bBHZ
Kws/6MsdPAiaQteJAoOYLG0nqQocX19EvxvB6hQY8eawSj2eCc6WUrfVFIcJo4oDjInJs2rhYy1S
lWd8An/3sNUmT+BLRlbLB2l6iw6GOlqXDmeEyykIor1TZjnQVR/80/3uvz6P/x18Le7+eZQ1//gf
/v0zmFsdBWG7+td/PBQZ//uf5Xf+98+8/I1/HL4WN8/Z12b9h178Dn/vv57rPbfPL/5lR/G5ne67
r/X05isAcPv97+cNlz/5f/3h375+/1sepvLrn39gFZa3y9/G0Zf/8a8fXXz584+lt8B//fjX/+tn
y/v/+cemfm6i9Ov6F74+N+2ff2jS/TtqfrA23RLcUWrphjh8/f4j2/i76xi6BAawhbJRkvzxt7yo
2/DPP6y/S51E0rUdQZXThXf1x9+aolt+pBnG321L8AtwfQ3iXLqF/v93e/Fx/v2x/pZ32V0Rwfv7
84+Xe9VSwrVtSxo6PbOUqVtrp8+6ddoIjet326/qnTMK2DjVaOGhhtzFmZv4zFJcds+/bz+YVK4u
bf4rbUGzNLk2du3gQuQx9b7NMMahhLYNlI2EzVpUXuCFP3yIfw32x8G9NAeHvq27StkGA3RMSMQ/
dSPRKBwN2aI4KvPo1MEZeILOHZ5U0k53tanFtCNsyHFoXr19/cmrYX5/sq2DSOoKe05nffPVqdZK
PETAUZtefRm6ILjAYSNKcGtyz3WME8u19sOcLg+jJmCwvsAweNrigfrDqVjWU+3UAWaFU+XmjLYb
ImF4EYiaQ+VpDKMb1c+PgYumy1TNk5u0MQZyfj+YHtZDuXPG23g165YLFmEKoUsHziSORat7snIi
DKeHEj6fL1x0d/jdRF4FTlBQcG7GjyPxptogOy/fDbYh/pojLh9dSMErWK5iXQuxbg9T1iqx3U7r
N0JT4iLuRufaJdZ5eP0Dv7xDvz/FcCSteh2h28z7sgB+mHMroWoZFEAvpobbDfLM5kQ/xODN609Z
BYvLY0ydJcQG5ZRw9fWV2kxGQ+SXDhtkqN01xBQbNQIqJq+alfVG+giKq9Tpd0ZDUw/gIbGznS6/
idA90o0xKs582tWyXj6tUo60cfWwHZ3i0stR27Ae+0BhRDgXoAZ4UyX7rkL2hOA7/UsXpPrXo1zF
uSkt2zDXEyxxh6lJxTeDOYOemhC3PoQZ+SFbiKL0xm0KFW5nVwfR/muT/v3RtmI3KcvShbnu9QWr
CfvDCcAGetJ829Vm9TSlub3HgoHCQtbrV5EZ4rtRW/G72Z6K06yfRpli0EFy9/q7rCac7885aXFa
OqbLSjBW4UIw+MM4R36/6YOs2qQdBnt9bypcv8Zh9/qjXt4Ey1KzheFY9H9Cviz4xC+/baIyx0Ii
ji0PYiXckuCsGaIqjy3/IeSNyzN92n4xNAQorgOZgXtArDvXg0xja5IEMOz6af7o+r59Ebta4+nI
ls8sW7G8+4sT0gKdtZSrsJhw8O3gEv5xtwKcAGC2nAnDbDV76dbTbpjp0hqaerDPXMrrMM/9u6pA
Shs7nfK0DksAqlWdf+yKGjNJ1eT71+dbLOfgjy/FXDvKdKC0CMvG0HR1bEdOp2PWwoTD2rovxulD
jYeLV9rhdaHNu3hxiUQLtcNE6wh3/UyMvjqkafVO1GHRp9ilMZpl2uuvXUlIhNwNG9jPYu/7ycMY
Zp8xV0LrkmNrl3AlojG+OzPm9VX1/bGYlrmGycLGku/lh6hIQdK6R46K1MuF79zqCPdaADmrhGQs
CH3BpqXalYoytynpKdtKPUIcOPZnzpfVAc6aIxpzpWMZvAyLcHWUVbM2JKPE+gfH0fK2Irm775IJ
ePTMiFdf+ftz3KVZl1Cuge5r9RzE11QhJxo561Nfeq3p9Je1paNjLc1u3xVD+Dz1CGSbGU61qZiI
cdbvX3+Hl+E/R6l0LdfiHrFx/+W+WqXFSYBLUFm1PVywRbNJqxGHGoEq6g/NXORfLHowqouBGsJ0
ZvDLCv5hhS8PXmITh0gW6imXx8uvTcml6LB15sGodLd9MWhehtPSDjg3vZpEXXthlun3GpT/N10T
aWfGvTphvj8e7iGBNGuYeHp1eJZx7bhT6tOjlJr0NjaWrp+Qhm6UMuszI/3Fo2wqMJhZKIdC6rpF
YDXiXal0sO22iOtLvVQZNM68LmauL788E1yuTuplXDyM8NLmBiZyXx0c1FZyScGDq9FpxIcgTsVR
ceq9lThWfwJNP9fv+FfP49wkU1hyDnPdaydGfJpwXwxba3D720gX6S7rAhjchg1h2Kybc8f1si5W
64ZHcSVZliT3sZYF/UNwVUWmwXgoR8BKR87R4Q9A3IvhghF46C73maahy4VHC41270AuPQo9UGcO
iF/smhcvsZplPTUxpPFFtnESOFQ19oAxIpXPUY95RwV752OCWV3wH6wjsjqbgIe2SeZ65AGNU/BJ
pVdOVFbjcSgECJaa603iqOjMDfDTkl3FcqtJ9g36mxiamW3SMsKtJ1PZ15h3OtLwtT7TS+VXj2Iu
0Reby2ngrDKCznESw58CZHgoYsG1YNxdpO0IuR2WY+q9ftotB+qLxUNsKtkeprVkf7pcVvMPiwdu
vxXnCTC2U4/q61ykCWQQGzkedvkGgavRXWgjNLLer9IzG/On8255NJYQRBiKzGPdbS/0KVePmj1u
o9RytGgnJCo+HApwef+C3YWhn4JS8zGspv3FeJymUQs9GjIW1ZlV9IspwNjPZaJJPV2wh5dTQIBb
dJmN13q7GFTZlcz3hl5QxHTSr6mj+2+CotJ2WHifOwZ/MQGcfUTMNCTh6WuYPk4sGFFJlSMXclvc
LFP4pMqvD0aXDdu86agOjxSpdfC1bYpl5JvXP/1PW3bJPHF6IbBwbNzbVlu2KiaY7opKVF0X6T5s
tVMB/b5AFD3Ug3kg7Z3OHBK/mmmTVaYbpGcGfjYvZzqljAIniyoN8R1SC/SzG5N+23iaXlOykV5R
ZO9gSWVnPvA6dlxSFAJH5pq71ZRyHTvySd1OTA3sJqtPkx3OIHj6lKz85zK0yUqHjJ56WytvJTQR
006fOVXChyZFzHFmzf+8t6VgvbsmATaZ4fqT976R0sooLzduXTqfRYnTjjLb4rGko8Pu9c/7U8gG
vwlAbMm7LR62/ryJYYUKM7IcVW4ZWkgk/ThAqEQQc2Z6fzEmZApLpOSS6xK6vPyqdZ8oETd5ToeH
sLtIajw9fHfAtGrRIb4+pp93DGP64VGrJdv2PZLzgjQeIMPAzIsefAlJ9hESBJulGqjhaRh29Njp
7vSsm8+0Kvl5xwAtuCark1vWkus2QvhiWUW5VBmlTdM5JxzNfZz7AEgbSL9O8YgSYkTDofTCPjPw
X3zMZWZdPBaFRQayGrjEF0JvJuY47fT4bTijSdXyYfj0+vT+vD8lCCkgIKiYxMR+/SXpSOrqU0wT
jbmQ13WR3AW+9O/YUsMmK2P/o4u0CFFyVZw5GH45vB8evLzYD7dQbsyFBsGdk7D0s+eQlFt5VprE
57rBy199QcEQpY7qkRhtNY9I+IooziF0o3JCylrhbdHH14khH0JjYfGl1PZ7F5kMmuNj0xdf8LPH
Aa08pWj4NqkjPpVN/bnI5FPpYuAe9jEuuhHsQrfTrZ1R+FgpZChcyWRpYzULyskawqdp6pHcamcC
hTXexbkGZvfv0awjhXjM2qYrO6Q7Wo9IURr1yTLD7i6Fhu01mfYeFDvY4buPCnzGTK4TjfImJ5b7
vHKGD68vnp/i3uVlDJbmP4PQdf7QaHMhhhJvVUEbQ7pJUutrLFzNHTp/eL3dpWdG/4tjBzIOaKKh
/xO5frlmXDuF0ywpZAVDOQttO2Dw07/PQxM1vNc5ep2dGeD3g+xlrCQZn2kQ1xugEOvtYZs6Ssow
mrehbTfGxp5U5GMyr8VwRUyC0a3IBAoJ0BACbmRhCro2LbDjLVp6LNMsn/bxZACZkVylhXQC5F1d
8l4Pu3K61uxKg1ZSqb8Kin5fJHxnyirEyaBWqwhPhAPMCEdO25GetAeMLePtgGTwIke1i6ylEweX
Lh1XQatp0GAS/TYGyHrADsA89bGl/vqt9M+zUyl3Sa9XR0wV8i4weYqN5S6mMhgfdCMk3WZQZ77W
L84yEG0qRmSY38GEl8ujw6VyGHWiaA3iLQBoDHyxzSBdfxT+NH7EwyT/Fjmiuq8QzwxnrsRfnWec
0ljX66Sf1FNePjydS1vPmwIeatTp7V0RG2mz7cWk64fXN91yXq2WJPQHYBk+rUt+u/z8h4MT6YyL
2UGWQ7du6ScRQpqJcCpZGIlzfVMDU1y6ulK7ELonXdb0c5jFLzahCUyy+H+CGbA9Xj4/jQfYH/rS
F2CG74n0JEfOkmD145rdX0NAl3Vs6o4tF8gVZNJahenYKoKLlCZ3RDwYXpnjNm8VYXnIB5lfvD6r
v147FMHwqAF1Uyskpi9V47PR843f+pAKEj3VjzMU8D1Os3ijRSgZBbGip9lWfPv6o39xQVmSPB48
HRDWXIfIaGOnsc246E29Eu9bjLuxqc/KdtdOOG0j3nJQKS6mytaZJfvLMTPH+AoLNs16Yybz0NZD
SQMte7Lzb7JFPZi7CS0NCLe2GF3lmLjo9RESlOW9PuTvQe+LRbxAQaTxYPZSmD/BnAXEzzyrEalh
Z4pVhLEXAn6NrGCQwWo3bc9EbR+FeALe1v17Q75LxTvs2vYNKs2hN68QNx1wHYSBWB7H9t4XE+ZU
w0ZhTSFdczc6FjeiunRmRRtDDIMDzJT5AI8Nvhc05PycFJancgnDDiELSVilYRyH5N3lM1Tl4hzc
nKLF790Jb+mzuS3sZt+V6S5IcMXiwMwjaKJDsKf5wXFuxq3eIs7FnhXq+ybAUD/K6iOXwid6KOyR
922GyN/Vw2nw7/Tqy+ze63bq5UFxY+tPY4xv27NsvyGX3zRh7/WRBsXT9PAf3jl4UCWTfjFElicA
tLABoZkIhEZJByVxJcV00Rn2mXWx2uGIkRfce4EjDCTLxjrGyEQ+17jEfAirPO73rH/njeCKzS6b
UvVnrvTV4lf4+NE9c7lfAdAoBq9OkwxLKA11EpeDM+TwMdtu/DS7tEzYxtiufMp8HEvbIUHK8/oK
XIUuakl+hSI9tFj3hL2rvHQGzRkhX02bUlNZdQeTeEJgPButeZqwJg4+iyhDY/D6Q9eD/f5QElIF
CGrTWWJ1R4BWWnbgY7/nRGG6IxrX3xfYXx/o/UEh3PKb4yh7dea+WIeM34fK6bKIYpfq909gB74m
rou17cbG3xoD5q9Wl1z6Tf1YReIyijFZqOJ3GIzgUISrbCJCeNltXZ15jZ8WFRNuQP5XBFPUN75X
oH64tvxk9qH50iHJ7iYUs7KyduZUYrzrQmF9fZpXVzEDpiiKtd3CoDAdkqiXN1S5XIfdHCP6oWYA
97zNruaxO9dv+ecBYR7FneSA5RBorcvormW2MaRemghWmbkxi7F+KCPCDvpDjmcCm18MiEc5lDnZ
KDbUlpcDwtp2HiOUvSj5M0FfJfzQSywoEG6dyTl/GhNp7nfKjQMnmTRjNXOAk+04Wn60hYVoNjsb
5yF/Sye9nsM5x7HjzKX789JU3Hdyya5JJEBJVhuCHgNpWXTw4/Gh2EITIhpmp+ft8FhUGFDn85t5
ogUi3RPuQ2XtYX1iz6zGb6+vF7EetgQMY3MAmJDNUOJd9u0Pa1NhioeoJAQ36WZZeV2gSgwu+25C
dppaM2W4saEjIuk4Yr7AfzeW6Xzqww7jLuiU3RsqJ9g8YTEyXXZdlt37uA38RRiJQI93XGonnAoU
UdYtgVXpz+StBl31IEIcNOpCH6JcAzREjVv+xcMRwIXSn012IxaewbqtbYuJRhT134s1CC4WdadC
eFxKvfRiDs43GZs8PHM2/rQWuAkEqjTA/QWf5Ix8+RFoIjPidoG7B4V8gdgT+fle02B556KBsl7Z
eNnYtBnI0J/nWNrNev5+jIGGLdRC+77HCeXMK62Pa95ICjIKSv4mRVD5/0g7rx63kXQN/yICzOGW
pEJLnYND3xBjj81QzJn89edh7wGORTUk+Oxg92J2vFOqYoUvvGG1O/OS3MqWiLRVtscXuBSBTyOw
dhU0VV9hoKERmE2V/XZ5N342qs5Bp/tskcOdLf6gJLUiEYeIuX5pRwgykaBAWwG33lRD/dOoMKq7
POTZ/meiXMs8ETSdl5b36dLHlVOZSk/ipGED4g2Zot0MpNqbuu2DK3fzujC7PPhUJ206+vQbbXON
UFWiIgPiyaJ2+NV/72EZ+6rUK36PIN8mqHPiMz74jRTQvkKX9y0R8XDFrfnT6fJKLKEv7/BZLzJr
It1EYQYVNTXcYrdabiqkyn0T5f0r013f3MtsQTXS6rDJ1c7SCpGbqg5nZkR0IoRDGceD+qLo0jUU
zGfDoD9GU4eO/VLKO/2AXSFavA8tuqvDhE5CHQQ3ThH03y5vk4935o+o/ePbmeCagI6RAqrq6ohC
5bRFMUEgdJyatFMBzrNBmQRx4KmS6N0YswUswzEeo1EmW4Gy3CYYjAVom0tT8i8lOk06WFarfwEw
Wh1rFDQeQFfG1wB/58vBsaUZC2QTAA33yely1HY+mInBckgylA5Uy0zT2Fh4wkVXHrDPdhLlKJV3
Y+nG6qsbwqrVeiRzoeIgy8JAVtvQ0UKcoCn4Ns2H+cqFtLzz6/W36BwBqKOUQjxwOi98rGL80qmZ
gqaQvma8Wa8xNc+Gxk3dvus9/7f/x/6FNULDitWUiT5ORyx5iXoQ0bkLiiF/QpkZfrGDuueVjfXZ
OrKtKDWTdpyjA9SJ0okSInc7cOO/YcpY7k1qezvUP+2dKMkJYzMgQqjx58gNRNrc0ZzQ4qhS0wsG
rGkR0glA9gFWwmHH2Vz+eefbSabg6IBPMKkNKGuMYadqoqY9SCW+aKMHgkH9GbEq9e3yKKtsnMOl
EOGoS+DFKT4LQkJyjx79XfpEgKUhepUpGkJhFrT6Q9US/WHMpM7Fo2Fh3gY9MQih+Vz+BecvD2kc
sD5ZpYK29JFOP3YxoIld4e/BUy/GWwQPoOXzGj1hs4I/reTIXmvjqnF50E+mDb5LW8ougEPOYIx9
mKhx89GAQAn2S1qG435OLDQkpHZGpmlIXktzxCR6mIrn/27k5bT9EfVlJhZ8Kq4C6H4Z5haTjAw9
PdtIwbu1JSqjcphsQjzrt41cvV4e+nxHgUXmZdCpoOnL7XE6NDZN3BoGPYnB6pBz4hl6Ltte2l8e
5SOfPL0vuAd5z3UCCf6zxqUMRZJUsYo5sxQNWKlokrJXg/aHbaCwD/bY3ijp+F7H6jHQh13ZwEZJ
xGLro40xio0YA1Br9C//pk/2GN4vCzwfoIPjGKuZ23KS2z1+aQvJlgc/TSMw3+iaThVMaf4ZUsBF
5rh9M5XXHsnPdtpCClBUk/+iV3u66EOJW7NZ8uwnSNZu+tqOd0NvOWhqN+KYV6GxrTAmeB6Nvrxy
tFeTprxFoEGjlMd+6SKsiw04cyFkZtlMurLL5FjLaZDtUNVEThDX6/zN6UcJvGWeN1cu1vMpq/Qs
liKOzM1CoeZ0yrmKiHmnsc9EiiSfi/lleB9UEbRqex43dmuSZCkuok3T7vJnXkPuuc0YGQT0wuvg
e6+73lHatprIUipfk7xYP7TBOwzs6Jn6Feq0qIHgZ/y1QZzRrTPHUd1SJuXCWPrKApy/mItNlUYN
C7gHXaDVdkuMKs2HUqWg10Zi8CIcJR56SZ1ukS9Nb7NQnX5enrjBip4eOdaZkib8WHIo2qqnK56y
EySMo6kj1wsbXRgtftW6votR+H76q6F4iYAtygbpCWUOaiur6rgVGXJQaHj1AvZI4h/KpHflr3RQ
7PQFH5rJ/PXfDbeaWaGXclWEFHCqUpjGjp5iJcPKRw70YLQ9lm2Xh1snCh+HhhyBmhnq34DdVtcz
zNIiDhvYD/04t7sUBscTvt3OBjhfgT1eg1kLxs37sm2MbRarOXK/eM5f/hHXDu4q/NGrOF7wNLmL
aoh6mLXxG93HZzR01I1jdxtgVsGVg7PasP+5KnSSv+W+IL1cXVKGDtc5Ro/fVRUB7V00pmiWWrzS
bvnAyi+q5ujHXZ7las8yJrfSElbS6CQzWzMJJvgDuPuhqyMrU76xSlT8nQk/tBoj8r+enrbUICFJ
cBypmS0L/seb24+hJUuCcm9r9fUvCUD3Q9TE0UOOULE/zVX4+tdT4xrS6asAvFlKzKfjYSNLe1aj
K6dUaCmOcfoqjXRxhgQ5uf9upFUKlgcjes8ImbqGPJDVzJnytWtbNAIsc7wyqfXlunywj1xsCUkp
l6xLJWFj6GbLtNyGSALLAyRjXfBQzh63WfUGWmC8HxpcSicF4wCKKjz3dEGjyKPF0Pp/PW+QZKZi
soe46tevaqOUs1pYVuFiUiUQY1u0cBER34qm0q4s8bpEtMzbQmzEolJHnches2t4vyvkiZyCd7Sf
Jrdouh+6EWm+XHclrBf+F4NeC68/RvB0fF8Tq8bfoTcSD4TutRjuk1NDfqmYMhVqDZbi8s//2Mql
jj5MhOyu21kmuolDFSF6QdzTJh5Zk3kFh3R+L3BYFigS23ghNa5uohkbGrQnwH1gBznBih9VH2+/
8EFCKfLBsJprOc+n42kaHRkKJYq+nt0cSEvfjvEGUyCp1Jh15ioFBXVPGQvd1TBc/7uqzMfHXdpO
pI882Xzk0/XsNQUf5IKrQc3MyC1wgzliRmZ+lfmf3y/v2fNrHUIDzAY6kEuPa81f0jWMTsxe4pHu
DGRMprjr/kH1YzZQPCmdRSvUNPst+nTYSV0eeXkk/wgPlknaqsoepq1NULJ+s2He4dOCjZabYtIM
ac1QohjIf4DB7uWBPpsihVtAthS1yeZW+yWi8lQmmrYIGCndz2SoldfWbLVdECIVKenFv06nm1//
fkwd7CH1J55tbvjTL5goEbzpAaWppBLx5LYKQkmbRh75FQUKzy3dTb1C5DRrMCS8PPTHlbdeWHro
DI4+M/nzamw7q0RYU6MgfxjwJO8kaQuSGGhEbqMsGA03E84EXq7jJoVNJ4I7Oao/1uhoN0iMiG1k
lck2qArHk0L9iw2G/nG20DIth4KEHMeHQyeHPt4E1mZSJ/xWsDzwTXQTwZpYD3aTwXjr3qgivkhl
jSo08mpcucFWKMnvPk/EDpXp1suFFPoW0e9c2F9oL34HobWY/+bKvs3h/MzYNh9KbIhcOTc6FxjV
j6QrX5Ji+EETEzXARr9R66zwtSa7S0ftrR8jb7DMuyxpH2MNMjn2JiIXmIJXqqcac+OitPjURfWj
aIyvLb6v6J40z5fXfpVksKcp3CkcJhpu1CbWIYvdOZGE9x+9+zmQjziU1zdBfW9LSnRPq7l7GJvO
9DLNSjeXx/1sixvgQ+ghEWhTOjrdbqZO1QgtfsrzSqAvjoZYfvVd6dNKmb6rgH+ecIxFxuHyqJ9c
+7w+RGbU6ClbrFOqsJCDPCTJ5F0pq21R9sVBE05MdeZq9Lns2bM9TdzCK/ORKy+XyR8vjFM3SdN1
g4p+ctQctSzCPAd3Lg9XWds3Oop9+H6BOUys5ilLW/Xx72dKY47QicyJi2t1hcSDhLp+QyrTQUM8
ooSawkPv8dKerPJKEPFZRMN3dKDqOMSgqrl86z+mWkN9ilINvTWjKmyKW+3vQktxOi+l3/AeU6Re
2uJ3gIcw/S4Fr7UGabKik/+ycLxcz3BKbBUgFw+EskYBoUokRaAIC+DhKPP5QjhdwdHVkJ69vLaf
PK80iGWLugALy6RP55u1iwoU1HLy3jjYoWug3FFiTHZVauVHdMCudVqXf99qK7G4dPPUZS9RzTwd
bx7wES/ROnVltI9u9CLrdnNjJi+XZ3V+Nrj1lzCQF07WKRifjgIGso7sCv/QqVLjbZo2oz9HU46c
tlReSQ/PJ3Q6lHY6lIYGpiLHAL+zfhhvoxwZOvy17CtR1/nVdjrKKsarHe6TriW4LexGD92q0qGy
ZxhJJdznN4U84SVNHP5QAzfYXV7LT4JdgtylHk5Bgbjo48j8cSQ03BMypBeR2erzHYXjJ8gTpgec
92iZYmeM1cER84+ZhjmgONTmVQys9Wv7dA2A5UTwK8D5cwHIKuS2VQI1G3U25OFcukU9hYe4q+Yb
tB7LnRjr2BvAfGwwQm92ToVLOhd1uUvlQDyDpDXRicUi1QMQgp2mAfsCExtCq8nAZGqU9O3l5Tp/
DAybH7igPQhM9XXdZSm9GTWGcpSTlNsZJ13hclViIRA36b4wx/y2SKP2yltwPiiniVCOGFJb+qer
/U4i65BQaTgxNYr9kiNS9ohcMhZhYTgeK6shD0nhPF159z65LE+HXV3M5iAVIIjHyi3N0qKq56g5
VlpI1z4i7V09I5LT/ihKJUm8LMjoV+NXLo4CXX9Ycwa04iur8Emlhn7T0roAOoHmwboLpqp9n6tU
h/AGx2Jds3eZ9EUcqQ+5XWtX92HrTG5fqNpLIUXXehafHBMWg96bDHoKLY01iHHIZikprBbuv7DU
ey2mLeQoVXRo6qbxxzIqNgOuR+8dnQ1vgnrnJaGOdc1oNX4xtPmVb3P+ZJ8uxerT6LnIkxZHQrdR
XsO+osdJc91v+Msd0ADHiBGXjakzCQOH9ForZc3iXyKxkw+xuhSrsutAWYGiDAL1i1GNyNEjGvpc
H4GbDzd5in3xTNQr1HpTkt+5zsALKiIkX1VkAl//9kQu/VzOPNQNWlNr+YJaFEu+zq5IHYHxGmTC
TVvJo4/mpktw9hp2ZuX/7ZBAeNgJC4hnSSVX84/MYZaqAdkoXQzqDm/G5gX97tizghbDEaMMQ9/o
8Ve8POr5qwdqGErGIjKjq8Sip09Rp+MXQPOG0LoxYmy6ECI5xFla7pQpucZrO3+QqNItOCX4CFTr
1wRKyakNbNvSysdbox88UTkWEpxRgNPCz7ay4h0aekGEbGto6OV7NstXsUHns6Wlzk9YBIMI9tdo
ZdXCWwp3osQf6h4XzE7IN2HS5cbiaxAFf7u0EAeh1C6BNmUBaHyrpe2DiVw8xOAWTJB5RH64qX2M
unF1QKgiNK/gzc/uc+SXgGVSzdGBYQPAOR2umCIIxRbWpUgoo8uTpii1ZcmIuchk3o24UKuzco2z
d/ZFmSJQO4qUBiUBqt2nY0rdQJ4Z6jFKQ430oBrjotmu1tSTJvmY9arzu0AcCbJIl/y4vG/PYtDV
yMtq/BFgmHpR2HNUJX40Eo56oyJHthdF+MPAZ4nCep+bEuaBlwfV+ZeeBKLLoCohNvuHmv4HW+uP
QaVM4XM3PXpHlEgRdC07DKswcLg8ymdTI2+Ckg+rbaFCnk4N8WFrLOs4wVWlTi1Pw/L6bhqFdKt2
bXhTxn17TVHx7FiQKTEOjQrwvba1/ox4kyE9X9lcPYqVbezEsn1hpO3BqvLpyi79ZAkXpjjxzsdF
t0YrUlrI8QUBcJ7GjXEzVHp2L1N+vkZV/mQNyXB51DnoFgbDq43ZyXEjt5aDZQKKsrYHeJvCa4KS
VuomRk60Oc5RdCXe/mwVF2WqpcJLRdlYpv7H7kDqEx0dIJR+CHHFM5U6eEVBWL2J22D+9/IWuTbU
anoYvmB7rE1Y5sUWPt4SdUAKCvomCcd2e3moTz4YEEIQ7ihvoQ6hrGpTpYqrH0aQiR8mrXyrT461
75H98S+Pcn55yf9B7nM/E+6uyb+lmgywD7OGCljW3RpYAbyja49BaNAou8y2GlfEV6v/55tEo84H
MmjZjkTeqzsk1uSOezTE4asMkv5Go082vpP2qoAHsD1FeFJyVJ7/y1M9X9DTUVfH2+rCjjAbfd86
wGN+06Vm8txh65DuLo9zHmkvrCP6BdBUFgTQulDsJGYyxfheuJXSDG6XI/ER1zmwkBk7l4wuBKr7
ve6xwuGTMeNrA7fUkBYtasW7/FM+mzKdHiRNFHYQb8XpyZhDQ8Jmb5FD6A3MPxXJGm6UKcZK4fI4
n31Qa+lqEEsa/LUKocrW7COIGrGfdkpUbSo5AabpFRlcYDxsi5Rmq9QXY3HliKyGtcnZSHVBqyDC
AyZ0XTrup8rIIcoXqMU19ncKB2bgQgMCZSxBZVwsDjTnGhR1NSaFNXpnDEuFfHn319iAQQlDMQA6
8nPw29Wdjut49L0wMBO5T4H9JDuqUqQUl9f3/LkH3sYTCJKbMiLBxul3lAwjnOBW8+hyYFCqc/oj
XGIAdnMwiKcM77ubrhKE8EMbGddwdqs7j1X+uNAR2iR0Q/xjlZ3UUNWTMRAYbMhTLGHbaznRsba7
qPwxhLoz/bo81/MbSaN4SPkAtC/NlrUGQ0+/aAyR5PNbZFQITQdMKagINbOmhJ5S5S0um3FDa4Kk
oG81/cqRWcOf/ne6JgKhFnU9Wp+naz20aaIq0YiMfod+WRTQ/zVBeynGuJGt5miNzbsEXTvLIfeZ
neOPzsIZsUfpRor6o4Lr9+X1WCfKH7scOv/SiAYUc6a8KHVgsdoFHEItXflFfF24WoiedgnVHzEQ
xcGqfBT+SDYG6QEX5BvyNWtz+VesNsGy7dl7FJRplXC5rfW20rKUquVa8zOcaFwnkIKtkwDRNfS+
uPIFrgy15q1YWG5bGNZC2Yub6CkrhoSFb02cGnTp6+VZrTkc62mtH1ld7sqBhlfso3p+0Ioh9efR
lBZTGWSZVLw9Einsjq0qWY8Ol+etXg+gjlpD2+CDB3a0KOsnDHpmMI6ldeV2++zDK9zaC4LU4QZf
M5JyNZVMXE+Inzjxkgd4c5jQTo/QPZmqXHmce3n4jedAoLjmIJLFzUTvsl2sL2Ielxdq9U2WPUhT
cHnRlm/vrEvcE62cwIlCEBFB3theNcYVjiT2mKKmH0Yvfz0Y5SAagkDfeU7WHKlSs4U+2A4tmr4d
d8NU4g+fD+MT3lnalb320Xj5I7NYJrZIC1EEVAiygJOenvZcqIUiaXQAk7Fr8SCXtXst1TGKF9Po
OrEYsQQbO2+ep29W1Cqeg8T/jnLY5KLFj5afWev+iJugN4EqPgz69DuOQvsYO6V5JTtZveUfv5SA
mjRh4fTo+upe6pwgxk2X3TBpMB9x2snizMN6VeuuxEnr4tjHSEu/WQME/xE8nK5JG5qNAsuO+rVV
T5IfFhQz78hGYbjOXdXobi1VZe/nptXU4KxnDHh7E1MZLwpi3MPLBPjcBssM+cflfbF6ev/3dy3t
ad5gFeLJ6e9yYI4XSLcsABYbMSI41xtn7qJjg9mb33d69He8tv+Mh/8BJ5Ba9tn5g7SN9gktC88Z
UuNbWIEwxeye1ycfoiuX/Ccfl14khZGFzgRpSFtNrUtUPWmBMbDgE8ZTaaKMnorh+TURuNXrypxg
6MJyRNvoP3ja04EGsMuESWrp4kxoGR4GDfJ3wH/6m2yPULfGsFj8TXDMlK/cIJ/OEH05OjxLrrZm
C4mwD4ys6ArXyp0Z0yN8AaWtPet0xC/vko8juzrSNpgXygQLipXTfTrFBa0+9lNbuNEk4ZSROtO3
ptW/LUQxl3wHSWxq4V+bjCtVKjN8EUNI4+lITwJ6iVubSQCYBFu4QLPHQ43UzbbrHLysDWnE9Kiw
t4XR215opJUXdkG7rUjWfauy3udZUd2mbIiUCqhvXTJ8U3pQVJkcHvRRMbx08bvLtbzYpnIZekaq
3LB1Fc+Qo6OQun3YaL9KJzjGoX3X1c7vysaCuTMwXSjVzD6mQfmt7MX3NMTHNMLv0g+xv/RGGSeL
vG2NHd7wB2fCsl2V69CTsbL0quZvpRyWYwFc46OVDWTiTAYNBSrbnkxkp4tpCG6igbTcjeyk/NI3
KPtd2Tbn+5XByCqW6AN8iLb6mCpGsPVcDVj5JHm/pe6XvyRxG/pVpjoP1qKl4kiyegVU9PHsn22h
/xtVX1UQ4fxUFLewhyv6ORbeLI2EAmWICRN2bIhkaGp2jy+35VtREu1FN5aPQC6r17nP211ZkMzJ
fYziD+zLBGNGLX0WDul1wF/4Bw+j9hjmCozuyzv//H40FmIs2vO0NKgqLY/4H3WQuUUHsLCotwxi
lh1fdjpg2lZV47ubp3GFSU9pzPaV43Z+rglLSS95Qxf+xxpCAxfUUWbcb+DfYtAMFjPdW9YUXFG7
AMTKjz/9JH+Ow115Ojl07c0gqRmnMY7xuAn03SQ1HrgGaq78vY1fYfY1L79lGtZE7b9BGbtjH/lS
2LoVwhCO1zlc33iPpuIBhJEr1Ys6o9/bhxQd8AazFE16rePSnefW52WtwvcQTI6dyBg/4Z6WPnfz
o13IW0ywfTkXuNNvwPXgkWyUN9rcI7CA/EX/oOYoeHbKdmi2crwXOB1n5j12mNsgiz1q/bd2E29C
51aSt5rzT28b2LNTt8WvMRwzfwqRccVrdj5gUeVGSkBnskK2t3VTBCXcwE5vhy6pDlk0fpeIWkLp
3XZucA5fxJS4nd5DgBB1MO4R5tqHnfHVKN6GdosHEchcoiflI4e6Fe3NpDzYnY59EpIRlOXMBHkI
vJ619EmfXgP7Tk7eImUfcbYn44vSDZswe9N70zXbfZM9DeNrKm8Tegal+tzhn6VZh0H01J81t5of
TPkhAAVoKfei+K1j/tmNb7XkF1F9aCm95LrKyQn8yAm3dvATOwRXM3/X9m7W7gUKKjUOmWAzxRB7
3Gpz+dOgYiHaf0QHinqDZJybYXHTGxFWlhWOr19bpzqgB7E4gT2AvnYVm7KDuOsxuu6ybW5v1M7r
dWsDKNzFhUFo/uB8bwwbDkl1M+aSazc8Bh2FGXWvasGhk3Z6uhWIsdvJbWV5Zr6NgvsoaO6xtBqG
yBX13VD5cgKCthB+Eb4he5IGD8r8MMgvQ3XUc092fhTFnSx2KoaBcd8dIlF4bX9Uy6ew3Xc9mMji
edRtij+PQb/DgR7eUOS30qPe4doYdVQ1vqNyMDtfVOQmZfESD/9gwCsF3+V0r1i7bPgVzm9Fe6s6
mEu4E6FyezDFMwQkI31SxbbPLbfkBWywvW8qDAIKr05+1OBlqtb05jjeGNJNT0cYo3GUR2Ya7ZZz
zJsZk4PUS/r7Ur+xMGKPDIiJ3Pc5vLmkRvyifTe6e4HUWx7tY2gYiGzPzq+i52p+QYzNFSK/GZMN
vqV2+m7gNodPxME2S88wpLc8LzaSsNzagEQjxoM6pvtS26QYXwUYKLC9t6V56J2nqGIJoBJL6DGS
B3lzhGdo2u3xoty0urGpO9lPwdi05qOQ0V/O7DsqFfwjHsccwb2er2RunOBBLfyCG3l2XFX6gRHr
Y9X1GyzTAdAJpLrNRLqSuX16Vy2CrERyy72ont5VujnZc49/OCVvmaJNrOJmPUZ9dBMs3cD7ALcj
5Us1OMbb5Qfgs7sYKA30c31plKyTGakOVLgxgNcKbA9voQ47HLkqudJJWDeMCQCoRcBHgodFfYaf
fDq9EWvApq4DksHRuNUjBDGxCNX15q7QNTQVrVZs8DgU/9qBEd5GDd6XOJu/ztBm3F5U/ZUUblUb
O/s1qxpnVSB2nyk8DFoYlje1MyZ79ChQfE/z+p8pQqZH1EkfoASZ/yWK/WNohCxBV1uEQ3jKnC5E
o+l9LxdgPeNg4NIwAoglWU6NJGiuRbXnbzvlcvhYAFUX3Yv12y4jx4JjFZ9Wx9Sd21EfXuZEMx9l
u5v80q6uyeifJ/zYFiywOqCSDsi6VUKiakNX9xqXcFek6kaMbfKkoDm1VVEHvXJaznftIiproakL
rI1ix+q02HHQjHPRlm40IjBL1D46t2NKB/fKRvlkHBIrE+VeahkEK6txDNgqQy8MtLHsKN8rQY2r
R42DzOUzuASkp3EKWHRqFkCoCZRRCzjdE8lcmk7Js+JaRvY2dtmdlDZfOwrVfi1rXLjWd6JZyy91
/UqIdH4OFhA8UnL0caidrJexxwu6a9qyAkCVtm9RirdBbygNMAbT2XVjPmzDzgq3TSeugVuvjbya
sqJJWmKGjKwZVbOrszG6r/CCPwaQvvdJZEr3SR5b+6DBtubyYn9yKtBsp2zDfEE4rCktpToL04xz
7O6AlLyjY97t6d/StFJmREK9auqVa62O87udujREJFiKMCuoUJ9+327O5hjaJliduOWNq0YZGFsM
9SlsEXzLssZPxhYrl8sTPa8FLrUwOH8fDX8axqthaRhJjVWai27JbOmerQ3PIu/fdGy1n4fetB8h
wy6WnRYBHCLv6QzjAn7d/srPOLsWFlW9RTve/GAQfvzMP1KMILOxKS8MGg1ZDVILSl95Nyly8eLo
orgdDE2CEmEV36SowGxUz+VnfWrKh86U841IypLdSA9MxZH5rkqd/Pnyzzs74cuvg7IEIw3EKhq4
p98GBJulkCDXLhdJoDxNOCU7lKnLrrpSGfr0c5D88tgutgRnL3wYFopt4iHsJnLQbJupqG9qqxc/
se5MjsJMetL2OPeyaeqIT9R8P+SJ83Z5tld/xPrc0VptbKh9dH1MbSeaWbqRZ0xXwjbSNkXfhl44
CMnro6TdL15AX3CdF7vLP+L0BEJWlSkqUxjmJMAYQTv7dMntcBgjTjixILY9/4RarBFM5/Lc+RXU
sbskSIdic3nI06/8MSQyHUQe8AFBT+irIdtkaiTZLEa3k0VtbKqpLH82VQxj4/I4i+i3ys//v9v8
bKx1Y9Op67aMEJLblK31EDeWWnUoW+EsbbvFiLmgvaXk0ROg2gtHcfCIVXvMlWCSTP3g9nWIo5U3
pGph72SsgnHP6hvStiC3qqJ3gbjZ2bepCxuB2RMQNVIUHfurmLx0RqoaD/O8kerWY6fJ46PKBWe8
yamhEJTn08ixx+e9REDFs4OwKRwfJXoQCnjca0UZeUbTITTr8eGKUvP6Os+rRWZYz7Vo1w0Ei4vX
eNO7pSMPiBZCgcEceJpt0bt6iGftNtLDcSPFZXKToHh/nMAkUKE0peSQV7N2qIzWvM3l0PF0NTXI
8eLsecr7pT+X6rw8opvlzZg587Oal7EX1FV8iwBF7qfD4NzXNabkc67KXqmg7UYIg+8UutmHOq20
Zxvs+W0KxWrDk57vQn6Eh019cFP1craNqPB5wRxknpmq9UEv1Wk/ZpZ00yAVtYkRBLqV2nDctopW
u5T8jKOBIAmlc2kwf0mqIbYF0nIPvODZIew0kxVr8LIeI+V7A6D+jiqt/X0cB3E3W+O4hUcivc2o
qA0km5T1fGxJymepl+LXsbKU9yRvU18Gzb2RsIVD1a3BATtd8pPZloe7LLTajd0Y2Qs3dfxDSrFA
N8d4fI3q0t7GM4XIAWCnlxhpgqxlK7/FwVz7poLTqtfPSY7QflYU/8AoCDGZBE3QHBf7G7K7oW9b
d5pE/482pG0E6SiYd04OMaxGYtnrq0M9da4oqAxoE8bDriVXoZ8CtvJriikk3HZ9FzaOfNMrunig
YV99AUw2ugFAqNtKRxC6jNv2vsOdBFZqq2S/JXw2v5gRbXDGaNpjkkol9QMJ5xJTskdflpZqBWJz
ribS7DZNrcIzEoT7DGVU33FUK+/MoKu3jgislykltW2DUNvh7P4tGzGx5bWPAKnXeb+xsiW5KCRj
H82z/h1H8I5CT47RcuDU6OZYkQ+kgxCLfMrDS4VNptV9tJWMkJR/gFTkJQje7YrWeGrb3NnICf7M
RR61+wHJo4PjJNshMjZkvmHjNvY8hBtw6iP0T6GMX/O8NX9mY4I68ywHG0hhlh9UyoBQkRor6B5W
1TYb1RbpEyXqAbFXjfIcTD2OgaN4VPQEkenud6aIN5QaN1QSf86ps6+KZp906TFPyrcyrX5R8f8X
eRfDoyJV7505Q88RZoKnTyP1eJWerqRVr5LRvhUWpjvxOA8bZAHqg1lp6p1O3Cw1XezWSkpFuXG+
SBGIYdkWN4U+3CWS9iJH5bDRSqvajA5dhamS9cckyB7SNB69ssk2g/Uh39WgocVolI19Sa+/FV38
ZsbqN0BH2LVjuORJ1G58NWhuBJ735IhgxMX8zl33RtsxckOFAGSyTASsI6HdVGjAtDI+XKqaPzlm
8mvO8ofYjsNtXAQFyjAZ3dUCZQA9yihPOXNI9UhmS2KkkRv5TpVMbYuOFx7YefwDO5rSi5Dbc0OE
qf08o1jTAZJOpgzLjUDSvwYKnbixF4d5TlpXdMZwW/b9Izv6rtFUBqzV0AtQy/G1sZ05rsqhnVU8
97rsWTOyZ9g0O5v1disQdFwa2EpJRqZvg8EMN705q248JBASsqlufKczwchqKSntBJHNrWxlxE0m
F24qSzKCnMq/IhK221TIAExKvu1CEW3DUo8fA9OO/ISCEyzDwEAtJU0QJUALG1aKFtQ+eWp9r0za
+JglFUIjKMbNj2MfOg+VJHrQH7ZIfMv+NUnR0cmch5EyC9zfb1wj7G04WS4okuchtPe2Ndd4QyIg
C5WvgdZKN6AudlS2TVBymJNPrGGi76dA36iyeAgd7VAagR8EzYZcwu0iJCrDAfSDgs4GkLcCC5Z8
+BlVeMXPjdghz/WahMn3zhwPsw5K3zTErTXZuwQHD6pZ8209j29a3dyVVL3w6yr8WOZflyJNXI0S
pa8sPaaTdqzIl3vDdOPOjjajFD70SbyDmvdrrILIBWuYoFJfhC4AmY3TT49Z3Vo+LKnYKySxHTKa
LL2a1V5vyrMb9eomL6S7aja+ZUP2ns4cpiZ166J6KkpqcMAFPUlobCW0e9J2+ubUxT5PKIamsq9Y
qIuU0fiGixtfM6wSNzPnX2FpFr6eOJu+lH/1cuD1dlt4KD56gW25YTfdGn2m3lWR+aLE6bfCnAe/
MIPeHZ34ucEd2B2qeBsl4T6vxZ7b3g2UaG+UzUGaNPxLHfYyOR10ad36x8rjW2BwKCcRGLizHP2U
o3mjWj3TReh2lrVdMUrdRnTi3in1u65rwFkZU6NMO9mIEweSqQRQCOpu+SA3TvETaFL4b4gj8lHt
a9WXIvVrXc+odM517eb8CaiWwW3b2Ju+lw5zKVBRisf+PdWneiOGqEF8dtrGBqerFruaDQKe+rml
VLHv5rL2Q4l6d92ZYK6luluITxmEivBYcZ/xd+G9wh8SSrHT2uAhE1p2IH7xzCLaJY7YlInKNoYg
bqqY2ujTvhBZQnHQXF6f9H5o1a1T9nc19WArr58nvUcPXrlP5ezRysmJijFMfUNuas/hLfG6Rmv4
AxpBuNIvVdpoJ2Evhbel4zuN+qgUSMulcXIP9z7hT8eHBv2mrjoqTrVvivgQUKIUccjhSQpPLfqG
YijlxClOD7CTbnVh666wrNhV0/irnKHkX8HuiqEnYbjh9mn9DfLqdrBIPsyU+CY1foao9MS8k9as
fc3j/+HoPJYbR7Io+kWIgEuYLQy9KMpLtUGoqiWYhE14fP0czm6mu8sIBDPfu7bnnN94c/QvQ193
5Zy9WVrfkz1fxIVQsTttuzGpQ29e/wz3Nve0055Wx8E25rz6jclNgBTDzc1Daqb7vkni1ZaRPc47
W7OvtUzuuH73n5Fkf1OBp0NfgFsNlSMfMwISk5EJLd4tGd0Pw9quQyGmQOT2zhr6FzkbzyQdUo+S
k+iUvrnN+lWZNN3aoav1N6/0Lxsm11AY7bHw2guiIAlD4P/p5fQ021k8DnaULuiYN7KugdM9c4hL
4osYvVbYbcrwaGR/WfTyS89zEVDz8zGtxDk2ZfKVrvVtM7ajloowMeenyrduWbqIwJqXMJvNP0Xh
XUXZ/PF79MSbVRObXec3oZIfKlsZvFbzj2cU5CZmfpQr7VZ7OIt0ldN0yOjdGd/8y32N0aZevkQ6
R11i25EnqouwtrctU0eM/Bllc8u1SZdjzkSkjf+l88Trazy0pG/raCkLk+e8ckqMicZSyx9BHV7L
tGucpkzFqYlSq7Fvddfs/EocfDv5JRB4nxGPHXkmf3iryZ9Kz/92Pt9qHNpvpV5/pAnZFE5lPiKX
/BFmv4UFmLzEs+s3Y+QpHqeoOo1sl4JP3XBCRbpDUGuGFpRGvl9mHPrdnEW9xnxl2wU8h30yC/JL
pK0/qGI9m4XtHZTmX1dZ0ShRn4tqvD/mF22b9tYkTovZR6SmxsLZ9nPn+ewC03nz1I/ei4RjNdvZ
efMiGv1Wpqo6+GX+X6sxtXepDaRf+S+z250aq3gWVvFrbfOT3OyQ4IJdp7XnhAmBdBesfH9ppmTM
cl4oLvyTGu1pYcBP6vbAF+eoSDZY+/wwphqxYmMkizo2egiisXGfIdIji8urhOsgtjAJ7Moh7VUc
h9mJrW6Mbbf7UyWODDA7Pq+otJbSOGcTHF3iX+dSQe6kUUtvF/GadMvaMrQ3jnDcVyqguW03jTlU
wfrhrfc/CdcalnpeFgIdqkbF3TYfBXHrcnH+GzBQQu4fhnYMxvnN594aSv1J36znZfHNyKylu1+b
9sNfkVlMnvoABjh4/XaqigrVlGhCqj5eLAtj46yGJ8oHH0YqaQMszUsgJofGK2uOgBk5NngENC2W
zWvW288dye24yYM+VZ/SgnpHtJatcJuQcWut9qIWr4g7Iov/hsu6Hb1olKQQ+Ora5NbRrqEfvf6K
ly1a0fMtCYqd6ocvQDxZFLlBRGZmdyk0j0/bCvS82Ht5uyO3+KmZ5E1j72avX8R2yir5Iqoybmp4
GY0mHL99QDEUtOrVSblmre11sT+1+bsxXtpy3pPM/j4MyCeYvsacBdp/F+0fvf/bF5KHJ0IiVXkf
7bd8PFb8kKVzZ3a/EnkhNuEdN8FpyFuEFjCS6DSM5trMV6159TOPN2aN5mEO0qmO6vYfZ93esraj
Puvcim/alB4STT6CKJRBpRkXBp1gm5NoUno09T82HK8r86Bu2siybhqWdcLWrnYD3eVcMv2bXISY
eTGkiuVlnJdrbySx7EasW9S0kKKTTURDdJ9lmcRWap66CtrR/0nR08xOH6ftc67cy2y2j9rwniS3
Erau6pNrXvZE9b83GfrRaojdlFw1O98tYo2QoEWlZrITFOTNlmRIflm9fCAlAVnqQLjxk82dLHWG
yKo69ukRqRDDgXamlh2c99/G/Sk3FpNy4xs3nXWdiw4tNDre/co/82ovXGBfMyg9j82toKEAjOFU
WE/2sNPIU7bSKbKM50Y7GsXbmH+VVF97fhMXXbZb2W46jn1nZzBOa+l/1dpGYpt2mn1s2qtRPtyF
KB6/AHVcadVEv3ZNhBA9XLw/k50FvZ4EuLIoLjR2bfqW2o+a6T3Xw8dQ7RPIYal2a/ul2CH7DLmr
sr3jqnMPjDZsZdb/c5ynir22FxrItsWU3VwVfLSAPXfy7gR1qZP/21nsPZV7VrZ70eoiDZZlicZm
eHVR7q3OR5IWgerp6viaxuGalP177/21rBmII4/zIrGwpo6nmmPfWqtYVm9+tx4TJ38Stf2ypvou
KeoPw2Tc8buYup94ZmTQEskAPobjoJ1sqqAYegNiOaAkuTVKebh340oP9vi4aUPcVOtum9cj1hji
cM0pxuI49RAT6as3/6xWHVf2Sys+N93GhnlrnFs6njZvi3ypkYbnPGj53rHzc0/Ws2o5QpuZzwPt
MkKc+7Y4i2xnee0J3dyeahm2E+/kCnU2+RCSrEqj3H4R3vQ2Tvytq5nM8jROy7919eiOK6hSfrF4
mWVnPWnzIaOtjRy3H8cEi7GKnWD+zksV+WrL2RPOTma89u14mrtq10093mk3rOg8u9u9be8/Jn6E
qjb0a4vwwSFfCUDjlhvtd6k3z6pbWPCJ3W3bFp5WK0N/LZ5zT3xzFhzmUquQOAxPNiG5arUY9RFJ
BX3DQCrz3wwAliIQEI+8nF5RdFYh1tEpWi3nwUycg4dugv/NzFRqD1mthVJ/AHA69DPfJVaDrmpu
it4rmy1vdFyEn9duiWfDhfmiwIm7LFRCHIxxuVK4iQDMeCtUzg3j7u1c57aZ4qEuwqYsTnneXhTr
MgjKXSI5RaL9kvUtSfPXsZ7+Lskc9l528PUlcNo+5nplXf61ECYo/RPnIpNbEbedY5JI0p7HhAmX
F3K2GZjV0W5JcPHNy7CKZ+nNu7pMWVYcP9A7RKpVSZ2P89Xjecy2nKmaLOzS4SIYf02HcintR3O2
Z80v45Ib3lhR0cysFbMVp5O1Zz0LSru4tA13qcbW1b0a8r+Cw0IN/s7gV6xU7tajeB7UctI0DKTe
vw4/sLXlD/58cyY3YI1rqwVYyggM7Ylq0D60Rz510xujpGhj1WS7kbaDouaewEO2X4blZUrdU216
r4urTkzfL8J6l4YeEs1zcif09XoW2/7LxtZs0mvi1AeLT3RrgYc41LRmfmim7h2UaVfW1tE03lA/
ZpExdDfbGs9jZQKV+lCy9nfqmK9OB3qEmzqX6qAV7v2ck2c39x+YLQ6W2X4KHfqA38C2vEczfVVS
D30/O1aTRRWjH6A7ACUMZn8OWzfhDKXD0E3Zju4NLx3ELN/2+p/Zir3m8ciRjXGYhIP7ovQm7g3y
cc1j3TT/GXVsJQepN9GY/C1QvPMYh4M/G0fDQwyxmRF7XNBr6kBVfVDTUj84SeRqY1SJCz1OZTj5
M7NifWh49Z3iwx5HXp0hGDlv7O2PllhRMleXuh0u0sliatoDZvXAE0fFZ9blpAQimtCsdz/f5wVU
QXrI+Ie01gbYhoKNdvbe/I+yiEDnrLLY+Nm5T4lZf9IxDkSwfmKs36feG3pHVjztq1vUaRZTlPPE
LP1z6CjU0fTHPN2OYy0/G77bIGgBcvvxYFC1E4wm625eO580Nl2LTrugDVjYlxFv9dlxoWskVv5q
RP1oPndr/4uSgRwNXV4JWMNNyFZMhu1/hW6/W3b77DrzS5rwU67u/Iio/5UAgGfLqq5e6//VWuNZ
9ijF+uVtzHbVNOx895rq48voPJOKR0bTo+l+ltwfqv8SBkoro4oSozxisj02ls8SLiPfPvvbtadw
Ysi0B31ZI9Hbe5xPu7QqD6v6HRM/6hwN3XQeCirmwSOdcebQ+YeOMK5gQlz+ry0oEuUi8LQgs/9i
292l4muc5oPj0aFdRBs3Wc6xqbm/Q/Ku44PzGgosuHCdrIs82YUYN/dVap2k4rjqDhABe8cYT76j
7bHPIwB6FFP2ndh8xlpBgQtvTFscBnTaphqrg+Os65XmBOAiUCjOJ3+58QIf222LhK/t5HyYBw2n
5lcu7w963E3bh4/yPBPVns3+6HT+wUk/XT85reV4LrKCDowuIOyasAR3X8i/U3pvADFDEk8OFSu3
trRECYvlpcq2182Qp8nhq1ecMrO+2dR5i+xVS4yz49zygV11+tmSR3/hDmNUIuc4TNdd2g2HouBA
0cnQUhg15vHgFcCw1pPJ3CxN6h7qh355cVONIfs7UQ5ypomol/esS0M1veQs6Q0PNs9PVgE+IZ94
lamw9IJy1YMKsaTZfVTmECrvIgYrGkdWFbSD2aHUDiO0Tt2w8q8/pfVqA+8k+XIGsAgGk99A/dR6
Gzjbb90se5DcS71V34PARVK5UWFTqTikcVlZYSstAqN9dVx0cZisW13eKvd1Lpt9PYFhYhqEO+j9
ay3eBHFFYwOKn+xdzf8zE6A0lka8gYK3SpCXxgILsFSJsze9m1V3XScwLa+MqioB66Wszm0Oujnv
tX6Ne6blnMDmPB9OGuKzpChGoNl5N3TeczL3lG9zhTRes0/KbFc78oh386UcxMEs6oN0tOfEafao
bnMGsPlBVfXzXFVVUMxIxU0QA6X3nHOGjVwMmHAzYrLqjLBu7TNM+qFoa8nFTaYXZR35Q6ZmGU11
+k92Hb316UcxdM8SdZyzOrGp+XFrpod1SU+LbnxPrXsjLnI6VJn3KkoWSV8vcwAqFJG1XPOgFOK3
nBRQXeMN/3DFTEcquPqgmCjhkkV6IkN+v1Qs5r6GpEWH1tt7Wv9o3J28uHx2c96mO6kAo5XqnmH/
h2Dw8+2gq4zVb7RLBjJxsJfssGEfDxKqNQLTTw5EvL9OQ2sG0+y/tTbCQLfeutDvyt1SdXtUUp+V
4TzaA6NG7zw295CFLeMTaSy+kJoj/9ZeDlNQ8wcYEE1NiQTTTnsd/NoxdlBx3HnIRof54lnl3txM
EQIUsMUnx+T+RsKpN4yW9dVcsZFWBXSXmtfvUppfrY8OwvP7/NGQWxdNhomScd11o3XcmnTY0bNm
RlNR0Y0ymO3R8LN8N1rTn9ahSntuxHCeVfMfC5sX9i2fLYQy7aVJT/5yd03c5VlXrnjK9PpEg+CL
LwpmXjFvwSw0dkO6U5kgFKXceVnQkeHNeBUHH1TMEjAlVuXQM0noRNMjnJ2NF1df6zflt9KnHXge
3+0EHPFN8qR5yU1THXkZJEW+7eDfaYrizBgx+69KLO4QaeOgQ/Io0GqRUnvmp+1fXyQIrCsvaw9a
Voj3yq1s7bKhVa1uYLxb/jdfLOX9a7RGFTt7cCRwAt+JyyJ666HzeK1W1fgPujPrD4sOMZENg/7Z
z14SmYPHUspKEcOtZCfYzebLHO3kkE9qilM6uZ6dMUcg1yclMVN+Uz3I3Ooi9oMtKKu5f9Iywzmm
2ibOFuVsB6sq+h3IRnPRN/ofzKLK464YbfBOqyt21ERWkTePzyMb7TFPWRT9urRuhmrQ1upAbbFm
mB1upNYN1/KeUenJ+Wf2uyJsZ7z4qMJRbtbJ2QHfuWyKc6BMICTGcs3jUpVi3lWmNxyBlOpYDdV0
hmSmX6nyyld3gcfkO4V4b6rAidcxe8KdoruxJjw2Ec9dssucWT4HvnfPYrP43damcNCOTbU8Wv4C
STKl+pPdTn1sY1N90ZK5fuT9NSMdkRnJbQKeL0ObLImjRkptVPN+XijVdut6Ygl3+4NMHBU3m59c
/MRxQ9vJ2OG8pCrCNUnNj/X+is4la7QtnSSsyTG6+eX9nFvoL5MmbVG1pZGT2LmodUiJY8lPjXU9
t0afXSu5jXqgMr93GOU4buzOqI46YGBctVm2T0w9+Zs4FgyrrkT/ltbrcPLzzIjuGfTx6gvFOLUA
Pqy6CWOke4ctG6qLGmtjj0hQBN7qUwMp/AH+yvFPtQaaS+QLF4rXuwlq9KY7N5ptPaSm6Hdr6hvw
kTWGkyInPDIdq/Ms7+sIQPOu3ZCfWxPTb02vy7sQ1R8hZzdwIHT2vRi1O2xovAoxqdBMFECmnOS7
OYyDirJab4BVCK/fb6qpKIeeymebfszf3J3q0Cj7NOyp19rp7UzATwdcORTDdFmbkYt+SI2Xsqrp
0bamqlV7w7RnrtnR7GhaXGsIQIpMPJrS37beeMSgLIiyyGX24GupRP9LJLWUEGVZa2V1ZGbL5F9a
pUtqcC1QeTwxJRRfebZKSx++fV0z2LSQlxQp9Aa1X4ohQ6um8qOrK93+pvhpW/qdbW/D0B1TsW4l
jJFbdx+btiXNrS005b5uvnL4hTmHXsm4wwcxfbhuZYlf2xzEAssiMfQugbcN3nrqFunJJzlopn8q
/Nn2mUYSUe9Wl/vxMiqtvNNCucSASXSln2te1EoUC1BpiBzLL6NFOvWT2pPl/G201F3+I8PBZEWw
Gn+Fb3LmRWcMTqypz9O4baU9fAN0jOph6jeVdBFGY6a1YPUGbbvljV35J8NBM1ixRzdL+6HL1kmT
AI+mKQB4bF+lvERqLtChdrXtg+sBvyXVl7T7GdCDgycbfzQXzowtPdN7/T9eNheEGE0Jf6WgdfOh
+yIeqB6fHHta/KNmF7b6SBKjx1vgpmby6/Lqr49rkyzrJ6Lg3joVTpMMYT+4qYo2myifQ1pPyuHb
2OZ5NDqy1t8bH7Lu7NgsFjGCZY8s17XHXAnHwbfG0me3+RJ9Z/bPpTstLYPAQg11NdLrQuuB40KW
DYgsr33XKST7nU0aaN6PiYX+xEvdvZmu2tdqNt5Xb3sum8uaKi2Ps0nLsiVKli633ZB4QaPSj56t
tUCHg93U/bxPWs1jhDBKXY6//MidE1PIh01C0Bb3O+rjOP2oxdeKPETJPamvCokBw6S9uHoF7pBs
Q/6m6eO0xjOIBR+H3rbOp+dz4APR5fnWHYdh0RnBC0ds1mtjNdl/vWcu3Xmp7eXZtf0R0UNL8POj
7yiziqsGDBzEz7I0tYYt4uPKDep8NeCYzT6d4HK1dUv7eyup2X7Z08axSnhXwKsKLMMiHDQk/5UB
QY5NSoSdmxts36m7npMmNd2XlFOwino16T9DU6zDM01KZr4fOt/qMG9Ayv2uFDVhai3Krgk7R5AO
F/Tu1FMWgJArZ0kzJ8zR6WhYO9vtGb7VZK7F2Vtbg1QLe2y07m9bEZ61a3RPpWetE0pEasHR8duR
i7BElkp08e6n+pb8s5ScHlwFLzLdO64sFwYnTZNmv+JNAO+ym6VmykBZmEVdXrbajycyz3t3dBIC
mHQ1UP2/CIc3/QWOZsOgoU9jdsGrLrODQb6UFoNNYG4Zt3Iavjf+rfbp1gXHZ1BuU6KwfOiVCMlA
X7vfpBe+fEHMteUHzxnThTZ20ruw1iRb2dZAZWSvjY99KRj+ssYt8o+xhQT+TBd3EfskGSz34lEh
Pb2KZnXaWJCWgN9PVZj9/hj57IZkImbMxuPQ9eHCR/JfaWR9uue3FXawYuEmCCgBrSERd/lnSz87
kCxlfNa98uddb2bmYSmz2T76yvPOGyr8U9oojavH4KMiT2TdgGH8FatGktTeNYMWvXJQiuel6cxP
P4eYJgBLJSFkXfY+LWrYOymzaumNgsS7fpVrYPQd4E+ZabSMe2Nj46KYcu+KUI1xxieq19UN1Gz2
KvPqsUCR/rfoPetTNXcuAo2q+9PivtnVQu+eRGHLZ9zczZ9MUs7EXxWwVnqTZF6Z2JXtiYt9aHU7
uRpYNvtjk2bA8uvoLS+t7ms2+4iX9EgsYADCEWEL8qBMglfXlDz8M6l4nQPLaxYfJUFi7eiGIfY2
Wftr1405fYey9J4cAoy316GkgoFdpf6hEigfomGyCxHkXrP10bwa1qla+uzRG+vuMTM0hcsm+bTT
8Yvx6711+y7sewvRXdemQW1vWB/m+ZJu/d5wxndREYkw0Y/KVOL3cTVYXlgJ7UNfINic1PnIyVu7
qHqtdqmJuK6Z3Ftp3ks/ecFPiURJhaFMZ7oZ0/dEDOofeHN6q7We+t+1OVDp5JBGMB3Lqtd2DFUa
Ot8Gy+habHtuw/oiEkv9YbnIGPi7U4L6LuxJwY1EkYBRTd0WbEVj79PEwHcyqP6g2lm7FdwGeqgX
+lxeXZkYD2iXeIilDe+xZjnjvJY/0CB99PqufJrSfnuQIvv21lEVh6ZjIek9Cty83uxLIB9pE5qY
TMbRG/iqEZbYVQ+oCpD5VCXLeCSWzn9eNdM6Dc5ojWR8FiicULvgd06t/gNpyRC0zfCTD41D4EcL
rzNt456fhjTsVtsVvr+BrWOnaihgulNs/a5uazPsedrHxentqPPUJQPjcipF29f9r6jhlEpXumvt
QUFEWH1n0WhDLVjTelU4rJOPT8n+EErBu9eWeHDRnzHRiPpGDGQdzlb3bnagnbrbbGdlJunz0G35
fTicgtq0HobSPOt+yd6CVSRsK6sKl8yxg7bznzajuzDpoBZIXI41f9nex9FDGVKsmJQSY9eMilDH
xZ1D7m++tjY7nbHwAYxmdts2CHI5CQzolXq0lRRB41ScKHfRxlIiPkVg5yB8czta9HAStqNrnqdR
3JhOvjWKJYIU+pF3tdpCVKZDLGTLSOgy30/Y7AMhNvZA3eCpFkxz1uzsvbbw6Kus01M3Wafxbid0
elmHSvfDZCorAGs0G3zb8dhhQPZrXT8tzebsRKtQNEzjwlUEkNDRic2+j+Vt5rt7xfZEfFUps7Di
VkJj+bTgAucZ8Y3W5P3Ihz466kMud86i90FlWmfYyiw0NyPhTqy2uHXxtE5e/ukPAwAm02zseQQh
lFn3b4ZEaGt3uWjSfrV7Ujpl0b+PDrkMvZ6JkBqjJfYNXRJDW3QR188QybQd9rlcxVlLam2PQmB+
c+170ZM22DGSiXM7zYwhNaa0Ts63MutbQgfqNmw7QkAaOjOoVWz2oxKHLoMFWRqUhEUlb2mWQ1UO
Y5SjxA6GqeBz1iYr3hzjj+oVoyCVNEFW84CJGNhCaZflEaDdQDcgoTlS5pRKlntEHdAI+XTxfAET
BpQNNasudtJDOUphHXmrtLCsmJlkVnyYEyIHcsLCLd1es0W2kV0O56bSXu7hhGvrfhYWaDhc+cGh
Zyjw3eyG3OtttIEstrl9JvfrM2Ogv8sWzDC1u+kpbTpkcFY13Qq/mHflaN57Mwxmq2oJZ7/+4ARG
a55zaudS1LGPqhFvPwyLnpKZR2oR3DX/jHpDrLp5Lm3gFJal6k4Ul6v8GQ3diaSluyE1dlaUDe6/
xBwfjXz9QoT72bbdlxrVo6m8a56Nj4Aau5oJORhUfnJqTXvPU+Oxcmu4RK9eY6v3gIzGdzLgnslP
s3buZjwaE5baKe+X32amGdASOWDkUukFvw2jSw4aS6oqA3lxtBUR1KPpbCEMVHVcKkBb+kGK9MG1
5YAgR+e18LQNmYsldutQ6PFA1yvgQ58/A5r1EA1WeS5oWb6BP0zPOprl99rvtzdl29MzbWXWbvKn
+qH1CBIhYri4LJOZubDoDYooaC7hxfVcdOuT3vZ8KR16UZbId+oOtZj7ZiDUGdgmTZBLTTlDEyVb
bYAXtRS2hJ3eP/TC2qeWrpOcLNEoGPZwlUunvQ+6s+68XO8jHuS/VBewga5iuZy3DBfo5KP3m7cT
jto1lDk7aQPiEzdsB5EjRszSgpfWWfMspGoW9pDEG6xGiXnw/fS8JM0nNZ8yzJGYflQKWmQu1+7I
jtzGo+6os6zY9qXMIpzJ5S4fK+gZdZVisSMxbGrnjtZ6c21hx4lmzDuAnkO6tcC+xnDMkxRBCDBC
4ZGqlrFg7Nfa1YlSqIYDkm6T1aj6hqLaruOYcq61tB81tI7oG+7oFfD0pFcyfeglj4Wnahz7JCMx
CV3LG/0PZlAX8KfL3F0Ma3khObRF6FPwvZsUCog0e7K3hTTt1C7vVdP8hs4FCSDrtw44tnQz4npt
BC5pFyuq+bh+yrEHKd+Wl823RsA+l/xRaaujUWboTwY9du9IaGOAW6umLbjn5JW5HBhqZh8TJB8n
c3sQC7W2yXCU+rThFfD+9MP0r+0J3sXeou+RaCAMytKfIc/ubezHtsT/WKqdpdXyQs/441a5Jdn4
WCCJntzA59H0AImzBelLGg/z/fRE3CS2GR+z74fKks+mn544o6MxM/8VfftRTiDdZb/dRkKEQ2Jk
2Qy65sutWnsnG/FjLLmMV9f+V2e8QuTD6CHJoHwGY3c0S2snJ1in6a4oSebXNMn8mB2IKk6hjBkl
SfYhBjMJU8ScyNnr8r0Vxovh4TBn/kW7uK4XfDUfcu4PlcmSvo76v1mXsdeUE+q6Ln0nFuD/qo4i
EqkPWjGUh2Epz5SAaid94mDI7pqV2S7VxSsgU6jhfuKKPQ+kKdGtMVxKTzvVFqNvvbYoFYj+ZN9K
TmUOtuV5f3ijw8ktH8yVKOjFe9SL5N1Y59tYLgfThvleM+ObqFBQ/VnCMNFNuKN9OIvc1kM4WJCR
ZGcFfcyz4u/Z1D4q2bEgKiDjza+ROeUGCe2sPyB5TuZSuoeUQ7iD+7a4qUEaNl7aE8P2DOKMdmBU
3UMnPazaWUP8a41ANDPdS+Ua+4VGjUi1OHCAVFD9S/kOXIk8zeshX6rNRqjSog1t8iLcuLeNomKX
2s4gTi0i5fURj/Jvbt6ViQ3SSywGU+jMbFRJuz4mDLKhORtPWwlBSXQJjSjE7Sl7+VZpOUYFGSuo
isefxG/dR+p+icJNpu+1Hv7ICgbHRMcfpgP7qerMp3KyntJS7bMko0Bs9l9yvQDgEN7PPLlIVdyh
DHMECeE4zgWf6cDYkvefC/tl3tMJnNlWlEIeHTvCDrgazY7ISNCdsSfahhiXeHJbsZv96iSdcTh5
GupqKzG2WMfBcx5aA162tH8b4NsAJ/Vbi3WZnw5qLat/a7PYG4V4aKHY8VqAcSZpdhjX7MRy+tgu
6WOfMgj1gO2FO//xsuRZsUPGW5f/VzO6g3bWR7VNuPfLJNg6v+KIM8bAUOmThnbM0+prP7kX2zR+
l3R1gnLUvhHcHTkH0Q8Ie1cWYM6Z9ONFJG44ripUWbtPO/U39VDHTy2T4GapZ3cjBsPz/1lZ7ofQ
8hLhh/1B2e/NKuXD4k/pGZviV54vKe3LxmcBegZvwnbvNNsXxoqJp+IdElT0T9M6L7uxGpFOePTW
V/llZrV4wvljPXjsxEDAIjSd5Uzd0oqJAk6daLTCT8uA/MndtuR7NVplxNHEc6mt/3QTFa1eavsM
TNMIYR3tc7no/+HP/Eq3Gu1kW+EKz26NtX5SXROOuq5g27ThSeO/C/Ux3xdmeXSX4jxs9Zm66j7E
FaDf0so/1tpgQvoR9kCsNDPZ7AMhTyIFoCUwbupQ78i2OBXzQHGFYUZlRTtr7zrPWdJw+5veTyLn
F/b4PUfjY2KQMajZy+/YlTAwtAUdegEwx8/jzCgauKtiS04/XMPXGmoo9ktmw/9xdCbLrRtLEP0i
RACNeUuAMylR1Hi16ZBkCfPcGL/+Hbyd7euwJRLorsrKPDVG/gNxRNxa2t2JjD7Mq/LJVaUK8gY7
Le1bM8hPd10G3/NAUllWnKDj0RiwhGpNeiDNCIghrg7LyhoBkARaTZMiLBb1GzdJFBpT86m0ces0
1huxMIxk4pHlXW/UOVe3cb77FPsi5061bTV8Kyhn2qUcWYlsNfFeyYJhbM3GUoZHJFeYfw9En7dJ
o7rr2C0+5VZ6zXTzZEcCR9H4Y0zmRwRScyc7ybCAnwUrDnvQUGBXt6sIWlp1Dk5UraFSoYs2hIke
70o2Iy7WIntJY+tpIHspJDSJ2pICdyqPrzvDa6hScxNTmK2e6KK0k2OceoqBMqePVdD2ReotttwD
IzpMb1F+NArv1deqs9ZaB1fhD2jF0ZYyzAqP0je29229wiYKj6uhCkWuiDwszj9mDR/+3O0hUfBK
xsc5QXWv+mLATrHsoJA6IY6WZ89J45ARVBS2LfWGPh6SSjCx9rVzxNq7oDI1rJ24I1RrXybHXsMl
c6jH6U9VGc7G0tJj2RK+1KdBP5Ip2Gc90ECumPTq5dqv5fQkd/ruBZ2n2Uyd2EjNOUMJ2gwNO/g8
jHVmh9NjvPAKbNm1uG2dbxnXT0LVoa+mn9xszpqneOXEQyeK+4Da66thT+j5I/GjLXrZdioXZufd
/Fz2WmjmnGqp6D9tIePAHRNwdD0MdEvf01A/zY23R6raN1WKr0IGTFjhcIjNgvNzZECe1B4OEZcV
5BytZnLK518/x6NHd8QgwJheKm/6WLetBcNkPyu733e6F8AVWt0BfTdfK9U8NIvmMt3msWsKAgvT
HzkTco4MpoMoXV7LdH6fPfFs17gJbEg+FivJ92NV3meeoqBPtEOlNzuFDEiWw36EssyorLh2EVYK
LyYmpKxPr3S/bWV/zJDCQU/wsBBE3ILhPQgTW1uFWoySrBcHlRTHtkAdV227E7XzNxsFr3R3KpiJ
pZZ+KBd307TDq5eXh3S0zqjsVybBPKTFQwJOplDOvku0DK+tc2riBoiEoWGDi7zA1sqb0VvlltVo
8DCT8dGf5VkZ5TGV9sVc0514ZPAZOe2njecLX+apjND98wnAIJqWuXS7lCdWU725KePqXpbtW23C
gjFURLx6zTHJetuMLG7vzXRf9BPev4qyxXu18RLU4sFdhkPuYUiqcnzoGNITrTk6ZnJp9eEoEwKb
jcek3X0yFRASX9v2U3SjcC74KL2nuO73mqiDyMMGCR0639AEVButtN80llIGdkLGwKbmq4rpYfKn
3TzJHapuzlmGMWFht0nIwf+YRcQudb9A+kh/3I6HavWZYBH0O7z2VHrAMK5jaZyjbPivzvRPdrBf
TKt40/Thbi/TvB08VwuNqDou7vhs2v2uGzggrOJDy5oQiX9LGIoaXYHEMQ06asM0D4UasAquwaxh
OzsWXh1CD7onb2ZDInKpQS/BXRrk+LX44wsCLx1xsWLUTkx8Tq0icjl7fzpd3EYslrXpWol1anhQ
oD6CsnAfdFffOqbDsRl9asL6mwb17BAf2piD846EaaN4JX9LwhHZegZDcDHnYYTRcFM2w7bqzHPb
YfRubfdkKrvZFqZ1bCaxq91sNy82A8ssILcGYYmwgTX8i2x5ZAXnKeaQKRpURNtFz0a18GZMU+30
pdcmrBwZ8HzsEm35A9od0ulfDCqKNhPQUs3HSNA/jOsWwmQ4pfr8x5jRZtNvek08g0kQZsHoe1yN
ZUWF8VWpoyzG+yyenTx/J+ZOWe2FDvHI1X8uMPrbrDcMulF+1o3OBGs8RyzphJCEB3LqXjyDchDH
J/vi+pO15Nu4QM8ZV7lSRviFGY24Aa4KvHISa5cc+y4cJCuQ0vk7ldm2bZ048Kv02RKSVEQ37ly5
3PzBeGOv17gpl/oQTdp/RlpOtGHl3dflxdNzEaomerUzOsBiZptEzPa2he2P4Kmu3rx8zY598zNE
EgQKvF68fTW2pM00LhjeDAMxorROrjEcsRnSp5R7UQK+wm00iLxA50OaYA8i8jkbCKE8URrelxn2
Mn6CIRk5zO1rvIivOjK+owqTqa924N/XJ3ifOJhsIdahVuvWPmNS1XnG1pv8fc5YNy2qx9xhtw4v
58V1c2+bM89R6fATAyIkpfqQEpQjTwCUSsiQDTVhN3VvlSiOS9y3vKAxfPu+KaiIp8PUN99tZa3p
IPNA9krHqkV+VXQPel9ePMLWproPnUIFXMQxdmY2Y9pPWpF8jphsGp/Baeo92tHHVLShkvW5IJdh
rr+oY+3YyHjuCguZ1yMSpz3DRjxp9XQwhuhKMBpqEnngerDuwtXD2Gopej3tSDncBOPoKwJ32HSY
u2W7DqewWt4UE1KjkGcvAvY0Fvlfknkvjk5osyTFEbpDOu+ERzCUtqAMqgpFzK5/k3XROwYbBkAl
9ZvDJAb1tg2mFPVQyPmZ6DMZcAIESZmRerIYMDQy+/Vq72HxGaIsLoZ2zpg8M55G6Z/dpf7t3fSf
WWYn3Sh5BxnGmh75weYdKn04N8Ot6a/4YjYzzvQxEf/SvmOeMaRMRYZi60IKZojbMUJcU2R4hWkH
sI+l2vKsGd2tM6oQcyzugl7+6SPesak56Sz9i8lGsy/hlRd/W8TvdaTvc+EdEounyaObSsY9imRA
5BP7Z24Aw1IIZjSyRfotTAxotQg70yNq54xMK6RNdFEvw2i0VGhCJH3oFtYTN8Bt9rgOHCaZNGyG
NfDQGnJ6HGLSPb6jqMNKt7o2UaKQ+sV8bmYWfHpO1+2aqkyfupqcJXHmnyFyaryX5QrdRiDMdb38
ckla7klNGmHeijTUMf1cddHmeL1Qn9gr/tHGES6CItrqVvGXa9WJQu/A4bx1x++pHj/bxNkP5fLb
pkbgomZExZ4RMtimEGDspidBgY2C4CLnt+EC95sgS6TiNENZKxsm4Sh5aObXWLEkvor6oJvEAX/Y
sSZskWUUQGWOe0q23d7O651vqIc5IYSJvT0mfWgP1dZ2Zx5Y/Vbq9lbyvsuivq7JeNZ1hT2ltun1
N/3/7edwVSDHOqsMWYwaZoSYSniTrjF2oZbmR4xCm9TEzBSpr1qX+3FgkTobxBaCN4VwYJUlL+VI
O6ji9GKn3YdfOldeDqJ9JjtkP4RbkZUhCmJGp0gl5wh7tUfDpf0Mo86hyxKGyLjyYV2SQhzqlRRH
a4Dx/uDBsEs8872IrB/faK5s9gAp2FDmO9W6qzPLfsqx6gNm0Sm8wm6bCX+XDgIHW8v3ZYTA9Hc0
tgBJixNL9y4TMxjSUE9ldOOn2pUT84t5tP601DjimwqU6iHdc3BG/GCafGsi5mzIPW7HVmySvfa0
z3L0I8Qf35Fvqebga3ytxpdq/PFTnPEuOmGX3zKEIcZCL2YyfWTOEPTlb5e4L1HjHMh3PYKseXVS
tZMLaDs17Ews5faQbNmnx/LgKv6ED8CElpwJMsOwZhOSu1OV+94oDqZiQy3qQlqC/GlaHuK6/5dE
11JP9j03Szf1P06lrsREwzyiVlhHpq1dwcAt9b2LycsnXL54NBS+e2JOcuyzfj94r/zeYZXN94GY
7kp3mPuv3p23ige56ZOz19YPblWcq4gOrUieyyW6+v10UqN59nXvUi3zldisb8aUikjdqJgqm8+W
q1+KqOLrHM0TFd+jHiXbyfNCvWbUEU/PpF/JuaWn2ue+1IbH2JqBPthXTDwGdlP3OllI3dpylov3
neMIi2Bn+aQ2NTKt3aS/dDEEJuNPX/KjWJxzT13tKZ3iHGVlaP5rAFsAq+UUdIdP3oNf39aoQ4Hv
CdAA87F3bsw4n2PYsrLprixvCepyvhG9YPJ88tFOWAOE4YKRoxT7hDHB7CPEjbXJFFfbt253M1vz
Vbi0SqtW6o3ud6mSnzqX5OFsp0QQKI+FbVyyvvjOvfqFsymc8n5X+RGJ0m63rkvNUcO7RP9aB6i9
zM9GGj/PyUwgCtXWGfMPp8rfReaxWDVNrrnEWaq0Zz8BwJTw3czLru65xIAG7dbRCiambkNRguUx
giKK3XlxHhKnov2o9gbTkiyrzpWUR7vOQq/r0esYJcV8oCSy+YZuPEGXfJr/cie3GHSRUmj0tzKO
767R/kW4I0CMdsAW4k9BrZPk/TPbqUNwNgcV4S4d3eVF2lxdsahJe8r3ZlX07O7FwNGTDSS6m+4A
LrDFuCH2tQ27tyCElyDJ45+59532ZDbTjYHwNrWMJ9f/HKyFsHsV6Mp+cxJvzZvjkcloHEybA5Z4
IKxT/jD0afzVqMIuJSAwdvEb/cyxIENStHfZZ191imO7fhp1k9cjPxmIKJ2JgtrOoSbZ/IYRvyC/
zzrZ0JHjzqnjs4mBu/dOfWrQwTTyYWpwbg3dwTXL1yw1TzMBiTnhXvH7nYZPVS4k4MBDmIyEW/u1
keNjy47PAOnQ2wxS3zEjbQztP1IzAcoI6bHkd7Ks25SOF715HwYu1Wzd4Jrc9C4/EZs80FQ+aPpy
WIbiYSAy5s8msWQAlxY0SabSNSiTtW/wczPIIurfFC14YCsLhoSfwa4AUtnNsWeM0JvdD5XeqbAo
MZp6DYVY76Yx7FuhMNprT7pYjk1cvjlqgmxCrA5fr1ZuJzxPkEie3HY6kPHCGnYktGNzWEYcKaAI
2uVvyQs4LsuuVRMoTIcoMPVsfq6mN+6KE/fEn4Q8ImrQSfpr4vn4SPEOzrQRxNP8xn/1uLvoncPU
n9UWVOtbNg37GH5laqqj02cwMrPAmLgoGGl7FCAGKajZv8aJHWaD92ShgEysIi3ar5T1lon0eaK9
KyXM0e7kJpLD1iqSL8qxjQUJldXEGwujbY1u1lAMZqUWllO2tWtjF2Ol1rH0GjOdXj25bAXxX5Wm
/+IY2ecFNbJTM8n0Te8s2CsdR6jnzXjD7XZRNrqOjfmmA5FRmtaWsy9sE5c0+gBLZNEuleW/K0y3
fVwRGHH+myrS9v0SolAfUw08OlFRpORG2y5QXDNGja2+jf2bNlofZoIp2OsJfuabxNV2LuvQZpgQ
VeTvGHeEpMIQin9pDLjCy73RmX9DL88tqqemvbLZG0dBPd6sYj5ZGCYq1LYS2+gGJ+nD6A4X5dRP
bWptY5VdUrarMQH+b52GJJO4jZbxPhnloTRicK8mW3J75vVpAO5y60zdMR998oPlNsVyvdjRyUiK
Uye/5JQ9cMcx6YNQUZfUjfaTbxhYs+Hn98u7aSV3dMt/2pi2m8hFSyMVg+ZvQUuNQM8VOzfqAjm+
zoT0Jhvggb1gwhhTcgvWtprrs2gSyBlQyeVgUXO0Ea47cDzYTjMsdtHCGvu6Z8H5p8cwtGAik6Tm
21SQI2IOzPyYx07+q0ti3P3j6ntqY3WaBa+w8wILCg+WLgJMx1sfrUAU+9Ju9z5FaY/cFgIRFgwG
OnU152uWfTXdn96Ugen9mfCQLM4lU1Zf4F89rEdGuBjpiaDdZzz6xwIZnQJ4fGRP7kelAU3PMTXk
KGCJPl+q1Atc51xoYmd3t57AhqX/Bw7poYPGPMzuX0UWwslcQDNM00BZlK26jNa3lZK9z6ZtCqRh
lnJjxn99PWOdVoxD/2jjCPG2P0lKwFW6F2eCeNOpsOgaNLD4mlOPe/jB6fzj0qT4BXlFZutC3OyA
zMu2Co48lXUnQM+fnstmhBTeK0BfOpik4cWyxXnuPlRbhFpLUi8X/QuTPSvMkulhyM1vp4XFtfTV
A5Xwvwgj9sxRwIlACtazKGKdpv/K7fZmQVtr6iawPXZNG/LbKfGw2XFDZeRUQQ9+y7dxAeZ81Hpc
wKhPSTL2T5PKXovUDvt2FawzUBE4XowEolQXvzf8r21bPM5FfYn4QEeBNZuoO54WVA0Os5bVdG13
j+R3nfzjYoL3ygzP9hj7W3ifOFv6hZ9r6ee9XcTrhzq/T4nxGSO+b2D1/dqNjpXWXTkZBOHjiIJK
1V+lTtheiFtjN/8Sw/u0+zeUa30rZrmXqb4r7Pgd3e0z9h6nMvtT8/xaFnuMbqQ1WPKW/INQthP0
QnXyDCzsnz6WF9/oQlkZXyrx/2N/NafYGUhe0ObyV9NN9hMm37bbir2u4BU5cHkCP/LzkHQ7N1sB
SSK7RJKCrNTmB5Joyd2bZvnZro9kVqjXJDE93IWMCnGSzSjEItl6uVc9qVpjBd3CcMSe2eHbLkIn
g9l5Z7v2rKOoFYgOcFRblZlnjE1S8CrEvL4lhoySUGHYWAqohkt7j4sc1oQJ+SNz1Uo9bqLzrINd
BO3VsHPRJGOiWTN2Xu8Ln/zXMmdMcfz60xV8eYWxitqiuhfAcXfSnb9G2yD65zML1CbyzeXEAmB2
3r72jcPfaf2wTmivrL7p942FCNqlCuaYOZ3jXuuPNiuLA0SGaqetdCfVlLj8l+k2Gky+3R5WdFQy
onAoKAc72eEd4D9TMMvCF/k4zN7dGxIXIbUwqcSarRQEEOPeSDbpXIq9Fy8XB+2Qg5bEbl8N+6Fz
vjDkdxSc6gbqpKCvx1LXuRHqYPntCgeigcFvAKObZdeHgpHTRkTGTWT+02AjX9vOIauZcqUTsWrl
MFj3+mev7A+1zv8CWbVOxM7x2nBS5RG+05eHVOKiiKSdvGkaw9N5zQH15sVv+3V0pb3k1JMLJHkm
4B0akfrG28gYiaUnuUDYIWtllQ/8pzG385lG0kw2fW2TW1HLdzbxwrRLPG2Xgu52NKCpxF7BvG9q
CQqygVl4R76e/+BUOaQxtWPp5E8jXKjBnZ9Qyspty6aB0LRBAeDzQF/N6p0t8otbIY0x2HwZMT3a
2fTOZqz4kOJIDCYrxyjn9cciWXxmsTX1oO98t8Pi3IqiQvmSbbUbBjcKYMyEC8dRAjXMN6uzp1O0
dnH3n0w512O66GCx8hdDZb/JMl3TvCOyqO690J91r/rPWub1FkIZ8w2LUNlQ/zimhqG+jI/EDcK6
tT6lRyrDssnE+ylzqqRhi8xQ/BqJY+AUJLzQVRQGVYmobBXNvWwd8ouEOxx/OYp4xkKQq+nI2qHH
2omveN3/WyxDnGhMv/lcf4yi1oMlJ45tiBtOuc9V3qrWqqRMVwWqDeIGWINhEcadXdb4YN1FVfXk
hl0PYOvjMQ7idPw01MJmENggy/KVrWnwRva7RliAg6R8qKrsKhKOOZqYZDMUCdSgfsmwWUY72IkK
uARMw9qY4CSnICkMTuXA4tXapKr6UlI8L7zcJS823yJUKgVmeRObpnHsTeTgESc/00Dsb6UFlWNy
9N+i46GZO0Iw3JVvft25G5xkGAVT4DK0vFslEK+zpYUYRjANv/1vUmK0aUa3gddG9sttQGsVWCzS
3D50xfSLBjAe2k6Qz0qHp8xzDsy66Y6yo4Y/EcbaGHarymnlGvI8zhCoMydGX1+55W1r/oLIH+aV
caL6tDRGFWxJZa89KXgDYIkcdCrvdao/CuNiQ2EKl3IYORQEsV96ZzflwDUzbcd8ZxcPOrdzbp9T
G3yunOuXasq/PJ+8a1Eb+1zVNPQT9eUQPZgNDZzZ2JsRTkpQ08bWZjPsHClfl9l5VKXzU7KOre2q
MM/L29DWn43C/VhpDCIL3IhJSosjxHONqQyoTmmFY2fPgRlLDV9/dW4K+YAr/9JO4py2xsG0ehdx
+Z9lG/oun51nGHSvg4f1AvPPvZz7n6yPH+deHcvUvaYpIk+BC37Nc1mxcWsT1BAh8n1S94/KsD67
InpfxuHNaMQ7yj5lqG6emZXudKWhMvv/Cey3x3jspnAWCL1JavSHxcMiny97M9Z/GWpBlF/5joS4
iUAT6WSBchU1RPyBEE5dBCyA7TUmh6W0+mMHEjjAMfiPJswkfEQe0DGbrzpj/KSnnJPMxR6msbin
6VodLhhQdQGwL215OFK7fSwzr9j5zCATUeph5nLjsFiRMUv6gGk52rhF4QZCsalittmwwS3wAWyH
ZQ5z+09EBPYXqB626gr8ytBoiRK4u6htimCu2NLRxuOR59QKmNE/N8LD+oCcahMj2kLqJvcrZ15p
ReSHTHY0RzcOolOXim+vyy5TRkIALBFApJzlPLIp5S6ucULrAvuOmM6JMB8Nr/5bdOT52aVOBdeJ
mR2Gy1FG87Xjz4eOyUdnHmXtzAeWCfJz2sC+zAYM6jpPW1LgVk2Ksq6V6jwDtQwTu3scHXUy4UMt
vPHYcfZgMRJmkMO5MJ1iC8iMEE/aPtBZMJzVvHtaif8Ms4tDp/e5vVONMlSu6hPTgoNyuKOrgXN2
zhSHUwkQCOk1Yd+Qe4/ZqLWyFw+pzzPZMfSReH5wTVEbTsM27thiodnvLlwbmcgroaaDm+hPfpGc
bI05Q6XlDHQrTLm0dvdOJucRculmmGlUaycPc1VBaRAoOg1iELkjfFLJZ4MDY6Hh1qLomz02STAJ
TiwEbqyY4kgVzix26pNn5UEayd3yoyzQRcmsbXt+9WK16c79gFaTo8TSHabOTNR9HtKdDnA+iNmj
c+h80J5Ed9pLpA904DXenMHFKmaP0r1hD3cPrawvELGfhLCMnVE6r37q6cSmoagtygFPKIi5VInB
+1g2eqgKVrg3Hr29qy81tBP55/dwe6jNAwy32S41UIEJfuJsbFZIAjpobXPSjK3GSabubT3SPEdv
KSpOnTqf9YTkb+HLz0p/Z+FXCMycRUt59oaViq+mPdiQ1GLcY71Bd2TiFIg583GCL7M6KFd7WTxx
G1zrjW02G5vJv7foHzMsq6xifV4t3Ks+z1tKkN3YZttl6MO5sBC/09XA7maMGiE9NlX9CmHhVLfE
I+1Y/1T1eOyxNZqN+9GM8z/XFzpYlZ65vGa9FhlkUosNloekRrTOq2iFx85MRQxz2HqjgGTi15fB
BIURuay7aqt/jBseBuThTcSkDwCg/pzFFIi1Y78uVffcURVYZXfUXDgf3XJYe8+0Sl60WHsgwv0K
//nKYnnae3W2YvMi2kd3RoCiy1l5A4FRV2d27DE4tfdkTZdNjW4bdJCOIPbtrHa6OiVhuqSYviJA
4mn7WsviwCz31OfLvaw6Oh2IG5kRDo6G5osaVyhkS8qsPnZfeabYn4MZVZBIQ+6St8WePzw2BhIm
tP/sBi5tRA+mI7symYCpnDp0+FbAox2dsTk2q0/7dcijxzmT55hJYQ+cZZ7piCI8Lr149ez8v2yO
d1IvHhQyguq/MjVfLbhRaea9owg9qtzHuMrURXWHvv9iBrxJap06jm7RWi4yr4YVGclKGG0INaE9
otPhmE3fcX4Eefk5uzCwZuPVZvKe6OOlatSpdQn8wAPblD1+DtzVhMYuVad/Sx2njMclbJnqpa8c
qMqAG0EVRCMFqd/9oUO3g33EY7mRvr0TbhdWCw60KXfPGodpTboZG9dDNOTneUwuhV/uY90M2qpz
OG4toC6yeJN1/25qzinHYUOm7h28HtBN+3GkYEHO9XhXPcqDose1VHagH9s2DqWlc/f3s71XNu0s
+7BiE0GgTd8lRoeuLE+xr0IEE3TYOtBkvV9GDyjhZ2PYd3JnBzKnn3J1HeGUP6ZoAC78X1+bXixM
flb5pSOmGTU+Yjw6nbHA1XBMcg4YmYvokA88KXPEvz+GLKILtSVCEyk/3Ormc+NGURRaFugE9VMR
WaUErvGyL8n7oKwvBBqE4Ul9UzU8Ey8NwSLvSe/dO3dd9eTemtz9j/wFpI/5VA/aL2XrtpeoaoZ3
HwELDr3aFY7PF16GtpyCgmOYcO+ydRbr6CAf0lpSN+F2irI/kRHdnhPspcgYSzaeXKdhhFaOrw19
FHf5znCGveGlJ2kR5XJZC4R3ONcYC2cDtk39eSjNVRHmhABAYaQY11P0CBho9riv5XhRFsVmNXtX
xVB/qPQn0J2EXa2MyfFycTnpGZ9nYZPyxPND7IccxAjrJCErUogt3fipGmdvaQuVorZ8EApBqRUH
rdUuBKOfRrwQEcEy5rFzHML4POAlPs+uCua0fY8m/GN6QfMx/JnUA4Ez4SBomuIQ1/Jq4CcjOnau
/Orc+jBbZaHoxdlAzOiiT0OVQTTOCoMVUsI92NI4eCZJZN8HWdPoKjDaPNAmsmlMQwB0tTzNrF3p
a6GBMirPE6jKkO2JH8Tj3uO858iZqHBst9xrOdfiuuo8FumxoTKvoSs2DpQ9j2vZZROsY6AzAm7O
tmjrb0Wiw11x7WD0oT8U2Sy2bNYQZ7rWF9uwyOpjQePmIdPEoiRS/4HPjrGsGj6tsrqNLtuSiDv0
nnjAqdptRAl+L27apzrxP+fCn4IhlS+JA1mnphXw42u9csoJwR84vl8RpUPp2hvDnU/dYN0pG2je
NY5VbeMX40MFHpB0nWuAoMV/OWrj2cI2Rq8eVozMxho2svNNcmHFt3JXTcVCdVfh7OMfld6zXrzC
huAt8wjzt+eypdlngqlj8oqzd/I3wJIQtIGzgTeq6JYKvToMS3f2HPXsY4gDICTQsuf2hrSTQg6K
6dhAd03UU2ixjs9t6xfVHcGz2ihcoHOcnst4xorJV4RiQGawtt+lBhC3AhmmDBd6VvxKsRoYytwO
xvzPoNbFfMnJZvqEd4ZGm4+4D/cJXvdN4cSEZWzQOrHyn9gAFDiZ9l6nxR2E8kihKZ4SQwcB4fzM
RnIcWkZuLoxYZt0jpRgGkHh08r3ntdu+7lduI3OXydizOCEJCvcX0DmnF6eMxW1aZ9mpL6kWxCfj
yW3XpqiD/8HYD7lgApnrl6mBo9dXPDvtCth2r9JOka9b7XEBYbTxsaiEMp6qUBf9u+2aj0uPQUe6
1s2vfRpxR6M6S+XJZsbc49gNleHt/LHh/F3oCp1nXcTPhYPcVrcdtBEHmOGs11Rok/XtTNzMlkJi
Bnu7IRZLJWy1CbViddc9E1O28dOi0pveuCWsyoCU5NJEJL1tyG1n1kOdlt5ek949n8toSyl6i3Nv
r/e4rxgb/Bc1JNCA67+0WuZBZWizoC1iaDWZ/jgOyZO07QfNSPdpnFA9YAVDXev2VkZN0yv6toQF
sqzvRhgp5tdK+L/1XNELIDp12I2qmCFuZPOTVfC+8KrbESFjUHWV/eQg2wZVhnbiWj3Oi/iFqNhP
nOe7FqqYqq1nUbivPk3GRpgxPKj2ALH20V1ntrSYnM75P18zXmbX/O5172HWJkpLeV4IlqGKkH4f
yWk4NTsWJKq2skEJp6JBBx3GW9LbL4z5GB7EBAYK59eZHshewBNuiW7ULusV2cr+4Uz2U1OZV9b0
HklihqWD0ZA5kTWMOPf5GXTjfUiMQ85BHal1qNG1NG58OIJiWbKAMLO1be5ZO310wB3ACprnhXMJ
Mwqb7QrjpV5IHLiy25PVp75nf55NOwFpWB/bf5hBiLzH/wxLBl7nHZh7WnshEIyGiC1ci8GFyJrw
dRjzXnIVJkYMqG8+5bJAvRd316p4gHSanpbaZfKWa1ytaFbnsbPUpW8wW/nsFqgYiuf99NvyLpdL
irXK0Lk99ffO5CpAe/iwF1ZeCKU90EuGUtdwz+cqmIhkz/q9GEWAwFGtVqZAG4dw5FJLsQrLeLh6
iXmxRv+AGSI0LEhIwr1JS+PNdjiaMwboyO4Dq7xSHIYJ6neCLkBjYRwktrO46neeeY/x/EcD5BAh
qGWla74R031EJksvBMqqs9/5/9mTeSBlfyIGSPxQZqQmMOE5P2Yz7ycJoHxIzePYpJQE2Q1Oyi/e
D655TX4MFmZJUiks/E7a915290V+NAnzjXR6j/LxbrRpuXMFAA1PK25pN21FhNUuM6mbmYKPun52
2qlAT8tAy1ReYMEWFQVmdeIEoZzLJZwXwlO6/9Qu5ZaszHayXL67MdkW8/DMYuQkrMuWeZIV497v
ij/T6e9dZMh9IycqCfywpLEKXNM485G5GozHi0PN6tyjufnRE/hT6HR06X7ssPgSIdEsL5HXfUcC
U5nvVUEXuQVtCL8/o29/UP+a3shhSIotjftBN4xio2FyrIvikxQYxWJDPckT+oT6feeTCGConPq1
+jCZm3nq4Br+eTXijqXYWQ6GFf9/HJ3HcuvIEkS/qCPgzZYk6EQrGkl3g5CF96YBfP0czPpNvNGQ
BLo6K/Ok6Wlu/k/gkFXabieb6uC20Seq2S4qahQRll2moYYrXcjN2JQnQNc76qoRDcxXHJjqUiED
zAaeGk20h98KN4ZwdAoOi3LT6erWwEKZs+oUNUvfwh1UOCPNZzfsaFVXVyo1OVjMBy+Q8H76nWUW
b+kYztgQ7PQjbSkJC39EYywqYIZju15XlbNVyrURkLDVvqlBR+2D9LNFFHKWojahXEGCHaXAvwDF
sjNug8Qu3manwIenFtd3Nn3Y64D3Eq5VfQLVw3iddPOG2XYj7GRnByj92Kk7fituOh5GyWBmRvov
iV48w/Lc+VxIedOvY36qSo05cJ7wYrNzqYrm1OUbJ0RhioJpNfSUfPKmhsIWp+4FEPSYP4hiBCRx
i3CjQ/p8qj5dVcuWNEbMjOCGA67M+eRYUmtMtyBeFi6LU7YCINkyXudR3vyavJdZQ2gfmgo5o/Ff
3Tag01HdtpN5nkL9KAgsQdIXnPCMWoK4zlLN+/d6vphiunmz8lbFW5d94EIhdZTeSpdv0irY4dj9
Ah/ZAhwx3YPrJg7MTRQQfhrE0s9IJOnCfitGSlKA4H01RevJSK5S3+fs7SN6LERBEh4HD3hBT1Lo
TBfUbggrHFrhV6bhNIwFGH62gC1nsWory8CmIFcvPVunMzNiDTJOLetpjH9m6wINrtmCJRy2Shkf
ZEBWqIzHQzqm3mT43Mo4geuEL1lqx7YzdgbgGC2kmydKwED6VfLSCsyCo8FoqNOlgi7mfFYEhTqj
f8FlVOIe6eDTh7PZO8+7RQho2ZHmLevdV7XkNRyEuIJpJxAXqkpc5oT6AJTqYBIBLGS973RSBUqF
8+YHLXspFBTuRP3HRR1rliDJA5L5ddDa77wuaIgNQFCYgXh3BuuWlZLRpzG9sU/XhH5xz+V42GNr
4zJ0UoLLt0UU64cQ8KOY/GemNt+jjyaGwrLXuu9aRwg2knAzsaH3iUlqPTaLKLLo2NDkX55/iIls
guPccm4guZtsssl80eUtszmnVAzkfcSV2HbVA//Aq98yw2NbuViK/NelzpPoJ44ioCQbMxr4HUbK
e5yo536w4Q30f+FcA9/HTrE3ffNeOuX3oJBJL+f1l86nG/ggGMLwJZNkLS1363DZ6ID5VzW7maLV
12GuPeFy/BK0pQ72ZJL0z90XQELvObqC1to/fiROOR9yPQx7KzbehpK3dp3sfI0vwEYiAnvaBMrF
DtAhRHaMJAtXxtjJaVbAk/kBInBF9UqZHhaLdUXVN0aLfC9exvBMadVKxfQYM0PRZ4s/egsSaX7l
EYW0lzpuzLio+NNPKWjKkdVjgS81wxg7pVsSO6TKhnVD4l6G/U4KsQoabmlYm3uVV9ZUeZqS3t3Z
JMNLTuXmNhGOSxGV84adJavgpV63FBsbVwUJP09jD7+WDD77ObtVPDTGE7glPOfma0WlSgtckR/M
Uxni/TR7CUW2SSys+PoQHLro04zZDPNYVfQWoL12pdjaQ8aJ52wKMz8ak3F0jB/yGHzz8YJG9sWo
c4Ox80VtP2N2B5aJcy74cSZ3CcrqPqbWJ6t4J0hnOz14SUpYtn1jr9uaoLnTIslpX2yh5669TYLK
oQRf+Qw6d+UqzFhzt/ce9WnkBCyEvU0iE6Em4WribxKd33vOXKVonxanDE08/GkhoUMWGahKTxAW
xzwv12P4OTbF2rTt9QCpdnZ643UHPJB5DbpfZrDJtN2ZU7qgQn7h9NpS60j3VtlesKBI63pXseYv
ZrJvYKIv0bVL/1aNxNY5hxjjuorFr3VRSyB5UXuLcEHXTcbdgNmozL9yHX9DQCATwSjw17jxyKMG
m1p0e035MHMMApO+KOApRTr2yOZD6AdLJS44gQHo7yNZmJ6XIRlyxs9dQRPdHBKFmwdem7czR3yj
NpsKECeY1VNXPDMKtVPHL1dheGhqA3Ot/lONHHscK2WGIC+4cLPIHW9ad0jlLZdbhWibK7dTt4uH
amUKOBa5j5rDsWOnm7hPvCL4dtAnEkAk5vRKy8VaEdwbZoK6tYdKcnKMfG1hVnDD4J+jBIcx1/8M
sOSjC85ZqPmy07pV0AXwS9W7mRWoyLVLC4ON46nrfwzemwF+JKVPPVU3eK+34zqrEO4HjXBuTV0C
l9CAgGC5hzR80B3nYmYjF6iETGnxU9fjuRmOAgKP2fsvmiW8IRJLDRZZxA53GOtNw9lL3yr3hVj/
cmgMluhyaHOlNJjCVE+CujP1FgYN86ysSGQicmc82Cxzp1kHaqizKLsdciTrD8dDGCd0Uh5AW7aG
XCQB0EahrhwSR8WUMVbY26n9bF2ET9PdSXmNWiBvuJqSc0hMedbXp2qt8hQ5TXZoSIkapyAE81f1
eO5b+0rmmp6Ec1vte+Wu8Syq0coQa144qPSfcQD6WH2rix0tjVCNrpLxIrgMzSNPTq2h0aIw7y2+
MTAtStZBjuoF89LAMTy1xeBmPmO2M4QizSHdapI1fQYkOFZWUWcsBnu+dNIvUbTrJjC8CYKshpE8
wyKvgD8LWGBoOLSc/tvooYslhJVnxHQ4bvSOtsic3gP7oNhrbkkzwF4Nv6b6reRCFExIdcyQQ8in
G0PIIrsmsFpVO4cDQsfGL/X1rH+q2T/MdWl1KMfPHCd1ScprCv6cf35J2DM65dxOkYIdXIsqhyDQ
AJhCSxM8heXZw79Igbp9ZrtiDWu20yhnZOk2st7Adwyqoz1TxOGExWDMoB1aXBLNcp059ya9W/Wq
x4JsQekhAc494WAGvwbRP51+Mmq1e4EFxj052uS1wbA3ccQIg5h8ku8LToo2c2kyqNEcB6+mqqfW
Xd4TBHmIJQY6KR+WsQiaXhVy1jN/0tvHELejzcb1fyza0KfkRDvsZnDEMkPDcNhfj+bs8qXjb8oO
hrvjmUN4Jv9fIQQSD9CsNzeE0KolW1y++yYCAW0lv0Uslm1R/3bCBEio4AEYqhYPHxHyLFNfZ82a
no+Qy1gYgmqY5JcRwLYvAJbSH0aMeKbUp/HD1TAgmXZ8YZ8PVQCQDSSNiCRIMdAHSyVQhlzA2LfS
I+5uzpp6tHC8tiCHCv1ulLjyyCL0+WLSbin0ylqhcNWKyf0Dn+ysfdjoS6VuLzaTJFuIt8JkKGAn
mofRLlPOjgLi8d6al6A/okotNK7FYqK7Zvo3sJHqDHFMio9eJQyBNZBcVmZGbw06WVbCcLPKF7O/
iVh4DjZIQISrNrL3FpZGMGZcm1bSfFfIEmBEgWS0yLikobUYxTaz3qGD2z555HqVo3TmxUcr3hr8
ImrUeLaYMNOQIATnG9BIpcxPGedFcCvDp6m8K9ZL7Z96SduVfRrBOrcE90q2YKsYmp867plXLZv9
Heqw8Z1g1Z5XHCAzWeDds3JkKZDsmt5dawnPLq04GclXk1ae1Lh308ZwXwt6kMCO4owsdhoZ7t74
VquB+OvJiKEDbei2ObrThyTTigXJ84thFUG17riAI3jm5mnE6Rg9bGeXqjeneIdsalqWJ4E/Ws42
9m8WP0Az3k3qGrsOMgSmDkd9px4T7QJ/CXvV/Ww/nD2+Mtj2A4BcKrEekXuyWKiTZ3G7dDV0a2Q3
M17r+Hl1Vp4Rcd721aeIycRI6qaHsKJnwmtoj+EXKknQ+tJek0A6lByoUCPms3qRAlygZg/Nzlyr
8fjqFp0A/Qx9zNI5vJzAeUdGkLQr8PwgR/oR4WVsuWRr3cek91cFSqbaI9KJdt/Vyb6SRFbKc5EV
3NtvbOr30PQvGRibsFCWQzQtwfkgKNBnzf5TTdx/GYZMmwkYGiQCvr0yxiOLQDi8Kp0JfA8NCM2o
XptU+SEV6PWzAlnV7Bo6tCZxkcYhqO6yOQ8EItNNnuZrR0u/o5AfqmiLl0GQyoIAyGZ3qeO99FN9
Azb330gnDn1q1jqh9DXHX29jm3d7zIqxemiz5M8hKNGY8spgtxf03dQE2Dnm2Uap25w9mUQdD9JD
Xcp931CsIhDmNIdo+diCJ65ITA1L/n92rfJjOMpKiSygWAxB5fgz6cprn/fPyYmOajNtLIGg1le8
dQv9K7AJA4P6mjJzYQiI16zZSamAD/Z5v9hU5Eh/wp4WayTpfgNRXrrRU5Ep2o+BXa/lLiINEgCd
iyxSxl1aESd5+CXz0rhqx+qsDwN8uOt8WQZhs/XH2KPTh6bI7ZTJTxoRsZ3geW5yT9j9PqGjIGiz
N0cZl1KllXIbNz2vV7mo8+7SxDCseVqPgABR0jIF5U9ZNbg9WZi+ZwK/v25uOgWwqvHbly8TU7ad
HadJ21iIOs54EGrp9dU5ABsjBa1YZBvYXfexgpW1OaXkm2gy8DVosnvhrwsuhcmoH3CybmV5JinP
G4XqqRZz1IQ9IDLlDSf5qqc5qmqR4hLlolpy07fVA9LZwcQFpjYY/e0HEcl0rq7kiqvhwDB1cS1d
8TQ6lloMZL4WbhOIYLm8kE35MYR7KcqBETEDTUKv3hAsdRuO18iPFXoLExN8EUxs/orh+JU9KmSA
GQoUbvQI0lRt7NDwPUqJKIX86xAlw+ZdYYIYSDnhFXPDvSHec3Y3tfiWQ77TlB8LZnAq6XBAkajL
Y18+AefzcDPmG/5eRtZBY1FMunYzSnjpKO69wzsT/TKSS9fW1vmMgoednfOPhVMMJGNcVwZmt67d
ZgOh6zrcUVV1jw3/NWqPXTmtteCHNxAOcCIXEhvgxK3KYvJOOWfEwTSMXQZBp+uvLYeEcstre8ez
rzjfCsNg1r439bMw+e7SXVI/QuLxEfNn7BPmqYK7j/s3xYOLRcJLTIl3vPvLZzqCDBmhAPwy3WJ4
SqGO16kBJNVzuZdb5VxJ31O9YK0qnbCV/CDDGWr7OlA5isSO1NJQIpPi9TbKtzF8TgFNQQF3kZB7
YXahT4x/he5VfM1wOM9dixthwlXv7BtuMBHBtkgn2pi8Ep3j60k9nwhl3/NJyYHySEqUVPd1MFdj
/Gi1XZ+PXNSvouB6qooN9FMPL5Ut2mMW4uXNuLqb+pvPR40PNM+/HPvqgPOr8DDkxXlgLeimz6b6
aLRp1Vj8sod3Ge8bHFUlvXAsG/hrxl9c5OQKTN4g9nY+c5243lKlPN+5mFpUzu5mqFejxNos5cKE
msZKdqm4QKcIZEVjsy7hELcj2z4ypLQ5EtKbqP3RtnMNii+KdYzLnKs+VylQBE7xkjjlpqytjU9g
X9GVI0bIO6cEADnBnnjE9xXtZKd7SeIvuwq1JayXOYmseXVFpmTFPRQ/79HuzGsEj1vF/eOYwzbj
AS94A02w7iah0Rhj7AmsbYGvHDAY7hSfsatMnuSPbhFdgYB7l8PUr6rRhQiD8AsrK6RGK6zbBV2r
XpQSxuBpKzUUTItgK4990f8ojLscLviLGn8Hs37VYv6JJ7IFiboFabzrM/equP/MODqHtCcEUmxL
E8h4zYirQy7ghB+NjLunAmpWWWXkC/U4Ai7lE0gcV1Xg3GKbd2MEmMWPN4TGD+RTdxZ566WN/eo8
+WyD1RxXC2OXFcXvvWUjcdjcFqqRigzWVcGidVIAhWnyW8GjzTtQh310TLThMWGsSuyc4s3qrBG3
zLp0Y3T6p4jJ++TP2pzuafpb5wFmLfk2SAqKVf0UEBCv9PhFCYOzlM2uNd2/YHDfQna0danwnczH
xwWimhckr03G69JUftif/LZqv3Is1etGSeNfuQeyD7GownpYYQN45gX2QndWRx2GtmaC/m1Pmzrp
PBwYK8fIXvq+OxVt9azHGtnpkBjQjrEMuECzTGsNgV6IHm5LvnfQlcJivIUoabqhbmxbuXY0hU4M
ro3So/vqr6RqNlDYkLDfy+zSW6z93T0vbPxOo+pBMF9bUnrG0O95n3wlEX8jL17gcb/gDM5JSByT
eL2h80tHe4j5OxxGlLTPt51jHBN1DhYeVen2pJw0ZmRQd+IrJBXFc2V/TFjaW+2TCSilisHOfkYM
t2ksVuGQPlpeJqEaf8Do5CVIpkQJ7EUEXs7i/zLW3rALIXD8tiYrYzvlIhlxFzOtfTc9Qer9f+EZ
B+KHanIKfQ+/72/ARy87ZWlyiBFwByHCbG2b8aYmZ1VAUilyFbb8d5/eB3rOeqtaayTapG9hWaSJ
wGCj5VjHYSzOdZGu4soiSkjmtqj3U9OAyzRAVdKmMbTPnvhYrvgnOZWeipbKmXSARbyya/S1Mrxo
SBpOJn6RMp9m8ojdn6h6xALeqW9SdgYQW5XMus3KmM5jaZJja4EWwaQzlM9S5zxL8KqbKukBnvYJ
0qeJfJBjzrDHelXY+bqyKVZx4y0nyEpONAgm/SGKtH3SkqyTV8wMOyN8zE0e1E7y0UbMZ4mHIekc
pRjKO3pn6vdIASrQDTTBtZAbZvEnOIio86rExcejXYOk2mpI8zOJyO+5GY0AK4gJa2IvHaaHTt+b
EYvYNAR15XKjZkIzoob6G0YBLv0Qf02VsSl31hYnnaA+kTa5P2j5PGSll6YWvSZTRHh8n3RY3Gka
qorAMwNCMqDSjl1qEpZPPLfUIXAGawwzTWfCvUCzpbh6yK6kyK6kuMgL2HcrnV9C7Dz5N1YY2Bpz
b6Lraa61USflQ/FnzozJBhBMi2i55cd4+RL+hFbgZc469aqY6V7put9kaiAc9V8JsT6maWhG4YCt
YchADSd6Yi36bvyGJ3h1h+4k+SuX2ZRi3iD3OTvkGejFNJMjwOFkmbmu7XrkQ0jSO4645pyPo38O
q+LhGPR4q9QV2TlHfVbdUlhYtB+1/zodBANFdbwich+rXqLfxzD4Iff2FGHyCw/kiQzxO0whs7fK
27OSQGIiOug8u2J+jUv1S3YD1wKd5VAxys7TK0l+WU4NbPPE3IBXexlhZPt81WXdYYk265Kbe5Fu
XJP4QTScrTBuyIaIH11PLjTfRJspGlhu+a8Zt5dVwwe7lEZREvAIIK4kxkOTvHxHSXYVtKe6cUfq
H8zZNa3nPsU5/DfTD03Zo+p2BIx4QVSN9lcmZNqCVMe90suTTbAe3dIm0qFYYtkXqos/vbwpKNaz
KnTRYLQtYU3yUzHNjyAaN07iX7o8XQdTsW9rZRtqvH1z7e4wUqq5vtEG+0Sw316pKigbK8ErbrzW
OvI9BV0LQ1Z/hQKlPNCeAZRXEvUhwGlio6Yi9mGd3xuG3kWmQ44gr6dL+abECfyeZHzoSvTIasNa
5Z3FUQ6dMILfkKjdC1lR+KYtPkZ7k8+N44kdnE0Hd5Frg7dlYVoo7ATNTCCK2yQ+kkNPzW00yoNV
93sWNlsY18Umzqa3qCAgDgef5Ju96gOxxG+4dpz+VaZIj36J/9j8dGR1IVDm6bF7UQZEowFDCHx1
Pxk+cKQcyqJBgcHMiySphzaNbvWTwoRj2tZXU+VCSuaSGLpiH7RhYumorQeqtOuZLMUrDj3kIZHc
Sb68FkYLMEFRt1VtbaXBtgGNgvOsKvmEu+zmBMG1j7Ca1JrzUjTpVxghHDdUNHVIAOH0xy7kn1FR
tiy7VauXb71JD1aoo6Ul5q3Qp9s4sCoDuUE9hZUchM8bh5pc19JV5i//jbKyq66OiNLJ2cqyZ5+G
R9kGnzNdSZfDoUb+pH1jFxRTuda7bu1rSAEV295c8RoKxfRIPZVa8IfuCpFr2JmKsWuwjhIFzVZy
0MtF0zJSZAw6YSeQApVTojq8hbQteBmiC3jPSs5X6m/r2tnFbGozMeyBWm3rsFmBUMEY2DKjskXA
wnQQAiJAaj0qh+WDlhBqmq8xJZe4bLTPo5Zw9Yo2DXwB+gRp47BY0+Y7f1T3VHasnTIFvw47yYXo
yPKHrY+SvE6av85LoBj9dxVRXCe3eBK8oSTzx+lHI+EiddIl4Ie+ZvbFjYh+ccRqvqE7aVc42tky
2zv4p93QZ1eqnlcmU2bQZetOFZe0+o2wl/UmLnCyOZuZMBz6+dUZ0zNvpq0WdS+DAnSDdYwo7GeX
iG1d3Ozp3SQsonR3RRFr2gn+OWIuLbRfpXaBWXwKdJgEffwi2fTJmHQlVwJM+MtptK+VnnihlcHX
ozXSwvYw4RCKnXJvjyPW32LpuocZZEVz9Ircz6q1CRswB+ZutNGEzWBIN0TVcb4b2PisQxB9abNM
J6q9TngME07jfuUjZUYtxDWWD2Goe/bIgMXDmEM7jF12Zi5/D2KJ8ToF3JPY7BXum8J6uEYzQITm
90wbuWLsW98/5o5O8xdwFE7Rzio3ika8wf/NOnc9pMa60sWGCqct/RZebhPWNjREI2LqLjp4gnI3
340KTknmfb60P70sPlOBD6sbHSy4R8WmZ4SMIMgof0q2gY82nYw82OUfs+OuVh9alm8psVg0FuaH
0KvS5FBDfleSzyR/lo26FKPxoQ+HkSRmQPDJpKA9wfVPSdIyl4zQFUIk3iKOljXwOhI19whmeI5f
NlLouWf10jbEEmKwIYXOPRDZGCBjqYHrSuvuVcNcpagQ0NNh744h6YlhqYqMW1uNkQDDMwwnRz84
2YeDok4ZEApo7kFeCNKrOqUbhWudPgPL5iaRVKKTFMxocBAL6BgDU27eaOvZalNLXuBkKEbYK+23
1T/UWeu1brPU1Dk0OlIVF5juwc2Ura6I5eSGLzVzf0GMJKD/y+++K/UlkeaqwbpnTt/UUy4DRf3R
KLBfxBOSIdu1ymez3AIasbLVqAZfahK+qqb08ig+RFN1zCZ4eQNnfe3vcjfznICgd/SH5SqW5dXq
628R0ColXaaBmFUuORWkKeojXhyHrmPyWuQEd06pb3qce4N9MwAOwS/AI2ljSR/WPo4tl/4fbPRr
m6fYTiAPlZ9d+JY5lOmgr6iYejUQEeE8tYwzUQAZvGdENcjnAcbBBXAQhrIPQsx4Pa/VcfzHK2zF
CX6omuCgsKLupnOgv7uKJ+QbzFNWfRBslWA9NPaziofP3LKpsSzJW+tPdbT+eDvuASkDcFCOMoOp
xMZKy66q/LPwqwRcZeBkkq+evQ1uc3QJLtjjTWHSKuavtSi2+eh7WEC91LzTv7SUr5UIKOE6Zojh
Fg9XW4K4hSGHiU5TH4PIn36tfKltRZCaDAxeSv5LO3KiivqWA7GQnQvfgw8LbM520Oo/KbRvIBpj
PLCaChFTaXPgZYGqFidUOU37hsw0ekwqzvbcHYtJWeINqxAfG0Eahfd1pmCpatLtNM0bn+ElB1g/
6oBA2Iy3JLRjPTsq2M4cTFJ9VRNBqlf0W+IbVmmxhTQDS/8vNlxc4dXeYRfCL73lJ5jRNt0RcKLp
hp/6M5nIBfPVRiy5ZRXNKaAn3TY8lqjbpPbo/KbbsoLmkG564ASu8WjSV3LwUh6ZDR0cy+KlDLZR
e4jx+8KvmNxtwi0HDyxd8NV4LDHdBbHXKluky6bdcVBLMB1nq19U7rtWPazpPesx1eHdnYz3TP81
WY04e8u82IXqoZbw/orSZYsWSu5L6heYkJOA2wXi61Mlc2etiZGyJIREAjpb5WS3wQCkPH5YAHDU
MM41c2vXsK55K+pkCM2vbHxPUU+aX8g0U7xBB1AvSXfQe/pLPJ6lGUTffBtQ2kFisrobuRNa4wOM
ANUDt8kEcQXHNn3x5zgbs+YmY1sXWeFGBs+hZwQJjzYILxPm983Rv4YYh8NKdU9Y/baN/Q+nAwFc
DUZa5na7QJtMz07fnfzRcmBSReVFAMnYoJnEAIZNELzo2aYTe8Rz2sC9Ai53XG0M6IC9M1IvdWfy
WhohljmBN4YV9z9RX63orxiulQnoEhwbmLhT1S2MbFGlUEgXZfMjiLQ3b1a2sZUjY2E2fTvp7KOE
vgQspKec7iBzhMvyTut9nF1xCMSCGIt8yhJTspebP1HEnehgQnShBQ7rXrKJ3gCgOA5Ep9kuVL3A
1a/NHQ00qbMy+rVWfXB7VWA5+hWMRage1EXXxRPAgl282iIGoc29ZQfHFBQC5qwMlxoYMRjvXk7A
cfizVW+4lNyp7OqUAspRb7nzOZvZbfs41ux/31PcoIr0tGLdOedUe7ZzEeUDtMtEmAcTziSPUBjL
7FOZizJGL2LDr8HfJjIRcEmAlK0Q2d+kkXPM+mBniUufrQuVIEtgXJBROWuWPgjvBV1MqXvpBjjN
VCAS8KS9K2Ky2uTWv8Gg3DCA2VbsQ1SKlH+oRRsSLHTi1ly6ekAnNfuJqzq8Yw5qm10X3qj14NEi
lFd/5XLVE6TsN11Fpg0UBsj1/mwVDwL7HJcFzmVCFAErfjp5cWLz9LRI9u/lW055j8mb9ZtLDvGp
04i7xMd9p9P9TpoV1eXeJBd+KTaJGlc/IzrHJQi0uSRlnXLRMZnbJCQ/orIFtUQI6KGn1S9K9qbx
1yXhNSl+O6AHTBviYpanHITPGGbrUNvFctc2VzlcyOftyXRVxoZFSs8hHvYY+H9gfUb2VgdWDLcf
DfpAAuwOn16bA4+DfNH50l2G/6SZ07XkOSNaCbBSZTBX4OgpfFYxGaqV/g1VSAR7ADvqdBqch+jp
f1jhMArPAgdYCt+cB4fUbEVDXAecZiuFQynlsRmvOuqXyp2hTqbnIDx/fq0Rey6zIzlIbJgbk8yI
2636z2D6oSolCv9YnTii9xSyFdQukjsPKBC6jM02Q+WFoT7/snALrOT83iufLt62WmUu1P4aLViF
I+Y2PCMBs74ysHW4kzHox3+6eJM4aQrjV592WDnqaJ3bXk5b+eisHKawJjiq3Q5ATIIbkM5bnR9I
4lzU4EUtbhlhqBZq0/gd54daO4DC47JwBLdY2t8jarvNAx3eUrkmxcq/PbTOjvsM0rUggIlMKv8S
nn8qxLqbCwFV2VostLtDhh2KQcvVT5ioG1vOKA+4/DAfGJVwzI7H0X5GlKCrvAnXeQ9uAqbIPjc/
0+bDLtd9cE7iD1NfRz4XbihzNwJk5A/r7HPkl2ls+J+KaUXN5NUnZe/swpxFS7ZKjH0cHnrSd8LY
DtgVJvUdAkPrssiFyEQHjrMD9G53BKzR1BRtXIvZ+UqVokaACH/U9MzhF7bKt0IYsHkZzSOF67SN
juOPDL9amg04OyEXFO5m1JYYz0LJdE5OkxKDOY3+Dz3cosDHgYW4mBUQ3n/m2SFqQWMKl/5bH71U
3ZbaQCPmVoSMgVpFtaDN629KL0ha/XTojFU4r5S/47ZFSl1OH0OFv2zLwxn0y0z3kKwgqmKytgIW
5VgDO3HOgmdWvpchujLbmj6bTsTaq4ZULZohL2g3+BdqX4p7z1PgBvNp9JKwJ3Ufrn6fYFTa3sx6
EiF0zGidZq/19B6wlLJFf9CicBXE17l9KCo4bvqvhqtZsErS3RgfrWDrpBtg/Ou+eydKi2P6I4U9
r/xE+mdW4efgptYEb235QT6ZYAn89DRH2cX34w3BTms2Q/CuNG9Ci/aOpixJ/vGzc1n4D/ojwcZZ
G/xX9HwgxT38YUHevMaD3Ds9Wc9x0fSHrPhiBFqZ5ueUvBssVjEXZd9x6K+QSsB7nmvghhpg8ArO
CKx13zwPlrZmk2jBD8cq2t5DCDfqMOfdPoL+w+x7b5iGVZuSEAuRTrB5m8QPoCq10z3nxUUmE7wi
b2WKlCrcV+wGJU1sNgOE5gVA/Qu8nDaXqDrHn2iCZz8B+ZrwraTFVr6mlnZmbVGIc26uhYr7Sn9Y
0biwjSMbC/3dVr5jfocpabxchyeE+xYM8yN0PGKxC0d82ViAwL9o8d3Ktk2y69KLGz8M/0yWCGdG
Cv5HfVjNymlfcJq7rIR6Xpe8FNnvKxiXvIA3bwR8qTbXufvadYBu9D+VrwZBB2zoi9bcFKyOuXkD
34jfdjMN7qKSg7FozT8+vDA+G7QeGZZHoQAT1Qf/3ujQUT6J+cf1T3529d2Hol9bc6eqJ2ld6vIt
k1B910H2bkzHGja+5tELMZCTIHKQUAQ2cUEvi4MA3VBTIUCNsMLhvNXGVWk/8vJDZegMXGXlgLcU
6I1sjzV6nLGhtJzBULQWob3vW2rK613c/on+cwiuwCwwV60AekPr72DteL3p4fZJiEqSz6L1d8m/
ZkyvRuQp7iEy34yOTiSqzSNGJbo38aX9NSyDYX/xc8J/VfEt1jvBJF009ikZEXMB6BVLMRdX9Q9F
XNn/uPl5Nrn6yNrzwuGagzqLFPOoOwbAZYJAm1hlBPtVMO+l/zob/hN7uelLlZ8um+/Q1DdW++KU
bxYSiuLRmVcRLOMCxkBIPg8JxgC4GQ9AI8UmJ45TkMohilJjvI7PfkzlNito6DVwpYxNyKkxoTXf
2vBde4M5YlhsKui7MDVYm8Qg72XDTr79nbIbeIo23ddY49B7QnpaYsj8JUngnzHeyPboWF8mh1Jz
keMXC/VlOL4b487xvdRlDOWcYIUqxmcUssrhwrmUAnAHspIDbIyiwa2t7brhRcGhH+svuBDc4S+H
aICxvqFsgjWaTxFaRK8GSjUmshV3HcC0owtxZFuh+0ds1VV89/gxg/okMDSPCrGwcdnpT9xkUbid
GyoG9OmCRu9i3vHUJXcDIq5yO6pr33oE6kfG/RUPRYf/RiZ/Wf01Ef9UbVA0oERY8qIjdwKUcY/S
dDTKiwpEObSYFvhZTOgmq1b7GcBEmhnImvifRFeptE3F2wmSsgmWN97G1d3piISVL2rJqSmZYIyd
zftJvpEgGCnGmt6QBaCr/sfRee02jmxR9IsIMBTTqyRSOVuy5RfCbtvMOfPrZ3GAC9zBoKfbLZFV
J+y99o5nj5Vnpl0DpnXlxig/DWB8NnNekEIvRcG8Mv8T8JN400S7UObFyBgWFeuq/IojMp5Oo3Cn
Hjt798KfMEvL8LE60IN98qDq5kDoBZPtYVkC/vKo4psMeulPjk6/jQ4t08/KRaSxGHkMapiBcXzK
vb+Iuk+JE9cUrllcNHRRwLM5Ngz+Y93pfc52ONrYANmhvzcR4NEHQaxji5xWe1rZS6WpRa4XlG+m
8qcWl9qGBV8s5uzqvMTZsqyRkavvHvMObAhs+Mh3Sa8GiS42/8RCN+O3KU49EOIZ0IU+ecKnyRn6
In9ahPmK1WUog5bE0FBwWCbhuEyAjpOHUJmbzHoSKc+80OCjD6uHNvxLoUua3+gJMGBdrRc8M8N3
y+RUTb9+SSVAAr21DLPPBEFr0Tz9gOubn4Km35566kd/JXGFr5TgXnfMNzC8uN2t4AmoViUCkFbH
DLnzdWQMIXC6lVH/iZqkr62iftT4iXUbBWF9yszVcMKWuJzVmwokfuCZPlc94LBW3w8cjR4tAiML
P92H4BWm/keZCJReSeMhIt2IDgfsJeT8PvyNAh7Zvzz7VyBhIaFrG4tfa/oM/umoI1Rpm2if2Lhc
PY2IMVr3fG3V/Fi/I/e0pJtU4O01uVFYIjf3qPvsEBMJG3UXdunjOJ7JyyJdWceTZHokvLkyUmfo
yhwrivzH6iSRjp60KyWSEe+0IR1b6mo6tRGOs4SMdKi+erBpy2JtR6ETQSEx8HXQHSjKr0EQGL8G
gxq7a1S7ZwNrGqZmayRJEz/YU2MInZnCMTju+aM4R0Gt2dNngi2rKn5EsO+UQ996K5mqJExWIb7k
NOiOxJTL/IXieB9D05uOAPbafm8XF9nfeywzvKd+QznX9B+GxLztkUCl00c3C2i62NJ+CRRRFtI4
gwiqJr6XP8TPwbAIup8cHyHzHhCARx+BK6RU9Uk/0gJNMDaWx1x0Ce4w7WY2ymKQPxXjNypohFnR
LPXuaRY/lf6mRVvggUuj3RW8lipUwLs+nQDF2xET3qPCSsATlCHzV6xx997N7isKv4jaCLAFa52r
5y6SMzBEvPIskc3h2SfwCbZywLHuKNayMN0+PerDkl1yzaBP33KJTwZ+E2gjCAFjDlOejjHf0q/i
/xvtVVvfdGtclMPnxP3EpydzUMdHUNE16tiYZaxxp8UjbCVmsK52jNV2xLS6IB5Rzi3swI2LK8JU
JrpGup/Ckye9B/lL6lwmaSK+BykmqeyzS1g/3GUZneOacAJ4kSbK1Uq4nrhY4tQpDlSmMLnW442V
WBfiJ29+Y8R1HebLcfY1cUBGXUioyoZKXFdPcX0Ym1+liDcVtztor9VE0mj+NR+AcYqZPmSgVz7z
2ZrOCFMr56EnjW36aQbfhRLvjOLbYsSKtY31E6VEbl4ymhdMYEQqslHngkKKUbmSdShb5n2btD9G
LcHhhDmQ3EYwIyrj9gv6AqqybZT+/l+0PRTrLcAzKBhfr1JMmTVnrs3RZKCeBsHVcnF3Ob169BQa
RqbTzJzv+XqCAEftIpjjMf4RD46q6EgEsJZu7PxSS+eOY5pQlY6DZjyopAmTIWDpHPc71SA5bhfq
OzIx+x/IPW3xO6lAZWDlAd1A0wglHCUCCuD4ObKVCH6m8cdEFNBSTKblQdUQpA5kM7HvbFmk8sry
VK7r/GLSYUb6j8+sWo6wCz7H+BLX9z7b1ApyyI2nXTMbFQSm8VxbSBEkJW7BGJ0rGAf0P/mqG1Ca
EqnYIGzAalZhtPxtffytd93v+OlBEcwtHlMNCcoVudpEM/hHeCsh43dcYPbUHZUn26WYl6/dzfRZ
FCx0PrhTDRS7LBWy1BW/875Cs0J35ml2E1ogUChvsYFBciniPYuEHlA5p3P7oddHePbBtCXLrrCe
SbsDc416CUhVSaecDnDUtYV8wfnFc2Fd2FO2zQEE1UhIltaeOunP1E7hU/Jw1GBzqpDFsAqNACkk
rMyLmrvmBJ+LqAQH9xmNlVVz3S1mfKKlAT1c5G81w/ImCpexwi5n7vBIOUVh0LDhWVCCWdWGRSru
TAQq8y+o1WeR3nN5dvXhbnAa6WUMpAetA4s+A2T8yEMzrYgEyxAXcE9Cd5N8hNu/pe74w96vA5S4
A/eMoxgkfWD+vnuxhQMJqvaX0O7FsB7ZE2AKFAyusSuhnEIlKBNVkfNeoEpajMfIeiO0hBpiRe6q
KB+od4j2qJPPHEsUPKEaVH/sTgkdCJjytWaj6tboEE4tLevJj92mu4IIoZo5kiRb8AJlN/Z00qCD
26YNYSetuGGwLXh9gvEQmJ+R9hWI93r6N0g3u/9Wiw1z3BY1NltNuwU/Lkz2rJwR1aei3oPGY8C0
ZA3AwA/hrVuXe0PXcWFAqjsLtmR6uMtw8mL00UkQtvAtm+rdZv8dFlsGGOSuQojhX/yjvJLnaAA0
y1j513G4kyft3qKOVJQZ5F4tMNgsVGWfwrNJfnIMubJLqa2gHd+ZdxPhTy/GTfBP7o5lc8rZAHrl
r4b1t2NAShMusz3WEAmvffHsvQVlayp++LjWLa+TYf2DORFNWID7AuX4lUsE6/6k7Pv2EbW44vkC
0PVBGmle9VdcXcL0NMTnbIJScYFOxhICu8ouYLhi7vXyOtqYRbmNI3ZCKF26fY1GhdGHhsXwUoib
ZVGaVRtV3xW148EQadjmdhu/uHTBdwcsuJyAW7adAz1rbQFgz/ofPd7g2ugs0rrlQ4QeCx4YWV5M
MMBhZ+FbQ4Rvkv6JYV/KhyDh07Jf5bhtQgs9PZ7+s1x81HnhAOBAQS9b3BjbkHcu7zckvENWucTR
ekA0kijgLYj/5Eewk5MEVpDOR2ytbsvMLEluo4J5Rj+Ln0jJUW9e5W7XTeQnpvuUMC+v4I07xGwo
5G06kYTDdTSo11650M8V8SXExcUYfWnQQaknDS1C7JixRnhUv5TsN8zc2LSg4uVU4dzJkyNxJBYY
OwgppGIKgISkzTPnlEGWmZZ/au8gTFPpwEcO+bauHZn/b3D/RIT7iGCJgrohdCvl70aHQCB6gSY4
fqdoktnbev/f8g7vX6ux6VO4LrjF6nn6X7Amq/Vrqq8a2doHw1cK76EDPJxTS7ao/GqU3Y9ueAPZ
4drkuwh5GesOsFSwhz9y963rb6l5NVCtInujXmI2Vr0DrtTKCyuSbmajLdlHt+SSkrYxGeGKEPh1
GjOoQGtRezAogyN+pk1MWLARpl9eddCTewJ6ijFzxflHtfhCu4KVPIREg4XMIqyOeqjeMO3ugExz
Xfh/Bs5LO8AN7TM+O5JVQ7CKOX3XDCsSb690f+LHHM+K4RqqU6f4F/hUfmHfjoAsk3gdoTgerxR/
GsMW8WZUhzrmaV8bHWv8s1FtFK3HMe00mboFRELL6foRhj4k3HkVb2wYkfVUvaFJAlkwhtqKG3Eg
CzCquf6qEDctZ/m4jLKvJtrPhUiQUq/3yiJTd330GWXriDaQ04f8m1E8idPUZ6Xbjh+vpmzTxVZG
BbclhbOGAqBZh+GDiCBdW9r6gf2Q131byQWAjW6CfYrusXVWiifLO4Sywjj3MvAu9GL0GHwFezu9
VN1NzUm7c1kfFYnmWN2FAbdm7fmIvfBm6bcK0WuA8XVqdqZ8keRTx62P8IfdjcW0To3/9QpmCpRi
KMf94tj7ALUjoKvt2ahPMUN2pT6H7XEE8NUxaCCCSp7PJKJbGaLNd+yiCbeMmQ2LagbBB+w6hRwy
/aXqBUM3IB7sPar4XQGBGhv/WFSiFyOecEvkoYudgsUhwVWk4u5zC87Gs2mP+O3hWLGE+SjgaEOe
Wgidr/YqaRfbxJfGCCoXF6O76snVp0pQ1bv4KPXH1H8Rc6SSTUkPk9+C5G1ezHrYMsWP8Nde4wT5
d6h4m0wHgFy8l8MzyG49eXkEHRo0kNumvI8eT7hT2ETT9diRF1OAsYGoX5phltQS6mEUUP3FY6Cd
OVPLIhNtQbL1mL5a11jZS+OxtznQHrUQ7gymrIBCJhT9P5HF2EVxk+w3kbVjozP3YvyPGv4QaXNy
Te8oE6x+HJaeoHW2cjSQuVtTHpYCCuTfPFZRxw17YSxPCZ8DZ0dyMftbpKxG+RKKc6EcQIVRzEWk
+LJcSTXkjCRDNMtIe6GK9rRV2QH4+U0tN2XoS0nTogwXjHQKHn2leCehEyLrtg4OGbV1ALagqsOF
8N4M3bGmZY0Gsg4/bE6dcbzq2Q/+dL13J6RubEdR1KvFmbV/mQcIy59pTuDQ2qNG4nyuuTZm584p
U77hM+C79FtIRMfuZ1LGhW1MO1GQTT77fp/8m00NBaGG/GCgm8hQS+D3xv9uMckOX+hTeP4BdVre
I7D3Ml8Qt0UAgyP6K+Yjire8in7T/JMPlb1w5n82jOEgq1izlqAAUJge1N8xZyPLTYR2VEPXKbNs
fhh0o57KtosVA64lJg87kzdMME27QhA1R44rvFDSF09mPKzJKTHxGZcb27hJDCwrdV+Wa5mXrsaz
mqsbPHwx5seIvIx4HoUeJu+XQgSUNEOipZZvyhhN4wol9ihx+zF49gEktF250Xrap4dZ/NNqg0CB
H5n5xsAoov/ibYNooYk/dg5lurcypA6INHhT9wyu7Ais6wvdCP0anNyMuV9OUsTOZh2CLy1WUWoz
XCU9hvBu+WbyFwEYrNjntmU43ZHCxU3YOewe1GdQN3vb/lSSx0w2SxRQv1a0HE9BcC7ot6XUZlZW
glpunUo+h1W7GorfFsGAstLMbQQDeULJgKqQkOOlND0j4xkNF4guduVmYGTqZxNRPubXoGEIG+9C
AYC1+JRZT2REchhNc2iwG0b6oTJ3RRGyVrpXMVm6Gg2LfDfZHUdPLXjDR23JLNlPtRSvTPlcTOin
bkgD7ArH68XT3XbuM9QLVFEq3oMcvg0cTZZB/zE4ohjX7AQt+GI5XRGyW1re99B8qkzjRsCJBA2M
vWNG77J/srHclOVvRS4MnwBzAm8PW4D/yrA4eGBYttSfDOHyJQT8TRjdAjxyafdhsp/xkLsYTwud
IhJirJRcsDHFTvwp+Ve1PInyaQ3XeHQLa9ufovRIAwMepA/difsp/8vQUuXxFi8jU84+XanTNW0o
y1tHxr0DSjnesd5K6o36QHemGZvJWDf5TQxOqtDsO4PGqqBm8IzMMu++UhQpfnYnJhVH+zUzzqyp
GFV2rDh22QAMd+UPV2gK6rAV7VvffqpAyoMvNT55yUZjcu2Xj163mRZPSy4KRxf11hCXwXiTgUDI
9lceY0q4xSnFxODoI+Nr/C5LQXYo5Vr1N1LcFtYjKU4xoQ/DVht+Um8zG1P00Vgp4WYcfm18dyli
UP4EvDb6KRvAnXE2E6uj4pOO/W+UF8QvDAYCozXlr2Qj+u5vWoLcncxJnD9avc2Cb1SwoXmL5/Zm
DazAE6eBwpoPOIr+qu4bfVWcbec5p58eB+AiTI0C0y0G+m/8pXhFu+ScWW9yf/X4bFNE/AIpvoOO
le0OG55u6/cu/heP5Fr92LCai5gpV5DvMcF/NrSmAbaHjuRaCRRIkFxCVP6QVUX+YUExTh0Qf1a/
Rm3fRjfT32P7C4tvyfyns8RGMMiqX3Bc1+E6IIU+XIpoo4r7OFE4NugH3kSI3ddtXwXRDeplQEPc
oCyR55utJRfJ7f1rCUMbk5z2o8X4q1CyMgBHP0KD2Cb3Ojh2LUeIvZK9OzMMYZZEqN5S1DkF1i83
DTc4HYf60jXeys5Oo6Fh2/9DC7Wu+wIVV71shb2Bwb7qGPVP8c2aJer1p5i9Up9aOY9tyY+LGV97
gjv8p2qfhQUY2uLnp5VlWbMYKcA1CpiYKirlp2lk+U5s7XDIKmIGGZa9/PjVU3KU4UUy2aIS95gD
DGTwGNA7F8qruqk+S+FnfU8i9MhkR/CS0nNy+YnWleRDO3xKUr7hCqCYlzlUmjVNM4SRyvtVmSKZ
y0Y7GRPP96Yy4FG443c4bdSAEn/6hKcisbfvh29hPALQSsQWkOC1sMyzJB2s4TmHpYzrsHMk3R1h
cuMUEfcp3zMjHcWm5i+i/Qv7fx24kjkFPOn3vXil0VYZPzzYI7U4+gpB3xcaIQmPVI8lCOWY9cwR
Upbn2YSd/tWvMhuWFQowFlhqe9dQhxQ8gjRdSehMxlEYp1HbxeZHSrRzvkHPjVxBezCj9TIo3iuc
GxSxgJsWJpryiffSmuNWnxlbUpPbfrKciefVyKBfsbOCfyKZGAuYCrzH1ZswGcJ9TQn4B+9PSw+y
vhcIE7BDd6gIgweeMG14qto+S6hFeQQIb6CZriqY3UedFyM2XGv+On+0/FDP87h6j4syCW4aNjCV
wmWgwolZLI7+bSjvRaxTwH5Z6VnJCbKdx6zruN0hMcH8m8JHbv3doH0qPTzDdGV8y4iaYaw04znC
vJgnH0H2HdlXPd+JD79Z2vAqmSDDZxM4aRkHKClSckSGKp8nhWU1BAuQCb5xk5uZmoVOK+GCpjP2
1H3fBbsOlFzEWUswjYIgcVbWz37Fxm9XrbwZNVeCaJY/c/SWo7jqeAIiFP9q5qTZXsKdBbVBLNVv
Vd0otHGJd46R/2bSmb4xRaUtzaCyf2W7Yuc9ZtQFiPhYNZxtEGQ9iafkpxIJ/gF/yfxsgmsyySSB
AdxExwViifiptk9da+yW/rSf5IPS/ZTSjUDiUD3wsaLAbsc1jo9F9SXN+48O7SyDP0abLQ+ChWVN
D1dW+S/1HKOnwvF/pcHpxQ/D48RzdQAOmkLPRYcTKP+K0l4YSG5aBhDiI1aXZcBc4ZFwRSA9dzEQ
KEeRAQR7jBoamuJpSu8diIXEv1n1BZsYg0i9e4NPXPvP2DQZcNJAtJsBZYPSQ2nABefbK5/fGZng
fAY6Ek7uTvsy63vW8qMnxy4+ggbrcY4n3k4r/3B0GvK3Na4EYbo4vNTWVSRyuCePb/JnaM+gGrvu
2YGlHey3gbJMUj9DtVgbyXXEaNegyg34UQiKWMaMtpSZwDfLFdlj2hFunpXsr/Moc2T10XibmQ1l
OmL6GJll1ugWW6rX/JANrq1j70jPKkwZcyOqHaFnnOB7M94H4sTeCA/fd0mM2KSxJibmZVIudICG
OObtsSc3O93FxUoyHB/vr7zHayjyz5pBZmw9Av1utX9AHQrzMuR35IkcBmV64EquIl5jZ6wony9t
yX/DphW6D5G3sF9XdbnJgkPJe16n6SpQbwJtOYzB+SIqgs3Y3LPmjl4dSOehLLfNF9cq51BBelHy
8AO6mkWiQGBeoQ1JzVs3XBniWxPg+luqHrmi+pehotp7B0G1LO+smFlpsMIMucNy8jI4bQhNwG7e
bBA9CQJZ1FuX35XPNL41bbds3jM2nTKfKkkgL8Xibm0JPpRjRyGyi+MYlX0Y3lEQ5fx9GeWwH0ff
a911erM576FGqB3jZlVRlydQjzJb22O948F+GQfZXmfluUU2H/p3r916yioz90nTXECWrUImRqEP
DxGmMBlgLTpulcXwGqt2KRhITe6syx+flekjtb7hZZYTyh43rhwupKJ1wkdndXe4qStGM9nEdi06
gcCFO+d1v3Af6opklBDdIPla2lGarnoLXCy9ye11gLvp7fXkOwZ4kgy/uX6JC+5oRkmVayGgAchL
pmnFQrS7xMHLGz8aJOwcSB9h8FsJRKbWHrBdQWCxPazKwl5LlH7SixLBmq9KLL4QU1MKF5nFDqUg
fvociQ1mWDbeaffm99vkGYRoYoUAUHZFfURzLCGZRR82wHxFbVPp7yPcjg5lr23/DtluYotheT+9
/KGqo+NDhzfaF43yWIDYtJCXQIcK0GIIhlBJyLka7STd6R4GTFJ83MEOhxBD2yJZcbkXEOxQ/CpM
8y1Sd51++mZcr3c/CoqKgfhtJq2HWNllxqGkPBz0Rx/vR2kz8AWpI2QwhQ1Irm85ZiY9vsYZY3Bl
ybsHKl7jbxc07z1pf01DQWtCgboL7Viwrqqu0nQEZ7SkqcZYwimYBa4BugWeEmnfnux0fAazWFo4
EajiujjyyGXsDRn75OZvSpnFFAGyUW1whfTftXkekpMgqKuNCo5u0nMAHKtfowkDhfF7g2IuParF
wqTyGlHDIk0o1zzgIjrp8tan9yeakqYcekK5YOZTG5/KI4z+oeuWZCfSl7L/oVWvMvoVwJBlYmmn
eQGoNs+i3NnwXIs3lRsZc3+zF8OFLxmigrBPM+mkZ19P4DgNf8kILmU6XP0UGqzOvYpgBJC5vTFq
9JyIBTcdKCyYh/Le08nZQ42GFwU1FKc984VZcoHun/Ol4D1IBqQH3ROLyqqK77ExuUZHUsjQPFTj
GyObO+m4kcDC+ktJ3AQ6aJE3i1ECyD8gZePXZqpg+88fx7w8TD1E1fmHiZiB7KRLaRXLHIZ1Rzw6
qTetLq+Fek+rj0iqtnrzxJtdhS8v07mzUJua1858tSEOTmZSWncfmccmlNGtp6wn5AJKdGrrP4IN
nRpRnUphgEpw8MeNFgm02MGlJL+84uO3GRyCJg3qpQSkokCYKCjPYv0zTrdtfqmqo4/1IIRMrEXZ
I8H6b2O+KxVX8i4J+kctdUIKcBvGzkhYd6IazJVmeTOjFvEcwKuTcrnsAcqReL8KGnUh4Kq0HSmI
bsneTSYvFh1pBwkJS5g7eX8j2WrBlw0NjlUhG9v60BCqldT3lHgJn1PR0t3BdyNmtsCAFz3rRhwP
8JKI0EG/YrGHniKDPRaLIYx/PYG4QD3pHzZESm27iYQqz7EIUiiZYEQNZxg9Dt6mpejRUTBm0cjC
sst4PYqf0DAoO1T0L+gWR7caWZUYE84XJi4rnJUZWz4xhqgWcfhjnWKEOsBQMPDA2lQ/KiRSwOs8
QkdsZE6EvCsb3gmN2UzRbQjZq3JxxOh/MBggrsY6pupLVcGWTx6aMNs32KBnZGY7odkIMBP0rfW3
4sE7qOp4wboiirYpASij7dazKf/hj7+tdcVghbvy6lWcg2xuYZOJ7GpLL8n7Sq0DnMXlMD4675oo
L1G+KqB5dAfTKctOQfSpqteC8EqfF67i1hsHVpAsVyhHIBSM8LECzh9mhqWacuW+45leRsqbnNxF
8zlFH4p9rFmjjdZTRq3DyjNi1a2X3tIH8blQmVOrnI8B9xZ5kewPGblMk3VKh3IdMPUK6+Psvy9k
VFzVbxxZ93FWyQakMqbhP7ugZoRPmNFVQ0tYVMpZJnzGuvZJu+j7+QYD6wGeM27OgVXsiRy1g48I
sbyqoTuUiGcK+B2oDbo02iTMDDt8YuTBLVMGjSrqPgP7RaFrgEXmL7R/ynj67Y57Rs2dQZIc9gog
ullFGw0TTPqWUmwIdODCUJCL/+sqVmR143Nia4e8L1ncln8NkDmTpwJMGRc1QHUtBF9VOmVbbSB4
OyFCxaGjqAk9pJkbvTr2kSC0Lb4r1b+IVMeENKKqei8bnxigG1EherPph52XFedQxHh1rIXMcqrU
aF670SGLmnHOZz7/6POHUbfOaBvcBRm7cMNGsTq3VUBbQgYY6q5Qdb6IBiBs0/2lWnSqdeVXQs0U
9P8LVJYts0vJetOMM9kFoGi4YOCF6FqD8HTAR92uEtQITE0NGxudy7UXNLjvWHxEQKPU8AdnBFBN
aqYAffpW6HuVzQGSVE9cPfPD6g4i4rjt16JO9uWHSm0zsUjOMb02pr7040+z+9+sRZq3BLbnSGp3
iYSwqzUgxiS1xJEbUrn1UrDwaHomwAB2jSmxv6cxF8QmZZpmWOwLJyKQBMUfa81Drcy94VUYl7C3
2RkDxoOi169tNDRdukzFvzz/meQY5/8Ef9Ct2CzXxTdqxpMUfQSoz6WXRUlHfVZZbovGF/1n6CMs
Yim6VSoes33RgAPSdnJDbpJ6lP0vmX11gUpFXjKkuxSafh719JmxqqMREdmuBX2fIMebFHJE44Me
iDkTYSmjCbSw7Zj5P7MY3Xb4AzETY46oEKgxjmGvP0PmtZMk1p28swxtH2cmhqueyl3jy57JYEAD
qMmsClrlcFOMf0S0Tch74Nnjf6mbbw3dDcG2rOp3QFs0RodDf4/UGcG6aDSGbzqZvhufxV2A92fF
S0DAT/DPHC8UyKr0HlkYiRiBWKhiku5RlJAe5EceR4DGqLXg5M7pTkwAvPSQ9m+2GmPMozRHiKKu
cp6mmi9BCT9Ki+uEwPM+QyhrQQp1o+Qb8bPf3rriKkrAffydk6WFHACL3KIxscKj1RZszJlHrjQF
zP6qtz+QE0SZttLYiK5972FJAAPVlcz5LVmdC2d7ETHcgqESsKzgyIqtVQaFKtjGyjbQDZDHz8FD
fAahk60V65gfwbNe4kfIzdrVsUiS0MmfNALwZ/I3xHfboPvs+bTuqF8r/qn0NkK+yOM+rXbDXwqu
zxqlZYlcZO5l2bIp9YX8StQfRF8d8gwN+mWakHSwV/OQ1JxomqJuo2AY6hj8DSFTg+YU9z9CLwER
YxzYmyoZ0go/7b+8YC89M8sSKtberRhqiXQAEbcCH4kZytTNhY95KpEnx7S6daxQTxEjnMIYRE1Z
OyNofQ97wEwR6fQN8rcUaaAv51tTfYRI94ckX82/S8owJW/wMUX3BkKgvy6b49juJIt50jZ9ZNJ7
63/PHgP+VyLo0pzK26XwsmqwMNObFLpIOX12PxqPwBWfjlXczBDtJEzzikhHZV4BgtTSgFypWDlG
5Ejk8F0xdx491Co5+4+RcXRMx5v55WmK54UuLNN6lF3UUG6A5T7Be0Cc3ddIE9B07baxE1zqzJqU
4pQGyTbAUDQiRsTUdfHzdo3oMuHR8InX2zPFHcV6zicAHkcqVQ9A54xpKdDcjOwO2SXcy463yeAY
ySUhQdE/0EAQ8jALkTGK+4R7dszbcTcSwmqhyWSGOax0BvcNUM23tljDe9HjNbQmbCMjC5hiM6qu
qqHbeEq43O9qec7VZYG3JyNRxotimD13rtB2QhXxzZ/T1dFLZvvqy+7AooUdML4XlBk2CdC19p3j
Ii2as9Fuq+zeoAkYfmtq7arkMqrfCXNb0C0SPZDoc3rGv44J+1BN3BakdjT5MWGRX3Ngy+b/aNFR
e03yua7ZU6hr1bcPdNNM6ARnxRSshQhXZTWt0avjbtAGCYXMU6UFiqP3MercvLr6CVskf1uQsRWz
nYXUm8reetCpHM6+imW/5yoZmOrgdW1uMmtnQWQxH6DKBybI7WQznjIufhTd3wTetoYPjuOdiJxT
NziNfi8R+TfW05Iryu9L7B+a8GhSB6qSTYF9CLSz3Vx0k/WKvLez52Amq5FO2ihemgJhVSZwG3Mr
TsgyB62Y+O4MXRmSY6pdK+0vYC0hKc9iRtn3OxvLo55+iTZlBpch4D4S2Uz8daTRifEralKwiq+0
ILQNJgPl0smSrwkJbdi3w/c83pBkxBQGIe9mjIodUzrFu+ToIRLsVJL5Y3NIjDSTVX2vWlcDK4wD
BJA5ihuoYuAb3yLTbWt/lQXxPSfHTbkM4TGYXogGQnueqDd6RTaZWPkmqaX2Rzteff1UUoXDkHen
bAOLBTOTpuPQQ6o6K/Q8fOspufLvEzOOlhePmTpeap9s1diRjMZFvdlBIgiZgnsZxTHeLVRmiork
A461+qeApol6C/fmWim2YcB23vd3cngJ+n8xqn+1UCkporWls0GQ3hsOcgVLq+HPXk6kADN/ms1H
G53lhMLXxWm27cLT5N2s6m4SB2FkqH4GV8nPDMygJqPwpJ1tWHF/+2KeI8FMR+LxG6qrhJgk793o
j12GdAhBkG4DFEOpHomb9GHbxsr2XxExniXvipCW6LSIZzMEts1lycIvY0sRbFJzZ0LdzRV170ss
sHUaC97t6GopbzHIBig6biNNBD03blID7aoUZsgAJhHgmQxmFa1al1HFiu3HohHCpb8wES3wXccN
HlQ+8ApXCWYG7iQ0tw6gHQONqvES4HvCYesZu9J7H4a9KKVf9uf3rM5YRRv47LlEiH2QyUX1OQoI
V9sYlsf5Av0rRwYv8ZdW8WvL2yD+UcJXywptMMdt2++yqqcJ7VzCNtedyl6CWj7Ed9EzGCxInMhT
iNxtWn9GUoj5yV4l4aWwLWiDuok0nQmVYnQbS7W389NbfNbMBkgtR6tcMB2bHrJF4y13RFan7xO7
YTX+ahHWFFh4UlQwIqPeQIqReCjeCvvX6o7R0LIlxMSmBKxwbAdx51fIGM5TgkOjoSvzGfB5kH+r
7jg1I8oSgPxMxFuMFb5OfhlgGs/mptKGet8b/3erZAHSi/mesTLpB1sytaSsQlyPj6Ye6nWJ/sRQ
8alz83bseSm7YlF/ZDCT8AcMW4tYNFURYAlwdAz8GJOxSES1LqanwZyXctl/m5DF2KQDKSqca0pE
5I0Rc3xNxQXHk5Zo9Q4BzMqsjU04wUOCbFc2JnrpeTbyCCcw3YHp+Dpxovi/1W5VyXd9CBwCCmnl
nwOPv8p0sCMmjjC0xviFwACsIzxmMXnoEduaNOv/MMExTqs9llvkRgvTHfME+4k5ur6hfeo4WhM2
UdZdypnJJuseq2nK4RGjuPd82Jg4fZqB+SN4Yw3Bf2jxaptb2jGqc9auGFc8PmbMcEuz4Siqqw8J
TVqFNbz1dmb7zb3lI37JMTAkGeltpvwM2X8BRcNVYToTIfBozT1ybCVRXLNJI1i6fMdZm47Nv9KA
7D/k0Axy7ElkDCKKjENvJTVfowxoQ2gHn7czs2b1sL9NOGhyPaUzxPTAI1uWvRs0zOfZVUSUyB0P
TV7hEfe3DTP0vvlK2wvBQWdSxZdEYi9MTN82Miu9Gk+Z8ZwhC7J9SNAR9JOHabddWglCtyaG9WQT
LiGQevh2cDLYbpjlP37htc21rTx9djmGTuZTVeo2JNPZ+fjAaMBaJ5tJxk6I0MhTGFniRI4re2+l
exl8mVHa6/84Oo8lOZEoin4REYmHbZf3XabthlA7PIlP4OvnMLuJ0EhqVUHmM/ee22XxpeqZteXa
p1ePxlMPsNb9F7EeDfFi5gywEnNhgqzVEkT1hVynmNL9fusUxx5FxZDvzKRberzKYtqG6LZHedKQ
jvgM7wwwzoX6LuncRzQ2eo/TGzg4lzn/dmvVGRfYe+upxuBLCoML7bnOQF/LewvnPZg/3oG/IkWZ
bo8IOMYO+fi5RJBOjPlT4ot9InJSZJJFYeT7bGK6glYU/ZTsXvgYdmTdwbjiMkFdYOrhRsuPhN4w
XoNjXlYTlpiZyNkt40w/VnV0qUfcP9hkOiidjtNudcX01y4oeetnAiK3xmznNbJb7g7bEoOIhahR
srg12pvD9ejrNLs93X0VlcSNaaTU/+VjNj7VXX+JI9IwYcj5wqeF28AsWvpNvqSz2GgmVRKdaMC+
iNqq71iPRVSS9kuAtTBoOEVjr1/qlXmk/3+kEdN6D7LDqYNMTRG19BE/FF25MGlTNSwFOdk3Ywe5
FqabY4KEbb2lZsJsx3AFdKmDb22a2k6j8+04QF5NtekM/0vRpAY8y4ml/03sxrg72LZaC8+wl+zM
Md8sBBZuadIemOl7YpevEU2mzmK3zQ1mFv26xYqD8vKp739d+H1TReEcVdAimOuHzkVXyXJA9p0h
1IHgvJ6d2czx1mao2H1SP+ibNt930lnZycNlrK+RwJiNP3YMmdf8Hit0H/9sDxxNB/HaTE4+qmbN
zV4GZ/gYtRPCvsFA++hlJLtBkOw3hShfSRRB1q4UTkYr/JZjeuhDf9bHLouyfDjuo5U2ZJwGMLYM
IWHA+Gmvfv3ieifXlMi3Pv2aOKwBz2EIp7v1rmWrrjZi74Aru+EeNtHada8NGivCUFJY1/mLct1D
HPrb3GyQBXCq5eMl0vyfsYoh5yFNHpDE1BHOxXvnY9aU1L3AnQgGNmzkksZspbrLXmO2be/j1t2q
JGCTjrKhAh1HygPmXZT5LU69mLbH+oHVupAJressauB6hENt2Qkd7rthvqdMp4z0q3MZtSf2L9my
dE86YBuWnSGmvrjZpiNZem1EHGtC/3DRee67DvgC7g4Z/psQ8wZhN7KhqfGXg0aKyptRYLnR7CWK
Efz8RfHNrHyoyIrMf2rf+/bjWcJFYIuulhbLRFYF7Gv9lWS4NmJhUw2KahxoTqcRMnLp3Jrvequh
9jV5eUzGFFIVt2zO+gwo18jZ69VryVFZ9ZzBF9aYgvVbZN5Bylf+sbSpXOoXH3dQQvcSHcwOYQxh
ANJi/vyRYA83w4D4Efpgtt9xF7IOO/nuvNWe9UUK1fPvWH3VFkjV8DlPEQMrrMCc13MshhzBVHfg
QQgC0pnUDe4azj3tfkLnC0Sjir2VMsy7Bh9jQkAFo3vZs63N8as53MtBDtIziLcT2+xoXv7yYDR8
ZzVIPxGLlwBTQGcIqOoKYa+1TYgd0yr3OMXJHl4hoWLzy022N9jXS94Q/BFwVCZo6i0ce6EP4oyr
xA/7tT5LbBHlsGc3fxuze8IxWvn1apLeR58OOeMsd0PlRxBcypIVcicRaA6caTSqvn0dIoYFDH4n
F1UQD6OBUXaIbg3bdX4jz+UXyVO7uIUDznPNRBbD/N6DQFS3AM7Fu0Vf2BhLhdrbrsjOLmDn3Gty
SBqshiVGpKrt4V66T2XxNdm4WhnvNqaP241UtLJZO3gX3By6vrdPcCDqrIeGvFrXeKJFXu9GO6Fl
jVcai+3SOGTjNQjbQ0Occl6Lk4k9w5LZIrdPQZZvYyLSIfN9mn27zz0TCEZHNOo+nXPo7FspDFaB
6FIZ0Bh9/qexVUyFxs0DDT2fk4UPDe9ZZSPyQo5k4IhRjB3j1NqqsNjVPfp5c9zkSCbJjFml1HsO
kkbDizdlA1mrrj7H3n3LnBGR1rdkAqkDrnUDY5G0H7k0T4nN+pnDKvPbG3HlS5Otd1cbrD2nM0C3
p5gBRSVgISh5nlXxKYA9ycABXN0N4gchOA/Ppklu2Sa2+pLLlNBg82B43RqsQC2fB6ObM0d+5uzk
gXq2Frch6Z51ap5icinq2k3tOzvSuJ+srHppI0Vf8YZ3D/RqtnKpWmRVrXSr340UJ34bQE57naVm
GlWhR9yiQXXXY1tLy3CnnPFgCW9T9sWmmrsemHWU8yTEkB/g8XawIyedOAGxXqTinW4LVYpYJwgL
hYofcfga5vrF9pEBM9NrRxKWrhlagIr6MB9vgSAmBw8VPtedr4E74+waOdASXH9FYLwa2GzZT8Qd
2Z/sywyiYAn3WxepXAf/80LtFUUvL3q/sUoUFgHxuZO8JAy2rHrl8YqV2r8uf7acBGg0WyryTVUM
GARn4CjOVcM4sM7/hnRalzRLrR4c/CjeeFlxUXWxr4AzeHzcIQdECeaoqN9RnNINtDc+/ASNlIVo
ru+mmyWPvUUJ4sXsrimqNChkXkOtWPjnNgxOgZte3M5bZgN9G4mIFWZXtj1JWm+GylwnJBZmRrK2
EK36qVgbursPYzBqtMGCgYDOTYIJ3hXGCdisbB4WhYT/ksTYRwMHCRE5DiVNT82P+cMyxzPihcKH
3yDbYoW4GCp5UTg1Q4A8RUBaA1vDwGI1QFHsst3YOSwPynJAK4h/n3ZduIK4Erkpmr2HnjXDZFXC
zLJxuwP5gHK8CeDSOC48luItokGN65SrnlER91NRpgePVCq3Dk8UkijqgnOM2cXqi1UUs6/Swq0+
utumLVcldTmgfeS6za0NtJca923LVmDAAD0xKhlzzuKgW7HoVz2zEBHBmdNXAfwUUSjeYbayK5Nf
IRJs4ZrZNrKYq6hgX5J15DiQmvihHAsr2avTkt+A9JPPINV5R/DdlejIPcyo1ndQfZIfGCRvOhOH
IhRLHxRDAVzKl1sqo00cTG++Q7ZVpLg76YOwetvmVw0oLGKbr8QjL5apQOcHn7C3qoWaKA4D53my
NUYExNLYwH9QcMxaEXdkyFWA4zIBEftq3TF4DfrwoyVpM83RNeY1rwJSZ9gQAfCPGmEFcoOtNSFk
zyjF8OtYSXawHf/HtL5SSVUdanffdE5KHzbKHDCn66uR0n+ItIfmE0rRtqc2+OvGnzxetlyOSTjX
R/rB9TUYaJ+N/ZJM/ioUv8r51ezgJugv5nl9U/2ZjlqEyCSGTDCPNfeVR5+T1SsQfEsTp4lgTpDz
TzXMqwGXfMjZHNNOphwR2Hg1drhQ3YDsdejiGujD7Puw/lgVUE2kSfW0pRl6OJGPIQzrLlPixs/o
5INl2gCt8NT07iJ36jGNdnp8GnHClNGwiTQGm5W11812V2bRwWavOtQvVnPuBjY/gjFgEFg4slmj
YndwIA3hsTrjwNvqQkO64V9hBcLYxlxJKY6iYZtb/TFkd+yleBZijLOGh5moIB8l2LloPXSBZLQr
+E1Zs6qz+t80DjuXyYrXVxtnQpPmdlwXfNojuQqAEIChH8e+enW9bJ940zU0mKG58c7CBi4hMPeC
eeUUH3p002IkatUByeCkGzjMm2F4C73xQdHHhFSsUh9arYkUwpJwIGK7QL+Q4UD39j6sGYH5PcSC
2QVkZ8gazOLAIChElcpyFkGykepA75vb6Jw7euaMlF4RFH8N1PQnmZjXkCVfR3BJw6Qzm6pNUYrn
FIlD5xtEon7H4Qtb8o2rYZeA7NhUNerfefcAa6Z3oMmZh5r/W2uwjoITY815aFm5WJwRCpGvGqCs
RDqS8vTclPGDl/48TtGbZ6fcE4ZTLAb9VWcqb1SvDJu2rgS8iiCqZEeVI9bSqh9J4A9hzlvAvb9j
uYG/vY4Q+UXtB50g1Wv4RKGPsQiZ6UVFlNqmgyKmAGWEpxaXUQbtPnEPUv+uwl3N3cgzd7BH76GT
xl4Dh84HPoE5ypAuIZimQ+8PP23KwB57W0o2S0QmpR5ySoLvHalbPPuzLeONZDM8SpytA4sl/WmO
w2lcbiP0fFFS/RQD2Z0OTVfWZOsR34FgSN1H1CMcPx4wOd35U4yPtDE8BXARakgHZazfhT5TPGmp
gcbZ1h1ZLp7SdGGAmW87ulO0BDb64ET82Ai+QiGwWlZYO+CvWubzIOrNPIUtDKfbkHc7u7HA1oWw
Lx5D+ybw1sbwgIJxr1fUu4LLvoTdwmbzGPGmVpX9SjLICyLOa9DizXHy+dCOoenFRxqdZzeBhcfi
rzWXLoWqRmgPK7InXTC3MhgZFAw3g8jcCE0/DZzH8QgmUrl/cTGvcPnDbCwQFmtnYBkfITOBAWFf
baNvh7wzaushl7fKZ74UjbuE9auPiTdPin1osZlra3bN+aIlGqzBcaA51S7XSebDYzoqeuvI/TYK
9Vpz3OSaQcFloX8z3desQuBIfS3TcGa9sACrDmZ4K+CcFGH/nE3Wymui9xCooyezw5A3t56NgRiz
nVbztM35DxV6GTN94Y+5N+6/ahpOUe0yECoXAPZXUvGqtkROweMzhnGl2P4bs0HI9d6siMZ1KPcF
oIgqQ55i+r9tZsdoVjtgO+6NCMIYT5se5K81xw1RBAjK4+lopWD9+AxlKAj+Klal8k8dXjEx9Y+I
wnsa8U2l4H9KIHlyzSuzc4cQ30I7bYiup2Bn+q07Yi3M19aigtND/AcZD4TToJczavGW1FeMZn7q
7Eol0atTEmZ6diHF4dlSX2X2qvrpUFmcj5V99E3B3fM1h7nYQPlKa6kPWP7AOovWP0zDuHPLCpic
r69Uy1gpwrIf9j5ZAegURQuVKD+3UBb8zMf2QNlcVXejQNBSxBtBxF6TIo3wmJ+23cF0Ha6QkCST
jkKNpsFGsUre76Mena0jEPw6AIgqex/lryJAijKniBCF0Ln+XYJLqtSIh2Be9NVYEJlIoeAKTXud
Gic1Oa9h3W4b0zz3sbcx2TnaRbTQRbmv3GFt1e0hbyUyICRmjCz/qiA/qIrncL4EVYN3OFtbhFqZ
IwsR11mrsn5V6b8w/5pa4CaVXAP45hhiy1T0a3MK97lQuzidnoOyXPnontkCMflOF9aE7Qtnszkd
TWZgQeeuuJjRN+WwjYi51D9bn2x1f+lBJ62EezYa9iSp2HbIVfLsFAdcJmFPfu8PDwWGHtLzoBgP
Ey0UdEbS3bmD7XOYgKmE5N6H9k75sBRZwkiIIZXuos1hbDimBmesunns/BXZLFEcbwyyljBLWO7c
NcwuV1jTxSWPSlYiLAAj0myFVLjL/BNImraX1wDxIHftfWy6pSqwE9ghuxFK3xpg0KR95XSlBjJM
K6yOWeRtksT5DhWaDdFsdWviQFx5yX3uQRLRvNNvsUbIWLZ1KEk+S5RxA2LvSah9GddIjH/DFkW+
i1dzliK0aF/0sr/kAnuKLi6m623susTJNewHG+R+GpEEwfZbc/VT7Qe7wHRXdt/cNN3BOAe5g4mq
O4YY0s4OyeCTt+l0sHYfhd6vspLDFKVixsSw17HUym3YoISl5Lar+itXnzUS6cL/ZzPa7uT08CfW
267cEB5HinOWfabcyFE8YsoZokOkGNAm7ZfjRPeS9fsyczosPgELeEtXsw0pxQAt7Fe3v3hlcQr9
dDHkd3e21GNK9OKjqLJ9jkO4ZwMEBIEJG++aUpyPzn0mnRRw/tJkK6v3bEoObnu1IMjE6XjC7LGp
8DT4znDJkglLJ04AROOmpTB9N4tkoPybwQLK+yiRDJideoxjfnCVcTeI2RJh+WpFzMgGZ9WiB3oa
BTxBoK6OQg1JYRnY+ez4n25RNAHTyG+6W6FlLH+1KmDZp5gTJd96Iyn/FA9d19lgc5LhHZUdaUgh
c6Em9hh2WHVADFWwSWKClEizdIFXyDLdCLQoU3WuxuJq6mRcoT4pkvzZN+AQuKc0jMFXNTnxd6lG
MWIdy/gnLFy6WUR9EVuays7WTPD2Aw7JXgJyqfS3KGeKOTaz2hgIBsRbK80JwUDKP/x0FtN0aHUr
EXR7MTpMf8pNOoYY4gGBt8apavAL+XIZqNBAR0OVNvmnqOhvFhLghKNNE+059JxrmcZnV4xrI7W3
qui4PzscFi7xNRdbvkzBszZSzgzupfV0rP+4CPLymkjzMEbNzsO9NaExbgztWfNcrJIMhom6NPvu
kkKcriOY/P7k78YQWaMJ2HqeOZO9kGpYMOmmtLo7hZCV45kWCCQPYjQXdX5IB7Go+3c/azehzRUJ
PU659aIlFTHmGOLvY8mEiDvKDrMRvSoFZF9jQ32OwoEKi+Ntk3b5ztbss8ZlrcKQp56oczBScQ5Q
kowge6AznPXqXPKJiZ5XMJhEKzFMFHiRvWjyWUuOds5MGC+2mNk5wPVwV4mfkdAIg71aloidDwUl
BVgMf4b0bnPXGeO20vgjcwOTBfozG/5F4ALsHSPQXwosroyu01j/IcLbNrH9ElVxw3SBXgxTLvpU
hcIRam9nyFdvjvVOEGt2yKiSuQ/GvdT66kLlh9YCc5ntc3bxsf7L6NOa2e2isdfIdOvT0NpjHwQP
TTa/HCWXsbbPYyL/LBdVUIE2U9ArOhMEqZS9qSQjvvd8g0GPwbCyo2/MuSFAqYK2dSfubS82eaG7
LzkLsJsc+6MROIcuLQHsejgXoyp6YZC8DGWINwtY8BN32lNXYhyKP3v9vR7vVTlt+iBlT0dQqpK7
ObqJnvLJNKO1646/bVhz6lGqVnVFpCdUdL2gOuY+6SGhQyJHA9PQA04xYTNJvtPL7FG7b4bJE1NT
PJiWC1AZPlIAlclFIjI0JNQqOlfNYxse194t1QDlGcm+56waYTu4KjxYmXnOCdwB02ShZucnjwHx
9WH1MZbGq+UTh027r+XuLmstECSwKwPd3uSetmWAuaDG3tpQqRJPbDQKYcZ7a2WoR1IY83oPBwOG
Lk5cLWv2cTKywHAYNhXLNmSfmbX3hgXfOuLNL5RajxylIdKDsbHODUD81pX/ulbtdYdWO7eXU1ae
crh5JsvfQvsL5CMlCo/xLD5tTDpGQczvhMCH2COaLwaGuPkt1J5aC7YRN2eR4Ogsk0dHjo8tJWGt
xT6N1NarvhR1ftdMi76/O9Q2dCs4yxG+temtxL+FJxUQzasnh3c5oQVSRJ7bd7reD4mnL9aNjYk1
WctKpj0N3GPcPSFcSe5rbQYq0GH18TFskZIls/BjqQB1BhZ5YE57bMLylibq7hT6TSugDk8mUBJw
j8J5DJn6Z4fdthy3HvbIqtaWZUcNaJO+oQUfZeMsJnazHgMHoTB7MqZKRh1Zwsg33epMG7KfWPOI
RZp9AiL+IYj81o/4zzvde1Fl/9nALXuKmhmQrh9gcdIqhXCNpsK8IZy9uQmSeG3A0WdToujo1UrT
AV/l4d4SnxUO6YwPMMcPK/UB5tuEB6cqnxsn3eukGxlu8A0B/sgiHu5vePMxh3QW32ahrpXpPlcm
cStkGhmIqlGIXLkYBiZZTLQ0lK9xfsltedOZ6yVjozEpDzZWLQ92QdpnSXsokUYjM7E1/7M20VYL
8dBa/eSZONhU2BJwFG9MNDGTaZ2twtuEUbJpfKREyHVsRaWVGA8g/pCMYJMxsTkPgslm4XA4dBG7
DxFTQ8C8MZr6nlTWWhfei6xobNp0WNddSI1oEdRA1kpuf/ooAvB2/caUJ8SPXJ0ucjDRjrifYa7n
iW5TKyBhCTXC3gMA1eGcO9TFYk7ehjZiJWwt6rB+0Zvw2fL7u6IJZaAJetEADDdIZOyQ0/jsNw2Q
ppbBHb3wJUcIItKIKWZz9PmqSy2fngafQDwvlHSH2UZv25VDTdsk2pWpBRGBPWxhrICjepMNPTPG
8J4GPzZ6IEuUfanNodgmET2LeqPX/KVDxSeEwqwqGY5VEPNRyDN5ZEbvWq8V64oM32U2ND9Gz+7T
IEelmhZDhpI8HI4Gu04NfjEfDs1yvhujYe0U/kpYNh5DdxX5HsHUwCqgzOq0K4iklxMEAK0zlg7e
HxfKq4VUxWHc1cXuXfVZv8y9ORYMrUrpv0sTXCBlh9M07J/qf9ywziKPvF2nV/QXOMXjwU/wr89I
atriGaTdhOLeZ2h2S+eME4/w2wA/mQSM8dd0MLKK96ItKdnMY22Nh6Z0DmUzncs8u+Z9uglyuGNG
be1i8xHBAjJbhLAOgwsk6Bbb2MVYGwgUXMPZMhl5biJzIec5o1+eWHj/ZiUYXBfsloxJhsun7oSS
E419npyrCIR6QQBApnnsqRC+Ss7O1dRYd5dzNgokssoSzyiWZAx3eQKhSqKGTtz6oNXttZfNmaC7
dUkpATTKfC8z5BJl0rGh19KFrD38uA58DWMl+4o+1SzujmLaqsoLU7EzfheMAvprbXQCTRbHutvR
O8nEoZfM/7WmU5Jx4bGvFdXe1vo3ORZffqKWU+EcWjO+MeJmpgSehYRJ4L7hGvf7d++ztm8rwhgb
XkPM2vyHCxHBduW7UU77sEt/izAnzEw7pGjT7dLhUYivVo/0n19kecFEqm2Cte4yKsrDg01JlHjI
EiuNBUTE8L3Bl8gBScyIAdVtIiu4SVk4CSxpYURJ61GKSVzZehV8dXlxRN+/rckxCE3ksEb0K1L1
XBqAf6U2bfQUBbM/Wo/IM/71NvjMBDnXSJkW9S4qRSppUONjzTyGHCl3cvynoWPSWcCKKewuWXpi
2ilTEUGNqcxuWDT48Inx8wRY1aq2OBtBeXKG/C91e7K+wcfKsFylRkuwn12tC0W8mJbsc2KJuW7k
njoVVwPSD93bFfQ0Tv2RoQ1spvBSC/jWLiQs5lt6Rmp95i8sN3lUqdgQ9EuBD+3ZIq27auoHq8OV
AcObcCVcSZF4ztklTla31HTkQbpzNgT1pRyxlBjVjg8PEZm2UrMzKu2aNeOlg5qMcxAjl6FgrYv+
ZAjzLmMO/Lw4Ram/zgvxl2roeirUQJ5DyLrRhLjCy7UPzRDJDV5Rnd0aNYry0BG5aFSZZhmI2LKr
jbDsaWQfmrss2pjmIUDEez9Nj8GFHNiEGkZ84a0nqusBoZSexAfXZR2VsvkTeoWgeLjHdXtO/Ltu
ZLtQ9Ic4tr7JC1tJJzmUggu5EiejZfVtEmTloo8DThmWwWLwyo/Ijx5VOKJKs4+pz55+ZKFO7C2a
EwAFiMOt4j13p8f8UUkF/E3INa8B9lisPaytUkaXYThgtA3/6gDQQqnJS6f1lwiTpeZzRSTmyYbi
nPTTJol8OhgD00v010tw24Zlmhj8Bmo2tDiRPA+a/WjYY2kdyxIDZ+HgQR5BQ/Eks4xZt0ef1Bvo
ESi0QK8Zh1EXG7NDMTQSAGdxk0Stfe3GlGsKWMogboT0PhW9vWRvvnUyUtqok58KojoLvQOYThWD
grzv9LfAR6DPPpmIah+vHW4lSMO5U5+FzWBDYnYLbPrbgTod0zVRiq29jErMKGOcHxuBEbq1Uee1
PUbIYhbANtF+8tyXPCHQDovm7HFCpLJrcPjUQn+v9OHRObNyRQYb4U+rXvWfrqPxd0cb143OGbxd
dIv6ssbVBa/npnUs3xvHuhdBtW0n+Ft6uHe65jrxuUsbVUoODDqyIiQa354N+ioe77bpUXcZBYu9
7KUrGbk6PiWbumR+wwlYXDt6NQcwnBkU9y5MHsKJ9mM3veSTxiIK/02Z3nOwCdICfsHqmi0MI2Ww
dQLgPXFz2DkBMGAdUeGOYEIaXFgy6LP6m43dn65r7YUz1V1uvcRemSo72YRGGz7QPNH5nx49iMYh
H3W2DwEOleagvhvvjTPjXQ+6u+4xICYgxNbv1uQsYkkXrrRbBxRppDS1nfrq4WByCuPdGf3niJFb
Tih4RZeCAmBn1Fcws9gn6pVpvaTgU7h64FSxLkIbaIzaeRoQU/Q8MWXuvsQsjxysKY5V/SLReovc
BN/mi62MKy6dX5OTWMZ3ttXnKrF39gDXP/6wM95P5CDS5uatIAdb6qjn6F/iojno5nAixBB36Yul
Z2w4Y/RlqdMdE3eOeUElHsbkCZBe5guG7RYiUDl+VQEbILytJrQWDVMgG+DnYeShcp3FIF81u8F1
l9FLg4urjF1vBLtQ+5HwAdtWbkcHKLrRNRSrUCCmhm+3hdXWey+VfB9SPqJwfI171NFMSXVALDIj
QRlz6WAx2JIROSMEN43c4t2Eo87PoRPBC0kLQBigouddw/QRJ8g9AufX1jkrCwBWKahAAgUBo3sW
bjDxr6YbVnjcUzUSO90dZQpqvPVPGB7PgXI+Ta6FUhnvXlU81XAclJe8jLpFWvu3quWLGwK4Vi2s
TOTA7Ir0ot9o+Jzc+KhPPQ4krGSmjwIizSQz02wvdY0RlT/TxVYlwVheRiCIQzjMkJwSATJCq8VW
czpQi6wyYoJChwAS1ESlCpf6ktSo0WwvvqqwOdshElK9s0lH7ojmZAfPDgZVy8aIm0OMu9a1vqd5
2eI4F3wb1Gdf1eD8pF57meQ8pkZhkEW2T0eE16linqLU94i4eXKJOI8161p6Ndv0cRlAhjBZk8CY
bti9mniD2ir+acoCqSRfud+NZ1I31gNyNab9uxHpdRuTnMAjIlrvDVT8u1aTi4UvTCLvzG1/4fcg
VYuG+yIfnePUo7VtC/b0bbFBPSWW9cjqJGETXSDifqpNWeDfADOd5jHnYQHyBna7pn1l4Yj00A+2
7thtRdwefMHBbGikR+fTcNGGDNxRQ6WWf2ueI45FycbMUZiBZYFeNA3JD+z9hszBEuuGaKb3Vpi3
Omt2ZYeD1qDArZs/TBu3qGTNysydoCcfLU9W98QwSB85S7/BEopnKjN+rRHD2uhqnzWKeEpAJ3+a
Hw6PPgfFA7KFAZhI0TPc1E3mBxyTt6loiA10j4hK8B9E8aWekWJ6xQZMqLPVlzezY9TOWAC0Q3tQ
A+QQlRt7bhv6lBERtXLYMygjPQMdcwFIgG6f8ulLk+XFKLxbmTCYryp+ZtR/1yQvj0ZYbK2ScGu3
uVp2tNfIUrfb9LUByaCwEuVErSEN8D9spmE1JXujNIBfMX2yZ0EGzhwHqxnOe7L95qgGHeab2fK5
JxV0gFGUuylDhK65Elm+eYpFfvfD6p+PSl65AlOEiacODJcDwIs4LcckOziLaTL07AcM8XJK/7yG
r1Tz9gDKboMq/jE9eCYIYptkXM598g0TyVx3roXcDLAfOyRG29wnPouKOLN3CZf3k/L/WUCabUgF
NSYt1y5/HEt/79JpzyTyag/lJmyjR+lNa98YSFTVmHeFvYc9LdynmaAi0nCqg6giTGQRJO3Drpq7
aeeXSgKhpFpFlUJoMcqxZCKKHVPAgN7D5/pMDesz6cNlldn3pEb5PFIpjGChklShrEOZOuhk53lk
H+pYRD2jehix/5IZ0Km90n9Ywnwh4uFXMeoYGg9yKrQIN9oB8Tg6Yw/HzOv2tS12Ay9/mOXHsKxP
rKZWnsDn6mpnFXgLT8d9LtptEMO9Szi/KayxpNJGO9Z7ZgE7aUdsrqNaBjHNXG9j5EZzpzsxRLwE
27QJATEoyWPXgm0qo4Mh0sto6G9pQTxco6+JP4BINeMQwbiaLlNgB5lB2ddnv8OoCj4w1pOlci86
PMSB+Y9tzEEMor52vtxw5a+jwdnV5l7Ztg5oJLNOjg6xrYieiY4eFz1ZVW3RrY0hI1OLqSbKVH1E
g2ajwFVDTabEmKxH0yaAplkNWXU0U9be/DNJaI2euwyWZWCKFebPlAgvGJfGQOcQKhDaUzdjuwhB
y5kxTwoMTCUYfFKvjAjOR6k9TBQ+o54c6wZscREittCoBUuykW06wKUxQu9LtWnf1/rNTqZdoZO8
M+qobZq0JibT/u4779zW3WPQQbA2hfgwGvPdy+kDqxkSrlCWOhLPl9+kHKkliu8hltummNa1ZGFr
xPk2wEw45KG1VrUzLfMoemk9A8cbx7wBpyEYXpIxezEb8kTY1XMIedpMm+GUamS3syPzUyX0ZCB/
LzFV+VpX/nriIHI0iyoAohNzCbmS+AueGj39kqHz/f+U35jeY5PM2HDS/kLfeZTCb1ZSw1pKDObO
y4YDMX2nNJ7+eSJA5DJ5L16OV72toz35qpsBMik3HyaoAcqZjNy3zhs/yym8MuPbZKRGVqrbRvRq
CCu7O6SjAIxpsOyKYoBFD/NIYFqWZnmznPxFy3sdNWL/yTQ3385J832tBKortQtrDlPlzb11grSj
HZhpQS5m88IoN09zTIqiRDM30+uKaVEawaq11EPmCebxBFZE37J3sgoMhVFu3qiJ55y58p47Nntb
5EyNeYiV99aPWByDNFVztBpnW6vf66blC4xgiZVhcXJS72xlyl5QUBDVMSiWFSM+GdCaQrChdXu6
iGQ2wVamfov8oj4qD8g4f/O3MtntVp7z6vTsJ3VF/drS6T9pvnzNYVD4CqJAM/AhDGze147S0bVk
hCGr9ieY5olyavDiJiRHe131NVnVw04sa6lVYPWM/oZ+ldFgigZMp9+2wmgbqpRhUnGoI2QXMSr3
iYzC/NIF1bdlUcKkBs5vX6pTo9sfPKhfVLkNi58KNBI/Gi0FX+vgjTgQbCCDZcz0DxLCI7Y692wj
hcc/lWlc/xk4NDcJUJXFQJ2MzP2PsTNbjpu5svWrOP7rhhtDAgl0tH3Bmous4iCJpHiDoEQKMxKJ
OfH054PsPm27+0QcX9A/SbGKrAIyc++91rcgOA/2aE/3lZNydp/jlNkhbfSsApdS14eabm+WFb9G
UHMWeV7VMJDFQG4QoEy7YcAkIT6HZHFfEvVM8uPOD6NzN/5o6V7ENG6x02Yx57/8DYg906acIeUb
iJnHhFzuqKZ+XVh6Lar3YegY4tRcJkmyr5vxzq6onUv1LklAK2QDYH5gTncfOfZ17qa9Pah7K8e9
gv4o4Q3jcb5EXf9ga/8GUn7TmU03Oo/GjLeBnKBMv0PO2tqrdIMh9uLKd5FUd8QHHxpM8SPZAhPC
261P2sS5S53qoNHSbaPB+mFXHmlzazqbRybLiJ9sN2SwKru0q8+zDhiPAmQKo0Hfzrg5H0YHgYno
wJPRU0IAAVy8bQJzln2ZP+lANxiIFZqskvzS5KFYwOOC8+8burWEEgSExw4rvGNmgelxrQQUnKkd
Pdl1jAdYub+qhZlXAdujhYwC5ArPkXnykJyh1GK0ykt6N1PNhNdmldy/sfrY1aECONO+BtN20Nd+
uTr9Kj+hiPCPOcHnBSqlDVi9MT/I0tpBMt3k4xeQ/imTdJdpiv62yJPfvXrhSStiFyq1C9t6G6t3
lcAftfYuAO2ZJCiZHIFNbp2i2sUdfICIl3AzYQUm4WeQDyFDLlQK3RuuTGYlTH1umukZUyoNyKzf
w0drhgtIK0+BeD8ujOPW6IyV/c81hOD16OIRYHSa1l88wwAVleqaknCtxgNFO57fAlVInbwk0LDj
AD3209ztwgEOGuyeBdACPB9V4plFxpldOTCW1PuefzHNe4a3Ko0jys1fFvBJAgVoB30meInGsdrk
6OsCL7untcktS9XPaiqZ80Vcvl6Sb/KWMbnFNtFz71r9tUT2F+A4zHjODJsASBTUbDR9wW6+j8y2
SCfs77wWWrE66YjXA/r0W+qde+uFST2RYFZ86z1iHN0yvab/TvYqo/uNKw8VxFORQgXGFJicFEhz
GDjZiwmC49wiRLtx33h7HE0AcrhTCC4p4dDC3850xgWbKCM+Ki2V3a/Df62fG5IDUibTTBkVkb2K
8yFhGYDembWdynqXCdRJnFcovHG3sOmMa+N5U6PytatnmM4O9wKRZWH7PU3PXMZDf6BzQvKZP57n
cY/mB+/uBtCvxVmpbj7X17a7beo731lhWqr5Xucnr3/ooIQM2DcyOlwbPTMeaTayvozlQ+rMGzRY
zmdLQxf0gevdE3JhDz/mBc3HtZseC28v3IOf2CSUHSgybpwPSREf0BR25FG1+xEdT75OeZAoF1dZ
P+FziwAKUtKmcF9rAi86HvqlQM/QZ+d1To95Ffls7T/r/snoz6bATDJ/NqQehBQWEf0eosVa3sKi
OfX5lcqsxZYQRwgPQOmDvqzrG0H/hXoH2Ul1m5vpyYHDqDLrHFAU4JBhG8SccBvyGy1fdHlbR0hJ
KRmAB2n+DvgEEr9w8IKZfhFPbQjj4LnDBmntmuhkDae2/zmU90v3tHi32D+Qh3JXJJzenoA9EadQ
0XOz9NYxrMEx7NEFZmL51SWAAtQHA0S6Rxh/JHCLd8wNXfrMiXjtgy/HSeyyZDsrBN/HpT/MCfva
iDr7ZmrsG0wqVKno3Q+rMIupRxmwN3D11Rl9ZeSL7tbt6OU/wYDwoJeP73H+JZC3lePiVxTHekVm
iBoXzLALmVx21zH/bpXlYVmh/M5wQ1AHWhm3+21rXWN5qb4r69LAgdLRpV0vP/opwdZRvzz7MVNP
9vwdj2SFYxUlAjC2A4s6IR9F+l7oo/a+0Rf0WUhmwbUEIqB44LNtIPG/KISOFHBYO4qLnUGIbe+q
mPz1rc1YqaFSDsZwH3WoUXYOClPr3R/jL5V7GHweAIufEQCuOXXgumPwdJOZq2EoRRm261JEdCO4
9OYLftuttnFgCIZIGVlTkgzHgz9/h0SyBxiwCXG/JT4HmIBa8qH1H1W2S6JDDoRhcR+9+TTS9VjW
pLbuW4xKtl9a9s9jYK1Dj+9svGnxnoZ7PcMXbJ478awQeFlfq2KlSeBx2FRhc6OTgDL4BzS0bNzn
gD+D/jZgj1mJZsTKonfwjhA+yK9xrZ0LH8wFEkHtaDIwK/D5w2Ovrpn7ktFPcGHLFOWVsRgKk7O1
wDK17wc25Hkg6Upsx/4nuFDR387phQF2oVAp7YYJAXzGcGbTc4VWjym6a7ZHN/po57vUfHTeO8hU
jTZX0Wkp5rtSPU2Ti7L2mK9O2PmsDbC99DoP7WPS3DXTsiHR7VDkwPRhMcaXPntJ0o8IT8Ocf0+4
rVi2RmATdnM3uAdgA2P6DT2PuM/9B1JuIv5yIECR2jv4CxNen9Z78ZxfNieZZRt5r5SwAmq2e2vP
95Al0RxU896UeGQeJhSBE8sRtxjRlqZ4cRPahSS/zQ+y5kzLK1KcNGUVqSJlB8HmpV03DDq/9EZv
Cq5vFe854518oobSY4NEx1z19M2hHe//sDBopQO5pV8g4N947QovKAE2NNFj0j3UZu9zYo8B18EP
9l474psYkLcuSk9E5P4Zl0vV3rUoAC0AgMBIh/5YYk2ulohl/Zw6t73/s7XepHUaicPIybfzBZOX
nfPW4YyxUTd2Jyf7cMDIDNWj1T0vlof7CXCNz+aB24XZa81dIQjOTPtTRz6sZUUvhSFsA1hmvhxl
ADaaJi1H5zTZOuI5V3AIzm3Y7SbvubRcxGWnOnjtu4eGrBL7tUZiE1Oet4SvoUkbidIxKw/ibkYE
iVu+dklwefKzYutBtwzis8XNCyuIQm3rscGUwzV20UTR7GJpqfZu1B66GpA9V1z2tEoruDzdxMOY
cFxZUgMcR9qA2NObCUkzXgdAx9VZU5O76Xfi1VR5lgA58/wpj741Diou+5s7ri0rurdpROTKow3i
gTF6rokFntaAyjffLoFpeaj4L232da5eZfQ8tIyFjh5DuZCFzJ/Yd6c3n056BXofawfVTsOh8hKU
DQKkYUso3L4P2w1iRFYGqJbmbjAj05jm0BdMQ/d2lJw6z+wNnVuqUkr9V8V12M5HkO2HpasOU30V
AvOwdw1r/9hZQMC9Yy8Q7gCbz49Cvq68/Rx6HfqxVr46RbZDvrjpUMPixl0IUwwVM8vhpxNefSww
yNNpOKGax+LL/odDqgV6AAZtCL9YyXvv4tjCiBllEDhmHMAtgEKc16sYKpieJRynKZVHV+kn5aRv
MYk5oXa5eFajGdomdAQOkvEwJASJWXCsFP5496YbogtTTuIt5rOlrS/9SKM8ws1Rrn6NLMhOcC8O
KclzToayGEgKRN7vKHYp/Sr4oHYN3lbFPmu3v/WZbdjEwKdsPeVU7tpgNaURfTUHdnNRrXKhU8bo
WaLiK/oQQLzAoCrb3WQyOvarvKhO0y9olpmbovXwMhywkTwYOA34zrtb2wdKN6/cA4uB8UbH3sGP
5aEMYwLN4vwzlTQAFRdQ2JfJafD1V6ORukV0hR8Gv4tPbgoX2CQRgfbNXG2tbGhe8l5j2DLQ2RG3
Gs5a0ZD9mKPfHRDoI9pEd1MkT7PXrPzDBYO1zx3gCe7ohvyIzl9SaPCDf0pq60HKpDjG1aDPg0S0
ZroaIalvX5QOXkLHmUEWcclNVUOLLQkcVnH45RAHumvIr3tTTMELUckMGeUk9sHsx8/IHBgseD0I
1ZmZLARE+jfyvFRQ/dFJcp5b5mtkYdipGk+ur+bDpMRwa1uJ3khB/JScsNEHrnOlyUs9tVxKvA6R
13LamMxtxkGvrFzMMuG9F9FITDlabdwWPzWDxWODlbjP7XfPw0U5sH8gHKBCbTZ26wbbSjOoUUw/
KsEt62bDRCMfusgA9C8gPAXMQKHMuQ7BdBr/Z2ihUweWyTbb4xXvtHeYXd87Ijs5ztkaTZSffV8C
IopmrBWCv0dX43X2ipeM5gle3/C0UOwYBPrG0czwcIaZlXrIVtsxIVch4Ml2WLMMCoZUDZRGOwjI
sSCXAINUiGnFAI2P0/wXalxSgUlxHfwnlyROK4fEnPUgzGpS1gyCcn+geaK+ZyJ8GtH+pVgQtt04
HvpGftZL8TPRzEf43ZjozNBPOut9TrH3CYYEdW+/9/1qD7c+3Dz5TD3rm/LBoUQc7T3rUpL7NaAV
6NwW4J265CI79SnvuFVdqzDdNnNKGiVr3OKdeg72pQifEe8gfYzqC/Mtlwk7jp6+OuE43I+SsjxM
jjl44CzHT00ymwg6TJ3d2ZPdwbPt52pCK4n8B/FZts1bwI49BoolwFsS1FeKY4hwQf5YtSSYF/3X
rKNe6iIYKxAHrY4Cxn0rY6sHjeLgRu9j6ZEY7EhoBe5hDM1kf8KkmTFo+F3tTz9sLxPBe1IgS/1w
xkEPzNZA/3s2yVilTfDjhKEBkqdnlQWjiFqNNYcuFai6cPdJKxQ7SW/pBcwS2zOj2dRrSgZcXQRK
iWYGQSvkJUqOj3j9krSx3PtUhT5Q4L6KQRduvLqOBPmSHWQN9lPZNmhhyZtvaWexpamS5tdSrSLs
1uVtuwkXqyXyGLtsKxhpLsymf5iMQueXjfKSEAe5dC4BUsIa4/E15mfX1kDkJIN80qOsYHVVecnM
Cu1vPHBosCrThN/TOEDIQBNMpvqeWneEI6rCrmBtkECo1iHPwFsltoWwegp+4KIUDT0zCf2J6sCh
HURXyWVfUSMDytupqMa63GpZ+RNHj4SD/qXziP4G1SZHr9l0QUJKxZRG4uwXU16xC03MKLZd6FWw
6HDQpWQWI66tKUkL5IzlWxfRYjab2k4V7bEC+VL8I/aZR1Q7zHSCXn5G1jA7UzVk5SC3STnHHWFE
fow8F9hHQliASuPF1wgFx8k7gp1U1AMybsjX2MiQqWDFhYe8E6ZCHwGCbcysfi3addw35UH5QC9n
52lhUFO2I5RuUS6RdO4QmM3Z9xB8GNGJ1qxSjIB1lCaJBcA4EYwE7Tidy8920AHM/s6mJ3ixi7Fw
74UZ4rXoznXIwbPkkRAvF4u/hpQkc9A2b0WOkA91SpAgra6NRNKvFmti7E3GAx3TG+E6oc/Mbary
VdKeyfxL4eGkwzsRgokYdvjbIkMVn5nKwFNxQgFEMHF1DiyXQ056lVETg4weI7tgBDqzeND9C7P2
1xzkJTmoVqsMcLk0cQwiVb83HnEZYcHqN+0gzofBV+m5uJCYDYSZIBjWM2Hkbfqxrzgs1FEprAWl
QdXM91JyvkR24Dg+5nr0r2W5L1Oz8O7hg5fx/FXUTbn2ff05jF/7Mc8w3EFwM9lHJsMcK2rHzjr8
DFBUYjRj7ehPZrTM6mXtotZhoNYlnA13MsXOkU6E3TOclPgl6RG641h0yDWYlmbusa+xk09n6VqK
FC2T5pJp8mAFGQDGChpL4UKP9yKPXBi7cx1rP0SNmp997BxYaXORFwE6JK+RkqPNjPLUQgEeEcOG
FihjlXeXNp7T5KjrMh7BDyX9iHq6Y0iDPjFonHTHr9iGR1cvmnFLH1irlqfChJqMIE1WHH+CwAow
z1C3FKUYfxTHxr5vR8h6LVp82svSjcxzFXZJZ93W3ZDX866zpiTsLrbnl1WwHdKk7bDrlN6KBY1N
KZr3MRySJQP41Gnx3S3GDqmrY9uVTYcYxGAhttxxCY0QxAX9GO7crM3cL50bx+Ww03GnbO+xhCyO
htPCHjD8cujuD9WXOmDiWH+KzkrQ2+ZcIQtQfTur6Sn0aRaW7yIWhXNJilRo+rzKr9GHTRoXNAwc
Rwms/saSVbQm+nbB8BwXU+GaQ9FObjQjF9Ep6mOODSM9swbTn2BltprgPo5a4Z7tStckKbq8lV9n
DyA7cPsp4o+WSG+ZJSZdwsVQZXmiX1EJcaVtNALB8RKjfkF/1hd7UC/ya2L7RCTNgjnoY2qnBFmY
RdZQ90cXSjJrKMqlyETrETMd6P+hHqtu6yFE9Y7MLhw/XVH6ZH1K0mbnF9PNDUm9UW9ciqRh0a3z
i3F6slz427gU8iUpskcoj0rceb6zdg2gj7CB53a+FIe0zBzvzp9btnXNMo7PMA+oh3RPjbWjvxjm
F0uEayewbSPrbmQqu5xAHPfQDPlh82Xps/KJtzjLb7Oo9ccf0nHn5WSrrITQlToYliCdB/GjobEg
0UP0Tn30lqGKAIv0dTQcRFLaUNNKiwJXLlUGcbHp04B+65yH+gkzmQXlMFS1ndEMW1o9HhFGRj1s
2hzjEFb5Oqcb0dcdvlIL3WO0o2Eq0q3o2yW02UgaE7xFS0P3lEvYo8fgeqi96UiYJf8l/aqacEBl
SdZ+QRdc0Uk0sUV6VOIWoX6dOpFxmuY9suiFtMky4Zcs4xgVS1InU8bcCJ3CsZrJN8dCrhauHfqY
q75O9ooDDXFufpnzDPGiyvFcQKeJHTJdRzpkwJ2TLmZGX9rBfJERvewzN0UTMLsYW1y8HLHR9XG6
Mr75aemRFPgksp5blHuI9PJ8WOStJepCMH0o6jIHnRTNCZrmeTaA7mEywG/bJVmsmZA2MIC4pM1O
MMGDZpmA+AvLhapRRabJUlQjYRIBG9HEUqhZirgjWV1YQFurNhsyRCJqLMERlUFaHGYnZP5d+Sxm
e48kLnkIsXNYP+ahSOjCTYzOD31NSuCdlSqs+F5liB5hJ0LBGdYNIEsJxCK+syLB3Ny2wyH9GeES
Hxi/pGN80FbimltEWWP3jSiRAnNXW9SQ9bAyzuikPDdm8bDYnh9MUQnQSw5BoDSvVFGzyjVuQdh1
2n94XNAXt9PK+UjrruWk1fpuRfPG8wd7ANoUqmqvhY0ZzMpRmTCWowy7LBHYgYdu7ELntpmsifWC
a1afak9rcauTJW7ociRObz7juJXlMfMWQ0umZnPcuqHFHdXGfYfKsOhFS0xIz1nWEkudf0vbqu6/
cauqfDN1FoltYeYM05UV2+RnhBQxa/Xsz8td33OPO7Nskm3XS2yv2FSGr3UrIPsUYTG7BPKEAMnm
MMgIIGQCRC7ukCquPQu4q9+cp3ki/LViHpXeMRwdegyDCno5qkXEOUHhZ9PZ8zkp3sy+kOnFrjVj
momW5bhrR6b6exHb9ocjgmXd28ZQPDhxXKCtb0a0PPDUgoRir3EIKJpqOpq9XbXyfcncAtdHLafx
kSZsGR0qISVKVil71qa2CFG1KSuayhMEt0HsfG4WsSn8hmVxmj3lcxkqwInabV2496YoOLhFvfsz
DdrxY4xUz6+TemQCOGaMYLrUk3Plj8nvhStSTRwUi/zW6ifmJkaitSOCrbVy9BlTQTO9gD1Ev3Cx
aM+JHgaxQbhPXFAakd7rotq6kdOCRba0JWJAdNIJSs8AztKZt0RjMVPNFK4N0iC/ClnN/qYBCk2U
Zx/0P4pOCEZ9AKLWbI6wKmkGOXl0CPWAJs1iNu48uZk7o1MIikg8LdnClNVxkE7dF0BY7t0mzr/j
FwGu4vV5ApleVwZFh0uMjI92/E0HrXmUcYjpyumK5CxjSbc7YUFBsoY2nz6vpxWpSokkdV0rcNwx
3tofqnOLcjO7quajGc0H0ngOGB3S+2KfY8z7brux/x45M8Z9Bsvk7RZ6yrCWJCxUYAnc4QdQshCQ
RpUiKDU0kl4NY9Un6Ij6Z1Y2hOz4TZ3iqWszhcyMoyWAfZEPcHVQfBLYK4KUpE3EstnRcwRcTiuS
LqxJSApfWjtYiK7rcdVBRYI4t57ZuQos3xMl3ckQIKPVTpbZGlYZHribKlA5XtEjEugiRaORddzs
5sEhnqTHzF5j9JHkCSet7bIhWSEORp68Tna148AxAHvpA5rHTGHv8HfCWDVpxlymm3IC6QOIEDgd
pV2P9PHa/utsIZnaVZWES43Lx7f2rOZBeJdzvp02uZ/U0SlN/P4DYP9YE/uN1wzbofEpjbiuLHZq
gR7VSlEtAKqqz00VSiDRwHXhxk1FkD5xeBGwbMrRgw+sXCKXE+EDakHxJImqLFI4hDgTOdv4Nj3S
vRlLW3+Dr1T3+54yrHjlgqy7ezxGdbaNhGWj/k3nqj2G1mS174GayFANTTelb+0wYJx1AIlnH2XS
MC9Xg4NuB96ZcWvyMsB1FQ8R4DSu+QXdrgg5row4WZwi0OER5qopnyNEWAX7VhOMdz2jq+k0x7bK
f7J9llwkiwFTg/RtTBmYciKw4rsxC1ASUPBINXIsbEGn0dVB9zfSJVvR3I5ZHmZBAC85hYuZQeF2
udqPge82j2ErpUfMQDRTCcHrkgVFcIbTbdQy+OUuTb5wxJYQpbnO0+4Yw+vJPhqnqzkf6MwiOyBt
CPuKRIZ8vqhClP99vVCV5qNVPk1jY6ErM8pBt+aGs39PwIScD9DPqqdiDFz5JLwegSzI6+Sd8+DS
7kYmG+JYjiJIviXQQsm16W27YbaT6pplYZ7jPAYsJtSUHUbEdZAhhzaA2BCV08VX45DtRJOq6oqy
lcZohkny1Jaz03CXS5rm/uDD1B11VRS3emplf8gQpUxHe66LFNFvUmFLS9Z1axlUDdJskWtYQjkX
KtqUrTfFu4Y9Ln2R6AIjbHyiYj5bWFEzfEOL0nFsT/B3MIaZW9OjKBUS8DE8GXC5wmPA+W9xlmG4
bFjzcW9tWUCZ7v7U8ovoVoLksBnxtyRQGEWDH6vAXtWuR3wfcUZaolXoe7r5rZY3LWNxW80QoWnc
LMWz5jYe0HCVKZo5FA+RmDd//Onf//qfP+f/SD7VgypNouo/1UP1gFWn7/7yh/jjT83fvnr6+Msf
oRfYHv8LI9vxOHzyf3z/5/tTVif8Y+ffoiBtfVoPWOOcvAcEbDtfI04Vx9/P8u//9DTd76f9qRrT
km/Q/8unf71vPiF7t5+f/eW9+c/1R//vP/3nH/zrJfvZqk796v/1X/3TD/H4f3/+7Xv//k+f7GoE
teZx+GzN02c3lP1/vSDrv/z//eafPn8/ylfTfP7lj59qqCl1nz4TFuY//v6t9RV0AvcfXvD18f/+
zet7xc9d3oc269/r7P1//NDne9f/5Q9L/Dl0kcnadiSpMWwpeLzp8/e3HPlnmo++E9IBAc/kecEf
f6pV26d/+cOVf3aZ2zDetG1XCEfwviFhW7/liD9LxwfQL4Iwin5/67/+/L9fD397Z/4f1wdP/w8X
iC8JJwoCx6OtFMkokML+5wskoW9by9R+7dsZk1hR+o+tJ54qFw+Fi+mhL4Cb1hqWgrDi9h34zEeS
O6tjO3PhEkx5d2uBiAJfl0Z3BdoMaWGfNBKiPKvFN7+RV5qMxUNIWbGXiSr2oj2pCWxvGLvnMJKY
tYf4dkqmBVweCD3Op5RgOOCIzvrO2ZPqZ4pB5wVReIYpE53DzLwHEcGGsX9fj+sQcOKO+4c38X+7
azw3/NfXJRC24zihZ0eBCLz1DfjHGwewUmLo6l3xA4HZkx8uw6AiQFDgW8M3mg8GTVbAqEmzrntw
m6uhyQ9+ON4P3pQxo+DLMSRv31v7w33pbVXSviZNd8kltv86JLNLM7x3LOenCoNT0YTzuSflT4bE
LQSZvnHzF+169iak10GAJUN+v1bYtrrHIAY5n1a8BLoA3T1XS3oJViGZVkh/ggZNH1ciUZM5WrWA
aQpjK3aIusmACFn3iwN8tfPsSzpPt06N8BAPu72RgWC8UB/7INSXBR9ECtYESg5a9LTiUJVTQDNB
x2C5NMPb4MkX2Sq9U3P2A/OA3IUxoqiWNuLE/DAdC5rh5fOsUxLZHoZ8zlaWw8UE/XM5OQS9AkSg
1My3ss53dsIMq0Mzh3H8YyGcs8qgjy7R4xiSDVqIFn/8sK6jCAz4dnkKUgc7hhk4tM5ASCSPQi+w
rBzM3jAPE+g3xGJMRyeLUlSAxkWeNF3pL2ExWJz5VI/dYbK6c58RLaW90t0NVHU3Q4gvGgAN9vlW
pjiu0Qma0f1V0qs+hiZ9s2M0chx65n3HTrNpwrgC/RBFG9LF6nZo701ezvd9hGNeGGR5boEtQsWX
kKQgp2PmnY+QKwakG0vekttpZ+W+AYxFb49eWF6eM/p7qJpp7ijS2oo8ObI3nxOA6AflIK9T9qrh
RKw5DPthYrDaLs2mmmHrp01CzBDUGkvAKuAieKItfEjuwyKIL81AjTzPV5fDPCdxgrxohAENNw25
RMHdYDO/cGwaOhw4frRT+IQgGXcWxZBGY3Uzczwhl4jUjrzaLzTg130RKZZBm1Hs/cxDqzirdlPU
5MJ2jssMt4WuasPXj0iqHXpDIBvQYnj+Di3+22Hulr3uEfZ4/hSeqwRNnhLxNRyZA7GQbqoVzoEL
FFkU7ZQAIPeYrirHWKO+kGs41WxmDL9opfCzIWSiZ0zIAxK90htjtECFtXUWMOuuhxm2Me4dPKXk
m4NNUjm0atO8sKAhUHNPGSpqnHSu/WqKBtqOXf1y5qTfdaBK8yJdbQN+fTcsAyq/LnsbqjKFRYXl
saIE2WovR5Kn+0/sU/jTYZ3fs0gdAhfWT1IHySXsPGRdWTXcdnmH04+ECNSvD3USvbeeHoGtB4Jx
qyWuOVoKrboztffthNfsWLV0W9IsOSfasbBBOiebEcG56wP4re1jn0VHtwSwGQyYrDH6k2ElB0mE
QmUudAiRE+XWbY+FgdT1mAwqZXHqpocaAcZg3HKOnCqClNd/dd3K2sXDQ5KGBAVXUICJkdt4uIS3
Q4M4V2v5zAjhDNwMsRlHr20T9wS6Mh5kzMbzeKGPPm9E+AfssKCvB50gQGDjv3a0UL46RIDRWmRq
Hec7k6Ew4+npVVjQYpY+PI0wK2/LKnrWHSvSWPt3dCPpG5tiuXer5FuT2vexbcxeJP65Ayh2UzHE
MRXQ476YnnQFd9CyORvWTPt6JsRNVKGNXohmp/bHw5qfAiYPnW05N31okjvVGkFSUrav0nk3iE7e
6FG/zdTJcMh/DRMrZuni2U3otVtWcN8Rj2ec5n7uAo9+654zAQoyD2+IiZJNKQPCVRf6DoOTkFIv
2lc6mRNpkNY+QtjulKE8UJIi9EtRXonpTasWwBWhTWSmhVsQNzstkHYGiQf5Bw3gnuWyx3hzY6Oi
qKZ7LU1+Sle5Q8oiP4XOvunt+ZDo8CW1Na6NwHm0OKXnVDiSQMFtxJc3SLqW7VS84jGkB1tCbtUS
rxQgSpIKMIr38YdrjZAdm/E81QBdiwYYoNHnzHtTUQxOPgUzN8foicpqzIiBDK5R7k13GPitozdW
P5FU35N588uwi+5pOHs3wIgT9NJKkvs3xVnxRY+k447CYR+LvH1SSEyevuVeNVJSD6rCNaM9cAjj
8hJ3Piuf7s61XrpzzkBK5+gjh8Uezu4MYJ1SQ8gFX+BMKM1s51SuIfmWA8AwXZFSZiCwBHYhdj0+
rY3ynH4/x+2DNVbTiVb6wc6Bms7u1G6BYepNTGG3ZTI+78IGwqwAhjDVPo5cBziDCOqDmm157NgZ
FevWpMAlMwCuzm6FcdazISwt9ddFf50kFOhQThRfxgIjyryuWxdScnlohDkM6n377NDQqmC7AJwc
tDow+A5OXvZmuCWoM5k9CCd5i/Ad38ZzkN529hzsrTn+SnrdetjJ9qpCQ5eM8XSoSrqvU29+uHHu
cB7gQyyFQzym2S0WgaQlyn/Uqbl7VVkU3nUMw7G8ms6+ZhTwJDr1kBBZHnRIYDm2cHXwaUMj5naL
W7dtPilFQwYZ47c6rtPXNBnvNEJIOfrTLxTxx7Klk5p6qKs6Dz3BxIQ7nekcAaBHr+Fjp0pxfMJV
kJrX1bC4XF3V1lelC7HRVoRwdRbFrZ+1ilEplJuxwAhBfAS069FHPRlitJMuurzEJ3TM1JDXORjv
XUuS5OPa8nsr4N8py/tKxo2fNercjYk6e+t/VT34O+auu99fYkbonrL21ihCmrSXXpCc7yNLDyuu
Z17Oy0dp85LTaje7tmckn63P+PvD2PXqrOmZ2dE4HBcscgv4I747r98IsyPWXXH6/YldVF9LkXxO
nk32IhG4ukyWM1IKQNQKxRqrAvPRyXsBnaLpFvP3/X703/+FV+K17ogpFt5h8R8jkiJ3UYiEeEYb
l1r+IR1kjMdJg/gv0E0VCema2frhb79Ik7CryPm5Dv0XdK0kFdnTo5dZpTpmeZ+THu9fhuNUjGrL
qgPit/VR4iIHtif3eS5S2iaW5gVfP0wVSdM5DBffZnen6XkXWPF8YA8Yz78/dHAjEgI2MZA5C8q7
5xpW+/n3hzgy4zn2onmXhggg67o5yyXmJRwNNwLT72yXl3gWMoIgmn7ITpIkgrqEZMRX1E5YrU9m
in/5/aI4g8a8MpmlPpdR5O2MDl7/+63571fw99eYsvnbtsUIm5IwwXMxWOctStJAcY6LJMcBbcTN
KBSf4yRtB/ImdAYerZcDR0VzYMZsH3+/nIxLvBu38nFgl8jCdr9fbdc3PNBQye3vT5E5sN0SZ2f6
ggPH778+K/zXsByjnZnSv78gjruSd9v6MyXXat+W4WcVzM8mGZe9RVMblDJ4/NoC6S2raY1FWd+B
ao3SwIjPeiPAW3EpeV1xTpyo/duHUlfYUtZPXfF/KDvT5UaVdktfERFAQpL8tUZL8jxW/SGq7Crm
eUq4+n7A+xx/vaNPR/eO2AQgWVbJiMx837We1V1YJL74fvNgmxRx8ERUJ3twqlMofgadxGEvVA3e
HpFJ5NWnetkk5ZwfS8Rg66nETppTLiJ6zuW6zUyLd5fHF8MJcC+QnNkO1Dq8HtU38ztsZjnyQsfy
r/jOGhsIbPq0bqg3YzGt6d9zDUNiyqnLAfiLuI+LqtzShEIYbo3Nqa/dBhMge3p5tLUQKeYBYhtb
p905lu2PpGPuNyVjf5K5C/LF6Vlj1ACP17vB+hf/+uJwXwhM4myY4N6Q9tGe0KW8eD360HrJGlxe
vvgYFlySUU3v9ji9OEbm3WZukh8aVZFIEYaUWBmcka8pQZDuguAqhNsRAnUVkx0FZGuOjvny4LoR
/SRuPYvujKUQPpBoVHQ4Fj1EkgnF4Nt1k0bzP3tA7KfBKr5OB8gItlpMzZaBzL6NDD3sZAgucT2E
03ZbBw11xFzQCkHKdJtl6U/D7N3jXErWUOsDmF0d1D+X72etTwWLpG+TSC5hp0zHvh9VPSDMxswa
JuWtdzAczdwVNC1smfQzc9Lq3g3n8nFW2cN6unbwsrmdY349ixreqz9k9YNDce6hKcy39VlNVE77
cpTlofSt7F1Eybba10ZZXOgvVWjlkAJ7XVD9x+F6bloeWPeYMX0KG9nv+gPrc9fz//r59RyNgE8C
n6y954JoBGYO7AwtPHPCLcm/14JJ0FGObnaQnUOMb+BcAMDVJmLxKsk+/RnkQE8rGMgcEgdaCOuL
Ml7RrjZJFE8FgMExfx26GjRsI/BMG3V4FKm6C5gIZ/h8T00LxyTBApKHv+LOua+9imE1j3e5PT1O
LRVKww/qU6dRpSTGi4jJSLNZpc5pH+youZ6SuLnJkUiGNA+v3a4vd1UAGQ+1CujbeKAZlAaPdOqD
Q0CMxaWw+Bt/b+rZeE1kbZJygSHTdv1jYUNaAWWliHQhNiek+lA5IZEfCqexLcphS4UWzeenK43q
MIfl3QCsp2Odss/z+1oXrCKQmwvNmI2WBIJKfJnG8d52M0GUSrcoVW3nwCLvTweyOXfcn302wW1u
TpK6L4hrB9NORJTRmJ6YtWztmuo8jfZ4P5EsdOk0WqugzHfwvWPUyuFT6KAschU66a7aolAhu7T3
j0Hi/MqAP+8Kk8J0jqMO9frGbfQnBQc60fCXr1CPohbyzaMo6nOViP7SLBs+esLOHTQZ0p+3ng+e
K/KCY0Wb8hqOkH3glkTDIqt2bsp62Fkuz3kkISgZpuICWJoQ5XA61cwuWSn0kJodRKGVNx7j0ocw
FL+DWKI0XpvJsR3mWy8iHSpt5yvmOqRqgXDeFE38ECFROM4GoWi8YQJNkqi9rJuqK+NLXHFBcAZ5
yTGdCUwKJv0oRiIdVAILzpopH9fwdojucMNTM+stWvznwp7VgU5Hc2kBGl/wsST7wEG2lMNfcHxo
ZYwc2nKe6xnMZgJhf1MiK2wNzwfmyncMe1t1NvOPwjI+wPNXu6YqdmaMicaSAW5Wqa7oJVNKycyT
mJKJlYCmUCTDzahdQYwyvzqZRHOplzevIElR+EKJmTr3gzaelv/TdiLgGuHp2Pvt0e3HjPoRltEB
N/dCSl4PmuVznYvmj6NvcFDWTAuJrjPmltSTEovWLBsCOHV344GFLwyWaR7z+4vs6vSScMMky4WX
bNZwNGahXpRZVGeIBwThfOV5/Ml1ARUc+tqk8nBv8kW/GsnF2tFgt+m4UdkAwSMvZtBu+1KXBBlz
VyIiqiUPziBiLS6YvQ8bykp4PSwcFvTPqCsayV+YhyzUyYtS/oBc2SKjCIxlW8bNvkrCTe1glhNR
al7CwrZPMuHTiR/mgDLpXBAVolIKeMwWKboIbF6YW9pGyF2xfM7mOP1WEigcTZArGZRvYSNYDfbD
Xxg3QQvXUYoxPNXWSErSgM+4+1wuRz8pnl06inh7md6XcFWISDefZ0HxhUSlrZ/2GZ0rfoEiBWGm
ITcIv73oZWO2SBZmO35NpfsgM3JErVAdE/Rth3S586Aj2oiQrKW2i5/8mi8b7Rjm+AZxDiwoDBC+
dijvmO/srDz6bMeJvpwx/w5e7c7cDo2Nd7hEFFGSCZusGBKjgtuij1Y96iP6dbLAxR2NYWw/TpfT
Gh9eKl1JMI6jf2Et5V9wcQZfe6FCC2NMZHivD7glq+uwyH6pavqwOn+4fG/MsBgvCC/+OUfbZ5cV
JF99P4PyxtmOYmwiOZWvMAa+3eQ+ndkJBepPR4OmEwmpITMWgVx0b3kJdIhJEsE3TbAbakEdRBYQ
RaP4ME898loneaUPxdLSJBc6cBsqUBMif0/8JjGAwm+G/VO174Do6qNdTefZInCgr2oSLvPgEUZl
eqkaB+6MQETVqfoUKUMcHD65oSdoEgUaKToOdwAXulxgY7xh1ulinCTuzu6gLckeF9sAv+UqlHEK
O0USa7t8ENY8jpdFdG7MvLSeIcrT03uSfrJ1colKQCb6gkK/R4aTE4hSYocmsTDknjQ22BdE1TY7
bguuaVy035RHnYmfLQr5fYPgrxzsYdOPBFSiRqA+Gcw0zKwghVfgEALN/7zSJDctatVNNUbZUVTh
k+O9JchUzuvInquWmB7ejp3WwJDgU2JpIigQkeCucOZXL8tIJh/0SSIu2jcBbCQfNhxlw+IvQDSx
pyONPG2sqP+5Zktxp6CvVXA5r3dnOH3m1tHxZ07yYF4V3SXIyCsjS0nsDcmAP3FnN3t95zgdFlzB
Ss0MQFcl+H/HJd+GC+Wa1iAkwMpiBPKPNNTg/JsO01aos1M9emQ901odZgtJaU7FoNOKSMYUI1BN
EqxwYFAznFspZFGbkWWgFkvCz8JQC392knK5hssKlys75h26r0joS9w4eX9lhOyuxylc0ivL51pw
k+JMgxZ96WJrgtRDj5bBy2Iuh8/WxAln/sw8HEC8MW5bgVHS149/FX0KppKBd7SieWcvf4+iz55y
i+6Kj7rnCoblvE0WTOTg4iH14uhiu5bahU5NANhAXaZOgLS0e4fU8q2MIVvMEx+68Pm2F72Ibwhl
5DJL+JNQZMIxkAJ/lrOLuqCU151SVMFiUkGtZVJlT9OplzB9uoFvsiz6X2g0DACBeb1NqOrhZu30
Zf33awvRA56K+KpR8c+JNhirw8WLxjyl8ox8Z5v6kZUbgjOGn9YdcWD3fyPRZUh2l7ACNU+XQXA3
GzID7lToPccmpQmgfYdxJJql6D0kdwSKyljeIGkzrypiRDajUT9pKHtXE+7nXUfAJ9eDcZqoadIS
g70azJCAlHDOrE7u095wifQawFCz2MiorQIIagg06bFwWmPwpmYmLwPVU6hlj3Fnz8egBs+muucq
MvbEaWDInMC7ORBewozqlRN8It0mkJLAwqypdm3c1oDnYJOL+bOPWCP5tRkQ3caA0yfme+T1+bFt
0ocIfCfJmdkIzym5yWYCdqljEArXOCQwE54e5fXHMjS68qfNN4NqCeqVubtJnfpgcGlQsiZ5+ToP
ghfk+RoJ6nDOIvAx1cgosycJlltO54cBnxFGGlNAqYyJpvDTH17JAnk0mJCL2gPWQT6wZ7rtNqGU
tqVRh1G6xjThAawI4hCxmpansqOo4FKROmWq2mk93k1k3h2MFnb4goes6KVupToLlyWPXD7GpjIZ
gMTvoY5+wc7kMu/oeAw+djMY9UcraZKbbmYpwdX1UdTJuxlO7q7Ogu3oEaIyYpiWg/ejpjTDN3u+
2GBaZ/5Gc+BQDuODs5WFkUAH8zkZERhGof1npMOAkk4xKnglaVuYpVtKOttwnj8cAQSyxIm2n2T1
d71q8T4EQPxDCNH88gu2LTIp+yo8IbsMr6PlKzsGHj2EZbMeerAm9xXzGUTxnBssBuLEjl5iQwQX
0GLtfs4XwJYw1HmKK/8M/KK2PP+83uJpnFokqTG5+LrtL2Pi1/x/Hfe+dteHSEw+wgMZr9efK5KM
NcLX2LgMFb2/9E/8jJged16k9Msg0s5FtOTwEsBqGfocJHwNcsxpyYADGeOg9g+B70P8+N8rZeuS
/F/nvtfqa7nr+9F/FXD+x+etD3wv+79f4F/nvl/++238/5/7f/1t6/O+C3jf7+pf5/7v72D9sf/x
g9Bykle5Xcz06ZoDbaEEEzgJ2QDTsDouLlipwXDn9DTT5FY0RDyMKAZPzVJZwQP+Q48ATxETJdPw
6VbiMZnd6cag9PjklOm9URHeHebS3nXUWEAX2sFLYZBnMyPQq/QPrcKBAj9ps1Htmmdl80oiCG4Q
TxePY5vepAuQVnpojhNLej9kBnx+cC1xTlzabNQRryM5kWXVwCSO5okIYgczqFfNKLZ6/KvLD1E4
28SiKd6S0ipOvW04W90H8odB+Gli1tUjZJHgRpgkp63n82n0IVyk2Dwd/4lAVZYcaGrg78CsRlXx
A45OiwUKBm9tPBY6ehuh0z365JtRavBeUzRGF7uBkFAjWnuXsNk3BI/mF7yW1mvQAhePF6NIW7/3
glzodibsw45Miiqd8Q6DemMR9vVq48tmtDfw+SznJ/6xCK5Qm3dwAoHGhxuMPMa7GsH5NRJJYsw3
6qpDs/PDKNULFovi0a+z8XZ0NXiqQjegD8LHOSGYa/KghvQOxm9lpP4PtRhHpWe/6ZgQv7ZFJ0V0
wLb2XeeZodhfLo7mQtAYM3MreywW4in/MrMIq1M0O+3X4UyWXpNOaNDVnZoDEwK1AVMKK3Q7eU9u
r6G+0i9popipvADAKexMbSpLkFOWJdbOl/EW2Z3xksr2MXSb+LHHtHJv1+ojFa79DujTAEANG9sY
CmrWY32iZyaexi6QsDohilflPFNhBghaDX/6jg+sktgCYn8qjmbTJHujkzTw6LPlXXM0CvSZoN9c
jbdlQCG4SbChMvhBdiwyuMcyNCcI/Xi6sZp4sKLfE1xinV/QQWGKceAt/tQKK7AYsD+hnfwVebK6
b6C0PSnfva77at7LtKEQjT5gM6V0e2NvdI/BDG62CghVy7DdVsyApyRmdSeAJDdFTDp0hdvRc0r/
PRkxKXpRPp7L1jHfPO9h/ehtWqHX2dwSHJJ06n2A+nQ10Oa6HTIX3jP/qglTFv+6FD2pCfOrp9S/
qyOkpzV19zLITipPhh8EycAbcgzQXAMq4WVkwtAv/9AgPyTMLE9jZXjvOTqb0Xk3usQ9mQ5luPXs
pGIPTxBxZhDs6p1pzuI1AW4ngvydQDtMtELrzXo4yxZrrqv1QcQoJD2qecpHS1c36llh77lz8fug
IOH8qKp+zwWTHjqDBMeg57up8+E3aYLxfRP58sltwiMT6+R9LnIbUhsd8EU3ce1LwMhu4cIkoXa1
C4HNoloo5FsdA67JzPJFkIJ9ZyXyMzGr4Y0VVZ+PcCjKih4b5bU30+NflKSldVkP0/F5Mtvh1SbF
Ypuxjtr6IUMp0ymEtOSfX5rYLY+yISeLr3fy1vEfc2knvW57MdxT4geNTxvCHCPrdsbS9NYNfxwP
XtWUxsnF7/MK8JH4u/6yqtLY35bmPqhjnyqK4bxRg+DuPOCbF5N23tLk1YlwC3SLWSVONL5jJp8E
edhvbRQ0BxTr4X5MKhpAhSb2QTbiMi2HYflLEZXdxEP+DBsru2sc9bfH2fUWO5A/LBfm2XpYRhVC
bkf8glJIA8utzbcUmUOjNT6SsQsvkBXFnVeaHypv1BtKmvmAdhvT/kAVz4w90uNobMQgYW8kd+w3
c9i5eZC/YcoIbqSy8bNEIasqgDbnJKS866Y2cZLLh5/YNfppAzRo05gs+IkKLUmA9jzH2GJlmUmH
5ZsWWMaxRpd+yrGwnZoxSfZzbYMQ1gIHKkUlgzzU0xDFPh1HsCeV05jk8pHgTadXo01o0qPpMS/M
54JmiF70CYQGkgscEHGOGI6ZYOZRA/vaXx9fn7/u/Z8Op+XV/vWU3KDu+vXi//q59dn/8XAe8slJ
qzgE9dIQN2mUrHsdFTluZWyG/96DdB6ZMIk4GdYjvAsndamNm8M9OekFcRU5aWVhzW9mvXrjo/Ld
s8onwW/ZpIq3ue6t5/xaYY+2GYzk0s7EmkpjU7FANSy6NNHS+QkMk4GeYsJRmIinTYtZPHfw5rRu
KP78s4dP5L0Rs7eLlwdly7+jW3pAnmYhX4I02pCNXp+UnyH1ZZIKhITDjB7lKRJ2DVXpvw5jgH2n
8V4iccZa7D1UhYclLNa0gPvauYNG5+2JiJ5O+FtosQ0s52U4TyfS5jinsTn5QXBB6wj2L2yrXbL8
DmduGHna8Pf6G79/7ffh+vZYjRc0ya/X9w8Vh/fldcTOrLtNjdecJQ7ZPEkEvmnpfn1v1nPtkOl9
N2uiHpIFw5ETaqSca7fVdAPXNzLaapcZfXz8/gf3U7tXQIQO9tpUWzao4PNNqnvs9mEzmztMI9XJ
H+r50GArnJaOo1z6netetvRnTcpB3PyppU9rI2yIbuLBRxKyaBzWzZRLOosJkiWWuWa9deKQ5KDa
dKEFKTM/ul0pjn2bbPxc56fJdfPTuve9gXKenxh7X4vY93brlRYlnPJCZngbq6qsbchq/yqvO1hS
Dd/UoY2X9jOb7r/3Sh9ICTSUgJGDzNnll0Vo47HK9xE3sm4O8AtzEcv1u/n9W3qLFqcI01/rRbxu
ipno3qvvY6UWEP+UXVfLlbxe074LpqeshmirvV7/c1FjOf4I5uG+cnNYYvPEdU7N/58NFqrymqgB
FmdLW7AqVgJw97XnGQ5dQhldcJaQU+tmgXBoYEuWl7HxKSVhBjvarEgDCoIijG3W2cl1S5mX9jQJ
HctGMUf82lvPUfdHAbie/Ndz1PKrdUVt12K4hl6DpW3d4AL5Z289VGQJIXtnJV4mNMitlqZwaTv9
P3vrOZWYB9NRjLoYZ3dft5lW1wBt/4osg0XU5p480XWWiEfo6IytfZwjWTfk0eUlBTfT7k4VPpJ5
EXUFGJqv+ql5K2LiRFw/rk7MO/w96Yj3k8RM9b2p/QQgnjHTCvR765wHdEz8Fp6Zm4Znbdu4m+f2
obRCB6VgSzchR1iflESn5u+D3Q3ndVOBliTZKodfPZZqX+SGPLeIZM6z1N7X3nqIss3cqeXdibKh
7mIsCGieEWeedw6Xzbq3PihiGPIKnkBr4tyxunhHpQxayRDu8nAprT6U4o81lTXURHyyzKnvMUx+
Yi7LDzFokO3oJ+PRoGu6hT8He6Xs0osbm8Exjlu6cKTdISrzgf2Un3oQ1oXOirqOh949pENo3ON/
UXxTNk7LHFZXYAid5sEvjPB3aEHvJd96PLMUax5mF0u/a400JZG/HgE9RRtcoOnNiNl8L3IHTtR0
liPMGg/dz1bH0FudPP8sTCu+UIgbkKjZNilEcrgDi6euQk+r/Xq4bia3v5271EDthlal6ZLmGBTD
cLduLAIiyP27QUXNEDo7jDVOZm5tmWOFpu65MSOsI9rHOI5Gj2KYtLwaSmD50k+E5aiguBOU9I/S
GoyFNkbCu5zAWkW1n16M6r82tZNnF8toPxBhU0BdzptBgv4JGtn3UynHjGCd8hQpFTZLY6m4rntt
G/aHhpJ6sTSRnFY/IUkeDy5LPESHbDDLe2ehmcd4+OiAx6cSjAqgLzSNciG49HoDqJSE6anNL18n
A1RIZwLI7KVmmS3VS2q+YpPSUtsYbrw3evqccb0AWby70IfhU/tQ7ZoWYA2KN+osJ3spqnitrc5O
ZFLnWuJy+nnlzUAoG9BMUQeMs4GvWUDyCb0fK7pgZ4gucWd9tp2loH2jglo6F4NJsS6ygAhIC3FT
UoY/y7T+ga0cX/G6yWKaHHQ7UGxDh4tzKISAdvwr+Bl0IZfSUNjFD5qpuakyRszU11+bvti7lpcQ
J0BtTSC9B1DB8DLMak8RFCiETWAesFDjZDmjfaikIgQx6b82ZkdeyYa0hYIyv0fsotH9QEfH50sB
/UT3mHnasqdK+2IOTgSEnBuu0zhIfalKbdcphmFy7nvGsZ4bbbh5hei8rxmHQaLHf0w71sPELvud
n7ofxSopWaccX7teUzQHjNAoSBjG/R6wxGYd1unEoiaK7qvl/Dp+Y2OvT+v4ve6tm8ixN25KQjQj
MQpWPBU/GpdbrF+o5/VlnGWKo63u3utdvY/SPrZ260/mDog1h28KxVqL6BRmxUhlllF9AGRtDXN+
LZDYbiloIpeooHbO2qUVnaF5tciU36CxpL2dNufMavQplxbWQ1n+1AVKmtBr/0x+rE/J8ti6B1WC
9k08H5BBM6Cay8D9tdvigDi6jbOdhcYzsA7f5bhAoP1l6DVCshkCl+g7Rtt1IPeXGeS6t56DTHBE
LQaVl7QmLvnl0XXeSHPmZ5T1M1JfJpUIzlgQBW4PFcRONB7ODBq0mbT4M9aBeJ1X2oj8N10fUfiY
yVKBsyaRTS2bdfywl9Hd7eZftm74uJaNtXwi64NpLVMoOuUitcj0IRXRdbdIe4ZlExeL/Ged9TCD
kdexPK7zHXOZB5WLVGfdW8+th1YGVhO88RGTVdQci6F7bDEc7oum62jyw36m2c6u8GD+DDrd0+ZA
9h4tI+ByPhOM4uveeq6GxrTxmD9zqfLAusEi35/qZbMeGsESYzGh36o7unw7R2cdkj5viyJpBkJX
3/1rYp4gd0/j9JJZ9mPhm3oT9VF1b1Xm7UQ3hSqAjVuL1V0YJsMt1J73EQrx2Qavno6oeVpDPfY0
3TdO38J7s/F9X8nCI5YcoM8mM6bniuz5QIjgh2VTNE6484y0ysC+aVpli7csq6LsZt1Yfn7xHGhk
1PM0EMla3FdVQ+GPJQfEDxZRi8Zw3YNjDZASiAh9QlLtxhrtlmrRgeCcSWg8LAhY5x1LId9ZEQ9H
VefRDcrqt8nH1d0SvXRJzIAydS3eFGqNHswUGN9LkBBqO6bwMskCN69w6uvNENdQS/zpaCDaZh7r
erehTqGQNUydlTUSnhL/LeR4HGKqz+ipo3sbDsMG5Yp/Shksr0aYjqYy3kl5sUgnqfODZYLzRv4Z
3w0jWXgEarxAO61/IAgDpptNTxCeg6uux225RY6qLo2R/rOxRf7TkSWJfhBrgUtRhDRnau09iWiM
Mi3C6rc+6LmBAWva+oX93ORu895MlQGHiKQc7YzNxmwNypf9GGDx1uPwpFv/FxSM/rIepWMfHDpi
Gsk8IK4+nb13uyWXNrM85yTqzHuHX2WNDzaJfVvTIEotibn1VZZ5tMd71XrIg7PpLQsD47WooMmH
RuBd1kPMCAc78b1HLrTkmRyDrSNG49VpoSYaRkOrBBxrTYzEIe4n/dD5NIJgVR9r5YWbknvnJnSU
uslx+j6kkfGbWM2foZl3TziiEQQDC3pxXazKTHy8m6yXQA/MR6abFYG5i7UrN2nUl+AdbnidhxnP
EUu5eFMMsw/lEwoHwiOLgIKAPHXQKpep6G4hkTxmy1w7zRB8+46p97qA6+hlNGrHKp5+JqZNf32a
Xwm0ZYEz6vqVqI9LHln5Axax+jUEUTBHNhR5FV8PjUs0GRj1fRlxryqNzr63SGq6t/suuUwTWDXj
ubEcKtYyS3aupa1TnKY4Qyp33k3ZM0OieBnQYjE7Ih4aQsu8r4imOQOWUmefK2af9mTbyYIUOaCT
89D7r7xX126s+2lU1xCBDeKS2AAeZ62m6ZsF3bCZcju9AxU0M0eGMV5kPe4M7NW7jrvw4xBGj6iw
g+2sG7XBc+PcOlJeKYpH1/UwAEeA8PNO2CD9zSrvtkE1+KxZhuaBZiKLIPsmpreWtwOWW2i79PWg
gpoaa3HmWDbZgKI/4tfzbhRLmpvpuczK51A29dNcW+lew/E4u0ad0x1FkZ4TXVdaSfbbt4nAnPMP
luDIrHOzAOur5AW78rDt7G58jtPoSSlEbJ5DURqUxktouc+Db0JcXY4YQlEuOS3S1+Wwy7FYtz3q
bdFBqNFI7miWBhfbcijsT4ceMdnGGSayYgcX74q4TWy7fPy6vGbcS7uwIRHUrJV7Hru5Y3b/MMgl
QAwXxo2e7lNKhTeZ44dfG38O/8jU8U918guDhAFzEr5lANoEwm+WXBMEcSgiFI+FpaLfpBi+jbJ4
JBvPfIGC96TipHlSEpqPQx1sS3sUIwZS+mYCKCdM8pYFUixN9AwjSmvjlcOf8loEvLFhUsjuR33r
pTT1jSBU76NHhvncFIC5DWa1kr+66IkuM9PqYGItfvKAYnVRp1/slpaIi7GDmfJLWYT6BQqU8vr8
2Uzuqnywr3l+cimIKz30xRTf2XKCJhtEhzhTxsO6IZc5Bq/p9pN7707W+OKlZNH27fgo21i/WEVx
pD3SP6yP5al1afuxPxvFdB6yKr4LpyC6s7WkM+KVtIeXw9Cd/3kgNyKHtb15s56nEozfo8dwNkwi
v1k3jbfEnmFw49uCTR3PE24lJvNBQtPaL2T+qJsX9Bzdk7NsupnxJvJmLFaj1z6VnXaRNgzv6xFl
PHs3aSSckdMTJuLLPjglgZQFxok6vVZ033tHcA7mFznkkGGmcoSjvDS/HWeEvS5n/ob+EdLieDbE
rFlBLLsl8cfndc/05HC2RvuvKFDxRHjgwcWAXDybc+Jdt6XzdUQfozqv52FixdtUmtMGqgwiiEm1
043NtPRGN5BUk4jUI6gAMPj1JwyMkgxJoe9l3BXbsiPJdj0E3zPdR0NpnwjufltPZZYEJID36SiT
3LhQeuVw/TE9kP+5Pgf2oAazbIf7zIRC201xhFuo655sGKS3ELHuApuj9ZSz+CE9xJLn9ZzFV/Ca
KwjCw/ID6znUosylguF+nqLuCewEivyio8KwvMhAGes+tcHyLA+Ci3gFnYcvxInQiLFEz111Yzq+
99TCRd62nmHs51A4136fLB6X1jyLmpLV+pSysdVTRwd9VsP4sJ6qfNdmwAvKox/V6snO0Ky2oaQ8
rQCIJP4NnYcajUGBXNJIUACmybQlhWu8xj440IDHXzFo8jUGqBt+mlZ7nRn5vcbBtI/iBkudxphW
2J53TUPffiGp5cogsn4vTIivpSXVrZeM0FRj2v1hmQ87O8d2GHrFuQyc8KQ9Ed0GFcg/LEqaqujQ
zTvfxeCBb0Kw/ip0bu+AmH16QVnz3UmpfZ/iv0MCL1Qwjr0TTUmtM6mzLUSF18QTD66e3sE6KRAP
SOA7LDV99idhkr5x5/nRJwFiO7vJIy5AJ5vOzAUN3C3paR7dVx/SGfZ/BIZjg3Rx4rOEzvEs7ex2
CFCuBqD+rgj2xSRrNsi9HGmdw8c8mT+QKLoAxWpg3yeVeq8jWJ5NhhIQZj1oLufTze19laN9N/s+
fkrBErQzPoqCi3MuvA+QpfOxUbq6CpX+cHToH1GlEGaUlTDR3eFOzFhlxw6jaEwnNkBDiFTsPI1k
cgeWBFBY6U/FpHNRWQb7ysESajC3ARyT9dgQ072KoScYiw/PYL3OXbc/W4FcRLMlNBqFGy+vbgdU
g+hGc30wxzC+qtSnVXjkCzqiIjJrfkht/MyQFndaEOiZSAIuzP5NFBRH8rreIMjauzK6Ntog3qRD
suS3jDf01j4mgAeFb8AAN+TBVdlTOrn+IW7cO0hPFLHnI1W8AFGdAwCiQkVe2zujHD+ixH5a4FTb
KsxoK/nLbbugcT4p+jZQxIzYxTZSI+wN3tzBTfDuiXNFxrTAqSMacz4OTfHb6OLqGmVTuV2ynHs+
7EOfkqF2BlQXAWIwDrlLUok/NnspjPjYJpDwlLVoLrBedNPfsg6vl86bNeb1HWq2X+Co6P1aFhFn
dXwRATOgDpYnMg1x63TuXRlg16MqT4BQT5JRY5DyVtnlXs9o9ip82eHU/o3hthGlUEaHoHDPaU5e
vIbAT+sKrx51BSlxRcamV+1q275zxyW1r5gLvDLPceZXh7Gvf+nYo8zmynEDYW2XBqV32+f5LZHF
cEhC51ErVso6iu6APL2OHsRlPI8kyEHYxjZWIzkeQARUyQOKFvSWdwP/1EOZVb+rUB0G8hMX1+Jh
NYMMMHemQvis94EpZeIAPu8GV05/1bQJE49KPY+0uq8KlEfH3m0fKmk+J2Uf7zs72imwoBU5d1Ni
3o4iO+iEeGrlQqO0zd9BzfKRBLpym5TjYzLWN7IBsupOajgZgE+DAaNwUfI98Ryc2jWaJP7+ts6v
RhShWzqat1kTvuegA66FZkrQO/7ZyHREaYjUGqOtD6ULdl0QLuwC7I3nhK8dYS+ttveRESEgV+kb
rt+WSNLw3JtQ4XR0V5jC2PkVywQQwYEmwjtVJB6RslhDIz0p+85s6dX2rsST01EE0gkwREHU0haz
+QFP8ZFkbi4bjRmqBt9JmTe4rey/Q1WRbe0QmmOTLH7oXBomVveqvInQYtyPV3PSE5/BBNdrCFG3
quk0YROEivcjLkYcqh1FZTytzRVOcQQOnUIoRXlqk0bvo0Uw6fysUnIGuPSZfADTtv5UmfczLNWH
gbCN2kvyAmjwCjbUL9aV6BHm7m+s+crjSXsvoLAemxhHjjlMZ5g4eJ1tlNxzBcmlMcXWbeCuifIx
E/70pFPr3KJftG8tA4jXwMyVWiFEMf+2zIH1DySi3sO8+cUsfQCZdBcE8dnhL0UZdaSLOHBLcuhQ
8QvvptzQqDeZQHlA1T6ZoYEWHPTEYEVCyaAIhm0YXndZgwQMIMdWtP5jHXU/cozuF1gAv8rWvbM7
8Xc2SKbTRvFQqeYjYD45mlQ6UMxVstM7CRUTyf/85kneF8uvCI7zlizq7DbBtu3HBsjIXvlXc2xe
J7O4zy0XRo5Id3YpcU51PmH18w08sSt3gPoaxMHn3HH/UoAxjSZ/n8naIEfzRkzlPqwdonVIO0BQ
EytVbl2ZPlbae1GCZswkr3OL+WXTEhjFX/N6RNK1BGMyIMobewk1iE2C59PktxeqKzNy31ReImH/
X9SdWW/czJmF/8vcM+BWRfK2yd7UarV22bohJNnivu/89fPQCWbsliHhm7sBgiBxnK+aZK1vnfMc
It7qOr9XfZy+U2qezLlYTkHBFrkFck99fjFzE5i6RK8T6OtGE085m6qpLy4rfz4J6thzVdJ5Gh3x
dJOe0nmT6qxtpexit+osZZVAC8fjn41A4iGcpYq198kEDyGJr3pVVRaZ2iaIMkZ3UKMIian66lF6
U8eXmarRyxcovE+FwlG484s9Le4Y8/phQC0NJYQO7WRcHc4U8qiYo1uMrUOeDGiV9B3liCdRjEzN
k/lUG1wFIAx8d/AE4M1CqNpE1An4FsQQFuswkI/6cDlY9ZbQcBaTiZs1E3d5I9FHt23N7U8KLIj4
v2IXdsRHFLEGhcsaXCPcRWN0b1g67hkk4r7S3ztjnWBtht5qadYVEaR4cKjNseN21bjb5o5leDB8
Jqr7Tovqd3YuHyttvJ6R5nJoAa+u6uTezupEPE8JmaSpmNIbRIceZSGwU/itqQMRYBccIuC5HjdG
cGqdDJv7GLyBdTJYIOi0inFLnY34VaLf0bmEB0oOd4gu0fylpD45cn4NHHEfBB2s3XwfDUF/H9R3
Ebxp1ymjy6RgLXKUlWAnosxFjRAaaXtHFnuZDD9i8WpW/cnS8P5TZ4KXP2PhaGpWdVRH3SAEZnOy
viNeDqEK5oGwHG5kBuOdi0bQZLmctyNBjtTZy3dKspvZHpJ9RLpPBr9gDn5oznQlZh1DjomWIlFq
j9pufT0aaBOWhNaoQX7g1OyQwAFsDLQ0bEbMDaXZhQLey1UjGC7AZN+mFnSXmlIw58C5ApiJOYA9
Gyx3VBW7Uam2ZWcfOILPaxgah9rxELtQxgV4tWSvNuN20OUPJc128LOJBleZyjQ5/WyBwOKLF8Cw
QZnYTf3aj6Z2OWZcTefFchlqJ4cYvftasbC95ElQc0kd7VUHVm+S1bhhYvpBbuSPvhk9qyHTlk1F
zadi6aaIXmv8YZ49l28Tqi+MiScVadrKTsNrcx4fMmk8mqV005yguKZ13g09fJ4TfjNYW3jHHT2v
9asepMGABL0E4u7nj5NgQmvC7Jjje8AiHV0N/WB6cQeTWuinoLS6fY9faQ0v8AfL/XVT+T+iwNHc
GkA5Ig8iQUOAYm4gl8tw1DErOyftSfgvesjJrsFD4yZ2P68XgIPhgHXr5/iG3Lit4kxQ6KPkpkoE
PDLEy5VGyCi+SaK4DVQXdWI8GjJ+rSX5GRPlR+6CowBFIJjd9qatmWvH3lxMGKyIQiWRuSMuR+f/
RuE3WQcqNF19RmiNcM4biupnXeUHEQ9vKJk07gljj0TxauPAvfYKhdjsiKgeu40GlEDtDn0h+HZf
YfemQLWokApvs4z43RgAZT2FRF7h+4DUnHUMMSrr8zFoaToo89NAXXArtOIJMZHnq8StF53XEt2D
BYwrK7LU1kl+6mDaXVbkv1RlF7h5qmEf1OASJg2CsJG0qNwMv3O9sQEmT6hPrF5OUTKeKjF54+R/
H6ZVWDRcV5NzVGvxez1KiobglI2YdMHmTpE92GElVzmsaOONcq+w2VqLfsBBVLFZagrGAaBXVn/N
8UQvx0Pe+psx1h9sofEgqNU4GQWHmqFzYS6owWbEiqnIZkkqPylmcpsBbPpmBFQPe2OLKsx3uakk
PEWa+NZ6DLEFW+yVvsOklLGrK3MPlvRx6GxAkzP2DM4WDyO5DReR9bOqMUFYcYH21WQwAPA1Pe5r
bBImFQK0wFgfFdTLJH7ma02xb6qIwFW9y9/tDubpPLz41nCfzsGTqsGF6VvjTXFGcminfL5GOSC3
0lRwNEp0Ol2VtWt6BLjGPoncLszvI3+v9RYyvcYXXpoET7MlL51BHeA5tM9awBEvxq6RQJYubWjv
krpKPR7H8N3HRHCnLv0S5t2vKJxVNcJlELOaXWmi+s71eexmYK1XHAJHM5KPvFHYia1GqgQKNOiq
2cMch7gWIv+qG9Vjn5senrIt2PXHmPpPiClgNXLRVZQRV5FOXBEetyI6ZTqWzXQi0WBjD0QAssGr
PESy+4reY0zUpOS4SNPJPM8gVEa+9dCVcbLnVF9SohGCCx95cFTjOUSyUS4V9YTtUy8LoMd189yT
TqgifaoU44Bbs+kRB6rGrQGmySvJB1HUTG46lSKpSGO040BzCmQUZIx3SD0j7PFcPXUjNq3Mp3Bd
LhtJvGl5KrdcNjB1ERAUJb7PpQlODb2Y23Wolm4a8M+phM2WKr2oTLtwY1dtF2VilLylnWO7rE7R
1gFrvTaH3vRUG5l/H+UENxdmuG7S+5glCoUB8cpxE97oWUTCaAC7ymluNZD46wHRA5dmluMlMXvy
wUEHMdl7I2ZvxeREmEC3yvzx3SzQ77GD2liD/aqOprWDohIThXQKlCWYTKg/2iXAkFt4ZLbN9E3r
w/VYo1f49cfR+EYpZKaqu0Qdp8NL0OQKNE09Bf1lTntHZ8Q0kgV7AnGflBes7gMui/wVhRL5bZwT
88ieNvk4mjsOzG+d78EmareJ3urE/PId2DwS2VVOeLtssWU7VmxVlewr2/9uaURCW1l6N8zyOA1L
UbW2wXcZ3KpwM0UWeuumXPTtArjJaMJYDhXCK9bOyGLoKDmLVOFfzZFvbGwmuD3SZqwNYOPZZHNc
cJha+6HHoaVa+N/TXD/a5nOojilxGs5L0jQOl/xybU6CshVR91557IC1XI9RgJpBwyImiF0viqrH
V4vv1+I4gbbjFcttezuBySr5Rb1vlnepA2cTwCVRB1Veb7TafoX8OWHaZc5ytJUAZLmBbEpOqJqz
XA+DZ41S28y1rZzKhHoiQF03jGIdxHZzB3O6voER5PYBWlFCaa97lbgf1TCOFtT1YhxiIq3sY+Br
NoJeNoD+ct+up13L1oqc6AmO6y7WCVnuq++dtSQDzAaYleqp1+Q9BKzhCZH3ccm/zRI5PqHD6w5D
3JUcyTDSOvrrL6bdfxiJf6D//ge8eM5oJBSLf51jF/9ANW5/FgvasPn0L/1/IjhK69d7+jfK8gPA
Efx32xa/wxuXv/9vdqMh/wXywZa2amoO2w4bRuC/0Y26+S+Jyh7qLCkFhsYN/v+QGw3tXwiiLSJV
TA1OiqMCdfwPuVHX/gWtRDiQjizHtjlA/Nc/IDdqzh+EQgz4JDpI+PPQSG1DFxa/+3dCodRnuF7k
kruYbvczLDyiZd79i2gXrU7j6ieJqatOvtWrC4pp+9/e0V/4iMs/+n+pov9pWvBCDE1YqmPy+L83
3QPeCMBZBoT8tC431LuMJC8yBFa6oDGn2X7e3J8Q04/N8Up/b67MQjuswQlTy9IPoR5vMwp+nzeh
LTzHD4/kGJrGGzU0Q57xHrHJc42aswRZ5fewOSEjXIWyPPjBQxVcIaJ0k+YmVZCbcB38RdMLYvNj
01II1YZAZ+nLh/6N0ZokJC5N3Crhiz717U2YGxcFEZpab+6QR13qqYAu/5zq883nDf+JuPz1Wm2L
XuQIotdV9mt/tquOPddBETfFxQzTk9t3/TXxO3ZuY7IfkoGt+IU5WMrb561++JjEvdgMGRVmALxR
++xpK81GfDZBJlcpIeSuHmvFm5ZUhH5/3s6HPmpzpwr11jAlMzdW3T+fTlhGZnHhywE+TwmtbkJQ
evA8AvaeZdsXt02XoR4u1GrIv+hLH94rLS/jm9fKpKGfo0PR7ckkrhRED4VeE5cDK0f1iJngrr6G
SE0loEJAtzDnKUPOCWkH688ffRkPf3Qo23Ro3XFsEEAaqrY/H32uh2YEoUQWEtsubqrXo04qr0r+
Ncb2z5v6+DWXphzTMIVuOR++JqR9TRPlwvIPxB2f4pba6T//kHQYXeqS2YZveTbP4TG3zZlwADfA
u1UTRE2JWXe42MVWlYsvXt3H5xEqNFypWraQhnHeawgCrw1fUcgb1knETheRXZ01XzTy8fssjRDx
YtiGugz5s++DsQF4IHnghCkThWMElpuSOIVcyKjWacY96+cf6a/tCanrUHJZgM7foMK1TamCsAHy
MCjH1lCaZDeEXfMyG9hONjGGg9vPW1wWgD97oFBNc1niTAjdtnb2hOz3UbR3xEPNqXQ2WsTNQyqB
jFo6dwyfN/W3L8YxRIOCr9NBxNksJuPQtMoKSIm+ZGVFL2H4/n9ogLGkayqfyzh/ezGMKg1hTOyW
U6Ccgm4q1o5eNl8sqX/5RjrIYdPQUS6C7T4bs5oz904CLcTVrVKDuLKAsy7wKPZvqIRqfRUAI42+
6Bd/+UosdTabCPYk0jlf81AFNn4fAw9Le1xoGnFZEZgh3fYvP3+DHydEYeiGraNpXnDKxtknatVS
w23Q4u+mkk9gcdtpiNekYr5oTgEcz4xHbHkm500yCCLv88aXef6sK8KSEpo0NcuWjIA/B1tW4peb
uiZxCazyJrV40YjS2GfD9EJ2Y3GTBWmzkxbmxH/eLNs8jc0gy4B1PgfrCJzI2SDGWohguGSFH8hn
DPz3YZFnzNmgwwJOTSjwBpUjcuqjLxb382GxTJRg34WwWIbYqOpnjy3M2RcKXv02A8cwJ9UFd6Z3
nz/jeZ89b+Psu45kIzFzo6Fts/Z5ILYEivIBZei40pWvNmjnbZk2qGzHYXCoKov5+cQ8phP5WTb+
y6AJt1oXKBstpWCKICLjHrS4+PzJzt/e0prJBp/zsK3LD/NXPNWZLhNG41zo3ySRMdXUfPHyzgcf
WQ5sDpiUWahhK5/vvkoAkjCwmFamGnkVkCE7WjncyH/+IF+1sjzob3vLoB0ao+9pxQ+PpnaYq0f9
q17wVRPL//5bE5miGeR/QcSbYawIyrNGQZZkXX/xJOf7uV/vy2D+sIjasKR5No4l18upY/Ik83Sn
JPeK/Ja6+s1kPHz+ws6/PM2YpiqZLRxTF8sZ7Y+nmaOkFYqB6FtfvCdjaJPbVU/OF/3rfEb81QrB
b9YyQxgfHsamGCHIVUlAftQjzqvYxxCs5+FT3nUDdLhxvJRSpscynqbnzx/wL5+LQAGyCJZUCNCQ
Z0uzmE1OT+bAxBRk1muoG/22HAkEmnETvHze1F+fUtosL5xRBZPRn+9SlYSLDTNQe/J7bUQTKKtI
+7hpYMQsQroyN39Am1Tcz1v96wP+1uoyk/zWHyVO7MEeaLWuMnsVB6Gx9pWGWHOdVNrPm/rqAc/e
ZdSDUwo6mmrK6VXEhnGpJWA81PEGAclD7ZjObZNht/q81b920SX6gUWVg835FxyjsplVlcvpBC0P
KsPMH7g9sP3bz5s5H3AWwSHL7oACpcl+xDpLhugzYL1ZjgZaG55GlP4BJXZfcB8w3zvm9edtnS/S
y+K8pJNwVlu+nHX2zRxyAVCEoV+h7AnjJSqeZBNPoG3sXZCHJwrS930XbmdL7D9vWDs/fLOG6VKV
qk78hWXZ9tkEGVcNUo5QoPQelYehtw4kkz4Uo/4TE949XfYB6JvXtqGbOenT521/6KhnTZ8ND9vw
a7Vr+hp835NjcWGfv3F39UVn0T70lrNWzl5tNHREy5rhQuev3dnHJIWtOdTtF6JsKnJbE67xta1Z
muhaIuQv/j5MEBnDWDFXqR9cff7M553q1+u2bIJTdZPUk/OjjxzGHiEiH9robTDv/UXTTxd1lF8a
UXLRqcnr58397RUvU4/NthPI0XmhqoJD3RkTX9eW5WWE1qhyEFvq4quX/LdeZOk6T+UgPORo9+ec
4xj4u/qITxno8c9BjNdx4lyURbQFRdl52tAauE1sHWfmuEcL8EXzf3upJLeonB3w3evne80EekU3
tBryqjA3u/vAacwCG2Jczdct1Tn/FkVdwcVH2pfi9vMX/JfexaAhWohdLgoY62wLSDBeXBZYaFxS
ZaEtZu+mmX3xDT9Msmc72bMVuYijrNBH8GrkjN3HKnnqU7JugtZrau2RSemm9acv5vXz6WiZ+uif
kvQfFcGxeTZm9LFqCWZkY5ubDbSSCQ+2qPLnJBH3s0bCeDjgvM8QyKETqL5o+/yN/mpbUHhmflcN
VSyv47flKxS2ASd2qt2oTOut3gbJlaKYzRcbkOUJfj8VLa0INrZ4Py3Bv5112KBV2hBhDdfXix0a
uCW5GvamCJxiH4Vf7kL/9kxiGYd0T6rF5xWxkm1d7iPDcTtyOemdbpfJL17b3x6IIU7aGsvHUnf7
87X1Zpaz/+S16UD87EMvChfRomuN8RcNfagUL68OIbPDSDeXM8nysL99oDLVzUx3GshGsYpsZ9wt
fEZVLbYBGp4Nl+f7KkZJZ8nmJoF+g459/fmY+8ujChZ+RrxGpLR+fqKNR8XE0tIiOerVjYMPEPB4
0OiuqrVfTCx/GQeCWdOEzEKhmMPXn4+qWjFUbI2h13+DLLKai+9VeiAMIx2jjS32Uiu+eLl/eTTE
vzwcPYJS/PmjRbUTBKpPSGDahORO2731FMWkXxLIh/G0V/7pOY9vSe2D2xPCsZcBd/aA5TxE/TzT
a5Ksep8lm9LJj3aff66/dH7akJI6KfOJUJeX/Ft/EX4c+PjPapTOUBMLGEKoUw35xac6X+l4Egdf
A1HevL7lYPFnK13QaxEXG8Qrzmiuk/tIfw9p7vNH+TWKzqYNWmFCNFhRuXo627K0aq3aZUzOZecU
2yQNv/kIBCuBinLo96BEMLbaawWgAVA9BH9gc2TY7BUDrwgeBLURt3EGy8xKJkyFVXL6/Of9pfcw
KKkvUfSwOF2frRRhmzUVu3yyPWot24EpGb1+KvN9XloRZDPCKz5v78PmkcsFDGvSsuirFAjF2SxK
abxX+4X8yay9HjAd6ETqWHgszUnfLWEdslZOsaWtMZUHX3yLj93KpB7J7ST9lvEuzroVoiVcTRYC
JEPYt6bV3ZAQ8sXzfexTNEFtVZiMSIcq/599qh6KuZMTfcrA31B21w2fDj3wFw+yjLE/+xTrAoUQ
1joH0bD40HPljDSB+bQCeqXbd/gEL9qs8AgNczG1eZP51bT2q7byR5McaIh0Wzahgr2os/yk34ak
PUiYeRbre6cRWuOEBpf/1U9rJtbD6W8rId6aotlVcbAuBuIBZuVb0jlvBCd8tTs/37lZpmRmNXTK
yjqF0fM3nIgEEeFABzKhBAfiO3cP4IPKlSa+BcX8xef8MJsvjQnmBq5qyP0zznorAqdSrQt0JVwy
XLeHeVV5bP6f2u3no4Kj24eOQ0uUezVVl5QfP3ScIQ3NUQA7XY1ahuGp0tHAVZE6+W5sqr11GlUu
r0G+sZvbAItH65aWkuOlppObs7JVzMIoZVpDLOq5ynG8PpD46UaJxfZWVMprV5kXVUo0hG5BACkM
gFwRW/1dnWnWUfqG5fW8Bs/MwaxjtJCr1pTJwbA7jrG18SNT4CsirX7JzfKBuPC7pFA9mv0ue3uL
fcaf70msXU8oCiczP6aTQkQbV0EleqZSv0mGS0XZ1s6rbCD6AtU0GtApKC5NwBR4a9F/1VshSq8S
AEbhIVi1s53jXWA8VOjERZZse1GtQ+iiTd/s8lp5yMw7rc93gw+HAeiOIBWQNDI93QMBdjU1x7au
3YR17XWmsrFbG4yYekzASTR65kkZrrsIm+dogODtYP2E4XAwK3lV2CERsI9dDgFGFJcL9rocoisJ
78pNRaauQPAgQxO+V/RG43IbfO8TJ5wu2rSS6xQsPY20XNbObcC6MjX9Vd7sdCe6EP59K98iJdwM
pHoriiX3RTO+OaN4w0y3MsfoJrPHrUJYUGTqO+Y/CAPgCi1Q5EZkbaFR3yVR+6RJsQcl45qycXXI
dyj/84j8gbZYmZzVrKEiCKla+YOxlWpPsFgEWy9xJWokH4QCJu1Lo3yPFWUd4VHR7TzdmE6Gcqdd
T9KEhdJSi8wRVD/4YXtR6eAfbYC+2nTUUOpEqO3SPcBl+KclhgmYM8w2s/MQ4j2IbpEfZgNb/6MD
isfYGTxDPMUrRLw6N7f+igCk7RSTDoLd/SWM0YEO63C6DIGQTKRjrFCKpQqQWuSZ5roxK69Gc10X
W5/oMFL81m0AsOfHmF4r8XbmF5iehvK20+L7KQPxQ0yCCqMYRNA2FGStRSiG+icr01wQfVDfA8/O
QoK1LmvfVYnziwFtEVK1skgmCi7m5r6GuxNLf6VihyL/wLznZHEosbr0zbdCvRmF5vFeNfN9wODh
s10mE9GkL0AbUC/TzkfsFj5kOA1GcZwB5Di7FjdYGHq6vBE9dvb62upu0xmdKtCqWNmkABXDgPj3
CPXgMB4NKS50CV1Kf4hHNlikJyKC1LTXudyn/kyM9JagNa/CTJANj6W4S7CJgp+Ta8vJITg9xD0h
7MnR1B9m86EY9hhg7kV4Guc9lQxpeVhs5um+hnUeqkRW68cMkDdXAk791HRUknrWZB/wUtCfNCvl
A8tmb6MQJe9732dg+ZB2T/s0+u5zpFNnkiH3anxht9cRHKrafxjVQ2i/WvrdYLygCC74+zaCRTvH
1GTsuFFqnKei29A+iubRBmNICFp9KbveC1GKCP6behmWYkMGOHQvHmeVkCGabRD2Z/EmNu9BWoh7
GN1p+EKQkXCOWXs16hcUhA3irytsPoxwHLRmk+NI/qliw1pVWFpdzfHfNKdbxL4/c1Td1gJO5QjQ
qoXcpDhlN2nXU2eB9Wc3/fVEXXtdNyVMOxWLS2u0i0ZvhmTW7Ma6u5ridtuwLa10qIpz8qO3U1dY
jNzILBFRk7dYZXI7WOGuS8RjN5uAG/wLEdq8kdG/cZTilKXVSU8ZcYUqb2a93lShg5WRmEAdhhyK
cv9NhnJbtRaBc9BuZvMyCeWDRISNv3/XTDoBD6PGNUiwVVt6ZKFs6r5+MUs8vqm4YELZRzCLYu25
04lTycZ9kzvwl64KXz2l3T61Cd6KNzpfnvStqDvhSFHGZTvMld+vND/GhHbLSdfuLodwZ0XE5fjc
i9drtd+kzkNJEsNw8MMNufXiJRGb+mYcQU9BVg93uY9KlGma8IP2TWvoTMmhzJHFE/vEDo9s7se6
c5V2l7wU8WbKHhoQ6BRouXucSNKz8F7qCyyd5InMjccdYc9V4+bB1Twc6Gp2sSOWRLEOdbHpwoxw
C2PVgI5XYH5m0+IJ3tj2dzwfr0HQ3omhvwr6ny0/o6Rc1wdoqJvqRpsGjMvZdnCmk9EWpVuz8RSD
TrbDSMJWwTYjtKNvZdZs+lS9a03S5GW0uDyJsqVvqquwf+iSS72d1mYMEARjiVrBmvpmJEAbvvva
TWMe5fijZP8vt06/a6Ntv0x21wj4IyZHpYfV8TBOdPKK+kmy9lkTB6iUYtfgI0p/ZNyEEsuqJD86
58bs3/xwZKG5r8OL0YFmckii50g7LKLwcDHhR9+x2xsATAAfxMEqIb8vnd/B2032uyTWwlyzoq2q
vt1UgBiCJ4QvqyS8VeeNaVwpzR2gshUxUQHx7oAsbTcd3hGt+ZhYi7q6doKnclQ34YyhYH4ciNFz
apwGwYGLCXS/9mVOriOx3Iy9pr/P85HoIUGX763kNdVAogIPgDeK9N7gflcvvQ6JTVUZxyGO1lr/
GESR10XNdxncCn590FlHy073I44vu/puxukabb7XJjcweHfYfJd+WwzVNi1O2MyTGDIQMbKQYiFP
QRG+I95kpXJFhC7xwS+VR10EV8Oo3WINVp0XVTsZ5nFqoUyNYqc5IcfNhwq3bZeXniKnkzOE6Ifj
B6Kxr2PdOcROtp+mm3aBJt1puK6V5MGx2qu6sLblpOHntyrWo+cBWW2EWXpC8+zUcj/OFjOtdO3q
JdN3Bqr30b/KceeZ6PONU6U1rhkBFykuHIuFAH0QTMRVh0EpS3/0YvTI56JfYfXOj03wPVV3+L8E
Ybg+SVIVfgl2RdmdqehQWqONVT0385VWYtY9yvwFX7QbydmLYJSW2BNVhXkkLq5qLdpJ/JeTeLXU
eT0oQDX8aM1WqM2++d1rLfpLhITblFAdexMrd4P/3Vnc/sAvwdB7RUECQIoRWzVPGcZmUEPBbra1
/ZQUN5IYg1gbN4rF7ipb0j2ZhGZjO4THBEu5utiHjOZUpOMORRfcqHIXh4BvCQeekoTckGId2+Ku
Ax+vwOmn2E/8RDsNbIr85xpWnKcQiGCXgNQybd8tvLllr8IbK9giNOZFq+8n7cKEVZMMLwYZO3YU
HSBWbMMqQyTNBDFx7Dahd07JnTGz20VXVmfpPhvz73K2ypWV9QQ9iNvQfLSrO2WGsdclG20g5LAj
rMgKbmt72A7S/NmF31L6YXmYU+FNinPZZuZmivSjwpm2C9V90HEaIsvKPyrj4LUFMMemeY6Lm2Cw
ntLw0M3VHQ64A0hCFgHy5up1V2kk1pBsJ4gMg/DcJS4mAYMUoPJmbOy1ZkXMKw8hAXmF0jxMgQHp
TH3Jh58zWZA2QKS2W6v6i25sQqu6DW3wvmxHOUEdkE1dpOqVWd4Th8GmLNwnYwB4y5lR6DOL6lXu
+Q5XV2baP5NOsWDVtdtpeOnrbt+ZcO3WBqudMpmalws0E2oyj+xpOFDMCr9ML51N2fsEJbWhvMep
RkQitE9yUeZ8k8CD5jNzNAygvdyhsOo35ATlR3iK6kqqMYw9P3VOvZVB5koACWUtvsPYOKhFpK9n
xxnWcyLgOmDLFRU6csm2wqn1O3VWjzaJE7AvIi+azHUkMyIdrGKj18FjOaVubKcgDvLHhJdBiPup
sPp9XpOMkijXBLFcGRr688IhUduOnGGXoPVE275SyZ3L9csR9F1NIDjdkIHY6qBh7WNf6tuYAFwS
6q4rM3BrO76s7YYInvug++FAEkhiqADJpo0eByL2xiOAMQ45m0gtvXYGR5Gwjz06+CMVDeUhMG89
Lg4mzGAwBE++Ft7bU7FCGYN95Rqy+2EmALsNH+ZC8AU6L8q1JXiB81xxq6X5Xd28CPGzKHd+2l8G
hCvhlm4aZJ2T5YUaCFqkz731MBJ/VCal62eNK9sBiwtrh31tK7ZHgB9hcCrqt9JtJ44fICAz+tPk
7AzZs+RwWix1DtzxdgxwJk36PUP2KUvrDSXeJUTSuSHz4JSqOGvZljhB8VqH5PfhLlPz0a39LRHM
0Ltt3lqwru3iBApmBbdopcjnXAybJj5OGn7kxHcnFAwwqry6u7SH5wxlKslUq0K5NqyaHLPyGOPn
YRbte67fCuFJMJsqJxPoqKvIuYP86ZftZSYlxIbOyypJ/vnllLDsncaE2J/62sioIcTJiQP4SuHe
T6nf6qGGdtTtIwKDhpZU6YKzSxjsTTNYZVGypULJcQZJgJR3CiYZt4yrjdWnF12U1C/jrLxqjnat
YEOname6GRSkJRR3FPmGyXydJfQAv9ik43ztS76JzOb7Op/eAzV2yahcwEDkaFw7UwS4sPSEuMyX
FK3mR8k+VmcrRo+wZXjSIHRaoQMha10wVSQJcVvWcQo4Q0TbZZmfgrs8BQOm7vgOA1a6GCCNCVGc
eXLg/CpXZXqSwTdT/zYPOxlc98GNjl40jvotaWRvPl6OiO1fFoTrNKg9BN1hfRwFe2UOw1W6tcrI
y/N9sGT8elOc7rjuO5ocUXK7ckecyq2y7KeOY7EE2l8l9R6cs1rdcBYzsx3YVyicWCsRxT+lot1W
4SVA56R2G81lm5U3l0Lb6+n9QKK5s9fYoBpwLNjkCTyUfk8Kyi72521qjS/ZHGrrGSY1p8VmnSg6
sZrfODVgShLtBXjqZinJq2UDpeE4WT9GetbKgcoHRSr017rNa3onT9TVyNI2JFHujbkOQD/VOISd
sfdkCOb3GspprOx7yamMY2vOn6eQhhxKY9aB3JblBGMP3hyA+3og4Gwdhj8i2600hJBXvv9tVn5o
/YnkZTvcWtNmSK/I11plxQsgnhU5dXH0QykwKV0ZHE2V+anGAcP502JrOx4A4u2d8MKur1X/qo27
VTOxH+9v2+5JYROMAOagptmBW6zbuOxX2ERzTqw5FZ62dPPqcZDqhTJ2hIoVnhL9VLK7gWJM6kwX
Sburu5eJQsyEJUxxDehuKvNnTEwSWnD/eZKYgms07pTDkIqvwmZZH3HFMn2JabPwY9LQLYueEyPJ
v/MDhZR5dhYjMyajyaUUf8w1skyVi2jGU17dNxS7f7FQV2Z4B8BhTl4Eh3euCakIrRI/9nK/2Si4
vMEJsYkCi6Cx2HpBsBHDTTxdD4yTwT6MEkHAuCZ3h7hjdfCmkL27uIBMg+qZ/XxM/HlmXFHJIwaM
3WhxW9gx4E6IYQYysg6wa/ZADiCt1vczWGmfYGgRMbmaCr61+1K9EIXqNpO9Enm7tszWM4IcVICg
0GFuUkg6aXQ5BgDwNOJxxzVOWjfuWI0bDjqGtsaDYRan2rkIjPKoa28JKR1Vs5bwFsOe0AiuBVb4
SvflaGJh9d9KpX0fHW1PrNoe6xVTSC2YHL+PFqSSBDhDh1lT6szcMPLi6EpBtK6qHbTtZEWdhgKG
xArPUZ+UB4e0ePUlGSKS8q66OgM4+dTqN45BLnoQ7FNuuePopxkcm7q5ZrvGI05kbgmPGL67uojX
s6wOWRpQ3krLjbGMFuE2NpnxY5yQilArnOQAO1AYZv9PuG60iYAubzrwRZetaggeOprXWdR01ooA
0XBlZi21scFHPMtNu3jtHPZea32SE+BCDmo3qZyM76KkhO+SmjVDHtJ6/17jamsXB+SQD75dPQ86
hTSFP9wM/QtBZNprW2e4J/MZ4hygm0C9LXNFAPiZis6dm75KmbBn5bnmnqV2h2RZl3jm/HoKMD6S
Uhkp64n/hOXB6NU9ZunkEIGgkCzkSsUpqDLrjd9YBRU6xAnWgkOvJUIwECAa4dFNpFOJlHX8LJx4
PgAZAtarqSMGcDWodoYm0wclApy3b8h2uctGWVxTnSWojCj5+kSMYbfruUW9JRKpvOiGBmN/j+iS
LN9m2CpBDQeq06dHU08mqlm68dBknX4/2Np/83Ymy61jWZb9lTSfIwrARTvwGhAg2IkUqY6SJjBJ
T0Lf46L7+lz08LTy8ErLsJqUhU9e6D01FHjvOfvss7b8Kgq7/JZuqMlHxmZwasJIg8CmLGX2CWK+
3rdxHT/gXA9DP1La/IM1wSSHji2pawCQjoEqIYFoFb6WnvEhwQ4F1aoPOVRbi4bfoo8TiA2M3G2b
N8tOus3SoTuOMzsbXdWXr9YwqKfO5GeKymrYhsJxHtsBolECb2jdVpmDBtCasClzMyTGmdDgS2Um
xAezl0joskisN7juxD1ZOuJjnxTlyWRk7KL4ETOuzjFXF1M8a1wNZTqCnrkxXdRSIXzNMMavkuVx
+EtS3FI/e/AgRLGM1UsyGINYqzPhPp6btnLPWm1CxZaLSz43zamZi+lcCL16JyNq6nwnaTi/iMj4
LkzhIqL2oyuPQweQKmD0CUOqK1nB9CedaxSH6CTXhVJRGemRNhWeTMvhNFcOB5vd99pDk2niKDWb
NXzFcGpfn2j563bOLha1EyFvirLSFJHdq0pm89afyQeqRi1CbRwhc9jconBSuveo19RHVR+bD6cL
47u4TW10/qpy0QtydXzpmqXdxIR4QAOaHHWzoGEhsxoczQSDyKfQnnKmbW37bo8YNYHgcGKMsHIe
6q784xKM25PCYuiviYCflVs14xFev3uzgFcGR6bcpmJixlLhi8Y9bJd5gWzLyoYv24ZGoin1Jtmk
DWRuxha2rm8MSAWlL3vN6AO1r5dy10P+iP0Q5nKxAkQ9ED2ZDcB3YI3Y9a7BEO7PhQ3+ERvJ7Wva
rGTvKeaK+q3QBnbvzUG5BUNMSwJCucYXgWInjlVGWinpciLNAqs2CX0wQxqyibDqgIYd8Ku0h6+F
DXBe1ryEpbDoZA0FgyBRx4pT6+hkVfKqZuRQpOUNJKi5BaKEMEiCgZOxslKSK3yVXQfPlDTRZhZa
plfTj784YMQ2zlzrTPm4+Q6DpXFyam0J0oW0pma3uCWhSU1NdLSHcU3tNlINUbFcHpKLTIrmV0iL
8tiGijgmUYoCAxNszRNQRqwYGAtdcplem2FGdiPomKjKJJoEYbKavTUEB6sXu4jlWhIuwSwyBhAw
ggQR32O0/LSYVBvSBG0taBfDuS+mCGJZZynMdu02r7/0jMiaoNNojfshucu79sGyYW9rvfWqyxYC
1c1mXaplSzBkzVa0MbzPXYwSME0yiCqtZs8v1teWI2F7OiHL9tItOiA42CBzD1ghpnYL6wMNQFTT
/PQU9mr92ThT80WDnQctiF9+Yer0qfaotGTgTJrXszFyIWJLPZqgfd70DhXdihO5mcopBFxQ6vOd
qVTpE/UZ04FmKbn6U60Bs95JDY3StEbipNSBQeXcdS8qv3uxKgYExKZfek9JGHuvsqGxOWiWnHKK
DcfTMqjtW97mWNhntY8D5BeGCPFsbknPVrzWpShKdHvm+abXql3wnZ4KUYcg266p9yP7Gp+AZtIT
wLHyEk0ld2LbD9qzIJ1gxxHQPVj5HLP6HKZij5WoVQmtKqJ35nTTNa5II5rBFSCyyUm5zzBUb3Rb
iR8aJ6M9bdP6XDqz6qd1OX/i/Gwwyy3qeWhYh0aoSmPfrTvnXWnd5EMLwbRWs0UVFWnK/D6KASBR
B4mfln3MVHcvp3AQHoTDcr10UeH3ZLaiCmKdxj41QyWAXlvyQrGurdYQa7HhAW0LsqJqv8tEafud
TixX7rc4BoiY6ZcSciC5eA/63LTIoNb0WBBe+2guNsgRYyL7K7MdCqOi426pm+iltNGd6kbGnpYS
E9QXrv5qZgmxz2asugd2u8GM3Qp0I2IlcBUWRAg2a4dSGxYtueztdmgid+BrT0x+zQScmpsktrZK
MKnZvpSTAAqE/aOlWItRMpLKKqyTbmZ5cxB1LNn2bUGtrjpTmgTWxPGCFNuTLHzqcCFXZzL8wibl
MTHC5oNX3S7X/YAtFlV6mHM/1efUPLkEwqq7majy9l4zujrcQZHNa08r06GBSRuNUKujRIq3JBsd
G26hYSoGKcZwJU0wBI3AR96T7jugizrRBFLMGXIvYaSYbUN8YZngeVOo69cURTrqdMSymm5ScS/2
+xxX4mPoVJDS9Fna8tETBGqNLQQ6WZEUDWJ5+oRWP8Qer0n21TW59iIqXZ7zzu1esZTbx1TV9V1a
wIy0XLlrYygAXsZR8hJqbnee+vi7J0JgJVRngwMAOG4CKF0jlnuV9YaxzexQnJzCaN8j0aRrOiWx
wqXUbeaYzoRb7Kq1FE82rOYgUq12Q/LYqRPoHOg0z2k//ixpx9QJ0FhEqSWAP+aW/aqqBCZ25l1r
FEdX9oHeoH5aY/1RKYQfAa8EwDfTctQDsckV8PiMxr9gTk7C68lSKOIKvaUiBN5iziQDCG6gVRqG
08ZVUc7A5Dp70+ieR4j6Llmac2d8VxbbMXoBP71T2rW+jCvdvNF7gMGjkzed5jPcCfLlrYSi2Lmm
D0eMxYPNlMx3vfE8mQrj2NQjKsYfI0gvfXVfFjAp2wW8IKybNkZYGh6mvnvvxBObeZtC3oGMWOlj
vZVFv7Wz5BLRRfR5FFjchsqYcF225yjedho5lOOPTJyL2mhrOT+Fof7KKhqClrXRiGywh2JjMrXR
XxYpD7omNpmhfrgpeaHqxmaCCnloXVeCIOvhVzdtHYiRo1p49qw8AK/aR8WwZfdlZfRUReIQJ4Wn
yYMDOKOL0o1aT3u3B1wVt/uResxuFJ+k08BIvmY1umfnOcDz4d2SMWs5b8ZBbBOt8+ECIZnSsrE7
RPds++Zi7S39Nm2n/lDMN8ty1lkvX50w82vZ+lOkba36yuxpAvRL1gTsZfRlO+J1TWpiCZ0VzrBT
mOBl1Xs/4jcXkwKwEKXc8rd635ri9WiT+iP3VkWu3hQSaeWuM+dYhicnlIE2U3LYBAjBs37koAJJ
ZF7aOkW682/YNsyt61Zrbui4o61nRJeN6yz5JYD+5yhqXbnuEvEpSrIxGOuAVVu5acBQ6HnorpPV
XNThjiMWlzgT/TFbp4SZA2h/AnW4WvpnvDzQbljoy4+xax4Awb2ZjgqOQw3IG7uAOdpYeraz7fpO
SiLGXZS6XgaxAPtba2D1wHYu9VqCiqqJxG7j69Ldi0IDdarCdbRXiiS5DC5guRxRO6Boql6oWvz5
cWFmiJPuKmfifbBaMznsYwB6UbkuIwmUTtwlC+bIhza+H0q/V1+yevAy9YlKlQzjc0WDbKgkQ/EG
z9kpHsw1RGfelMcaqkiEE4nwGHTZjzansZqPWRUFET439ldAF117ELaGAIXZfs0VSnNDFxutNAeR
mvvNcSt/Hp/MbluEy9FQkAiTxzThXYSVsZEEAJrtZsyHrUyoSrQxqHNtMysMeBfHAO+lO1dYZdeK
3C8iV9Z5t+DtvCb2VS7Xqrzm+WUpx2Bc5PuimV7YhG9iHFve3PGPnhggvJh1oeBMMwlw2RpeoWs/
jbRB/Xzq890wfAwOoK0lX6vyWMP8grN6L3mINB3cJYBHG8CrsVbgL1dmdyZBySdlBqb3wPTtHMu3
IXtR9AVb+1Hm+4wRgviZop4hJzm4PSmJzQWAzLrhStBFwoGgwXXinwL49WpcPIy0ccC4M/FzuCgg
5tbh48gTGeI7phr1KjxDoDgpUnJ02+cMKk0k7ipG5MzAOFIr+xXK41mTVtCIxocP/VKVHZkYcse0
FeHQS6AWxlc7euyK060V7HjDdwqTUiZc0ji2/dWe7iZ1r/X9S1pBhkvlsXPDx6lPPzNL/7YSFubF
5GXWoSbg+NbZif4In2pRsZqcb99zlQQaH3JKLJ00C+RSZnoWJBYzRvdg5++xss2rH9F/w9+6ZSKz
UP6m5ZthOSrto2u/shsQEkc+7nXnbiggqt8B9dpEbL9IaZBAQXKXeh6Xxz694qmGq1Z4CpgyBOQO
qOhBmutqeEzqK6qt0RwH2dxMIEN0l9AyztVROG+deWqzdi0Sv76FSI1BL+JLj+rIaUdCyFGyd5jl
P3pHOTNhV2QHuFYJFQG7qGT3ID421NNbfficx507ku9gjYFN1WmROM7BJsa9RX9URchQ15Gw2hWb
85+SAji0JgaE2J1Mg4EsSFPxE7PzAAPOZ/Z51AirrdC1SNUkmGZVIH8PpKsOOidPct8Pe4LKNtDC
Vg09zhLuek4ltXkup+weiRhkbzLbT0PdBHX8qfKo6NEW0Cc66434uhFWSC4OSZA9eqvrSr+Z3lLj
qI/ubtRyAmfcaGV1DKUoj9Lcdyrxq08tT7PWA9mqlpvthVkHmnW/xJA5o0MxJzvcNvf20nzQ+FCh
lVRsHNgRAaAR3XROtozG7YrQaI+BmJZ9Yyf7kvrQGA0Gokx9bVW7yWKBbcxfOgEpuaj8RaZrHfdK
ApPQKH6a/Jxp1irsnmEtYJRlXc4yfhS3Cj3wSJbYLOpVT+YX3a6w05KCohBbQHGTOjEJrUCGlAjI
oQhMKfeuk5/MufdbvrWaoXfedH50O8MWvmWdtJ/x5kuq0SkM40qkzUNOzdIJFIAu3s02UzZGMHls
73N47BG0Wrb7VkLUa8Ea1FJWlJfFsVGW7wz5PG05T4vXTjywY7LWw+8Z6ieQMw5DuM+99oEllvGY
cggLe1NOp6V9DG0zgDXoLXRHRYy8ZT0tvXHBw/WSGR8pl1eX3NJ38PBpPtBSP4Owh38bbRLKX/Ex
pJSHVNGDRBntSUoHe0egihdJgwmSuhlGnZbFLKhgYgb+STKZ/HKHJ0FgRFY7F0szYk59QqbKJHtk
EeNkEEyaU1ca4cxgV5DKHvozEVlF+ajKD5ngKEiYky8rUSaXTqEpboCOg4cZlvgKSDhotGjj6PG2
dh7StiBJloNtGre3YLnFZPEdicEz+8F3p3hfqATZF+xBmJ+DxLWyHaAjzwvseVhs3M0mnZbOLlRP
yhxfkR/SskDpSy5Kai31vNQW1cY3nmR/1j8ig7bkTB7quicaJFUVz02qk4hMj4Xiuy4HZDUekq4P
2hGTHa942OebjoT3Ujk46vMwvszQoNM5jzYK4Sk3IDhgdpHRq6hivrTDwuXa7UGaYdGix5Vz79k3
1KWtPOcJOZBx1p3ZKLWgvmZ0LW3S+kuT9ojRtLeoCc16VtvGc4zP5OYbJ1yp436HrntTuzc2Gu+u
PFebZgrG2JeP8gDi3mKr0V1pZ5trKt73F8jPkGIleU7GNqI+6B61QJBKd8dUE0bq2lEe1JHnfA2z
UFF4z+5VKHtsPN1K2lMlN1Sx8yElWuWZsUSmbJWr7TzrP+GbNfvqVcUTdqWPcV46a5VBbIEhhnkz
6IljXM1r3vXjZfJxlD3z89Z7pV7BkgUejaKbQ507yt7nXQzMNMFrN3Q4G4ZLbGzDwWNyRak7nJbA
vquObVCsx3Pmkz4I733Z6nvGx3fhV9Hs8qfSXVHkQ+gTgeDIPy+v5q73hv2tZ+Jv4k1oXlTS0Baf
DdNtVXkShXDbnZgYUJzdGRtqpptifFFeu0eqGjxV2WoJnJdCPxTTqjmAZ2q2w31p7KL0hC6WFmuG
GVG/18HbG2nqV+ln2q7MZ1sNkiA+xNyL4scuHnmWWDZF6o1wHap30VN9TvbRbSvywd4T3f05Kj5q
JAQ7bDB3KLUzE0bOsqDUGRTzgnrppvsofTqzXenHV6o43hLxBhhhs+6vde1HzzwmjLtul+IU1OpO
RxHsIJdKZqht++NOH5X53YaP9vyuuY9d9+oux5IvgbMoD3R3JxNfK/yGwWu7JWGGHsmeHhjTuJY/
mfsu/C6B+GPzCigOMPIujBnly2T5iEtmt2JIxmSl5nYUiGxYJpkDxjvVIHiTkEqm2lumCITZ9ONd
KrGEVkHj89UdtKKgoxB0n0qEXHutInf4uAMLIjvxrauwpc+M/+14hWUT36upH6jZ7ZQpI2+BDdjM
dfikYJZchzQfDwU/ic86NLCU4cl8EIclC5pPEXMDcNavomfzx15Tt8ICVELMDytrk/hDMN0x40k8
1/7DaPYYZzuD30L9VGIrXwDOo2wD5uzbdcbqI+8dfC34Z/ZTuR0eQfMqxS+7u2tud7NHaHw+cYhs
ixtpECA5q2FoS9G8rk9WdZ/g+8P9OwR8y5MnCvyfn6G9YRg/Tht4lTjpUE5UUMTllir9UOCrpYum
eo0eMOKQOjw9mFuxnFvNH5INFt/oaiS7CLzmo7mp99MekzcVSsezjqHT3Ohc1vwnkkB9sZ6jIHzl
gZlIEliB79Suk0Phe8dMwuIC71cj3XP92GMv73fpV6yCEFe82xartmqflMhnBzz/paa7BhuNdmmd
j1Z4WPwjOKSfiHDzt5YE4q0oXqs355EtHfUyghItjmI4QuVM4DbBTtfuYIHpBcF6q4W1r+5A8FDK
z2msjO/4zDFP3OoYB/jLkV7md+c5IuVuWYXHuodR7PMv+QdLjNnI767QksVK3Otrc8Ne6B3nCCU3
QgPJk/OaBymbGSmukkvYUNIGXeHzU+jWwcoew+7TwrcjiI6AmKwEKNMrq+emXNW8HAzTfqXK7YSQ
D8kDLQXhg4V7IkbDGn2yeAXOIu2pb3eq+hZHm7xbN5yDTD9z0g1819m4vefir5movPVqJc7zEMTa
ynjhh8H5DESby4QKKmvOKJBdF+hH+43GAXt5D3/4sz1RhD3Myz5CW6RALb0Ju5Y42cU5xwPMExla
a7NH14i/aHzhoMhxN8SrPEfA+jGXd3d+76uT6ZyA7+r9W2zhrS8+qmjj+ulhwT42r4Ztycjmm7G9
4L/76Th+YPPjp67X+X75hBOKy5KxhrJV1VX2plzUQ3YuXroL1K/5OzxzDvV76Nhi3t8UC3WlX8Fp
D1yo/CufwGnuEvRilhVZ8aQTiz5temo+ebNqu+3oPtb1RSV+bQiobUrPfNTYsx3JjV2ZR/2Q0+ry
f1ZeaPMr8hiCcCq9KIcl2uoH8VZFa2baW8vexYzhGLtInyDMfLrvix81MBDkHvp9hgqKyr/slvSp
rxGsHkZCrkJP+aiOvDfedOvZPRi2P3JCcER3Hj7QcQbNyWUTPaJFKr/sO4v6ar+IO4wWbRGoe46r
4dKnl0FdkSJm5nhLwTLdfpvEeDKJ29ssbETHBT3V8rt0ZyTX8X4xA84xXEhA43FTiFN3VwZ8vN5l
KHmrbh/dE+pt8Tb4XK7zR6bu5NEZPetXoflTupuKb6L1Ip0nku7d5QkN5bXm/BiAj6rVM4mOgCHW
87CGMixIxnZ0b8RnkcqfGMlpm6tHOFkpFo8nZdcGwlf39lZ6IEdSkLLjLywlJCdoRJ71G3PD0uya
GPc3XH10msOvGj+C/mQcu133Gv0KP0BpyzvlnZE+4J2V8Z6u6VlqzVNe1A5Ni0wCsgtXU3bA0MRW
yNf4Nbp7U99lT+le5+965Tq6ihcudjmdeopb1cPsATr33VWIGFyJL6a63VvpO1TWPqrqgZfzdUBj
9hhjsR+ybg5Vto2uyYO9Udb12UI7u+cDIOlvjeUhuflhV/Gym+WaUmHa4kEaXpfNvG6K3fJlndpf
yXt3p5zxbqJlc1vcuVyt6Rg02/jMvXrBj3uiIxVX96F4UZ+tV/eUFh6fn/8lK+7iV/0NSWxQ76nH
ZhL0dO741iSN4uyIB0sNmmFtC9qqJxoR3X0p1MPQP5dYON3hfQAJnF3qZpOWxEDh6rAfyXOlOUda
pK9g+9A5kWblW69aDXR7g7d/WjYjETS6nyGKlWcahSaSfmkkXq1j0M82zBgvE9G4UofpRgoOixr3
GgVuBPHVOizuthLv7S2tLj6YMa8aSzE0LN9yHFR/7HmzRPKe/Kedbrk/3c1HZ7PQEEdcQI4iXK8v
w1+OXrdbcski7GzGWajDK+EGu4JAYtdl+GpRExiphqEA1m3zDAsWxL11SpRvbV68xeFJMkUQulYw
uuGVQduqu5Y3pwhGXZK5MM8NGdNTZ80q3U/EJzSQUKrQ9aw5xqo8rdnUI5e2c89ze7DHx4Qug5Vd
d9NH04pbqP28GSMXWhAeRmMzwtJpn5XpxC4Mkx/A0OrAe/SgA4sZ2CvaleY+rs7lNSEPghtD/YlQ
CFQA6eOV3iIbVlgCKbHjcIPTT5QwuwtPt0OvaVbKmO5LicG033XErAK1BY7thvdtdR85pxT3pNxn
3Xrp//hlhr7+WP/KeHxuSVIbrD60lVJuFuKGi1qu49rnbFmi9UD7nPoi73z1Zi/LHgSmcjpH7bnn
5x48xdn1EtVh1Vxq40EIzq01eYuXXu65gCSLo3A6PLMY/IJtqfCc5c69zgtFmwO++bN7pYWb29dB
v6e+Gedz3ZxBHfeoFt27Cd9XO1jPA4Zh/Vg7+Dzu3G/g8d0Vjycz9Bpr7VvLnNgQQaZwPFt3DdJj
bccHp3wbZb7TunaV5eKT5e2tYBChfXC0ysRTwx/BGY+CfVtdKB8M5VQk3owZrauv1Ych1+O4I3Sz
wqzm4AisC8xQSXs0IPkOCn3O80Iv1RfPCb+OrG5phllrmoKbwYawiPqtwfZgXTL64mY1v1nuev7m
Xa/M7DH5C+sh/vLOleVwHDq7lBtJJyptTIpdzK5Dt5Lu88zP2my4tMiCQAJikM8t6t6qAMXN1/wI
Rv7diV3UblyG5xXNpkXNgC7RNkTLpNKbJt/oDgZkbXaXYjIqVuQjhMo5J5ZE27jNA+aN0X2tls1t
alwex/n5hjFPLBW35nUpGW/6Sq14hVFuGp5q0ALMbPzI5slGdFYkMwMHEbR5tKvcI/RpRT4VE4wq
9Ju6vp9EcsiqkZ0gVNxakLxkljbDF/GKCfLQDprCOpisD3OcaAE5GECts/hOcaT7aiopFn72rnKV
8V0f7jNXIBjxRTAOJYZLIclwnuUyvJLSduaDjp99mAgBtEkVheqQN/Znm1IGpHbyAaW9D1w1YVDK
0tuUCucS9k1ibvscR6/PQgOyYONoiJhCVXjILRNGazP1y1s3ROEbXHw85xFeSZ778DIMSb6pWnPc
YQzqX8Mirvd5qOfnEfP4r7h29ICA1eS5WAaaDjDZF60ec/KqdBydqrnszRlzCRHS5XGxwmmnCfWS
RshlmZnWrwZU9Ds1YwKEjdtmygnjaCJ1vNCADkQdh0BhgkqDfafN9yapbLM/SkXcKWbByL5vI3MT
gl19ikcUBpdsVGp9sn1ZtRxnSrCsE+ukxB6yJqyFrUC2WFEdWDzsrJL8S7CWDStPOc90QlrbRSeX
xVuGOvIzNbefGlvJX/NMj/woIc8CD1dJ/rjddkynYqR8iyWffoyXXzKzlTsVT9LOYqPFJzxUwaCb
mpSYZYedDIcn6/vNTzE5WnijnmNBzWrWkWWjNvt+VI1tahbFcbJZy2DUkfbVVpNNbvPTGLxtLHt5
yxKE5HQZBbEvikaO6BTVWxzavKXmeFFoeThPK41Znx6Rm11ZXb5ZHBKVunIcrtK6UaTYxL4giVGN
pKiSltmiYIRIrYnNsGxRrOX2qMfl6CfdJP3WWejk6theOwTVclrmdIZdOX9HI3uRg0omXpfQwkS1
1u31KWbdMtX6cFMLFJY+LG6GLFxZSd472NRn9aEbTSqjxHAaTp22dW8NByELgSCriTItseT02uFl
6O8jnTCzYNGLTNKm1J2NbV7UKws7jjcOtICxJbprNWjGs6aY2N2GygY+TmJ44+dtiGO2qclBgIdw
E7aN9pfTsleohMb4WWmlwlEAxX0TD111koPZ32Wsdr2IPnXo3AVj62Uo8Xfq/VKTllbTpMoKgjr+
FydyfT3KSTopDJ1ti9mwaLrj0FU+8ml2u/eagK3sLJtbzlvO4oB6iKpCujvSyqR7mFob/2vsSs16
sdDxlYdGNUsTUDoy4ovgZadubOJuOOrNXBMS2rgy+bLnCemncO1BpyrOw7mB7VQyuA2dnGSCQC1r
Zyg4KTSW7IrY0siAxSYX36Wuw73Br7jl3pXwDc2vUDasBiyhzOQbczfm6Su+NfdWu8ZGyg4RTivl
WoIldDiTWtU8zeHAtHHMkUH3EFCMYpMrg5ucYIYZctP31i3XPY2U4cp8u6sDAoij8uAmIcFUjE6M
uGbAVVaj1J11tEw6tXwFAlvt35xKInB+8XAtMcHlOiuwDWkkC2ZsK8nYpUbfzJQCO0dKLkWqiI2O
uU8UaqDZrflvWDL/3RI7b0LzRhJ1hWv/DbtQWu6QWWjknjreon0ytkHscH6oTeWpJxOGvYjF/59X
zLXbqvrfFvjh4PyfL6n/6wJ/WQqnYGsYX3XCRLL6oaAacjaIELT6+hGuD3feM8DAf4Mq+PvXBbhm
gNXkzQ5l5gb0+Bs4oFoWa9aNCp4UB1RdsedjhSctqzH9H4liWVW0d4sbqPGfKIb/X/T+29f5ayrA
n1/3hsP/33+Q/qPv6vaHNYtf/XyR3+388N3JvP8vQP3/ywf/4/uPz/I019+///ZVybK/fbYoqcq/
cva1G8Lzf/318//5727xA7//dvguZ3CD//xUu1+///bH3/8nmN/QAPNbNhgxlZE6QCHx259gfiH+
4WrQNFUHmLoAdcAvqKzaPv79N/MfqgARrPIhV4XPrUOz6FiG50OK8Y8bDd3GcOlqMGo1uCb/9Y2d
//nY/TNJgVfpzz//RymLc5WUfff7b/9K5mBHwgUeBf2YbwAmlqr/DZJCfhfxzSGDfhYmBGpe+dBm
/w5spuu3R+0vbwHwpGDNLJtcAvD/2Dd5Df7KsIimYtLZEWAb3dLZ8e2dNKMyGtLs1e5DRq6xSIcA
wrrxodQh7rdCNqikk6kW8iXGE8T0o7eX59bAz7TqEllznkliGDN71cI9aVgJojy4tZ55EdPsRuU8
DzV5q0WWBJCOZvN2F9UGy+FuYxCs1aks0nDI5DMLoI077ySfDCU/U+dq+JnNshN3rhKmCoswsmOH
0rEFViocp8Q+kpZpYdMr5lk78tLOwm8rN7nOjhh1fyZEtmAtcvlw2AgeiVWJvcYgZXay7w1tyDeE
XKUuuUGuXWyboe5JDeqbqPCMYgnTAQJ8yFwq7FjZMsTQDYeQbFmc15ndRygzJGjp0QjUa2iV81AY
Ib7VIY1m6/22OM1CuqGQCvyhJgpOyK9usCzk8LRzG0qeBOGN5W0t0Ub5qZpCaWlyrbQm2TVP+9QO
chCe9nmMOH59ORbSJJvHwIUR1cMEWKXAjnSIY7Nh9TWMinRLPrIRe1NR981Zq8tl7FhsMVxtTRIU
KUpNJTrzSqZ3YhgsMhVdC5igcijkw6hZeqqXymxxMLRaa/c7NZm5+weXxBvmoLw6+5mqmSisPMVU
1GO502GP6pa9qSrdjn7lc5VcmrgUaL8Y7AR8hVKnW5dU9r+MEEGqGUNV30rcyGSCGapyT+ha/Ah/
YyLxCuyOZGxjDnaUoL3IrqRGwDMqg4KWgIzVwWonC+OwG8/RJrZoky+TpmhzeFe2o0mQbmnRiurx
ML8TvorSZNhkQF1wu8fCM7AjE9rESgBLyv3klKTPOzllijUbZn5JQrPKH03FNvvdUIQhsTD20rHJ
JkK7bDwFCEkYbkRk5dq4rTCGpu5Bxa7NolRXttMqoa+PgzFrO+FH81iM2N8XYz42JlXZUe8dtfRK
nnc3sMwSEMQ0pyACkgHj1jrtZD3et+wh9l6vWgy7pTGp1n0FXk73rAE3bYCBcyDTqy1BP/dTQx+e
OA1rBnA1LSoqEG/o6BBuB/tiCNNW1p1tCtDURimHwFFDp1u3swjzbZsOWXSWOQAGkgxs3oY6w+c2
wP6azfwd3mJb1exuo0TL7U1qI/D/jAqB62+pq/g8las5FXqxsoTNgws0xMFjja6yjrPWrL+s6Hag
cF7Wy5FAetqMRE/I9UzMGdUQmHuVHPVW68enWcyjs7Omgc3bjLhFB9teD00jStz5x2q6qjnpusr5
oo2xPu8MSY4p/atO2HqSwFpZwXGO2YTJpCn1i8gHyz5kztIVXwMx2yaCsFKJ6CNy55mpzRw6+huG
rIHs2NJs6d60PDXhaWiKkbwYVqmnGMtwZS6y+8qKCHDBsLLzoXNOelarbPoy/E+YtODRXO6TNtMY
VVLNqitspsJgXjYAWlmy3gofBtex0RwLisxFIc9ZN4kDW0JOh7e/3Gr/zWXxr8wqh7xoy9JteHWu
KUCe/f2yiLpMESwJcBo2Dl1AyHh1VOfvuQptpNHS/ncVzL9eTv/8erB/DF0DXKX9Xyi+SFUxIE18
PTmmn1U3ko47eWFOyGtORlzMFD3kfOg7cBL0ujVzF1fe8c5j0Js8/c8/+r/WjX9+K8JQBe5QF5zd
3whWsxmnA9ZqpM7/JO/MluNGsmz7K/0DKMM8vAaAmIOjSJF6gVGUhHme8fV3gVlWSYLRjM6+D/fh
WptVW1oq5QHA4XA/Z++1oZ/62Lj7H3I9hJj5xolegSG3rwLZsJcYc/LHzeO/x9VAFAHrlOFazb/r
Hf1JiyyhKQwCD8VaPxlitJ6qzrKVJHtAIbziBaWP0a96iWCw4XqqbkrzT5bG7GkJBVUqxOXRSm4h
uIxZ5CK8QqIQ3X59Zz49JJM4A6KHQCaKUKLn/c37X1iJUt20zFW6MUW/9gL5l1FG1oWpcG4QFdqu
Dk2debC8/T52AvjFKPusXn0z9mdKfgEF9ZEDxZ3mOjRo2uxQDHYrxuJOSwnH32mkHjXVirHxIo7Y
fWgY256dvfuPbxmXQdwELxGBqEsocuzFKQHoVLdbYpW35swO0+FgfD3ImeuZN/3zNlI31E/PxUqq
tB8JiVtFQ0Py7VBI3wQ9FPd+Lcb/m6HQMRtz+pTM6/pxCiidUrflTPCrNJmA4x+p8TOm1PPPr0cR
dVUlxYm1Zwno9o0+zMsEMbKqBe1jOkUsp54i6K7VjfI/n2/odBVFN0SZxAkObx+vqAS+RTov880M
A+WxUHrx1BtDeoEgOU+pv7fF85ST2ebPL86czMVM+DgKwBEyjQqmnFcN12lB/qMIz3BVDcVd7OMg
Ejwv2H19F88NCXUX8i7fZWrUi3XMExrZV1PClb02dRUDegPB1LUcUp1DFJYFwoV18/MsnI+h3EMd
QD0xZPMn5d36pcBunYoAuEdW9M+a0j6jKXvM6uzCl+ncMBpwesmQOcZI+uJO1uRXNLrGZI/ZZ0X7
JEfMv6LESEJnyndZunAXP30IGYKYjpljaXK6W95FCye9mBlE7cKhocTWqhlbO0tJyMUMre40mKF5
//Vzk+YrWM4VnR0Yl0eKGufIjzeyKdgGieSxr2SsXusuSPzWzvEsEUqt9chfWo8MDUfzSn9aGWrf
4kfp8UbGhE9a36xyYJMflCpUO/Zx3enrH3fu7oO/AIXOLg0+4Dzp3j3kXCrLTib3jP50pVRHLWKP
g4CFb5fbJDVa+q+H+3ia5LWxJI2GmjFH3ckI4BZzeGBFlkp9vhUS7L0hx0mfkZOqDRNqAwrTrfRY
juqFXJhPX6D5kRtMZhCs0ufPQweRUyo1NgDlpPquBM7yrhdE+e7t0v4/Lp3I89r535dOvsFLD3+9
/Pqv3//1Lf/54n+IN3z7b/8qowi6+C8QpTPXV2PzP/+lf8UbCrr8L5G9oazrrGh8e+bkw3+XUSTp
X+xHoebCBeZzK/Ea/7uKIon/EnExE5Vo6CaFGSjP/6CIsnw5YQZR3ZEIjcB+z1+3xOZKQ9a1rLng
vve+vpJdaes52bZdIzByaIuuPffdPbq8EV+O91b6e/fCAUG2lICTNrHcEQcCbIHSQ5BbW8n7/fVA
8mKl+2skWWZNRaNpWstdkaEJILh0zSI6dZUest1wFF+SX+MpeE4cjL1uB8N6pb5qP3qnuJNs9bp1
FDde11s0GOaFq+YZv18CP/2WeV14d9WG32ODHPktTfaNtoljhb9imk5fX7F0bhSyFQ2Z9DFDJsLl
4yikc9HtmAya4T+UVx0VBXKBtbnT3PEVOv7jsInXly7sbYP0bnF/u7L3Yy6uLJYDjPgjYyKEoYLh
gihxlXX+aL1OR2Ndb1Kbi0Z0CwGEXv5uOGW0cDZfXzhvyuf7CwXVsBROeaoOsfvjlQ8dtGQaKB7g
iOG3FnVHRYYKFJvyHofuKRjrW9OyXlrCAWiRzs0gTj6hIv/xmyY+xhKRZjJWUdXSJ+Rys9Kt0m8T
OIpOYMpP3Vg/VsHoti32krFyWxm/d2tAmOlnncaE7baNBZT32QAMZzTAoGoy1Zek5HHXD4mfl45U
85fRluFbq6Oxxbn4kKdIseR84EQGYdGKx5NQmydFRkllSWtr1J7VWr/qcnPXmrgSg+ZnKCG+51vN
ST5DnJ0STG8TTUoZbcIerTbmQ91yKRQxDpackquX4cqqdUdOFeKFS/UAOgD2b0KecdSpd54I8THH
+zP5GCZA4TW1eR21+R9VjP6I2oywtJ6bWLgNvOpXqVeoHjIP15CYvxrAGmpJXLc0jgZV+UPh5FVQ
k+2o+og26o2ht2sl9W1RF+6DMUEXa/bXZZnz4/JOWBlyRCsxXKdjfSCUkgTiCOtP89Rn6TMdFxrD
5VVXBhstNR8tU9jU5K5TR8luZQKjJyGCbyLmqwgWxUpPcANJsXDUzNGCVNQ/lUV4sPCTqQVlN0uD
Rlll9EpqFQ2BGeVIROsRPE1LDnw9YsSmKCUrhr+Oi+FKiNWdF0fQhMadJJcSHUl/H3XKVSnhB8z7
zZAKVA6iem/ih6HFrV+nWfUbMfoOu/wv2WCBqTSXwucVURkVR+7ke2zxkS+SO8mPDn4m30KiQK0r
4iMxgUqtGlwsdPQquA3FDRAOTgmGRdAMCkIt/a4GMCzNdIfM5Y5SHceGQ4IwVWrR0gKls/EKoNPq
KwPw1+jmvorcBDRpGQ+7FFRJWwH6zdXEbVSobwHw/KK+SzWUw0mC2pz/L9eiDC3J/60Y7VPcTWCQ
NLVFj0kUjVHC8VGE+CXVYeDUSf1zCNtv+Dihukm/QrF9lKTQlbNmFzRoa7DRR3Yep7/GRO2cQgk1
J9SVO5rFUAkpffQkkdpWhzlMwYMTKCEvI5mzFw5b0vyuL1YkPmmyDOhZpzexxJNXflZCeCgQKe48
lN84FHfmSrGxgm3bC2O9HaaWY+HznrsDKk255dZWLEsjHuhC2/JpSOwn5AHNs3rrXwkr9B0/O5TH
0V3l4r55MGzDLeI9/cuteIhO+fbrJXCxx5uXYYk9Ni03NrHUeRaniKmsus6QBiAePf7U14bzxNcD
nF1iibCl90hsJwewxRLLvVamcco8G/3RptpVN6RzZ66xnrYsMNfxzny19spjhtxlU1+4OEk+80jf
jz3/+3efT3FKM9MbGbt2kcaE22lr2cMeDSjgNHs8GBd26cvS1Xw36XZxxqRgJotvLbH34/lZgQik
gtaFBhsJsmNuJIgQq2IX2O0pWAM7nJWrQNR2g6tqR7CKF37BuW3ZXC0gG41cqDkF4OMVJ1FEzYJO
uq2fqh3p78HKfC620757zJ103R7Q/F14vmfu8fsRP23MJIsevs6IebXyNqmbbwASo4qy6a1dZyfh
wqHk3DNViUxkLmkUB5lWH6+Q72Ehq3M1tLc7Z3JqO3K6bb3Od92GMv36wtUtzqB/PdG/R9MWUHbD
x9AteIDh8C05o5ut8wcsPHZ6LHfgib9fHO/M5lPXJQnUPG1Sku4Wb4tnpWNl+NjKULRfxagJ9/EW
H+tDujHsdJfTm7vVtyA3L82bM+vAh3EXbwokgIH8C8blTbFFt1jDaduBn9oodmMHe2NnXtp0nrmz
jGhyiGFV4IoXm06pAUfn0dZkRIwPsJi3eAlXnWttrD+Qvx3l5sKjPDNRPwy42HH6oy8X7V8DSnwn
N/SR9uzYkIuvhyv5+6XN5VtJc7HGc0AjL4VTEnCa5RofxLBpSS9FN54j8mGrt53nT7DW3OL7cBu8
UKumiFFdZRweLg0+d8uXHzOOeBo9KFOlRrn8mCmiQfO0502Ub4VmI46gbe+QpgmvCGX21b36bNnW
qSjtuHF1AMZsPQ0H6X/rQM9ao2W6UD06ty7ptFG4C3RTyMRbPG0KZZBtOlyF6q3puc1RtUs73VAy
mVgKedyXZ/S5x/1+xMXjFgi1mJoQ2T76e2TXb+P5x4LOoJs7/4Pxzr2578dbrEttiq92jBgPgSkq
XOEJIKiLqPcGrkeCa0B6nB6EXbu1Li2IZx61IRoa8SYa+U2fHnVpVRk4Txr93dqb7SmcDmo+NsU2
3o1OdRc+RSC2f114mc4cGQGWc/ihMicTIrHYNxgpcLvew5+VHUVbtUOX7BH9Wd3VaybUOl6z5dSe
NefCqPM9XLxSlI4NY14f+b+3Wfbue17jQWUngUzaf4QjQ626dxnnIB3STWx3YJJs89r40blkQTiY
3i4sWeeueS6CEjqLiurTlycP+iYxZTzeSvKjag4qOOhIuPv6Es+OgXrJ4suDfGR5X0lYijOrZQy/
/WllO7385gmHr4c4N19o5/1niPnfv7uJKEgmU4kEhhCvq/pPD0n5/26A+RrfDaCZw2SiiPXgKERr
vwZDJb98PcKZd82geWUQmMISy6V8HIEmPNCawsdMRPavYMkI6nEeCa07xv+wLTJvAAxqrqIB7ZhC
3HKDLIt1QQ+YoULJw8YMQUnt77++mnMnD1OWOXRwTTIDLT76uiAiOMh5ItFOtvFwU0prVsZGdorL
W+Izn90PY83L5ruHIydh0EbzWDWrsIS3MXDMX4aNs2Gdro2bS82Qc9u1D+MtFgrVbwmto6vD9h8Z
u5048W/k+WvyWTa+k37/+k6emRcfBltM7XHIwmx4u7hiXInDnS8/JZRbUv3x63HOfc4+DLSY4rpE
PYdcGFryzmzWAy69lbbhCbu0rrrBttqU3y+t82de2w9Dztf+7sF5gwAXOmRIeYbkYkTW/N9fX9W5
EeY5iD6ONhibh48jdJx9o7ENBNsT/Fur4ijeBJuvhzj3gN4PsfgoRyLU4lFiiLY1HQB3UKM8u9Xw
zo8XFtLzF8POnaAxlS3YYiqQrdBVA40wO2xBgUg4r6ULSc3nTnuzhvA/QywmgTXpFUrC2dKYyzvd
x0hWmW6eJduh826FisQ6GeBo5h2IGnE8PVqrQ/dcWZQUGuuxykI7r4tTokXbsZd3RQ6bK7wU9iSf
e91p2el8qqkzaOLimTYxFRezzwVev/6Pv/Wd1gZFU+2INzmBXQCN6zaHt3OpPdj1rrxW3MC9tBs9
u8DRE6VRbiHfRDj4cWYValdIuYgFBYb2anAwj58qtif6WtxeOvMvhJe05GbBJeoRqhoWvWx18eDT
xKjVLOeK9aQ+GWWDSmMob63AemHhvYLR+S1CbC72GPHiAgYGBOMobpHhmYA8WiyyxhQ8qQMt6kIH
+Jc2MtU9fV3hPoRCXK0Go03WJfB3YHHqA+kZ18i+tokx3uIbuCDdPrt6vr+YxRSrNNCodVkCuzpa
r7Ib7s2jdktsgY1i7GL54lypBr0JmYuE1RIoudx80NIFg+lz6+TNtPb+SE7sUp27i75Lt5INhdJG
y+7AcL+7lCF77qyEOh2FA0V4xL/LD/okSp1UmhV+rCdz0x1nQ/UBFsFauisdbVPuZKc7KeCoLh6U
Lo1sLQ74ueVjeR4YeRCwQYQCxfNxpwfFlUwGSNhLtwSvwzIx6/vKws+dpNqhjiOXlKdXxMyvQZTf
YHjZBfKUOl+vlQs1+18z+d1NsZbbAktpjaGcb8paWgurdtNtCbQ4kgP0v6iTmeit6BwSOqtay02O
GRcB+PVWoOow76iJE7gl1mAlrjO3P1zK9D77hlIho7GsoXGj6/RxNahTOaVWzmiDUD5Q801WVgbF
u5/UG88CgTJ45jNuvK2pZ1sgkCevVDdB5O17I93x+49NKbbwqfrHTDD/CJgem6zPjl7m3w1Gfzsq
2a4fMQVVU/NI9fGlyollklI4qPGlLPuzbwznWlq0qiRplPw+XkqojpWeGPgIhyfrqHEcsZ5kN90D
xzefG07THKyrK3DzPwXnUsmGJhJ/+YfTkEpbmIPIm/yD6bJYHGgCpIreUQkr6kRyvSL3vpfAWuEC
wGzMvKqPbNwk/sbzFc9p87RYd6PZv7RK+6p2VX3qpVEFYNMYR3oZ+FRN0hEaCw4beOXhMIXkqGkx
Ctg0J6kNHbBoT4rSPfdELRu5UWzFLqVl4RO1kISEQha5RXhVPD0AR03d0as8p8hN1Ulig3yEUSrv
TWxyfCwtUGHesG3hDpMYEFlEAAYtuUf6AO6uex1amU8jYp4NrZB4iz1mojEGC2+SE4/eXL9prDLB
phWJTlWJxNH0QOgCiDyuWarExWE4wIms/YArSlhcZqjXlj88pHEHRrKk1M7nch1G+UAojrZL6LAh
Q61IdBFnoBGR0vq2qdRrQJ7POo4z+CJ0m5u4Ka7Bj1cEEdEwsmNR5XE3JJe03aSBs2pI/ADbI7TD
Cwk+aFGBuFuWBJ/WAC4L1KJQtbUOyvwRkfC6surcsfLoRtTH58TsCFPK+UF1mL9EUIeqFFHvhKVv
6BTS56QATCdp1L2KoTOxyBDLGkIAWsrLTRbbsSRiLcjBFqYWZj59shpsw6O+TWnb257StDe1EJp4
Qysv+GalcIDKZDBsjbAqLDHwJ2hqzfEXneR4XVxu61z8jTvydxoBqYxrQ1yNRrPOI/OgqpO/S+Ph
mKvqr7yKXn19uBuUcQT/Xf7SQpFcrAR5EFxUMswArjrjSNMzFDDuRUH2oAaAvJqQsoEV4G4ubUUp
oZ/Tf1D14jvNSddslSvshXCfSn9tCKKw84fi3ujEp3jIrnRM7ZqAGDhVCc0rSnlY5SaghJQoM5z+
Azhptb+p/e6JNLQrXyH2QfDug6T7mVgBP0utmbH0+3I4U2keXYG4g7snAdsavEglLEY59HL/KAfG
jWmGL3QBAeQ10TeiRSXSCGnAMY2uNBmWziDxfhRDRM2BMBhcA9/TdHgZzOFGVuvWzSv/NECnYgvq
rap+ouxPb40yKJEbGCpST/yGT26H5xI2TaROCNaNxyDXryONsxEqRsdv9O8z59mS4aazRIMuMADz
YL6AYIRudxWC7XcHdWhc3+CA1WVKdpNlvzjDjrcJM9JplelHFTFiIMS8CRqXmUywnywlpSpZYVaO
0/4aGOBW1Xi9ovEuy7PMDuT+JBIY1TfW3aAGYDWMZttp1Zr1HOd4pl3Xo/qMzIpOcQTbUlO+WWNH
l17prvCHblUA1LxR1a9czHcBGUiriVdenQTSr7w9f8mVRNxCEsB6YPaRoUf9JhSPsS+5epZtKGcC
q5WiTRGHN7k+EDwb76qh29SVdAqm6I9A4mCoN0yCtIdOkgovslXLK9lIH80IGl1U02U2GpPGS9Lf
V2PhQ0fyHUjcOEWt2trLnm+thFR9FQrg7vKcTxVkNCrjqgd9VGEPtqarhErbScxwfihhtvX68YgN
8rs0yHep4t13/oQYw7vuC9WNkvZbLBEHRSIkdreu2sdDubHww1RB+6vShltiuqDc1ZFT9c194ec7
JRwPkxD2a0Q08JVaoMeMANUyDR6shmxms4k3og/PK60Gpxkjtzatey3sCbOMriqrOJZ42PQpOMpd
TEeb3dxpiErqOeRZ5tJ9ODT3hhQdtBIEAX6I1ViF+X6C+e5IUAt46zTI5+241oHa4sln+VdqOFGy
HCu2EFWspxlTH/bwH1kCBBN3ZH402Ij8nFSvMjTXodw5mTVBbJL+GKUpgg4tXypfwvoqNyO4FCHa
mcmYwAzCdu4XuuIapd+7UVG+aH6Nk6YRb71QvE4NC6dMvffSyh19ghOMbpJ3ta5A5spj3EFKXeJI
6hEvVNXDIPJxWUly5BOvOjO3pfwnH6PVVMrfPcM4VrhjU40wuroyt3FdDitjqJ8DuCsp3eykxfHT
jL8EgyQ2vguqkSAdhHhUVsBdJ5EEAbFNOCFlO2+EdF6p+D8aNAbQ+Fct8RD7STLwIPnsxogkwPMy
3kClOOV1+AP5LCEt+XBX4fGASWk+D4m18zWcJDiTH3sTYoxHjAOBs8SOiMltn8MG0kriqTzCkaKI
HBb87viP8N2iA3zxmd2H0grIVakLDZPGGwNU4eWsRh/mkYKlEwOSdD8SS+vUBgkuY6cS+cT5pIa2
i7Mmxn0TGfelQk1a85qN0RBSKteZBy+G/GKzGsIN7OLtaIa2rGa/Q7P/VVT+XpCyxySBtdgO2MTa
Y6zW65aIJbMm2HM0yNAjBA8Ngt/W+dYY0R7gB87sxsw3odj80LtUOZgBa62C59QOQsgkQkWObxiM
xakcSGPKRCCNVobaRNLrB7WpblQxGL/npmetRJU6iqXy5mM18t2vd9WfSsj0mkQ0+7y9PGF6EYsd
m6yb8ZSiI1M35r7ekFC4V9eXW8+fyg/zMFD6aa5TLSZ7/OMwRtIn1UQ50ea2k6ZCsAUBI19fyedT
9WKMRUVoVFspjOYxahfwgl1vvF14FDaELxwu1W2kS9ezqCOEiRQP1BfQZDn0Qa9iF5TFim3acXSg
nTvh/SWB2MWrW5SKCl8ihbHnQUW7cGscfJf8K06Cvh3tywsV8fNXhxZDRtwsUqNYnEj8DhVyyjab
q5PWiIO0be/vcRBs5LW8Ur+PDZohjvsX6uSfD3jzA8TOirpW5LCoLMsi/ZSw1Ojo7gpK2EJkcwTe
aSDs2qmGvDutOqm+6nMJdsT1hbnz6eywGHpRJSE1IxXZmFuc+GCA3SQOrI89wXtoTnjt1tEh249b
7VIL9tKoi7cir6fQj2G/v718004xV8kafihMsNYRNsQH33fE8W0v9Y3OvvO0CXTDNDSKG4tTWtNJ
ORtmLhao3zbeEwDgzu/8xTLX2Zfk3TiLtUUxY6XNYHpTP8kfafY65HUUK1SxjrdqbuGu7soLJ/fP
YtW35/j3pS2mEHJxXL8GQ5on84EEWgCRHBXW2RqF1g2avSdpA0jcaZGmOiQ77EI2o6vpFOyVnXBz
cUWa38kPJ9LFr1nMqmicTTEKvwa67bHZkeFwqpEu4CuaIju0e0dygRfSdOfTSbfjwoI4r0GfRjfe
VNEmr/FSGRLKGCKMRiDRk1qjTU7nujBBagbiS++Hz9Ng3n79Ep193H+Pt9SGkLkyTqkBQyrKvgUF
5FTz8esB5tfhiwvSFvNWLoSwLhUG8KGUjOXTUMKmuVBi/DQGRQS6TrNbXcVltizNjo0EriYlwLmJ
f6T6jdyDhbz/+jJm0fnn63j3zV1cRxQKud6ze7S9zNgKWsXXXagQG5Y98OUw/5OWvTtahDuVaLv9
CGD0JLxMZnjoK7KVQEVzqhSnG87XF2bM+V/27hEu3lijzUuvC+hBzN0pYOjR8/CN+Hnab53bd9Ru
+h0gpYvq54vjLl5bRZ7kTiC51dZW1nV4SG5IIN/McgFsv6v4W7AlR/iyRuFzN2B+P99d7uL9DNsy
7UlpRoWxaZA6r7Jfc7dRd8AbPgKptsEForJeq0559J9r8HD38XUtri61st4+bF9N7MV3oG4rTy00
JnaDRE53a5TfkA2P/pW3qW60Hc2tdgVs054cUNfpg3bFiWjYa0CUNua6upV/QbhkLWmv/wf36Owa
hrwMBzvyJJrMTOZ3fbYmE6AZ+Nyjyol2AP+qHcEv1Q4UTHjVHTviNbfKNghWryot2uYxVFbGH+mR
HO7uRfpT7+RVYdcX9ief3tG3x/b3T1pshWIJezd5oKAcyLo3AJ4aVDIufUnmKff5mWBzRsyBIGtZ
TRzhOfVpzCDzbhKccX4F6t81JCe/gtzomo4KbBtRX4X8DZo0h40jhM3tpY/ouUWVljvmQJAf1IgX
b8bE9yObCLpBLI36m4yQzPzHghlu5/shFm8BjC9vaCSu1DzBIPW3UNZs4v3sxgV5NytDL0tHPlss
FmMuZrxqNCW9VV74+e6OEzvMaO051ByfvCcAaNv4Pjpd2hyc3UKjL54FaMB/Pomu0jiSfavE3QCF
m3eJAMytvAMmga7g4lhzn2Q5fd6PtZijpNh5aqUz1vzehtvo2nCJ4F0XG2N34Wsyr8mfR+JIhfla
JpVocSuLvgi8fJZkRrvgZtabcszcS/b84mEJv/SFODsf1b9Hm79t75YDyHV8Hc03AWgFnhPsJIJT
wX6FtR9cqet8XZwuKhXPbWTw++mWCEJG/iRz0mZr5zAgW7buzY3oqq6yTdZAh/k2wDZ/nB4rm3if
Q3zhPPJ2KP10Z9+Nu3gxoomCuziPO+7TKz+FrQ713fUPhJSslSuAsP6mdsa18kiowXOzSTb7+CZx
hcva0HM3HfErawA0J4B6i0ccTfUYRQJFytqFukZk/GPLSZ2C3izIH37EDmFjF5tg51ZZ1GzIBZDg
0Ahb7FKSpiiTUOHqo6O+r+/6TbQ2nWnTOvlOdLxD7FiQ3i/M5fMX+veYi/2HTiZoE8qzQD2wu3wF
ktyx1vMGJLShfpB2sA7cS7v0c6chVcPpIBpUQj4ddgeSpCIqNPMmwN/OFZB+/b8+DUFuhJOgK5RB
liu5H0ht0M/C/7kvxp5uF+/DE6x+TnqKOy+ywQVP7mdVDossYIbZaCCznV362LK26FgLcwR6qw7c
EGrX8DBtDZfY08H1KUS5/65S/CPz6il8rfI6/9O8kbr+g/F6M1f+/U/Xxe/svql+/25OL8XyT87j
/eePwrL69/j/L/lfcwv+v/ewboKX7OU9/mv+43/ZVqV/Qc0hkQNvv6JonMZ4j/7tW1X+xaLNkRSr
moaEn4PHe98qH32Z/wqhykzW4L/6t3EV+peqS/wrbOeyKtI2/ifGVWbfx+MIkkEF6Ne8olPwmXlx
i5Z/bTYEtQovGb31b6IEtAkv3LEzwccHpaQRcDGeYOUAvkcYsAnAjAnjbvCV3Jbk0duUSuEkU2k6
bZyqmL0y6whmk3SOlCaSFs0cQwvMuyLGxxzgY1+b+ZVVQy8mXEL2x5tQIvMFrkd97AJ5bVAZ2rSm
ddKLcbyKZACshgedWeiVAmV6Y1JJF4uNFHebotWcKc6yGwNeZhqb5bGNtokcE+raQfYJBNj16uxR
hKQT1q9vvwzygX/bq7DfiT8Bt1l04SFMCeoszK2Rk0FL0mC276mer7syre20guFEMojuYFwUTmOY
nEAyx/syy+od5ImfuU54A5GM3crLzfpXPigDTly251JJxm9uTeF6ksmyasssXhvz5YxG0e16P9dW
PoyjTSzXGoGJ00oM+ROhXj+TPYx7zDdmyjMK34NhtgJ/bKTfQ68KnBKKl6ldlZJC3lAkdvdNrjR7
xSIHpYrzfRx56VVQgTaLqvvULwGGakJ/pRArONClmKQ9JtrkMHRWfIia5BkCBjoHzbvSPU07+FFw
F1vj1JH6S07PxK06Vk0Wka5bXLVEGj9lfnerlPWmy4P0WvDm3p1h1rYAE2fTRr1KNCm75GorRF19
W0e6hfMNCpWCz3anhdWjUHCWG3BA7tXKMq65Y89BiCgAk6lDdN20DWjgyJliXekWhRLCCQ1i47Fj
cuPD65rm73WipPC1Yi2zfZmAkT6U81Mvm4dUS3QYo/LmbaIUUVc8VnWXOMkutXheRAQMlk/0ktGy
wR01AtaaHmQxXDQd64VLVUyD9x0Mp6JI5nQAsVsTtywRZJc+CEpkbQSLFkU99vBQ5/9JAtEtvSjY
ExS4iT0aRK2XdfciDdS9UGO1DHLhWpQmgRi8RLtm8EOfZtRs+znrpM2+8RsMO6clgobDupribiTh
qQ1ckAdzuC/dmTDkoBVL5ncx6Wfnn1D/isipgVSLREW+1SajtEmGPMVi/JBKSv2kA8enw+Rk8tCe
0j4pdkOMrSL2exRDMSiycXhRy6I96QaQsjqBSGsRTpv/EjIz2ry9+oCpAqfp2vQoKADXrXq0DcAH
N3HdjDuvlwkm08OMbFLibRtOxxFCgrf7oRS6fmwJIjA6FRnogaN3fTCUpoYRHyrOFNKH6sx4PJAr
HOwCc1i//VMfo2joqCM6kp5u26AodklhVUdfnapjLqgrNDGSvCJgvLNT6JwkPAwd+RKg+FWF+LaV
Ku47BUidbtZ0YrymOhTC+u1BJkKvHQruqCol3q2WVo9mUnCGDcfyG1KJHXl+KbRY09wO4GJtXgqa
/yrZ01KjZI4/zbmHOJAIO6wG+RqO3BO1I2J8jTg+ULSIHIvwz5OQVq9GH9P0V0gdjE3PfyQdEqJx
Ukl2lwoxiTY1QOZRGxw4kcYqUn354eAXwRP9ruRkqfHRNNXpWszwesITiTaZV8QHddSL+zSDhT2W
t57RYUzVrN/keZNE4JFQkfm/ItRZhmCMW8MjdEgwLZqQKTSoWixXuUGQTl+DM2d+hquylihkEHpq
Z3FTbki1rLiH9SNMum9JF7/iAyXARedpAzDvGgKoJv5upSR0ka63q2aaSiewQSCZBY4qN/ptWevj
QchnNmItDvtQo+PnlanvltCpDgno1y3sj99wD09jlGY/KXPxpMumzW7a0aDDKYz2oJOgkGjgwMeJ
DtdIcqqmksVqhuqwKePmt0hrNpvIMyXOh7p4izZiMEwOqzkhuaBcfxYheTGdkLwEAplBUdCSxZmx
Yy1JJUqHdldO+UFIMFZGh1IsFbCvRA8XI0xnLRYFF5bhqgBPuQnilByxauJIkxKMFKdQJANMaauu
dYFPEIyh04Sui9Ip0xkB2femWwatMyAtsCUIyG740IEL0srYzQQny4I/hppojk/qQzmR+SJ7bb5m
eq6GnuD6MvdvI21rGgWvodJ7JAHyP2amO5kvriLSg+jBs0cz+n6e+siRoHN6Q/4ghxaZiunoyr4y
2iQmA2Qh7XNqY5ft836qWm1bK/7NFPOrZkCNkbp6AwxHS9lVh0N7oCP7TSiUDsFAXq/VKr6TAhJp
uwmCQwwIVIbakkCjkvKnzJKctmnvBFJOx3q6T9LpTpV1MHzDRszRWvHnHkq93PSl0SK/MU9akfw0
x87bpnxUxeMYZhYo9FmPkNIA8Pjgi8UPQYYtPvVPKgybVVoCTRMDJV+rZanyMwlpKWWI60ak/mgT
/bcwjEdeOWEbhd0m7cl7zMdSWeUS6VON2jhG528zDCqrBoLgpkWqOhoB6ZQKYhT0QeIGYN6qj6of
akJkTOJnL4pSWWstICF7ihVl1aCWcms9Dt0M0JobqINpm6m5Jp/6mgfwM6rG2pH74a5uwAsOYXM/
5EwMFHDBJpQ5kCVqMLiCyizFc67mwnCscr6hpeDt0zk3O2+K1JGl0rJnbcsOfeFKwCfq8lCtNSnu
zU4ihg94ltmdYqta53Gg7Suh0PadGrmtNPJpMQdtD0CSBiOp3pjbkb0PcS1v+2J6yfQmX7de/8cc
xMgWK4uUkFzjDop9Q+JmfUwHEvbMqvDdgjgHczq1XfIKrUhnVSZXaE6bGhGoaW0nuXU30+fzY13I
rPy+KPC7yOxGs3NHNYo2Z1i8gGN7ZBXh9Fn5Bz/IbwUDkCIJafJvUWzRJvhEshDuSOa9xj915j5U
S6YhX95K5xUTPb5TOUKJK2hFti6Yr0PRP9AuGhCm6yZZOvpKEttg3/VjsGpFTXcAolZoGVAZQcR2
h4Q4RfRS2BhdX7csxywlXHsj2oVi3Cg4KcEc+SNU/3A9prK+j8ZChOGaaRszTov92KXQ7Qcmu56J
/IAZvk4kiFd7J9XoCA7LppdRar6NESB4c0JcM8amY9Q89pq9ArsYPkMZ4VtwvldCMhySkEQNU/k/
zJ3HcuNcmm1fpePOUQFvBrcHBEEDkhLllTlBSJlKHHh7cAA8fS+qKuKvro64t3vWE4aURoYkDj6z
917Wr4DgUdCd03NqUOM1Jgea1X0C3nWiwkOAlXYhYUwkbSn3ppsNtIPU5HvJRY+ZyrxMqv/oLNBU
mjIilSDA1rOM0EELWNI8GD4u2CC4LP119JPywsmw7RSx6eYyp/uiAiCGE/vsNEnsNcOjQ9btEV3F
y+pOvzsD6FVv03oiQ91XrMl4dTGGcDfel2r949T6dHB0yG5ab10lGfhhMNrABIu9PQvzQScnYST9
ewYfprnqWTXlmzIqL0T0k+yLnFIjqanYhrzYanVFBw/FyEqPDbiTMHAA/KDZJGd2PglotTuvh+mg
rSvinpmkCZ5ZiOYVV1UOqEGNbD4nXZGLRhqq25do8rmkvaep8HqkY061dzkUs6zsjottP8jq9pqN
qHgUb1V9tScQqOtVuX1MlMm7rwkWqbwGm77lUu66BYmMkz1bhjiaTvIqgN7O7QS6xbfPg9W+L7aW
hobDoU5ilo5Cv0prau5AwAYmtN1VOdXukr9qY7+pYB9HGirujdC4hlYjOaYt2VRTDcB5WoAUBh6j
+TT/uGULOlqRhyPwgNK2p50nYJoMZXM3FF0ZBY+Wr9g6i/UpA6kSym6mTGp/sFR7SO6HFmVlr2DL
phJ3YfHaNDCQNOXeK4yk3lr8DpoxCL1SfMztCBtrXJaNJ5G11QiBYVBmPxXtCi/XSpjyarz6ttaj
EMIX2Xg/1qr6GLmJhD1PSORp4yFvGrhac28esoKkuLoGKlQG67ZDOmn3cIHtLtC3jk+mOfn774Lb
RRfkn9MNaMHySJ6SBhlTvuVf3ZvJ7QboqWGz9ryAWWM9p3kSVRUR7FDCcsESfGmo5ToF9pB2Sl/n
mSaK6OJ6MD41/TvfDJw9ej0qhenkLsTWaw8UgrxBkQp2VvGW8c5fuKFy0irJl6XUV1V74vJYo9zy
z1aAxyIZsn0zLY+e3bFaausnb7YjGmNjvwoVrQt2j5plXLJWPw2EjIZZPMnYMbKXlA50DcpXStlw
JZJ4V+j+umklmqt+2tvOejGqS7MO58IdGJ0v1u9Sibh12x8yWNKrVvcfIgFB2wdAeEvFfauR/Hra
ks3nXLmb1dDEloR+kgMWa28107zr1+xj6rL1zLmQTO26z7lRZNweS2OFj/uqz+5jzVBpq0zKOq3M
7DtKyLBUzqs+Fl2kNCgz5VbaBO64Q3WUVjzVrUeRpt1Jg1D/LJ2wFhQziW1QzkhI3nV26h18Kbgx
QGzADE1eQ6ANYFmnGKVSsSUkd2kHa1OM5bUWUj3JUv9wSMWdhau2gbHg98GlsUk8nReq/dNYJm29
Tx/PcygpYjbGrApKcI56kla3ut6v53FS963nUH8WILJEa+2p3Jg8dqhMk+K9hXVbdELfu2V7Drx5
Cccqc0A5DQdzJqN3ab3fhU8o0KgRYWi6xQspku+TNJ6avrjUZs8/AfQoycPb8OsHFQkylqYAnpmA
Mq37pgCg6R69hlcGkoK+qVSztfLk7MIrlk5Dxe86b3Z3KLMeo9kNjKdz2qsajYrl1QddUFKqkZo7
mXTqHo1rt07cg94ayc7UxnjKdHOzlmMsunpXdRVhiE0JgGcNXojifjbJoa5oo0MUKGx8k9vdoW/y
l5oaxMNVhZxM/Z7GNQGLR3J/Ka+ysT5zoxw2DoqzbtCfhO888bzGo9ZkUSG7NBq6Vd+5XJy96f0K
KuudGejnYmq0JGN6ncekCcvV4kvW+8nWwWf0PmYk5UKGc3mHZfnVsrkQJ8d+WaaXfNJjy6R1H4zq
Z1JMP4kbvbappbZKkz9F1mxn07jqSc8mhydFUgpUyUTkUfI5mbOzKQNgLTbxPwwWxmvawxNbOlh3
6cukJ6jxyAxdCgF/dI1LP9H3o7JfetAtwzqw1YBGbHRFuiMBmO4TXn06J32kKv0zKAMPZvk5LURJ
YLckO8HpThrvx0wLfmXTfDUy7mHCdJ7qrPuVVhX1lJm8kHP/w6ms+7X4gf/3PTXIMpLp9JWzCdtw
GK0+EOWGWzBpPynDKv2nnf1uEyK5/OVJSG2McAO+GgJ+FNUWqNflmXBon2gn62AZHfFO0/oOYwXi
ldNuE+KPXPKlj6VWHqRafhute81H88m202fsrjs1QUeb1rPuKgii2PNIr0SnDCzWMhIumeDFMqqB
7+JDFxK8h4lhVnxn586oH5SXXpsRgbtq1vpIKv65TtP8rKvP2aLWEkDPCqcNl3z97PpbqcQaNyGM
auMjx8kx4pVdfWkoYHjrMZZrRQfDN23j1i6Snd4NkeNQfBDTQaTdzHliJw0JSpgdjINrzDd+FCmT
LvAPV38yCPrfTfYtfts1d8gOy00H9i0V3SfC4tNSLI/l4myBUuxrUT8q2v6d2ckSsjQi8tv92taH
39owNLt09Xa61Vhbd84YLy5pFclGTBvGovcFN1TYLGJdPRDp1hTVV3Np3WOjybeSSwughu9FqY4A
8DaHMch6ILNKhZL4sOWWzsJMAUbYhNjc3HYFGr6auYpW1EbEXMgrFxNkbI+NoKwfWqacwpoB4wTZ
r5SYz8QDF7V67Uu9QDVtFCOwwYSmqG3noCEpKZPWYdCIHwhElNk04dTY95aiomErwC6/aCAazSaI
ydzZWA/1Wy54AzOhCSVPl8Tyg2w7YvrxoFf29XZp2N2NLMhpoGnjOxXkAe/OtvAR5Clt3NiqPdjG
8lNf20O/9jfQAR0Vkatg5TsYd9V6b/Mmg27ue7d3wdnzxNtoTRXr+2Jr9BJs0WSfa2/Jtj54AKU8
9DUQ77qODffYHfjaktEG8zKoPLX+IkEusKKxfmuIzTVSADaqElyr2h/iaqNBg24/GfetLe6cvN83
YmVGY2gF37u8r3EzVaiX8WE+rXn32eipOBg3UbU9Mrqan1tp4MHG2hu2dfWrb/VDY9rvmH0Z0Vb1
Ua9hyVuX3AT9aojgNa+991U5zmbu13nfF1yZMG8Ay5QMVQlmM6fsODntp90MLxkny26ez9JXLicL
5/VqMFwuF0BR7tTeowS+VTx595hTLNnJjIJ4Zia35k4kTIsivKHavZ3KdcpvgDJ5Qxa6tq/EfOyc
5DkLUmBWFZVcw1eccktuTW3+1EtQFnVufmkLZ8mq1e9GrnlbiwZ105TusS48+9jOvaTiXPuwG5sX
oOghBplStU+TWxhbbYR6Vc9IDhwakEYMFNQKLaaCbJsB6ULcrIh/m+NqNt6HwHxZdJpNkvnfmRy/
1fr81Xi8m2u/2NqCiTWkjV0+VwejeFmHxAz9Ek2yNfE0Vmn72JSw2Qu3uxfc55NgYijXPXq1Vt+1
/i8vw+gwJacyqdsIP4AIC0W6OOO8UJsNMJraRFpiW1QQOSB0jxpNlh+Yr34ixW71kqeUQBC3uY5B
8Io3GpF/7YVups5TPS0Hqp3QV70dJ7eHHh2J4dX5luw/+KYGJ7mhT9tGX0oy0UhzIqMPDqyfxSN1
EaNKwlOk8nbOpO0Jllu2aoZuPFjitUdbGpdjFqYZB6vtdXhI2vwxU9z5iCKwd045hn0x/Kl1vGNE
pHuVtEJjhuOGpycMNPc9s6DoWjCmsrbejXC8YqMfnnyWp3AmwXC6YJIOmm4w7F4AN9NeGHUh9hbt
38ZiHUBFxblbzFRJXUX/tjwywyft0TE4XMtSAuId200r7D0ReqdF7RmNnR0xAsnwP5iVP+lYA1uH
9qkffjsjrGQt5Vd0DBr4VPRXaBSx9ALjACog6q31zsuZdRaL5YYVmTuTB9m16q13y++f4FumhTlG
4LqYxoPQtkt1rKv2BfXEVhucK6mpZ71iqZ1WH0OzavvUQE9An7zRbJviUVGUqJxuj/KTLtd4Fb38
oc23NP7e3AciOYuuvDOG0jt3gyguI+DGVLZ+uDCqiwjofSh4oqZyAEfRLTsaXRWZzTsSJG2T9jGk
k53NfW0n8go28SR+eV1PqGTgwXxmoZMM8xJh9ah2JWO61QZ97Xj0EkaXd1txi/manR+y0xS7g43n
ZTc+SxNarfHTEBwetsPEtJiv0B+sqDJv8NceGGDfMSqTjcOUtvkpmsXYo9V/7bw/dlli3bKKJiRh
ut04o1AnTfpPydr9suRSnUwaRri0iGgqzdmnyXInNR/njwkxFhN82cb6jGC6tNeT7XMU35wD0mC8
nQue/6HxgCyPx8wcoDsLZmgWM1xGt/RwkSn7n8Aln7vCjLpy4dwZ5p9mrY66zpFcYnVs1En61hUo
BndEc7r3Abpq7ZsbrKF3CxQMutEK61ncOgPU3EKUVC8pMU8l0Mxp4Qk02v5+quPc6Oe4NA+25rjs
hJy3VDHGaQZrbwjX3tdyIOlVGiX55EW9t2Qbr0Mem4V6pDADNq9bD00vvii0yGPkpMO9AGURvuC6
GnnoWuX93Lv6Qc3WL+MGprOgKSeFmiMoajiqZeUf6qndTg2jnFLlXQRzxNnQzREn4f6wAkfu52mN
PZYcJ3AtAFWZ+i80D9ySG+gYg1qOdU/xpY/NH3Z9se/q3rGlAyH308kiUH+LlSKow0an2eMZTMYU
ZR61UlUnL61dj7s2y2UsaW/jJuDwUW3+J+BnRm7an/WmWvYQxruxFBRooty660MWeoGrAVZOv0xd
9duawJpoaqfurLkOoCNZ/xxw2u+XQtqhx1Yv9A2ZcMR4vwY1ORE8SPyHnvNm8KbbFo1z6W24xszh
u7jxhns4Rq9LunwYIMz1EbCRpS+gVeXn0BA31JUB2I+pfh7G4fdiosOzcCvu+Tfb2fbEdnJUve0X
Z7zmtn3Faedt5CSKXZmLvce1fxRl+4afjVBrx+Gf1wRDpe0Y9wVjF5EwAmoX2mLZ85UdiHblUKc7
SDJdjE6ljbOUVadO5MRW6wt1A3xmbLFOdQKEthCcdCwv7HEd4jyo/dh0lB9bHZZtN32Q4pZlW7oX
xD0K5n05bWwTsLQGwjtOz99/OrfW3WQtwwEzVX4e6yth5xCkykBFbBz2ZgEEJg1u5OXgDfSLZBvX
f6Bf3WXsbbdWUT5nYqYqFmbYtwGWTgiMsa2SK4kI686C9LfhwOy3es8OFtNB5OtMGzs7Z5XKFnZL
AHkSzbiVZNv9ALeiRayvjfj7ARb1ALY3ArLw3GTNqUu0t5El+y5tcUqMw12di3EvEgyVqEHmKIdu
p0Ta79rSfMmTAfmQkfpi3zn9FYiJtad/uscyHI5NuWMMnW7r1c7wnRX9IcjIkWqYP/g+Y0Kl8Sqt
dveWidzat3Um4lQ/Lavk+K92lug+qi6w6BXEl2j085Dob6OH/5Rw0SfpDMl2mS13Qy1GM1eLl6kq
662ddz+qvvph2zTQrSH02JzIV2DxG2Af3lpG0e8NADQ0Ac+sDxn1GvljwDhzYYQATtfKt77fhI10
2dE13B8xLG9BYOFHnfNsl6vHUpKt1vTMjiSrmb1sepYXufkHDs/OmkE44c1uI70q4xyc4zEwig+b
uF1L0qe0huQmoGtnWpA3MFWgsnEw+9ZtkCX8X02V1FgFyx+5WljMpO27X+AHdSebXl8kkdLnS+bl
4qGZ0fOW5UHry0PpF69riqEXy6kTgiXSbVm89zbo4LYgnhc4o9hSUbu7GSbQLk2eWZ8MMQb3qO3N
H5XsA5oGqJizW4FoZ+nLiqYdtqVvhUFLca+CPzUl7U4kE9PjHhK3NpTg2bWV5bw2XWdih7bZhBVN
KH052Fb7OS7QXF3PeqbJbrdkD59JC/6dVIFzsHM2I5IJbLPQD5YjbnpbOyaucUlc89N00VD2vopE
wqTcKg7KmtYtl9gblnxxB7o031RTscRl/ZRI7Ym0sgNBv/puSrm3te5hTUagub7lH8qqNSKe4q9U
ZpQfMKv3WTvsdLf2tgv20JJFJ+Z0Mn7W+TLopFDMWNu2KNceJ95Vq+b87mrjsky3JrIG1VTQbRag
49NmDvZ5S9aRL4t9b3T7alA/IJIys23cy8CQYFSzOo0lwHbFGMtJ+nET5FqxnVvt1LDcROCQENpb
UgvKG2xEnzLjpTHs0CleZeGWRxbuNJFr79xlvtwZdfLornp7SadkYt+0XkZqWjirNwrddCdc6zNL
ylfHbz7QEJuR1MWbh3F/VQEQc8/fkQsdzM68r0bGMuVtRNDLz8KxcSOxzN8YfVsdsokRsLKIaXAE
b67HUteXu6k9ZV6DSE4jvBiT4a72syHsMsmQuhTuJieaZlMZ2bPqqMgTD62M691waOZ6kowqCN89
lH03ndDrHObccELPqn93up3uiQkONmoSLx6D5ms1USk0Qemy9Ifm1YzDW3LD6bUDq3AjqLzj2DMp
kkbskgLQBnDi/Ql5jHaz/M4e5Unm0+baVqXDwM4+DXv43WdyxmpFU7HO9sl3s+S4jtOl1d2DJ0eg
nqrG5Uxy8ixQC1my+NK8jr5Ze4UImjwQG6BtKnc95QqFQd5hs+yIZW7x7PNWtdnvNPwSPmuPylH7
5FeFmNSfe8aLIzdcm0tuAwGNG1LWcWx7xosRTDuAecDtJ1lsW/ZQWznYfsgSHmG29g4omdHycCxq
gKd9yZo6MzpGM+0u4BQPB/bet7KIF+e10wJ2F7mutkNnzHtM/fiwgbIDRAH4HLBHcZOM69qSd4D1
ptju6HN6kxAgwURwaUlpcIb84hOywGbPZNtfGYYXuZ15vU3NjaX32YgikM/pGXo1MAHJmE0Q0LBx
9XI6BEL73Zv+3vZ6wiTq3GIBwKQ1qW2uK+fRHjy671GjwMIeaZSTiMuppavluPCCLmS6+Ft3/TGC
ToEIgX5Z62gDaNMxKGvocoyd0+k/ZyFiytAfk2n/gi/GBCa31a6xC3+nG8N7Dk+Mm0h7gqT305vG
/KRnSbsJAMYCis71TWlJFIJufgQabcVz7jEknCU3NRFsFjM5gFu+ZpWnhwzMHn3FdVmX8wtJWiKs
auXTwOK2bbRL4qmK+1P7pUGTx8sMbdUvmAoDV1/0J2VxxbtMkDdu3fzK0hIHmkh/Tbq4H+eJnHWG
THadQ1lePDrxwajbnaq5eOrylAlSBKy0CrbI2fbN4Ah+VkI2srbfLS7DHmtCPjXafRrVt2FQkTEk
vD3U7eBhTxavNQ1tSmVT9topz+qKMfDkb90OGF3njZd+jQ0a1Au4vAVBWU1yJN7flYLtMs9ruhtv
NkTJ/ljTLRITPK2ItK6LSJ2YzkOpyZ1Mgcu77R/RJWucJmWY5XoQc/8mZ0JjbVOs8sHVC2tr5v5j
CTbslK3ySnbfRHz8cEocpkncpsLFqB97Ty5IdTxz2zt181o0983ZDdCSMaDLIs0Z7+12BBcwGEeX
J9foXSzsY7ii3AtbOZZx2qpfeu5vssX/Iq9v3JgSDnOe/2YIT+q9y3qiHutNyZl1LQx7b1bo82Zu
cDj4ks3Q3QMDz6KxcFkntQzmip+zNr+YI/kj3NWLnZZrXxh782teUh2ubbdDnKRt1z/LYEZ2AbYt
VfUplxlX7m0fnOliPTh2Jx+X24h5CHqG+dD9TpnU1aGXU7SUphuZvf6TDU4desKkHzGQ57lDt1NZ
qtOYAXEfyPPIoIXw5ATNuRnmJgIECay7T8ii95PDhC5lm/ftl5OJ5zrjAA8SNgIeznXa8ha1FVv3
yia+gxCQpaE2T0dx37NFW9ubiDHjjTct8i0YCuehk33M71/teO1YZrbzw5J43PkQPjKL85AAqsyi
d1iJiS8yJgrBZD3PRSIPVjcePNv5mPxSOw0k95++P3LsieWcblefAHyTI1KuVlKnmctTYZfB3uv/
TGgtYlNjXzB7I8tZwulZmNBAm3rhH/2sfXcG8k37dMz24Di782o47RlrcnvI1XqnS4/V7UifUjRs
g2Avr2yK7nCfeRuv8OQR8HqzSe35a07M4gNQKXN6y3hkMoBxUkGqz1bXfpqG8soRkwEbnMeYWi/K
sYyfRdGxVacgn8cCiLA5zPeBu2VCOe/L0WOfMIp4GVFUWUkr35xJ76MbPBWhZUF4e+0TGF0wqmn+
JLr3a23y5mTn1hXBhjgtcMo2TptZ7xSdS8TtSR7SWTffhQdqYG6mZ6cYHBRi3q9SsHxtq+JI49Pi
xmcd0rlIp5on6KX6U3HbjpEltNWuQp9kmGfNqzYzQbgRWefBe/UalNDZapxNixGVtoP1ZO0LOU07
4nW8k/802wxuvTk7zF6bbzCuaDtbX0wOuGoFG9Gfu0J8amZzJWPgMjTuQ8DWKEp9k2+c+/e00ulJ
enN6yqsJWzMC3MhYK6ywvVzQCSTVvbCb6j4b1+reJGUlRuz0VNw++/4jA8k4EhyXznImT2dymf07
Nijp1oprOsBhcppomYrfrKOZti03cZaOY2ztFjcWOvUQseiYJnq7DmnqYvREKERMcuCU5S60Tyib
LDIVitF8UIshX/KRNm5SWbBLslKw3SzcV9Wk92WbtTHtgWRwj/RUMRu4uKyRN8EMSMzxphAsE8ao
AUmS02TGJU2K8dCNGvuUYaAF4HBJdG6Hhj3qoVrc3eDIJVonD8tKYt55nJaLPZd7JJL5JffHj7qY
mmeLQyADgLgrtK6OxfCn6s3uJPKLahg9orsWW578+WQWAyKgDN//CqY31fM+rhz9UTP5cRrferW6
QyI5RzvbhCfiZPveZ1jbmIBIcnboG2cy0qN9w5zMqVFeBmgTA5JuTr91O2sW0x1PTTtkvE9jcXJG
JrqW4GiyGpYY+WCFHkfdFOSYfArrR+mkB80URzTVm0IhfwDmtsZ1exla/80Isrc8p4VteD/NdQP+
N7exVISrF81FMceeBTwLBYu1ayciq5XONm7+wSw4bDtou8PCdSq4FTCL8bdNSfcNuIPSRXVxHRAv
1PltlJYacTLHYKYd0bq+iXp9Hg5LMH/USn6ieGxpD8S5N9N3PejqIzJ1FWvlrTd35CX1JnnRZr+H
PqKXIXekKB0QDaZiRpvleWmUpTY+I6bdtfk+W6LYW0sWRGwY/vQIXBZ0sBvdv+VoK+uu9hTKGSS8
pCldTIY29Lo6ItGfWjK4UdchxPUIPlcl/ZpIVlyXJGQZYqEITcnDRpmD2Gdeb/6XJXsJdEWeyNCc
EqPYYs+hspe8XrKjEHbsYlf3Q5SNFbJlIrynRG3twjq5CeM/NZtXwr8KXisbTkimnlLB4Sy3LpLD
zZINe7ygFy2DJZMs5pXsnvs0DbYkBCJhchKUav6ylZP3Osry2E+jBh83StOBtfTFFvIhaIs3H73m
tufNFTxmDvMFXSNUSsieMMzp1NomQTX0lSjnnmZWfpYuHnNlXaDmCopQxmcWghVy3vylviCvJFKE
oB1P9Bjaq5615migPjS3BgDk0OjEY9ewWNbR+TL03GaNf2lM/2NhIhdqE41zLV/nNH935vvBewkq
tw9T1Nzx4Jaf3pRFlPZh01GsgVbXNnXO5EorOwpTriWdrQWXBwPo9msMEoZVTAZcZy5CqyxfWUqk
e5ByUS4nEG9yPQdB91Tm9HoyGU9el3SR78EUnzkuJxOlLiRvss7empRtej46yNV6DU4Uwo+I1X63
IUuMuJnFdTeJ1hZhkOaHNVXvUzfJXeMwHaqdamPmtjwFSiMx00AwvY77Tu5V4QT3KFU5lDqDe3gu
VqZfjo+IVsGCnblhV/N49/3gOfAUG8t6dbih/v2PKplrm3VcfVSejXfJg2U+Bam5/f5sCBbv8v2R
yIJ/fAREPQ8RIzPTWRjYO20z7m/AO29bFXUoTd87F15i3ZV2ipJ84v3pmutdJdx5R1YVq/Dbp389
ZN14Z2dmGgdFp2/WlBQisYjmzvYHdoVtS+agdKzL98OE+t0rGWmPLqMvp3e8h8RY86vDme5m66PG
ofjA3c08rGaCg5McFG49HEm5haSXgVuVO2R6BJV9yceJCWD+1qilfxiWlFZfVMfJ17s4EL8gX9ZX
ZMNRVojIATR7WYO5/SFk8dyty3jXfntENNc6Tl59l5lquHfNf3hw/0duoueG8Vn1rwahf/YH/ft/
z3C0/2ruPqqv4V+/1P9Cr9ENJvn/8BrJrP76+Leokx9j02cf5dc/G49u//cfxiPQd9/8Mt2FokdK
O3/zd+OR8zfWKCYIQ4c4WA/06F++I+tvhHqb3DWxw918sgEOvH/4jjTjb+BqwTvecnP5wmgu/yfG
I+LbsYr+Za/0COjjWzsGQhHTD/gh+fn+2UraealknbMwyvTP1WAUO8xQGgl49SM1jc06sA1ZA/rN
kG6mCQ9ycUac0f5wxjme9PFJVrp3mFKBYChoUTs2bTiJHK77dWAWyHYE9eAye8FRBqLZtIWtNh0t
7h4Nb8Vq4tgAvj9zDwkiZ4A81tvNsavLP2QL2nFh4T7szYU8OTkfiD6rdoafO48mqy0yc66a2TNH
NL2dr5SxYy2NbZ9beJ506mS3xh6jS7FHXlpsqdfufSuxHucqUZvMxB9UG6gM+oqYPkTCAYGIhksu
HPqwXTmLTePqkTAGkwbDqvfZSok2iiqqideLFiPo9uYgIqNs8DX0VP0mBDQWP6FGUxmnaKcZBIRr
Qz9vsnM8IjgcyupLUzVieek93khb9S0EOLt9i0kQY6ZLPeTH4u5ZWQ0BfKmiqTONjVWipKwWue5L
o3lAaPHa2pPYty0pdkuZqY1lLHWkDeSX2K5Rn2d7fPGUfDNdxiIe/+dkYn8Wfi4OaMLTg+1pF9XZ
O5wlDFXAzrMVev7+aiBaXVku+8RZKxR+2JAwgSKsrxJG+0VXxLnPnDZPU268LbAQnPA9b3kKarR8
gHLdfLjvDZO3TvFnot7AwDG+uEpfGcPoxE3dnifNTT51jTGIedP3VCk+IwSR9H6PPey9d7t/WIvA
JkSS1Hy7PJeJb921XXB12UGcJpMCj4zWKiwmzvRqfa6d4cVcJVIX8VTNtf/QB1EfCJ/m1flZ4OkL
VVdyfOdFuu3M1j74/oJ338HFmi3msg1ajCl0s81WlvbZzw0k/02hR5U7kSFXIwUB6P4zt9I6qoT6
gnO3XrWlPbRoV5h5OMMtfz9j4widBFPAMfBfzb43/38BRTeP73+6RHnlCEDwSCE2ME7p/+KAXhn3
15JYou8fN/N6sR91/5UNuv8w0G0ftcKPJ7DrSEXm8cXqmNil+ZTt/+l8u/79+/1bLSusg/U4/N//
43j/OYyBowIfMmRPQBcOsJT/Qtv1yXBrMDOESTueC6f5BNrAEn8eH1WSv4rURPknqbOMjmloK8xI
zQbJ1BPbFIG7rZ3n92/dsFbqv5Y1+8yd5sCoEtwLN1lmjNnjLU+3pHYYGjN2y+y+oeJ1q7vOnJtY
a90mDm4Po44LHEnBvV3hQJmF/ZW6st25gogj5oVR0XivKB82rWmVsUTiE5Z2W4W4/fq4NxRr7dtD
qQ2oc5Piq/AYkKqeYUXpE1y7SY2Av+2qIf7+aChKtfeH6jQ3yweJ0E/CYy3LurCJrdKv8dvw0V+f
qtXL4/n++0/r0aL2/P7w+59ODDm5VNuf7fdffP+ZherjtqfLVTaieJIuLrVs11R+frB6rYvl7af+
/uivT01rZJ+RBXs/DFYGa7rzoPsFnwii9cQw/5o7ZDKlMWr7pazjYFQ9Fy4d4aZM6BcmuOMNuDtr
HAmhL+S6rUTRbhJ/gRJMcivJtc9FN/Nqpj28llYdglx0sT3ZbWx4Uxv/9Wk539mEzh48Dx0pMyIU
/beH748CnIFKm8WxTB09zmqWflnj8i4GThTWizXEdp2O8fdHfz0QdhqZbcV6usi/6okMHt+XAApv
D00QPOSFWe7b3jv9B3vnsVy3taXhd+k5biHsjTDoycmJh5miNEFJlIQcN/LT9wfIVdei3WbdHrcH
LkuWSBBnh7X+9QezJ3vThsXHpMt+JV0w2nllztTYyTwdJobnbPuu+5pro9rCRUPqh/yGqEJS305j
VdGfq1BAbEeKmduxsekEaELcvxaBLjCTbaZTU+Jf6kfgroS1WQzY0bfy2zgFTSe0LHSdxngRqO9W
WsREN5zg2noFwrpA61h8YX+s/BK6fG5G4iQ99RplHBZ2nPys6xSpGT9ROb8GWXswYpdf7wLC/vie
9FR+zgmsUvc8Oqm9R2Vk7H0j49MsoAi4U05kGwOI9mdqy/LojPV+kJGLOrWFhdRpK0va4bUxP0OG
uMATATNzAxb38p/DvKa8uoJAO2oWuABD7iZ0/hh3G7S0rCgRBu1xGdWOGlbBmvkl1ouQdTSv9+Vf
vWr++K9UGsMmEzYEs3lL/Pt/BGnD7JFR6aZPHX8baOLF596HMChPwuj9TTwhgw+mtjTWPcLhTAx4
G8wQQzd/Tl6g8ZEtvxYMgLyZVOQN3FO0vSeqk/Tg2/7ecmaBY2mv+iLyt8qH4Dx/BU2FfrISCMoO
KjW3c1OE1ld7Ga0fXu7DNve4wSCPXQcwzMpZuVP9qWeeJMZu54YvWf9op94zgx7tnDYPCXExUxJ9
mVwHomFsP4EbrNDqchLFOZbw7O2NnqtsjTvpoa10i7Gkw1xU50BBVLOKRwxGEYyKCN+ouPkWCnoz
M0kYC0xM9cGEmkM2ENaqEpieXQmTmTHcyoCQucYKy9gbQSaZSvB70E/9jeC2c5tN5ibmKnCHaxBp
j76ZBZtCuMdAVxskISxYwbRa2nynKlYATNOz37p7z5necqRkiYoSCEj9nRcJc+Nk0IpIiF07bX6b
xRkTW3s69p1WbKG/IVBYubD5HkYCPAH9Odk1i5EOnNTPqAGTPSXUZJXkZwwdPLRgoDKyW1y/Jzjd
8XxRUumkhufc22fmwqT4ZpY8hUZymAwlrk7D+McZ1an1ZLRa6hGF2HmvBem4BjGU29zOml2e1fj/
k3e49VfDVFNQBAgaMCi8WOhmCR+VZ/DFFSJgOPhRfaHyG0PjxpxGeuRAg40QwuWsv5iKUeLkmOOh
xmN7JR2t/NwzCh/ijhGtqO6ZwEVY3WZvvYkfdFqBo4fAYmdvQqmSRvth0p41lXe7qS6+L4/Lj2ac
VQVCloef3Sj2eBJ7Y0xmcUzD4DmnQMDMFRvFysvBVBCjrOoqb85g3fExaA6GKF2ALZjCTatNG8dI
OcCEAnsgX3qTMY3qvFKeNWowLaqzAxz1z36WOzdBlnxB4pYhgwSN7wqZb6yss1+hjsDZwCY4vKqW
hDEfL/N9MkPspEvw4yBt2M+C0SpLk0ueeY9IGuONgafAxg+ydKNQf5/YLFqBe3tTqGRjNjDPXUOL
PtmvSDf3We2DFqMN3zZhPWH1PFMI7T7aIwKbAX/zvLyr5bf0VGKk3jU/RfjVtkzWUdA4hyi+pGqI
z/AUEWS66yArrHMMHgSfvWpPdRrey7A/QDUBnexzvMGk4Ryw4y+2HXe/wfqss+GTAdVssD4RPNcc
gvZTBaKMnEd/85HpJS6zq8KS5z6hjFPnwIusezDItYXb92mYf9MVmXma9cn+VPabBBnFXnPrp6Xu
izTgtUo3zWOl8ZHZtfvJ5XFuwvoLIDoydXmQXjodkqB6k+KRJwvvQNzbqTF47fWdzjzgFozzuZQm
vJzYrjal2a+GAYZ/acCIGz45RHhtwmCkKWqfSafqKFORw4rC+ixCnyCWkRZAdfaNLgZwOHEjh7I6
jPSPK0cT3N4ohC7TUG8dhYmdH0gm4Zqj7Q5VkEFmxobpyYnPRRPb4JF2si0hI7k1CMTUQ3xEVfyt
hQa2a7lUjj0s1zSG44NpOsYTQ7zHdddbQ074CaxHZFsY7UK0tRvFFkL9C4VF++5xLCd90l/1xt2y
WeuTnTg/UqUuqmpOFSzqf65E3zvGoVhHAWbouik5213HeWdQk1iDYLz1XUlN3Ujjp2QOthPRTah0
ee66u6h0W1wnoisDVXtbOMVPvSjxLw2/9sSf4hGM8aXWmnBD9dc4suQmsZhXhNQIVR3gclHk2MHQ
fixP/f84ytNY/vjv/3or2rypx4cfQVTkf8ZCHNqZ/x1H2dYR/jNf3/+FX+CJsP5lWMI2XdOb/YqF
BUTyCzyx7H/xK4coHU+QDUW+7b9NW9x/YcFl266NMZQBG/nfpi2G+S/cgDHi4Q/goWe51n+CnSyG
T3/uy0zPFvABTbxyTQfA4R10gsjdYrLTScINQTy6JDAvI4ySEJLAvnIs5557jpnMCLs/776nnDfQ
JJHljXbE/HQ+l4Ye1bILJ27EG+AkJwURwtu3nJi473rqiLThOZ3bTzMbSo714k7m6j/bTbO/DXY4
ZBeCoOvkTy6JUn8yE6u55vrKpn6SfjLeokNbVfYOL8jiKNR8rcxQQ6jyntNc3yeqMK5xVe7rNJnW
tEoQzCIJa9oDXO6LI5ond5WOjnP0qu/LkStshrKkSqDXM4uPmlLjfU86PzyvEvKoQ8NqyndHgde4
g2faGsKDUTeuDim8u9iLvyzlhsBbRdDZ5BZQ9UhvuxO9+rpcR11mH6AC5B94Ilrzt3u3JFzd0WEP
k7cM0/adMVuIGw3lHI3F0oUPeXnoO3885Zrx5iAbdA20pBYsjkoxT2GEc5/iPmBkNv+qlMaxRD3m
qMdxhJ1MVXLtZZdtlsPKx1qKwjKAmjIymu8i6qlyiILDoM/HVZDpW2rnqS2u0Zjpp8DML53UvDOT
pA8WzDuf0GXBuOw8MEh47J7z3tK2yQMVWwlUOCebqnPvd1/K0GvXkaP9nPQeEmdKO157EwSRAtMr
p3mQwwQkMHTmA9TOTb2AFn2g1n1SffvT6fE3KIXxu+Xfr4cjAJTVQOqOoS85P39azU5d440zQFgW
ZRpvdA0x8vyqlgWRRFZDVku5txWKYy++bbsPw82Mv1kCHnbdTDqMJQ70nVUns6DQN0VP/Iq0L8jW
3A1l8bp0w3xrl4ARRQUGFSvaIDhg6a8Pt0N3uLUw+f/gZfzu5La8DLBdPis5Z39zXP0O7pKuU8KR
YdoxClueTSYjaEUQUzLcQp1+gMRUHONsdNaVl0LbLcuNjuX/btnyzCz9Hbr/D2Ckv9mxAEjCxREN
PMsiUPr3Zyprrl5AUXwinCnddwzi89CABqh9zXQMKoKSWs2N/HObiJhChsSQoZlCOBDBoc4Nufvg
FS3f7/ct6xiu4AiUYO48EnfMnwFw+ji4zj1cm8Bp+q1DYE8NJwZi59Bf61ulyJgRPGCJP9K68etg
zYFantPKKndsZ/qQuYSsrSzak8cFYMzQfhWlSch4v99Hvu/sxioVOyhEX6qA2m0kujoptKM1Vuue
uIQT4kpEXclUHOFtFUfThKZGrC5srxPtiHs/jDWI8ATTiIndRvMhGDCWlefBseFP9BnP6yNuxJpg
D3X1kz6SHFR0UH4tcTZUuSpmVHBZetUUGzTDSUTsCORgDLwZ36oHkUK9jBDt9NEhz2L9vDQ0vZ7A
BYWAtPYLmCoeYnQ0ghqG4Yn4VeaPYX3V5c+pqGj2ItvbS/fqWONbbtTy3ObVFkEvVptFTEJbYh+b
NA22BtlNx3GMPllOSaNQMNsKU8hVAwITDWYN2jMgkyR232yfV7psW0tMkIhcLFZC+suEYKvRok/F
BYeIs5LQHIxbzB2mV3aHy0rVVFxDiiI7zsU5CTN0emb5xSk8a9dI5nFpjjHTf5q+Oe81h0hWaVMM
IKgkrvL3dRRNoJYZurhfN1Ffq4vmm0Qspnaxb1Ny+gw324a9c5KjjjYF7RFRf9l6HOz7DuL1B8v6
/VhneRoIS56OzzrGdu9OITw9aJo7uEP20GM92LsPfAQ/44zmYJjw9mK8hDiL/VYoXvMYkuaH7m7d
PrUrIYr8CGMNemJqux/uN17Du+1m6nLe+6alS9OVv78mzy8sIJIRvVjiuMcYbUph9eZ6GRTBD/hi
+AT+eHa21aNmJ8e8OP7zm5mPl/ffn/PZ9aTjUUIux9Of7odG07tfBcPS3vmBeZbIc3dJENOQZcle
GrGxdruaQca8Qv/5m//d4WdZ3EymMOf+5f20LcyCCDYeh81goLyZ6plgZfs/xeiRN5Ab0GLhPrQC
aiv5ZM6urJwXAtD1uPtWxGb8QbUCeP/Xl2F5uCrrFC18Hu8bKQ+ynjZWmHst5Upk2bgyzHOapPa/
NWE67MwQblxvdSiphxxAPvs2gV8tu7KblaI+ePwygyC34aoRjrGtJJfMUhAHvboUJg7qReE1V4Xi
J8Fj7LAMgqyB2MLe18Rh+VptRyCpYeF13orSuySFL88AhvAHCy7FSAu9balZs3TSQ348huPaGSd7
veA2Lqj3HuOvl4hDD/1wdufBfEWE4Y0bhP7rmrJ364b4CXRhCJs8R4lHc4BkiWrqAj0EEG18yjzk
BF2e7B1dn87LQWy3qI58AhjJGENubUcZUKkbkC9TjKcW1V1XWMEpceS+6YLoRgXeTQ0EuW2cyEZg
cHazMrxfnjhRkoKogo3kcxcPflV+DkISjnL9k0kpde93Cm40AXBdhQKlHVoy6qwQYh43y+QDq1aE
8K70YHoZlMf1ERywPSvwAQENrFlnl8ge18tlrplA03F1CLIdronGNdIhzcWQ/+xKrTvjidoTmENM
QC0ymu13+o2NYm/r+haw+lzpE/atX4fF602EYfM8RMjtDCTHVlMTPDp/0WWK5s6zs8bXHg09L9YR
PPW4aJrngm+DEmTLLDPcDSGJB1Vt7YmQfghiRdiCE1+KVhlXv0lfioimxh7EdSI/CPeS6aYQNp7X
uYf6kEsHikQ74AqIPV+bIlDRhpzwwgq6VWnGX0Akz6YeYAvC9b0KS9K8VJuj2E6qiYs6qHBpVM9T
Hrc3Rf99WeAFDrvbSftRmvm47/0036YYWZ4SN76UkeGBAUHgssDst2bTvuhOXVzbnLKjMo3rBwfB
X6tERyCrdbCGFRYtzLtGIR18EC5lwolPJn0W3UEW05jlyczmc2qw1arhBkPM3vRMnn/hFYw+LSIU
pfHRmfx+wMhlgQjZZbbo0MgK591l4bUmdl3TTOoGTkLQm9+2yFIOAQMiSE6ZCYl53nfznVqUtgPZ
tv26zH7/Dy+FfFx87mncnb80czp+FS2MGOT48wyzNhvud9K8XCPeIPRdldkATb8Mxj3t2/3SFU0w
sGwN+egHT/I31ydXJ/UpF/rc2r8rCqupGepqwOmHSTR9FpY+W4a/w3ppxgEF4LmSCuEPE15imTsd
AkIbey0cMX4DaW1kfcXfcl/lo9zV+eaDh/vr2gH9glBN+0V+BXjG71eoyGTQtxNRj0vpmadTtF8+
INw3cKtwMb5CV0AlVbMDsXhbPjc9nA2GeJn//Czzyvj9NgWV0aWQ5OMK17XerRwrjBt/zHmUYhxc
jBcYSgawn/Z1l1or1GUmXlW8wH/+psZfry3QIAeAB0rgjOPMoMCf7nCnsRrLCxss46oxOWgEIt5Q
4pek2WXWTkj3QZfO94WXYHv62xwfB2e94Uav/GucogAsevHRkP6vK8bjRYAs6bPXM2mdvz9TJYe4
HEi7Xpn9l8HKJFZrLQR6bqkE9UQdedaxiEwI4jGpsgqb1rL/7rcjdnugzpugQg/Qo7RbjtV/fl1/
A0p4glqe6IIZ4/kLwDNUulf3GcGd1gAmGw9Qe/QjYQQZ4IAjN72DVUI0tuZWH7wbQCiMHOetLsDb
G32qcJHqCN/N4m8OpKht4WNKYQziktpw/drZtAalkI+9Rl+S4GZqBDA+uo0XvToBuR1xE+EHmWer
PEmzw8igYsWYpgA7zj9aFvPH/vti5Of0+AeCggs94d2yCFlqtIsunoTwU5iffHcy6AiAFPKsl0yL
Sx9WjWozlAqyt9ZZIl9QdxG57ZM0CO31g73xt++dqgokcoYJASp/XxLQ11uBMoz33mHlHM6DwXkz
FB1DpinySdTMjJeJJmwKQu6lcjrC1GrXsLZNOryJeVnYzNmyuFDMtRSmq/mhNsJ9P2HHkjL2LXxX
PyMTOI+1c2v5IHOoF/AR0A5FkLxiZvCt0bDqWXZC60tgOJQrHxyVf62nQQ5t5OML2AIj7fcf0jYa
hXueA0V7pgzZjvMk8npPgE65TZoAmhW9YDbF3XHU5dM/L+z5EH73eSNqpnu3wXtBgt993oXn1H4c
JeBQ89DJmxfn0kYs39NB/LHR7QjyM5Xr/p+/87uI5RnbYYdDMrMcpE0WUNjvP7Xf5nRdqPHh5jYg
BwO8aT9DG5dFP/yZCbS023pCY4ONobmOsX44ppVxX8aS/Kv5dhvDDk86Z/K2uMR+dTtoBljCOR88
qPn+rgCEMjHdxKHcszk07Xdr0IASoXxLgLZUqFojy1H7GrbAPF2W+2kc1E2jDH2Vj5Rsy2PhqEri
bxqefXVbmjjU9s6Inm+49UEfbmuZPJbOCOPX1aMtzPB9suFlfVQewSl6j+NZhvTo4nWbc56r7j1M
pEaskN06we7FNCHeKZI1IUPUfq6oUjptZ9XYI0ME240vSavlF1x89kPPeIqpKyYV5MVNroE2Kycx
Ux+1NfcDfGQ9firMirAxryYcVMlHYdRn0dqYSuqFu5lr9CTBLFBlpAH4jBH9CV8uCJGlP91KFxNh
T373Bz7vJgx/VDV3iYeCKYvH53b2W3Kl89RRpKXUxKM7HGvYQns1DM/YocMOr8OfQY/v+agepFmS
H95/Bty5GbUA6UIuSd5MY3WT4QqhVHdUXSWPNfYjqamI+7PEZWgxBLFdHAXtGgxlghjA1+rkuu2b
zwEnhjBONRXlBh6mu+tkMjyOfflVH6PxYk+if+w6eJGBH2uwHsWDAiM9yMbCWLm5JaW2vIwp6kK3
pjIubLUfqyjaVhwZCXL62xh71bdyJtazt9bIFsVdS3lMZq/zEDjwkBZ8MbHR8VjF1ZhNd5GnbMfQ
Rufp1ec40d5QeuA4iggRu1iwmjLJiQu1Ku+Ikgp/7KZERhS36I+q52XcvdQ1hSz4Mk7w+AsNSkL3
fq8VLRrkpv2B7fLLsuvNOIcICbJLtOdws/xF5ojQTyr92SxIDO8cz9oXBetkMm0cZfXvRWW5p4xV
torr7GcTd8+RjSipn8c54AfJoan8i5A4Www6nNU0jLqNSul0Mu1CUFYCexHEL8NzgZTjdjf5zB/x
nyF5Mkz1g+lepBMWWyRu6ev8mGhvIBIWAZJpe7bZmn8poppmMelRSFLGKYX10ZTJbo8WEc/7PpYY
xXeMCqzHhU/JcFdsSSw0N4FkpBmgksH4q2tPTd/csI/Rtnef8O12uQOTXVdP/jUQJlTd6a30w/qi
BRhTBQb2JX6oP9L/18fOC3ZLJzngFY2UxzxYasjvlxNseeGQlNOVwI9uO8bd3tPy4bxAI7DYrnLs
0JvE3LnYFzaz8JS2FB4Mmcl0nSWe9MfRRxaUT4yOm0vtQpMJDet5cu45pfXDAB67LUwWUd8G5LFn
2Y5ma1oJ3xjOxjDtqjgERZj/VRkt7APMovfpXKLUqnV3BVxDKD5NuItI9sDmGE6TW2YBUbNoQTPN
vBJcG8Je0MPLgBiMCjCB5FE628Sb/C1GeAM8B/RKq1FZ7XEwvyHDwVzHM+RLwKQuKIf11LfRj7Dz
zgGWSWKw1L2bR9klrZI3kSH6BLu5Yizw2UbLt05H/97zQFAi/W6woFIM9tmILAOmA4TMvB5tZGfW
7VKNYr1Xr1MQslXbYOa6/AkMMj9HKUZIdPUQp3VWkRdYz6YOGscYg2R0TAbI7+1s9J9afS0q1jcg
vjKrEY/E9Dtu6dRqAZVXYRfgZ2aOnWq2x/2unNtuC2cXbGmUQIWeVCSiE0OfKPx7/Dq+ED+/xSeN
qMQQ37MeByU7f80L7tZmqr7iNAXzVgyHZZtPzngEyg12fJk36eoNlAfcXjXH3jiCcF49zd/y2ie8
QMdEbvlpbJz5ziHRkOg8LGJlmmTa60DB+2XVtKOxrvPeQJUOgwWfMoXjmLxByhse1KDWqe6IPdfP
54zs+P3o6qDEpeft4CzvfWHf+W54jCI9fuhE8aKQkm/LovpphvBdlrNgEOl6klj8GCamMDGsbpei
dPlfmL/oe6Tt4bpnM2ySLn5x/Lo6WnWkbxytr8CLsDlXKDPXWTahd3fSYgeKYlJ5nPqmjq7uuIfm
ld8EYXjTGwY5l76JiR7PHRuTf8SsGqrzre3U4rZAi4Rgbdrh5gLxCQtTLtTsbA9HmgXS7lToXNxR
nE0v6u40edvikXEp9GFaF7qatsWYZleEor9+Fee6ugtFBE+bKJBe5niMlgc9GYeNmNoeiZfPXrIh
xpc164k5LyOBRxSCSO67rKUJSftdYKNUyuVESMUwTlsj0FhCQ0Jn/SOqvORCJjuHhowK3NvRc+ND
vTOjatphDjYdRSXSPTaZ6T5qi2kdtXQHVZIU2Nw4Oy2yAjIqEOVjM5ytM9RvF+G2X8Bt1kVeRo8I
HDlb4kzQ7fsYv6BCwyanuFgTuFs2pt45cl/wCKaJkukpTKi4pjhR6zKGrR8Fp6YdtuYgoIzHlXEl
pw0trOHelWlWyHWYZdo2wL6RV9CPN1b+2i2csZGjNegZ00wVbGjl5+flnJsnD0d0qGydsD2O+D1s
hmlst6rBIcTqMM4r8QgzLHeHo9cBrzF5WJrbykjQwMb9ZtSQL9VWn6GsL6eL5et3hsG2TyVeN96c
XJ4qZNcxIUBGCZkGWrK5XorVKipusNHoT+jLwIAHpO91h9Aa3ipGuNO9PiHaFvB+n1H5PgZ+axwD
EyVDz94aRage8VElm5EuA37At8l67qZha8Vl+zQRbINDgIcjpVOiyLTwbYiCUmxsPP4NbaQ/ksDO
Q1OiUmo0c9c68sdy9gc17EADfuxj4BoAq5+Z0JVNK07TfE8UEUYCnZH8XHaQ8sNZrDczA/hifXxe
voLgGoL//y1FOLZFme4+0szjMa2/6Uorn7Q4Ny+hIbO7tt8t5UBdGQYbTg9PmjZHvmjyLP2YZ3XD
bT2PdSIq12QK1K3BBTyQLbMgIMvof3mO3qGZGmBz1cENkpUCJoNKjoVufPJV84dWo+vck0yFtu7S
AkO1AR/B+bQs5ZZuQQJWD8aqCyzOekW+MpCi3IU6j8Apa3Qan3KVkaRjjztgLO8QlRoG3rOsIC1s
RFpBj+7ju13rzj2clhLH2/rbhH0xnjBeu40H4PTMVvnOn6ILI8XkYMQuPrRzlxTQnDH+xK98gcgT
3tFBlg3pk3F7B/UOyRjUxFU1jNrVtOqrnB7qmfe3vGtzJizmuKOsWgh128rpvE3T9wTNUsssxcSI
IH2dKgvfB2oR7goGe+50XP7AFJt4MlOLJTG01mqQ06+vGpTxy9AK59fnGWJadaYMvdZhNxws2v+5
RN0D8aPPnwlvSx0GJMP4SODslEJ0LLVNaTeYBPD6l1tgkQCRcnCcim6XQfjd8fHkR5R/EBPFeK4d
Kz64oCHLR6tidUSkYm8EC38zuY12kmrYVK6REhXQ9HsCmmz46+LrkJLGJkeFM3vy5GFAsPdzPBIx
NcJAUB+zU6xp16JlmluMxZG7fNqEcsQUTfyBo8+vEl/AYywYtHhMVBEfG2sRutqLUw8bp6i+42pi
bJphgENnGSlki+kFFXB1DkZuY7gtYcSlvaD2HcU/2iH5KoyhPgaYKsL7pOtrZ4FT4oovsXIe1NTp
hA0NX5e/kpjyMCbYSkfLMNrjiE4t/JU7GULj1HDKX6ouOkYooqXj7KiAv2FWz1SaWHISEJL8rksm
WkkazuUrGm6TnXMnQE7EieKP2MfqYZHssWamMwphBGeZVe8hCSDgmZVZbqynxxiDDcoePR+Ho4G3
FWReld83sY8A+8UzIwIGQ+vch2iTsU69GzwA/Nq4pXFJbmI8qel4/Ys7gy7LPGHo8Uv0QGM2eh8i
Yp7r2moi2cfUBorsuIYJpYVrN09uVJ8coBLnV9KaG0YN1b6DK3nS42KuGLC9baIvYvCykxMTHdUx
GIuHBnP1ysQyHDsCykyvXY0Sz013DD71VfwI/CKPIhowalnKPK0N+kMS4g+PPnQh4IStgUnrpG71
Z58Gzse29jTJqttT3bT4M6SUirF5qHxfUHDU811XpcdcdQ/YyxXXTpD2U/n63CI9ZNUQPjYlIU2Y
Re19HfNWroTr0npP/kCqecQYuzY0fDQEXPG8w5DJHfqT9P3LcgfRVCDjSTOSPDBGLw1GpFAu5WaZ
0pbGhPo4rA9j3r2Wjevu/AoJnOPrah/NhlA2NMdfG7drhmgv/KaiAEXWUPjVTo3z3LuzybYZupAp
frNjQNLsMvOpGECJirhKN5h5Y3LTUOzK4Y1N0u2WhyfAJzwyh1qWSjKIEz00ki5miofl9GGECrI5
YsvNqAsL1DE/l+Sbr2Nl3nUNo8259iyLFrmaL4rdYIN2QHv4NkhJQkPp3QSDtw3TOL+bQjn7Snvb
QQXODc7z3O+auUVJae+WOtFwrXI9DJF9ljYRYCiVzh0uCbBqdIgihguNeOzXPlX7dnl0F5voY9g3
LPYGD4cmJilCWr0GwZ8fwYxrYsizZJe0+h3leXrqHU2extG78bWkuCYJ3neeU+LovemMqjzVsr4t
0oo/FwVH8g66JxO1y7pD0qR/wfm0QovGibtc7SU16RrfvV+MAJdosGjygPYU/oy0CF3R3pP0MttJ
48Q2HwyBxG1Hmnj0Lr22Aiu+iVLvuDTksa1eexjaRWJ0WAHyx5c7Kaipv5Ce11vLT4ItmqGONnJ4
WGBPkJU/DiSFk0WvjW80VznFIDwkl26KrbMv6ZhtBS6pYQ5H5EtKDBZQEWXrvms1IqDnb8XuUrTs
KkHpEGvYb+O/qQSukykGpbHtnfvCJx/aDd8STr5Nr0KX2TCOZWj27O3S6RYdDxpa7WdYug+Ac8Z1
eQtWZP5odQoalyHZKsFKdm1nNBc6O4Expvm5aKpXoMXoqDnDJSuVc4NPCMnxHlMYZ8pxaMtslEWI
uNoRhXQeMnTOg4eAtnWNeRuTTurMybatuzrhqJYRgn8hyEURtIjzeXijqpSqYTqgBJQQH9BMLG9g
nOmK5GAyDn8WtXoeHZhJsgih4iO0+IJhmXfwKYhrE1c5mo1gT4sO6lkYiO2xmmD0OQtTEuwlY0Mb
VmE83sVw+Fek/0SHMiHVyxD9eMYmAbJYFzMZ7eUavkj8FI/17STC6Jx3xtepHpPbtNF9vBxGPNIa
gy4qsK94bK4xwJ1WmcbZ1HdRvMmqWj355Vdo3hE/vGtcoKUwVDAy6zQhaxWRY54NSqldKquHggi2
g1umGGr0qidbStsTzDCBSbTO52TUV3Vt1Vt7gFhUmWF5yAwEkbYenxofjkQip1czomt2tcDFcZdP
Qrcobc0g7k/0b5+r0mnv8fbbC2l+WtSKSKQwVpHYptBuHqJsiNZLqUMp2WRiR+ta/aohCjK8LrFy
gSINiqJfpR4i0JVeia8UYGhfHWs6tX17JRaO5DiAhidKMt1rsk2gmuAen4BsN+UOrHldlQdPZMHZ
Aac46R44fG2dSoxpNg3mshViUtZ4coVqaRDIBjUJ/uJTJsLyKdZKFLjV8CDG0rrTjWpD2Ed8MTe+
np8Lp9NBwKLxOYGqQZzTqlZJ+KCU863DeoGRdAR6Xz2FRLZd+wK7t2FIL4pdXMbWlkrfxNDMR8Hg
RjdpmNKGxU+2XrD5w8ggVM+E1YBnrjGb1unG+DM2olutSvvVREz7ujU/Jc5lgrdwg5PCCVeJ2TU6
948SD/pNmQegtqRbWEY37j2srlote2NfFSsHYhfT/23vaSH7BlN3J/Iw4m4TF3+amC5lohwfzehi
9N9si6fES6igdxvTfTv2PyQ/JR+Ld9Wn7M2M8tn0zhrWxSC4prHMXPl5EZ7zUsNrp1JyX+rTCz4N
83bwnzMS5MwaTWDqPJc0kasi6uj7vRBXXrY9yV8cpKI8tG5wiNHCKGmIu8muXcoBS38i9OzeNhRJ
jseQ2p+TmotpFevZVggAkBTb5l2YkQxkmv5dXDNJlvQ6+xJnjTUeF3hFREez7qxtHNd0u4VNNnNj
MTMMES3ZAuwTIISYnE7ONI/6WGFafdaPrprRzUp3mKlmxQVm0mvBJ4b3XeXuXOzXt3FRvbp+pQNF
RE9e3Ew7E+Ern1R6g8kzcR71kTAs5MSWyfjGf6w1lWyFt1KBa22HUnyPde1pDDTnl0drOBu1Lr8k
UbFfFxr62WFkPU6Iaqwp0x/gxWx1t7Nul1/FLWAlPj9RRHISHmrnkQgwl5eq17MFKw0oLU332odY
EgVOXmzsTNlroq04NBsYFgQqysZuVjDMsw0jeISRljmu4oj7rp/txdRTFqOGTMuza+F3nA9cuU3F
X5fJNzP4bNXqvuaWDOZWMWyKdt9gnVULu8XG3sPPyiIcINEbnJ8QT2aVyjYoyo6Gbb5Qm33XcMsj
pm8nGjADWccrXEk4vxqKycjus50+EXCoEGCSr/fcR4h33DR1t34znF1yQLY5INOaNNKjkvEDBttk
UkvGnUhf5m7wodMDClxHEAcnyiu5lSN6uzy51Ukgj/x8L7CJ49LBOslvzAfDiIiX1JUgemekXegx
MdWIXrq0rMJEdkSJB9adp5pymyVwS8aGQAmbIVw7XDFv1M56nT9FJNGhe0/TXTx+77s42lpQj6vE
j3ZNrX/v4uBTKaxPFgdNkk4aFyaOKRY+iZbhcEy3Q4yf+zG3RpyrBQY+lT3OsncdX2iSEpyWjJax
r48iSwJOR909T26MJ09W3kTUfYNnbZyKIQX1HepKXWzp1eBR0TCkMcyn6WtvoNFOBDRpp+Sgx2bC
Xbl+OFwEOhp0Yr2OGZMH5wtNckXhOz0OfnA3/Q9759HcupZd4b/i6jleIYcqtwfMQWJUnqAUkQ7y
Qfz1/sD77Pe6q8vtnnjkwVWJFEXyUsDBPnuv9S2/Dlf0AtcpxmTfHgi+Kp+CaUjp5bAQLZbAMgCr
UMMQJlXtJeL/CEnXpfQoHAZjCbTLaHgA3qVNyX7XztM+Peytq84AYue5+beulPkCUf8KSJ6+TQ1v
X5XxU1xPSNc6f9LN4MuPsRsEGkMOdIYDeZ5MnMNMOeCJd9fVyImslbT9eUf7vicUMDZhCOMkOna2
y9jUn4A84SZgVnyfh9qnG34gKU3uhnFvh0l4YpzqbGDvwkny6BEEarPb2UNc7e2x24/GWE1urlcg
887Wyk2OJILlis49kjcH7ssq4MONgnCP1gQjrXx4fuPfl1X7rDyYsK7mGKy6iQFBw9wl6TaF9LZg
fJcfPbW+D0Z4yu5QrnQnY4zkvfcDsvA8/7YAEW6aiI63SiNs1laHiibtomskqXF0ulSub7O2hKyH
V2yujKAhLPmm+mgMq7B8EClbyDJWq5mh5vTpCo6FIsM8lyH2JpRurgAEa+1Q2Q5kmeQFxDXq+/Js
mz091zAmoM/LGsBaCoa6TDNODbkie1V2x3C6FQWlcTKpUPbSoiRkr9tVr53e7Bw8GXMz82v26lze
dQs4j101yHsdf6GmpbZyvXXoacUjtNJg0cmEuV7cSghT/Mxvyo5rbstIr/R/aoULHEzFyAubR1rU
W6mgJE6sOluIVjefKhWGiG/3ymoQpXIuymrNaW3suNiena4WG8IxDITZZfjQ1nW9QId039jfhcmm
j5Ba+6SNwjm5elfdd4G7vt2VqIi8HR1gE+w6UvZY8xeuUi31wYr2QOTR758Ush5OPR8ksOpCX2lp
tFBCU84hFVCSN6zBBmK6O68I7GsRrBQhSFCsIV3BX2PTFQg4A0HaXLFsirntu94m6ap8oSAwWmKk
aOY+366hZKKxI9CtBaGZh+rUBXqLB5GsC/+59jVS/RofPYwycLCqT/aovxsIxe7jik8lq6J6L1Ly
IZCI5FujqKNDo0oiPQrzket0u3O0biGkPd5hUO0wpsIbXNH7/AhK+KMC2EWa1jrprMYzAcHjvly5
ptR3ty9isvijOVwg76tWVo1JUovK+t5xOnuNWf1FtTsmVUlKXDlzr+n7GPnvkkDXYhYi7bzzGuJR
TDBSS5syeW+XeTSrB09ZSFyrntD7fYd4MxCdR90IyUOWHEcJOaDz2t56VcP6b8fOLE+C+t6YXrpt
oXDVNJ8CX9p0bcutHqTK1rwzW2TOLvM4xlwkfrT04LzWda9A/kaaiZGhmnNiYO9VCajR6CMy18Ql
U9RFMtprjFmtQgQxvpYsjs7AEPWFZ5db6AoX7Rjq9j6MMroFTMbZw2VnKLTPbQV8xg/CF8CN5G7G
hGMJCMmLhP9wQ1Pbo87MWwgpYfLgkMs6a/23IfYDWlPuXO90UpL2iReoi1DkDrTf5OgmFtqBgCg1
XYZzCBjdqqWhDCPbOJQm6hHTnpJnxwSEc5opcDJYjYY0hFWewt4vqKFJqKBKT/WLnRavHu12elCM
bjwyN3vdONoxPnDfKO9cL3bWA8zvDObCMlIJ8BZ0D+3QxJcqtBUhVzUBiWSaepJ3Z/kuhTieqJlH
tAD2A+XLL8dXD/GejYJomTWTiBShalaHw8pzCy7QbRjNCHKhk2wab40RBjumHldPbU+xYTSgAo07
J8WuiX/NX+MsfY97gHQAaj7YJdVH9q/LftDBz9sTgNdyP2i0PZpqQecoySmQEF0xnNQXKsP1q9qL
U+iY/bysV50VO09RyXHQXmhG+kgH/Ieuj5Rlm2P4lqZ8cyZMuWrILzORd3YsP1VBAkHD2NBRmmrO
5Pe5d703VfoXbGXtPFDUVSVjgGvmwmksojAqrB6xD9qBaJY56ROoWrWEOWE1L2ouEwrBlQzOmOXL
JF5ZcTPvM4lfkG8w5DOGVyl0qehP4I3kXNGj7YiLwsTyi+jXrZYNu+JZabRbabeLjqZfXT+bVfde
00iZ595wyeOKPZ6urYRnzWO4JDLMN3oQvEocYlBl3cc8ih6Q8F1EDpadWPG0wBbMNvc7McSXQ11s
22dDyeKZMXrKY+4U+3EMGa85Nu0UddEQxxQlkAQiNaNh57pTQvnO4O2EAR2I0XsxM/FKpCs9FjM5
Rmiexw7SsQajj4MyX0hJYFGeKh+qFgNrtx0y+JK3ATUWohXGMHxu5PS9KmnyHFri4lHEIeSYEHiR
B8gHG9a6znJJM4DQYUV3dopPV7Bm7D5x2JEBF8MXtEDiEGbYe0+5711ThwzO2P7C9l7OTck6HqTo
JMkCmA2IHClpWP6C8VzqA7j81jc3qjW5fEacJPMMSM6MMFS5RcjQXdj3aKeQRFMcx/w0MNVg3UvK
ht5JSeOYHhLG+idazha3DneRjpAcSi/a3579dheieWCcvZsvx9tLRKp/lxLWfn/7qZenXGg17e3X
K1gZjMG8AZH063ZDLo2T1sXp17N7ibEtBT3oP54+66dKWkm6ze0+jZ3WpXYXcRTa237okSAZnNhC
o3nQNCedNlLf11+lAWPeMvqN27IQ9RTsLMSfDedd6hMl5RZfAUFIYLYDN/n2YIVrASZAFx+8qnl7
M8u2A8oV2b3ojvqBCHJNIAysrr57HaPgnHXkVyYFmz+bv7rv01urlPi5lMpdadDBFRpWeTJflpBW
BvSzhARV+Q/k0ec0tAAygw6bt6M4OiHyGwjDm8Kpwxkz7zdYF8qSBdLpPHAFjg1n/UDOGlKcMTo4
nnNyeqs/ZLo3xYf4M03X7rVeAn2UFz/Wp6CpYYUXD2h/81QfSpWrdz86X2Z6spXcY+vk9/PW8J9i
P0fraPp7dDWaTa/CdxIqMVIiZ1bIkUQ/gdmwwSixAQo6M9ucXlSwsZX+bYwrEh+vxoAiRcEYKEWO
4qTCr48CG6K5xjC53pew2GcN0R5j+1w6iY7v1j5ZDHLhduMTzYAPTuCzMEe1aYc2a0wsoLuPKjyY
YO7HFcpLImpQR4QhbBMvN0giVcc7EcHjlOIDkos3CxJ2SuDEGcj7JsiDmFPHbbeMPNJ1Y2XBzJqE
iCrKa4MicaZn+jeQS5ityN/mVZNeywQ07RjbOFmwVyHfIBcDnPbMNKJ7avxNZ3qnLsrTTV7l62QK
vEtT+RrWnKPAQe7hdJ9qszNnVYrqxtX0XaanRHa785E03GVUF6y1BkxMKyWszonEznC94WwZydYq
GcUGlDWJbN59NgRFjReCviATBq05WSO5BCLOqeo7fZmYER4wdcQ1ouCxgEs3XdbYZrX5B2K4GGaJ
Ey8LwpYFyX7rooTmMxqSzzFQ3to2+IiVUlkS3DF5gtiOgzudgZusZqbHjicJ0gsXoaVCFBE6oojU
EsPyd0FC8yf2zipGaRYx/tqYtXZBnvbLriKc3MuOXNjdq5BGiDSJ4g93DFRPqmeSki9KC8uJY5JE
TwZ7VqOuM3VEyyj6B5vo5nnpG6RClmHCoIawpa6u5j22iNY690r+4hf4LOQdZa86ZZs588SVj6oH
vZ8WXlumn6rSjssg0tZVhsxPet1cKMqirqx8QfbOvPVpOGCD7OaB7567OAlXNFgXmFZQK44PCi3D
uLApUxoP+lFGYZnS0Q+bgSwybUp+iQgON4mC1Cx9KSJl7WXDzlBHFfCFfB35kMuEq0rShAydeo5c
rhn4tjE9xkBpKVpoeQm4pnrYO0guSNhs4uA4dn15bsP+1W8B9zelvO+8VFsxB0S30o0OVfq4TCPp
0nhifDdO6o2QRInQGMwt1px9oSqsHEVClj14+Y+icWbJy+gbkIka78fz7upyKOE18XBT4YcV3OZw
9Gjs9cEXZNGqsLZ0qRH/WSDHVfQJMyfynxSs/fwtlK0XOnKhV90hVsAwaSURFapAEyEQ/KqGxSVS
hYSHbp3xiYIBDmVJHEPxH8S7Cx9mjruI8GuOl8FR2I7ns5ikEur6jWkY1SIlCYx+mXgpS2bEmAeR
EWRn9N5snSHWscftH9uq2WCr+dENYkrblF1D1dGdQFYBnzglWiYpoyfNUL5xaulWEPKOym9Sy4fk
bBIFfFFTeoN5qp7BE7xrsYPuw6k6sjEkpU9n+fNWrzYFfnz2ns7cVcgpJA8pvcsIydGSsCa02rFm
WkrkTBgoH329HyxGtVYqu1ebGDDiAkeqUFdRdsx5l10yxm+OqL+xpmGHjgm9LgSUXkB4ByvwDr1q
ZrvbrZbX3GLQpY6lZvTJ6Jo3I2m5Wb9miUXQSc9kGSnJNyjcg9tIue0IEmEOBF07NaGb5rk9C9Q8
W3eUioOVbvW887a6cGGwNColm8iXTsUkhm5nQNQe66OIdFIJoitQpIMU6jYfLRJpoEcy3LIuttG+
40g1udj2ZzKbF3UdnZwA8ZruZd6qSp5SpLdsyTQNyxftqBo/LRstrkaaLzYxG8cZZxhdpAgUMQyG
vQiYgFQ5guJery8g2CkfuQwMQj5GE1cXduUJv9i4rMj+S9ka0tCApZ/wvBZ7/Vkajq++i1K2LN47
CpWsLxjSaRrntOK/Ksh+tGn4rAyrNP+JmRySKybnqh08G6FCG6+kf9hdK0YIfezREMD8tkqM4YEi
edlEgOPNoqqhOevaRiGjbNKwF2QsKoysU7LXTfzcMzjOLuCtqxvY/lUa02Vj7Ac8WtInctAZ15OR
eeFMN5HdJadYddcq3csZhG+I1NMhlJHRsTemEM600O07cJvPmhHU19sXoB5fhDwFd/qoVte46Y1N
GPGZ3n6oO3V9rUSwYARsn26PCIkAhUmTMUKcniNQqvZkws+63Rqnu2yfASVeMGVzu09ENajJTA9m
t2e73Setjl0F2Oxfv9V79tq2UN3ebt6+6NpjAKv58vsD8G6FjTsNWO10UZNztQ9U+13SKHnwkEeg
yqjcNew550EJyhfo5+nn9IC8q8sHjdihTYCA4J8/QDPTPz2Dl3rv7fQSuuKm//AlUPCYJLv8owfI
0f71Hm5v8h88w98+4I832WRkBsp+ohqTE3mEr/yc927J5ips7gS6JKSjevXk1q27xetAus70U/42
SBZsM1m2Y1E9tcUka3Vjf3X7qesF6YITGXR7Z1Gsup1g1EewkFlBemqag9lGAyg9l+6IPdQ/uZYR
8KwQRS317zzkqUaU4OSbb+3KZkJHq2kWjwlNF5qim2BImy+tix8taEzvyZTXp+e2fLEz9EoBXv/H
xrIs5qNueC2Q50C2U9RTafrxiuhQeQBqLYi1wnRmqE6BNbFtH2WoBfu2oQ0hFKd91FCd3pHTSD7U
9FMPxfQ9l0TsrdNNurLFoTTMV6+K2sfKH9ujVann2y3VIX2hj6J9TtwRBmFVbkVuwndzZH9IHAY/
aCdwBpq2gJUw3Xn7UuCaTdPmVWNz8MSSSvjiq+UU3ja10WGT/FO+2v001Ojy6kSP2Twx2/+63c9/
Vlnguxth8fIw/VlFCfmqUhduZUkkmyK84tcva8NYnfqcIrRJnXjRhwsklN6F/zXZdKrWHQpJmKnr
+7QXvEk4l+mPSTtAoIVfVfQLZQTUPVHTeLnoJRWjuI5kxS1iB7XWtA3xdSqrIBJL0bI4DlaX7uPv
WlcjoonC9iHLk5VuAYQoADoCB8SAkPLUAZpeT002WT4Ml95BKRtbC90uCz45JE8o4DLOxvw5IJ4d
LnonljZeUQJNbQRQgbEOquJ1DPxfDs//xz39E9wTTpw/eWkW7/L9374R5shh4n7/9S/LumOdy6I/
A59uv/KL+GTov2lc623VNBy2tRAV/pv4pP42Waho2ZiY2XRzcrpkKATCv/5F0a3feCRQDN12Lcu0
J7vmf/Gydec3jmfo2rbmWJbhaNq/wnyy/g765CI04R+eFEBJPKv1974Up6O9jzSB8q12iYIIRhYD
+vDhioDc51QnmqUPKoTaZl+clb45qzbawCIZ2iVepQN+O7HuDcekOlZTlDhpsq/IJxGVGTKH0p2N
q9R0DCUNIaX64Bzx9wqZIRJi6W6IrpVF5aSPo7GXRyCLSAIaBi+IWe29zti2q5V+6xeJvq0JUdU0
NPXUIm+5QggNw6VkCozxLU4PKuiRJN9+beeZtQnFZRiQZpLxlO3bUKFKb7Eit80Zd+w9kgAm600y
65gDuPWxh1c+r4OKuE/vXcPgIOYlTYP7bPRxs/GK/QgWlvqjNyITRlHGHj8kVFPD/910bbIjz4tR
sUH7S8+Xmtq5M7PTd2WPiC+hbtZNI0FGK4bd7UvdNthqA3Zooq2/VR1beNuiMstlPlcHOhOSiTdW
8Xjv99BAHYMBSwR1aV5mwTbLKmfdQyfaeSppoig1UtpDmbsAiE3FGnbt1tCoDKMEDGQ+FPAzU1lv
GkUDMkKM010xwqMkR0x9ENqFLGnt3PZA7moznVRjy1LFLCQ+haaFd0bkrzU0QpubcaihjU8wDeM6
b4JrOBp5QX4dZ0cFYdOyAQNMfqifbOtaO1o5DW2ph7sC4G5czNpeuIeCUBu3APJH/UchqJXanbTC
HW7Wksti9QAztVwDa3VQq0D1E2GRI37hS98lV2Ns9VmB/0ASHzDjNPoWo0mDgOhVXUX37+RijdCW
pIPEjdYugx/2uAtf882za9ekmrUrhY/03pBqskqZ4pQZtSRtaoG+wBrWKroYqGZ8hNAVzjmirpmm
NB/sxELIYFcnhnmWm0wCM70A2UJvAKX5axTBbczgEBYjzeSamCqfdpttF83V5c+X5hkU1mZBrdmj
3WAD3Y3tcO/oYiMj8Q2KonwBtAqOvHAf40n2g8GpfrL8CD1UZ78GTE3V6VkrkIEr29WKpczSi0eE
7EJ6GUpK61PL0vuBPsodV6j4QNw39XusN1s/BaBI4b5uOHJSLb8gtOBwt+lN4eBPFhVml7o2/Yks
vKnMbq3oQfvQZvVKhLG77uITmvd6RaOkfS30iuh1OR5Ch5jSsUedrTO0U+WXprJFU6r70CLAUhp8
tEm0ywc1mxMXYc6Yvj1DygJy4xKeMSrqOfCIhQ/ZOcxDWe9xrBPf3KJiMwBS5xmxUfkQLyN6EbTt
I2fboQSxRo8QzLDlfavDfVAStI0MplsqJRryyjGNd7bQMyNpoy/G4SxEmbUNhpqhp6G+qKrjb0aU
BKnhl5Tj2kpprBP2lnuPaLeTYGEpFJrfZGACWkBxU7o5GkPjTH45s+fssTJjYp/bAhmJEZGZGtvf
A5yMGTG8+k6PGkTqNBsSCSAUD8fTaOafWsrWwrGAnhYWnM80yn+iEe1H5A/OEwPTnslbhFCHsDtU
FZ79iL2JdMLxTcP2OG/c7iFh9gMn1YlPQcw+RLUWWgmH3nSesaWvgRbZC7/r9CupKwnTCf+ly+GM
FgXdFd/KLjR1OMks8zlN3VlJOBZtllRdO1rc4v9HiRKGARbuJt2SuPmjM5I6egYjDJJlFhBB/A2v
DCN6RE8EvnPRqg0SIn8ZkauzMjhbKBFHuVXd7KEr1KUDwP9OeFm3SwegJwp6SdOfLI5DpaxsLB7s
bgFRc2GwjGhDf0CuROuhYCpwnrna0G6K0lx4riH2tfbsNKG/i+tTmg/evpChsW2MYKO6xMYx/XRm
qUawX13dE+pL/99trq3bJVtbGe9JpiBhSNUWg5xclgkYk0JjNJH7/GcGEhKMgcGMcKyYVGymw5Wy
8do8XKn4KBQUfdNqQbqeC03KKfXXOCncpWvVV06Dn7FnsgYZ+zhoQbkiXJqdrk43DhRiKMjTK0I7
XGga7eexAmFXxyvEWqiSN7EffYQpQET627TbXXVRF4xpqnRnOq67CVTkSIZVcuFldocPslu6BRpp
V1C6l6aGJjrchv7QHtW8nQrLuDjb8RCuXB17vTfVkxJKzBCTUCR9wrLUJFyUJMuc0T281GrD9la4
wMe7gLkUcGY9I4AUFRMZOSz+18KlmZphlmTMyeBcUdDK6d48aUhXQibSZgqMvnyBD8Ve5VU8zilm
ymXABWrph6BnHDIjlc9QGy0UVll3vn3xsW54CbPTfJypdUXxXECmN3uNnnbaY2xV4L0I91zIkSJC
p0UUVM4WCQl9BbN7VDEULfvmnpNLv9NxprCCtGf2KA2skFZsFd9fj34QcKj9FKyOYBl6sUKl+J7g
1XREcQSlu8ahW88hbn6YKpfbwjNeEtpDK8t3ykVm+sNsUJp6FwrbYzvGaFXrV6TSvaQUEivpgXiF
ZUKYWUIpji53CzGHiaIJ06vMGRXUzcLKTK7tfllP8ursVEcT5qyGut+4obWz27z7hQP4PyvApxf6
zIuBA5C19T9uiTXBdz5VtH9zY3mrbs/NdwX8tEZJ9h//zm/+/sj/7Q9/r5H/SW09JTL8DyhViak+
ev9zZT39wu8oVee3WwkM10sDTgmR4L8La/03kAmuDraSagSsCOSK3wtrzfwNGa1qU3frOk5yE1jX
73W18Zup6iZrhGpBzcMQb/5rZbX69/wMk/HLpMqC56nazEgnP/ifmB59hc3WxIJFF1ngHXEfyyo8
WRHD2ApAGLlgRbQSAW6TtpRby45JZqr6U9lWL0lD2lpsd7jZeoR5ueUc0HbH8ygLHi3ry+j15FOT
7sYOc+WnJCAm0Vh+ZqH5Q042LURzh9sDNXTvPaqdZERvo3RTkiQ8B4JYUQbt6Am1iT4ueu1hbL1k
qxU2UlhClR+ivlTuAQI+327JwmgPHiLDAAKm12TeR+PGFMpphiwRJ4LjP2LKbuZp24SrUQ7jgYHU
K8Zj91GMqPIqS9uT3fpN+IX72Ha5uFd0zhpzuonGrr0zhFZDdLJeb7/sEbe8V/Na/fWIKmE4TtaQ
v9LKbF9iNS9xIEBj2qa6cHa9ziiFvgg9zC7zTpiZzypR2DB3JAE26aIzlP5eFdrS13R5zNvGube8
FAG6rl36vNQuTpQ9t5H/k5XgS9w86K6qWfQrpUYHICuxwNwAWK5J012byx+d5112VtnP07q6ikza
xVwG0Q+YeQWhkNNc7bKRqDwzRsCK0R/zSG6q6f40+y6jKrj8epDHJQoRNgE/BA841JEHLyHRF2cH
igDv6Fe2N2PwwQrtjd/GqNEhDjwT3ywvX1jKPBajsRaEQB4iQl7ayn/zsKrMIoYMR+EyHZIaDVE7
wpmrKfGMa4a6NFw2J0a3IRqk36UF8sHWmJpB1n3Xwh2oHVo5wPOY2bRySTLoJXdFtEGPhlW0UD7h
FIW7Th22cbfJxhxpVnRIxRDtE6t7qcaxRn+aqQsl7mGY4W/LsAzPZUdoQEyQXtCpn06QSMZv4ZUF
E8QQI/N+jHbe6B4ZQAlMIygcEeqkZvDWEJcmEjwI2Te5tqDc4ifTqcW+8ibltA5ltde9O5054Goc
zWPql8qaVtR9JnvSPVr93EcNcx47ulgwFQADksdDbGGc0MkutOyLBHu0VlDfMpLTkuFkKsz72mzJ
SdknaXKfhOyQfHlKIknacoADpfFKDVNn+Jya7QtnuoYOalgaaCMionVJG5bNqrYqciDwgJIqwHS+
s3O2k2j3dIG8wbRVF5sEUXXkQkoHh87YxQgdO+VHR+lU4pjzR/0Y29kpGz11R8VhI1pnEagfcls8
4kG5EnKxM0PcMSqJwGmqjouIth+MDBx3zklv22s5ppRRBFTgA0TweRu7XGMPlISd/TBlIG3KrnZx
PKyNVFEYJZC6mvLXdwzlWtVH5t+73p36m0W5S3qKs7IsgMwY7taKkofcZd5TecjzTd9YwXxDiFS/
JWn+isAYYyF9hofpN9Gu7u2MJAst28TIaW1GFR1pWLr+HaCFTBoaYSDKpeI8JcTc+Z+O5W4067OQ
jjtXSRlfMUviIEAFX7LOLN3Wu3qoxumUID4fF7ViIPlxRTYvQL8ySlUfa7V8kQxaKHORirGRT8uY
xGxGyLMxVUCf6vRBa+0taNkx5BVpEJUlMSuhHdcK9Ygi+ES8yhbFLpHqVqothwZal9MudUO9Q2Gg
oizG+RdjGXMiQDucpt6SzA5QpDF8BzW4R6rYzGSEItkhXUobk2PVBpemAznpdadBOPd0lL+QyaOu
hnfctogfkbpV7nc5mlcdGfKQyL2Wkd86eB+BSgRqsw5gkwaCsSIKXkT0nfuZltGlyqJH6QxXXUEV
3fufLUncLRzRFJrOdOzB3eGVKWEI6ulPXcjWLfio+/HDDrxTi0UMCY73QQwAkdA+arl+kRfiR0/B
OdRtvfaNYT0iHF1hE19ldrBH2H1fOCHg0YKSH26F2e6q3LHXWWCOqOjtt9D6oavwEJtU40Pfware
5ikiW7DSzHXqDFVXyGwHvOmqLgP/qBfTw64cajRLJg0n3lsE/CTfKK5eIYUeJXKq4a1oWs4Rvei/
3e6xJ7naAQbx4vViiVn/LasbDOK5QmwwKOlFa8llyP4xnGa/voMTQ5DsdMsqiskj2pjtCDxFIhvo
0GKCavTlQtpGthdmVewKLDnI//cNDmo4h+CMwibbZEXIk8NuQ0ehFcj8DNSrdtLfOdSyc1933AUu
HbtUrbUd+y/FCCM178olLV3e2hj7nMDxEjnbuMGijdozS0H4xO6u1mqaE6aQM2CIL7FL5CyMJEZX
ETst0OTzVkbPQUGQqxFG+kV2JXkvfc1AsPwEP+VeivCCGEJfqj6ACHrqNKzocnVkF+E4iq4ovQ5N
/sleFudOf0ByWCKyJtiHc63A46QWOyU146VMSp2PYun7pLWRD1ZvmZVusRiQzGJja4E/QJAVQq9l
I9HVx3WHqFWj8+2LPGPuILEMFLF/yPKM7MYqWupxWs69wk1om0YV74zNutYQXe1VFB2BFWpbk0rC
idIvL+3kvvDTReFGw6aM+nQmde+R2AXisgTYQiXhemDTViovdq2Mh6yxqz0Nm3XiZ6xz1dIaKerd
kIbL9Hi2BjMwXyMvFROInOQNa2+1RvXf+Pn4ExGlE6ejsXN9gsUAa+R4pVD3KtK1N+wKKsLi6FOY
jvrSm3W6VU11m9QlXBhG1c/FFG3BMM/ZVhZqlmxUplCv8cv1RXgQSGke/ax51pF/HgqErncYl+uZ
3joPhmvaB5N0h8e85LLgQsdFks5N1+/OaeEcPBtlSGdHn5pVumd7SBwMz2OxMfWcfiN+COwmxXls
3JRpPEvbMJSTkCQ9cNIoJ1FrJFBbwbfN/mjHmpKceHXs8c4xVYZgLTuhzAAFwzu+3WnDp5j1Vmuu
exwZx8JcGqbuH3Szao6Yh+8GwKV7EeXMvB0Ez8dOt1YWyWJ3t1tmzjrQJ8Od15eHoshJ2SULVMQp
kwdXOMHenr7cvrt9KbIh4PEJ7CWnjfG1KYyPIz3cN6HCl1jivp5uWrXLmTuY2rlKR2X16yHTT2+P
++Mm2VetjSLvb3/v9vNqep4/HvnrGf+4fftOk46BQg7K6x9Pcfvu19sRCQcDBWfQqO4REwP8aNeP
zxgqvMUYZPIiyT9c1JpmXGWl0whO9fiROjSfV63TPQm3txHB2sFLO1HZ7TDuX1sPmFwWV/F7nodv
tLH1j6xVzqkI5BfejH3egWTt+34lIt+ZAq0Fra1GIzAouWsdRMgzZlKdYeV8g0KxMU0wO6qaLzvY
aD8BOamw7vyvyNOOka5kn8hInoM2Ud/ZjP5EvkcxlXBpjkbRvXQKXiVVx6gxHSa038LhkWp2nKtK
Jx4Is+PS2KX2pRgcfZFaoj+7rVtCx1PyU1/ApUrjKD5mEPnoRAL1JYS6wyAonLsS5O7GRkuybwuZ
bhEEW4SrcW4hv7G3YjCQByaJvzGR59/VDlDuJBsF7mh/ao55+YGjo1vhBmuObh3YuFBs9eRjj5n4
PN7Zt1hwVN1Pr12DoiiEFPXQGDhxqE6Vxy6wJ+FU0Tx3YmrCSt97iWIDLRrkmLcgGT+j3oo+uGI/
CK83qDbMe4fD/Vu1so1XmPQPRgQFNgazaKbLD8h+ZEgif7l9/LbyzAYf5VILyUSQpBOgA7bXbm0O
3yLJ7tlpup/5KB5cr84+pK99ZJqvvlH0EU2m5NFrjI5rVuft8KznA72Bvo6fqqRETp9HxkPiwtsM
VKO80rgHra3G4SUh0GcpG2xiWY2XKkiIWR5UKsyhTOoDWZN4qWMdxpZF+mUrW8g9Os1OZ+jF3rGl
uQXPmO68mAnE2Prg8D1N3/dNxs4kcow7LqzD2mqpSODP0bXppHLQ7CZCreeK09h7gL27TJ6VfDAJ
6HD0S277YmHBinng9NfmKFObRwjsgnDQ3nkKWaOmVnn1YpvsDI0uchmuEq7qJEn77nYhF2xWtzir
sL0FFhk36U6L7fanLjXoEjjcZs0wglAMmWsLwvxun3uUbFvkr4y8aWWSAxyGWKUEQ5s6//EUb4f4
qP9qwoJav3CRs4lX8FbZu6WhPZuQvq+cRSh64b69uEFu4eOztKew5cqqkJP6aDQZK0HROVdr8ueY
UdFfyghLv9ZktM4CzF21FQYnrdDEqixblvBGeCvLjPV7jhh9bYDYvkul02GYtfr9mIZyi4R82GlZ
V+6cKle31JjF3ooQO6nkp9x1/0nYeSw3rmxZ9IsQAW+m9N7IljRBqFQleJcAEubreyWr471BD3qi
uJR4VRQBZp48Z++1B4LKUIZ153TsUxpYGue+SBCF3nnmdWgjg2U9DG4YCCLGwHPxlNhRt4oCSn/N
gsuG79F/gRFMvmvUNG+6nH2wCTR59cimrTuU5CiPFMQznsXPTrSwTSr5WxT5c5j36Z9CdCcqK/dv
2iJLcVysNVKiXfczYlu75CkDt5cu4ObPzpSi58KzFpM1v5g5xMWJHf6ojoM3TsVfM9bRMoXDd+Zp
rxGyqa/RgE46CHIgq4SgjoLS+Tl23I07kJINlyZ9wuZhbmaNlMK+ovc7DIzDaQInt8peJT3yk75B
DEj5awHJuzP58+9schRLNGvWj4dSbzBoiPZ3i7QerxHYP7Ko12mm0xkJzRaVbQqcC7mde8dV150Z
rhy8zP4Akf89duhlCrqr3HqwiOtcO4WFNZ+YEzlSN6+AD8AnSRh3Hdroe+WVWyP0Yj7x4y/HRk6D
JhSNUMMJ1cnOgzCda5v91mGO3TtUkvvUo7fJSDO5xxMD+gnsIfycltKKbqnnwxo2sSvesvAvp1EE
I3pzQc/v3GOwwZvBlkjbOGmxSHYn0gWOkcr+HuLwb+ho6Jv08o5sFk1SkVw1ks7vU4xPK6B1smkp
vlydrCheuh+wIWsjQryhLAglsbO/TtDsxkSQmDiKS+jm5YmYYu32+OIJlPrJYA47uugTXrH0rTGg
JsLJ6FY551MqBnulGVmyS8qOGsww6idMAgvDbr4Sd2732AZALGEJOY0yQZLr2sCNKuMeqS++GNCp
6dZlAm20z0LxrRXVjoCA4JzOA4uPO55H6V69pm9ODqa5u0NqKJS/8BIPpn7RW0ZTUgybugOP5HPY
XiQGSQo1nY8VzQPE6YF7aYqhuWfe2K9wv3AV1gmfOsLusubuhAPgRIcL8HgIEqK+qtmRN8t8PaR4
FB/PjSucZuXUDzvqrB0C2Hbr93TLK09v740PWGIE8bcZmQAdpgo9tId3765FGkDGBl4L41l3Sa18
Z27jIkxXb4mgFj3o9vhnMiG22XScxZAJmDHqQ9Dpw7ap3WzZWgTSD2kzbnFFZXed8RLpD4DEjDzP
7xoHbQY+/tkwI6ywE6dfuRtzPb6XmMqEG9bL2W649OYzDgbMq91sI+T17fvji9tyFdMOZrmo14aM
rVsn6/JuWCQ4DBodjMdDbKwY+kfr1QvSGjI775jTu9cRxtTJp9rY6GFG0TDkpxJq5sIdXEbchNMt
eUZ6jy0rvZdibFiHxk8cndmaSfT/fnxNl0BPzYXCYGbeFmafvJFyE54HP1gB+Zs2pVoNsNX798kz
XkKNnE2x4yMcbitrfAe1fG4BECEZ8iEv+2VVb4uIblaWyzuHAHlHoe/vTQ9bQk7UYs8RFRCJnA5j
SFFtnwUq+Q6C1y1FaYCVpnYvVSl3uXS/AH+JXzHAh2pU1qAqu1SxG+EcuAPCIBYSxmNSJClOgs49
5axMC88dzo6TlxuXHWvfjvSyJGXNr5YOGqmy4fwW156Kwi5oZlpzfNJ8zQAB6MUvfYauFMNZF4+/
tCKpL13PHLgtE1wnQ9vg8g3iV6sIDoPtEUTQeP4zb0yxYo4338apZZWOjk7abqhXaJdk4mswE3CK
WN952y156CIRrhpJJHdPg8m9+VVvPYcZU6HYq81dLFmMJlOeQl97ZksFTznJYT86ZnSIe/vDw/uQ
inq+YicuVmxyiWlr70Zh3kwLL8sIGuGgyVvTj9kzDn8DIQPMIE4I1JJmepizhs0AvUKTgx6M+3Df
BjpRT7TNLnE4bEfeY3V7cJgx4ngFqxnaemaY8M2QLSXpVzmAn5h67ScDDr61EBbXuUGvG1zDOp71
7jK1tcm0G+7FlFMfg5RtGVKV9tlVXx7/VerM4fWME3YfJegL/ECsK8dAz1jGX3XBLL9mvTrHRrEl
WSjdFX1mvHUeCm8/L6ZjOlYpNuOGCY+DymAabJxsdUCGYUNbNDDAmxT+n7axPXoHNmAc4xX74M5W
2aXUtH+zkQLRtTqO4/Eot+YwrOYcyYKOF9gADRLWzlMSZT9jbijoY7PQR17b49vxNKc7bcZpK6PQ
ftLU82srfke0V2yDgveOpEiGTrFXskzfiRzolqNv0sSbi8NIwenbpyKFi+eWXXSJCAseMyA6bfIU
JZ1iQDfaezJaHDYSoonGstmJsfzMZutPZnhiYzZ9TSxP2Rz7DtzOLK36wiIVwdUIwn02WNhksKI9
Pb50gBpFZaaYa1P8eco5rNHchOdvMzsMK4Ay5KjvtMQ0n+jIbesaB7qwk8+YFJ+lJuru6uY1LSNl
OZtmUGkyvEaN2E8kc25li53EJrShEhMGP/diMm1eNRMoEZT6F4sb8d4rJMdM6inbqsAfg1XBnXZo
kxI317ciGFc+t+FeJDlDYMzfiEEYoad08BZQ2YoPTU+YIoe5s8u970Jk0cugU6kOIiTDrm/oy3Bo
sTwyTCYCJLdiYAJe1ZLEyhYHXh6ODGoEfSSIWxFydq1ZuqM1nUx6jcz/Fz2nHdmE8D9ZLxAXOd2R
NUpbG53dX2Ue/+5z88i9Wn5kaajo3eWPlYbaARN6d+bo2S2jxGEoQbOQswVvf2id+3AmIl5zUPAQ
AUwWp47lfokH6k8cOl/dZL2lqgxqUR7L3rHOdcPHyeGcqjkEARct5AAiWOmxwAtCE2GuI7QjFU3/
RaAX4Rnop7mtixYNN3YJmpvpCqtFsmFuSn05LzEGR6vUtHeO7xzTNo32YRrdkuI3wZ/x1vDbYUWY
BKXCRK9VduWnJfO3blYlVEO2golXErOKvkB4Vig/3Rq5JhnLJrU+qlVMmrCXWOHomRZOhc0M1NFt
pPlqtadgNvJrYwf+NdbkJ6gkXEZhcudarfyoCL+JtYDB2lk+R4Z4XGa5s5dm7VMj7vHSW4umphge
gdDumrnapIJkT1tU71moa3Sl43bDYVKjPxySW1ZXKEyzdOVXOpeMiRGr3ncJ52SZqC6bEaFlqxAP
DI2bMMGS4PU6Rnfx1BEHquYLNkjdIp27rRinjYWzhorxQ2pVhb2a/Hc3UUkudbBMUOrQEOu2swQO
4tJOXwJNsvKi2bMVNYtabPoOx/vo1iewXO0axfrQR6TjGkz4Rru4Np2TLaWntVs87owNgtnBpY9m
IoJ8H8fpH2j26bKw6m3NEjFUjY4/1avXfXXCfrsqo4FlUcNSV9MCRhgUvE6b3vDRlBcYhIagfO1l
ofIxiIOBNbHk5Am3Kx/PyLTCTUSebNf+cLzwD6L9KQhIuOjebFyboIKfGkVPaBL8XRIjfEYVUhOj
rWcN5GCvX9lK1yqGt3HIaSr2MfgmHxAFoWj0zc4i938FTgLIEhc5ign94HmTcYTGBmgF/sPSHabq
WI2MkyTpps7IqoVr0huPSVrE7Prm4iGsCww0aDXgpwl0K8BhnfOSafd40of+4LCoz3otD9rceidy
1leg09yj37Qm2qCpZBKJ0q/y2Y1xvFzRkPXXohv3Tj1Afuqma+Ym9ZpqFxZNVJcQoIsPjw4oN07C
cCn0T7ZWg34zyhtxwD68hwioTZkccFHtid9hg49yMFs9qB6rAiPg6lLc3aQgc9LWttix38xWY2rI
Dp+VdbiaYNzziYk2TlDXNxR4m3wCXtzTOl6Skt7Zwbl2tbtmgYUvnW9LT+cXLyzOqLkdpfdDteHK
8SRifcfNijQMc9+2nmbuB6RbWB6r8FiYW5Zcc1NOtbsCQXjBzbq1ZjwiqtixexhDmRkEy1SE9PaS
4NmckUTFecPsrv4YPLs5EHntobDy8g3GdaAEI/CDGK7JMYhMjU6ivxuL6Zko+f6W5e5fd6Z7k5Ke
MGfpk10OP45Z8LTY9JYlvYw1ScHjwmR6t3ADAJpVCAtj9q44oH9q6b5Tj6YfdI8/HPD0TIFgeqXC
nvddK0fq14JDa++WhzrmTpo9Mlc46hgLS5QZe1UbbFPfH560BkGnWzYqblu5mYySQzmLFRsL8Lpy
bxrBsG/S6AvBJWqbQtDrwYEiKQK4lbyz9PLkguQVXjmzvhWDl+rgog30gArr7bDNtIr0ys6INw3g
7yUf93Q1VUjNTSU6Z+KNwKtAiN4rSbqhxOkw4+MP650TfvMRKPk68j6MpOphjLbdViL3WMndH//z
4/ulEsO7ShZPGmP8kX0SLxW8YaWBVRWcMG+NSPb4UlT2SEJROl50JbbPlez+vz/QGSDsayXPn9Dp
G0qwTy9fvgL9vLdKzP94RN33AfipvsiH5F+J/0NlA3g8rJQ1gJskPhXKLkBbk4bzw0KgnmwrW4Gn
DAaTshpEM6YDoewH5cOIoCwJgTIn8AejC1SGBU9ZFyxlYsiVnQFgZvNl4nCIldVB4HnIHu4HAx+E
93BEpNW+fngkICatIx/bhMXqzrh3oylDhYezwnl4LGR/SR6uCx//RaZmz0DKfMaSmDMCZdOolZ0D
+QRZkTUmjkHZOVJl7LCUxePxU13ZPgJlAHGUFQR3M9l8yh7y+GmCY6RU1hGgNw0h4mi6Yno3W1P5
YHrlZ4mxxvQPf0rc/NKUa4Yxnb+1lM3l/32CowwvKl3Serhs/u9vAOTXvIR4Z/7zBNPGVvPf18Bi
9u81/OcJj9fw/z7h8SKhbpb/fZGdsgK1yhSUKHuQPmIUMpUJKdYxD1nG6+PB44vnYDDSldXo8dBR
9qMeH9LjETEOUJyVSalQdqXH93AhajtPmZl09Rv//V84nWJleXo8MpQNKlGGKK6NQH6BSQpB2Orx
2x7PwP+FSlyZqh7PEMpo5eO4evzw8WXGjVUqWxYLXb4Q0u+PnQvUFg0ITSBl5MpwdEEJzWCpYPLy
ld0rVsYvVz20lBmsV7YwauTwOVBWMRtxmLKONZE/AFn3uqVV2ByvcW/Qw+iNXZUWrQqVFevAw1Uy
DC+eZmkbI6XvqGXNSxN0z+gMd2YMSECGb0MBRVXSXe3tv1nhTBsYTSRo3jvpfxjjgD4vx0kZpQz/
7OJLwzFX4pzrEEMitY1gKvBJxFBY90vpUPMHOAi1/jZ50HSAuL7KEOe6MudNuPRaZdcrIox7tbLw
lXj5HGXqy5S9b1ZGP19Z/jo8epMyAaIsB6asjIFt9mYpo6AfIbTo8A72SJ8FXsIEwjnHYvnV4DJk
UINSVRkPexyICbtMhiNx5JsyVhbuHrOir2yLPv7FtkcgjFQwYbfE3DjjcsTdvoiV7bFWBsjSLl60
GUvk2GOORCHT7fkkY1fN/urKQAnQGbX4uJXKWsnJBP8qMnlf2S49MZNgVA/GpaPhfQDgBiiIR17h
N0d/ojbxGJhYXf030rL0E/XvOg9N7aD5KxVQ7HD2UybQUdlBh5brrP2OVWUoUDcwreEWmpGTeyhZ
Tq2IIdiSnJRXJpIYwZXVdSRZyoQaKzuqqYypIw7VWFlVDTyrjjKvztm9rzYljlYKaZQs+cYZkh99
zt5Cp/qok3WhjLDtsB+UMZaeNOQmvLIUhztk268O3BGMVYwd6CAKZa+tldG2pCluIlxAkTmJVTmZ
1o4zDTmWbJZYzpCNdMq2GygDL0SerwxHb6esvWS7agvk26WO6bclzWzh5oSG+WICNEbUdxmorDAQ
hjUhOqvZDfY0M3HAWt6bnjGdxVTerhI430vN4a03V6UXfPOxmRYtvmRHGZRBTNi4tDAth+xfeJgp
UGCtf+SZv2Bs0v+e1Ww691Lo9fifE2WE9pUlulPmaHyiq1LZpR2cDOWAgbpTVmoIu8YGld1ZUzbr
Ab+1/jBe48Cmycuctmo9iK7MWoBBLGMLF0GmrNs2Hm7UBnAeemzdEB+4hYp4Z0TDh1dRPYR4wAu8
4IMyhUfROpFqkNF42rrjwLhmeBIuIiwAqPMg0QkjYozYbyhlXmJ85zX+8/FhRPddpi0FMN3YYsgk
EhzwerVCokPbwx542xtCGeZtG9SIO4z0uxZ4wLC++7N4RdYCxM8BoOQQ/DFikp+KX12aOXeIizrq
LSytq0HZ6l2pIxQGzoN6e3yplPnexYWf5/HW9KearhddDJhaT/iY5UKvQiweCMLqQefgQVv+uQ4u
YHiydVVGfLAK/xAqCIChcAAg/u829YOFlOZgaQAjoEL4i0Aaa6A7T4DLWR/DWixgC7Jh80clHfAB
CBjaWvjBVy/9z9KqoyUrGrHtiYGfHnqBqzAGoJNhxPr572lkuOOVWrYtHQfACdOLNvXqXSM5oo14
tjuT2winMYwtsAmNAiiQwIsmhp5Z3xxzMYJIbNJ92k7TXU7Ix83WWUkbjg2dqJDEkqxYp9wLs5Ov
mJodWoVxyCLqZh2yQwPhIVGoh8JqPjIT8mSVwtqTnM5GuBACPgQC97MHL4LRO2dehZDQShzNQmEl
WvgSrQJNGAo5YcGesBWEIh7Ngr3DxMyhABUKVdHBrBBD1C803dr2CmcRZ9g6arU+9vlvgADeqod9
QfIsrQ+Fw4g6wBh41RUmo4CX0cDNoMGGWEyhNBIF1Siga1RQNmYJbsPlGAp/zr1RwJnbFCaHhASs
EB0B4gaIHYlCd4wPiAfZCwuPHqatAB8AqOupx2kzfobRzlEYEJZYvP0WaBApgIS4ChcyKHCIphAi
poKJpNMpgy2idUm9GaCNxAo70uQZUbnxLfftP64T/ugn2bPTwSpx0WAW86RiC56cuYpXpmmcBXgT
wldb8AoQT4Cd3ehPJJeANm9woWcDGUUxUvIJdZYO3AJ4SqMoKuws/o4lgvU3v0Y9pJVSMVdy4Ctt
Ln6saFyWLltqAp6lMOC0CCsAGAa6pQXhoimWS+1CdckV3mWA86In0b0Yh4/ELVjiQcFg/PtNkQnT
d+8AijEAxjSKHIOf5pMovAUBhn9B0fvLmDZM/acEOBMW9e8w/54eHBoJkcYFTUPQAkZ+YDVWLtay
v0FOSdEXYSOdFNdGGrazB/00VqZGyxz4Dm1/uRO9lywh0pFG4RpEXZmKMxhEnnzSUGzdWNuW04PD
o+TP0NyQtf57rGfzZ63R1nk82ZwNOqq+f/r3q0YTJ5swhVw/fvr456YGHUeUZYwt+e2jNcgjQ4fv
Qb2Ux7eCgRAC2oXR9t+/YOjI38bCuD2e4tXonFGJ6iBJ1attPThY5LnYu8dvtxJjupuQWxSzCGRY
Sw8ZjlGEoGQCULgUII5KUEd1GDwnoI+wPy8IxO3r6Q9YXchIipEUaXw8I8s7BEypF50iKVWKqeQp
uhKARsZ3UeQsO698isrsHaD+R+QKzEq6azHpBFGZfaZAmwyDK16DccIHKQGNVSsU0RnAd1hPKdCn
kHbqtQMD5YCDYob/K1F4KL9fhe6eCQjoS8WPShVJSoKUQhrbeeg3dMWaqr0a1B70KVtxqByAVL61
AdD2x0InXdbwqiq9+FVXKE/S7qkGaBUAtuon8FQWqKsR+K8URIfYcGpxRm1qoFg1cKxOUbIccFld
+07kA700qi9gWlJRtVrF13IUaUsHuRVZyT4YYHDFwLjafBhx6NgBp6x+OSlil/oPTzG8Al3RvBTX
qwHw5TE8iAF+Rchp6ejxvlktQLsQN5+v+GCBx7ywTZB5zZsqqRCU1/4TzfhPszXffSQCQI7CdTsC
RKHb+m334uRH4g9ZYQwMSvE5h4pgVfp0h4GX9YpiFtB8hiQzTKb75uYQWnWgInN6a2fPfvaYQKza
3uR8j8W6GpNm24NLq8GmaQ5lIv+XRwZGvY5TIOddlP3WNECabSC+knIIt+gOQ1p3xil7sNmAtJlO
9ByWDF1FaXymucOnThHdQh+2W6Uobza4NzIXAO8oAlxIe1MDCVcrNJxixJG1bLG44vRxlJCrUiw5
ZCDt0okZ1nqA5tAQSu6OiakTDDr6FNRZKYwO8HSeGkbljnEVRZmuVXc0jlBCekDterZlGjlkLowg
oxX3jiQZEmeGPse6DhVvVHw8R5HyGiYMyxYY+ezWchVNxrCx9DpGSzsipdXNpZySKzczxn5wPSvA
FIrKl7AGJcSwrtLh01fcvgyAX09YCrLe8sW2yDOAqJsY+MPylPa4IAS20MP3VLTEr2jOuwsgkI6Q
zqwnztfYxo7O2enqJ6et91i1UBSBGKRZeZyt7LU0t22NZpK0+OyROzHmZ70N8lNvtl/YE5qbNgyb
3nLKcxiBA/ey9hbKqX6igkkdN7n5fFdzU3EDD6GydQg1E9VGktZ09ZyyeEbkkXPzd9t8CsZlb9uw
pqPm7tEQ0rP8CiuXzyL/Suz1O22o/vouZOlpmG21S2cvPqs8OGFdEDe2aJ7NMp2P+KJfcw4agZtg
fo1QF1opt59BfJ+MiCYrfbwJweQ/S/LadKTPUVYzly/adc7RZG+Le9bB8hyn0qHxGbwBkP1O6/Q7
rczq6PhYP9rByAFK4saI8I3cbEMGy8AlVESmMZYsxrqbwvSbMzvqvmqzX9VcYgiItE3h0IpMJok9
e0Sv7OQvjD3Af/sadA6tZxMhzHOL5dAGldTYoLfORpa/pmISu4Q41KI9h7gY751VhvfUH8ujsMIv
jSPcNqo9Y6WZDDFYCRkGoXJctCmSptw1rF0Vjs996YMADp0la5CletbTKssMgN1SZ3vPG1S5UcMg
JvKvFYaAbYX4iSNBWF2K7Ev0YEabgYCU2gnNmzE5X06XJ4w+yn5XD8UniZvLlrCNTZenI834NNl4
gsTJcCjEJWOBqCTrjLBJCB3KvH1J8pK1jH3HnWDYhxSeS0RnMxeidiHUw6ZvQWJqGlGag/PG/JTG
QJp9KEb+4d8XvEYbo2/vHm2jJTGR1coRQl/hpoW0VHGeQjy2HwJOtF1jRLtiksnSDTiJphbzNnfi
FOqU0zKjM40eeUqWTWQvHEFIyDiSg1AlGccwp2Fjq56ChIEWAu2RpuVFT3LyPlDXc3JMJEMDf2Tr
sNzqdVa4JcmesTC9nuOs63M7pTp0xSxnQpPtu87I1k2AOd6LeSpapx/KYE4gDjq6QdL7jYP77CT+
kjj5XCmBqUvTDDLpeIZeXkAVqa7IjcunBpjB2ow43AxmcOhFU52H2eewhct5M7kSO/lAjmLfkHqo
C1ugnA3Oc5KSs0Do9NKS89EcLRcDKDizzMm2vZnh/+xS8jm8+KJjaCncAfK0eMf96qzxfLx3iXWe
o+GQBwYjRMWkBACIezAcr0HrvTasQKuy0IJfI3YlkEcRIpBWklEpkQY1cfCuj/pxaHSss2EI1NVB
HzYWlHMc2LhvkwrYHIgx7FB0siP9PaK9vGhCm1yFoPpUg4v7SNFCIgG2KyOrL36I+sp1sMXL0kL9
lE/XVgbtS+Nax7D+kGhX3qucGQBzZMFgc8DsTkYA0k2fAkNoYhUTTbmewoig1CCQbP7Vn1AqEpDt
XLM5gEv/YmkCyJddME4VWI8J0NvAVBh/hQOpJImY3zjMuqcZzDazrKK1vNc2K4keCADrJUNyS6xS
W5JWwNpfcRznLNgeDcQjFQmZYBqoezNt7WfTOcxZVuA4JxshIorrLNKWqB05iefusGKc9Eb+pHkt
05whqFG8GUOHpshzf0djBws25cRc03EgjQGPx1z9SoyAlt/YnMeYD+/o6zoScwLtU4nwB22hrTHm
C7JoYwSyWEeNp3O+9ODD4djZDu3wTYviFmbGCJgcY3dahumu6dq/BQCnpdM04TZ2GHOZjqtWjfAw
RK+pzMd1a4X8VZG6iUtj4rDmxVtM3Vdp6T/tkGF0teZ26/rZH0Lmx2VcT+9txCfo4GPq4ZTZwFTy
+ncvm6xNW5BzZ46g79jox1VWAqGo5vSF+MSEusw46UVKE8gOt37SawcrEzFnTbvddkbOhHtg4Q8R
+oBriJuTTZ5ZAUHjrcwcpootqadtwQmm634GM15ZjmOsyxFvDtR5Uovs4NXe2LQc32cKy33be/hW
ivRqKtCCNjCgBs88WvTEtXqK35Ah0oIMnd88kbofuVYxAuuIQ9smx8DZZB6T5xbdnRgg5Se0uXxL
a7ZaD8uNUOjwyjoWXgPqv4NXwNvziqtOL2RpjGxa+MYwBoQheJlBL550xk7xOOuHIc/3VBmvsRQQ
FcpYLpLSAP4gfrvjfA862kXOZSqb+xyTuOVnOtwiIZ4aX7kbNe1YaHN97hyGVB5pEk5PboEZVyG1
Kh/LuMDHTmvzxgX925lc4qpUGAKaN00PIA7XiLUgIXU7z5pcEYThU0hWp7nxPLLU3mPNie4hSSYV
p5CMksyxuNGLDpsx/9CKYKl6g9v7PM4GNH9PaDej5+OczwgEc/WHyAafFgf8KKhOaXjvxr7YGUU4
r0oo/myhP0VRfvfCE3j/x59pMN2zpZPWlGRHi/C2X0HF7EbLgb0Kad/SuHmdpuppHn1vKSjsgrG2
d5kdm2t/TjtCIrqXxgyMhdc5LnwF49kvxn+nlcJRQenZ1G7cPErfY5FfYFXEyFlvGldh0Y5TfM5G
gz8PPhA3bXKwmuoD8blzy434Ikx87g6c6Q+K2GVWyHvbO/Mtt2g3MSNy15GhVeRgxOYppIjHgz9c
cJe/2eigr1Zrz29m4S9aPSZAKAvMZ71OfvLedz4rv/xBvZEcCuCHG5oFRxHpl0gP3F9Ld5pOidsR
4RPIrQXg4ci5boVhqLjrJuMqAnQXseEzBVd1aW91Nyuqf2y3Potiojyt/WYvGTMFNkIY0owpSOPh
V2s052pGAt2RgbCHL0sgX0vidloxwCF/CpEVvge/KZc5FCgu6+RsS5dUnJyocUR0UbLBLHQdkSUg
GByfdFsZ6B8RYl2n0wPqRLXTqw7phOvHVIojyvbBCBZOHR2sRJPLDByAJRqNZnmQbpHHckw00z/J
TIJvqvm3QB1OpE4kXgbAYTWkhTwmEJxXUseBGY36ITDDJ0OK6djpHVuhcZYAFkbT8Q65n6dEXGKx
1xsUGYWYjQVkRsYWrdYfU0J1IsOjnProefu2XFrOza1MDu1QvtvegO7a8ldy7puVFUwb1GfykhSD
tjUao14+CuPZL6JtobMHThGSWs9CQ87yQRRKo4z9kbjYkdGdopCdPetiAgaK4Xl2LHlyuMGfihoN
reNC66yKMx2idp3Ew7yycb3A/3LJS31qrSI/2V1YnzA11CcvmAGXa9RI4E0JZXt8iaD+Upe3XqX6
bM26aXJsHVVe/vs5Esx2M0/5e1gjlRwYAC5NRV/3jG4+WikWpDGR3jKmGEBf59lHzrve1kXscJAN
fUEbqflK9wkdMEvbX1WYePgtrlhJs4hOsp2zZRFZLCWjFOTBcdIClh8GQCYaDjD0QKmiEVYfbS2v
12BSQZHKql8LQRuND4FzmFLXXM0Boruh7+UBha08PH6NlXXtahIj+Il5bJjtetsZCggT3OQwCukC
EuVoUTh2wCc7bZ9IUN2hz/8AhaoR5jGh8W0XVd+cnVGWH9OMo605U1AXxyaOP9LSemGjJUsiMFSq
jEOiLTvass6KfWt/+4k5bae6fEkL4xPP5bZNIHgaif4N0sReVikXQhzNmG3ZqJLPMdQuJfjLQjr5
0raagpYyV1gf3fUIUzvq7XVvTT/crR1Vt1MuiZ5zizeOL7u+4RV61Xfk8ocYXUAyUX/PuP44Ngei
MLTyEFYBfTjsLnYCVqMPs9Ng2T9TpYXLJFbpxFa5qzBGZIm4l06/B7pDDHJCbVbk33DVmMPH4Rpd
UktTLsZsg8elq6CcImPkcsRP9AmIzwgq2lfF3eRFO+IJYcBLbb3UiY+7ljSWRZA49yH1f2MovpeV
Sf+ioP8YlGAmyJljz0B2PsktVc93YAfI/4Bu01nKYY4ql6g306BujOewH0D0hwYsCP1qT+Xv2knw
She0jcyBeZpv0dmObpUQF9BP3TYVVbL29A4klHVtK5S7ErkdIY2LRGBGdHUkQjK1jZ1ltvdcRgcs
sx7nH/+Suvc+J3gma+lZWQ4zlCblQ+4buGC6T7wWrERm9VckqJRUnLXL9VXTI1PpP/p0M0TjrsZG
udYQLgH4rhd0T6qVJd7MfllJL9sM6LYXaes+KWXREsV/tkVqe/TDkg4CoWmdTlJfYw9vCE63RmC+
AcgiZSi4ErHY7LI+eS2ZK6BOu8ZZ8tI2PaHfaXYWU33XewZ6lYWI0eKFlR7IKVppzxER2jBK5moh
oXBBQuUQnMfWGkH0L43a2EdQkdrIUGxCSWZz20TaHd/0xvPaPfDBV98LnDV8ZqIDQveGbCk5xA3s
TS3KVkVJY76uXjN7OrWp1p3pixvb0fgiQ+lF0+WuqrzvyKbUyvps6zgAZNzC+670dFCxR3srNJsV
lETGppa+y/LhK08p9FiHKcD8S5Tl6F76BbUDenbuUcC0iIRtm8VZS55zh3JD9uvGhJsbJfTnuRgU
9TMTL6ZVVTnsk5ZLwWpUBQWzjJFQA/6MepDPEyUQFQYLYViSYEzgyVuIWy7TLHs5oYQTPf3+2Rmf
Eq97djFC+2b+KrTynA/OE+E/rtrlIAmTn2PlMUdQh+oLqtM1r/lgmDZq9V4qRagJpjfYJzrSb5aN
TdX6vwaHsEUidPqlZZLViNjnGYn2wTfc92awUdnH+A/6Y6+zDwZtuIk77U2baNS4OUbqRt+DdhuA
V99SF0a9rRMM7LWvDC2X6Ozf8pLAp7TLaFIHmcF0ABCQXYvfBv08bUTAHnA4ZZqCPtL61tKeMIJG
1nQVB6IJEa0FjHYXbSyyowzdS523mxDDsNZf+oy8Ws7dJI5oXsHIeH5OZW3g5arXycA8iPThpWag
5+z7AdEOYLGFUDEpBgGQmOApp2odY1PLzE/7ayLjb8cQKMsIcAEhpl4iqBu0cI2LmgO4l16knqwh
mdnLcARkAawnHqPXee6TI5LtZeZydvVGDso0y6tlbXwUKU4kB4U37uLuxfFPvTUche5i29AuUlJd
JxCYs5Qht+ZeBDGdLUGsgOz+h7nzWI6cSbPsq4z1HmUO4RCL7kVoyaAmkxtYZjLp0Nqhnn4O+FfX
X73o7dhsaAwyUjCIcLjf795zWdKUeU+toYnBiJ19SZnUMrKN6ukXGshwS/Pa3jEVMLeWkx3iyciv
NNruA8t7435/HJBmA6bMK1HzGzZfCLX+KFV6tCFHrkPQOEnmsSSG7YGmarvH5+qABl8Zhve7o3Zn
LccH+MoRo/zi4Cf1VxBGn5Yo9jKEGx0oZkAq3FRz8FwL8xY0Eg5I+yxlfz8YxqtucKzj0NhQuTm/
T41AUmNfz1sl++QOj0MeIQtCD9Zku+iOcBzkQTQGeTt8lx4sJoxhXKJXUs+MYSYSOqFvX8OgOurY
uGZl8qKi7FfotGccxK868E9UF3LJuFRMEtoPmASsmTjvuigGOZQnxMUyfTLj8ag7a2U5xJVckxy/
IrUXl8Ql/HGp5yXLP5BhXQC5Ftd6DMw7ctNHEHx65lXGVBYb7MualoRRz75vOQLUSBpxeOWo9BFU
HMcp/72JKX6MJywbFKpcZ2taR1b6ASzjV2407x3Ehsq138FRkKyyL03fXMkvopHq7CYM7G+ysuDA
+yiWWIRWIymqoBMvPR6mgnpQomt3bQGwnxYrlSSHsOkvzVgenWWoEvWHwjYO4KPuA6v9yLsPUm6H
LmpeZK0eY8v909fydQqipZGJpZnF/tHzMOAONpp+6E9vkkkXFrXRCenk5v8xmurTmIqv1DReZU1z
LSBTczKSfR9SeRZuh4Lgd/lUS87avnPF+/7hZ905BbmkpD7Rx/uIYn8zNThmqmYjfqEqMhB+ipPl
xEyULIfjBVUQ9gTUdgGRioJpvlvWt9od7/P5d6kSsB+1+VpbVIDBlmGoJy5dwVMXBa1v4mfaku5T
GDEb2+E/NaVWTncSwfqgXPdO/qIQ4NdTEwYAXDHIDosNkit0GiIGUuEm64Lr8jZWiXnxwuFMJ8+O
ih22aMknjVPHSS+u3Zo3g0rkBol7I9mli8h5g7JH2HzcdS0iEfeVqx2ZiB4WWQ4Rzm8dSBDyajT+
cMJaVeJH0rfnxPxu+r4WpSxWsYgfXeFtZmwgYcl1Oifq0VObChHFcKNf6OLJlojTVx9fc4PxcJNS
5alz4wf0L6DsxJyAStNTEJgHzR0YcgpZhCpoy81Q3keTzYiue5xm+YoJ+LOP9AnQMC+iMT6MXHJj
S2ePBUhIFY+sZ8PGkxFBGeX9UN6wJ5FjrxEti81kGg9uNALod/6Ygf4ohgIPCax+UgVIBamm1sve
OIIWbgbeLW/rKCIFY3XRndb5V9CTxG9gbLNlg7RpXmjIXMdj7ODktj4yz/7Z8qMh2FZ7DJKrdqIk
ntsJpdE9CF29nzGLM1boV2SZmIb3AN7HlL1XCkKBmxyBhJk6wZrawpKM/xQ+AGc7YoUpNsrAJzPD
stlT5yLZHjlrjDboPeRYMs3lnS3Jn+DgDR0eqgkHozIpRJg3fd9mu2Au8PpjePX++NyFqC53T1XJ
Ys3p2dm9kKgursayHQ3SzzKtGAJmEp7H/YQEm8h8TRTirszBe2A5jHdIhhtDYRVkubCwaTXccncu
nbZE+7FADXgCEdwuc9d/2IAMlr2S2dKxMZk4gxpNTQfvBy39L3rrgU3mDO+DmrF8UmIUwV+0lXY4
Xvo0FevKVXt3Tmh6GYN3ipK8zF8RT/3sjOqjxEzMRXugwAuAg2O8TzNGF3fk/S/NtzFO7/BufCq6
iraWRYq04I0yEfSk7KlCl51QLO2feejRRJKJw9wAG3CsGqcY86l1DtTPH33qET6HzkGglHRsjRm3
gXs/hYVH5Rc2F8VsJ9gMZD+GzkTitgnNg+SpkxhuRE7cTRD+yidgLR3J581olM9jz7Td8tlBDFTH
hhPXGZzmc2/5H11WAcMIAKvSqxeZT1agvlATmZQWtzjIv8omAiyt7gjZES1ESK8xpe0nZ1ZrVc1c
qclqyIU8CZLfolXzqWQ5WeuWAJycANOB3503nlOaW0Yn6caYjGlbhRmjMBwmziC2VVxt/D5wj2UN
UNnpcw7sdXyWWUlqu25ufc8LoLn60EUoLSCN1vY3A2bXqg/m9w7rKKehDPHQZyY0vYflAE8vuSUi
eIfnf5qpmcCIn8i9XX0lobwh6zXHkEMIwthuiMRLphlip6++5T1GqKDcyeZ7PU7nIXagfgY/HWhR
Wo1nFbPjpsL+JmvCQFaM96lUL1NjLSOySx5dJgMxFO3oMrEwZO14H80VlRjDhqDcmwb8WJV4iwfa
WOOvxkxeNcTwbZainTpLZCb44ja9s2NWhtquYE8noGNxwP1kpv4L6AgXpiHOOYP2qp88pqnVkan1
VQcG4wtshmkXHkIG+Y0DVrZrzHNGAQe4VNRbnHVI/obb7MqQ+H7hT6twBGvgOcZm9EhDllYebBuy
Whs5W2srDRG249E/UhpFUht1yY6Ti3bdP5GDauib2758RLmrv0pJ5nmerv1AV7HvCX52MJR+7l3Z
quLA8oJV58C0yAuQpRbsDPIjyF5TL7hLRegtyno2krg9UfmSbSurgLfjM/dQFIxu+gigTt4+Df3A
1E8CanC0+WQGxcYzj7NL3RlzxHc61CilGoBLzHFEZrk+4aR8zepLb+a7tEthSQkmkng7000fs75D
DVmVznJsdMNtFBBxb5L+SWrxYTMAXKOBBNUZBnhBWxvbz246+d1PN+N0VwbjPe7Fap8hACIgZruB
f45jYcc5Go6Rj/GMIzTVtEX0Ksg9w1gf8WxZ9I/LF7thVfY5Ia0TK1/nafmuXGYTA0oa01F56Uz3
yEmm4ijtPA4D/E5OsdTzZOHvwAIpEqTeA6xf3frHcpGk4+YyzPPedFBrCeD8tLX17Kb2zYxtuuIq
78EbUXZd0DcqL1E1Q72zqnpX9jD9sZ0cVVt0e+kUv+yY9Hrl/zbx89kBwS8tNO1IE57FlmD/oShi
iGuGTe9CINYL00QoOvSANAkSNu6wHzwbChOzXZoL6TlJ+r2i6MVMHIgHTXBll7pDl/iwiZS49Xzu
6PqGsb0s82yeRtH9GbEoz17x2XTV0TWjTZeX0V1fyXtOV1cj6HeV7oKtViAk+/miGnNjDqxhDN6P
FoWWRuh7EDs8rKHvoUxvkcP20X4tYvd9js153yvV7mufI5zza3YX81yU4KCtOGl3T4GyXwr03TUI
4Q8QwUdLmD47kLj9kUq2uXaQdVik3Hjrt0W65wXFhiWaH8qwi33upiFhXZ7rKXWcxsR69tvUvWAr
XoZ3tvte02lVGNy/BTPvcDbkJlf1jyw+xYOntvwY71lfO3dVVN61k9Yf1ugwtB+0fXJt/iygw+gs
lfhIsMaDvLKa0zDWzVqUTnDxcYYcuUgfo7bbRQ0/WKet+MEv3c/Ah7VUOLs6fykK4zFSC7K+oWAj
C71lXL4CQXIa7e5t9itQJ7U4OMqBppdWZIODaA8zgHVztJj7Vo08114ME8tZjBJ9/tRZtPZGbWVv
ZJMemuS+8C2KKgCEbkPf3QjsqHSe37lxQ1tYTOKODcMgR1jHU2hus1zRLIovTVEDYxYKACw5/baZ
6KngOFyV9tMsXLy8hVev6873dlq4j26QPTZJdB6y7oCvotg5ifML+1O7iRIDKWRgGcdmhg5qeA92
i1juLJdQefOrsCX6Tz7IAOvs5GYBOTd57F2LGTEuAkhQLVO7uGXnl34QJM25H8bck5xnq2XhsRQ1
137Xv6fzYxE1GNak2NACCCjlQcQ8gallSLlmsGWnfI0r4R4GAFVuSAWBO/5CLM830ShurrrmLfJE
z9YgY5PuCTfe2ciNZpuU20D3nFHt3ll3Df1JoWIGPj81bglMJGFjyOKXm9zTe+84dwX2vOSlM4vf
snaPQcJZJBfBsKXKNsg4mqfFrc6jR4+d3DkKH8Peyw9WpQ5W3tzszH0de5wW8Wh6JPBYktryYHT8
HQyq+02tkBbFcJI97+JmcDZja7CAz+205NKY6kNl6/ym3ZCgfImVaa2ljdXBNWkPUj/CsQp3TZF9
BNlA+W+k1l7FEUyI+hQLyIaoMXp9yBXHVvoqN6rHsjNir207NJsZeDFgZfvYphr7AVOabePYR1+g
pea5/ZAQliUQT/tGVA9cH6n90oFgXKVmmcJ9SO5wtVknKNDvWNDdbczEFGRyRwKyiXMyRG7+nksa
lrCnoRwX9YbmM+iMdgg6gpXx1BtuTac03iG8C9DhPWmfps4o2BxVjDeSwAL+Ms1boRP7aQhacjuY
Ww3rg3KdK2gdgOJd/aIHO/pyPfWTU1H6zgDbWcP0IVN/DpPo91RVH+BMCgwppAhFl2UH10SBKLCp
jVR+GT3+bBe6EFFZ44+MSF6TQH3Eip+xXNKINAy8ufCuvCdRqdYRnAjAvRUqWfRHsA94QDKHLhFD
G8im+yYP3udGfyG4Ekg1PCpiS80BjknVtOlwMTFHDtZZZHWn7w8ux7ggO2fjO7Sx+lyyfjg57sfF
XMEwMK22RI3o3gU+sGl544L8Yg9o2u1pWqi+U6260/fDvz8AjP1siGxs//6SWJ72/VyGwIe2tQTJ
g0JigB3k+fszHLHpIbI4tORFCg5kUNGW+eFvZF9av0XX5mymvemk6m4+QVCaT4Ds3/jdJLvvR/EM
yAZoClvNEUhBYj0EEwkZmxnTzqeshGpyGV51Px2NpA8PSLEoJbFzH4cZg4A4YeYa95+RdR66kfe6
G5zsDBCEpx8y2T6OXa8Ihpq8GdPp0Dv6HV8uJJg/7BDDQ2eF6S52XF5wMHq0UHHEKd2fRvlC2tTm
IMvGlvxd+MYYBsNbXdJcjHa8aRKMcZxIpCeD48i+iAWkP4kAADsokWSn7IRFQdkO9u6ryHvvBdjp
NsH78BEbDp+RMD8W2tdvguwI9xoMB5gGsuZQOKa7bXOYok1fIKJ51Z2RBMZTi2BzmRa3cJin0UfC
LRmVeZju/cJyd1NCzsOQRKyCZoo+KDdL1x42PNeFYEC0e1vxlx0dRFlEU+8YeOPBEFiEa5X9gekH
/TGtXy3PALTUoq7XDvGuNEThK0373amj6WgV/WcpyQE3imFiVjfZVlvj1tOipCoWkGyohHs3OMiu
Oh6sjzDDhacSpe8l74K7dKAHQhhgPeBjwJhfDs2p62fUQhr9NZ+4S37/McOOPr3CxmI1Vf5KulO5
xXtm/vXNzq3e+6gkHxO4sL9i+JxuZVHuPmu4AT/RjzBiZqBTgULtvYisQztH7JDxfPZpJnYQ3RlK
QJBgeeh2TqTp3Lbap6y6pAFjAxLxDrjY/pZYY/TmDg5b0jR1AGq7ZBNDistKL7zJnLaLQg8QscFr
xg2suA44BwVv6G2KW8w4xgMigPzjtfZN85bAboL24l16nCZnN4Yj4wycOQUlhhESedSWEbBEsc3Y
NWCdWmRUwoUhU08vqfrz92d/f7BK/ULeo9rJSnoUHPUXIeUpgqafDPaZCkmuY17Ti90YtybJKK7H
j0FgkPY2z46abTFhPXT8P3momg39TqwvjGVmZxnmWEDoRc4qEXugXjlsUEeQEQgeYrbdNokNcheN
2PKWGccNmtkeTmN1G5LyaYr6z9RioTc1cvAcITyMtLaWPk2fzCQUJxgWZ7bWHY6Vwby4c96fmOMD
ryp6TOXCPLC8slAtqMK618/cOGGigk2JlQqxs9Yn3+onfquueJPGQe3qCBubj5HzxFas2WR+GzAo
qYaTHSh4DTAVinXuh9cyZ5Cl8/iRhiPwOFROxuUnd6lNGo/6YNeB+TS0o3OapNetCtXsBO63o9BZ
fVTGG4ONvQys+yh1G7augPsUB3LM1vSSMPxwdPC7zlF2ZkYjXFDgMgW4l3mJcpBdo+mbRobkQ9jB
p1HN/k4XJ19HV9+wvJM5EXgSk/zThM2tjfXeVeThenbIvjZXSWRAxx9jeaT0CndY0W+HIHpOCm+8
usM8vczlUqlubyx3eFLxmO0bjSCcIacV2VQccH+JfR6PH3FImwxyC2WYKZasaZCnPFJ60y0Wj35i
JW+ZXVpudTbjeD1IGNe5ptB62jaht4sj+YPm8R9DhnEuweNXtmG4C4tEkGzhA8QbB0qH9tetyU1n
btZTmBwRMtXGYcxxsmEdrIQxp7veq+/nmoXZ0OS4cN0Ua0DW/aqYU4ahObEtO552kSz5T8zVb6/i
okOaAx5x/eaj/z9DxP87If6/9n/KpeKo/QbF/y7/CY7/CxX/r4f/f3DkTQl9/X8HyV9/Zj+H/9HQ
9P0H/gLJ2/IfAfBgWNYWm0NbON6/geQBwVOJZAbSNi1Y8f/dzxT8w6bYCN6/kL5lLZ/9iyNvmN4/
luf+NzT/vsywXBS8Tn9B9P/5+P8UOr8vAWe1//kfy5+u/nra8fM//8OnYgb3LHUupsXxiOM/7U//
jo6nVlDDy8axQ9yZXF9Qls+Gn/WMWUaE8YHejVrLHj+tPH9/MybkaI/NRLEbk5W/P5DlMK6xdItt
SvnS+u9vwOQwGKlm7sk26/ngteJuSpR9SNzUoJqovAN6tO9KObxj8nQPLSBmVCYeZgxouSea9Z1Z
t+4z0LCdJhj6HpGcOHpY4jYYwv8qHvtfXw6Q/f+Tpc8LApXfFdL0hO2YQK+WF+zfWPqlYdW2bdDB
mUJ8jMYkPmMJZFzYAlYixtRRGMKHrI3sXYz1oXawrRHo1rAzy+FEauM2pzLcJH18HJL+rbSrfuV7
yR8cDQsPJt8G1FqsMJMS/AkW+3H24aTGC2NQsueFeJo6wL5oSGwKv2DFAyps8AjoKXjAwN9nqYXw
wVC/m2dOQayNTP2IUpjyIbGZEXV1dhmqJQZmu7sMisGazty6wXXflDRyQPIODHMfCN3hgCCjpqtg
G04cLxDrSPW4WFqyTJ9HY84OUsIwDCC2bLEjcsTqNBYjjsmzj202DWFr1/q5UZh32vgaWM0Wt+m0
lpmdXip9aAaCjKnT0dxEi3gS+3s/co7kfwnLOAxIS+MXmVQYVvrcmPSb+PQHE5vloosgP+faMQgw
czBNSm+fVQU4kRAVhv9kK2kbijqfliRDfWoSftu8jL3tVF0s4dCazsakQX9uEg3R3yiBLMRYE0Om
hTloj7kEz34TSQ7YKFP4ltN5PWY3Ok7vtJzuADizsSabZ7X3Uwe2faFDbUpzo0lNY4J+tV2oN3mo
o0NJ3W3BqJVwALFX5lNKdsXKWJqdUDU47YVPVeZxxtHNwdd+eiGGzuY4ZLtT4UaFHMOBzk2YHfjz
zks8sLyo5jMYZ7evMy4WoDiNKV+Gis1P3dBwQr6G6OCwwCVC4wynVG3oURuyUK4ouzK3cNFXld31
+7gKr6qdC+xkOPsrxlpGPdIJTjiNQabNZpDRphny7xVOWqzDznr0JuMmBbqcGWcaeEw1HSbkBDuf
tnHlcKZ0H816ol46MV89mH8o0Be2SsTuuBJGXXkMEmmoqRoCWqF9DNCRV5mSV4ugylaHwbh3OLOR
+5Yl400VsICcK6piaVHhzIAUgLe+bn7EcI/TtD06lAR10r4ZvkgfvKGG0IZOUxkEysOg1GRFk23h
Ov2PeqkpRKRxJp/eSyZLyTDhFkqZvJHcKEwBZ840Md/O3SWeb+EsveUOS+sZ+0pnNtEqy+wzoxRq
4yQoJm0Z3qOgHZk9PTo29su4g7Loc6Sw4LemRf1JVpv06hDjRrXr537CWuQEZ+LoF0ba2DEC0hmE
maDT80a3LaAzjKOYywZXHFgP1LwUmDLil2z0zuRf2KugrGaSQCGH2gd3qHYtrO+4e/divTaj7DwJ
sH/IhQdmAgyRu/SFtFq01nghUslfLCVtjmVH0jWr4flXNH87cm7X1p5shzhZhnGnbQJJHtSjMNJk
gvySEEvbrlNv9g+GFq8mVbwz/6krUKQnWBI3BattJ12criOtAyG2OOVMz6lhgRZ0sNljdsuoXUO5
RfD1ZHMB670dU5xpY239znV1tkLxNeRxwZhaYBbWSNr+jr9LnbJROgcRL4LcWK5jM4zObap+mtj6
T401/O4BN+5jW3KoUSy8QwHG0jexASSVnW9rlBSU8So8t1qFZ0FD5QE4wzVL7ABmj2DoLv/1Xbew
cdkZBtbT5clBUVDkNi6hjXwuh42TSabWZGrAvdflJbdI+MjlM/iyoD0kVRfCbn+UjHVIyabMf+Ik
2KEz65Xn/Grqcd4FyIK98VwRi70zVdXcpgVW9v2ZSkibs86tHBOW3feX/v7g0Yvmd4a7LwcAX2bK
uCmOuytcRGKNlvUsWpZ7ndfj6fuhhbgINDESu++HdaNeSgpiN5EPXbYqa+u5bOHG6Lj69f2oSTzj
0bHohMAP/NxhWFx1YyhI/9Mw3sfiF6MEH2UrKLbktIsTntAC5iSf/f3QNPPiFNNNtEkhhq3YP6zx
nDTnKrNApxn1U4OMwQsUytNcMr8oW/nHjxQ9Db3z6vlEvcY27642hZBEAZgeiyxoDtlY0wsTA64Y
ovluYphWcupe565fvYVd8O67afm1dB5lD9i08k8rxm4Xlb3/NApZ7qy4ds8TftyLKCXZ28Ec9jbv
FJImFbYonQafUt+NnZl/dXSBtFGJJaiMIuDSqjolY8iYCmtHyNtkrwGMoG8GmE/t33PbeBfCWaSw
yRkcnNw+9hPrCpI1LNJY/VGc5C+SyotK1y9kcaznKGQ8HSZV+WQ0tFw5nTNfVWEojPLWHeGH6Ohn
BrnhotbbgIDgU7cIaLEZWx+kZBbYJ2Lk+MJqWH+Mv6AK0wgIc2bykreinB9Hsl5HgQy2Qu79PfTt
72YMOOrHk7frBs84Z93knCxP0aicQa8sTaH3o9cSiclyXinybFvmAfcpOPwawfVnP2kbPuRs7gCl
K8CaVoji7lqQXD35btSErWPV/uaXSSkO+eSHKl5yPpyIMJT4LcdVlMtOOXe+c1fKKtvbBTjagYZJ
arTwtnVqcWoZJ8du5Qmsq8GVWbK2j8LEjCCrXZcr/x44Mad+5Jd9ZyBLuRUlaHShz4/5AudRHz4U
ufs5p3hMWtg852WvMsTVV5QuOIygqjfRW7bAwaxxSNAZp8Xk1ubmyZgQDjMvO0LQtU85OdNTVjYV
TJbhLW+NH62d5OiAy3kqkoDB0zTZA4C8tGwI8X0y5rXda5mWL8NQVM+qGjFyYF8xGvjz3V094qlM
xi+oQi8Gm0i8kggnOiDlnbOUeRwgz9Fv1XbGrXTjaG+TulsFXugc3L565RjWXcpmzSKiTgZppnnd
huldRC3SOoJDw6JUzRDIGJeWI0Ntfq/CwpHSAKMwwflvGZB162YebphRcGOLTRb2M66YOL4rnPIp
ljI96OzTx/qw7532PXOVz6YC9501YHIz/QYDaYSPRaLgUF2g76Y8ffP7mjCLrG/AqaZdaLmMtr27
eZjsG5C0n13Fcb0EhD4NipbMwOVA3TXjFn65hQ/PYDV+GC0uDxPgy7OCWHlog/Qx4BYakDu/z/KM
tSFXT2Ym1A2C27Rrba7UiRqau+Hqay8/zxnl5oZDZ6srlyVxuDdHNmel77ynLgi20I/ih64I3ywZ
kHpcNs/KbsTt+0OfOcCXK3XMnF+VOTMhdybruRO4PlQCnlP4cXXiF/dW5SVAtBBciln7zUXPDL30
kFzSjt9X5fs9sx3DW9suIL82avXZnq0eSBR0x3bwf5AIQI5hrvz0/SH2mMT58XnocQIZEHfuMhoS
bXhhiWXY9wpxa0MKp9s7c7yt0rG7zz2nfsoiSUh4zGo0foLs83SWk9HBcTZXOSm8iyLDtypYrO/c
pPrlRMY6yPizoRCSJIsONinVhqcEyu3ChfAeyuWDXRfzLglctSEugf8ZlMCBC3q4hkZPkMOvKG3V
GOQVxfC0td1ljte9+CSDmySO3hWvEGFe2ApsFdR7RKgARLmQx+/vQhg+0NE3Pfnk4e6prX//fhZh
WmevDfbcSuAu4kwqdz1c67vQSMu7uN6lClzq9wMnpLSx4HLuQ0nwNh6yq5Hn2TUHEhglV2v5wvdX
G1oGhtX3s2rHlDvTL1A8/vV81wQF9Nfjv55TTja8UhMO6vKcv779/Tf//WdiHD9mVInz95e8cLLO
vs/Vk7DxajrXO1fLh++HwEAxRqVF02z8xdv//Z3v50TJjNX0n09K/L+e3mjetkaNUP79Qwrw6FOj
6KoAvmGuvr+Wz7K88ymY/f5G9yTNEKyH3Rf3WZ+G58gqLomVFvffH4wOFPBol9FxKKZ9AlPsBVdy
8kTn6/r7UZ9a9rM/MYnt7HFNsZg9x/1zLRExPSxKEeF/M/K8xzh2/Sdii+tJ+s7D9yOTdsu10YfD
4fuhw/p9dAsi+Gp5bt/30xP8gDTm+DTyD7MTzbor75R4Qzre/4Xw7ddz/+jNQI8SvHsmFbijR8SU
q6GsDAd+DbxsM8g/mqlEsLWfSu08RBErT6KIItgWclxl6t2oxC8q4wB+t2tTijvPbD+EVFcO/Icq
st7H2aVaBwdYMoDOwb5L4IXClD+Tw/gnqjO89i05RIKXwFTIIpQJIJomaI/+0mfhCKjErsMlxKbh
BEQHpZT/pfBSGhzT5NgDsCBOD02gnepjbeAn18ZEbxktEh3gjm0HinBdaMPbjSb2jai4C21j2gsR
3Yr4uS8V44awleu6omcjmcU7Y7gvVFpWTB2ePF1fUtkToU+cceW1iqRJjNQ3BE+ZX0argnrUjeqG
I5lLGCHtfmioj/G6zt022HZlTGytH8RTV5wY9Txy1zlih33zcvGJIvELp+020XHA8QnDcDeq41j6
20pr4mcivIg62xsEQZgFzNM2mtJTZJtw0rr4Aley36lQn2sJWqKBUxnCrqM+zQqJXmPXSn2qfkTy
83vrY4L3XFuifUmz7IOpEdkYXO7xUmyVurDPMtWACUZ8Niv5NtMci+WuuWkNFxeatd6G6dLK95mN
xntPWreekIjC+YOJ1FbIaDvYeFAD84ddiE/aiVfx/WTixUL9PgVR82F6E6j9HDE2nf9YSfkH7Oin
WzUv2NoWtMxNmvoP45Vd17Bv74LyJYwxJVTReYbiuJss3WMtzze9qx8lbNVDwPZ7FTX2nYtRFEsQ
b1iHDDPeIBbKAmW0GutlVd0OQIRXtoY0k8afWAoNLlvvkAgC7No80QjYregwSXZ9U/9hx78yBeAO
4T3OauEZMLzCPvJON917GpnnWpECUxHhrLQD2QhnBx8hCjS485UYWAUK5z4wyHjgDX/MLPwWIrSK
NQW7tzlhwFiIX6orP2Y3NveiRiQwQyqIZ1e9JUFF6Z23oHh0v8ufe4ejZmXU/k7Oe67d/jxwrDkz
EPN3ue5IpTHdY//Qya3pRbQHUuRc4jeKqaLZVNqHx1z/Qe0SOK9wCMVdUW+rxPvBmB7zNOpA63jT
2pxc7oypppTx0TPm4i3Hk2La8b4xw0+Vpe8xrM2mrccNK/sR01AEUuw5QrWqpkFjQWjgQQuIrrKZ
l9Fue8aW6a6jNLpZ2utIubQlt1PeSXkrfoE+9XbVuK7aiY6c0r0XNGrVjsXvSZgwzFLrylX6ZdbN
yagKkphu2WwzCeAlblHhQOyvmSH9EcN20MSjW6BZVZP+roRBtVa9c3tv3mH0pH1k2pLSJOsmbjBe
hLDwk+Q/2Od+1YGsN7IMHrPwQF7Zeag0w54kkRTRsjWemsI41Rjwonp+cnzP3+LGRnKjrdFJyWFP
BnXlfqqbvZ6a5wYP+9mwu9tMDhcFADs6TY5rg9TIm8frbWNrsBfXYlVOy849ogAE7h0eriFzP6cl
ZMIquK6R0nCqRQerqNU5o6Nhzu0DQI7bxNBjM3mV2hulewFtfI7rHGciINJNDGEBhU3ck7Dy9sVY
fflKt9wv2G9lLa0tJSZYT9mvAz+X6cDtyDOLXGKFyzIYghtrNPRe2fCT5WAX4tzdV573mmKRfBqc
dVw6H4G0KOou/OghjZ2b17VcVTF2NuzkxGtpB25yjn5gxx+xCxRsUhhGGSRH4JCLBu9K1RUz0+5T
FSIbj1Z24aBmEVpuiPgkTbQbhx+5zB8JYJRvQd9SL8FtA2vmq8jkUx+gPuqcEHg3W6sIuRZSwdCQ
LIalU8MAVo5tMUehSNkK7kkb3HqPYb5pF4RyHZIoWVN9EY9COpntHcx5/wlX8doy5bOsDA7ISfk4
AcHfZBohMycjCdh0Zdcpb1OmmOCO9MkDxfpqhQX3UD884We1iTAYiXEu8pAWLlmP22CkJbIr4juk
h4+Wr1Dt2xcbTvzxyjdaZ981emsPheKqz7h5eihrLW/5Hpdx2/U4HwfukXNKk3XJwCdoWUZz5tdr
FwDKaLwmHgGwwXRBxBjDja6i5zRaXOQqdZHe5teBZukR+7fnBcXOrKxVI3y4FS23j9o8FsqXV8fl
zDClEY4zKBeTmABTp2w/XHb4M+5/o4qto86ZrA41KJKe+5UwkbbY+SNRG7gZqx51rRKPieu+tNr+
v9SdOZPcSppl/0pbKSN5GTZ3AEILExFA7LkyF6YCy0yS2HfAsfz6PsEeK+sWWhhhhBEqrR6rmI/M
iID7d797z92VvJXDuSr4wBAc0lRoEKTA9wIA6TpDULozmv7HmjpvKLguazdmmq4n+B/bZEtQCTnd
xwFUkjkwGrf3q9+/1D6xOtOrCW5j14ySEpPSeBB+Ox+SykN7dY3j0mYWxrzuQ+Trl73CuqMj+ShG
u9wvvleHhDp4CqPZxZ6Hsy9P6DAhsgYQ5aFXCz6vLA5yZT1mWEm3c2YaZ3faqbG3sRtXDuND6R+E
cn+UJXaBQT8O9a3yyHg2Ji8+FNnRzTJNhbyRE6Lpw0TxKo0Oa02/S6jW9VGDiBQZEMWD1Zvry7DG
b5SVvQ6gbupMtdvBmN9ct6dbdm3f6MT+QGQT25qg3Fz0VZiOirVq94YDku7T1IVGToByydUXiitW
GtGeHcUPH9TIKdLTkztP7SHx5eYgR7KFxe0box5u0D+oHzC51YgM+cuUCe1ADr2DfGhwzZCfSI09
rh88gpX3YmZTzJjr/JRk7x744EWtpMx6jIj2+FZYtPqQNcZjEUE2LG2YH4vXfI2WREsE4l9oAJA5
UBO/UO+qtX7pKO+hawxHo3SSvbpN+XWbXMeuf2q1EaCB0lw5n3UVQ2YkVDEZPFGbznxUi/Hi45jd
iLoQNBdmYKii0Q1NQdqzU2wPAJYA51ePszcGS3xTVWAXFf5rmTLouzzj63F5SP0PUXCoRfa8mzCz
UOh38xrlJkfQGrZugfpujA+avbthoJlUcL/R+qGlYL1IDsr2XwB5oi5vkKQIec4D5sPuZqKzkO+S
+Wde9caVRoBPpZJvG7d+bp5rtX4AC3rs8U/jIc3eXM1Q2azmnuL1ewP43BGMvw06v7uvBuoQxkR9
MxnAfDnXiUPI2hd0XxBOdmlZaIQAtlPjlZojj0Pdq3iINCQBHeNnPxHUI8DbaRo3MdhgB87dI2vn
8eTgaIZokzuHSmdXGy5rGMX2DyRtdGge9ViigtLzv3PVfGqve7RZQPmUpebN8sjF+uAUIj94ZFdJ
Xb9UM7cqsaLeZTXaYj/7f9COyzA1LS4/UCCRjSXxsZNTfXQ+OemoVRj94ia7X+Jo32jOCoMJdees
DB7unNQbQgBoljkRBLEbhQRDWxn3S4nos/JXaWf7jRUj2yT8eRps4a5WIC3K0OoHtg1K/FljaIM9
EmGOBrRbcSeTwoADh+MH5mYP4KjBEO+aI1cjPw8tDrC+0yEPsIGPaWdsHZFdTRMuUaPTg8OdLKgs
Yu1tXW/SX0p1y7XVye/Jq4dHIz43E87zvjd51dPbK5SWVJW1FyKnSdASId45X7P/2qU36Qi7Jw+O
YO46LrkwSTadNX4lANh2jS1TygJVMNzmqeS2IKgr684VKAVeDSfQak+g7act5R+BHXXZbtRNBXZk
fqlITiNXyI0skPAd4wl0CO/XYrKPKUokMMkuyJkH2J2RJW/Bzq8LCXhAmtdMd9B3b02ReUqjNoWJ
lzomMKWaJN/ZkCISI2HrZ0GEn/Iba6gDkzKj33CD70EpcImE/zEvTIUX3ArJnktFi9iWfkTmeCxr
Oz3VRXKqeJqDNhxP3S0AZHt4nIyVh4dLeDMVI2/+ms1ZDY8hqdwy6CpIVNApCk9f/75/XQsoKAvh
Gy1hQcXggGnMP0bz00vly0LPDgRMrwqETQ1IIYeXAcmHwon4aPnulwXcrXFbL4CZ81KDU6bdBx5y
NDu0pEzm1SzpEM2so43DJOhWFjFNgfV1SYynVeaPVI5Eh+7WjVZW7hdW8JciE0jTN3wm9ku6F/c0
JF0Wg3vtApzMyX/AYjOR9np3F63Zezaxw+NnlOKhiRGgGuyOZuljJEolmZjud5nKO9EMX5BcbACK
ymaubg3AizOLWFRU3DGKMMwOe+6P1Ju8gJ2y2naKXjP5CiqkuEsnBFGbvGXFuZNF1i7R5T42MIaZ
PCqsNF6P5tQ+klMAkbAeGq9NQwkXFg8RnwbYOWNGYE+qli6sFn6tDfN16CkCWZuj+TVl2WczrF+r
Vs7WX+ko7XT2k6HylosCqqHUGGqa5jhw4H/YjMD3FVrGKoY3Zuwvm+I9FtvLTlly3mKlt/ddrT8x
CyBoUovttCq9Q7bG823YcPBpPh3gZ20iSaLUSRF0KUYh2WwX1yoFkCYN+H2zoaEu3b5ozjDwovHW
jJeDg7kJMNQQrtkrRz5u/olxEJDB81QhT1dsPDEO4tCtQcjgtr0H2v++Klw0VpfvXWf9GsmYq+wK
UDU/pQW5RDs+t5NnnEraJ5Hqwr6JieTloSvoS8DzzqZZ+t/V0l+zcsHYuFpMkZkdYgx9jHGI4cOB
Q1Lz3PRnEoB0Iq7HlPXd6rCYhSxfkxMfcRpu7Ii3SEYb4ybz4/clme290TcgyeODTy/ihhM73Vsj
XyZdP2O+C73IhHjlGb+QCfCxg9eurOElNmdOY4O1MFCWrTHcXiaoojx27z2mO0525ANprlfDhPwg
hLp4facIbu5dZTI8et7BX+mIreL2SFfnW846ynf4O0yl82FD5N56WfWSs99x2Dvsk6F0jlGnftp1
j0lf61DZQBm95iZ9O8l7N79Al1H3fZUlD2nCNs/H/Dsy/jEhQggiRPqkHbazc0X3jHEslX5a1+lP
xdJtZCYPpnj61bkgSOADBISv+AaMJ1XN+jx3nWlfd8x9ZVpPuCjVQ6W4a7g8KaYSkKOhsmXnMWEA
fKnCMakb1hHUopi8s6KopnwFQIkrOcZF6UI7jdB2aYMi4H6YzeZbyZU0Pznn7WpPQDcEk4H1u/Mp
QWZRABFEyUNpGiap1S7FMd5+jHZMgHweMNLzd/5bKeMXIpgG3DK+yyqGFiSERYuMV3TMZsiH0wj/
Nfd5pOTeXdJntFrNpCc737yuGaEUU695cGv5DFTk4qAFEWxFa/U5Tayl76eJbjH75kPhMFUIClxk
b+UqAp7djdRhrxVuyHZ6NtFKi/zYGkN+7kRBvyNRQMYbfpqaXEmEULZjI4+SVd3AM4TrNDGMhtgL
MF9ZZZ9pzqECJr5/TZlMj+xJoaEaiAkxG8lLZf7RnBWBrNV7UaodJkZoTtx0cyD3nZqf8D77NA5W
QRp7CEYj559c3zEH4PxPTNjILBfUjG0CFs/ZMMdvNcluF1tf+N6nQ9HKBLch/d7lSO14PfWfbd+m
B/qIzzxMPmQkX9aGgCgukXM0M7oXLYkxnhucbICBThyJLx7gGHf4mEDwQ59myFCQkZCndhkGh20r
vTzElXLJk9jAHJHARVOohz6DepPocevPrncpEV8A6w0kl5poa8EkorivIHpgcs0nsrcAlAsbg/gm
rfV3vuUnxxUDclLUT7jUiwu4+5/+nAA3L311gi3HdjnugtmyEgIiec7xgBmRjbw2+/osct1v0bjK
jWri5B2wp5PmF8drMA3A0ca4DM5QNwdem/hUZagnEke2TFl19tw3tm41nphssy0ijLexDcCqiLwP
RTell4z7OqOFQ5x4wryZc+fPFtvdWo7+0bs58PBCdPt8EEiUgL637VRdrRhbNMWpz0tvDoHvyUCx
TzvgZX0FIFFC2Cy+0pI2Io0nZKb/cueM6ZVZ+JEUoQg49Bg9YUVsjbFlwxaCcal2WhL4W5v8mvvu
xcGZoWX/1jKKkMpWVGPuVkuV26VfD+S7X2w/qEtIyA0M5q3NIg47UGmfsnp+MSAYbqTm8gcEduFS
IUJbexq1iasq8fV9J7I/mfCfhMiXZ9oQQ2pUfcrbbb2DMxaWRQungcgqz3jSrX2+xWpm3/xO3ElR
/La6HDF6lnq4UsbzUTKFgaVlPl4V5VN0xcdbA+JBaA1YW6PlEGvjOi76bQRcFrV+tBdG3RP5+F2Q
MuCd0pOTYfnpiyeVe7x/WUzODHEbHKYbL7eqs5zMgYxi7nCZUIEPtHUrM8el2gRluzAhXKbqi6Iv
hKqsxBHLppG7Dfmcgrnx5hjvA8cjJmmv4tC5EMkpVi9uqRI8ej9I2DqhRwvRVgA+iF2+y+STwZES
/ItiCFyLs8rMo5zXBqBhg9hKCT3hCZYBK5cDwcInFbSM9fF4WWCt98zGdzhrzglp90OcuYzOWHGW
nBtRPTt4RFjUA35TLN3z7Oxk7pOt7CkwjOw5a3gk9nE7bhOYdqZ0nXs+aR9u2kybyLZ4ueOKzroV
lc/AWNc4LJ5fPRpGA+uWu22YVs/84kp+ly3s6B1ylxKNBrlfuiUvnO+pvV/RpWPTY1DLY4/5NzAK
6w/dlCA6mhWzuKYtapQtI4TjhzmpuSsSi33IJ/Nep1URLjm4Q4zutxqZDHcjKzpZxr/m1dXhmnuH
CbAiwNw6xSoRvyWm85EzaAQZ19VdKlgkQ/ErG/i1Lq2loRicPxVJYQBVjqI2o0EBNpdzbgExpBGM
94Ytf5VFEc4pKhILRYMGnEOZP3Zeb18wQgaOioa9XZq44db8FqLyczjq4tdorydo1Szj55gxAGv7
LsqBlnSuGe3JhDnsermGQTCHro3jHE10LmVY2dInl0fqFSDhb+pL7lEQM3KykJzNG9khZiurWs6r
oQ69NKeZ05FYg2gCMTx7ufknfEALQ3MejSfsT/j+CB66XX9qNKdM17DSxnP1MCsQs2ZC/3Akmv0t
0FTR08wB3nES4PaCQowGil+HXtMabaFslToRxoUzFy7jQGonh/q7ROpBOwYNwUa+G1t0zcwQULPd
ZjdPy7y1u/ythjXo6Btom3+1LTEToj/0h6nvHidqLFLg9XnF7ICNAWchz3EI3sjBSNe2zl6hx14r
LzDFqokzrB4ELid9lKI5mEKzw47IWcglaZ5pVg7Zl1GxzDJqiRbKDLT1HsX104x3iPhIGxC4+jGu
OckO/6NfY/AHqY+CMhLqKSkug6eQa2pZnYrPtnIdChbiz2w2eDZbL7ka81toLkLv6I9iTqFkuwS8
YQ3wIyZY0lrc/p1RXDMF+3NZNcXq+PRhchdApPM1HEZj1yZezGhELGo+FnP2p23XV+VX037ASdCU
IudcZjJSYDk3Ue4HhEoI4dfZcxK1dVCNsziWYjj35MnGXpuHtSLGxSbniSBRRYYj6vf2oG5xLOdn
bHtcPi0rLPMvG8zCjovhg21zL4Y96XAM+Yy7dLqYhjyLrv0xja0HDPGTGNtPQkWqznhzkzViGZMx
83tE7JnRntoFmnRssScQGffGSLdXf/0A4yx2JfDfvYlrzkT7OkSz+6uhB2ax6L4jJBLSW/BM1eRn
hWNOtPBgctpIhGG2YeeOzOAmUb1hyR/GBKI4+37W1bpC/vD7sOPeR5fITLeti8dQ19PRsquQQAfu
gsJ8tcXFbdJpnyoEEvBbf0yunj4VhbS2SnrOWAoPNJ3IBuWhM7+jFZZUykxwW0J7PekuJJiDyxC3
NbXxWc7Fc0WtwMGaEasNtLhyKryAmw2tAY5/5KM8tfAZVcIbuDP2mU9MPGkFTpDZBqwMhprkSR2R
FRsP3ANbDsGTh47O+0OzRMFDMhJ2ZKEJhr3E1hAhqHiKghSUR8PTvzoHKws/GBzc9xHM2X29zvu8
hns3IDUm+V1pwZC0eEbX9foxQ9Lbds7zwMkFToCCFck1w8VEvhMVkXy/NNCGHHKjKkjc/g0nC3cp
WaX7vuIo84qcKsAxLLj4UAHUQpZZ1w+QSyV9nAneHvyqm0Wu23WsvDAuAY5hVXnsbqHpArtxMVsX
iLhBZ481LD28Al5F4B/yFixFMBYuK8yJzESb6ydTVi+WolEFeP/JHS62xtGStnlx8uzhvaO4/a51
1TNM2DAxudAR9K6JNbGw+O5XMIIuQ/yG0hQK2OVyMYuM/d9VyIjeGTbj26zn2W7AVIwUWNOZ3hD6
PCHyAev28Q1HrvXRVm2YNNkSyhlMZ5Mk12XdlUhtVsvVpuH42fQnimr4sCedhU7dHBefokp/luXZ
l5yPKLiURBji5Ddmh2gIGWTwd0tl/q7GnTdziaH2cN+I6jHF+rknJSOPFn6pMsLgmhTNE2AjphkE
LlvjXlQJTXX5hEWdMhs4DGODU3Y51XV6MxjKW6Bvi/3vOfO482F2OOGjoEAUvAu7OhW62HT2y8x9
ExZ89aQqcRk1ArvpiTeiU1yU2PNv55EZhGTXRuTTAOcIZvU4kHslYxQSOOPCynFJ0jYY8MizgOE/
PualqItO7cDh2cX10RdcwKquxuxsfVAHRrGdA5EjnzGXTf70nDT9g1jbZ8ukBcW0ne+eXQM4nXTn
N9BZ6vmplMSYbNL8lTdyFPjjx7gwZEZ2wFyOOWyQ313U/3BtB8wRdd0s5gJpaRZejFzM8FgBm93K
6M0V0KJDmVWDMNpjTckRqM8YRPYAmpaEvrlQ3TAXcBEMcgusUY6F7X1FyJ7qNiUujUR3QnpQUXp1
Zk68ZOYjlBLjz+LE3YI93OnF/5GbnRnQVrMf7Py4FJBe2Wpy88FpiKjiUKvrztimRGMah4nU/8bs
CGTNPqjz1fYJ0lbW7WoOVKDBBZWlRI5T7fnIpXTUxDYwmtbPOra/049sfLdrK97mphz2sV3/nm3A
ZmJMj7HXUpjYWXcO/T9dNwSslcsdrQTbYkFK4qUqPRycNkgbj46kOT1kTkuoMWOeHeMHlhmaRwkX
fHdYsdXK/lxmxS/he8XWjm+zpZnknJf0X5MUw1X81etjPJCAAELAgZxP1rwvZ7kj0PgFh/gNA+cI
umvcpayxYQjDidLD94IVjgL0cQicDDIx0Bmgr4v1biu9LyyqtfOaGUcNiBiGadJnybNm/rsVBFuy
9RM7PxWGddHgATxK6HcWVaYUllYr90VWAVY370Uif3XSf0QTfSyyjE2cNPdA80LPGlklkf3Anyx2
/0+iVf9TaOq/Jauu6XcHvvbP8P9DtMokbPM/R6vA8A6f//brf/1vXXdp/Y9/+10N6bDcYkzm7Tf+
Z8RKWP90fMfzfd/DE+44tkeWavrdD//+D+H9U7KNovrdNjzHJYj1r5SVafzTtRV7G99VZLAcxW/q
a3oG/v0fzj9t6Rou389yySErz/m/yVs5Upr/LXElXfBcPlkv1/dcH3Otuv3v/yVg5AJfxJ2MbN5x
OBZqHi7EMhbUM+f2Acse20p8jLgEURLbNnCT1CfaQ19xXA2H1SVhc3tsFFHdvirb4Fog2Ovaqtrr
fjgCKByeYBmFTML5xlFzSu0fqAX8JfMT96eAD8uC8MntskzTi19qRDP4FL6D2cqI3SzMjOlNOWCW
/d5YztDFriZywnGJps1aSn11Sq2vkG+RrMwYd9otIJXGbsRv5A6JJyo5xWJFAodjQaXIzwg88MYa
Zfap8jerLSBkxP1X1TLltKZkuhowaBZZ99oyMBvQa+eJzWjsArqJH6bCUfDGnMaH4kSPa7RwZOjY
2+RYOi5Q2f/PF8IPWDlvv9bD4UD8zvcRot52bOPQQa0MDV1igUFuvc5VMl/dsmQV0/AxX8pnY+35
ybNuSG0oggWWq4s1mHBLTBSTRaorjQ/cT6akNM+DM++6ZCzDiMQ8Hg7D2sfwWEkiJcfFYc+gSJ0e
Ko9ABCEi3KhsBo6A5F8Sf2zvqAL0LgXRsj5O04ek1fadQ6bk7z/ZtNk8sHCnlCFyKC+Sw3nIfKQa
jvUlzY03jzbdmrfpmfaPb3OK25eOjrJBLnJHrxoRGx0bj2TXQs9GWHK6zrqw1sHIlOvyOsRPwl4e
slmJA2cGC9+SIPJ6+y6rTrjlljSL5+5lJCD7DAjC2i1p+W5patIaqFQPf78kslDB+xSzZU3rVt9x
N9R3fhc5+w5+2EZ0JRtE834QqaB7Xl0scqlH9sQl6P/KHa+GV7x7k/Xqjpp9gZl11240GMR06dHy
wRn4p7BHcyvG7qnzvCndtbWO6CuBn7pQdEijm7NeBOCAQ8QUcIlj6g6jAt5G0xX2bixWC9KfvZyw
JUV72LhchZNEAOFwVYWP7V//XK16L8rsjoDmTSDhiwTsca5L+xKZcXf4+0tjUXZHI/HCXpg64/0h
ksugreRie60PcD/7TbU85OXY+XYRZ8xdDPzyzq11che/ri4nEMryBw5965SuHWiKtmEG7Xt/Qo5q
dECtpkVdXENwSMf/9cvIRLYfZ2hh//p1pAjv3FXZR4fxeW/Mdnf9+0XopKcrmxJAtjVcf7xl2Pc+
04sDfgiQqyARV3SAhW9iyEgc4lQtrg7kQl5oaH5CbLuuo2Mey6QHld+iuVGq9zJMthOwNeZnJtwS
TYVwA+maPkD6BdjWTrhGimEOO1TTXa8n/xrB5O3yEisBdv9d2mD53PAv8q80ABOaXKNlqx2Ufhsv
pjNIcUaUiwF889+8XtEqXHdiEy0rYNXKh9RYQqoy4r4gjQ5Fb7y57xT0GeGo/O7vlzopijtLxX0Y
o7durMYqrhOtuBvSltnetZqIbUlGOKOMeztYmFC3hpE7TFytxYLdkg+ywxRi1651tcWe21J7V/qE
LuMoPWOd3ecJAbHGBMun8d1toGVI/34x99wh9/ks7hq2KRtgT+MZbxJLIGD/I3H7sBqXdy/ODr6A
MJYsf3ftBN35o7VE0ZUfQLqxg3QgyAIEqN/V9ZstDTrQIz7O5DFDSEob1UZtQMCEOxP2xchvn8dx
vUC0EEGLE5zwQLy3iuJVypm+Wp9ddu/Dy5Ld7zi+rgaZUKfK+wMQeXriK/Kd/Ik3zsAoTf3CtiI4
5w31F/bl6tQstFD29St64hRn7+VI/TB8Lgo9qBixvM8liYDE7rxbx1FTG9ZG9tmTUdfWtinppeiw
mLlld0Zp9bGVGJem56PmLtUVxh7c5OE0SfnoFIAM0sm+ulb2NPjVkQzkc5f0CRKNdant4ZyO3RnH
UrHJqAFnTPOf+r1BPg+kV/4mk/HRLa4JPCvK6no9iGAcQVbl8pVU4Y4IF2ksG05QQqhwonNiXJyH
GFEY+PWNG9qjlRNw5brKJfLQVcuz6h2cHNyFMb07Dy55wq3M7TMF1xNjFQsMEqx11weNdPKwGxF4
k7K6YgrQJ9gzO4U6Hxl4RHOVv/hjB45cZl8FlVwR8Q0La5Hr3sIG7G7qhOs93FycYhmlmwXI5Sr6
MCfSn+NU7X16iYWkQaWTM1wpebd6GTt2HsIbziK05eiPs6R+sNhJvk8qC4YIw4LDe8AFpIXdjVq1
fqCKDIq+UxrwXQkqhomrx+uo5HiNy+kiKReHXdJWx96K4X4kF0pTGpKS81c6GZ+6lf3BpXsoiMAw
0hp7TArxufhkFDrstCQvT7J2WRehOe9q7e6KklQZhWJEUlsn2ZZQ6OAj/JyNbasH1ISxuR1BDklP
ygtOhhuIm3DNTcfH80MaAd5KooN5id88T7514mJU5XryUo8Cj4jOSMIcIosPrQn9NPLHgKtCEI+k
3LqyeHJ4IbZqABg+ssqq8mfPnXS4CBtTdLvuvIVG+Hx1N4MX8USIzQLUtR8f7RzLci173j70+21G
me7hh7TscBruYTRCefZrR5HgdvSsJ+e2yzQ86g46i0g85e8HliDzmSAWe76ahaDfX0sIRWcwq/my
kpGrJzfEPPJR57r+kYPO40HDs9UBJ8Ej/o+KrDtDu/V+kCP1wcuNrT0YW0EHSpBPbv1AI3XYDdg1
kigfWHWk5tXveXtiPYwD5Wrg0WOJW3w1iXtP67VOaPqUhIyhlN4CLjXtsmauXgVnEEtAIon5zUA0
L+b4UgzW4636IvExAM42tWKmRTram27hqQpyYM7qzBXKwAVOp6nRLkiuBibRcakSJlKgoMiKvwYt
66AmHj40NpFE5sJ4UtTOzc5GD/QiWGtF6H1YS7qN+GJwsbKJyJz+/lLq1NTspFEJ+JlQtrWWeDXI
BQZgGdngSxWfVwfQWZ1E9xhuV7oNoxwKADYuo+S2WT8sdvYVkeAlHAXzrLMoOux4XJqKUmDt8cCN
2XrkwL8r75ynFnGeMsW8XSb7KH9TjX0TfSqMwZhxnPpAnIeYX1q/3lo1tvEjnao01WMlrUZpPMul
fu6wEImlPnTz1ByzfsyPMh15H0bfJl65S09Q5keRG3unSSH7jCMrV2weYL8n+z3FrEEAv0zPdSYf
kK14XLT8RudP3XGfINAYCqdLDq6DY9DvFcF5ZCz8Esm6nVwzOSWZRxOOOQN8oUfPnu/NpvNDMfHZ
8Y0O1wOA9QnItFZyOAFCSk+wbB9at5TPZpNjzBR/U8GZ9QTsdjNAhGFjbPyeZvxhcEGh/+JdxwRp
2XdzInYuF7mAvXWxM0d3n0/rnVcU7UEUWXuZrB6qpFip5aAhaJNP3fuYDt7RG24kA6kXjncW5tFN
E+0MAeSBz0Q5+Psoeh5YhG0qqhkxPR/zvvkypzTqUPa1OAOHEbftrTjbnfeJE+rgkwM/+Nqzf5CC
c8Jxlhhu6csgfiI4XacGZbBIhl3WrY8GZUhUQOsybHGeSqHlYxdNb5nBs1fgIYUqFdFiZyf3SmTb
ieMQs+gVCDYxcWk39KgYp0aZ+XXFKIQ/PvtRZf3vzOYpXNq5ODSp4LgeTWxYNstAs2wu7RSZ7FQl
rRtUGZJQAQuj+jZkV0sjjaW27sSjCS3mYy4sFbSjJqnsTYfMrjrEK+yybJyRRQkpPC0DGNnI9hDd
ABvt6qw5T7M13TEQBDqlWwLzm8BnG4oapGTkZA+Zn/yxKF4Mo45lXFEbL/XyoSNds3kmJuyXaZCb
QA1YAsq583c25gEwTPsy5elSYwydaJl5yCrw0zmM6nFRO5UjU6Wd+A13ZDNFy/cQW8WJY+fWagsx
FVuIXPTW6s2j3QxW4FrA50e2pAAkOWjuvOXeVkb96q2xvbP7ddmmTvOEbWFrjRbB5Hg8xzc2K/mp
Bxo3alpXvCcKi23eMeOjEnG89b3Y5fFr+KcEZ0naRuvJ4XEJJHrHaoIGG1xZkC/bgDqqPHALl1lB
pNsRktVmmdc4NCYtr/04I3VWy241PJ4t4HGv/Upmwx2ubpsdevbAQIqqEsQ+9804mYK6fWr65LVu
evcqac/7zy91ATyLuxVAXmKQq5pxraeUw8VNGTS9JMzr8XmPS59e8UzQYn9mlqTlyqyaMF6pGaZY
NNO7siXxPYL9pMz6Xvf+F3WH7V4txbebjBNP4FmCtbee6SnpG6xeaYJevaJHDaL7PfqoqFNzpyZu
a1U1scQwIdHVxfziU7EBP1s/ZaULg3TNH1YrOqiBOGU1j/shFTDWcCiTeaVQC1mc4ZOlVMRLBtKB
k9XDLnuGNfMBFxJ7JHAE0+zfnZVnUupEVHdm9JV0vfsNhuinOacn1RofjsmiVz92LX/0uCMFPrgD
PUAeHnqqBgKhjV/89ba90A+lbmbupTo59Sxf5kFQCobjlgNUPhkR1mkv4V1Hd2EoXQJe/J/2s0x+
txjcD5kVd4TgJ1gMqxXavJnKiC5qa+loN4J54bbWQ2WaLjc/Kw/K6pxPGFAsvFrmcjCBIbJU8khg
3/rAdDWd2mW64wXkg4C3HNA6AQZuA8ZupQMP99G8pyGLqVQDIZ7fTYp2WLpLaq8NkIxW0oSZ2b72
Bf6UogIxbdMi4iG8NKt493IYTL1DvwkF5Ttfjzn5IQrSsYOEvWu+dGlrbQXzIf5yq8Fg0dCiWhv6
ZFFbY/2xhpgfUpXHuJSbvTWz8PPLEjZoRfywHXj6Juxt1XpmJURUrZQRH5VX5FhI72X1e5j9+KRJ
a9YRBYLeOLRbl7rRHShtwLUQUvgmuNKMpeZPUgUTZOZiaWmS7NEzG5PuDlWyNjT0YoWDgaIygh3x
h/bNJENBoeS3dKuFU7V9W4RmIWri489KlGlaF+eVMIc/wpzn8QWJXXZFyEqSTY8rQz+KijMFNqd5
gJVtDrlx7KOyfagoBipYg7I6ZgcyzJjWbFe0AeF93MY5/j1W0+2L5UX89Dvyi2mQUV28L7kyESHm
wlq9R8s+XfrpaZjWl7ZsrLMe5du0gkCu654We3ekILKepnPnez/aof9eVu9+sJnSknE5Okq/0EPj
7W3hsUcp85/2ZL47DTzpsq4km4gb1z7mTwIiIt9zQT2sU/7LtYqc+cT+rm5cTNxM86Ym7Es2kJCg
YQWJkHLvwjgpEXUOA3HCueZDRj4WiOugA0+tT6Ppn+pUspCI1qdbUpCPJY3KqOh9/UlV06ZXvgmE
YniqtOT7s4HkOTMTsYE0zJ1z09PZEVhL89JhGA4GXb+uSfZcq+m8dAx3HR8a5Y0cjN1P4A56367G
j9pIPhMqhUuXJRc5CFqi5DsXFwpEYsi+s4iQ9uxhS5nOvTOULYV+FHzEejhWtIHt8D7H2+hZZdIi
rvcb4u9Dlss3of/IlrSK6LGAywfluwOwAMxJIj7rMsP80Go+KPYU9m0ZDvAzThxtrPYUrc9e9w25
Lgm4IGBzue200wp+DquJu5IHzp5vDOATp17CoU+DDsieleBn1QKYlmYX7aQHrET37rayMZukprPs
KqYdnSoQ+om0t7WJu1bZJboKbjFurfjiswmFRbKV3An8OzMOW2gZ9jcqJ89CgNEU0Tmvul/mvVm6
FfseryD8S2wsQ7sE1PR7of1zFDFtTe49O3bBDz3+tZZNRX7ddrYbGN1yT//sc+PgaiL0T+CGh20B
OmVboSUfA9EQjjE45Y4RCzlWMOV/cHRey40jWRD9IkSgULCvJOhJSS1KlKgXhCy8NwXg6+dgHnZj
d2a6W0ODqps38yTpF5N7jZaeiZpHp0gbeMVE/88SPFbTsYk2QUYWsBpHgwAIrQymNv/hJs7W1UIB
wtPIBG/RNkiJHl5cDY3EZFJlM4GbEPmYFTCO/QHNbcVKjLHNDDdhR6aVjzR9ERvDglATD/YR6OV5
7nEkzPsW0AnGq/CQlNFFp0gFEDfJ1U2SDsAIAMTwjJ0EenJBPwETYXmjH4LWB96KpGyVT4liRwhc
HAezc9jouGw+K434heRWVFYHjjlv6+GK9/HOBGRqoqdM615cSf+P/OSF9a3BmmDl0V1uOjnODAkx
W0+QNHkyUop0Anz3K5I3TTM/ZajT+AHc0YnE5ANp4CGckwCBoXxnQZcfKoEzpivvPIIpLrVALsOy
YvKaPeyFVEpwPK5YNPyRu7y6SuNSGb95Wcf5Wn2pDAxn2j264gbX8aSb31Zobi1rJsXX7QUxFtEA
9qmMgZgqPd2aHLZ1iCGUubVXnIlm8hnM0e+8ZG4i9Y7TgrqNUb3FfYoEQl3TWAIzrRWQXovnewgF
hl040ZVi+Ct1iV9lau+RZ180rTdWehUMR3fytq056GCOI/3YDMG5s7XntCXEGxmxfdfD3wLgulb6
WUX6IEgswnzGwazjP9hkX3M8+oaZHuGl4Vmn5TjjHdDtj6RgA6d05AZM2yGeagzSKbeaELOv03rz
vrfCJ6QDg1B7tOFZIpZHoFsQk++l8cab3DP41efc+/RENWI6pjtTZfCjoprCkLAWX9FAW3u1fGYq
Uz3NUXtyh4pLKt/csqB1pG5w80S4vEQkfnpio2QkMDMtltsExtu2N+cEnZRm9DwKvm0WnrSdYMCS
fwAdn2nWwfGSF39ak6ojrQanhlOS3uTqFFjWNSaRB02f97OSglXe8GhHAC0HEN+uPBcAufdTTIu7
4uMksu4+VrewN124rOm11X6pYkXG8TQbmxANFPTX2QnjLr7oU0C7hJOTm80A87f5RZuY9px4PxTB
RfU8IxN8OsXsnsRsM47I6MEkMzSMGBT58ooBDKUZDX8D4jiSwlnXu2sO4AlwxyYHA9SNFDOX3aB8
YZCC7ScsIuEtHcl4Bq9JxOTLb3uKTHUWhoDLxwBjE/75/2dtBvdPo5yoKW6aqwhkIIkWssnPnNMv
Fh1EzI8T0WZIrgG0WcTD8JKk0acdgcM3ouEjn+VnKIbzZHFQBQRM80zcPVKWfl5ad9JlGHWI86cF
6prFnVyOmCJ8uC0Q/KHqqOq5ZVVCRJNq+rF7o/vkqBodfV3sm2g5lxqSvjVurEbQF1HU16RM93bb
zHgUoYoqIjTC3WhFs8mT8U4IkJS+/VYkCWGzmFOGkP5D3fLln/igmfX85Sbhv9Jg5KXaTyjm4yro
Ni2ksMCjT22wyGpp6FP5migZKBs9oH2CCgq9xDlY1OokWPbWZfrgzLhSIOb8TrbCE2DSVR3zR7tr
py9LjHAy20xg50LO50WpfidsX6+CJgxWZkZ0yMy+yCbRllDB3tPz7OhY/ecIaCbJqte5FdESuyGt
QgegEz6Yefiv0JJDo2FijJaSosqrfpwQT4bWGKQC0o1eP2CAJ3oPHr7pLMi9kukR/862aCiAIdvI
8KgNz9RU05GoweHi6ARPS7vhBJceBymHRSxjfFrj1Vb52srnG9kmfVtzoq4ifw4rtLyUkr1wsv5B
6tbs0Wd+Vo9c13AOGg9t1h7jZHxNJxNyicYYWW3TOt9lHtYNFKhvNvl32+nuvI+rDN/LoBk4FRqa
BLRKv0y1xy6gNztELTw9pHi77Lts9qGCoHtpTt6YfjHcMBEF+SlOgy+WG1BNrfrgBSMBxoGnBG4F
H98QK7IF9wSNUNb9p+PV75ZmcN4zHACQeOyNiEvXPF+6Sv9M2KwNnvdEvfEqZWxYk5r7bAF1ZOYb
AmW2yzPio4Fg1OjsR6b3jTllP+QgMcUQmK/GklrK7N2QzwT+19o0HaSbIVrUql2zTn0QmEdD/tR1
bRhH2RCzCUPyeaF+tsCYlf1t4ia0yvOJTP28XF+qf3FOC0kAawv6T/ETNTCVWqSslgLQ3JkuWbZw
4AfslUkPtUkm3qqtCQfX74HI6Zabg61Rc04Mg/cmjf7VLgpc1/MX+rizSSzhuxq1IKwRSEKZuDHy
rF/qVJJ1zyTk51b5TlYyXpMGo03FnY52WJBwbelSTyGrGVEAEsJxgn07YKJMDZLruComkZ0pISO6
pRs9yiOiLZuThsImUgVcwch25PR6B0b5TZ7JfEx7NIEe9dULmPApw2LwjwEmtBnpgZZ8JwKzO3Dc
JjZBH7bzOzxt+4j+mIWl8FHH38qlX0MNKeGLL0nKx+4d6OEljIbkCDdl48VmcilNTSGyFCwqk3Sf
kTQC6aRID+Hua11c/1yv9jj2X6qsOjRd/eLhBWTzpu+oXfHim9HRQBJ4N6cMl5bkisRb+yyzIwv7
dY/ZH5jmeUz0B69277pq9vyr7ZyQei9qS1kUYJ7pnIw6PH1kZrdm6MURbZgUyCE3h5m1tIFtQKBV
q2YQgY/E+lx28lMHkr7tyN4FJZe2PKBVtORxuaq51QZex1rJ4S8vvOVSCzWqmXjdBWeZY5dkUBss
owS3HKH4FXyg5z64JkvgJ1feGarhMWo593MnJLvSiCt7SGy+0Cnzzie6+Ll81COzeK5bPGelYh5o
y20Qzw+1ork0t+5ekvxoVS5XprkUgcw/iCoYd8LwGqq42aG1UjeM6Xup/QgnfelVDn8KjI2VFW6s
wPkxWXBwM61vIwb8VTMDIwhQe6y3SjWRTykgSWnaYok9vM8W5jCPJjpWoXVJgFhuUlZqehpxU3D+
lySGT7EAsJNKFz5EqJXEUrgfof4txdGcADEPhmrI6TJztQdUpBMsrqdq9B6TiYtwLYpgawJsBSle
PAftzHvC8tX5ynQYGqSfuYJFLzpQ8k2J5MnmLHki77XOUhv0TV3VJMG1aasl4HYW+CrlPw8xvnv2
EtELWVQqh3O+kti5sSG8daabrhUqL6a5+g6YQRI6m+EDAx0MxRWeEB0xBrGGsimPnqu9mgjlIjpI
0d7z+QoGlPGVQBOWRmi2Diul0X2yi9TYMlKItZFNv7bxpFOB3cegVuzZ2Au+4eQUXpw+3Ex1gfdZ
GD4rMna3YMm5WGHz4FXKC26m7ryn5WRBY7LCam37u6zZHVEjt9GHSK4GY0eM1dkLexV7Fvd1Xbor
OA+A+pqJh0ZCsF2TiW+Z46ExTPMgKnbFcqEm4FVkU2A9AIXv94ZbfIYmX/CxYNcZ6U259TqTXiiu
JdUM5212AOokZnUINEqeq6nEEAvHth5ZILObBeYtDhmagl/P8YF9J4rxeINwsutF1m8ToslyDj+B
cG7SwIX86RRsdCy/N/C4V9qoNl1v936e7utZ4/3NjGg9UDkdNrc0JqcR6rAQZDFcFIKZZYX7nAKN
kAE2zmo64dySAVokaBBL22/dbqVyXxuCn5M7XfjHf0LyfUXAARdlvBhtfaDwpD2hkwIK5PHPvBEY
7C8l32gbe2pANLeSatcP1FZHUXQjSfxkLKdCwxU3ncZ23wfRuJ5b+zZl83MnOg7f4i8Oa2qgtcfe
4Q0cEz5rcAER0JeqJWORyLhZJRb8+27GOzyz0KIJnXI04azrTAi/6VI2wd1zFOF7Je5GcGWm6Giu
n+k5f0kLL95OCNy4o3aO695HAcnCIV4hM3S/maw5rZtr06RRp09tTKnae0Qvo+VlH3qqUYjpFncT
m1ENIN6LMesQAl4BPz2wluF5IljbqR6IZUCplnyM+RTNukO/g2d127BkDTokLMnsMCZMQHy2bJ3P
XsxvWaUeh0W3T7LmnNE41Fv4ZkakLloKk6QLfBDOFzC7W4OLx0o1W6dvzsYc5DA5yo+e8JPFHgK9
0boVABVpJz95kThHU/yItemB7ilG8JDOUj0lf1z32amyFG3B1Qb46iFCaFjJCjb+EImbsnXldwnp
RXwk6cmdloPQw5uSI7BjmzmRSyLlOt7II7/FwyE2iulxYlcWqPKlK3vyY5xBGe2NbOFoIiooe/bn
7pNkzL1OMQx1KGQi6e5WDPdm6LzvqIqe2kSL/Yqy8Z1m8uyaiIUF1CaiHa+ElUGcioYHCBLNyhmQ
4ZoW+nSqbZvAcP+lAB/X7bJyrhNICjmLp67s5gMWmPlo9yaIBy97oNKJ5ZgED4JR21n17qWt8lfR
mYSHxMwx7BE2duC2kIZ8ARATrIxvzUEtY2kQky6kAlOzcKBVmdqy9Mtw9VYUfUrdh4CDrWcnw5Kw
Bq68rWfFyT5eTjhofYs19aLobQ8GkhpcfLqVZXcdibmVMSR/pGFfuLIVR7ucLoFe0kURuHzqY5iE
w8DZrhfeYV7ENo28+6ZUUbHqJjIn5JCFP2EkmJFmkDQo1aWEoUiRl1EsV/iSvxolPjzUeVtrXgqj
OtPehXdF0aAJJeWuoh5TmsdPOkR4pG11yIPq4HjNd0oJalzr0AHi8UiGHRxqMuCaa98SgeumyjJy
nOoYjmR2mGHYXFGAPWAvwBb3zy6Y/tKceli09K8SHFvpUSSZUJdnmPsmaw5z3aB+Q8FpHYuTkgVd
kZ1y6OtEN66ge0K2fO4uCx2+3Xz4ykx89Pw+RaP/zQXoP1trV8RZj+zgGIK86FCSS7Jy8+jF6tyy
Qm90iAeyYN87TsGZLHE6FyO64IRCE1h3YJuH1H6uHeeTlUoNlRSdJ7Qw48UFT83KJDQ89AGRUKxc
keluU5uZeHLr/Miw/OGwnRKz3lx703Mu+KDRx+U2C+w/wjcjAglGE1WSl0KJG0gMht+EnwwAQ6Gx
C+zbUDgcpB0ma7hEyYOstxk6AUaTLvEln46NPoPAaTVa4yPxjN+hWEkh639sMAGgvHr1MB9k1xG3
ad07M2V68ML0iz7YTRwpgyA7NpwArFpdAZ+zphecW/ZuAMvkitTZAo0FVJl7h5LUw6ZwZkSW4FNK
AULLxDYoDO2Ysq20pbPTM9u789coE6rWE1MnnhWQYfS8rCVmAUzHuQZ7ZuR7F1MhnlF4u8V78BNF
4PlCAKq4+EhCOPozBmfLN1tUrQY85YWh36b74Rg4xSsZ1IcqIEagRlaNDpSGAW3Vh1lGJKUWf5i6
KCed1Z05jnc2AuyK+ribvTs9tdybVZRuMPB8OZLqZsDO+VYTTbqWQnv3CilPelH+YyW4cljWO/jk
jqlhvnJOc8y2/QN2pM+i1n+mOte2ta4dirp+G1wkm96ZD+FAE57Hj6SH//Ix3ttu2V71cAHRzPWF
RSIVHfQVrM2pd3zU/pgoQ6Kv2dJ4mAtxW3LNbCJeCvSjOaYAXefaUJJbTzMqnAniENbM1dYIrd+s
c9XD///l9D0XWgpbm/JNTExjBRVfRH/TF9skvC47MmeWYf20SaMok2ohx3nWvLUHVitEq36g7b7R
Yto9kCAzV+0WRu5XHcj5LOfsVWjTnaFXbgyneRldkraZQnKewu479xJnE1Tdm5rqq0l8lerlNwCG
hIvi6Z2oc8dSnbTBuhjUvAnrUWN7imqnmfANo1wbN82SVa2RkqaGssypN4EpsBoBM1X6eHZPZhle
Imd+yLlqVpJI8jy2h8YJzpE0zrqcf3WCsbn56RXBr2ZDAJiLN9Pknm/On7MHRD1Ld4NBZQwOKPrn
YGxyMI6Zdy3QV1keHuao21teefKMIABIT6SnEbuBh6BV0k7P6IEjBmIhqYCJV3JU5pX91V/eje8t
WGO8PzhuArXL8NmtdBjh5KwI5uF+B1aP1jvk9aPGiDWBHi0y7VdILhxz2V5COtnqDnhLKOjmQ3O0
veYZNiHZn8Z5qQq2pEjslE/rh5J1XYsUs9ebiAY1wigI0J/WmHONsLRdhMDzWBihn4+m2qVz+R6R
ugAYYn7qkc7nf8DiNSUoLgATyPS2HcdUCdd5En4VEFaHMuo3OMeX9+Bbsgs6GG5iQkykl8fwaN01
3H2gxmFjSPNPzyBiZ1OCkkHU6SRk8Iy92aKaornJCUK+s5wkKpcNG34OcVaFcL+LT2of0m8eVfcS
OsM8YB/su1ueq3ltNul77pIM6FL2Nap/rEV5DYN/ZKzGdT6En1mr0HUgjFKptObh9ubyuV6+CQDI
Z9+u5btOm1VsQJjmCRMBlFllxB22Rk+Dkd7xTMj6rzzI9m5Ewlmk8CQdTnHaB2lxeCFR8oN/IGL6
1W6F0leyLw5l9WNDcCXWvBCUSa3h9WapZF68Uf8FymHrKTTHfFsEsLNzPE6VrQy+SvmX1jRrmv+Q
Ej08N+yRa2rBK2oYN+EQPqq817nHp++1ra0wlcxLqN6WUAmNmxnNr/pgb/EaP6iJMXEsv7r2FqgW
xVSdp5n2a+pOYQ10p6jhCsw+shqDlyiMmJrivV5ikY2E+qtmBlgAa+uJZT3I0eygDGqJB0d/pFsF
TtnYbhQm1LXioQebiS9AXh0iBziDlVpPtOvBlkjehJm9TETkWKdYNBZHuW+m5ofZuNVBr+0jy5ej
MesnZfRPIyQRCmzDbRy82JX6THXvo0pmMiFkW7oK2meAJtU/xfoDuxFf4zZIkG/dOtW9cLKHKumf
Y4kwGbCOm3hNBreiPIvL7wrfL18GX8Cd9KJ3DXx2xxI07QlCofRzefMQ4zHbwiVRj+WAxoGRfd00
Hl7y/5Vy951nz7mvLTq29O8Yoz4uf4Asa9oUqEIg36kts2u8D6PkAZYtwsiAITdXzVcIARZN+q4c
R0G2afc8wPJ17ald1LbfEqiVa4tP/GkMlAptCn48Fx77p6nTB5Mzpwu1V9vkFu3asbWS6P4GhqDH
OO+fHMsFqKdtCq0nzuQG1jEdPTbw5nnU+gKywfTPzobgOIysN+281jcjRyMGhmEtVPtjO2C1yg6t
iGhbuc+ywV0lAmqOlomNDv7l3I3pB3zZaWc4HU5MNkYaJ/lA6YbMrD/oM9eGtOA6Q9tezcGvw0ph
VY9u5Od67vJyTIe+vodh9ziqb6Z5EF5XJex/suq/sKycXdW8Srp1o4ju7KAiQZn2RYifp/il65AQ
NXqhw4Z1ZdW8WmHVrFNFcXsh7V3DWzlmN6WFZ1mYPiFZcz8VzpGkp7eisXtcJ7W8VNQ7GqbRc1cI
f4KsZMirXIZ0OD+kmcgmcXclxtzsYMhUayfM7S0i7QOEFNgaglK5XE30IyfHuW8OnZk+O12JiF/M
566jlrmJpl1gpt4q4sOz7uaRnagxfbjE9g5FO1CAq6ILO2CwLVL9cn+n2M2zl1VSdWQhRnKLWOYq
mUgiaj/wxP8pwRe2cPB+O7z8fOkdnx6wBzbj3rFvABaI4V9gTESV3fYXo7SPp1StITlvbLpfdgDz
C/6f3DNO4jeZ5FFSniIGrn3UHoHZAmY95TxNbe/XMps/HeVeLvVApSbWugFuytVU6lMD3fm2l91x
wJQ7FiYkRxeXSM9xa2Ptep6g/0WFhhtSL8ReNzr24BNlYcXEe2XbuNW0yVpjPypOrTR2lHzKm0nc
YGo+PF6FE8Uh0WMi4+0YjcmTmPOPCpNBGsEHxSbZXSa+TT5LaaJ77rGB6LIHPUInzGzS/sO/kePM
eJ4qNiiB6T0lORGccEh2LJzxmfOZsUOiCDE0q1pzC9+zCiwXdvEuEweSSLgTzhzsWqM+g25dt19U
oZ1tBUXdrQwMZSOzSYX7Y2O3n/HkfVOgOqKva35lFw8NT3Y4+882PmhIYeMdyNy6y/S/NgGbZBk/
ZjHcKMJrxsbddeRzeiQErUu3yuvYsYuUUMQY4zZNEdukmC5O/5iHjoY7As6H7jW7yVLVv96z3DWz
+q6ZvU9Xd1+tmiBka2evcVf/g/vGwrgiHwEdF+2kt7aIxgCMzAEvvXuDUyf3U1teo5GV7uQYjxUx
/E09dpsY/QqPdfZm88Rkk9+cCV/fuJYxGvIc3xAwLSfauyV/V2HuWQ2m+4iiExJRKo1ts+u9hQPe
D2oP2oWNZpjvoSJ8p53zmy71BlZsfoPC+hIZJvWyS95rB8epytFGkO3/hv7THdyzS0VjUZmHmuKN
bR/oz7VetDtT2t26MzR7TZaFoLc7gFk2+nMliw+9rsjjs38x0vq9iqb2GMXDrYoJiYYazkjgNxuZ
tiyYFxw2fH38W+b0GHJQ9iwgg2BvmjTVADhFzWpUvaq1x0DJ5VEryjXgXW6ts7uqM/kEPG7a143+
CqHlc6breEOvW7HoFzRqTMa/Io9iYvnt1gytsximlxJ8/r5E8+QbVKyT4ame0IIlfR2amG8VyIp1
kmVnQYt3IcpPLSc2lurkIhCu0+5aelW3A1i5aAQWDoIhp96p2XULnRjsNYlc720wCNwaVv1ER3i4
GbvqQuPxodDmX6trg1VLkr0GJb7q9GnvTQg1hnJ/azn+8J9xjQCqz09gB1HhO5iuRghfxNSIrNQz
yqSR/NOM6hCOvbNx+/YVrJTfhfVrx7MWDQkYAAUKqWSJ5zl3Mwk+etKcq+V/1AZVTtpjppOrbwmE
0CgT5Ls44cgO/jE2UUGta08sIj5CWn2V8Zj3bOsyWLDDiK6OevRo5Awl3PyKBKDhXD9ZvQWIvzpq
+kQHgsUgDbUGn3O2a+3xVFfBfVDxQ9MnOFCJ/+JY9aFDQKS0NeprNMBeLu/OQK39EB5MbXzAu0l3
qQmOhAt0722teMYgIeCXcvNqbPNllljxMo/UdNesAUauTZZgajmKpe09RgHJmzk6J5IJVBS1XAPn
JsUzuvwCvf8JZmIPRBnXpaeF/zq20L7oylslq18RI7DUpXhojhl4AVqaxgpQ6vCHVc8lCDLedac+
OiFye5cwBlsxvtd6MjepxBEHb5xueXATos1o4jTHJx2uHeNAwwlpmJ9mCDgp1MDKZG66M1rnt3Po
WA5y9gtayA/LhMfvEub4xs2qPiZEp7X6I0P0PlgARVKn+ulDDBK0o0XrtMDWYRnsVmxuEXUWHtsq
Yf1kf0uZ25uy5GJKlGyitaqCOkLZJdPXxdPVa+tJRh7uBn5ReeTlPLzoHAMAezsEtyNs8ueykq92
TzW2OAnbuTodQCy75F5mZLyl8kzhVHwoFFiLONTvVlSDSJY1r4Vr3Se7G1gKZO8OU+cq13kAq5jW
mogJeV3yrpO3yL/F2AImsHR28TV8Y4k7o9MX1GFk7GjI6Q6dmxjrgn+EodAfGlTSDKWm5+hl+imu
slKXTjQnQ+DIMgb9ZSSV1mJsS6GebXNPf6kXWZtf4xMngwmtDzcb7Qo7iS/ipCHhWV9Z5+IxTNlG
GOmhqu3St82xWrsDJ/iyirC6wdeTUlDxFqyoGkFhs5SFIBWfMp7iKA+UykXkPMKhVk+JSxmqmMyM
FXfOJyVy4eBZDEVhaxyils9rwUjBHYniyT7C0CycnyDVMTJgYW9AysU5mfRIgTkZk++qhfpBOaLx
zZ0li9VTkVYeLZ747rwM8iHTJXESFhZeHG6LB6ZUyPhd/1PCAdm1kxp8L+RH5KHG3cTB3lUhLOPo
sTKfvGRx0PMQxb3JzrVjEOeOMOA2unzgTN9YlnHDixm9uNjEVplnaduwqfWDi8Uj4qPtULCxE61V
+Rm5xqNt2cehwGYqHabKODfWbhq+xBQ+tH10MSndW01m/yemCgkhss0DdPBXdkjdkxYqDLJL5U0V
LVJUHBOgEfLdGLm0iTbZQe4ad3Mz8+kTyriWcASaYD4P9gjhZRYc8bqzL/WeO8OE/Zqs8k4p62PK
ypumUYqsZbtKaanfKJrflgyu58zwJVOF3tDbH+ilOu+2o1+CTCNLhr0PZ2M3XKCrVl3NK+L076zc
E2K35VPHxa4PXO29VjYPz2/N9DaCf7hvczaG9fAph3I9cY0kTEKUTKb2zqGK5pi6ePTcoqAzZnzF
FBrhE0xQXVW49czewkkGTsoYzZvOgbYz2xqEoA3XPsrnB7vKg8tk84iuuGgOsqGOKSPL4gTsLGwu
iGQfZcvVxMj7D72fmVu7F2UGu4SBGYNBwK3OY7+Cw+cpFl+DGZf70qJZfupJvrTRwFa2v7qh8eTi
kkQUE9fOmFsf/CI/hLmeR+xNiQmIEGzaNrHGl+XJ1HrE4b7xoUmqF4xT4DkfSCcA3QBPQRWOqhXK
+48G/Aw/Dk8/FnWgTYtXu6ubXVlRimMYwQU9MmX7oz5mlDmiO/rF4BkNtY0XIEx4KaDZV0gqmDIg
/V2hrnPMevdZZo+jHj17Rv+uRnTfbHliMEXSGaeAL8C+q3FpheYfQt2GdxGchRHq+5ka8iLUL2w/
frlMiVUFtrcrvia7x1c361c7oxM7xvOnRMntikq4TTz+8RZOGydsrm2MAhk731r+BPhdILRUQO35
TNsuf6ZGxQQPvT/WEj5W152b8hYnfW9dEuRY4BR80T2D89nwQF8UnNFayglTTq70VREXvmEbe8Mj
sdJWVXR0naMBjDAP5DvZAwUhiLg2MEyJ+FPTIGBl+XNeznDl6qBd6cb0nufehWH4SZ+orxCc8ndn
ckj/jk8sXm9exWekY/EOIhjqjByBBuvIwZI9U64nSDX6a2Opp3BxQ1K09BVa1avZvECG5oJTtK8t
sKHCTvdBCM5yxo4uXRqfE6nn23a0brjDV3RKMIc7yVcxU9Udl81TadFLWb5XzJa+M+1x8+6E4o+e
Rf7oNBXg49RaO1Z17MZmZ6jmks3fnt0elj9I8ySewflNlOLdoeyRgcW6ieSAEe0N11XKCVyvRNAx
knjY1AoDLQB+eOwurhfLfq2j12iOnltG36HnXhMt5nLcU0A+HV/vy4Pqo38xwEujP0XB/NvM5cZp
xX7qGGCSH+4udHdVcKOanJsrEXcterTm+QRoeCKsdJ2I3EoHL0G4XE1x9IyDdzcMjLlS1nsbzjDS
B3i6wdqQpVgEF84mo7SOhCUPpGpZ5ndPkZPE65Qz27FxGCPgbAMrQkZEZmsTLhOgGrdlQ8FlNHNF
dPnyL06PYSGnQC3jbkiwATbBrM3nTCfYkXgXgGQ7sw7ztUlcZc4cDtfAhcFMEjE3aJJsnDcHHzTy
4SnsWPaqIe739dR+9FX9ZQwWFi+OwLQ15LllI+U6LV79nnaFMuAn67LoNMgzN+BxiUtwqmfOUSp0
bi2NrnL2Et/N0RA5dED4j+s4yZZoAmn6FLFMj4950xT7toGNAv93aBJrV8RZdxhYm7ulL42webUO
syGDVSCKHQGmu6XJXZi2j2AZwm0d6Hdbj16d5QvsTKR2ejMy12QkGirucACektnOT5LPPdRu41cF
LE3lqZyY8Eze5CTmIBe69eAM1MSZPBlTz9uJpP1RWfZGtMSBic+jlR0efTigoLTpOLjFK9lUbGNu
vRcAGpG2clB3zj7GERWYsl73TXFFu10pU66Sjkq8SrHXRNd+567InNrkzz1vKPcjdsgE+RHM2YRH
lXdJjOJQTPI9MEfH13p9D0wYo6idPXaxfgPIfu2RGUXdnpLefSsxhZPgopol175Hnb8xB5xgZCoC
euPJHSJEAGS+BWwatEiZz7U3PdqQoTJdPll18RYX8oXL3inkPGWDnO8FMuqSoQY7zwPKZgcz4KdA
N6/JL39VooVuWKbPnd2TtcsJ5zC8ktuhap5ywpPkecHhXr/D2Kt56COq8PJwq+UbSdw47+Jk69nj
T8n+b+lOgbEssLEMBn7pEoNA23GWuQXhui4v8Wfam4H+yHVDvxk05yrdqYiMQK0AvA/uP44oQQqv
JUHJW6KzLgckWbzOPdbDXOO26GBVttCEGVKZ5Ev7wPqPeLRp3Hqn3djgImGFBavIDr+4uuNN4gK0
olcZQ0DpB73+0zmA9PVxupHtvTVJQt6bVgVq733a6fZsXosWIpRTd9flHZqwGO6N6eaM0+Abxexr
7FHY4/IiYp7rSp0/M56feTroa7o+4EqGfxV+Bizv4USBS7d3y+lpNONHuob8ocp1hOzm+P8zuC4m
xfCKyajEJjFhh17cLdfCBpkWL8FG+vBqPqjRPP+25fQbg1I+gYxt6ZrLHweNQVez/IJW9QKau1ky
0obrAZh09TJixPIplNKZ6MOHMRivBvQEQZxRNdbV4/a7nuxmWJVGdhlbdRsG8+I2804a02c8kBI3
Q3fPI+aBjinWk6F31RTDqIM1sYb5gVUAsB4PyiH+kIM01vEIhVaPwV3XcfGQ5ltptOwGdQQcGdTw
eqvoQyvFkx1YTKxyJo6v3BdytYJIXvEb6MUHNGzDT8biJwF8YBU9RbJOdNWd4bOht2hNXYk/VXxD
VTSQgXf6tZKhtyvI3ftt6xwircLo0JosMPk+WTzZyvIf3jKDi7/6aCgT4WIqn7grJ1uN4TXRLEwd
nEnh/8xVQi0yP9a5TdsLPW2zADBpIgPnk7OPIFFR/8hEP41nmLsfCgwM5Q2Lcx1+nyBTxWaZeC2f
OeRXhyHvMcBHW2f/TONF1HjuzbCnraahHJJTRCuGh7BkWd2NZbulRQNacYB+2HsloBD9U6+g2U+0
OXAe0hZiOduyJ8RYIyVbwV8WIBvhXhqxpCT7/1/QjCtEAyudy/hHoBBY8OH+x96Z9cbNpFn6rwz6
nt8wuBPo6QtlMneldsnWDSHJMncGGWRw+/Xz0FUz3dVA90xfzN0ABaHsz06nUpmxnPec53Tu8tWV
wj000/wRxyyegtWwMK0nGpgONgkHlzVmHTiAduMywU6i4vkJAgBgM+o85OA8c6wm/V7RItManrfV
125xMAdV5QNszJ8BjEcWCfT0/lI67iEHBS1issdWON5T7EBMnG10Utal6hjqFeVTayAx2Vze4KR3
T63lXwo9gxQklAgmWTNluOnD/lHqCWdMWvxUVlVdmGgb8XBmgViXRNfczQPjTYA1c8u23DSOs6cf
GonOv0tm3m9eHDDaHYd3+CiAhPPgDZuqGbmlQffUK1AE4toOjh+ikhbaPl6nJeKSPmwa7gZRh2wa
ctAMHG7sc9z8HM0J80EKKIsTHqlqua2X3N222OR5k3zpupJ7Vk/sH/6F5BJnFmGjctG45HgFnRUc
sbohiNxqeLI6TnleJvtNHCdRneNETbLkLiFxOJfxKxn5M3NMIisVl4k2exFL8jh4IRsypgJfBF+E
+u4Hr3pa/6ML1+wmNIqXdd/QO6sLnC0KqY/sxBQ2Wc5oRBQ6KIuRQzk8OVnOO7CJ862sG7rW5Ckw
1Iuo0iMoZARc96nsbTNqfOsV2xv2hPK+hep3E5CaO1WGflVJC2O3m7LNYuHHBMXoIX1sW78uMMJ1
kBpKvDF+eeBtzvyjP89MlQLmxTc679aqpPyXmRBfhadfoWnOVtQ43nOqBgxQdvqC8TBasA+jKjDE
yzAeDtT23CC08zOGv6MbZMYq7CPVYm9Zz1cYZsY2gGGx5O9IN0DMyS5wM8F2nzk63DjaeCNm+jJ2
8kJPz+8SHzkmreIXhcfHEPcIF5CazmxdfgvlgjfN7uIq/kC7N5meiTPm6G1mBLcauvANA2b93AyM
mOxwgtvtBu/T8ELfYLMFT3Wsm+pKzrjcuUuOEV2G92wMd+uHJRj5YIM7bXBT0pk9FN81jI3IsAvM
mv655bE1vMMbuXCXQK9Yjw7Jw7DYB5EyCAhXSMQ6GbRoCXaEAxh1S3vId5mA8WTUQJ/eDEEP2nKV
EWqytxPjBgh5VYMT/CH0J7WTRfgOVzvZridBx5kBODEh4JwMNrhYhjXyDxXUvIyQ4lB4ymcF2b+y
wxEyfMbBsigZ8VNlTNKUYhkfOk12ouL9B06tj6ro0s263xB8UwLHKZ12fWurrV1Y5ybk1IT1E58R
1u1Wkc7L6URnMyao7hvDUyens5+Y8WF9KGOcSk6v8LAVgHXJ0oYP79wIXsPVxG0GN9O7gaOxrWLi
qiGG414uT3af3fGhqOcWOV3PHIgbYqyMXxIKyEz9TvvlkUzGAWHlbE5MWW0Cr2TUiYDIme6QoNzn
njyPbUmBRAaeUuj8Vz8vF2QIN8IZDldhfJXS5PsjgtKn5WEqSSt1vLlSACIEyjivGJ1kY7XiyFqG
7arD2Jn50RurxB3I98JAz6oJTa9dhs7SuNiWXYQQqfaiFi+jXb6MMQPYdh3oHSlNYIIkvkLZgFb1
UlJFFLL5VstomqdS0wGMopod3RQuL2WNlzoerlRIIrIs2ERoSiOxxuh5JU5yA7mr3XgTcsyTIvhm
M3vg7Hmw+hQdOSWAAZR5TpgdDD5QmJnOpHgnKJDY6YbKGTZNTn7FRIVEYFKNuvaXxxHQiLdZzVxw
41dsadgrbUxvjG9xIb8HC3Eyk8ztJjCze5Ug9rC/gonsL2Tw32eLM+LWvzfoXpW5v4+b1txLNSIv
DuU+hAaL1Dqdct95IiZD0D4UH6TPv0vZXGhnJDeWU0zTMx3kTqNyei7yxwwRLaqVN+9rmzdWn+GM
HN41s+oNnh4EVEvoCLAMoVwXsPdgBl+5quPN/xM84X9IHvwHPuF/BDH87//2T3X/8odemHzL7Uf/
8Q+/iP5AAB/0t5ofvztd9v/yz/zNv//J/9v/+HeU4PPcfP+Pf/qSuu7XR0syWf9bymDg/Wd0wv1H
9Zl9/Ps//3coobD/8kPfD+jwtj0Pi63zT/8LSii8vwLApGYYIG+HPhUH/0oltP8KLOTG0HXZ8uAW
ggokQrJSCXlA03OBGTrCChzBg/9XqIShA9+wkSXNvPXKT1yflcv/PBvnhGU5RA7/EUqYBiVH9aF8
yHL8lX6OlWVhIj6ycGMFPIX9OdSYI/rWeY1T2kUD3KAgLZZV7jXLr6mxLha8Zhpy8CiXpI0mLIWy
al4IxzGeN6aPloWGPtkNR3m00LR5r1KfDm2nodASwtvNon5MsXfuR6bSaRs+cpGU+7JKdzShV4e4
hckTGqY6+euXf/1lOowk0WKJoVuEf/8jf/tzeNQPTYv6vVBNZM9k9sCBKJkZu34nMOi6MWcKTF3l
Td1W3enPX//zxbOYA4RFU0YtUunBmoodRNeOE7RcCOWpYEAq0PPpz5ewAziXTupnO4WfAH4zSuzB
7RKx9Mm+p8ZuTKQ6aWeIN1TdfLWWQ6NVEJnGjxo0G0b3Fq9CxnJ84y6xPFEfKU99Vo0Hi36z0okR
m8MWptbaLoXLgoztYpoT5Q383z9fipI6uBoehQ7n5QxMJtvAH66Zo4XTlTEd/WS/BuqqDp6pxUMi
EEp6c5cW9hMFF5Iq8uUHKAj/irx8CMzOPSfmTcl9drYoR5GaiGWT4DvEKnVjiPzqdWFzSybl1SaB
81C66kADGgdsuz74cac3EinGW5+EjTtsqzvjI7UhiAwknDMEBUFXy8ExKJhITUbgJs24ki6p2Yee
1TsphgS3ewzw1uLKsJ81TUaLwjjIIBDDi1f+aG3RHANvpv7ANN391Pl3dtg+ZM7s7elqgf2+shwg
Ie7LYWS8YRbWU7HEP4awUQdEJ/cAkGHrkykkNu7sAzoOspj7CvewGqfOWJHmGvqNZafc6KbmBb3e
OqHLwMtkRhU6DuexvPzd6dbB24G2wOHLktV724x4axJNDFNfEDOHV4PnEfvdA+K8d+sv1DrA2Fw3
h7XpEzsRzB3GzxPHSgR5DBwKaG+KQCnMBr4BvtW2dZ6DVnYXw/Ykse4w/7St9CvNmm7bGwa5NRaU
E7FPIpLWC8efz5Ho/p3NoWfELBF1qfk5x/ouHzpIPemXtwimWgMDqMm0qyjrcHQHLrzth3ya0lcR
1reNSDZZyHkTOR5CVG189F5e7XQ7rjwUXmaITqQb05e6QmhQwn30IO9fYB1DLxlLmC8Q7rApxns1
DMahxuMKMhlmu+X7LxkVe3uTPlncav21sRK6vgR4XnQNLLYNPVIFFHGkNCBbysqilCz8it3fWIqB
Spgu1FHxmNw/Loh4VIbSLoPhSx+qkccUfA42PU1eokH4ydsAXFpsHArag0lWWb8VLYVSM6kOAgsY
16x3TpbN0QCvlLFRzD257rnB6JrHHOVtADUTqxMTy4WKWx+PK30Tb3kHGHGy6ttq8kqwxYzGMnt+
BPjHuw84CTgRc4dbAvceLg+7cvqLV5qfrflAItc9ZyDaDhUzLujYyCLddWSqgbhtnRdAUHmp8fsH
OWILB+WcnWLTTTixYzQnuxb9ZZFgl1wgagKHMlq8FWwHM+bV0k12kemdYXAS7iph8mKxniRW+T6b
+AEw15AV7UJ313UYaMwQZa0R4atr4hhmZJTSCwtEdByIWEF0IPql1DVwqd2yHAO4Ue5fAQ+F92Zg
XtXA0sI6UgwvZDZKQiDzc1017as3wCugd8pwamidRtpEszSuk/S/QBYYJy6qXMAHOFBLbxzyIDMj
YasXpYsNhzd4roVNhoQJhWASFlRtEunJajBy+xP3ZxqqzYJRUd0YtF/4073X9lSKUG0Hc9G+F3MK
D8I5TshOmIQ9eUv8yNwtXPjyrIXXUSjv0bLd/dwN1Mw6A94hUsHWDH83CLCaZY3yAdflnLtt5IRW
J+pk+emL3eU5TCxu94sQyQkB7VAFl9F3zDu3bdwdXMX73kseKBsvDosVHvxuQEf2vOa6zOAVBqMh
Wav3oF4G7iiGs2f+BYbr7ElgNV7M609wLbuhv2JGLMX8g//d3noDP46YIp/7IuDnKwB64zuzvtnm
hr39uIAXuzdEuJfzgMqimX77NjJAJuKTdDCbTkEdHCybum4rzrB/M6e4GV1M3aVODgWXS4bKvJP1
LIxdJWOxHctVIFCdolcY1auOsUAnSX6Sg427zVlOA5yCrTdjKDSzxNvbresyy56p/CMyFBdxsvN4
xblI+9AkjQcaJ3Fl5sZdwsGDzoQ5J2msn8OF2Cx0U3Hjijhk66F23vXDwyzDjqd6my+wSvuQs7Bj
BIfJG4MLaikeyt9jq4ZbnzTjDQwXKtPieo91Jrt6smBCEnwmZYRlrDnnIKa05QbHwXGL7UTWfp9m
6Ku2c7RdLjlEMZqI+DuvQN31kRBte2wGF++/Wn62aJT7ZHXH+l7+1C1lsDMnSaG80wPiwmSXuzV3
pGV8GSbooKbvvPojRHizpjvcNRIUBqgJifBuA2EuqJrdo3DXrIPMl9vOwINhouImZXapebt1tf8h
WBG4ID1TJcMF2dGvSCSYWVLzqZmCN4oenYcUNzRSw/ybgj5r52UVFoXGkxcn7hw0Slwv1fjMUAY1
P2d/VZTV3NTu7RBU5kvnW7ikxhqptZrjiM8kbKQajXmCtcRqTZFBZDYdVpd8fi3WcHrO0WEnu0ib
TI4bs8werDrTexrsbwPqK6kVNJJbC4ZSNjFx0pwHqJwmscHEZDsZID8HmdYnHbL1TpN7bvFmn+kn
TCNHZO0Gc3sWzTPDzN5SVIlWwaFx9VF79rTv20+XQSuSg/vhupJxoR2fe6Ou9sHQMX5c9N5RRnua
1uPUsH6ZBLfPG8I26c6XxksoYwxuWozqRMsbMY68aTb5sjCgAlF/agxFsYOqbWQWiIkJ5gjQhEGI
8rol8pbt53r6HnBdTqDvjkOPd2oUxKOFEXL7Nh4cZS+kg/l3vXnQa9vEBJdwfDECn0KTimgwUshQ
n/58wW5Yn8asuwy+F1MnxK/KhpZdVeOud2RIwbTTPVYF9hhyYIBVBoaxp379Iqg8dBqarXRhcZLT
9i1apg8TtqPYKBMCL0ZAXrII7vqcaZE35me/lkz/+7sKBs7mzxdgtT8T3X4mFj0RaVY9L/NAr1tC
6xWQGssJbZzhCwM6WIqpIGWjdXtqBwu7R4+lWS3qmhG22njW9JpU+bKr2+zTkLZ7pjdqm+NEoa3D
fgp7kD9ZIZtdVXGI8zCiV3nwK02mC9kORnrUoG2EUx/+/Eoghepx7Ld+mf8eebfQ5mO+EluDIZSD
zSmaNzyMaFxot6vmzfCesaDIdLC13HdB+Jc1sf30LSZRsZze2xhe7GiC93FSxSidYkTKStVKPHCY
CHfUgtIPDYcPQ/tMPUkYo+rygadw27sSJ65AKvAkpgl4GCec+sYryTH0Zo6zjarqiuZL7BVTpAs6
DicpQRqSUsAHOUcwLY/LVIR7Eqinrk7ys5gZG+P3dCQrecvQ55gsdy1BKndg9EM4nvCsbfwu+7q7
K4ccg3zPUXRpEGHBgCFK09ow3Vt5cuty/YjmkBNN1073/u++RsG1Fve5bSSNja7kGxBts1skTz5b
kmstgNnSgzbjsWtor1i6DZ6tYiYpHgw0DTNIKJAVrcdADzTJEJoBKgaHhAaZfi0iHXmcnFhM7c2f
f/5CYTI9spzp1rQQh4GEC9Z4I/s9SOOdif6H3TjlxvX8g6rEK/cii0A+oaLGpD0+IxS6iQr2B8yy
wxORj9/MD8k7o2a68ILwOtpIt1gz6yXcV4HuaVvO1rjdAvdWGWGUZ7rnWhgcQ2eEyakTpqE94fS0
CYxdcYI+xOUHYoaF3LxzPCQ8WziR8hVLM8FRrVoIsI22OAh0kt8y9rHoGiyn07XNZvpkbMHCNSHh
F5q0s9VdSot0ZLi+VK7FESyBBmDncwTdzR2Wy9wVrL0pIYiQCDzQbiwZ07SnLttaPyvEFo+VRSAH
Rw0Gw6/1hdKSx1q/dc6Nh3nJ8FNVjEJ6BQkXoACgATyDnc04farM9IaVZw8vQW5H3FoRbF3VfciJ
+9aCAWc7yj9/zjq1zvjZYzwXIILIXgBMJPezEhhaJji4lRj77ZaWLJKH8VfzXuxH+QuLmNpC+HUP
RUrIUK0xbBAAS8nHRhnFhwqBD9o20QFVGd94Tl+dljWyqThcj/Ddese7zppVxCcj3IrKxRo2kues
AjS/9UVO8GA4y3RRdf675lv+84fjxXuYvbuW38CBl8MZiSTZ0kPcBNBG0vIsbnMzd6LMwOBTNYe+
szmbGZ9myQ86X394LIvHOSRDXHu84q7mbbSGLJP+uV3S31wI5qis3+DY+McwBy1Qe9mpG14dsztW
viOj/y94/ZHN/g+CF0LQf6Z48WGCm/nx33Yf3T+0cfz5a38TvijjMF3HNLGOYFZzTYuejvH7TxmH
+5eLpiVQtRzcICKwUddqqf6IW+5fZsAxLRRUefgu0tj/1r1CHlAIM0QTQ0RzfdP+r+heDiHqfyd8
uQEKNLXAIU/Owh7k/6PwBVxgMIrC2mg3/KJuj6RG7XLQYsSw6dc5jK0cnA0+9dSJpOq0J7QjxEvQ
hxViMK4MG78qcBQPCJjpHUz8c6GXxUdzcs6jgFzQZXpiy+1+OUX26drMxPOAPlhM8UCyjISsyDAA
k4SGc/bp2eHRCVrYnyy0/hE+SEHlmkW5gKvfKLLA5CtacC24I8BkJcb9NHBLwZsDmYV+VA4av+a1
Acu1/UOl2uHcJey+lvvUWAzJ/J4G9pwdUKq03NYie8bvjQcbEyO3Ew6Ffk3R4mTnO3yk6mbm0Hhe
5jMq1nxtnkVTcreZ2FBYQYD2jBWzjNWmRmkTbqDPacRcyVNBqSbts8cvKciU7zB4hweoM2T835zB
t1ie5Ecel6+Zx3fpDVeZES1CJLpLOwGwfIV3TnFza9XxYx7o3bSARc+wh+LA8MqjV7wyJ9lwshcv
Q8oQzCrbfEOGsdoAtwlv5sY4xzkWSQ84/Y1JO+lGlzYspWk8BzTHLebs3TItIeQ6/+xEu09CXeyL
Zt6lrPDkH31CDVD3qZ4I9l7H4pnYt146EIdCZzHixzADe1PYAFvM6TZbw1kV7eibZcQKiw1vmzdk
uvQ47ImYy0vh199V1Qjc2nZwMP/k4svGO4zJby+YzZ3vgc8w0+dmeapqyHJk4MBgGUF6tbrybcwp
0FPdoR8MbzuwvVqYGW9Cz/oMPXHbO8axYe4Jc5DBPG8HqgOdGxRD75Dl7q+JWWAPuXjr+yhps5nt
IR9/gnyfD0TDZqKUkmJouK2FsVC226Of1KTRN1k8OGzA7K75GP6OUbkquPC4LrvtYvIOwr25QKdu
2MI1pOFWWT8XBda+S4lExM/ohtNOLI23+xvhv1gThw5JGeHo4geQo0B1hMwTzIJuWb/6VnUAQC8J
TN3M0HQeoBfcTrQmQ3711+shjupe/bBHaqrA2/3EP0oFcBp8hXZDyUQyvUAwrdfTAfRnY01DeESX
qDBwRr1x6/qjDrvqSHbgZNdGE7FXtHdpM+z80IEAOMx87id/P5ZpSMSoBWjrP/KtZrskxZgmhQMP
eqh3MowHaMVrKwXGLm/kiura6daxy8fR4kTlCvFsCpKdrlI4dDnktkzu9GxHpW7NU1JZnFldSWa9
/TmS5dj2dfqy5Mycl8n2bgYXGbCk/2/qIWb3sfkmYnFxmuJbU1sS+Uv3EXd8EjT9A8u5t9v05HHO
2eNUehsM7nckS8l6UX5BWJpODASPQ7U4uIj8LtkysNvVYU1Y0L4zwsreN666n4ws2w9TDGa41A4f
JXq4MtffmJ45RUmMHa7K054EkeaKl+w7y3V3TWy81Zk806T5THYZJFO3l1Vpnf586VyPYgan+9l3
4WuDUR29ul+I1ucMFEwSMlY8AJdqvS1timBwBiBANuL+zhmTB7K35mlwiPIlYcn230O9a+vnlkV7
q8p0h3nhQ8dSR5kO3wwm4aJI/QgvH0n9cIxEhoNomu913+YXbc/dISzca4cp7OTcxqumbmMoxjuD
DvPnd/vYv+3xeG0mL3vI0/myqgYn2k+Ck8yD7lTZxzydxu0ycu3LnH4442KDRjKe8N8E2zZHKeZU
355wG1KQYPXJzjGqH2RbmE3S7BoJhRiOf6ndNElDCIEfUuNCJi190kFcUt/s2ctRrDI63OuC14AZ
uW176DqFvleY3LehlWS4Ipet1TGSpYgYwHrf/dKiAW5FzxsmGKad1vg5SncdBvME4QVmi/mxBOZr
7Xd3bjdzrfsTvZDuren55AHq4C3NuHEqIE+UOPtfJC+Zcxq8XSnsdTbK9sS+0/U729oQ6WaA8Ag6
JqLGSm29Kv+uZUpiauMuD2bALjLrhrwK4UtZzfs56S+gVMyboeE0GCJH9o7SIHBzvjh1vyvr+CUF
VHUReEQifPuXHvDAZCfusSAtnroZFQMYI3zP9I/ocycISr/xdoD77sb5GPpSbbMQC7c19lB/uvob
C1JzHoflZGHl2JveTyFGouyrqw9lowWM6oKk6taS1FVuyD2xCYuRldTqt5Aok5thsr9G5ZkHFx/2
vFAAXzoh/14QhxtsXUsFPD3Ji+/CgpJXuRY+5vnRCChhRY2ocQ7v6RChuKRDMR9scGE1h1mAbCyZ
FRqO4XrYZLm5q4k3wQm7E/UkrAZisrjmrAU2QHYit8VArRYidEHb03zd59Q+2DghwQDQDpOAXp9t
ZKo+sO9H9+zWVlS4JnUV1nSMu+l97uiqwgsJ0sZ9rmL5PtWRU5CTKT3yVaN9gYVNm0TaH3GIwK/L
AJlp1SOkm+DtTIirzkL98LqBkwxdgsheIbQ9KpwRzlcmaQiXIHIIgxh0ec3VuWr6r8WMn8oF7xc5
QfindiHR/BhntUzSwSO+Ul5JVV6n3jOjp+OnGKvIW+S+qmAfdThwIiNfiGGhh7veqrnZ762kicXz
sy1+y77FEkP/0s+elqtpoM+3DNo1ZYW3fOJj7M+opxaf9Yjo5o2bG/LGa3H1pUP6VYZgDR0/TXfA
BXYpQ0MRUIQlmTDiQizaebf0K0wqiHfpaD94ki4Dp9agpfiIzLUqbpti8C9lUV8bF8nZtPcxubKb
ROmfRi1eqX9eyDvkzKyoNLiJHedaeQYGEpPOELkYe1KJH7xz9tCFLkvn348+n1etXjBYHfG67LIR
HPdI5UmEnU6l+gn0wI+lEswq4LmYbeARr6TsdpjF1aisiAyTdeDeeUKQv+8VKJsklZgkeoDsmep+
tS7WWd6FXeg/ST/+EOQYXVteJkAK4XwOW3IkcgSfMIO9SFw8l42w2TaYXbSVug+p01xNeDdWm5Wo
LXaLr6FI9072bM3MvWIT/JKrHX0IBsY5DJNh06ruiSLKcmuCuyGRNF+8qqdbKZlcwnJwBfJC9vt8
NmByAs0l+Lh6OR0cXs301cocI05QfaLX7Savrc+oDOJqlmz8HWhCtnBqXcDJgParvasq8inKO5CW
HNDv6Oj9KWamQx42ZKeVycEg4TGqWXKWxdg92K0TtQC3OJq26dUzYQoGyv1yKeMl+AksXUz5LY08
jAsDq2mPOCsuUqbm9c+XjFOSDy0MugOLRTHHAIIIYtBAU7I7gmEAOXq2GGefjCmVV2Bm9VWUsDs1
7eyG8yx19mpnk7jPH/sUV7QvuAVz44/m7KdRQLTIlH0fY9bqZ0cc2oDrhSnJ+AmiCJEIMftNbOYF
RW72oh7t0u6v3CrOqZcFVxbsH3SLmXvFwJ0qpo0ctYeBFRBk2HvQgRNvuhlhg99xaNrJ0n+WFaA0
WiwiMinzScux3nIB5xoeL35U+AktnJoCYoz+fHoN3Z0oKYAiF1SMYAeDo8eDZVjLoWUd2IaCuXCc
QGWQcCm9esFE33hw5LKB/XUjZ4vSg3yZiQGhOphApWyYaPcuqSBOIlvlcM4wBnFnUKEwNqRIU9aZ
5hBK61et0BewVzcb5Lq0VhY5mR6lpBt39ADsRepdwBIF/MYbytYQ1daask+pJTYY+S18DBov+OLA
QUuOG5MGgK8eTocwLE9FijtoyuK1vz5/j4MORZ4noTj+3uA8oM6ifq+9bg/1hLNmbUMLrDCdhqa5
tqCKraGYHE+UF5cuZQbScXpuQaCdu3mrcjwRCNq/PNd5mhjVoKxj5ks5RQeziORkPTpD/RTHtWQI
uVaWEFe7KQx7203mYdCg0zF1IfgAIx8AyMye+5QC84WJ4D+5rcJ/WlpQPuSjU/HpVgU8L93+Csdp
PxrdpiKaxMYDKXlQXh2RMz3m4NhBLoGzEuIE2YeoUQxhKRvdaMnMF62TfDeDJSWwZRHX9s8MBzHT
G08k47Z9OjwQ6cjwEoHCHFY7Nu7pI+XKn0UGJdQuCLUVbnUn+MmlXvWoaH2JFrosrMp8H1Pgn470
GYOzEnJWXV+w+kDydZtOy3025M1uVESc3fYALOHZc7nqTDqYcB6GD3GXXNLYfVPY3VuTTP3CUQfG
65QVV5YwaIPsHzdtm/BRjgmuVKhzuXybzepczBY4Bk7vGw4JJ9IcXkU2Jg07CPncUPZLShV9UD8C
D6luCEBsGFBv4gw6UcEtHCVbP2pOKVZmRXGlNCP68T2zeUlm3lYJmsBmyHHnzRPrKFHtkb2z68qD
Nmh8V/NLW+NgneIf6Zh8h35sgB3AMVtHoVXgvhXjeB7UyzBMn0aObmCSW+05UnRwlVijHg3uRmxc
dH2Vw1U1YFgKmJgcAJgdDHgQFXtCQrXC5HyvTWYC022Sz58GxQA0ePN9LhbWdq+Ut2YcmhGm3Ue3
Je7nFK9G8xOQ87zcZr6AFx3jKR/kp8kEol4+Cx8DSEjZiCw57js/ADO+YdwmzUZFDMi7nZp3Zh7C
hag7DHwegXJLp1dWwydy4bxlIdA03ofmLhiKF3tsf2npFwRXpl1XZN1BJIxAA1LKYehuKfY9LVO7
KU3MbEAUXvxgfk8o5EBTIdg/eIyUnSd/1CeW7t8ECq5uYOKxtsHj5S8Td5e6hz5rU6q9sXO86Esi
ybsty11oAJgyyyesUr+8wa/29tIz7FZETvWEVwGnFw0FwFX18NQwWVkBUsp5FEuq8XJTKeRW76Yj
rzTZn4bvcsrLjQb7vk47R+ThmbSZsbyzUrNsB0DFheijRtbiRrDd+8Y6yeU+qmhwSCd2877CMolC
X1gL4WHV3BYVzhxFYByuTPaQYTJNHHnrj9WyC2fr0BkME0aeaM7rW+aYHXJreKQ/qiTGe0J1+smS
6x9IjVyIPDCZzmYoHyumMoifVEyCMAbyicF4OLvNHVDuE7rZl5iL2yzFY2L21jt42UdnISWUiHM5
Ohx/BdOlvBqP5qLfFO6RJC8Rd8icBsp7t5x4m8dUmBrz77W3dEqCI4XULD709d0EmGnXZ+hRkbWn
02pretNjyiB7YwcxVT7KPkPmUCE2Cn4YV7omMoZ1W5LwT3NtZofRXD6EpFXebO27efpSfWxfuGfe
TCGtUW1z7ld3tf5Z+cNp6YuZnOmI58Bjk6DejIEN26dynRcdDlzrpuFWarK0JESgxo9j+UZSSeKM
Jq8lGEkrYe5kkxG7CPIfhH3kNVd4hSHVb8hGOi+G01JW1Gf6ypHox9iEFdy7HHeX0BDsUkAMFBtQ
7FKrYxqHiuUlu11m/z4U2UNqklsnoHlwrAdHDt6VWBNVQSRa70ap7/oEsSymH/Zt4Sc12epRQnk8
YPzdEwV4LeovAcHCT/09juhT2WsSuy3DvZnkF5zrw9hSRjcyaAGeTamLVphbKvt76Sfg2Q4zS+F+
E1GtIjNAeuJwPNv21YvTK6P8s/KxwzF+1wz2UaXcpD1PMF4HLshVQZ3V1D61Sn/2S0xOxO5/K6O6
9Rr/mpGhZh/N3hYH6mowPw6Jd98LdSf7tbiG+hJIfVsrCae9MeIpsZOIDvmvOhlfnHw4C71+JlwY
HNRvEF2ZiZgzKbbMb2uWryBRzn2sLrEnkqjp5ZPwOO0Orv0YmD/oYXF2DRwDS5vmQdKKFNt1e1fX
+F7NUu2MjOuCQ+r54AElt22hDmoem8gduJpWgKgArNGBZ2K92Tiz63ya8tHg3cLy3dXnmiwfFOma
oEURuvcLYbgT8SCmG0lo8Z5RFJF16bUZjBQyDv9kgKPnuaW2fMuN9NomlMwIPfwitdkch3QYNil7
fWM0x1qY9acMOa+q6TqLgh9c3SHVJb5JlaB8hJuTHmtQg3udecx80m8ExovowT3WnwV5vF7TVD8L
7zHX/gOzlqYPfy96OjOuwmTZkXtJ8deH5s4bqzqqxzMaDKGWZksSn/rmZGawbEXTauvBGYBv5bcY
gfi2iqx9rHFG+uKXFOIunKUTCeosN9ZEGVqYseQIFWkfShW8pIzT55cuqIYKWOk0iq1MIXOTJnoo
oeQdG+Mx8M51LD793uXsbw6HogidCCUM0BueVrIIwyMjPUoNi24rqnqdvfdH19b41LipF4LesCpH
IfAIhS3mQ2029F9V2MudcvopRQ6PuhjIEGjkQ22RTuPteYelOW2L6mTGlyqgda4Zhl0ubUVFYnLk
WYDsHwQ63eBubBMyWl9yfLNmIv8Dgb9+3Qf6cKZ5agwhDCcuYB2/DDYV2B0xEVYwO6OF80OLexVC
s6VUAOqvx5VuVa6WZpwerax462YNGXxBc3c71MPRftFTWG3CNLlbmoWPzIK7ndFiC7ttHytobXXY
77l34KKE0Q03C5AaecZ4Rz5sFftgOP5P7s5sR3Ik266/cj9AbNE4Gl8EyJ0+xzxHvhAxJefJOBjJ
r9didUu3qtVoQXoUUAigkJkRHu5Gs2Pn7L22efISqP510nAi2hTxI4rRzSRG3kqd3CFPIKIh57qU
NjlBOcZvJ/HvPBM6ZJTp2xxICN2L2zbtyjebBKJVbDbtDdl31168wMgoDlPJtxElQoDODxMGcSB/
DqWJfmMZx4N09K3h5tgFba9h6pCe8NDkR4F4NYwj38XSR9dsmTHC5SvaIutxnMH77vg88Cz2KZ1N
gyC7KDsYSVAQYjwwrcNUYmxbFfBA259L7TxlgSFuBQhO3iRMHCsPnOdH0jFqG3pK9VMliw8obfJW
VviY284U15G0k4ssNFF2tvtFL915sGmWtBETTP4sfpma4H1A2JTsgaY0D77H4+0m5HQtSQE/KOCN
LhonPjYl/oN8Na21dMs/wWESq5ffI1ye732ihRD+fERF/NbjYX8JvHNrGzvNIPeXlJjStAqim0rK
347CpVrMrGRpkqzGEDl06m4BI8ixVBY/hLOJs3AcMNweDZxBHhTolB+JERuyUP4+KKlDHrTmQrcz
tFT7GC0Gn0AS9PteeuTjGMiF6oXhqGBJDbhawtla7tHnzeesnrsDN0bu9pX7kwL2OxuzbxBu2PHX
KzwKpaMAprXVuV71I5FTuwgViDmw6hk/Pikvob1Qqvqg+M4OsJtjRKPGs2Lgz7bwyEUoBcVZBSso
NwWbwWjQCQenRptKQRgnBW9sezYQAt8ZGQC8atE4to9GQ6hB43BZRFdCQmuIzrom6iuDTbLU2KPw
4wO7Fr+swfgVS/M+A+3qV2g9Kevnje9rxIzzYXDK28xUbRikMD0hUYPnU4ghVffiknVO7nsjciYR
NeY8Qek+oa8g12jEiI9Fgj7Lg+c534kHx9LIQr8C698kpAK3NB8LExvLbGt9Im76PBXYYqvyqewI
YAJKlGwKrmMPrTl86Fm+psTHbzRSCaAGXYjIkEinFHXbQBd2dDkh/Tzyw9k0b6XZQ087UM4LfLFw
CJgXsAmQbroj48YM+9JMeZtowdArOspCyVAOPM418Ngc0kdY44jaVDbc8sJg/0xRFd1347szLPM7
1LmJm/xxXJqbCNbksWXnVO2Q3WqAc6Ng+EQs3VXXe78zBotVp2mg11XNvESwGyIaFb5qTpaQ94Km
HlM+Mkwbh0w5shlGP1p2uYWSRhNfTat3OLQzuMmBABTIUW8JT8DRCdznSI7R9VLqn6AQ+pAymdpm
Hgx3BqXhKBvSbRJ50BYw8Mr2wyXq3gnXZgfgjl2m3lY6Rjh47u9+CAqis2s6p2vvW0ZkzM6OIg8Y
MhmAnWvOIhzrCk1rk/HWw+7mCh6oe21DgtKRYl6XdhcSxh3DN060MO6HhZy9xM3rc+riuDcLHOoG
MW0h5RVKBPAqReo5h7jBPZ7J9mwW9ieai2gf2Sy/JsOTmTA/XOL4xo0zdW/3JA8s2Nx6uyDLevTf
FPvMdsDrQ1LkeRjH3wIXouj5mKep3IBiaCB6dyPadvEcd6kLE6C7cSO6HTpzE0y08HW4NH7NDR9B
k9lkDlpc0+ceUZOhtkXvlPtcjAcIuw8DxAFUdOoQIfJIUqxj8zQ1RHH/ZM56yeVEKGvkcpBv931L
c1TPKEBrQYWrGczl7lNRxITOYZjYuvBbkdhpqIdYQMF1kFaD9Cx0gVdY2IjdhJ6j1zk/47FnilTX
ERz3bvxCHnPlRksVMvL6QrJVXLjn/7iJhBW4EE8XVCMsu34hmhTuBRCI+M4Tfn7NdnpdSBNj1sKx
NGuaPwnF3oZC5SvpCURN2r64pDSrmonqLaa0pUEOkUQaNTGHwzfVF5MEZbublABoeJiIfwLTCwlw
Dd2ltR/7hSMlk0tHJ2t4FlKKq3oB1A4q4iYy1TVKUlB3RETnkf292Lw4NDDBWdOrAXVOv1wRsoos
Z+x/eG9xGqDK3peMtI7FaH4lqrwbCgTrLnnPJ9OF7MbAq83t7nMqge/7/tg/Md16atAjbDyb02CF
6rNueY8d5KQ7ZLqPToKcNikHoDBjud4OCKtKm+5Wp+e5SbD+RwBnffaOG3CFbKpLTXsUBhM6GPrc
A0/4TmJB0dGQX6l1FeD90HQvnfmqW7+Q3hntZRB9T27LIIEayGnpbNq2+vSE+ZEX86VQMRKZkeuW
62chcU+39eQ5BHLJo2015o1TvPbizpoDTUhaR2lngrApRuGjB+9onc8EhLA3EUo4/kpzWo2UlHzh
Sozph+oSiACjjYQ7ZV6gXMzYOqw4xzLpeUfXx4zqJ9FHk+JF9QZ3YGQ2s8qle7808OV0X0Uw3BTC
bMBfwEqSei8C+3NsXXXuMk1J13chQ5of4HBv2HKJ662M3wBhPbpJnoWAbwiHEg5BL/eNMvPDbI/2
KagBQ1dtNV65mfk6+rN8yEybWrQaX5UL2NHAkhzNZAZ2JZjTrdXlT0ONCNZ070FW/7bzFV5fYOoB
8jRtJp5nRzXb3o/Ta11OM8HJpFgYLRNVW6fXNkFEMN3Z5iVIn3CBkJfk9VfNyr/q67K8puv9bjEh
aYaGkaduZgpoZm6+pmiMMF28udK61ksT7CKXTqeOV9QtKVwxdcENHtVtbNpc6DHuGakwSQusIX/U
5WtvQkSbOet2iR3Bp+lvKnhBu0KnX6qppjNZEOgc0Z220bD3SKg/+swbD8nUXHzT5dqed15/nr8t
aWTkJBjJsbWTPeGHxamNSTuqEyax0j8pJQa6jjNFM7U4dudx4ApmYeoO8t/ktYfdYg73SFVf4zwD
KNABWLNmqwd9Epoa5J4/gL6xB9p7QZfgAVvH51qaemf7zMctZApoP4vXbqQPm6V5cgLGl8NHb/FY
d0v3ygSB1Wm/qxRA7QKhOUw6ilxV9sceDgbijjk+a0rfuenH29rLGE+ZnBtV1w781YarjiVBYfnk
eQFLE75YDtKPjyTI75GxtqGxcqaXXGOnt+hdmN5X203J9biFiyyvHM8PrqC9vVZDY4BBpNHqIngJ
J1s727SbS9TAJicdo8odFm6PUU+96WO68OkVqCz3nKWntYI9DwU6jNEb253A4HsESfNoJsbaJOWg
6IxkR3AAa1OWzc6MmFyU/q/Ftaa9U9A/qdoh2Tdk/vh59vjHF9XOwcZiLuyi2Mc0lV2ZZe9c5dq+
eGYG72HB3TXn9Ex5n2GtTf29Vbje3jVR+dk5yUKOzhlHdjd5rs59loBTdZjYMmgTe6Ed5hqMeftq
6S7ELx+AGsJwL9fEUh+iQ2a2I3FrAULINr+u/YS4DP4xml1c066fn3qHSVzwqxF+tG+kXM12SXn/
xxfDZE4nzjZGr4tcPHpUJIO4ohoYiBgXC9je1jTSdh8NpB/AXYN8qCPavOV4VysEyqhEGrD+UMwT
aNfFgC4IEMNtMBrZY2oDySP2diDVjdwptv7mIS6x/fBg3seefsodpoQzYvptOan80RnNB8DfiLny
CWef/SIWgQZn7abZZh7ceGlxJanE4HnZj8SQD88IZzDtqvd01vJSTKDh5Dic/RxhMKKLG6/sqgOx
qaT7sBYUdt1d1mDoRZTqHpaG4ICAhqNpp/poaka7Ti8JpqQhozpjvIFRE98bmiwPiQzjYAlAvVF6
NcZGSoco+MqNtDu7poBhLdbwAofPalDcn/LSRH41T7QEwH4j3Oi/UrwebMAYTTCJHtxswBO92ihy
2Y0HFs7ywDQDt4FNFAtLqRROs9UTkpiFocN2MPnWctqTjzDvyiKzd5YD14MXdDUMi3OdFNbDODFO
8o36Ms14UyzCV/eu3T8QcwkpZJq5LeR4oCalDTJ8UmLc9d0kJtSfgsKqMcc1CSnlpcsVXJPT/V/I
Jc5gMmVFikPQ43zM1vzydCKALvZ2Lu/NMCR3E139oBL7zhdpWLkeKFibvJtxpuvUxO1jImsMRO1d
O6pz6k2SkBnxju0UVa1KPei7nn3yYRibK5l2hFC2g1x6gDhsHP3ck2znQHXsIH9wOi77c5Z7u649
97XMr9nZNviE4m09AJzxRvOl8ZiioLjGdjaz5GNq3xDlq1V2inEVqlUUAYioBhgnUaz7a4OhZthx
W9mU3OFH0EJ0c7YzEgW5ChJmFTFka8YrAeCdBhaXlcqxWwC0JNm4Wry1S/1RJ/NMYqqQeNo7eZFB
iiOXe7WZtSosrELfMJIEN8ucvJuz15Kebpgv9rY1HYJsHfD4lW88DSYuJzYwtQEK+wb3SOw1s03G
X1vTVhw1Bfdab7ABbWB+mN3PztcvRHHJXSIY5lg+5DzHAkaY0zeqO0qBxPF/l2n7nnK2AgQjZpMb
1dbJDVJus9oP42raLzgPjqStXGygefsaB+VGYOVCBZEcxsp4EH5Dz9gCjjxHLZ1od6QgXU5kp7MT
JrdOqQd8T6yPFbNdu9K+Lv1q7+emvSsXZiCSQMK9yBDqWVmztjFhJuhSlGe5/NhYVYho8giG1R78
BFwN+FMQm1sBzSMaCVR/G7vwxd6FJFAuZIXkYgX79uquy5Bu51P9JmY3AJezj00nupBaBN2hWe1t
pt9eBFXunOeQLZqAabiK6V9H07CrTOMyeTU+O8KYkP9MZZNckqa4EXX+EkXSwXOcgH+yd61TqiNZ
5CXlbXEa0Dpep8NjAdUKTwZqHq3QxDsDi8RpUn+LovmeyE3qwuSuylw+sAWuPb5kt6w/U5CaHL77
QlAy+Xb0WQRzd9SIK44oVrm9q9Y6gjb7oIR/9qZ5up3j8bqpyA0URMUNnk/PxBQvzCHgDOd7i4vE
kxO8lDH8fR+l0x2BLhRU1eJsmBIzsMisI6nxFeMwD6ljcUqA3tPOWjFhcYcf1hR0/nj7qB0Ho43f
0Yy1O1lCDcLJxopdv91MPIMyu/Kh4KEL+IYZruhxSfAxKdBcE3KFrV+ufds2Ho9pTp8u4i60qzCW
ICwHXJyM6PaIJ9dad7veowXYD86hF9atilH+M+6sQppOSHhUtidb4sZew7CJMi2Psa/44TCRUvWQ
RM5LpxwudTU7LBTNtW4Zmk1gQSSM5yNOsnZvCxIQ4xaC6WhZPMeZt8djjUwtSq5ixtJFOz5QBxLf
a2fTlhKAq3pGaI0/uh9b3FDtSdbWDX+Bq5grppNMA1o4/RtRgATkSULORjj9FS8tz9Oz6v0XmTbL
LqMZinuRL8SdfVCHc4XpilNudXtMnN8p3MqjSCMe2VJsZTxtXY8MJL2eneo018xvLehXQDUzcbCS
cAqMZ/oKH35KInxQej+TM1N+8fITRGMO5VOfVdkh9vjwkWIcJhEcMUEjHcCHEEDjO/JQveLHaui+
mwXs2Tl7CnzS2VnnMhqfKozj+2nqP2pbPtWZhrXW8QRyoDLPR8nJ1qiRr6LVVf5GjPQMUGiuMcLu
rkELfkmC+F7BMLsUFmU0HgQAp9EyhaJeySj2S+7QWwgALQUzbi435/lpuczzQN/Ohp8/ThaDdONd
prAOaX9hMcyKX0uDI6RpaOanJDWSk9iDqm0WIC8BvtKur9yVObiTkzN+6dEiesxJQxM+1IPxnrTx
W5ct1X6A2bPJM1IUzQznGtGW8JlS/rLbvztlUV4Q0IUN5nbmsXByXNJGtLP4WyfQ8Y7UIJa16Ohj
RRCzYOOviUAAb+cJFCI6mSocGO3v6sV6DEgVsyurPsq8jMBAEoDKhXlfkfx6jAewCxRHmnOp3Zul
r0Lwq3exciAFpk+6rRh7C1hB3MO953QiL5ZJwTg4EwJ2J9pFy7J3OxxSJNZ4dPzp1BVldTGadDf5
EHvS2fK3C6Ci3n3rzeY89KMV9nZE5FRdfRYew0WezLE8o6966gAgmglkoU6zOarap7Iu2KwHHhP6
/Zi9PFm8TCj+QmaRaMck1V9RHizX/1WX8aX1wM+pGCsZs5etZ9AtLHvMMdYCiGCWG9qh6zgInnQQ
PBLbQqMkg0vqTMwXtGQwsPQSgn2xkppsdUkXwLrFagh0bKJJ6ObcmmRqlIP+AidLVQEXG/mFwQGR
tneOHzyTTMjvn1VX1DW0q+oakPJz16DdVDCLkaYilRgkLNXBMIrLwpO6abjIwQ6nho/bY4ETt4lu
mjStcFwKBM4xCqtJej9OkPhhaiq+05SKXZuZ9CJrMmus3jz0MfJzcGe0K/ZkW6mNO66ZN91EwKsF
w5iwpM/ZL/9o4IaIdIl9nFyLPEPIcojMHwK5xnY1xsgIsEF94uut7RGtnWK93PdTM9xXFSHAPYw6
ThKwam6zhssVIZ2W394c/6YlT2WAuh3lYbYfMb6J5hOojnd2sAcldVLsGB2R7imMwwwO0Y5Jmze6
/ptoDEnaUVjGg4vAprMBxelbh9E9+dzFCepVxJ6GhtodqMV9v75WU0GyxYdlL3qr3Ix8R684lzpF
+idZhi1zwQ1lTb3HCP/upeKr8YgjCzT8HwvtFR2yftcqoixMgoOoIBrm8twVS/U8jVGobPvFIgFj
73r6JpgBslLbhYNQ/oG0jW1a1LeR5+W7zqmYItrReZ5wN1QSJbLPnD5iEoUvDx1awF1Zi3Wcz9Vv
HjBnpO7V3BbfpI8AuSZ4cSPup5hxYp6MywG98tYZJkLgsgp8geCKz5CWBmsADqAczksGQkVGziHT
7qNqYcVWYNNnBZ2+FM0vuspwMGpxalPs5z6FNwWMXJUep7rvRxz5zoM5l8yo0wQtVOKd0Rg+RGb5
7FL9C2INgQtCmv1ojPx1SBizCi99pPWyhGOLhX0c19NxlhfCWbACLiOCwsVjE5avQyEelqB6NEvj
GJOQROE33yEhCz2bJ9dwLZQeCIjGJkIcnT/POp/2OVXnh0avkTgwuwd28rTm0CLV+2xUgPKqm9iy
7irh6m3Uozgd/aLdsmkPeEEMns3AuMS0UiRAjy1BGIeZjcAqy++oVcdpZFjO3RpoVLHtyMLuO/GB
ZgwnAPZjgAteM+OoJSOjRnoymfeUxIdKwdh0DXUK5HIjk4RoEXO5jlKqoK7uiHoTTxh0+YHkP9PF
dcfk7HIC2E67myU12EByCkXbQFDT0P6GOUGOCdw12kqMdbCORnPww4NWbEyDXWBJH5e6P9Ia6bf5
WCChdD+T2fmap+WeOuqFUJgrblKbKo/floUHXY54auv0d+G6gEroH7F1DIiK2trjnInugUm8qInl
ct03HRCF4p4A7yK3rujbP1ie+xlogUglI8XdaJ9SRcOFwYIX59++D9lk7fI7SXldR0rj0PZeUmDa
/cKw0Aq2wmUEshhnBN63IG0vkxEkR29oaGlFQWimRHB5VymUeD7ries5KAJ6u5kxHynAyRQdFcM7
D6cwVfc2/05G9562I6uEPdfL6InECYmmVnlCtUv6TQlDDIYEXJQ8EDdu4r0hJGXwExCH06Leg0l6
rC3jSjeAsmgQ3iF9EDt/nn8Ylj2luoqv2nHe+wWOXpprj64GUd4SvbFpx58x576gxPTiGfMpEu2d
zYG7lygV8tkLY2AqeyeygMqRaCq7l7GilTky0NxHfBNd5+oKQ+uuLniKCyvdFwkm3tJ+rTPn2rXj
B1o3q5rUOmd5SKzlHRQZIkhduuMBfmi6IGDu0l1Hk2JR7U7PCed0GodONRUXiVosAAaB7YvzdSgb
Td1HwZJO/OYdE9zIX4AtE3aIHRvDU9nKo6vn+jJPIjpJzlOyAF49NZiH1Kc5UGsD0wgpHykx3doS
PkCjAlsz+rA7UXY02tpTVbrpwe4tc1/Fzo0VMZabZkz8gQ+UHJCEBawVNakz0GdmvpV5eXP2XP8A
oWIx7eCJMV+BLFl9R5ZZYAdO7kxCp85RrhQ0uVJz0eNa1ScQ/fsORRX9D1eDa+hT5xXnMXxb7Q6w
zMfi0mn0gJn81U1DTw1oir2ZCMXO4TwMifMrBfVXuf4jRUZ/BAK7IeZMzN7NOGXpEZaepoEZKhdT
m+FoDG8jMGl4VOZzViPtIEHe/yPxIOdw8o0KvDmTkDTdJyTMH5rBfJyGhbZo/55HXh/yvQ66ktcm
HVKvneXWyCKi2LwWTj90ztLSZvjetf6nZjSjTKgtpMyjox/sq6TGr0LmUbhY4LSRnl7PwilhBHSv
eMQ0nQK7vPzxBZ8TkKoMOGDdc5vJMsosM44JGp6pYF5dm2g5sSapTecmc39BOuXPjOJJLsVOmTiH
/LG7VvX8CuUkx6uGdJUBG1MiiiTGzSiR7SsxZ+rWqbj2RaOMaUMsO5WuBvfZvM5aoK4V0FLDZSqW
JMc81TZxlc158gBZYUH5jkAoeOowZpxBJey3TUqbeYs4bSvr4cJlF0F95X7XTPCxB2xmI/3W6aqu
JtNbWoR7g6M8GyNx3x653+MaAG4F+tt2CnrR3GvYjL9ry39vyAwPyA6nbgdlibllDRUXongIGCKo
zP1gMh5SjxyNBA2sEo/FGkse/xFQTlJ5QWI5CRuQ9sgwb3Co49BZp3bLMVuGjue3ZVkiul4D0En3
QZoaMN4qMdsFa0x6Q156tQanF6uRzlKM2xsiHJc1Xr0iZ92Zi4cRNiWWJz4jA5NwLD2oY8V1nQyb
RsX7GcRMsIa3d2uMu7cGuncuDVcLuWNUQvGRHW6E6B3/1Q36xKse7aAkG54nPibdTZIYL9fo+LiJ
XyOvfSPr5YVrb0PAvCRp3l66p35pTzUJ9Nok8pXOCii+AuWvgCTC9Qm3oMqPJgn2lWPAoISmdt26
FD3qnK9h917hPvsZd1DCDdCtjyhXtk36ZZr+r56JAVJD48jt8WAX9EihW8Ecnptd0lk3qsg+QBpB
MsoJVJNRztXYsumoMkFw29m5jZKSjIOkg2b8ukAu3bTm8lAmCCshkEamNexii/d9EgV5KHTBUbyz
AULi8VGuIaXAk5CCd8+64DqFeExXpVjOGaEkdc0eNJTqjfAZHTY2N75iFeolpMkqxTUk7/FLjOSO
8RCvQFP9yfo5WtbwPIzB6zASom6TozIsRMWZzptiDmp5BqVMU+2NEjeCC5p1W/jztemLsAvUVay4
2I95hRa6Cpi/oUVwRHOfIm0uypn2jCwJbakHMlIuTjNfJbF3cRSIbMU6rxc4V1aFfwyl6RgpxkNM
6Tn451OXoDHIHoO6fuub9trt0ZCuhV/d1N+Z3e8GCOnrUo+GNVlyYE/lPv/K8RgFxoccEa+jit8M
QXCXpuldIq0PSprrCIb5xhTpbcqL7TOPaCjVv2WB5p/oastiaDlckIaSA22xRcATQubHGL+KAIbM
I9tXxF4EKIz5U/7ZXuzbeHTCeDly4/wClPOO5jgZUKZPbRCHhB9c52BDuLmwneYoHfChMfpVjKhI
qWfMmwdorzt4XNAF9ugl7mRnPSbZ9KyQ19F1uCmjfCuSWd9CwQ7j6aKxybAo6FzGDR2+sHHZ8W0j
M/dOuby4mvt2PD0uJC6hD8WnUaDJDmNn2Wkku7XTcTGaITsp2T/4wZpgoQqYZyvmtiFrtKLZvU09
9uuEs7SLb0Dx7zxDWUcPXwWVzHdszRWlASViaWQnu4zvXR/WNy0xwxufxwbVGkzH575RIM2nj9Xv
WefYt5rJ9pk8ftpFRwCIIjy0WcgyAZX3ZiiOhHTBeGEGxc7jAgg1VoI24J0pV4/whFIl+/GW1cOH
QAIxyaHE7dTlTb5lJ4fXhnMuw1CCtbPczoS9a+kdWSEnRVkgmwi4h1jJaRQKVNboq0Bk60/DCmKI
PkiWXCSX6Wr80oHkZ78KyOybIpveo4o8H+pkj6KMmn7jd2o55nVO5Fn7WFXNyW8xYsWVwqecJB+F
pn9mCDqo+dmd+tfBY46sSIsfmwfHAnmlEGtymZ40fy3fwQmaQmdeCo4a4yOy/feIrlhomfY77tDj
5A7N0TDHKxAvHyIZf3kJHh5GdgTRxtdBhZXXArwA9BQueNoRczOlT+SkllfSYcgeSX3wVfUSLVRx
kjhYg96xrKD3ULYnpn3bD/OVPZhYH1ASzuolm9b7R/wC44+AUSgeNhnsw4R0JwqSm4p3EcDbtnPH
x2nKr2jIn+xk/G2SCrjh6ER2iwdfJ0efQGm3wAqW1dGlAnxOjB6LMYlvAIwcoznd0G0kR1c8Uo/9
BEb9VKKLdTMaMl7UHzE5oDzhtSYDqUAKFkacPxq9g8jKenHN8V2P/jaFdHbwzT4+msm1gn2Jj4kB
sRpv4RKieOVil1n0ww3XffRpFDPkEltHCLhUOEfTuP2dGCVExSl9oE3xm73aK0dSUcirxSuS0x8b
sp1hgemBXYZyNhew8lja1FffMU9Gw88kwxLP+ZIhTfJHNN+ixxA8MykqMcSszfo6sj8FCLCtTmhv
J8jgt4nS0z5Sn9hjrwy/Y2plW68+5T4wOIOKHRBgnuwAw1lXvYu8owvWaBlsliWNVxg7GzKl2G5N
yE1VhU4nKAIwy8a2M3+NC+vfdvKzDZw57YbPOC9+O5Z9sgZkzji2t1FNoi/A6/gntlLvHb9KEnae
8cBDfO2yVZ3zAk6xdKO1pQqeex2+9BYl3dy9OwrVUkdgmQfnGygYKCbFzR5azBbfFZdvjBOeahKK
lfmVFQ/XapjfDF8dLZX/WE72McakQSFHTmXMfjSCywLa0lojozJrPrspCTLDcCQb58mJnb2sviOd
XvLsNetvR3hdKEebT7aoZ5Sur5Je3hCNj3Gpf9cVZSR2b8oHJLQxJK6Dl2bGZVDF3SLb9yCABdlE
5Uk47XuSIrbQDQPvqvdmbMjZetXwtv7sfyTTK2EcP0yb0ks/ligtd5ndLhfbhw6VteQnOugVdxAf
w9b+IOob27x+Ekl2VxsrVHQXtVccVcHesNrTjKaV0IhxVyvu3hwICIhiwTtMFFpadzqEdLchLwEx
g9e+qHXNeBZC3yxFdR0FR3vWp5xA+ElDGSTpqU6u/TI9mR2IB5DLRyjTJChdtUSBRYluWZ35Tuv8
2+jg9jvxzlptzENQIpBZw1ScIJ8BZ/oYrchHw1sPJR0D5zYbyT9dPPpFdUPFEVCMbW1j+T0uXR3W
02RtMYETZDhh8nNE32w7hMhisfSeqIfkYpmQ8vuI4hqb65AhIJJN458gL2Qb6PqpJN0waUGtrVSp
Cr5eP5Mu6knqWu0ewsmzna3RkghAygdwxzq+0jq4HXxyKwCARUH9Axay3fod6oVS4nBk9rQdunk6
kBz8wjiSPn9MRU2Y0FevWd8Kr3DfwWOsygnzsq3BiLcI3sB9jLvYoU2d2wHTVsRQWzrrOKSimbFo
r+AooIWVlLWOUFFYtqhSZzqIWVGzlLOkPM4WvlbCGzeF6ny6biNCvSE5EsdC0K1pFBtDo05VUn2V
gAgtHk8MLhB66TvtLVvvG8aj1GacMplzNrANbVqs4tj27TtVkHrBHhmNv8ktejUim0nPbzdzrV35
0mAG3paFoNMTDCyALuclggmqNQpoz++3WVkYXOP6bbxy72mrvXk2Q/yIZiaavF9xmX+0noU+TY7k
Fbx70ULn0MwUmzbfZZi5lBSPjdu+tCoXO6utnrs6RjXhS/TcfoA3izuYrQAwjLTebRw2isiBsFzY
neuPgTqtsDmoEtZylFgPTmQE+6gyzvAmHkh6GHcG+5auI5CYa4NFJ5IQI55U9uZDOZgWqVgAL/rg
eli3wLLKqFwd+8uzijyk8fVdl9mRIpPIFloFG7ehI1pgU9jbzexvLEa0/IbvyooZN8+QwOpsfu5p
aJ4627iZFnnb9N1XG8inpcYBlvsk+VU1PoJxQTE4DO4rM1+Lq/TyTJSofkDiMFRvMirjtyKycGIs
CeRCRNb2g6CVuGl90T7XOa8EARn2d5/06G4ShMIPVbvnvoTXjUpLRSU3qD43T7rXzUEl8VlGKPok
9KU95/TGcIA6dQ2jPDlkYqcXJotpzsFGemIumKZNxljtTK99dfyKzuqcfCH628m+ff2DFLRSu2Fv
3/0dLQ22+58o3n/+3/+G+ZT//iB7f9UNKJY4+Tu9+z//7/87hjhw7//6Z0L5P8jjNx8l5PH/DpQp
Hj7+4+c/Nh+cxt9/oYnzL/8BE/fE32jdCN8LfIEiwHVgFv0DquRZf7MdaYEEd4F4B9KBM/4/oUr+
33wY8hCQhOlYKxz4f0GVQJAHYBUC6XkmEmHb+r9hKv2VJC5tCVxcSAvMOexyJ/DWP//6eEiruANb
/l8mG3bukrGeiKJp8D/b8jFQz396W/6xeP6jGsq7Gm0x/8z6K7Xp7z/EtmwLUYsLoMABK/XnH8Km
2zBe44cY/mfQkvpnj7cpdziHR2Lq+p2P9G3xUPbRTjh31lW8vOQ50kIS9EwUobWwDxkmtbS+FYRK
5qNHnhvDjyA+9uVnRRezYJP31XNiP6lm+js//y9L/8+vfkVK/Sdr/X978a751xdvgLbsLcLlQlmx
LS8Mh1YAHc6JKlZcKNT+379Z/+oD+dN75f4T2j3TTTs0SL1Cx7HZZYYNMm/mnt7m3/8Y8a8/E4Ab
vm/5Hp/MX3+ttiQElN6Txie+Cb4SWrln8Tockr35jSOY2KAz1dC2wuC/HZnKHP9ffjzdRmH7pnDw
HP31x2PQqqlZSZ0xjsOOQclVsTce+ls4p2G/oSH25O0r4ACHOBz+T7/5v/pAHSksFrsL4uyfGWJN
atpe0PCbI0S4wla8KxnTbdKdsUN78tt+Ga/bu/Ggj+L0739nls6/WErgSDwsqb6Q5j9j+2Ese+OC
4o3bm9r7DA0K/yHI6FPrZyJIt03zi2zGDa2pbVDeNkWE2jHbtMBd03aipa9wCQGdtm7XuqZm1XNC
ujQgAvEp7JtsVa5BPdCmu6uqKrQL85S59a6EOlJjrPWK+Koc61cTKbo/i5M3lKdoaXcEOm7/B2nn
tRw5lmXZL0Ib9AVeHYBrujtlkHyBMUgGtNb4+lmIyuliMjnB7poyq7Isy8y4DnXFOXuvHbb0F5LR
6+scFNdt3JJ3maJaumjJtWCtTW3Lo4m5s6PuSHGFpA3Aiu2pAMFLECL8P/Y4bHszhaNfqdxkKMSB
op+YZbw4ZPeOeFUf8j1ZwmurocxjzvWhBwSKWLL7CUr/QinChXaYjPvRGA9NTRmCUKWS19JW3hqA
FH1EAhqBLey0iHlxk5zOVqPt4zykQBa5TYmDVFJWGVmhom13FjZ7k0OKINYpsnTOm/qK/UHITpqj
PE+gtqjXsNUzbKQiyIxKuzotADiTXJAICRpCZ4BUJbWmF+KI2PTe9eovw3gxU86ZiAgtDAL+zWhT
qQVPhaQ+SbJdnEITU98V5eekIJLQCQAncaZXtLXNXqAbFcp1CniEq8K+y0J52QFtJDL+4o7jsxWu
K4RuOdbV1oidkG1KRD1+RsAmpEMhCfZ2VyOF7Dgm0My4TqPUg4S6mBO9NOHZL60g9SXwffA7SPyj
7go9j2MoyGzkpzFrNl0G1Vd5jxc0ccOJQ0GyR6VOVQHvQLts0RJG9z1WLbslZU9GoAgAjs74rY7v
Q5+eU8zLmXzQaTfx+VLtHRGuoQ5RIDyUT5ain+Js9EqU/TNNOw2uQmzQLDevObxizj4XUnMQCokz
dOhCk3n8OWvhSKst/ohkLau3BXzmpZYp5VQCb6exI4vvDRero+DL7pTnzOIQD2GnX8gWwMm64rXP
r1MZVY7/RsVyJYEv6yHx5LlPMfR2BncRk1PU5WykB4Fr711whsSf9DhNaC3qs6hNVzF7aD5YMGdx
lwmMLylNUpQvZbv1/WYT6nBtLXJVeTBosCCiwW5VYFIPFUd1JHFZQ4MLHTn0WaV/MsN733ifCs4r
5ZMv91gRifIum4vcKCtc2cQSSJx7f6m5Sb7jzh7nHwNKhJS6EwQ/pgKEBnF5GssfmASdgmZnZpUb
yZK4obTKFUzqO4OjpEIxuRvAQkACLNgUIvxwRmBXGdLNjp8EY4ISCQeGfimsLe4yOkBboqz3rSwf
UpmGXzK4Md4s5Ab7urdu7Dl080DdhsFFVsg3Ivh6UD2sIm5UHUsDjigSMXKc93gDdpmZHNQM+aJB
yTYOT0p9i36Ro0K1DrILGdXcbGnN2rNq2cjq/Y8mQtIa3bbZ8xwdQxNFyOw/FRYo+EUlhx5wqb3b
/c7AuD4iGG5ypNxUxkIDGZeceZyq1tRaiLf310iucAIQ9NHGnpBxbxzYIagke1XC8gYVcFZ4moOK
5umwqkvNMaSzNSu7JS6uw6PoP5K2mVb3hoaXjkRpH7+iSrXC1I6SDR55pPcr9/cZTS+bF7ightbn
qL/bFk3Kekqmdd9eB4vEQZVJb1VeMYZ5um+eMouZooYIUs7VuQneWn9tSMrJjAEJjKCxiU2iPybT
+0Tw4ckSTRhOlJn12CiNtwRHaeFRz271bDeiAkIRkRCzWkrnuvG9Wc4donGJLN5YAG7wmKEjpTYU
zCfaiAF1J59aCWnLGyr0614fNxkilSFtz7EdrdVk2kdJsxe+jtiRZHKqttXz7F/r8nU17vDuuPXT
QHbiIploh3QfygMTzbxuI0Rui9uIBnaVY9VM5P0EVlqvDDr5qSNhEdQ7xHUqrIKCtJD5R4x+qqHW
24bjqqkqV5bUTWHNF7lu0A6X63IkNCzKt7P5NBJZM/AQY/L1KlRKaFfi4IfgX8ywzkXLoXwu3TxR
nCrA81oM1zaKG6JQg5/4LVyJ/tZQ8fCI0Irx0lWZW1TIP/RiM8x09gsBYjl+g5O4ykdli4yFoAUS
evUA4JSJeMDsPBGoCiD22NFH9FajTI/2EDbTbponx7QXiRLFw/RghiZmkG3HFzahI4nIlqugjiNc
3Vqjdmjb6KbVSrgxB01fq6pYW+mzUWC+tX8Sc7wyxhu7HV362eRf6TSaaQvS8A7sd5pA4JvsKxlx
pTytcw2qek8XHv1cNaEmGramjQZSFRsZpG5vBFtM8kCsun1spui9yHsfsMINN+mc3lRUFwzqxYFJ
OxZ4lJ9f6Wq8VvWaqZh84NZpmk1D2b/Lr3K7H1dIDrwQtbHVGDujQPVuSZepYrLT1E1IJ8bqMRKP
kze01dlftGXJaNKsVWkSxpuBSuxoxRuC6bya1BMdxv0vC0yF/ByksTsC7MJ1tBtHhJxmvgVJ5Q4E
Zw5LCGXTvMg0MsnwQMArIz4Al6Fd6UlKOTZGhBnxcRHm9lPG25soGoYQJhcrdYLkLsiRZ6ukQjwp
YjHXLIpl6SYx0kOlX1SfnCN0KJmlrOE6wbBCN6diuAwULxVH/AtehE+tyaisS7iQejpu1910V4yv
as+RfJJR36Y7IEk8cm0rJ3fNdDbyn7GY+B09wiBAHfN5VM8xlUSFDlEMdkxRUYI9SWi3uyV+hzTM
4nagEeuHr1U5ccbHVSdfITu7g/hO56ii/57CFLnnJ26TLgZMkv6stOZclq9G372h/nKSWfJMRcYo
zI6EOZLmVhumNzpTa13JO6ybpzKdfgY2TCLoJOTWof3EMULH3NPsyaFX6w6zv8aDe8m0p7a4MZKb
nupGRXcry4/6KJ+UHhcfyTIKbaIxzLcsB5s4FisIdzc6UKmIhk49ojVLFHCCeFvUCyIPfFPPktHf
UNXnoVGAQTsL/s+bBKs9UIq8RreTKW486KtwyrySHeeM5zFp9HXLL+3G3m31125RlpaVW7NfA9x4
HFl/TMwJMbwyH+uPzLQcwUTC3ELKgnJlMlycndLg4DfZWWXHmKhYAKTWtU3kyYhdassPV8IO1zyz
XtXxdmAViN5nAoGUQMZZi72LZTI1jwFiCCxz6xg/UiVX5JfIaABpNAN30/ZmbdK0xuk83ID0mzSC
TpDE16QMFvp8jw95jcDrWsMHbmfAyOh8w7N3G2qC3QhMODWAAbwDr9h36jPclZdaUYiEUjxf7Zn9
OEWWj51FPG+MU5GPix6fI9lXSldtih6YBvMnFkItu4iCPLo3ufd3Zbumykm819GoW1it9wB6Nnn+
OuPobkqmYqtxrQFV0s8peRRNcmWhjf3z8UXRvji9GLIlLF3TZdtWP50YM6OLOoKoBzbqYBscnEXv
mcPexqFNt0fycfX/Od5ymvpQmuhku86L+Pd40Ynqnxt4/lvp0U33Ehdr6I8/j7cUIT6f803FEpRo
ZE1wKv37cBQ4UaUiiXLjXbvTDtZuWOtr/SC+OQUqy5/zj3EoIBuKtvjUlsLOx8tStAaJeyoNLu7g
q0g/GPV8KKsTq6FfJpeIKMiONvLY4OpSxfHP1/j7VP+nwaF4fxx8QPjcFhL3dNjTEAzfJOYwl+y3
e0JhV/ZmDB0mDd0xD9+fu786/OK7/e/r/vT6EKkx4TjiuqeWjAjm/MkXbpIe/TZDaWrSlt1/c7HL
xfzpYj+9QNg9UVsILlZbdd7gcVkOIRGn3pkdOgyuvEJE51jflIu+qt98vMxPtS4Bkk0YGZfZVtfz
fNQ5s5U331yY+tWF6dT+hKbKpiqWL/XDlzGA1aCCEY9u68Jj27KMWqv6QNVgg32a8vM3X8aXl4R7
lwoe+HdqRX8fTpPqzlTagCQfo/Nw+zHbtTvZv/vmqr78AD8Ms1z1h6uCI4KNPA9HNljpRTXLiz3R
bkSaqiQvbV+52E/MIScqmUl9VlYLRnBZjUekoiXg8JhjftCCaZc1NE3/n7fg0x23W9vEDB3RiQ+u
5OoFyC6O828+zu9uM8Xgj9dvW+ow6BHXr5g3dv8Ab3CU/rM3h8qXrZqWJsuf3k4Jx89kF0xy8j47
oQXb+hcOCetwWz/nzl/Jo//PyunXF/TfgymfKqeVnTURXLDRHX9nTGauWYg1mqw/vze/151/fOZL
6fpf1/R7wv3w3qQjEmdT52ug0LHu3fwC4RGVzip0UX5tUxcE+K7fVddQkdzWo0M7rOsTHj624G50
Vr+5xep3V/3pNS6NcQpl/BaueRWcspO+UdaY++wDfS14ZiD/T9m+P2SP06NVECSIX9yxH+J9eUOR
Qt5+t4qqy1vzp7vz6c01RiGDvefnDA679B1FovjCTbojK8XD+LbDObuhH+pRE4J9RHylQ6QfMK9v
34Yv9w+/Wwx/PadP73fcwWWPld+z1uDlTxnqOsd0Rye8MV5KJ3CNtz+/GF8PSGNDs6ky69bntkMd
tlnl1+lfl37pNsQUusSZ7u09RYbvVzh9ebT/uNf/HvBzqwASVwRXkSuMQmUNI3Mx3bvVpN4nRYxc
AC4RO2NfEKTK5hW2ClCXd6Nhc6q1O0G2jFWA2K67EzAMr6hgHsaNW9DayEiLKGffzccK0b1x0WaO
dujLEygTNedgIvVW8nBM+VO6986iyyky/K1YfoNwvs4HfWOgFLYgrQCz8NI+2Hxzp5e1+x8XLjSh
0LAyFFpZf5+6BKgW2FjZSEk9tTfd7MHSuld+mBStribC6lekV220BzG69cby/jz4N2Pbn2YZs6RE
AEGLxdBsDyKtsTNRQUrqTRyRHl9+s7wrX37eglYeRV1Cfo1P31M1ZkZY6JyxlVuxUGecfEeR1EMD
ajjARVDpqGswtWft6c+XqXz5cn0Y+NPnM9aU3JI2X+5xdlpAnodxS+bYhnyCYg0m+bsL/XLisASt
ySXrWDaW+/5hWkUdWUh4CVj19yFY222+zjbNGsLv1j8T+LZK9/E3r9GXG4API37arxHZ9NfipG/q
XbP51w5c3X43zNd38sM4n97WIJmIOO55Y/q1te/PTESS80qglddfk1777XBfbkP/PZz56QXVcvLP
xpgH16/pN6FwcAIv8fptt+Yo4yj3sot/ffPdPvTrc8aHYT/t2lQV07A68fxkXOAKUpowxIA2FOgP
Fh0KiMoSW6QJ1KeHZ8YM8p+8rx/G/7QOSrUNurJn/MYjdtpNPCIRXpWNtMnW0a22+/NoX28CPoz2
6bO05zxpgVJxtdekmxzLHYypjXJQVstBFQXylq9k01MJJz3S4Uv94a9MljuZwsT/ZCX4aj788Gs+
fauNLrP3Uvk1WXaY6eFhPfrz9X45DbFyy/xXRXr5uW8vj5lVJEupr19PXrLVDslVelgBc3SYgA7D
4Zdy+WbE5TX9PMd/HPHT0RHARC4nCSPW+mtVy0eZaoqVSBu8TS5RO1BoftaQ64z4m0tVv/p+Pg78
aSIScB5buhlUNedyjdP3OgAq4QPPabMjkTNA9Oo9pmII3aipknJtCJym2nKoptJCQoRJUDnlYA+l
g1PSQcpJf7IDvD86mRHI8gdxCqKWxJ70m53p7w3uP27ZkoqlMm+r2PL/PoV2fRpapcUtk/eU0ffR
ZtlpEwvo+t+sgUsw1z8fjq3ZlC3Iq9c/vw4CloUeVSBE8eGfsQyxLL1BfaGj7u/6FVkqx9nTNsnF
OjZrWEGrwAk936u2ODE2xe33q4f61WploVvhN2n8rM9N9jr3DYAQ83JEHdgNtJelgFO9++50qa7a
rXw2+Q4D8Nxs/JRLdBud5ZtvXljzixcHiQygCIMCoEB0+vfbv8T/1UXZTsTZBqdw7rZRqVzaEcn4
PBu/iqrANVQeVCItk2orafZKq+L7BIrunIRX00zWA10aKjRC0hex7MpHF553P7BMQucYrvXGotBo
3i1m7UTorqmXPyQoIUUw4qQcgrONnTnNxV5W61vaEWs6k3uRGbSuNIy05lUlJo+G8LrO9HXjW+i9
Em3fBhqy1Gxv4xSUEOzpwr+nQkqTDcpOHFCB55mqEmG8Kbq7PM9OCFnv0g53itatZblzx36pV0Lc
qlT9kPeLJ9oEOTh385Pki6MayTvIuq4mgl+Frd6WteYVPqfu9i6InnGRk9ep8znHREnRmpGMbtVI
0rFCDGiHdziPNn1KwuB0VkrAyYsisdP3Sa291pXfnMANH6wJZEegaQcjGnBwMzRCZ8z+21ZvNznK
7LSAfQE8Qk2g5+he2pZ0T1U+ynoztMR5AOWdDXTlVID11YA+Mc1hK6uRHu+yxr+2k+K+yExPazpi
qHyk8xr+uTiiPUBW5VOrEoc4p8W1lcWe3hr300z31EQvt5psIEBlVt3IbRS51pJOgkH1gTDavear
a7rZMO4bx54SxzczAaFBJpJVpUGSWsOhi5vnRZmTwI0pQdyZP/rAwEiuQRICEgt4WtL1cwfZ3ys1
9Vhn6QHW3yXGSi2a6Z1a9kXU+jvJrK+5KRHW1dBIj2xUlxqR78HLN+//5w2cTbKfRYdAVjT25f+o
ElmjbBZRCGvLvjU3mCv31VXoVq7YZG9sOBwUu99tGZcP6uN8x4imrECr1BUDNZv5aWMVBuAefLWh
z4WWd+JgO5n2uRrueH1M1CyUkFYRGtXJVzzCPr4b/YvrRRBHHq6KskYzPo+eZJ0BEQKHqXHbvOSU
MWFzcsR8jcnC3E13tMDA3X23Kn4+ffy+5H8PKj5t7jjqZlKTD6ObsudoiOEjmdwh6MRZ9ETLq4//
5m5+ULcdwvHvtljLpuYf9/vD4J8muLbr6tBaBm/d7ld1yt152/7onZb93aZ21MO3Z5BvbrH4tKfr
TFH3/cwtbt3khAx8dMVaWRXvSLkRPYvBrdbRmWbjn9/kr0elvMM5xAA3+GkDUIJGxe7KqLGCIVO8
qO2P/2QAWzN19GBszT69tzIIjWxGMe6CYxcUa8Yudf88wj8K77/fExBJMv9R8SAuj/LDaarrTFKC
Q4aAAgIoArmZf/GPvJAsy6NHHq9j79QrJB3/0TtimBzLLcUWfB1/H9gmxCObe2LYhz25t1tlm3DW
OY+e5tRsRL47dXz5qP492ucKyIQLw54rRou1994oV6V++uZGfl7UuZEs5ZS9ha7rKDQ+3UiJLYdc
tzAnpr4/UAh36W9i8EpcJX5sOGL0ExlScXAWKK6SCt7PYnyZb+js38KSWw3kJv3+Rf8rbfT/TPh8
Lt/z27Z+f2+vXsrPQuplvP9WUiPF/mt896V9+dv/8X5HwV537/V089506b802Ki4l3/yf/o3/9Ix
fxMoy9Lx4eEsf/7f9M9Q8PN3FqX3379o94ZeePkX/pI9i/+iUSCbtsXzIEtc1iik/CV7VgiMZUOP
9BiJs6noy47//8qe1f8yhakuObMYJP8llm6KbomZFf/Fp08xwtQ0GZ6I+r+LkmVX/LfJ0xAsEGif
DSF0mY4mi+TfP4xuqHjLYM1AIgVzqwLy01kytAa/YAWHePEpk4NWU6RNpEsxJeW2zxHcNH4jr9Je
u5bgueScOY9zgrty8FWghigerKF6oVZNT6YCvKEUlmOlv8jPxMY/qrc06B+LnoKYX2Q3YgHq/xbz
oBLEKnovIb22JOmu6F9KC8LFUDU7rHXqSqn10ZHk2tPMeq+XcnhEg0yt8Rc0mpvAko9Kqh8UsqEO
eJDgkft173QW9rMxjAvkH36xESTi5D05RJAdXX8q7zHeilVroDkYxhItYL1pzKVKCITHMexxXBFr
d2ta1TmtS2k3GO1DGtfXWippl6klpqOPggCvCNCN4Daa7PNcJxPiDf9BpX0TVneEn/8KtHJfRUqw
yRINFDbE9xXKkltwtittEfSUw09TVBw/0jG7Cs0ZHScCu7xvnvVaeTbavR5w0XMQWi6EHy5ZW1vS
EO4CBaNNhxKsHKmpSzb2wzRuD0GmPkwVJr+YyNqLMhT7AFPTFnwotiwr2auj/qIbrpKUxN2jF2cz
2YO6eRtDl0McTlDFnwkgki65tQ20rL6qtfEKodlZMgO8WXCRtC629kbb9TlHAFPsJw2wu9UDvgnS
N2CDYG4zdv9ZGPfbTNKvIDUZ16EhU/wwwI6UxnQok+BOUcO3QEdLGftR+aj0YIKt+GqQKx3FFlT8
PkbelViAjdQYypA1puj+RKgsIX/Ps2zqp7LTSUe3elcCE0oaKcKZmDgDCfgrmTYPWKeemUeNjUXC
ak6wjlvIYisQykDvpRMhycpxiJodnhf1VoownjdpO25KiL3KWPQoMJVHxIM9CDNSpBriOhYcGHXV
QG4vRZfeJ6Gp7+Sp7Oi/Aei12WT5TRdekRYouMBaAxcAkBRViki8qLH2ozpUe0DByLkKC7AS+OsE
AUXASWVngDHYNAn6JitUw7s2MR7geKEyNk6gfpCmt5bAsy3D/WzDjWop+a4RfuoqJepdOoZARUMD
1V1pctIVCmiYsUIekYxvldzyhV+CYtEHQ3DYqhWmeF6OhZW8wqJj77NouEQTufOQ+aoGaNwUv0ZD
lvHPt0AcoCdJjR/ufZ+QkNZ/03P+lJGdCBQWzHBywLdfyyrKPiC7Cc9xP8jFU4g0CaO0WWPaUYYL
pmW3VeZ5N5r8RKVLDvKsGWsDk+FqFD4GUTDkeouGRIbCLHpw5zrMTUIbCpiSCPEhBmLoXhJEQWlm
duUVQNShfpPGNT6EM+K8BJBClAPh5VO7ixcoh95gYxqgt6rqnWrjBgO2dKij6UrY5W0/hQhxQ2yh
8RIcR59hTo1VB+rEUTA87Mg93HRyBmFDxwEqLGR16FrwlkJlikT2WkogAKKe9OoiBMuQFTJJITG/
oxvSR7NYaGYNaZBqx8krrBpkffITh6AlgBqyTRReqXwKUbp8Pe3EAcoUt0OpHER3KkvtHuvZTZ3u
fSo/TobwhKuz3aK0j6LDiNHaGlOYPNwLSb2Se8nFydDyKPxxN8wQIeMRMKmoX5sWwXdapcFeMo29
YoBWSHPTAcISEoMwc6gT5ZsZDJcMYfouqJ8TZdyWeomVMgBeaPZ4OsFuwVrKmmKN9G92tUa8Z6mV
bOpAkoCfTk6UqC+RlVHFYGVwmKcvaoOmlFljT05H6FlEB8C9I741zHBW1jz/3JyNlSKqfTHgHi/A
SUWYZqduLLdZNkKBPoRgvpEAK3dt37yrbfHAhOO7/MrguuxIKpgJ37Gr8W2yKjbeaHh/qnmFZEzj
xyYlga1S6826dB4HwAtB0ezMMSLgG4UwoTOELOD2NvU7u83WnUL6GL76xXe3JshKyfQezG58pZvz
acmomyHI5moUE/63rvUC5MNEBtrY21QHEG3CIHa6gdgdI3iuTZaYEUyBoqkAJFAJ+vJ0lsgopUZ0
zObqksXVPXCMUwcevJOjM5HhFDRU+5J2OP6HQT2TtldFaIRl6RJqkF5k/7oSpcPbmW+SCS++AaJz
LVcXjpdnLfafW2VhG/AXces/2ZXIHKE+NLDZVo05Qyeo7gMEJqJr7qWhE0iwyl2txtelqeLN1SlY
KkF6kJo6XHdxMTNXzheqESROOPzPm1pK72NJVh4T3zYKsTMmZrLV28bHOKq+z3WKdw9iU95iNtab
C1k4ktP59o+kCLRNI4MCE+VmgPNCNuC0CuQFUYayfGMlLWwc9LvR7AW5vCuU4oXc1I3W8/RiuOq+
Mj+UDUyxkrCxqL8oRD44eVo4EIPi7ajKd7pmHrOuWYseKu0wqdeWyJHSEljtTMkceWIQL5Gs3uuY
ILdmYlzkGWk425KT1JGM17VMIxXlCZkSOGQ1IHf6aBNEtG01ZSW1CwyXIs/cwayxiZNSE463emF6
ks9nTAS4WAVRD9J/avZKUj3G8CHmqlTvCy1/Hgq1O6rEEfp1lq8bVTKdIJUQFBpdw9wv33CoQ8JV
6stE7iS5f4ztF2mpys1YngiUJhrMTB/ltOAGiPSnopuvhLoQK9KK98ZqXtMg2+ZAZ5DSE83VQ/lY
NRviVNT1lKqBN+jWGeLStFKBM60sbGOr2bWLMfEK0lZhWWQPEYm6VcXfrY38B9xeFNAj67g8suEQ
6jkaMXPjcL71pUnbCs2CZ9lv7AVPPCudsSb5WXGHst4Vo2B6a6vr1kzvzSqVt7Zs3Tez/QKeftPb
BnYIYyivFbve6NIY4xsT0sbqzroyXTUJiST5SAw4nFx/P9qc3YMuWScdgKuucJqxtjZleDTy/qHN
3ywLHFCXyr/kBL5BMjKl9vhXuuCmGWS+aaSoJJYkDXFmkQUz3X+G7UIdAnz0ytL7ak1qH9NlrR/b
nxXmkFatjqpAUu6PwUaPhaOY+SOVW1LwJGi/scjY2IyJa82wUwCxQPuPNnklBNZU+0LkeeZYYtYY
cZKhGev7vJszrK6oxoVFRS5FuF0lSxhw0F0lsLjXbS5v4HA9t6EVX3IRr+c2jnhUEx9h1D3rypWN
WfDBCvRN6Kv5IZghsZtmtBESiSEVAxEjMzJ1972yVSygniYKoYo8KWIhWQRipd/GqUZjtNSKzdQU
T1oFeaoBlkMAR4aIsJAU9sDS1Uw1V9frX6Vpv9tTxu9vL5ah9euxlsSqHtHFVULb5xpa8VbfDpOU
O8K2Jh5H7LVonnmsZMVYzbukYuRX++u+hirddoG91+3gVEcCewzq7kKQwwdLrFhlo3IdvCcsvR4M
HJIkZxupKPOjWZGuaJsFrFRteO8S/E+WLh1rvUarK+Zhh03hOezQ2balBoFPT+wV8JtN1+ri7Ocz
+yI2bZ2e3MhdvdOjeA8kbFqHSgqZDZe8bqQnMsbNdS0GKn+qqDeRT465ji0KVQYZ1rBzHOxCv/Bd
vhE71OHXJsEsNq6MGe46YHfYA2Su+3Cptnqu4zwOjlP60INJjEmXaQB5oR1pa0cB7dkXQY/RWmYp
GDCeGeV7UjcLNpMqro1wH7NnwdNo7/VmPs728JPAu2vRSLAaVsMA9qg5d/pTOc6wJLGzRDMnNAvn
OavBO2Q1cgRqG2eYrN+y3P/CaoenH6+3T3p2B9M2tVtuzZg8W4kxHjUhyR456I9GUUM1r9tiG0iL
ptpgNHVo3hLyCwFUoOjKKpnDhsp6vUTmkgZ6PUkdt6HXj+loHyILjWIhkbs+CMmzDOscZ90Ftf58
Zq8FKjeCG4PeHqqqdG80ptNUCXOt+VZBVJ6XpVjpBQmapvKi21jrm+YVPOwmRFMAnBgtvQAPykc9
mCXhXHH3E9oaBG1eq1UYxqcu2pY5574KRv3GLJxRJxGNHDMp4Yrl1y4UxzmdjpPhPxZIfrhUe6su
Vrqy54+tp/PQ1pA4kgBi4xKcyJq7Jt6g8gLjNPaPbMKByfGpS3eNxZ2KS7TI6UBbxDeeohk6SZoN
N7WSn0Abk3zkBDqGEylE0OmfCnW4+GwmS+OXSpRlhU/WkdPghRPeS+zfKTZg43YOyWXgn8vVA6/n
XqnMvbH48ALVfG79DDwu/Q688xh2/Pxu0OMfnVbctAkZjuWgubYMqsuuuU81eIMIhHRGsdkbDd0b
cAGNKkHJk0h3UdYvwT5zx64BbXg3/1IKm3RyaPct5L1q9O9mX4ImbT6MeXsAjgiYx5hAmQ/HrOzf
R+NhKn6OJHAtbgc08gQ0hPP9FMsPA6yUFQQLTvM14pYKsfUInmAV9sEZlj3Myrba5iO6blGzWWWL
OSdALrPyJ0deFUIDST6U/VdoXtfCRG9OA6jS3ttEv4LFoawIJwlXqM+B5TTbwHwVQbYrlpk9lB5q
gPrboYAep9yNBufRIC7v1cRy7SVyISdPD0/rT2SKxE123cFArri2tRR6JiYqtcVcLRU7Uzd40Ons
giQAiZHcRbn6A1i403SVG8pQa/M+eNEtE1mWf10rxW3eDuexqe/VAganrmePnS7PMM77B7knJEUN
dr3dP8lhlr6y1Xmp5mgN+UxxC15xkqd0jjP0u7gx7YMEtvY0iuB2yLvoEC6NuEZHfOCP4pc6aL2n
JjhSg3ZLFgzRZYQgOsJI7d0U+q9a1SPx1Jh5FEyCwUi3yJZwfqkHvhr1lKQGirXG5kw3powBtAss
ir4uCtaKyG48EuawSMjgIvJSILyaFJaouFpT4CgdzqbkDUA3dgRnXs+fIIOSp7yxynoESEdigQ/Y
rU1V2dOsgMhObiCYuByaDesGDZ98EwoCXyyjReFX9tpeEr3iRTxRzDbmWsGwWYZ0phNW61EanyNR
bk0x4PyxR08VxcJ9HrDMcYLII7xlsjwdFAO/mZZtlbQ0PLUcAh7g/GvIK3+X67jjiRChxccL3Rk9
J9iIF0cmk4Cd/k5PI9dmF1ZQf2O1JR6JwmjbdNeEntxUcm2w6oa70tfuZVsxiOXCiaHK9lVfVa8I
i2dmF40ET4N+jTmxBNGHLDwj7n/kmAptvbyq+5zEYxOYvNWtK9tMHKEM9kZpFODqlcExlQ+sUPV8
a0biJsoAC1Ua8FBdLjmDIM5YZL0+zaFAyrcdAZTXaY2f0zaSt6Reum0DB5tkSR3HzIbVbto0DSHg
0EnzYrplPSAXZko2mgJRqFb9Ypdo0VZTDZvtBpskFIxFXU0gv57skZOkNa9pkKJNEP3kCm1iJuv8
o2KY5l4GTpQFpIyrOmCCvs6eOnbHpIBe01cTJyCJFMKGxOe4lRCrh1V0LmpjA0HFm56soKgwmnh0
xXLoOv6z0NmiylZQuTkRh9DFedy50j0m5EtwIggh4L6q3S4VA/J3prOMFdihVnoHJhMbW9exVxV+
tg46Fss54ew/kmqjDzPVSFh8eSUZXoij1YEISAcVk1WRRy/kDxSPo9qhZinJEr1kQub03xLLbvpL
KYyGP2OBfpUckZK1pceSui78SFpX1ZBgLh9+0jvDjTrgSGsw3Fn+ry6DqTPyvTu1LN0Q3bQdu3Fe
lRiBVMnfsJJD904dZteB1biI7/0pv4t4b0CCk0meAJuqwNniNnCDqIQaq77O4fSedQWzXOoBUixo
uec/lPqqacrLhB20qqmLUR5Npvu58n9VY6x7iCYfsLIHgw+nBh3jzGkKLxDuNq6XXpB/TDRtm88S
JjBdvxa99phx9CFkibgkXzzSBfDmHgalDnDfVWpuf9Xe9yYpNnaRWh5WN0mVzm3dJ+ucjcQqiy1A
42F/WxOizkSqED4c1y7tg4Ncw1AyqnyTWjacLRXrndIWd1PT2Rs9szOAXgbGJqHcRpXKLmvK33GW
/gThHjlQr5448UDQBME+4dLLTcLtWpmvnzojNmeOamMD/lFha1VqLeSeEPdJNmDTjLbWb8OvrCLu
wFhONQaSX5z4hSf+D0fnsRy5EUTBL0IEvLmON5yhtxfEcrlseNPoBhr4euXowpAUElccAm2qXmUq
84L447ce671B+MjAX/HP9bgXCOBVmoqQw2kmtLp0szDMjrP6vjaJd4+/DDaYfxFeAzTLwaQ8iuRs
hwvN/2C08ZMuB64W37ieHoqy3sG8N/DeDxnggRknVMb0cCTlHhbwKSx9xlVu5EAnzeHB9ibaaT/Y
dwhVA4D3FKS7le82T4Gtj2XN8GJBr31lqDlqX3QryZYDeMoUE0o0mwkt2IaodXxCBMjSyk/LVRwI
iFTt/AYmX/CcDF18KG3Vb0E+Z85NHheDI9DmAzXD0wTqUY4My4ZZ/nfxl2k3WlTBgLwykbjME0O0
9ec4t/WuZirdDxgaThQvuk8peGmcB6kE07Lyx22SpzHAo1oWUO+x7cDG4qwvZcE0Z9mda8hqkndo
k4ztvCucAaJw+SDsG9rWQw0+DhS0UmRpaQb83B03zCavfcwQ2zQX1dZ07XReFOtlSwAYT4YGo825
YfF7VNTDgGUDpd+YabGHPN4zLVr8lOrHywN0XQVuQRs5F7PVTwWo+zucSsclHCm3Qk3aZFP0W4mh
f5jwiG18Cg83DZ7gxBPdwEPlWagZISzmMCcNPkKJID1zmGZ3Oqiew7RB8sPqXRYMwGYiOnl1OR7j
rk3iDVefhoM7vMu4mOIrC9O8yweXsWpm+7jM8sULItAIAcxst2fEdcN24iJOJaRBmfRBMSDLARvJ
TlmRUBYuSluA/SucgO564mwHHQMxp00TnXP10b1Negclu7ZX+LuxAmSodZ4SRqFEsagHg9Okz2Hn
xnV5Scsb9Wl8CObkIQlfAjiErR/yBwiuj3JRr9WYX4R2TjNCIfwkqb1HXbZXN2iAU1Z7f5sl3ieT
9lg3NYPrceVdgjh+cjMr3gNeKJhiHV60M5/bhvpm4t8czo6DvKWy9ib/bvwFiGNEhZsO8KO1/LAn
njBd0CYPkCdo1+Jj5tBg5cDqgnznJQKGM8APGfdPgEQPjui+al4WamH4Qwni2ElM8X1o3lvxCsee
EUR/PqPUZLrB29lh162Bv1PWWL5rh6xDV2/cxoLkybFoCx5+Y03uUZjud7BS1DERoXOftahNRMIL
6eU0fGC8cTvgsOfCeSzqnensrT/dBnZL7d9Nav5M0+fATUFxtWOxwZD7WybtnwRkF4A7a14bxr51
Eb1LTsk6V+/MaVM4R+AT5PAfKC72FCZXNuSuJGUjMW23ZxphWjkO9MkyaYZdOQOxCJ3ev48dbuSs
a2vw4jS/QqDrSyHWSG5ZknvhgzB58m35GOZv1WLxWWtl7aqJbUmQmlrjqqIfZajodel9llt3SfA4
Krc74L1EYZJuvLG7JDa2qaloYfP1L6l25SmW7j4sREGvGpDEUkEaN5zMRrOsA/VPT2dZxgvo82Zr
qsTfOXH5nrrz1UETtKI8X9p59FpBbScZccwwC2HIGKCDl83Fq9QDwhVW0ejdA8lnPy3lKDah2zya
kbh/KyKIeCIC1uewW+qMHgdXMUQBdV/MbNoLCjQ0925vbQgoIEAInevi7HUUHFxTPSceFY/Z9/dD
p64eZotNY1IwtsNTKQvcW6H6V0cdrbNu0tuhXnZw8an7RS9UvPZQUu6dGJQLKhEMozG1SR8cZU6M
PQrUn06Fh2qbQcdeB+hwWa4XSHhDdNSCQtmo6f91nPN8eVD5Tf+tkw9cIRd/Lq49XT0HSHbgnnLf
puMArcJ0vAqCJlHVqker4ahVSCzOTN2n4z1JomfLm36rdPjbai+/KCf4anuufSaYD36qGFC0pgON
16014h6YLHlrTJVXCMbzrvfzt9B5axR6taJfjrENVyBiTRm4fGxHUx1SFoGBG/FWLNHZqjxr7QX1
uo1DcarL+J89AGqZQyS3gdD3M+t+UkETAFz8ZPtvzVKwDPnYrjpOHFVn3xwneY0lD8hGM1cvEnWG
SaB4BIpeh8meGb6nUTNBxjYFz1CW3qW9D16xqLlaVl8uMhC/Sa62mn99cpvrxKinGOU3k6n/DHk/
tI6UjVhbkgW9X0MLpIs1rizbHmGKlDwlLupniuM5JPYWTdWN48u1KtgETXHyvFuQcHAFUVkENxjb
++lniWBWp1CeC4eP3m3JuER0FTxe+83YN+3GU9AzbkiYukwvVdzMDLrHd2MOiihbSCIGGdOplrdl
wNreF375L/Co044xvoV4mo+jbMpzPcC70b0LNdJ6bjuzw/ajVpNXbPqZe41Vc1JtxksTXdxu/sYi
2yG2JnDfDi7vi/G+oBO9WGWuD6DcOao8N11GYIVO00pnCTT09OTk4d+lo/RGGwPeQ+ptzeh+NVYx
7HuwJQ6l5KwGmcVE9Z4OzNYBzWk8qDoFsHQm9QlLSpAdKscld22aAnlGkm8c+g6DGh4qZsAb6qq2
nZ9iajJKZa8jS5jKaZCLm0m1a0K97rYqMG8yosg0ITaa6olrZDkdpy7BHbLxIYaHTt6C+La/uwkr
m5+LF2VhC+XX/5YK9e6+WJ5jg7MnvG3Nd0EAOj5sFrUfedSXMroEYf80dO3rVNN3C9zpFBXREzVw
f21Q3kJ/mOTWpN43y3o/mX+V1t+V7bLXn8d++cav+lDczEKlsnGg+eLUNR8iLXOIIf0+TmFF0Hxe
6WhmDcVxVWONGOS4N1L/LG17KTLaQZHWx7EAmAEIvB9pXals5DKZRftIwFACd/KAxKHYBkGADZ73
2aMkxUwSHntjhS6dNnAKXTl+h6zjhabeFUycRbvkKmxQwn0xUkOfxNcSyudbFV5Bwbn2Y3FtTIyf
Cdgog1S3Qz2aSj9DBceZMazYHFTK/i+7bqtdl4vtbw7whesnv5jAUF8ME1AAMlpxX8KyFtIQSyF3
Vlb3VAzoU7kEPcsQwPcc0c7WGV2gMOxvGPJzbLfjmvt0rFN2L4Q549QD3sjNbpAzPipQ2YDtBafN
Fiau3QB04XvVMUbjOHkoC7+HA98eVP+j+xFxQPCicgZZTWKvTRl+OSFC6lhK8upxup2h/utRoKNy
TnbbvoPjr7hioWXtAhTqVlq+eovWOy2oTkl63WE8vi1uwtVZ/tqNIMYed08OUvrKCSB66uSbC8Eh
morPGu1lutjcMaLmr9sCzvRNm6w4pfy1i7E/yB4tEMGUtyShEbi49k8Tl9GOTvuJltt1aTiw2try
cGIINFlxzkWa4xtKHPeubJrPsG/PyNuAu8R2ui9u14cihsppbIgUYfAtK4L2XpTdUZKy+Z3wnlrc
cAwiPU5L2AXxh4d4vOy2r06L1+y47ojROfWhB0ihW1BPsXPP842gPRSv43QbiVXlT7dE1i6tpDxH
cfWHQjgBAMqdPmKpUKony7L/poVP9rbkucgzwjxjp4lENPDN2n99aj2bKsRepJM7xEvlqnLH40w/
JuBD20RO9sgr3qAdczYK1MISasl+CkyKYulO01paucOM+KejeELOx3C+yKx/hVsz/tV8tg3tvdDi
9GEtyykdkQN0vtpFItHrEEJ+2HP2LhNDFdWG7UXZZLT1u4/KNJiqCw3kb2TzNyCMs4Gjz4E9VZBz
ouA6gM4+YNnCT8nNvJ8hB/vdNvKXK9GkM0sX39aV35Sumbkr6tfQxhrij68xcaZVESJTGYL5t4N5
MmbeRRnBTX35tQdP7ZYWbkNvXQAevfc2wzFly8xVNbV4MC7xEsitm0Px7R2Ro2EoTlPV3jVvTlHX
RDs8Nhg3zVfB2Ni7pU5hyJR41BIDAs5tg7UZHBTdrDmoboaNwVu0isJpeMvVQK89LL+swnwI31r+
BuGpmOzkMdKYFDKZHWmi7+vIOOCjeMomx2QnPyc374NI5oJ+ngZ5VoDv0IAyA544sMWTcgCvT2Nx
jyMFt6CgFC86R2wzzaU+6KlH5gNZ7Y6cduDyows1HAthdomovpNC0ujnQk4ggAaz7NUOs0lO15U9
wxB80H53Z3rXX2cIw5e6/qc4SAEaw+NHH8cDW+xT6Y2KF8rHDKXHE9aE9g1Mtc2vvP1pyuk17in5
yJD7J3tdFF0Ht+Jq2XK8mhX3j8r344MEhZnXkLUT9Vo2t05Hv5IJt/oeme9qfEgmerFdHrw6pfkD
OJn6dMhAEzWtOB6fnSDb0mTeC0JIkw8FDpLkj7HFxWmVA1Q52GQquQNaePuBQhRfLNZFiKNu9Iuz
aOptnKPkzkXORPCM+wX5CIaTCjm4RcE7AmaSJR8qTaKrpTQh4yXp9k2rcKcklGOyxQIiZJvT/1/y
qaz3VBLuFxxhO9ITNg1F1a/7MQ0JQlDYokB4LtOvAF/1PITn0nNxQvgcEDWXtdGexT6N9SPjal9T
Ra4szRjaCTQkzHmqL3MEiw3RH2KSZlhFHeW7rmV2Vk7qh9Joc+Aneazj5TEjML4hnEEPR0oYzbNy
iZB0P5pq4LbMNPQ+4UPMnihZTd701F4YhKSdOePoK4fig+DU0ZeaZNnyIILwOVIDuS5N4Ciss3kV
VWium5T9Pg0K/HoDy4MY9i4VkI6FbYW/fd5HrrxPR4BG7atVQdQyaHegIhLmWlJY837E6g242OPB
bsEPs3LVEJZFdvDd/hNUiXxpoDQ7Q/bRFhrUSkbEKFJecFuXHrw+/pULp1V63jX+OZzjGAjGCR1Y
vLx2hS12jpv/MH8YHurAfskIf21T6+azhn303M1+x2oXxSDXEOYJ+k61J77HoLWQd4hP08W8/17/
oLzkUhFsWs/uRLFbFNeBe1RPviYuF9qHMgTfM1aHiKI0GZL+oRVxeqTa+CgXrryUdaQrg/sZnp6j
pTxGqboLRgZ1RW4lh0l4P0s1sm3NOOv9IXmzhuIUsSlzBavEoVzU8MqSeoA2oxFfFiBgV1a4nAYh
TiLX5d51LKqm9nAnR8fm7nYnwsE5uqOqt03KyEfXiuNSUkOiOC27Sm0VKFsWGzHsAlfcaPIEhBy7
3TqyenH5rU/Q8HYDJPWVqh1uaRGFzSDrV64cDB07jj2UhhAt/qSUmbq4e+Vm58BqK94mMmkktHIC
OD37rN4V0RJvysnYO5tqDucwPBrD+NEUrCFwgxBqNL1cV7XXHea02dtL+mpX9oOJPDhVN0Ch6rs/
be1/hBUlYNM+QuAP9nPGRCeczy13aMKqesYtZsgejCkY8UHd+S7tFSu2P1o87/fpEj4vc7vtx1sf
wWePzZ3UPsUqZdBlvhrHQlDAtWfT4SfOi4xKAZRUpM8fxneSNX32l24qzmbkbMD1hyO9xLXlmA0r
xOcUlC92FP/NbPmKaZ1/puUWjdfrTBZvX9VoJxuXIs1giVNb5ZcigfM990+gxanPReep7zZVhy7S
6wl2JRLDZYDTjbEjegjZfewtO074bK94QCHcQcc3cN6XvKYl2hy8KKcZhKiTyh15VrYZ28eiMXcv
Ovix6ImtRzXGYBYMzDDt1vxv+CGJu+gQ47JcITgg9+TtrJkavUiHp5kAGo7V/qFpog9RmPs4Kvim
AmuOUhy+syS9q8DQbTM723d95O50xyo0N/oQNOYWIzKHXgSvum9PIXgrfxzpleYoAmXaGCpG9I/l
ZAu6USjWsYKGc391bxs0RSiqEFm+9woCeF5nVn7XSULu3CcXdvu1cpQ+56Grz5yaP/zBhq/FwYW2
OLoUEm3n/780gz/0q5EprTMD6W1fDycTsWat/v/L/7+UYgwPvT9mFzu898q6OAWO9WYtRu5RZUWr
qHQ4zDK/u/Y8eZms8Ud6aUmAV9HSKzrwhN1vpsS0c4X4ZLdn2ifvXPoF2d8kkf42HfrvqXasp8wc
QxX6h7plZfMs9B1NLUCv+XIXTJxTkbG69xMb6bYeXMZxXc7PmaTe7hiuFs4HDH6qZoiGdx6nQJdE
4jYry3fMRCsbNeamsNOPJX4u7Hg+jal4XMpl69rl2mpHXBFl8JPq/lPPUObsGDWbQ0aJ8Na7CRjH
CdDbmjokuiGrv9IGnWsRzM7iuTgw+/8MgWk+CCJhGmbSqpekpBqyQJuZSM3ar/NXWm0wwwJnky64
S03mf4rB/h1vPSmLQRDOTZrTCj4EPT2RX/wIFc4mX/1JJ++cK94HKqq4sTVYW2+hH48HykwwbBOB
qCIV77S9uGtP9vdYELV09aVgvINMePbDZ4kFtViF/nwkEdb5PVXSQfL4S/M2GnPfFaRcbz0aWiTi
3wRLalygtGof6mlDZ2HFnh9tMgFNGwc4RorU4bZDlnaZ2r1TZzR4g/asNclnEuvwN9MPTZ97Y4z4
0Av1Bbw3ZxyR1FsNPwHChSLOWGqtgHpiwk7CH3TOivJadZA+RygMJZnM1QRg3O5cdPXlvT3xvhUt
+hYzeupuUd7JQG9rmFrnDhlHazvzfhsiSe4yPNfydozWBBijdhG7zJ8IgleMeLegD7WDZ3cY4+MQ
fI1w6a7t+MMsLHybKEnPuRfdOa0mNpEwdtPvvLgOrrMdH+KwLdfU9lBVzTkEvpF+mc19cEs3eNku
KYGWdBnePVkvey4dzcUS3a5akuUoohgFFzQ0EspIFfm1EJsIu2dPcSY1HjDQykpPXiz1IRyjm8T2
dt+NuCMPhbOeucjJzk+uFZ3BlXDjr1ay61X4L0i3td+165/mYXlm+qUieBNS/Jqtbe3np7wI76Kp
fvem+psDx7tFjTENMrJekz7qiRlXh5OAmagZSHKQsglOpoo/XQt3OoOfIiFEa0X6nhX5kMn0Rdbw
VW9znVO7/IU2u22Jna36If2aq/Fr0Po0YB5eqEVI78YOyJKAeI4++f/rah1eFmoW97Sxfxovehb9
T8+StkmdfQPkcyle3aV+z0xMcj7onmopHx2czuvMqu/HkP9YGCi4QUA0Ucv7qnV+Ha5na80pn4K5
ey+jrj2m7kI6lnAf/ZUf8vBMus/NcyMtMGXa39JtkU+QUQ9ZtcitnrotAMeHAHXhTFclsOz0lE7R
bkDNhFCzZfUph7NZHIaQzdlP8sdKe/GOn9DdlKn4JzPz1YZFAJqVEoCpnb3XUHgETtjv3Ux2tzDJ
yZZxduJ48IRUfb6DaammiFOEjNjDGStIGr12yswHnstnRsdprxIaiSW35EmGhyx2/lld/UR4r977
bQTYZUoM9bW42vmCVPnN6VilvfMh/ezi1Jrx4qx7a2zkLssQ33z0NnHgJbRPTkc1l/e0eELEdbDF
Mh1ogyDGyOz0oQrDi9XEu365ur2br20VHJh0r3fDoiesW067UmO/zS2WEM+prfO4qEMy51eXLNze
1rw5rrrQqolONf2jxRf0j0In3Mgl3nWCu0fKOOcpv5UnTTw36DBjsZsBcK1IMZwCCv3fMYGcctTB
p1jaYsebHRzrOWoZkYpeO+saJtn0QgPSfaxbqP7RbRa8oMlohtZ7cotWbhyncHb//y3TujbUjjtD
zoQRr6h6y91cn7OJp6toRXDyfbiuiifokNsjn0FHuicwC2x55Zr9lKfBG1Us6Mtdn0I8je48iiBe
QC12Sfm19U3tkBAisiniNy/IxQUcL8mzkc0hmbfWQqynKrrd6PK6qaZ7wHUwH+1uLk8ExKk1Z0AH
oP/cc+F3t1FPE8spSAiJoFGPNIAxocVW8zw3rBygxgV7UkG9dfb+dKyv5CB/m9IKH9QiHmr4ksTB
5vYJYtNSMSSou4xzMIzR3OuIZFXucwAYfiOKIHgRacv+75ev0qvSF3Obdktp3wjOaDtwhvjh7Rzc
rzcFj1OsyB0n6k0ugIBke/ZGac5oqcReVqCyLG3/68XcPpOAYC9PKfi3bVBuonZ4KMk5XnsLIn/W
Zi+Tk1KAl94tQd+SsrR1tvPAed7GcdRTEENZ8oJ9U+fI3jibSzs5JyK91GE1XkSjWoaaGEewzfhg
N31Dmtv8OGUDXvsWfx1HNzzSvXxkfH4mRVlBAZ2saCfHgZEQoA5bpFQ/jPObs6jErnMvy1JFD91U
0RUucIJSo7pGvAMHbXS9GfTCuS73DBruPDxY/Dd0Mwobr0vCzAIxXx/r003PqAYOPsGyQ1bEcWRJ
sIIHoPfn6jVp8247pSGN3DkQZ+27P03nCmYF/H9NUKd7d6H+1ZPsWS+lOzxK9UENKjxBvQWtPBRH
HhF70+DcpvvCCTTykGqKnrRbpPkRHKCoB5kWIxz+aTy3DDYRF1dqxxBJsinCTMKcOyWpbBFHryMg
efe2ivOj9ugR1nh4wLvcmj5ZBNyssckRVQzZKx62Y5H/FLJ5iQjXl/SJi6x7zm99Mjtk8qIA4u6N
NoUT8skfQjMwmTFNBUGefbiGAUDXpr30qVsBDeCM55U5t/2oee1aJiAqq9/Q12We1R2on/fZ/8p6
VoPE+NdpEAw+G/YXYAh/2OTsnehH6kCE3ja5Z/3EfCPiad6tKn9zMBNqDSNAzF3iHgKH4FyjA+eo
jLdpbi/O1DJulCb0+hsJorhQNhmmfAiBojOeYmfT/OzG2aNicOOrb6bg1nbfdbbudu7t4EGOoF5n
TrlQ47vBoPvhrc1bc19znLj3muRjpm7TdqF5t2UP3KhltS5dV27F5FlURheCXyXFSrZtEkauvhaR
81JiSmSYKQCh6Qz+1QHdubV0edGtSLecVF9mWld7Idh6+fOb7cyzvibsZJ2E9CCnk/ZhSc6pCPhZ
snOcGH9sWJTPlI2WQ07NZF2k8U/gRuqlLqy/NC39vxMbIwmx5A2B5xbnK/Luakrf68J9yIWd/Nhn
cnoP+FzSJ0u0NF0tJhqQKhZM2TyKINtzq/S3ThU7e3ghb1nkcrycrMdcDLBjbldG6GH5ScXlyE7E
kZeE6VPW0WzhOlIeC4hC64yuH1br6FSN8MiylBN0nTnLxQr6+7C/170K9yLnemqG/qUn0EzAz8vv
Szf66fXYH3FGAdDGlfAwDOSEPcvbi9lXpyUykvE+Tslux4vZpOc+G/BAdfG85omm3jxFAcQiuDN1
z1muWG7ZLLvrufQKUiUN2lIbERJnsXY5cMnj+kUGQOaOOSIbPjNJZ05yCalZDlS0Ats8qNC5qLyP
16EVdRtM4dVeuVw3VWzmD21ZH3N4k3HIrnhAZ53LMnvLsuzaM3RPIa7wXsuJWUyqtM0SQFKmXbKb
Crd6mZKHhdmNM0vMjWqvMb9NKt0imlaQI6boEk0TjvqGwCkjhltslPzAVRCicu0/PdJamwFrxZ1n
qABprR7EVCY7PaPxbgf4IG4N3Yx7q0MW+S5C4nsJmctYHKqhxgqqnfa99NQkpXsiQ2YFYmDtl8V+
tKAdu53HTa/ZW41959Xtq+hGWhIac2Bugnyj7CI/t97RS6vhfggo8NLfgqQeKnEp5K9nOkIAGPAo
9V0CwTHFlQ71/A61PAJkUjFE2OxWvEPTgb1Uby1PQNXGOoeVk19SJvI3K5PtRTufBZOFQTJDTBjd
K066ZyYv/Y1tV+FqtPz1wEASo4zBay6Kv61D8zLxiZcllHfDiVfTZtTi1PSv6dL6r3ODJj2x/C/I
bDwUWSs2sRKMNs2kUNG/PfrCrJJlBLTh9pgAPOfLT0nJd0jQ5AKuhKTqF6mleW1Lss8iVd+xAr7v
5lCiHD++FDOmWArctJNK38c3IfETWazWyxIfUy/fxm0Aq0Tz/ZRfKSSK004H6R9LtsipQYjcQY/B
susP1oEFZDW3dvvo+uOZXt5dpquZey1UvzigmD3O8hphAjsvfndoYkMnN3qEWvScemW06ZykOGaz
u43rPSMp0Nip+HG3xEpRRnsqm+sJdg3nnuhJTEW4qdpPO5VfEeOkm2KWtJq9izPTkE5NcvQ1vawg
hRikMvduWUjbh/QjcC/Q3Ft3FI7H4AbMr3DmMdj62HcRUwsMcym/X9sJFpao9j6qKf+17P67KJyf
scamEtzSbU1SvCRaflo5vpXsNiQdNSURMBTkS0hzYkjsZwEfdAPl5eClDKZRacHgWTAmCfp+7GLD
GzPuwojzZNnvS+29mXH+8P3ko+jNsw75t03XHxeChAwkcTLMLHlo0lQwGxBfGL3Wt1hl3HXcIz70
HL5i0lb32cAhocgCHKtl+FEu3c5vdbCKTEwsaVHXuLfXeeqSre7vQoIoxPECiqvzt+oyUoUMHqjh
pQ3j+wbgju66uyaIL3maXQD9lyvP5VpJJDjaedaId3WkL7mkDEea6EC2yCUWH1/bmvhKqqBowNvh
/Pw3yWdvo/Lyi1jKN0Vkxj7i+H429XPVuw/SeI+jdne0tR/yIr1zm5hCcDvcewNhVs338QElrOPO
fxcCK0kYgYdn2Mcet1Nfc+ZjazcA8pnHwzbvRsGae80hCdBoq3nctV3Ecz+J82CGL5eIbzmWm9u3
t5z2jgn50aWKJagNFTOOU9/xDg7N3RXyzLWbVJsgKBISbu39gAekZ1gb54K3FvMxETarxcyleHSK
a+RbTDnN+D1dyPIofhnJcponz3V+SDGoNVKgi1+QF+zKJ7qPD9Mk+Q7WJ3L7S0YMapHiKZEHbvGG
0QyHh0X9NDo1u1KTq6lcrCDBShImXZE7ZtDXGr2zBBRGz2SmWXKhJzb4WG0LAsYbLyyfsbbX1/+/
LI5tmEpj+sZpN1NgvcBEiq//fxkyAnUFA7ncuxgq0tM2myj6srivcnD+fpMtG+no6TwVA/msxOHz
bZATRyOIRrwmtC6sadpWXOEJ9JFuHrBMJMQiGZvej0n4MEVjfrNL/uYttzmdzYdYKEK5YRZsXIeO
NVk452EI0ecUbXBmIMV5YOsyh5SjzCqo3T+S/sZNTLY1Ue5Dnnew+qSg5C263KnVLxdB14ZXuMlR
jI9nq++L40LmgO2RlpEjKbz+/7fElppTzwzGCl8pZQR68Dyv/ckQy4pLyKUz84Ebz6QT1zu+JNLj
oxl4XjrX8U7+LNyV5Wi2mLC1dvUkHuNQvUTtTFd98N4HNdknffuSTZXYWI3Z8Qb/XWY9nobOG0/+
8C/gIHrsfSZwvY4yPb0QxAgQ/dV66frkQMd4Pnl5wsjIrUOLHf0U2v1wmveicZ4JM+bbPB18Suh8
3I6/ci1+E0FgtVsmWPG7hDPmOHKhx7DQB0FfbO25eIGb1jrTNyk36eBYx3IoT31T/qWj1V/CJfKf
5rg6PM+TujIu3b2ERHMpLXQlzdgov/3YPhUehgKSnGB7VGcbfqUjl6jup+k1I9U0Goj2dk9a2umK
F/+lmWW0K4Zy19rVQGwddW8sgP8bnyGum2fU2CVKcCve9Mwarwv4/kFDrTewXdoR0a2aZMIzo8IX
f/mbpUAApj5JeB57585cujrLtsqSb02U7Hqll4stymXtkidufNd9Jk/m9G8cCLKjbrD3WoT1PLby
q9USsc36+jLQZgqU/8H/+j2zckOA0jWqdjVRgl0c9Kz5uTjkKeOF8XRy5/m5ZW3PfC/eJnHxMyAv
ZJEAwMyEFAcfezllsviNaSodPPEvmGjixmL603csYj6T7cw/tj9hVB4jEjC9ZLOwRPlr92mzUppw
2O38ED1EEA7qjoijqUinDhxBa5v0ba7E76TzC7PlpE1aJGCZwxZmI4dZ5otCqclFXa60USc5URzR
klGPtHY/jImc9W0L2cde3a3pmqQmvijm81ds5SPTB365jYnD73uy5/HSQ5UZEaMM+FcXF2mOHtjS
SXwiSmoPDqVs0wPOsEV8cBvYZGU678JueCFl/Og0yB8YjNQRcWkCO7RLi890IXvS2TeEr7I/6kom
W2iZ7BP9yirKrdWa6doMD1FTh5yk1aeMLO4w3cyYic+klaG2T6avOk+y/Oi5gaOQYLKoqvkSzKgt
+p5LOkYx/9KJ9FxmQ7dlkvrR7RPOt3NqbRoIb7EdRYyTJ5scpMGa/hZuNOfJa8YTg6v7giTCxuTA
Ljw3/eMA1dG23qZh8cSg7XMFP1R150VQ/4jC1N2rqW22PpHhlc0GVoj6KcZus+9U+9q0UbdqFbuG
U88vwyg4aeLPZvAdYntdJt22VkSasoLg6jxDhu6mfO+0zocjb7DGQG2rwabsQahpdAbO/ijhw7g9
WhaTLdzUQMBJUgklMgqmZNay7rhqN57YR71rDuFMgMs2vdmWXaBgy43XlKfLj/s7qTAC++5/zJ3Z
juTImaVfZdD3zDFuZiQw08D4vkZ47MsNEVty33c+/XzsrNFkplQl6KIBCRJQBWWGh7sbSbPzn/Md
de6bBD9JZwiqbZ60xvJo+mWpD4WLVRDz2oo294VJQ/wezFmxnDBbO7J+qQrIDILjgEjN+NTg1J56
BtGTvyZftjS8Ejt++m5ju4lC3E8eTBazrAizjSOoBvVejZW7LeaeXHJJD6r3sfDCL5HsaIw29ddV
ODBLZaplhwT/xwrHqUbFa4CnBIsKhmpd+8rWEjFmAx7vlscOxmXGKq+cuwvakbv+UPnFA80xu9E1
nsOwerfr5rGLeOJqM5pgGPtgy+xLLnL7zfInUmrVdAG28sBY7lqQ88+b/sHo25OrN1ujzrZDFr0X
qjh0qdTXpmlx3oquopIPhSQkSXlMLWQucNgF361Mx6QYHqhWhqdR2t+9LjjSdodI0FHChb6mEWQq
8VpVBbFsUuiLUuuu7UCawA/jetGHNBNyK1xTOP1ZjSVMt5B3jsxzUqT6LopHpZYY6hRNKJI5l2Nv
zSOJPL1lBXmsqKuevdhCyIr2Gi/zlmlr3fVtcCs9oiRdy2HS4+C8zOK8WFaY8Zf+ND5RSlQyro51
PK/ggQ4i0tD+Q9sh72hhzA3PsW+LrZEPz6GKu6VDB48Y43ebkNlIHLwlNLEI4wyjoqeHr11K0iAO
Xutm1oWnTG382a+m/JFIQJB1W2l3d8i8xyqiQZFe4Q6jXY2TOAEegyUu0EmwiSIV20Hr5wJyF1W+
hx2ceMdMEjJya+fchxSzd4PsVp2GLoSlC6t1q68r36YzzuazFBBKLFd52y71af0j6KINmb0yvfF7
gXE2cfnA7HQkye894oYg8p8ETGu1/jpRUrFBqp7GFuFOGpNajDN8XODMphYtWJm9/Og71Lu87q/M
JiTUoRc7M5BnaBE2dYXZNcvobNT4roz6Qqr7wmhkofqq3Ol6c5QpvtSBdoegNaOlX3rjHrvdvm5Z
zipl4OY2/X5A9IzGcV1mtPF4XDmLxEk+xzK8MhNmrLYxXbcNtnLUMHbWGhN42UDiyB3mXe3wmcP+
SNjmojCa7A1smCyUAu49YphCH6e1ZiXXUNVPVNXiNbJ9FMwWeZmG8de8im4iqnyRdfj/4LO8+k5y
Y2tsBEqK+6Y+nfaGyh/zoYDy36AwasbwVchbXfafCjsB8z+2AjLKwYRjCtLTQ9/FxSrHAnFwguRJ
6dE5YNCNxRrLs2LDtvDK+uyRyzUM/iDU10PHVbEZOJ4tY2km65EEzTKNnqkBW8sswuRmErYcXQrh
OYSiVH23TC09t7W3yvmZ0nSZwuHuDfDUdLHXLqORPQfhs2WdG7edD3nJLswLmsmlJ8/1ZYf6R9TV
+wljG8l8PUGDn+MaWX6YpunZwd1m1j4kg9H7dNK7lEQwCRRspYnAplDDqfkSyEwl+62jY0W4qws9
ZY5dHPLYyJhIhUergZ9pjVJflILDF4V7gsAkk8fGsW81lywUEIgH32qvo9FdTKV6D6SezbE0A6cx
excn49tuzWlf19jOYoMSM9VCbSIZoYRRrOpanDVEzKVbR5AaACExm8H3wUlrCVCdtsQWS4E/RufR
GOQidsorT3EaTdL4K4v8x0nhJvbL6jroa8TJeONNDjqPKtJlnH+E3Vhz68wfccA/eYkJC8vMn5HK
Mwxxs50Omv84vDdpzBw9m5hKE4KXyIybytUuhtsVW3wlxS6sqmtrys1dFIjkaJbtHW43Hi8FeAvL
3WmKtInQ0dG6fNbaJOjcnjg28b+T12nAK4S/Ulp+g10X0Z0gzeAfjDjW9lWVPxIYhR4QN+jX4as5
dVt/cl90jRtd2iC0zNHPZuBcEXQ3HkFqW+gfeihOFVa6ipF+nd/A9d9HA8RZTenTitEcqrEUarEu
/JjgZ46u5aNa5KURLQXRJSKP112BWRH33tFUDInRmpjx5BzNh00aI7OzaQeDY10Qnw3m3tJc219Z
SLRBjtMtDYQZeiIfZsOjUeXriInG2oioCxoRVWJ7Z3vdJhiiBxl6L3VDOSksHkfjqvNCUWxVwIZk
KI5NoO5tN/jU+eq9WVnQdEoNGWmuWtK2awNrozKnp9D2WKQanitreqxz56prridGNCj/7WXMmBza
pck+Iu93QmMS2UXFef5f3ZFHBKQGRqbseVpHUGK6JOZmbgXNoqtxUOh1/ZKp6k4CtAl6kDzavK3w
UVtyHr3LNNPfOXHSDFFnyIL5tORz3U4eWZZGGlduTGLWNcB/6S29uQnPGkO/tPZ5iqPHMeINNT4F
sc5An6LFd+mnhbdzvBjEumWxb5c6yY/ppOPixfjSXwrhwn9t5FH1clf1I18Dm559QUVDkZSYsasa
vof5NQQJNYscT7O4PGQhRWK9nKDUmPkOjod3qKqLnspoGUPOWlHqcZRhegFgcapT7DmKhglEbR7k
Ogm53CzdhyDUlxrAr41g67CkKJDpvP7UNCxmu2i4LOLkCc7b+5AH24ij5H7My/6S4CQVeqWWMf3G
pQR35qZetsYrwCZljt6MjwaCxarlYQFNqZ2oJx+jAzBhcFnNpQuS75mX0p2pwrXIB7YRYtyNVpms
WsPiYlY8anuHheBX7P0dz19Nmh7tcrfN6E5ExBmQRqSVPIQeX3YzqWXpNgdpt+mOkO029tgWzxQ/
k85RNemrNtHpCB2fZEN6MQisAwSHx8hGyRqi+p5AzGVyjI/a7Lc+PcNpz4WSVM5XFeELbcfnrLRh
TmPmaVr71kbUXda1d4u1Dx7SNKsS2Ng4uVMDx84tioxHnhE0s2qInCqKVsy8n3TIgkywejw/WMJT
lWnnEPiHPdrNjrHvowN8CBiAG0dvBg6lff6ivIhHldcdMRyoVTrWGwAfNRPr9hl9pj3kesiWwZgw
2Q1gLWwD4WsCj+VMHhptQ1Qwbj7iRFprur22tjMcC+fST/24HWYxGibfdTlkFICw/0aYZtKEOYYB
4CW1q1McqrtmWgqr7LcWSHDd+DQh5fy34Tm3X/nVW/pV/07m/BnM+Z/3ecp/f/8j/5bwTjC5//M/
/9ePtqa/g3fu8j55yz5/pXfyN/6gd+pKfiOL7EqdpywVYz/BO+f/x7Cwwbq2jatvbtf4A94pvjkg
ZpVLN6AO71PJmcj+B71TfFMuwiz/MU2D8xRek//4f7/c5QfTGOjpj1/2j3//H1mbcs1mTf2//8Pk
VX5CH/ODpOXaEkWVULalG85M9/yFp1tJvFe9czvjEsUA6oV6t4PBg366UT1FHtY7W/5dPyz0qX7W
G6JtAzfMst1y/Hf6B7s6DvUVmFFintA6/GcBE0mhwrti3Ynw1LrZ9aCqsxMPm7Gq1lVBi7qb/bct
zj8lzP47Lj2L7/3Pl97pq86ZwPyy9Oa/8WPpGe436gsUtGfFKNJUf1t5hvom2JTPpFZWJqVO1MP8
sfCw032zpVKgZpVStsM//G3haab4JqUDZkuyxbWE9S9xY3VdzUTvn6Db83KTYDFAUQuWIav515UH
Nmz07QloI6Mamj2IBZIrZxzJ1YAFXoTVogTGtEo9u1jJZsA3Hr1EjS/3qK1L9jBGoBOYKNXbpIfE
lRhlbpIguMOlQws4jqBNHPi7ClPzvqzFFTuRvWNQYMtYQ6cUCszAMJOEUChOtdaF+05G13Xuyo1Z
EHGbLKKBbNqD2UTeif5JsB1FQAkYMo7ybPA8Xuph6DDLVNnG7ziPgmlCvdD9ld+19WU08INRC0AI
vXEJ/zmJxV6y26suw8hBd6nz0gsGpmRlCPlk7gFN0lwkOldhaJKcRIdtZhYNREO5QbIwOEk/6IHj
L4tExwHX9B51MFaWCnAtvb7pGbBujGjXj5BJghBDq0PECVZBkxOnjA2wsaJA9fEyi+qssIs2Y9rJ
VSpeRyKql9AhfsFwv+DBBtRCMzhZOFp6SBlgn8Igxhar/EOsNe8TW97tqN+AnMQIGcUrcLO39CKk
+yjaWn0b31SG9oKYZnO+dy4OIDu7adNTlWs3BuZ4eGorrSLfY0zBlVvqT4SRENuoHMhwlia13u7G
qXiiZb5I+OxLfstFqbj/+Jgqthw68rRZ26JP95Vgc2m7Ha8cVg9ay4C0DwxUT9IPVlWgkjZI8knq
Ygrs2nRjFB8FYf+1tMCXNQTB7pyIuZ6BK3OVazFMILSEujcc3DELHV//pg4KdmIdqL4hx6Xf4JaT
nBGMglODZ3v9VmVmdUzxGXl5qHEUBZnTQgKBcNrxZ6uA0/ToWW+GT8n8AAiD4Eb07iYC2NIYP9rE
tbGjcWDUNBQbXEkgo8xBHApV7aJ0OEajc/LTiS1nZJ9skScnwCoReeduFU1ec+4VwAfZTuwhVWFd
Ahe/QBctbBMLRGoheRcGkoDZrkVtaxurhF2gj/q0Jn//FTRjvapJrC1bW+4AjU6LIMSmOVE9gT3Z
TVxOghgMrFhjmtHJ73HiensHRoPAnUtyZNVV1KjH86kwS+CEGqgWlc5RK0lg4PVg72zd/9BMRta2
Kt11nGmzCae90sTYbqU2cpV3PpXm6SVs64M5JmARsdJurVEsdQxeS10Hl+mPpCRlqx2gQbqrWjO7
hSLLsCpi+0VJ+x7M8iaCybIcQ4MjaIFlUhuI+o4zUjlonXPtolnq+JHiJuX8wrQgjl7qsByPbLx3
6LqUZDDNxPm6NzE+DlWPV8SCNjUVDy6S3Bp9GZOT1TOQN+ikt5zhhUEyAaaEZgYvnpxFmQavWY+T
0TK5MqfHKMlTuNFkQjVDUQ5VAy6ymW9Hg/WaGUBwtbE92O2h9J8mPZnFyYiOO7SfrTStu9wc7/2i
Pla5S+U9EnqvhpGBwXMaWvou0TgNBFKunNGulqZlPTSU9hynrvGXjeo+DB83UlViLccp7yi72FYG
59OAYy/i5bAqpkFbcQUM69oq2OoCkm7UrqrcQ0V0auJvcGDLXzCb99uqNO6kOAdx+jjad8aU2bRg
L8zGM7cDoH/+aU5pBXIFyGPRZXmxBig1Z4HCU+PkqBzNE30fZybC1A2HuLErp0+2gP1PfjUruahC
huUTVDNiyqWC6FnvU3GwZYj9YCr2mM8/pa42Iq8ZhTbHxtc+VBGfZJfD/aWTZSwPQOng/znuV0TY
stthmr8ijLMs40Fs9VAL+Bpt7kQFbjEx+a8tYUJohgapQnpHIathxSb2wDvyN4Mz3KR1/9Q3pJZk
nu5yQ0fdKeN4z2F96fjOu2uRhzdzfTi5UXsjQljUnpUZG3syaZBqplWQe5yiPWczGuanZUKKcO0k
XhL7uTSAdy5ehXmg9L1VHZSU4fjjrvIpVXEKztY8ay5tHffLDAzaOuJptSgtY6PblCppEXnhIR2Z
J7WPcSYLWKBEVkPYE/kQ4p4av4zWuRkhXniZcwP9NH2GgAKPbIAe5Bc9M5OYo7jfFns121vq8Aqo
B1ITSGqscBz807PozU9AetFKZyJIdM+81ZwUSGA9pz3H+Az7o91WjUq3Sb7325FrsCpf8JOuOnp8
1j0ZeCYe140dv5Mzw4mape9gjifUq7DK3sEiecsogD0r06Y/+PEHQNiKJFpYzF/QS1K4ONFLauSM
Goipa9OAHszxce9Y5Jm7qwx8x432jPiFUfcqZQhk2wUWKoxtpIrp/M6B3pJX2ripdm4fzBozDlPa
altIiotCOQVk+cCHhcmHXcFC4fR9IMpwrQ3A+5yQI9M0De0ux4HvaCZf/VTCedGHuybyFnmEzjFp
BSQCNLKgsYt1PdxZY/6s0rpaUYLl3XElLq0YC1Hbts/MOO5ynk47N7wXBW4xx88uTgKy2MSvhVcc
k0OjH0DX+BD6dDnuuXnSnK7D4uxNylWTdw+Q+gLLebkWPYFEZ68NjkHMvV2rtLMXAUGmJeGGR+Su
22DiMJ7GAN3qgS8Z5e8rr+N8HUcpyYaJB6gVhekix5fG03GvBoUL1ATJ1BfJHgbLXOkGTTJTbBLA
gGx1kl+LOsqPhHtOyEw7pyeuZ3nAkDon/7K4KS3sIc42xkRKewgwmoTNkTS+nFHpUMXT5ZA/ovwe
LT55hiIxDfFl9Erk836+lJq8/2Ib9pm7kcBxlO/tHlrqjJ9T/PyFRYoVa1/9VsSlSURdvQXipXDz
vRt01tocoxc15NPWMtOV7VTYrOQqVAaUcGTNJPrUsKdt8ywCMSmnTenLbomTRjV6vC+gSgsXnp+G
an7sMRrg/ljXbEMsw9XXmdC/UwIykxwEH5T+qU9b1E17qakZAeVU7sbMiIVRjMQYKcS14HE3ge/l
hNa1bZBd7EJzjnUmb0IUsLmY5qsKMJLT3ELggFITNWiGbXln1+6LHZU3dWAmACbRkaaeZxXD3pMN
/OC6tWGcYX1Rcc9dWqUnd5gHDzjQ+HipMUhwLcrUffU7xseO5LsVt2aqGqIhQCPT7CqoUFBG8BhQ
n5lIdrl+IpX94LUdVqgI5EpRXFPZRDFX2zzWOszI1NwlEYCAsr8Pqr7boYe/ARgYgXRK7vAOamMh
xMVqrFs36c8mZoilJfGiyMp69EOHYG+JsGft3W1ZhrhZUl2hzmB3646BhnsiDrurpIyBQKL39TOK
FjS7s/RStck3gQK5kdfhTVQQdp9HUrUoiPe78R432SF0K2z3AeCmsdX2bmje40EnjZGCIl82LiKu
39wX4yz9SKZqNZ5VYmuYHcRt1tlYBgpiCsFz6Bz4Fmd6WnkeQhdmff5Muy18x3Ceu0CKtpjAkKgz
3uBSflhlc6ZLlkziCPiKRuK17joCBVWcGw9giwghcF9FfX2GaWBtxsH4MpJhabZsv3gYnKYaJrNl
HXGtQKbTSyiRSMFm+mrbjHqZQbrrsagubYBAXuXfsc5WHi1iRKGaTZkP2/9C0NScnOO4RVcUAGmU
nuGPyrkzL1KTwZ9NTS6cCOdRxMOHI3Q40l78vWvMRZN23OeFHq44DrJ2yurTpV3jSGTsmDpDjoG7
wCqx6QEBBI10yWYWH1M3fib5ewn9aDnCILiSvtiSkoabozyxa7vmVamMkqTOwfqOfy3nqbW1yvSL
wEILRN1r1HvTjYewH17HuoLQFNcv0Ci8Quya1H7DCdEtQ2yf3CdNwYEvuhJ6P3OyQ7B8aQRD0r31
NStc551XrfLAJgjU3+T1zNnIx8/Ih8ARmXilgDSHGV67tNBeEACvVHFxBEohh6pVjHa4DRzwMVld
LeFMwAI3ImczH2kAErCNMkjpQGFk35SbL74grl6CZGfnSgpMZdXaEe2ZapNLVZIgDXPCgHlW3NkN
hWbsf++7kkmQZXQhUbjxAiDHXueQllWu72R9gK6y1aZZnIywNkl8gsjpFH1EgVqk053JGN5vwYEE
s9XRNXWGzBEbjORs6Lq+FoZ/7Q39fWh4xEJdjMSNsTA952k0gnRhOnPsJBXvHmYueuuAkHngF42Z
UDwiHne4sbYmD59l8uhk/gdsfDZCDs/qDgwoQJBXZRODMbvvgqKKytOq9Uvt8jgl3szKFWcu53zJ
3vOBIOdi7HDGpy6QFZEZV61b8KjImw83DV/BtdEKeN0aA018bFuWldZf9XlxZ3ka03cFC+RW7/zn
dCQ3bLeQTw2Z0jjERc1hWRMZVsfEumh0Dm7txANtq/i6YouTts+U37W5e2juVxbwiGl0KE8W+L+S
OrA09a/z1M0J0RqHBhcF6IfFxOaTnsHQXwRxMp2dIe3XTiS4D7QUp3GH344KjR+gNIFhSW4FA1W/
LEctvoe3fVJV1h59rTyBbHwfPZWfrdlkkWMkqpVtkvT2XUIcYs9QKruEk9wUfX2UPZcR0NVxSwhY
rejQfswCTWOk+1Ww6Fiw04mtSnMKs2HYj1Yw7jsvKBjABtiBeJBx7tylfQgsovbC6wKjTwt7rfLK
ZYwuse3OtpZcF/541DTHIgUaliBbA4n/DkyQEanzyC2kSZu3PsE5h6qzbKLhQYu1w6TZ0YHukXEE
+Ftm9/Vg7MgOv2OLQT2u3L3P7iSLmCPpfntr5tEncSxgPF12JYMBWcJQ7ZLGwG3M779SYEyXcROf
hMWgMeFZiSuG27sM1LP7ZSgw5KYM+XLtbVpW68hUTz7EsMUqcLG59m+h6X8GA5sUWxBFgUC79Qp5
U4JOWsMlX1otsWNTr7M189mnJGMsX6BdbToGpufByrS1PycmW58H0RgmTGYZqrNY9VvH3E2i/sTo
ZG57QSMClTRXDcZ7z5cMr0RBOjXGJsqImDjyXSsYldQeWzqjrRdtmHzFscMY2FTaseqhPBydILvx
TechM7qrNiqtY4q9vsnaYhGP9kejW/RxudpH6Vo2pgnKEenVOaWQvzlBu/uBLJ9uAQVk47buYO82
UXHfk8jrTYPeyj5zl0EI0peaFy5kyz1GRQUbLn7P2pUPqOUUaZOB23h8gpX3yg7ro3E6eeDEugLD
XjJJzFe0WJQwoMnJGE0OhwevqIfPIK2GYTsYUNeUGNWpH/N8byI8pY40NhzrPypj4ueP/YNoe8B/
xM1qV/NWONu4YZq+fVtV+LZyHz+YCWepHPoj49/6lObuAVlrC7dpP0GMIZ151ala36LOsF2MuKCT
tqk2o6j3jcnkeKrqrdmbHisLYIbW4rapR8aHxRabgM05IRpWsiUu6HsFnjc3fcOStut1ixc1i09q
J46Oi1+vC+bhtelbP6rwZhGXCq8/hO8fQvhHXrAPo+Hkt3/9kxHEL1OKP1WLf/lTfzbw+DeUlFGB
/1xQ/j/TV/X+BpnkLftZVObv/JCUbfHNZOBgzuWQSLc/acqW9U0pJFFlUlLr/FCb/9CULf0bHXOG
5VLcI7hhC/rB/phlmM43x7RsRGhhGoYhbfkvjTJ+FZQVEVckbWEJ6s50R/Eb/iooj201KKPuOLzF
RbfyEGdNc7ywLzGIC/Dgr3JsgTo0v2UuPO8Q1P3RtKProiqL/dj7yJLcV1YJldDrQIsL/KLlYWpO
Zg7RVLOK2xItEnSw2jW2pCpqBFjVAmTCenWhjiQ8eAlPnl7aB8Mfhh8Djl+W689zGv3XlrX5zRkO
HxQ6OpwIiano1zc3Zeg+FWNETqbqRZXjFZEjuJbqqnHkm2G1d1hGHxmjBgujUh/segi9wIUz2xd3
cr9+WhV/XDs//zImK+An6V6ZfGUua8C1GWk5TKl+GxpF3MALFzLjWiuj51zVL7WT38DiPtWtzbEZ
34d0t8YYKo7IfXBARV3mUXeWmfzux+DVgHy/Ywfjwid55iK0LRODtAhmDIVhmxhMgzwvUWxC5xPN
+8l0nGjdSnNhWys7nygfEQD3ZEUhbGjDQZzQO6NQ2/Yy+SeNlvPH+v+HFLxTQ7Cgea+C92rI/+qL
/mk8xinbFJrji7XOCeII3tzaWuJRjlq9TkNSHRrA1SMhxL/+gP/u851flbZlx7LoX9XFb32k0Qi1
r84ysa515yYKmFhHMt2ME7CQv34hBpO/vz2uWsqdhaEcaYrfVpXKoYvYdiPWY9fttC4t1/0cC+hg
PQlfj46TM/yziu1/8JI217rg1aTLEOi3tSOpoWp06NVrDF/1URsrgYFG3bCbJJjm2v12iNie/fXb
1H+7Ncxfo+0qxyZTwezKMpmS/Tzl1NlJ9CEcjjV6qX1IvENuyIduzI6IH0e0u+tcTltfR0zIYYOu
/vrV/8EakiajM96yM9fV/3ZfUonvRT3IkrWAcbcoiBywY8P/RQYkIvqWS+3GZ4j0r7+o5QpuiXhU
dOP3El8NLK8xymhc2+TPfOPetnmzBLrp4HgZOkJXk4WB5K9fcx5Z/76cJMtVSciDfNbWb8vJ9UbI
DXUM584qX7WQ7hbfuKLhiESAdONVnfYfVhucHB3xDRCX1HZpRhb2r3+Lf3DxKCGFw3OKJw7Xz6/f
dWEoj4aWhO86HNjdgoJxEtZXHv6Tu+Bc+PrbrUHxQg5TVDUXav72tTpGE5GPKDlicAwsCJ5RLHi0
wFqxmguScDq28NKg9/NvD+TLjx//863Xtv7uM6aulbuCbnBjME0W1q9vzwcSPAZWGXHQUe0GhOKN
r2npMdavG0neWbdnQp2uKJ6Lr+Mh+2RFQi8hj0Cyq3nX0hs+8WHlxwUafhbtQtd7SCtSILCjqEjJ
PhsteWBOd87ieGbA1ruOw1PAcYhtIaT2SRMP8q1rzUttE6McB/dTL4yLhywRxtp2iO/7IPuo9PjF
DNOnXJ+e+5RdbBRfUwyFBn1PXLvHitozd8AW19BGTKJqUeOIQiabraiJ/qZyCLgq2GA8f4zq4XsO
QW5RMSiyp27lECnhuTv4ztJ1wmeD05EbhwQJvKuir3YUTGg6omsC+qcXt0q372lPOzSlMQ+5SGVH
69KuruhquxKTc00TEUVURn1XQU8MkTcs0IBJcGodf68bCp+9f2VVbklMqjoXFkBVylGgqUhITn1F
SAWms9rIlIRUYpXvltPCUBi0e6BiOWJ9BFo7cD6DvvI3jnCqI58hbSX60aDO8xh4+H9Gbl37xKOG
pSwewr5sTxme2EGmOcwVgGQCQI0RZ+MW3CUlSH4bnkohUDdN+3tvXsm0gO+oFa9ExYdlw/aAw42/
z4MuuSusR8/iwWr3fn9qpHmMXLM+82V+jwcaElwqkJTLcUKfvLXpwcbjtkgRpekz10L3XubjRPZL
g8UPqL6ziIMLk9RJfg4mT12x7XdWtfQI7+4JcNRkXomT9kK7sxqjP+UEAqIOaFkUFWChLBgidqE9
K7/d2o2bHAT+djK95tbL++LYxyE8moQRXmhTZedX3s53rzs/yI9TLG+VCMeThqyxM+hiCNmJLWy7
ay+gGfa8ZZMgqejXZTIcm2QKn0yvfHalfxOXxlow4dm2Qb2eyAXt6wg4bR7fFm5/ZxoPA37MO002
u7lI1AFMalJ/uMZ0/GJN1niwM1NsiWdy0DQTgLchMaj6qmtzZ5Wh2QB0ld9LULej8DFyDUP0UbiA
jpwSfGXgdtchswhheDsrZOyposdWg1s9YchhxGKWeBvUltkw85uweMjc8dNq3UcahvQd5ZOLJCQ+
yESAb9jcJhj4l/XEJVdbqtm1fFBM+4gNYVRceKadbCOhv7mN7TMuS2hftSinXqgiMm+cxvKXfoW6
Hkh7WxaYJBN2Opsix18JZnDa5clA/FGAY9NdBlQT5BK2ONGiMf1xbY1XmEjmnj4xnnFOcuYOhxe4
DVTyzVPxKIbknFeARdwOTgqYAdYsJOg2ZY2qEluutNpD4URyM47hTezo8gjr7zIWnQWhsLeWZi9w
ajpFRpUIvS/j1JyrEPXXcTGh+77+UuRQbGswdOGzqFPIczmscc2qXsasARZj3RBlEkthT2RnCKBU
4aHruq/AJnEk6/pV73t7PehFu6uNoFtPkVtuBq6PlR3oty5EpYVko+kO+RsIuGtgeSa/8azTk3dK
/JcrJzGmdd1RdeY349K3sQomhCf6WHwEWnCklsVf42m6rXEsLoXRIBok9ipxwT/FrbMsveG74Y3p
uqvt20RWNK9qVAdwWxZNQtyMwP0y11A/Ij/fSjGs0gYkeC0Md2l32qsqkotDcwrO2FlpitMz969m
70oSPtbzkCbnMSvgKD1nQQGJ0lMkUHTAktr4nBcYwVMwqwcIfOP9GF43tcWVrOlMazrS9L5B8Wwz
DBBHLGdL8O2d0qXvSOfRpQrGozHVr8ErYbcb379i3QHrj4v7BrDPOHDCcgnQo/Q0jjFuCYZsVd5T
5TzwWwUWQ51+TL2zz13rVqYCkwz3fD+b0VMCD1ipjcSLiuaVXwhbP7zolT1IBhpCwZ0em2FhlCS4
bDNQyCs1iQNoBNfA+hjEeNOw6fp6WU5DsgltaRCi07dxHJClHSft1jU0bRf50FvaQmy7JvSPBumG
wwjRsKyDTU9riWdWhEstRo/OU1aiXGYz5bQ13GQXDQgoiYAcHtNWaPgN8rj+5OkOPDJud9Aq5+Km
qurWsaG+Wjc96l72MNaMSl0TJSaskm4ps+xVx6y+pHPMJVwMXiJa0U1FZYtAqYGZBH4A6/RKyzNr
MTE0/2jD+jzg3QzNBg4CddOF/YGtfdoEDTqUn178sDFWXjrdoig99Z23ZU57FyfaZxENOCY0uun6
u5KeujXpADQu2GEWUMqNE3T3Y5AGuyJRT3ViMY2L5FGXJgOOyeI7zZ/gjmOuICa5tGm92ZfJbG8i
RGwo4lHmXdgEA+RWpDQY6cmKvphxowru350goFTNUcSoIxDOn/at+tWq3aPe1A+mrjPa5QdbMrgj
Q3/TZfHZqAhy4nr4LJytNhrbsdTELQ1kL0hjjKNVdE22hlCIx1MWqNZaJkxSMp6Sc0HefEH3h7KJ
v4eq21lmTdmK+47au0Zl1TBDtWH0Lt2yP5i+u89oaeidDgpEIlkyYvwK+rQlze6wJbIxMGQxCHHD
t3d/vUsz/27LbwsOjLpuGfNxQ/1+rsK0GXLnCBoePm2+bWP3JpENtZ6da6F4EdiK2y7FAP5/2TuP
JseRNIn+l7mjLQIIqMNckqBWydRZF1hJaI2A+vX7WLOit1eM7X0vtBYlkiSAiPDP/Tn7CwoAp4NR
sw9qWrR2CAboduJrVXIKyrnmHmzWXhAP/a6v9bx3U+e+TSlPnkH0xOw+FtCtz/hfvhUih01fP/V5
GTRxnl+I+Pykqzk7aGpBIxejnC6sTQ5rlbCBMQWQkfeJ2xqX5uP32/9/ce1lrn/+/W/fK1327fz0
M0qq/ySUmRaH2X/fzf8Xq/CLLpMuYcP/s+zhTu1//P1vv3/HP8Q1Kf/gwM9BTeES5qSqOG+MP7v+
739z/8Bv5CGfOYrjnG9byAH/Kq5Z/D8lXItdLL1iPqLcf4hr4g9UC2V6yDM2BzLl/l/Etf+iP3HW
4ETF7AlHKbbSv0oSrW14MdsuCjhToouj8uYjwsJHjJoIosCY1qV9dcj3HzyvfarmTK+KxPZOsWG+
2Ulm7Tsga//kXP3XUz0JBt4wVlYXOQGb1u/j6J/EGbNLoLNrzHpEw1/ZULlnw6RTlFQ/JasNJW5e
rfENEuy4LRNOM+0Y4T85bP7lRjc5XfN5eB6nXnU/b/5FqVmo3wpFf3/sxXcFXXXwJqQiJVz52wFA
PGGqDhVMuT/+dOX8N+fAf2hAfzp+8jdT/MxlYtuoVPho7zrLn968Qxkq+CgKkb3MeqmgTOzDtIWh
SpkDTWjJcHD6hiaQoThX/e/6VcpYOQSRDvOFPHROBEaZbkGci5TTqgZPaxsT8BzJkelrlBWMSOuQ
9aibrjrLL1S3g56LCV/MzFchQuI66cj1qpxhogvdoFM/su4e+fJgtzYGNAMVszV1vdrCZFd01ywy
6I/FPcBEuyDaon2Cycb44I99s3OGO8GqZcDvDtJ+mz0Lr2TlLnv51o45E1NL1wej5OssKdwI4lp8
CanQ1THwoZniHH7vcKwdd3pMFOM0uexK6oaYAH2RpMl9UNWhCFPwgNFRLeSuU/jdu7lkfgLvl/UG
c4F6Ip0KV7MiBuddcTRB8oEpuumhymxQs6KHpVu+d1p2z6wrFRW/HAJcFZ077Fpn02BGlApsXmUc
Yw+q1kMxGzusBDkzxYGGNJHw2VL/eWOaTOxmIXslopnRUJvpA+3gBEp8ppr/+3Vimjb6ev3nCwX/
t4f85Tncv3i2/qqHVHY3T5raZwTjW8KsM9AR3SvO6HFDkATifWSnQlrzE0LSNcRueVVEVMkWkz+R
XMTSP9R0h91jZF/4EDfQkcOz6PlQmJOxtnN/bSttX9PJOuaLV9B2wYHepYWHeNiyHz0GPMIdb8rv
dpUVw+9AUj0mS3ab0p4opOx/UOfD7jY3PjUHpkyny9qJZnFQxTCvdByZwThUxradk1cRYYEcchcx
KSfpWtLuSd9DHfbyXSIKBfMyoe/lEJNN69nDlveg1WfCFP1qmV2/cRJcKwn99ktdMMSizvQodflu
RfroLji+0zodbxg9J6ncLb132cbUgI18c34GFHfvnJTLV4dAVcwpx86imII4iCmOHW5QT3GfVfrF
BjSwVtXbYCW3goa24+ziNYickpEB0/dy8GcCx8N09V3nuRKtt87gCXAmTgcgdzPFnBX9sFikj4Vv
WmtCQZu4HL0HswQiVZplf5C5na2YWEQcNhTMAKzNepJ4HUakVPF1pEYQX0MfeEq0eylAJBd03lxJ
Zv5CW1o2Xbt8LXVfbWSdAvejW1w+pbjuYRVQ2JxNxrYg8zm1pUdADZ9R74MEtykjnLpPL63OkeyN
/cTOZ0WxW7+vZzoc/ZNT2PbVtxvsQewszgVNFHYG9h2dc0eXIejFEGuP6vRauuO2mG4jUb2TXYB9
S83HXI7TBTRMtuvoJo3SVjzA8l9ewL9k6DrLaweW7KUfOBJPafPNDAc2rqo5NCO4lxavILZefG5z
BPC+yW5jPNzhrdG4yzy6gMAk7mucLg0FtHwVebmfYUvFnnO0a56Zdh8/jkPaPDAWXoHh2SWgy888
CC4wxDh2g7pgzMMtn/gZPqBZrqdx2tZd1q4qm11rM3ufg8XTsKPhnYoruWvCpMMbwsg5VuJYJJQU
jN3yrY6H6pUu8u4B6wHIzCi/eoLmCSh8mADpUZlS41jJtgsSnSDdDuWudLLyvW5s9uFhmW/AWOmH
Ms+OtaHGAITLHZaDdTfPrr2/yCtGtdxKocVXcpveIYf7ZhL5ZVgowlpGUuoF0YZHaA2f1MCDxBUY
wKscI25G4IIupDfqArEBq5+yqtSVxkPsXKneUziQY3nP0gD6XoOUBaxGDm+Dwn6k+7oAHGPfktQo
LkYCPg5vVsHgGA69P26qOcRlq8mNAmvd1nm6KwkWH8g9/ajUZ261GJNSgdpU20ctG3CJIt+YwIz3
cW/uizg6+fRJbKJaw74D7ttyl5Bjp+RkyURgjmayj8Ofg1/3B4/GHtZeJgkyTNf0c14wSHhEMOho
zyQz+BimCjuw/IQK8sswnPAocjALyFRA8FshnlU3v1lL9N1KTfWonPGUSIKA9my8O5Gzgjx4812c
RBBR7VvmL1+153nbwUfvbbXr0Jwg3+PQOEedkWFI1dxfpe+vpsK/GFQ1bCY7TcEKDm9O2z4XFPER
NKfFUNuzhTXfX7ayd55rd2lOCzJY7TaX0eLtVH4HT4vnhlQtMwzef2wcYotvp27y4jCY9Xixqy4Y
Q7wgeW6/lUAqVjPfzpOfmM3VUMisCHk4bjo+bJpG6GIqHse4KB6hug0bv56x/+nYuPTWD0KzMHps
hp2uk+yd0Hk1hvG9G2Au2MlMN/04IHo7/dao+19Q3NyLLK7VvX4CcFcw8NYY4iCnDtN7odFFu4H8
siaBKixDbmvsKRsa27uDIWjtCvHYUAksm2Nj2sVHb/9cqix5HbvvZVSJc91xOfVNWX5Mvv1ptlC7
iKgFaIr5nlaiV4xP3iYH2DZn1bDuufYpojbotQ55cFesUJA5a73GqUIcp7K2Ki6gWw1ld0wjT+6s
u6muFIFT519cuEKr7C6xFYX84NAEyztOxwenrnFkcmSkLZDcrAXxpHRrd1cqWJ6KBGnJkxzhpoAu
ZKrzsE+te0QIfkznKfBOJYWDjl+3Ny1SZLbZsIKFeS58X246QRzcUeF+8lpzb6YWzQikYh/Liiqo
hdgerYQI+jRNOxt/6NGG4HEOONjuYp6DoQ8jaGYazdHC2kUZpNFsQtP7zBMOg3i7sIrVLH+G/7FE
xQbfk7wYmkBtWG/oaZMPmh8S5Kqx8WGcb1o6hEzEqLw+OrMt9q6igYVFz0/rx4SG4utsXRSwjQ0/
U4slXZRvtbReiauCF6qUu5E5EDiRbgsKSL6EPBBBMTneRhnLF29umzPIGY9bAD+7bqjG8ZX/PJu1
S5xKIKOmxmvSKvPk9bBjUOYyQ9ePxf0lHsSPqaKVgwiuiWuLIFDdDC/aNz5n7fpnurnMwG3in1Gv
GqitXfE8yu7b0o5AwhZMVJZdyE2UdfdxvbnPPVB86LMJdLdNGI3U6hKhWN/dhD3bNKpvrHf8P1Qe
ZdWlWOzqUvUAcZbFv2Q1OFcvlc43DKAr3dXhz2h03mgn/1WNvrznJ2amprzMS7eBa4gRMHaSA14X
YIFQr9UIN7PrvH2OTr0qRufaDRIHVKJe82aKnyU5BrgawHzymHDBDFufxb96hRKyZ2ACO3GJumvb
tB1m4yk/E/zfphe7zdpN2xpi3fReeYmQbPXobYYk9zct+5W1KAk5K7N1TjWPk5Sh0ImL4FvMtwNK
LkLkpwysUcvWQ3IdTLx+YKMurcFY2DVN9Ko6Ko9Zh8BIg5TPaU5QDaFIVrEkhcq0yWx9kXPjHpck
BDuuxLLvI+/H2CX5rSiN7gDzFmsPxQ47pnHdzm3zN1+x6fnqNWziGHLUp2V0gLx1+VsKsSMrzJju
IzaQreFTUDH0+9Iy2AXQy9l6WY/tuGJBN7MZWrelb3lpjWch0Rm1HcHC50dbVDET97MH3iodDm6i
ty7c40vpuKALyIZtpEMCoJaGv/LTcfjo4g5vCDfzkVi+XgP/jdamcy/lTvXwaoYkzOMJTqGL7occ
3rynOpk/tKvUJkugf6WxGvgrinFLI+Isq/An7B0QwF0sX2VYT2vIc2sIYcvVa6GXWEpkP3hg02Yq
6CFCE2cOEKbcoZYGvzOGu6aerkp65auKneKpBQ8YAiO9d4qGa7hY1TmPaxCg2jy7sTHvTFfpTVG3
v7Khn49K1o/QAY2tdPClDD0RcddpvxMoJOoWU9gSxnzgQzwGokejs1xd8R71Vxujr59HxvNMrehN
DW0wt5EMfNXFV4oSjqE9l+9pXEEIkN35Xho+VX1yEA5FNsiJFj5Ihi+53R8Kf4VBMkc3hIBjJ+9e
fNenS/mqTAf+Qw9k19ILbT1RFyi5wJgORXqLNQRdH+mA8oUt3ou7c18yNyAWEbWJfQNvSOYF00c+
7AYj6zhPeM6dyPitx4m+D3NKLsIxi17Lov0ekSv9Mc3TJnd38yTLZ27yKdBLLYOC2+xk2v1mGh1v
50ivODaqOk4fTuQbZ5X4KXMsGDEqf7Lx/u/DxnNokOvcQykMnsE0pdvGbG376e7IFbHYQK1ZdqKx
WjZ2BMhgw6gLB4aAm9Nl0+t0QSGr+ozS82jh4Dt6gB8X8olbR2LOLkEv95N1siv2l6FHZ5Wgkm5L
A4XFWTLKeAtux9CcGjZVTHIfL+9OETbHwdsV7I22qRES3HQjMAhDXGwNTX4krjKa2QHUjrO9ikKz
DRIu6KAFL78ChtFt+Fm6VdI2+ime8+eu1BvKecY1usbyAN/SOpg2TsN+GXOK2+kJwaWnT+hDawXe
4TPlLmIhAraF/10RdsvMa13nC37ZAtQLyzhTQeJG8TkcQLZAZmagpadoTxPT91Fk8X6RXsufHP/E
QOs8kcnaYrOmbH3G7+JlGWjwZLAooUmfstrwD003z5tkcS/C6+sXyqYMQeeL58bnIs/eiqFB+p4W
daotl8ubTJcwnHYFiXLX4Gp9ji3rPHnq3RsM66R7UR/DJk/XXaEYoWrhrQeZXGxiITBnmldjhGc4
YGwNeny2gCazoK3CZ8/o3ygjVUHDkwaTQeZvJ7/+rAYSZ90oHHo4+oTYGRHbIZ4zIj+cF+10XJPm
dtZe4ySPjSAWJa0uD/q0OGdW7V3M4d632QG5JZRawEulc3QyV3wAVYwhxwYpkdHegelT1+tUu/Y+
ipbnAnJjHPrqYPTzbqQ54NosZnQqyuUDwnp+MWXxXYqm3DWuuwSFWtrAmyz3Oudltp7hI68ckyr3
jqCWQQvGA9WOPFgLtSdG6t2itj+NLoiw1rde2fU1QYn4ft+MH2sOOy5qIawSRqyNR4t9lrWH34tT
EQu2J1YeHZY2PrhQOh7bQc23yjTWdub8yKH23Qqgjw91Z+DNM/S81veQGKr1yuLZSoQUta7v+e9N
EYaBBvkb2KMNSKrt1xMH0m8pq53Ec17o4cVknrtOk4QJBczNeVbJLe8jl2j1z2apu7X2AZCwbKVH
v78MGNv2JA6GrZnU87rgRBHILrMeZVrH+8izPqGEUOzgFdzVnACJUkrajjNdQ0AJcbZUbAuFMfLB
lPGFIVH/PKrlx0DV+ilHJXqIlU7PvkumxCjCWxfaG5OQ0rZXQ3TUpbR3NQh1XSXyZOgGhDkOvbxk
ck9dkI0qcq5tsKJhLb9QC/Sk7I74Rex9lkvRnqqBx6YGeBdI/IzrYc5x6nf656KYcDtVs5vTBf8+
iJOAJvjlRL3IUcdlvR/vP0rRTTdaazdGxDauHbXB4rmIgxCC6umwGw5VIsr3kXMNIb7kgcsKf2RW
lcdW9T5ajrC/onbB4jH3knXnpegSWGb0zG7dUNUfmg4994O1S3w3YUcyRxrciyo9++jayll5uiFa
pMK7MdveD6ML9CydPyvPrd+6tMDOno/ymFukCqEEUlP0WMe+t5MRnE8HEWrl50Z8Kd14u3Qtj8ZO
p0fi1YrfB+5b9YNzqtJfTu3sVGTGlxplGCOiY6z4rpvfAtZmlDZAYrYua9H1oPVC33hA6Q8ISQcz
XbtPNXNeCOZzcgDPM236kq4FYsHzgxmPV3rqk2PMu9xw3TAHo9jgaDi1f2w4oW9im8FWYToXR9EV
qzxg5JhWtpytaPxeUHzMvjAvcdV/hsLS12Xu0dB1Cw+HG8nCiPFhtTGJQknIJFQTqTymx4+dO8LE
K++mTubx51aXw2boMlrTMLvtlwRdqbBdFDfAfc4IxMDvSLNAha2uJaCl6wBddzCIvoaLNrZD79DD
XhvndEr3darmU+MAQie//5hQhrkC6J1v82ZcDrAYRVfma2MkGm8a6s1zBi6eKawwXHyJ2vQJcBNf
rOu8zhywKVTq3bOIs6MvGrHzQH4eCcnsh+J+63vOfCLbD2x+GZvnIcqutBpiJAqd5J360mQ1VzM+
EiZWq9xHHRqy9rFI7yUUtT2/tAT67kzWLk9/crpcHpSARRRKZxUr5b0LXa8MC/dKnsRBjMwUTF54
dtl2YSbJmudWMGIlLkMzggsyL8tH910n/PVuSM4xb6U4IcR6e23SH5FF1rzCtPhKFk4/CGrEjnlN
OjdrM2sTxz7ndAlisTLvP6qeICXbdUHjcvGFii7nqYo/CscKT7WRvxWhYm1wnnpR+acohdXgzoE1
t/F75Fav1kKxZzpilEu5mg/jZFW0j4bOKrNitRfhU4o/a93ruHnSXcrYOayinUM7Elbl6H302xv0
9npP03l5xIG1FvRCj2WXvIl+/DXU84U5eR6459qwksf2/jIl1ffBYkruQ/o8yYIMCwi7JHZ8dnCZ
Pk4yJsHFPVpARlw1Zv1h6R4FLbXtnXukJcI+Nyp1zvXys2F8WxnVcgDbJ8HAz4SS/e4xFY1/JK1Y
sms4LyHlly3QfOJa6Q4gxILRhEYKMsjltaFmm05Ca790lPYWZvfeDMoPMlqdeW5V1ZtrNCQNyMgS
Y86OPMmmp8p2Hqs7oZCt6BdGHDXlIe2TmVvRE4Zpwvt087Xu9Ko0lH9zuaf5GrCXU1lRA2F/VxMO
4cFJ/BNs3JQnQRWTmTqxBM8HcMJPmXa9HarqLzbs/pPrTleRLfLFIS+yIgqV3fCfaYpJt5ahhgcN
t+kYQ/Uwcw/U6YL0ZlCVKBfVkUpeeMjcFXDlOfEu7UiREt1oVonVNDiO2JfXfvI0Rvkhs9LkYgx2
fFHzY4oeD4srdrf4Y8XjiCmiG8jNyhl0hCI6vbYTcDq1VTG/vit3pYvSrUiEHPu6Bsc31gSucHud
aT1N136uoQVq4d46XRbIYU6PeGOpU1Wbz1mZOK9u0xPFZxdqYadgQSkUPOWZ/gxcRYSK08AbF3nk
tIIFR7pHDAJqI3Rjs4Eju6F7JU5J53VrjgMAY23SV6PIX2XfDPukiN9y4k0AdicniDnSPdTWAsHb
11uOvufSTvcAIkLuLoEqWI4lbAZ7O0iDGb/OLrbj3J0mXWDymD9Xd0bMYNh7Pxtxy0FxfMAInfBQ
JpbWgJ32hQ73qht0IFrNls99jajWCGTSTiuRkZ/jxAOcTPvILQ990ZWncFHroVy6ldXWT26Il1zK
6IsH+u5hhBPPgH3cA3C+4Co6YcBqWutalfTHmn0ESl9Q4OtHmD8MzDWU/iyLyPDPTDG8TUgMSRL/
HNb3V1AMlD97fBb5KZu7fKXr6vsSzSe/2wL7LakHrE+551/t0gkw837Ps1iecTGkOE8QiOxRGQ9i
qahGjZ9qB/xNVZM2jZ6GEFy8z2YoqMt+1ywlRxKf7UHxA5sJ+x3oa/E95pqnqwH78dazSoTQJD+2
9tEccuiYkl4zZ0nYmDYJ41P7jYTwQKgrw4BfwbW3R84fkdcV+xFOpSNG9aV2gL5jxdlZrnqgZarY
MjgzV0aqrzqsx2Ncwbsc93lWTzuQHSMVSK/4UOZgkGMLKTkKRBWSz4v5gA3z6jJ82E5cXrAOz9rk
0w1J2q0tkMYsanLvT0YbNJlf7MgsU8w5qyuSBoipqis4RHc3HgJlgCsriDzKPeh8QKLi16XjfOr8
3n3g2ZZt/PGQJ3zt9ZAYG6nCd6MxTzzOf4DkBxzYtA+9on8Hl/ClaWWQG2zdeY5cimYMj3OI30p0
qL1zOe5lM4O+O7XtV+2PNUE0v18rl0643OH+Yznh02HJl5neYNBINx42ql1sdm+we0m3e+jrXXUW
wOcDrsrxaD7ktRFvMx60ROJEC06PxG6S52jpiKdVd0/21tASYsR2swXbQpURszhX/moYQ8S1SedK
9F4M2XPMdbOpWyKi46IvJLQZ43QI9gCY2DrUKcORku96Dq9w0ClrT6qnuJuv47AEXmuc8ZrWL9E9
xmo/63h5ypuGp+VQfkfeErRuO599TQ9IZadbf0ZfTnsEtXukv2Eq6Jlvyk8Rcwv3dbBYHouSeRFj
Bf5s7OCbLr+TRufxy6wB3cjWd++h52B2B3WK259On7aHtOEWNPzKxDBKV7TNAfbkiy8FOHsgLeJK
21GQ0FN6beLx0y6hc1qm2Mgl+TSHBUBgF10qbajdBEPTobJqZ3msHlTSRWD+wEOnFKNWIg4guUBT
l3O6mSaxgp6xidvEO0YNhte8yWFRGGn46Fe0omIg5CuAjchMVWHEMRkCIMUHffSc+gAi8po8y0Qs
ssSoG0iskPdTAaDk2kQD02IvuSCOTQRRkG3Jjn7Gj1jfBTcJrn8Ik61osUyjiuNiRrStaWPvy0Jv
Gfng+MG9bk+CjV3h+DyyjGWfaPUrnbtxZ1V59EreDomN1QGczzahF5ie7qMt9IJ+23wa9BEe5iwk
jzjabkDT8b1yKXq8g3BoLFZ28SSspb3IxjJvWdmsbOCpYVb214Fma3yVAuM3D92a5TyeTHNlpR50
W1pOdROXG7yIp8GkxRJZbc1xIPBNLGEVe3tMb4pbEupEuUigj7IDX9nihXb9233bLytXHg0ve9WW
/QIXhXoc8hbYTM2MGpr2kR44vffGEaJmtNxwu5anBI/1qoqopu/mi1+b4XkGRPmchNtkQa3o0qcx
IYHtQODopogBRETPSCQCSTU9dGyr3rdT9b2OopNy7nXTUNYJct18SB3kib3nPis+CtU/s7iLhxqj
LG0P+YqyMgsu5/g5p/puSWd/FSmqye7feg5oXzq7rh69FZyxhWEuxRMWyXEqOwCq3M+0uPOn5Bd3
n7XODPvScl9ww850v/TFYzrnNIyy4mwYobqBdAUH+i55clIDVWB0LlVLheaA6k5mtU2DoorRdXVE
/Knq4aHb1KiAL6bF2Y4/lE3P0+LY0zal+m3XNM3jLBlF1Hfz2Ziv6UTODlXFhTqRsSID0Lpskcsi
iGIWRJ+q2mB0xIvvOKcepBczB85xQhk3LwafG0Z8FS0l4ZxBWk7/5cGMcYFqil8q6Q9rHujjJm5g
Vxb3ugH6sd7cUc6PldH8GGmG2qfDuPHwBbM7GHjAdQxCqLPGsLoba4oGQj411S02D5fiDtE39vF7
GKo3wgiwMufmc3E9mhbcIgjNBtqmRcw1c8hWC2j7pab5BPsrCzgYYdl/4XunZAqS57mDh2xOxXTi
TMYDPeyTi+SM+2CbgPGnAVdd4U8XI8ZkLHxyDiA+s2BkzcPhuTRnZq/MIb95EUXQwPZXdVTb1zIr
FAdNc0+Dwns5COvR0fBbwKN/s3LEziHswYPQEOFGy7coE2vIj3rt9+abJ/ueK7NiNiPyb2No9FS2
Z4eEesp9M5nGqbq/CNwSq8oZQbZhKCSNBYyCM/GKOjSgsk3Xwc5J8hNGJOiK2JmoGqifMfAieRTm
cnMs8AbLRlsDpWemwiDgKrGPPX8/hzCUgDgiz2ZRRkmSuGA3ujVZ6B5t1zYPU9b/YI3OabXmqOUL
59W0ckCsWMIejPszJ/MYeaYDxAQzTW/TTPfc0KXRdrTLTZUu1LK46Y8op+7OMxF5sGOSBY8CYGXJ
A8yFF3IMNT0SB183z4WR0qUW5vZJz/X3omKfUxhtevIaNoDTW2oAU4vsswc8eT1488QaSDNjVzFg
AdKxwaLw7FZ0Pbm+82IyOixMM4aIIUCW8Zx5wGA/BlkFvQfQzWHIhIHaq8KXqGp3ZlJ8bdyiubm1
mK4NAQVme2FDXj9Zm3hX2Vjb5aOGcX2QUHwomw4fnbYSr62rP3qYAj/cfKJhlV1O0cd4LKoQbRIn
wuH3P/1+GdOS2llq6RmQjwUVlhNWCrxOcNgG2e7k7GTnHBPytul94wL02l1bKAGcJ/07ElmFzCMK
0t9OvK+rIjwMCbaTsC3jvS765ZVfwdmvmq+//21M4te5V/sIOfQ4eoV45a97B11hXqJKRTSNmD2V
gCM2U0856QMFLdl66InHMDeYt6EfDW/gKc5icqZvVeioB8JbzaPrG1h5IC/BV8G+jlX+W3V/SXDE
BArKwrE21fBoNiMRVNNRe2qYGAOZ5TXqRvd1qqN4hwkCCjVY9udwhmZ7r8QZhxZqGsfU8hAT4IV+
1OCJdzlaLVjsAqPJzdVSGiYwXDJOyIuheTbtyjq7NNsY+EgOk5WclA9Gq+xyd1/7bR1g/grfiVXY
0Ldzi1BvzB6PgS/uBOcwRIxZmKPZ10bY3yvAdB9pveAL7DCa9dYcffB4YcyuJYoRmdOVqtLwMNtf
PO3GH/04qWPosT7+/tfEJfBhz0mzd0TrPGWJc1QhR7C2TZ8tB6+0AbvF6o30Q/mV2KKoGOvRmdIP
4/53JAaLP+enndEz53QRrsSd0RWmkjCiR77ddWX+4XhpFOREhA7FEliirPgv5oq62fF1csv+0rfw
daAZldQl9N66i4DS15UGCJTOU9CP3o24SfsBnv4x9WT8VELVu8k+pStOmoe0ZFM/cU0cqewGOJLZ
CR6NanA/yjmjuYqszBhxpnHi9jJM0JSqiccZg3D7UXkg3MwGwtlizPZjbFSbxp7NY6M9mHBjBW+y
p9U4jup5m03TBerZoxqLbotb7Cy7julDQqBXVcpiXgjFYEhAKAraa10t2kf//lJkamAzT78LjfGU
AyA3EIeihLuW05ULk7E7rD1sNOa2FNj4vdGCeU1KaJIT2Ry4YdQEGqfZApA3meI6wNl0HrgYjD2G
mXfDbMW1dahOX+o+3sZmcpoTg93foAR7JHTmhJjV4z9eOpfWMO+hxaKNKUiUlDuYCLHWoYHLtmOs
ytCi8K9x4ydHq6IFV7GiuPRtOeII3gP/PwCmjRrRBizV9oCMlk/PYTjJwYJesRL5Hf5QIFvW5Kjt
ho0bWfL6+8V0Y/NqOM0zlkC9n2gCGFkLKFeqk20bzeOFKsh7OqXDS8O8MfOt6pQL/F0eBybpFwUA
FsfexZRzMnDFjjVAeMF4UFZYv8Rkmdd8mTmMS864c/WIV5Q8gbKuv18W7byOqSjYzqfbMnrnc8gv
dhpWV2r8qmtey5Y0GGXjcL2hT37nKd1fx5fIDX8tKYMdT6SwvZcFmggfHzlGsWkLGJuAbC91zXDE
qCA8ljxx9/+70dH/S+zTNJnaUoQEMUPB6cIujQ3yT37YHI5gNdsxTrvEudZaVBfX8E5pQxNZU+IJ
wTLfD7gEjZY4eTjfqLm7yXvor4LCR88tOCUmtoCCBov/URoVy6rxxZBhcsi7mUGJFXfHoWN5zuq4
Y5NZpKt6cOjkiKw0MPq8OnnUCAXwvjdlHulTlGhnK1IS7lkDU6PIEVtdDzdEilrpWLepzL7nacNJ
YHjx8iHcpTMGP+KEKQghM95L6W+tyPo1LQa+qISeUGYY37w72MMth37bZjBG+s4xDFhQya6c7A2j
SLzHEfLsfButBRkAlpdDbO4Iis/blUN3LuTjQpnZnZaELWmu8t3vXktLVvtcITX2shpvoso+K1nf
EjS0rebwtMBN3SpB0WPEkp7lVFSFDLgpZiMVX5fiRpFetuEEYaF46pJ9ce19Jpm+Jd3dI6ORYzyL
caNzbOYSfTaiApx9HS2O//CE/3/04J9ED+Q9gvI/Rw9OX6vuz7mD37/8X3MHwv3DsZTDvcgcBrzn
v8UOpBB/YKv3CDmDq3Fw8/977MA0/0CRsMBE+740gUGQe+g4Q8R//5u0/vBxod3pIJ6wSQt4/6fY
AdIe9+1/2JcNfO7YjO4/23++n4E3l2OrjXyPvMUB16+mFyfSiH9eJZsvUW9iauzN9HsWm+OFYmt9
tphU5EFaLkiQS8/unxOeSxOpnqPpS1KJCRmITsGfaVoBGBRelVEejE0cYg8nEAP3xv2UTSpI9YX9
Us+5pBgjqeaHrLQolLMIk85wqieYd21Ugfo1W/dd1O14EBkcYcvPh0uTNhwN1TK+ObYF1NSvae6E
aWH3z17r/Qt157XburJl0S+qCxYzX5UlS7Isx+0XwmkzFnMo8ut7yLcj0GiggX7ph0NYlrV9LJGs
WmvNOWb0FAwZIsHEvSnSTAoGA4buVwiYl94q6RG7SI7mX/ys7OYLbzJOfROJc07D5IqwGT5bOXTO
izuDf15FFenLNnkjhOeANX20YjYoW7JLyXKpEn94JIyCUHfySzElZEV7TP3aerBQkFRQsWxj5yod
HA1LAxXzR40MxXeFC4QjFBc3lf1jbjFRwFZdv9skvt3lQc0N8Kbx6S0PdlFCQsIjijjW9j6pqVZC
NQrSZfwoWSOWdelBE3gJe2mOT0nZl59Wxp/MlqjpwANDYFymqnU3BDvY6zIbpvvBl4pu7BxsA+cG
7QqKEi0MSMY+qot5MZuuJmQKn95bohvzWvowB62iKRfoNSxAtHqonmdf6J+8oSuO7jZeDxVZKjTH
qoMasR+KLCN3jfWcOtsZ6buGOSJqSuvqmlcF1Z2j1I6GQ7OEsW2fWHJTbtdd9xDkdbnyc2VvLcSZ
d1YS0ZlQvSwIEbOhPSaoPK9Na5bnDsDXUrl6SGAzGjVC/5FTbNFBdoETOGgkAj25NnD/1aGCqLzK
olyhdaEHVOeEitbCMi9kjrV085vBQe/FjHHfj5m9dUNtvyT1FF3K3iSDpre7M5264TxgdG0XgtjQ
fVaLcB0Uac3ARXfyxSQ055sPB7uwO6XES6Rax8gG3XAXypKBVuGTPueZWZtCy9HuxS6T8Q5RNi5y
V8VfeZyyMI4wHI6e10e72MuBPnEJvCc28bWJm6uVJwLCyVozOtOSBAAW+PAF8p6UXtONcVSopg8B
tTvxHtGp+GugdmEwP8372AtSAtmCpiOSJLfPqPPx8TGqQI6YUPQhlUvvcjchs33CV2BX6pbzFTmE
EsMC1MsRXMjN+0wVMCc0GJMZ0hwb//UMxujb8APxaKGQeeqRcR7rZjCeieAcXsBOJodszOefOOl9
Y0cBOyLrHPs70OZU0ybVD7tn+yqmyvjwy6HqlpFhtKu8qVHh8KkdMHKmO4Jg0VujglzNYZufie9K
7lB1j97WTTHcYxfx42eaWGoH4XaAGmQi3R6csa2XvIMxYSvBRBBuKQuE3N2IDJJa+zQZprW0zDa9
9ybmJGR2ksE0NDBVE+igH6WjUA05md9dUlpzm65342Hl0qrfTXHSIunNsg+erl979hNbD+fQs5po
rDceskqV1z1vmUbyjPFAbqcbGjLgwrw3AbIRROSnbxkQoT9m5qe7Nh3JAm5UDne86p11OkkkxiqV
d5PsDBKIbmrfZgIT6njtvR/601maDGSpLnDcjpouchDW7nE20/Fn0mmoHsPC9PaWsuantszQHicW
lfAwR6fZaG7J4aMWy4Gb6KIoqv5dt64F09GtCU418PYEvnDvYFNlS4R+3qojce3S4yellLCaieFN
G8NaxNXdbily5W3MCMeezguqf6uHzQbxobl6gVmsAKTVG34lSnCgMa+FiQCi/dUfUXFjE62HS4vs
6DmrUpJT046tWRIPmIsHJeX7TNhGhfa/KZCE5L1r7PK2JMoHZ7+3itFxl1T/tXwP0IZBf64p311u
dPedmjnjq6KuflQrkk2m7f6Ml67rtpQ67l3qRt2RubZJ/F+eNg9zoJs98wj5WM03LwOl3Fk403hf
mZH9StBmw+YPON5TCQIN+0CogMs0klSwrMiXpZ5JdRwiXX2OQzQfiyIPHobbBLPxuEraMnqDplA+
ejkVpNZ2ei+8Ru3MMPchdgwwyfNCRsDcCqh3pY/Ox+xgmDIwOcmocUKUBtyWKmgyX1UVj/tCdGQ8
hgbKJUgwGwzJkDkHBJpoy4JnKUOQHF4MbUiahv/kJNK/1nmQ7fo+ARBR4yGx85yCocuM8w3ZjD+s
H8FAlnVpMnEiIQktlLdNvDFeRe2QftcRSfdB4yevOHGD9VA39aM/295Pac5+taA6Fs8KNMnaNqzm
I48xAcuKuaIzSMCsuTmcShrnm3Y0bVLhNCabDJv5KRomTIWp7XiINObxT2xl2LbnCTVFnpjGJ0QP
KPvcZTFAE6M13Rc0oc5j2GgmrVmZnacSSWike/Tlkd8s3cEChu1FK7tybEb+EQJMXcUXbDT5T4fg
lFFbMgM39GorYLDbUzMUzkBiUxeSuUd9Mj0FZjUcmHRWp7h1h73b1vGDRDh68EeE44rq59KYN1w7
JfZh4BfB/ocxvugcu9yydKdHE3P6Y2fFKPCNGO2xPYv51XTk8NpyEV+t0eOspd9dErwBIeAhsjHb
33YS8Uta1OZBWmXzgXzG20JGwIEAYB7zWDLRhPHQ85U3+x6VUF6H5kHEoj7HxRDuUxH3R/oR9Z0E
030PMAMQUEAZevYD8rmIEcWoE2QKmCQ94KONPvPgANb5KK2EKMVbyzhzS+vdgqO8idxsfKvTxLmg
zmr2Kgqng6YBi4pF5zRCM3psBHahKDv05j5jSJzP37lOV9EdJoKqhChNV3SdDKy7KZrO5Rz30VLG
tniJVOp9xTV9v0VO3/OM/bw4UujKtYCUvbdIXIdf09e6YrI5tq8x1PFjbYfuLs5FQ6c+aguAA7Yc
QG2UBEr4dAJCgi+2U26KXSRS6xhRl2Mg9Nn3OSyrl1o36s6nbXfHypb+wd0/PXVTwEalHWr/UEZT
dMpzL9x5uT2tBOHHpxGaKkGkRUjIHSYC3jodILrOinjt2jJEEE3dfZ6JMTwands8+X0WPZlEfezh
TfRvQzhN+5HtwitrWbFHGkEESj1mBDBaIcyoZe2h+vBrAT5At5rUR88PCZXnVH9mx5S+qCBn1k1p
etPouSNGoqJZNQKSD7kZJEW6uV8wxLyFuYSV3dHhmHzIt00DNj8DJoEhdZWnkXF0MqsbqYrBiROq
Et67bhm/tgrqZW15+smYB+vJ8e1kbzIsDRZoRtx4G+TWBzHN2U7biEYwJ8wVPeeED2xVoaQBImKW
8sm/CUvdysIs1auPJL7Fqdnkr5xJScTkUNhIzYVPTrw5W8OuvbWtY5czaTQtUNTdUBRf+SSHB2IL
8me8mpiJTds/QR6pGXzPTL9KGq73ltGbq2YI9WeuRfKSpAnBCwZ6sX6R2ZN4MKCvnroObQw9T0cf
7dRhT1PPHlauQSQEhpl1721tL2OvVwxgkpMIfHpkGtM6cTMayJ2DsLV0p+FSWhJd0cAcRTkM3vK4
NNeh5dPvrosR8ncTD/oQSdeEysl1QsA4sFLbnpy971vWYhxdF69BD7h+FBZfTgSiTqCi+MtHNmJh
EaMIi7JoPVZRfQkxNd654HwvKVAZcgJ8WOeV5He6mJ/kUsFVfBmczLtLtE3DTXCVFf0UrNyUMIsC
tPidleJqIh/DfFB+k32YBupbP5B2DeK105vC7eCddPRhxTrOpHywYTNd2qnDYsUkaNenVviiB7eh
N9zn4tntYAx5vZQnHZBYPBWe+phbwTJfzg59GMJQdj6U0RqaysDJFPTOx0zU6Q5jhHjoAKV+O56f
3rOo9d8+SAjSXFMaNoQhb9HzRge3mbEzhioMyHd0hveRydaeeqV7GiTwJ2nmzYXSyzuLWQJG5aKY
1yQOhVsHLTUAHk8Xu3JwHKo8T3+NyD7/BqTOP/SNLJ+6Lh2/ewl3wWI6hT4MS2ITl/KD6YO1c9QU
vE4RF3d7q6YWkik20kWBgtlW873RRzdsFZEn49p1oICYs243ReTFz0NUkg0vvWA7+315lqjGPmxH
2AdltzazXPQRuTYzhmve/FDDkvjqI9t+MeQUv/djJL5JT2iHBWMsY1liM8BH6dKORP21DrIJBnrG
zZxdVj0iRWbrPcqkwCSYmumGJGjrNE0CfYGeIOSOsdddagfezJr3xj7PUsgPmONk0Pp+RNBDRGTk
0JruclK+OLF/HM6xcJwMUUYJDdo1ed7oVbByDOxdc2iaX3XfMasEAMvC6IHOdYtIrmk+ClQI7vDE
3YmJaMDINUF3c7RV2jDJLgv/r11W8fcczbO7MjjLm4XjAmxCYpG/eG5VnqeOULKwNL1VK1OIPj4S
BQJhZ/cnC4mO8WcDJ9AU8nIrGT0N+tck0bbXEwGIXhvehZ6cMMJgTzuas8ObHLAgVQ3LGZICrJS+
Vt3LaLGfG2r+J0+UXIh/fNROTD0ZoE/kLtyjV24uoM2BO+aqB3zfGIL8FPAJTNO65KHUSnRLM6Na
Lg3h/Z3snp1JVuiDSYlwgANe7k1cSiufPHmuMmF+drQz36okDNd15rjX0O/Tlae5aa5gnZSHknbx
fZeoeseQAMu5TuxTmXgEBiRwvkj6mXAXbrpM4xCCys8eTBsSwtxsfY4ZE1fEsi7JbVMj4P13SpG+
MfR/YzvqvPNQAxHHMaB2/BJCN0z/lp4C+3yvUGf1C8wP2fuUWbO6ueijTYO/80mgUkTQSY71PUqo
Gsq/Rh1WiWzM2F0JZS3q3DKvc0HeC7es/AgH1PQJifawH3cTaSiVwHF7b2uj3wRJYL2YYrJfx0nM
j4ZTxRRwKFRhs46HESwDmbu2zYY56+vovZ6N9K9B0fCZ2H3HSkLFRoEubgsCQvCkFsabkLG6JlgO
mqUfVtYL1OL26me6zqjtYzilzizkoyi8lm90UzwiRq5m9GKdNfhLV6MnTJ2JN64s2+p1sGT7k4rC
/o7J5CBv1HSy7z5illdVBC6JoG4e51Ix5gANST8D93tFKnXsfZE4Jk4Q6UfylxvgNovJm/OvkLvp
HQ7Z+Kb8GV/jueTDq11AYGnfnwaW0R9FEnW/tEYjLnG9OlGxTNRIrq3XV0CvVJP25D8XLgbxmFzw
P8gdFTvELPoD1qI76LobVk7vFVecUMG350oqHDOu4iOmAWJ5mypOPv0ZbUTQxt3RLEz/VUhZfePe
YAYjXNU/jtgGqAdvvIRB1fTBwzoMk40TNoz9tFfPnxl9NUjqUzE893XioA3L4NysQ8+RL13voWcz
tVV/9zFcRdAF46gWkx/Rn/DQMxKp1hTgB6DYVCjWjQCSOrj51BD6qlyjLBZ5SVdsYbaV8SCctl1j
jWLXlLaRRO8U9/5bXRvhXRCWGkZgYI3LpjLwLWEQQZPe5iZC3TFB62gVqKS4ZpT8S4xa/mrPXVRv
k4hINIDyYfsDeyLyeUVVnwhKweGDpENy+6Lk+6aphSbCDsd6I2TGBKoOlQNqQmbVO4ainCF/nRh3
s2v66Ph7o17YyXCDY3tz+AzAv3xntgK7nSw4iPypIqZVMLuXGT2k2oox86JiWMS1O58nMRKQZLX2
u583NE7nHhduY9o1Kh7bNy55oeP7ArvftKasCuEZh44kB9lKn3JdhPMKa5gtQBjLHN2pr4sjBrRg
lw2mXvbu2H6H5ii2tU4qexnM2DTcpHHWUo/mM7BHAVmILXo4V9kHYzB/Z5OMCRlAMpybuqF/Gq3W
3ZpDE5+btqpBgSQAwaKKEN9gUvNDJe3hIReluUnisuZWbBIiaygXy4NqO3F1cnTHOlUSjURZr3E2
Zgw4ECRt7GwgeNVpy/hQEBK+wIVePbXCAYXASPlWynoVplXkqdaaURbE4c5UT3RE/U1W1v7fvBDi
r+MlBmlAAVI+A8n1JjeN7puxpLGj4E9WiavDd5FhcQvcqburIuFufZLcCHkeCdtlsJ4ufX/2PkCg
4FyFx7kwVS++R0xM69ZAd4fUCfZZrIXzSNy29YaEv/4BIRP/sei67KIo3U7EyXy5gZr2GKvnt7op
Eu5zgSZp17CxoLdZNp0wZIVXr3Td9xF5d7r2IDsdhsYZPgtFHPtQSPBssarI78B5B0ivy7F70AhA
VJ4WfzPQ6rt2JEqNvbf5nlm+lug7/PopAV317cQVHpwCf9CVTppaGeGICjapepqlSPezo8oNGw4e
MLOqyOL1XKLwLVT1WaLBiyW9yNxXh5iuSCTGnYiBNmqah4vGBAsNALN4JF0r3lljFCSLIKk6UuSJ
MMH2haqUdahjRQClRumIl6r036TuxI89z+IDqmW3R+bi8kF2kMd4C8KtspRNlZyUybGtSYtbSua+
f5qB30HCHF61Ns7GHjtQ5Z+kF7afAvk381C/tVYp7bW9VTX62Es/3k8pHrZtEEcpU9oic9Yk/8SU
5LkTrme7w/IrDBq+GGiTegfc2DtY49wiWJ06/05E+dgy1AYYV9lm/pZit7xERn9zacQhmL5SMy0M
fXmcalfsS53qfVT4xbZPzUIjRNLdt5OhV8rB5ia0BByGw66Y2f/ovCRFxQ78A4AWceX/AcEedSSx
Pz3oORTINAy6bh3SFwIhUA1r1xTdJQsrwa4sgiLRkFLWOZGgxxePD9xYxzXNnnwP0draKLxU6964
UXx8wzqhdkxfzRY3IPvQLsCEU5RLq+2Cpyoxi2dvprqMJnoyLNXDRzWWckP+oUdkoZsgjO3Z+mHr
ycGzBeFm0IXxNjlzumZa066ZRESkNrp5cgyiqSd7CbIhlqma7uqQ7jOZAVbx7PZRVWl/Rq43L9mk
ct7ZuTr5bdXugrwN1qXnJSfDI/uNt5q1NQnjNcwBUhS7IVPbcEiiA/IUF7VOx9UrOkFaT8IsSFmT
XLYY4cle181TbRdIhSLHj9huK4eEiBQawpiQAhGQJ/F4IynK5SyMYVz5QVt8sM7DHmVkpUiVi4L2
W0V25lL5oLcHX+2sdF0Ieu2ZZ+/TiQEW9GEHXRllo/eELS27LxFB7iI8iXeuG5P8nTWjqB5Gzsyr
3SehtwSnV5K5QaWZkosurM80aV2MfVX6plrH0uSchO6F0qVcdzr03J2TNRjVRDL3LwB++peaBK6n
iV0OJOCita+hZdd6w0KYhSs/0d2bhz5WLj2nbQwSVcr02RpT/0ArB6OXl3nJHlsBGkWBeipeaVrQ
X+zu5nlpyy4UiJOgS3CDFeEHyEY+AmQhhkZWR4gJPCVnuM6khT6gwa/gP4kUca7V9Eg1piT0V9rO
zW5nx5VOADvmKG/dmGYlEXwTEI0sD4U8RvSO4dPpNulQpZQ5PQKkoV8M8W2cVHXF1H6qSwTr/ItI
7PO2xlfOtDDclnkWRHcT0ZTOW0D2x1+jmv3gcTS1j/xNDelzS95cAkpQzCV7bjMfqTtpSCdfkFy6
GYEWm7p1kfrqJxlnC5FsNIfToqMLPn4VRVR4WwmsY6T3meofQyNKW6Huaqt1zgeJSyRif7gKwlvn
dYYix7aklN6XRhysNi4WA/DD4JjY2vq9u4scWUI4RJZFtW/EbrpKVWEmbKI9G7lLlSbmpjT96lB2
gvKCwHbvUNujuFhzl2zy9oYWGEgWk5+I51H1gqDemSzGjzIKqtOQd0OwrgakgxE/Ox2swXLeGwgs
33MDlzBP5+ZCBDm7wGjehUFJ3J0X+TVV08ASaIcgWFju+lPiGCYbVrdPUbKwIIGNVSJ+Qy0d/LTs
aH9Ge7gR+jvBfTWnFWYvcFjWoBGiAQ+3CuAGBCZie58O3WJQtKrhOeYf6YyHcZkyKDiT7unfAaLp
lqIu8r+ebxPJOZvVifJ33sZG4+6LhmtoY4eY71sxZ2/8YSTBzY21GmfTvo+aCEuakfavczc1m9Sc
YWvQpRMH1auMQa3mxbrsPzoGpy1SDBOFCyXNB11XtttMPPK/vaEUnsQQfR0CxHWBQehr6pJ+U1Uu
ipAsHeNTw8x2Fbuj+9A7/bBpRMtWrmtriMoU7ObdMJbWVZlW/9hp19q2IKFJQHAbJNslvGrXzEpm
Dh5dJTm19yoeCcYyXS71EYdqzmRzZdeev3Z8UXFPlBqFHzPjyZuaQz927r6NI7HNCyJkkqm3cStg
i1qMfTlh8ej6FXFEN5ivD+8nrgJcZ7wv1jXjqn4cPAkdzzdx2TZpRfFrLYO6JlnZq+pdkhXjC9Wh
T4e/a61dlglCKM3efGfzH1wqFZtbKYpoh452dJcMHgmMa4m6Yz4ujNvK1s5Nscg6y30OZwfaX2Z0
6syy7N27UFWaRdim3aUTTBaOjJFB4WN3zheJDM2bxJn5SgCXwYxGG3aKxGrOgASFvKPtP4hn6Bt6
mkS8wPB500I+cQrw1j/IOo4o7FRP+rhSuqj45LTtrE1ZSO4+EWTg9a9y4v9aYvL/KBRG3kD9/4N4
JPn8r9TK35//p3rEdP4hLQmDEsmV/Rty/2/ykeAfACMN0yCtzPCtW5TFv8tHLOsf0oUyiKQEHh0s
ezQf/yYfCVCWsMdA+M6Yy7MM538jH4EHeZOJ/Id8hNrOAVlJmAYKYGncOJj/VUbi21mWhm6HaCmg
BzKuI8kcx3icMf1S3BHomLH/7rqDCGR3IHmbc88L7sdo39bOsPNDTQcrcNRjcjsMPn10zZotNXJI
l2DCV+zHi8mWzlnr8nFyI/3Aan9W1hisjEaDW41y5+BLTRafc4/KMr+XCfdAVTlYyB3/07BG6zEo
s6PNFGYzGtUPSJP8yc0U1Y+RvWgHBlhjqfnwFg4ZzQ90L7GRRUtf2atJ07mbCXt5crBInxq3/1M2
ofFEh44mbxhGWzyf67KDwDaRobaSKvYvIpV4IYriaGb9R+B6Ejg08aZVbJIyOc/5XQtiDxeseXCn
YNrQR6fBesPJUcb7676fB8aSjPKUYG5VNS5Ke5eCTQTh8GB0NeoxB2pcMoNDMGbt7WiGy5VouGt3
qVm+zcyRwDq783tk5/dMjtQ5JeMLrbDEhudmeuWwgOz7xu32GfFSxFKpTVSLCMzSYBAmRvFXIw5d
OCgpVtnk5xuaIu5F2aO5dBpsnMgmzrfg2qUNRe6zU8wbZfk+pap+s5Fl4GzJV1Pl5XdFS7Kk7ooP
jIXf0LyLS4afiHu5iX1Dhl+lxscWuZL75STkgYC0+j5HWR85dv2QNQZIfeFvCgY0ha2dFWo5EneC
FNmvYlgUWhRztaquZhAVh87HrqNo4q5oaI+rWnp6JzPro8Bzt/Nt8eOE5fBE+539ogiuRNrdp2XS
r0VP3GcwhPXDSCd9k5cMyNO0+SlxoR9itpYbW/nI9AU7zXzAb4IllBmjg5JHjsUxHd3hw432dYm/
cXTmozHRFFHUvrvU77v9lLAy5k21NmJJR6B0rSuIzhQ+gH8uSPI1p1d/2vbFHN9rutu95CpQxMyh
3+5OQW+T/GrDr4cwj8+IUnSRZpZzzLwIT345JTu68cDLG/uQjsSQewrbWD+2+Yb2uktjx9/GjPhW
du8HqwrN4K6dIhq7zJIhfO5GS0GKdkO5k9TRYKRMuetJbUHK664bX3nv0TWLqviWL1ZcZv5DSwGG
ZepxnY5j/aclR2zh6by/kCwkL6GqfkjfrFdzgYlFOyBbKEEfS/3BoK/bI5ErT604D4Ymm87AYdGU
yL5M/9olNuxK7IPboGdhUsa1r7P46rfx++BX8YHVdzh7DGrOMu5TThQJr9v+pg2TXOfKIvLZJy9B
e227J5qq3hmYEC6Au7fBMH5AC+mupi2NS5n9mCqGOVIGT7alm21S1u0hi4yHwWvSA02r4akokK4z
ltTrpLUBjytv51tde/d7sMi/uivo+1PnzMM6Yq/PcvgSO9l0YU3WF2HzVZNNjHizqdwYo7uOhiJF
A80h7DkYqhSERkNUZbSVAEJq1QomhLW0YxOG6w0+lcTNcJgJ6IZ2YcYZ5isIkUdide1wY5ZRd8dc
GmIZ30Nfxegq0DSk+vixCOkeG1PgHH4fNmgUGABKcGwpFZFG4X/55SXBobjg1rOfytqEuASni3xM
JXZ+XdnnNiI/bzKKZ7igcsFmh7aBdIrszmrVU//7MLQH64QGf9U7AdCz3v/u9c1gP8BU2HgBTsrd
gMgJmlZ+8rs2P/1+JW8Pf79q6bunfncs8cdys/VustyUbMburiyHHf7ZAnPiwF5ZZ3m6QdWSfJST
9V32ijz2np2cgAJwhxovvCOx9JEw2/ZeIuxbJoNSR5I+3ZWeckQSViOP1E75frBRzXSUMs9RjZTe
TV9KRwdPWZKNi0Qb7mdrs9G0+mcE4s0uwf55rGBR7i34gLYhu1U29841ympCO6vOOoJbJW7QxuPm
us5wbvphOEfRiOt/jl5+H9leSaIzmoTF78khOn/a2Tc/p8E9ceUlzOj8oWwecwJGER3yUolC5zEY
4/musUgK8XtjMUv+3XZS8aW/HSzmWGNn5wcaif7J7MJll5XOw2CUyYqdMLhb2DsPv4cRL8wi7/S0
T4IiXLSFQRsn9sRFNQWfah/Uu17q6OH3e05i9QAku2ktLaIXqBnUYYSn8NhoZCvBGF1/H0EoZc9J
ybC1TdwTlehZpGbTJP0wsGCTcIU2snnwnMrdaHjCkCNBB3YhaZCIlylJxsR6q31cFflYXQNO1BVi
qWmt/dTdTZX9t6uBrv1eAUxh+j1KqydYZvGRosLC5ZbSJOFn87XvkgE/mTmMrpqKaxH2E3NDjCn7
qS+vE27Uf/2F9kx3GQdztVDFMJDQmkuxLg1rFdoMpIY481AC4qN1zSZ7ChI+XWjL1mtSzOyztT19
kCsgG3cLDCS4/B7KvAwvGLGNQYT3v9+hgpqGuThaUeMfaz30W3ABH6N2GCqqMRxggLgxsjFCMdgs
WN45kZ25m2P7C4eRdw6oY8DsjPKTkUa8IjsoW03MU1+QYvB52Mm4/X3YBzgFkzbAU3F7NodzEEzO
mvkUyAXFTXZK85xR1TBvfx+WnMkHhC7EADG+apa9iZbQFldkPNHSgdZ/CEvnKek7/FZAvl5IF9xF
c+4+/D5qJmSDtVs8pVINz6mz+f0uSZziTiTT1RjTaxdFzmdSKpiuwO4f2px5FXT2aONYXvYnH5I1
GAP708brDJvFiu6lWc1Hbu89Fl9eWh8NGMSfwwArOR2C+nhjEzRVBMxDiE2H2ehSVCwRcSZQK2DI
X5SeMf7JTeeNWM34x0UEqeuEKyWJFM3JVO883AP7MYfqMwbtU+eHwb5semMd1/PwIfMDWObhnSyc
cRM1nbuDbAl9lJvCIgLWb0fN9Cb9CglVTr+poSP8RgFnLBiv2ieEK91zFUwrxk9rm6H4Iam1OuKT
Q/z7++XvQZVZcWykYOdAX00Xs4lio2zspSOdef3Px7Os2atqXWwzkiruUemROABS5qew8bFA26Xt
HqrobcZs1Dn99KDsQTOjc49O64jXZtD5XgXMcGNtMIlxUDuauNKAIhqMX+O/gJVWwgjEJeQcfDTb
0iPOVgybtO30o6XZe8xAsyw+7HoZ6fyHWRV3u4yOvUqCYVtWI+comooamsTl99CgrrygcYXsq60U
9C5PWMqxIaKRwAIb8suK8hmxb98/c1XTk4fviBQ5OUa+Spa/D3tJgFdhtcE2Z9z0Olfzl+EO/+2L
PIdUidR/89Iq/ONG8skrDPFlVyFmqCD/ayBnjhO7o8XhpeSX9rg02ADU5H8sJmaGcTABy5JmQ1QO
2FoP4puIYmslGLKdGp/VP8y6lw740ZY5p9yKenBeyl4fpN2rz6wCXYmpwj0HUzae3C53l79PBDAu
uOM3r1V0cm7A93iq+VPHqH4GnwcCEUXtPx+WYIvP4Vi+/T4ZjFZzqTLkYbcfhcwzXjNkO4oZ7Lqh
g7KKEzl3BNvejm4Yc6zoF3HmZHe9GbbAEOW/Hv75M//psWRY7QY4yG4/B7XrOZ2Ikjdk8Vx2iN3X
mVFFa7qCHbm3pnNvh417//tVjmhZ1Wm7R9SImed2oC8nEd8QOsznRWxtPkzv+M53DZyJF2PqowOo
kmItwZO+Q31FYBeI54HM4YPTAqPJoW6/E023s5KUvwnx/Q6ufrKfm7zYVF5df+id2zf5h0DQRKPc
CnYIK8qXLNP736epBPNVZs7qKJE/PQArpXt4e11zm0OHcxFfPLubT+Q3XNCFvPyiIZ18IuKsCoi3
ysfpLXs2mwRdvhUdfUuXO13lCZSjxH/UlYMcBqDiF8Crky1V+Up7lY1eGDGZJjuM65jqwJXTdkpK
MPqggdauTAnEHv34UsKZ3YBFbZa/D9OxSHDf8QTpLNcgDP3D76PfQ4POYO9kCaJ+fuD3EBvx1m0I
6mxkXbFQSiwGJks+GhXMU1XpvCRSuutyBMj4+6zBAk0fFksSxfIFFnd5Qp9Y7Z3cxiNvNRnhM1bL
PC4mynxGyn0tYt3e16pYTSU0SEN08a4rWLZInTLYeYihZfiD9HBt/AtX57XbuhJk0S8iwNBMr8rZ
shVsnxfiRGayGZvk18+iLgYDzItgyXJQ6q6u2nvtyl467AaNZtSHvI21AL51Zi0sZUS7/65rhiY3
sUHvS02EqRmgUvb5KDkFGel5jIka4AEV19eFkRoFFvyxWSHPAzhTBHtNwUZdMAFPzj0y7nPB+JXG
d3Z83fR/t7++0jhoqrCWFx9NsolC48KMYbZVoE7Yj45ABh/R35rfuSiv1jkz1eYbXglTS/aTo4/s
dk5Qno4tuqVjEqAg84fYWv2/b7zu8rqwjcpAEuEORCx56UioXt3sZDQ9obGrsyjy4fz6ypm/el1F
vAtAtSYoYb7H6/51hSQyi63hhqwIS5sWG7tivso4Oz9yliK8SgR5NXM56I666VvjVcNNj8sr7esR
U28od9Its0+9RM1rNDXkMOyqn33qk5VFaYo0AgudQPI/38tqmgxn11zY2MDWG+8TzQUpCEFs3mFy
8X7F+ftOBzPdxIUKzrRVsUdMVPduhnKRtJAZ79xBLdGa4FTbRvupop2ab27tyTkOlk3c9XzV6YJm
NcSBs3eFW3xVIDxYINOVpGTdkssu7k37o0n6/BnrU/rRTN72dc3AJvTmyPD+utZ7DhFjI9bzITQw
voy02TkBccbKmPZow0TKweuc0PTID8Jg+mxH1OmK+cVlBkLgAyiXhUOxtXCjIHmrWeMTuxivNuef
q1N89F2HJBE4/y96xZPMnF/xCDzE5jx6Ntn3MH6D2QoLSvsKxaimEpjQbUKzI6hca12UHq1XxRt5
vhABEZ6W1Yy7NEDT/roaSXxK6GKsdRvCf0Qh2gcHPQN6y6Ttmuea/aHhSV4ghWn2MsWvXISqv0zC
PLyuybg2UIYTDiUwxZwRQKdnafU/EVVMWz6J6fn/bif/gvizgoxApsB2H4/4qEhRLJkS/O1IoFKe
J39aAsl0qFXTXSAnIXvUWteR7m672WWdT+ZnPZb6lVT34VYZ+i6fLO0znc0AVR9WKzlbsxvVmktj
dmB3XWlw8IunTe2P7rlsarUxmFwtUDe7Zz5K7JTzxeur121j7R4gYOUHMKt/Kyi9B14j46MXabJs
oxY27qgnp9yZ3l+P6/UIbc4UO3BCTId49P93++urnEh4M8yj7KR0Y9gNQISWqF7TXcF+xZjfim4E
MnSHFJuZyofxY2xlfMH4QwSoPXy8LmTJhBxZ+LQOK1jYAmTQwh/DnGGtdJ21rFwAhI0eXV4X4DlQ
40RK2+S83c+vC3xN9qqOBvgARlKfEZoxrKzEQE6fg66oD9YjXfC3isnwm2uU/lsHB2fbMPeZPfXc
w/VRnpkj3g7BmeVsn9NolOdU+u25LYvu7OHLQeA2f0kMFojlITy87ikNk7W8arehS3cBeZZ3ZGjt
/nfxuqrnCfMuzjo/1RRZm/93l9edmw56r1DsBMJQ0VsMp/JgcgZ6XRvAejDsn7/RoaquJzGy83GN
FoLaJqYJ2Q8/NUqPqD3YXj99Ro48up2pPkxTGR9OadB4iSeAIaxik8pR6sxXzUQgFDLGdiVS/6u1
uvzuDkOwiXE+IGbkahlp/dmLw684dfM7o5H83oIWm7ou+TAZfYjc1d40fSI3o/L0vY4J4q4xt9ih
8HGXXi/nzquDzIIag1FLTbuhH3+x/oHcVL9tnz+B4s/ZIyvQl2YQJE8MWNWuriMYgEGdPsmK0zD8
wQhRjQYNN661jcmw326ZS3eTJTd1fhjxqV0KL6VOHPwv1/1CVQLXRXbZOi/QN0yi2rhQxaiKzOoY
OvawtHITLeVMh0fUzAEeXjxnVjx2Mb1dDBbeqmYuR/M5LK+A6tC1Dom5TxoV7FNTcbR2FuNMpm9n
Rn0LnxN9Jdx6FEg5k1mlDhCEF9pYOudk16aNOFdokSalO1tEoc9c4PXNXcj45szIr2Zavp9FAEw0
/zSNGn94so1lJ8YvXQT/nBrcvg13PyfEYcbwxzOQv5rR/FaUA9mB1i8d+gQm5qN1QVGHRh2ov5rx
/s0L9D8j/3n5iKvhJJ862SNOiAVwOXwYc1AAGRHf0iRUwCA0HOCkP52V/6uYrOhhy79V3ORfQ9xU
R07/49JtOF9XWAMPrfDURm+FsXWN3F1KxkrHnL5fkn62zF0ZGqf1tg4BxswxepF3SYvOvVCI/mtQ
hW2nrsKBFnGERWHDD3WfjiEeGFHjPXjTtd01hCuUf2LPDC6R37bIYvV+QwM1u/ICk/LXhjp2OeiF
BpuH6ygmYXWFXlQntsgX5nJwzKcy8Lu0db1ypdZfyAnIDi2tSAhuh7ogNYfuADSrbsknrr3AWGH+
GlK7EFFogAgCAi9uJJ9M2xy8MgJ6N12bLW6WqpA3rWmfvi3ia21bBANULssTOVFhkCfM2EW6bSFH
FulEF3bA2yUbuoCIZ7Z6Nfw0wsR+t0WSLNF/YLEnjCT3PxkVMi9P+1PtVeKaaP4vFaunnpY6zTGE
92nrcdhAdEvPIP0nmaSe8NnQijLLJXHHFbpsSDRh6V9wIidrT6UzBt+54odjZhP8teYIEJ0skKAl
FERzOyS9Eye7smEHdXU4KIh2fR8mV89EG0whK2yO6kS3YI/3w1JWJQb96luQSJJbRJOUZJQAdBu2
auggTtAJIp9QbYKGnMaxuteKt1Ps6JAWMusdDm6+nXQ3QbfTPtMEp6WZVBvT0WLCCkGvTFQbe7aH
GZFhvWnl3wqZ684lIogu4kIxC14oNirO4zV8b9/9zlsIkHDw7NVUQit3SubjnFUsubQk9p3cSpix
LDt/Mt6aOfil1w+xg6K0NSa1IiXpmFB/YDyNsg1DLoJjeiungimKndNGa46RkBUzok9CL6SRN26I
2KA7miZvEG/JV85LgixlXD6UUL8CxUjfT6YjYwZk8iOEhDjRd40/tSf4XCYSDOc7HDmVGgxiSaFU
W6NrCMiJHIa3OVi0Rmmr2iIlp/Soe2j6num+7FKIQqIIK6TfMU6oxAC3C/94zjAx/XwfY6xb+DMV
PcuqPU0FZj4Y4PpodgtV6TuzPm1TUIVVc/QPEqRy6ZEGhANG4GCufjU9RWE9RwaVZAfRDU8v6Rwn
pMUEC2EBAS1J1FBqEDqkJ+ZV5P6CVQaQxvBO83RrwaEVc1yRMQcXYf4xdoIsI6rDgzWHG3l2pV/t
OfAICzWOm3U3ByEpxpr0GwhHcklJSobmW5vg27oy9zcDTWy04dfcLleFIbVtR9ZSPIcuUWh+tMNe
l8ku7whlqklnsuaYJoO8phfYQ58jnFyh13tUETgu0TSaDh82AsWCtDK2fbhpdINido6EiiIjXU6h
1hxyimI+7kC97AmNl1DWOhE9DGOn/7CTls0wd8Gt5brcIuDz1oMpbkOTDm9YIQiYSX1vX/r5qgJq
RQ/TMGn8hu/CfWRR6KxpGt7riL4FQ8KNBhQbY+wYfrchxGVU/gb14k90jhSpVjXecrNa+spIN22J
gU/F2GCtHi+6InKL8kIm2acf6wqgckiIVq/2DvGe54Qh6IYDTfDWVd/Ep1kLZ6qs2yDulSjtg10Y
+qrtQ+OzFMluIjnKmqVZ6ex4AJy1s6rwocJI26IXNFYKfiOprFI/pGThrjsPVpZmBt+URYsgqP6M
cxiZM8bvZl1rR9W6DE7Heqc73XsJfJsA13zaa1Aspyq0KYOh88EVPvKsvulCH7ZeF/krLG4k0kKw
PwdAEJOi/pFN847RNf5BSIn1rqkIVtt0aeG8Ybh7M22sdwhyTnkck3iXG4SygfFbVYOTruBVvyNS
y/ad75Tr9K4X+S8YIA0aN1Zm0CGXvLW/gQGs8hpUbBvKYDvvOWGmo0aS+U6FOXL3wkAsPUmNnIlU
B62f/hM+p55AmX+VwuVRkzyJaQ0ZBcHh38g76tXQ9UgGh3gfJ0iLAoaJXqke/QgfLx7/9U4rYdcR
yxdm1k7vhXMyEZzGuFOOtpftI7311xX+rx30D2hqxaSQAQ7jdRSWvhoKo7gLJht1oz0ZqnjhWL0N
qFrx04anGIH0vwSmceuK7phWUMuaLCIwSGMZzwC0mmbxVQ8i/Gw761edBR9+9LeZbA8sy3BrpHOo
TMu7Fppdrc2A+N8kdc3niKwTINxffNvlXmmJeR97XPmNKgGaO6rehkkYPy2Noyq6MLWL56tBlxos
986aXJSWN0LxlgVxfh3JIl+PTWpuS+X2dxxFPCcV5CnjWBH1C6SoNFYWbggZRemzlgampPHpMzw/
NpGePEmpJgklTfRzkNc2QZUhxQd8+QuwcpP0xE1Im4wRbWdcJERqVtgpk2s3srBvzzcqtKB8rP14
V85XCboyLra09kDx4mPHaqkJ+71o6m4TtcyI09I40WD1LpyKqhO8NRB6g066uGaf43AY2c5p04Ue
BrLXV4HLVzGD+PUgLNhDzexscqNDbpUk55Ce62fxzRvz7gBKzcPOw5zH7BJSxmW+HGsGvC6UJj1t
bHYa+5ng+EDKprNMA5ghFAO8TVbeGKOYO9WUHvZh68noPT5WniT2KyzzBQW3+1Z67T+CXqZ1VdpM
+EwyiaoqXjFppSgI4/BUlb121MOOAA9j+j2CD5Tel+iqK0quYmvpAbGDo9YtdcHSGJZmd3xd2I3W
HRMrKfGMzmrSSFsGiea8jSfTIuYbMDMvup8FhyL0/UPZ8PJazZCvUGaOZ68WM5QRqJPE4YhpQr29
uuSvr1oap7zJpmITSNQhTmO9CZlFN1lNl6pj967l1M3ZySjbrF9aCj8qhVmwmtJ59G56D5px44lI
uHhuJZS0rhi8WNGuHvZm0Znv3EIunAGFded643giEPtGR/ZTCOJ6Rt851N0YoBXQR7oyUmxB/hCN
h1Lt4BP9sShr8ju8gRKGcq3bABeAeI5JJGwg9oUKAK67Hczpb0nPk1krXkFTM8S6zsx4E4xY7Xrj
ByCvbQp3cMmnathB0LbzMNnZuljplh0wocbsbJIV6eD1uBHJcXTHEpiSjs74S7oFmaKINpW0EMxF
DMZiLacXy54/yPeuJkg7McJLYlvXSQPRHoNmQZcb4HyNZ0rwL6jaHXY90MVVEjSkk2n6yu0cBGvO
74QU9jMWYvABEdznVmt/43tpYAlW5zR0b+XctwkkhakB6qQLJ28ZsF8cW2L4VDCa1zF2qfw1fx+a
9TMKFBDsupSrwpr0zTBo3CS+8DKFu9jV3q0JhXoXJZ+Q4s9WbJ1K6J5LHKlyjYP4XOF8sXLdvUyp
9hxRyi6KyEDS52R7i2CMo3TTj75mZQl8etblqJbG4BqbgWE0S2qcX/Je28U2xmU8BqDTIllf08HZ
9LL4LkeivRLcU7Zd5xdIUtu+c4c9U1FI22PBjuLuwgInGTbaB24Q+5TEbrrMAhJpFQfHVV7BCrRt
zjOmSDbAAf8OpgreDELgdSCdvQ0YWaSEFMHUWRBhCFWARUiUoGwbM36MqZ5fGWxe0fAgRiwpThYq
Qu2KTd9YuDljBsf3RgJOrZ2DWG/TmGxQJQ7Jje7sobB8+lp30zMI42C6wyXGFn1VAmDf2cP4VKTy
fLCI/OEAd+L9ax0dRX3sGjEyHzv55Wfm0S6F8eF3H/wDCmcEKVBE03GuIlqHo69Fn9rKWcbHY0Q1
cUZ/tsGtVX5kLsBv19PsdTtmR93blqDLH5MZDOvMsv+6JgD2JuXYYDN4LumaY5ZyjKuViN/GWNgL
xXK9MpLMugTz1krnG78GMtm2jhneeBsgfXyBYZCTkOveXNPEwcoRa8rF7yYQ2h6VcEp8u0bLvzyE
tq5/zCOyLbbYk9FVRLvkzWeKb3JdOKygQCGKbUuQlFn2PqWy9lnyxiNTWd80nX4E7hKu4ixVYMPm
TpDVuRs90+h7RWimUofa0A86iHsx5/rSor4dWtxBYZFdWJs1xmckUyUR+cGY++uZu6/2lUKZ3+se
xNZmuNvu+BN4Ufe7q9rzEP3VzUF7w0j5iPuLJpgzop1Xiwof4toSRnJyPXsbdMRFZfh8H0NZfDdx
3FKpDzNWIWUAZNZfo8swhjZmfTIMvT67ScMpwUs+jdaujnkUnYAiUeZBhCFFxl9Hsuj3mq7yVWqE
8YUOqY/SxWnWbVCWXxRRxxx+5T13zR9VW6AAnVCyedK9mBDzD8FY6xsNesB9TDyUXMXYPP3KPLc4
akTWvesIfT9MGpprOxwe9pC6S+UZfyfQvu9ZAzqSMkP/bVrTeuwN6+5UWMZ7PJmhiSyuGFkKMRPc
eJ3omMx00H7qt3osCcUBqLOMiOfY9KTi7NNwqMBwhhb4C/FmeoROOOCWF67e/h2S+Db5iYeGOZBb
UMaQQFi89yMaVwRSWCcHTX7FAtMxbDsDq9J31ZHSw4vg1xg0dCs66fFwQN0MACMOn707rh0rs45N
3C8rbahojeG0b826W/kuERK4CBVLj54qe8t5rgQngAuLesAAND9ftNG9Ak5vF/JSF3oOaD6+0XZF
Wm45LvabEQu4p+UhhKBeHlCLzZCYTvzvl/Q2Y4rYFGTLAKzSCNsPxbBHl0dsKXSiMfso/U/Sj8l5
soh/FpG/qWxMYdA5LFeNdw35/la3EZlpkbsCOThiKqKiDOCXs8VOC2l1alsCi4TLp6Gx+d+L1g3r
FbZeWNUi8bGrbVm4SVzTwhAcd4U7TxX9+9zA+3aKfrhKIyOQAFU5GOGKIV6lGGJk7S2slLYsoazi
L2J8TUDe8GwBtYKUrn7gmvfXjVP4uzKunrJLwN5r2qXkUGMzrtvj0VrX+CTIbYkZwHaEutUN2N7J
RcEsiWEQdDZPHC9oZ5rTPnHBdBu9Yz7ARqWIlRlTyTWSPvPdS21KJWomhNiOclqWOL/cQ5xuF65D
HounEVfCZ4NEU/xfzCBZ4G0/2WA5/uOP+s6tbffdT0Y467zkGU2vOenXuxKunbPXyJQUzULtOGry
BFRD+uExTvtgpSGHhAnQtgsEnM7B88kfTvy3aObsCLTByy6HbmSo3Lm+Lsq8vyMGRelg+1ehjR9N
BMi6j4cPB0nD3s+dU2MzhovTc+7Gu16HBRIzyPU4ay7JxjsJXRG3Msdqtk2+JC8Tg2RbY38P6yP0
fSHomFN0KIxJIY7o6mF3mnov+gyZHgeqOYdgS0+oevOq9IYQk4eboNvY0eVHpsAoIaYBuoLpqB8S
LyU4XK8vgqg2TvzVjwjy0zrR9S1t12zb+7p45AZTsUZGP7UEl2oNFz0aC/MYG7qJFND+UZaz5EtY
IMQjSVOrPUIgU8hwfiUJiLjIIMd1lAD9FUOZIqRdjwP/n5X6lz4gEQuShVhJSfAZ/APm63JaRy05
bmNNunlosHU3NdB6FwKnUye/CDx3Ud4H2k2fjJ9TUHqn0hi1G5ZtsUa9aq3BKwMgwiixtItAO4Xu
8KMPTMAz/d9oSpa5HL5SJ7WOGTXnUg3Njxhpwgp7E+pnjrlC8PTXtDN9yMN8ekdkYs7TxBsJVJJU
slKipCdWIdmGTQstNw9/mCDulxr422U+45SbtvhsK+t30+croVfqHI7FSbqW/KjPiT5/WM2CE6FE
yac6C4P7DyPT+ZtZS/xIBG99sChFool7CtJ8VrrhWLteiL+x3UfHMDFO0jTTh5YJNlhvNTSlBpFg
TvIMO38dm8gq2tHm1MFBHd0M+4Ou2+maWIN0MXSduyxE2p1fRnRRVb+YazPxbLTfcnKGC8e0hTG8
ByHnFxr638zAu52Zq6NPfDPDW2/jAIw9TuBvLppkUSkaAhkKOhx88AnM6Vgi66bfaoVzx9fsvCW1
WtPRf2CCJBrcmhMnY2LqDC2rNuWxp3W10KFGOHQXna/I6hgATKFxSS3mP64NZZuRorOIzGIk6Egy
sLbJPtFI1Brc9oILub0wdGovWk58FIfBQxibNRV81y8LIxGcKnd0LKnyo1JfUpv+8atuPLv5uPI7
Eiwdr+5XAv8ID1r7ji3XXcaetC6xo/kmkkYTUosdOpuuew5snw1Jx8umM/xlAcBhLIBAMzUbpFjU
o2USeWZOF8fIa2I3yXKZJfacNAL9Z5xKXkKz1pGQTT96Vrj/rtWKf0aXt0rHQFxmIGPmKbAyIyA2
7jr9HM0YI4szgZCoAnFxZ83n0HFEAOqiVhkf/IXyUFbjn4aJ1dHhVkBCalvJgxa47y0Q5nWWKx9o
f0VPwGmbdQ8B8S0GFL3XLfFJunp6cZtBngoWGzMD1UwYo4HZLd3kDGnR+4H2DqruO4yaf3ou+y2h
0VCI6rbbI79jXa4JbEWRo9bCgnnF4FyKtF5zBAjZtuQxmVhM0uaRoafcof5sn14I4WW0qy87QP1a
j/xnVcPIl95Ye+hkC0YKC9u7ZkKwboAjizxOkayIkanygM6GaIqFC2jtL0WpaHJj64WAmSMtJqmg
jX+kWlrdLFZEN6q3OeSoQ++6w5naqsDrLL2H9GDcTHYi/ymmKZrklzCK900mr23s/HPrqn5i3oKR
kfk4ePDkJYZFQhLxbWtwLO+tbrVbyrSOUdBwaQzt52h3+Q98ovSAkYsJ0gzeWfp+Rnh6qbPSETDh
ABcKvt+5TEAL1rrY4s939naTTJcS9cCqBdf5CXNoBySJQzqYoCzo3KPjjQwvpb7CCJoCHlzz0pJv
6EV/tJFOmFXXe+VjIZ1q8AgR+8QsAFHNciWKILlbGFRXvmABJgLs5UMujpo7JPfB9odN5Gk8KmnS
7PVp6U1IsFdQHOVh6r2PtMquGP7o+zJHTeI63CdBi7h4AJ8RW+Jdwp+5C0Vkd6nGYm2L9ge2/mMc
kCTgDOMulJ1Yw3GiOuis9tYVR6mXxj6wmSjZ1g+jeofeNd7sNjHeI91YmXE23BHCjMuwoYcqUw8s
vnM16e5YNZy3VsTuzaCiXlk2yVOcBONDzHPB8N2xjl1OOTjwON1cC66yiNV7GCJlMkkJR5JyKWkM
r8g12Va6urLaCKaMi36EPSRVsca/nB+1xtRuFCe8a5G/LW2o7e1UexwQiQxy6eZi6SQ7yqMgH3VY
WqAOAVwk2UdYlu0dJYMTlf0NlQoENwl+sSBzJXOYiIk4PQH82Bh9d0k9QuMYOZyknn0Psfuu5ifP
ioV7bz0rxVrgEf4GGf7uu5o6mIKsYi37gjQIdtnW32wM13d4ELzE9n30NXG3u+g0ZLqP4CbbuLUY
NyQVkvUNxXVZN1G1zdJyI5GW3ixv9Ld8BlRgUr8BFYGWod1yAXWrQVVFHNT4XSWmtYoMzkc0gMcH
sjzdIwCLBqi+e92dti00wvnNlnscNTO2k4NvkyY0mamxEvYX80HEGzrprhSpK3x+1iWP3YerjlLR
CvFkEuyoDMszjCn00ZxZcVziUaUiv7cNYzwivWmzaLK+OzKXR1FT4JUT/WXWXo5OTORVXrb7WkAx
KCFCor+egZQaZ6zepFVXgBDyrH0cNmebWIXJJMrdLN17anKGK9GKjmLjomHdaGKcw3TlhDk4KS4Y
itEGcg0pJLNti/437NAg1u+vi4kWDscUdRkRcje+wcCQcJWsR6ptgtIAhVMhQyYRhmafSPdp2Uwr
0/ZvhT+qs1ko8zhm6ZZF6Jza0UiACfW9SyF0a7U/yNybD6yvDAtcKwGdUPEJf0716F/8QWZ3Og7Z
ip3nX1Z6FkOlnw09+7vpO+EaK7O7ieZ/O06Fsxs4TcFEKFejW9okIPM/Bf0z5Iy2mXRxqJnhFYDe
3ILiTukxsVnt0N6m+DdRQDwbbtVulC2b98Yz9UusNWcRvZkoLJgitdUmGhBZV3F+5ywHIhhwHLnY
Rnb3wln+ngpYA1WKOtKn2cquEYdOeDY6QtVJ7LJB30waCtDBoeqxrV3rF+Z5zPo/oVPF77Ye7218
XVdNy3dQt4nLyAaF+Hi6IG7M772r7chTP02O6i7sb9/sHe45ivuDZVn+1VHT+KjbN1nzINHjvqm2
6O5pRRWA3pnzjjd192IwIAD5GLZI6lrFs3/Ezjg882quDMGZSxMa1nVj+oB/iQnT0nYYNykjg7C/
BsUETaVsLmMM5MaxhruB0mIZlfJfVBC9i3/+2FR5/UZv9yC6iOn7mLJq4z4x3QYQUNZxU5ZfUSZ0
b47LeB6kdAI53hO4RfhmjU+4a236N94Y7Ad7tO+GZbXobrA7eDkQZgc2JlxTVBdk6UDpL2J2Y6Ma
TggeE3Y0fiIIp49MFb9KrWZUOiFgZIvR7vaAZ75h353z6hPYdHcNVsstwkGCxOb+ukDYv9bgCb+H
dtOtEjQ1W1dQE8Wldw5IWnxkbJ4MqHhZwnIAijQncJjMBZfMY1pK/Gn7ummyGuqqgbGV0U5fwlTe
qSENmzUr2wtY0pwgi/whnKhf6YrVlBT0OdCM21KoDWeS7f9GTnQjJ5nmaGGyF3guO3vfxezm3gXh
v36NYrrATajfhPeNESZ8vP5Bp5hWKWadj9cjFE72nhX4aisSzwh41HngfbeuO4PkgFbFy3TCOkEp
GT4GiSnPm4ZhO2UhWRQh9EndCGc+gEf9OFBr2R1HobpR4U7vPGtRFupYRJ5+F9Rk9OI5AtYkaoNQ
DN0dR8DqOOryHM6ywJxPTisHuh9x6b8nVsVEnAx5XwrzhJ4dloFpvpnDaezS8V4SfvsogdT5MdrY
ikpzVfDe3caBtYZ7G38k/dQ8GiiSljbUvCvD9oEf7pGlhnVxw7Z9RMQ58BHU8/Prrl3ukaRSDeKI
bqV9EOyNXFu47eH13dQma6PKSmQi88+G8yMNPFvbvn5xBa92TXvOJ4+B79JQLzfWyIH/9bM4uyU4
/Dxav35zAvhpx1y/wCDAv5iN1bTPM8lQdv67sdF6hwYSEIQlrnp4EE+agw36deeKbeKMBf33f/+U
4co3x6j+e6y+7IJrFpA4Pv9glXPqHPxo9bqG81LdGdBoWULWUZ0g6ZDN/fWtlo8w+ULjx+taRGMn
igrn+voDQFBvYnAzAHj8p1Zl/Qm6SP/v+cIaATy6a7PT6wdFrc8S+cQmuZmnAPMuAglJ/t3rRwMj
pydOn3H3egr6mPjs3HLy7eu7aIfCDYYCsrvnf10lrrYJOlGuX7+5CqZ4p8u4W71+swmQE8ZNCYVT
Nk/kJQRJgCjd1VUerFgZFW4BacxyhXQ7qKZ/DozLloUH1BD9Z0HnQKsPaAUyhuB1hVxq6h4EexvL
zPP2dL/hnSD/ftYDZb4DXvXwujpwwl6gp8F0H6D3jHSSuAOeFFyfYX7S4YkBusTT21UBTeL5qlUR
DKPbSXGQw7iGHTd+lEr72brDMWqS5PDfUmb4KBdcYlqH+XPdUtZgMLkXScMAS/b3UubZm9TQMQaW
7tLyL8QDggRRERPvLoCe2ge+UGLE6Hvkc3SPEGH5PmTOzvfqaG209RGsANwBmgeraEoRG7SIC6O8
Kbd6jZpWwSo6eLS21gURNNu0cowHQt+GwRKRyXTa6dT6n9a8K0TRnHk+r5SUOiZdqzF72nDGVmFY
a9vXVe4vlmy5c38qeYexPr4lgD97j86pPyEN/+/NoPjwGIjFtpCRm0dZx+wtenZqNZoYlTGItdGP
fzWHpxOxLseaemCiJiz3KNwedgYbJprnpU5cPbliuvkgV6BakpaZHqZM0ahu8W13qfpbkIRDG4JX
yTZymiSyyI+hGjEEuMT7Ta2ojj55qE9aMj81r8JDS3roVrlw5+JG3+dFgh2u4v599cPLa1SEMGwW
9E/846jRvWwFPjsa0qgZRbmh+2I/qha8jSeGfawIr+14Ay/ifgwu3RE4zor3JEEE0rsXtiVgigmW
WlUj+gb+x+7NPLc19ubk7nKvQ5RZ0U5kU3v6uW5fRvJoPW8wt8QS2JB9xgP5VPE5bvj7uanDGpGi
Oo2F3+79jHd8W8ngETucU8eMY01tnxE4ndPRCr/jqFgPbgJ4ouaH0xi5PiEoci8nQvtGgWivo1gC
6Rmu3fkDReU4rPsSAJuWMWYl2asZSJIvIIYsQhu1WeEAfgV7/c8rOqJLW86j3dD4i1xjzU8JEn4a
wmECGrDFRX3yz+9520+9g6ZB8zsM3lbHIRo6oYOzDqDKl1eHyDLq4DTq013yt0a0Gu+SkpY/9eAD
5V8ac3wDNYtEFFyHlhQfLhLZPcwb3go5sr04ao8JibuLohNiSaXbb4e031kM5h4OupV3w4+3snAB
9Tr9LYvr+Jw5ICs9pXYQ1uOrBhBjNTk+MwUkVZFv/8Npkj5BExDLiUuTQYlIn55TJTOL9AiYVltV
WpY9HanXmzHFIWLNn5F6VDBOSmfappSlZwyjJBQPKEI8OpT7CNLbk0l0tzDrT6DvhxYD7c4FifKe
2+1OdgXasS4vz7mtq209xSC+veEPllugY95SM7yfAKQZIs5/mVPuuYL5fn39YUACqzzBShKhR902
YZg/S0LBoLcsMQDrq8KFQBIVyt0pJ+ClYN7tXerakM8y9xLMYfEp4W2W9H31rBoxXtDr/nKEsSbe
4zPC3npuc9oMdjI3rqeF7hJfQfbVskiVPotnkpU539QK8uXajn29Qah4mCy9XXbZOK3r/6HuzHYc
R7Ys+yv9A0yYkTQOQKEfNM8un8Ij8oWIKTlPxplf34vKW5VDVd2LfqiHQgCCU3L3kEsU7dg5e6/d
jtRrBdoOGIwEVRvUPr7nOTtS8IpPRuyTkinT+VDArf1k+foL0cLnpKF96w35Sz6TbmWN4/eZlOKr
jucIQ/Bk3FKGkUETnRyIv08+JLG3iTOEiYGDFPeTY7nMyNvgqV+WhhxNxjWpARLErdF9CvApsqqw
vUDQadG6Uf3bPBDRhYZqPynoL/8jSJBr/F2TGfpb+28LbOR7WQFlD6P2//7bX47+N4FDFClL/z04
5PpVl9+/l38Jnll+4nd0iCF+8X1P2LA5bNtGweFZ5r/DQwzp/iJ5SPlAQHx0ThY/VpR6SZix1C++
aVrACk1Q/wTNAC/5Bz3EFL+4ruQ3OjhVSadxzP8veojL//8neIgiW43nIBxL2KRLefzGv8JDhkkh
XjfDrwnyoZWd60meSV8YwgvL0NR9xQPf1F8Dh1DzTT7wbMt0p6IQ+v89cPJGe8dxkqn7DeJ3DCK0
G5IqPZQwpMwfjdeWiOe72YRyGhftSIpJGgadczSNUXLlHhmbLoLciWINvE9gJLaDFaBipjaAXUZK
2OYrLsGdHr8IdG+h2OfVkPs9siU+rYjTM+QRnO15qdBE5mHfa3uDrhHjPxoIr5E0WCvL/ypES8ff
mXyw7Z3RG+0pZZLQvHehFY6fsgFS3AF3FSiFFbsJuliDlWTljwzMnblLwM5mJ0WhiQhKEUsVr/xs
YRGndP3T/UT/rz84dpLt6rApR5ZWcrJJIh0Wf7nwvXjrJ06MdljEgb0JzRK9APXCkObkiqPVrsu2
BN9WphN6HaJaG9dZ+QMuT72FmeJh7y9iM7bpO1W5FE+U4E2MFoV3dFgbNB4BvvuN9akyWP12noOD
6Oj5Xvp5GEPlHHID8TIyJ+y/jBNmVEluoqKDG5rW81DNVoaOxQGQjDIVbghGyWHeBuzL7wndz36V
knd16WdVvJnMaoCIVBnRADDHVyqXUu/NRGlN7SyyYBV2VbCkvJRsBFooTIQtNNdYlLR+J6o8hm0u
vhKiMN3eHP3XiljK4mCNknF9qTTDdqAwcXjwuIgZzAsZDEMeCK0YEViNXTpcp70y5WtmFCh+t1aQ
IiPwezMeefaqkfOtmCWTMT0PWXzkBLEtcEpN7Z5ssF/RGfv/2G9LH3jJD7STtfc9aVuHsPfY8cfe
X+ExZhclRRI70IpHaGfaMiKYbzFwHRI63EA+qQGBwqltOrf8jEUfYZNl6a7GYN4BwvSdEcwjWcgo
kMfahyrQRarTpwgIIQrjICy0/eIOotfbWcedcadODN03hmutu60ZD8XXuQl9AOi2SpbNqm2nwUsx
9InzYbBUGGioB0BxU+crcXeLZMcHkn0g9OrkZPctIyzPywrzgCkABgY537N5qIuUk9gib9G+cE5O
CF0tdBnOFeClA3IroBoz5DB/KDj1/ckTBZ9TjVH2g7SocOTPeSgBt8BNtP8x+1asSAlpQpDNFAf2
k9uh46dTrZHnqaniI6QKLQom4Em4hEVmTB5WYdjMzcYrjB7EZ2iEMzqlWtmS307p+T1NIifDLedg
CHoDPN+Z33EI02+v52w6c308KZRpLGlTA9YUvhE2qE3uJ2W3I0ezy9a+zKoUnSq6MMCgS7d2KLQk
ctpgIHomCjBmBiPHDHgHnfF0HTgalwXNB/jYLdSBdu0a84IF8wrGOeNqBFTjwwYnSgWDSDUboz2v
uLoMQDhDujZokDsYtRHhL2A3nKVj2GqSbWebTeYqpW3YNyvLQJBEys4I5aTF0fuujLHHURCnEZOr
bJbB2QHy231tpDJgMnhinIenQtm52jLazKa7U5lghrjKhEAgihxrryA1IUKt3ZQuBWkptC6HJUUr
bZ0Vo/uKHiXppmJD9VJbO4Xh1dlHbMmTg67ieIZBDTF4HyVkgM3I/cir+BESn9zvfT/KXMIdUMd7
BwjTiimoNRr2b7S9SV/2aytq3yx7mY9jMCgQ6FqoAAqiHSYRPxV2ZyUvlkNEClb8CgcO4Tb8yuuM
l36u10kYzp3cmmRnm+Ha7ptRXCNRR1z9ceoXKUIGGkYOQx+MnuNbxuTYoUntuOU2iSJmwCkbr+kt
tEMGur6RVU68bsNh6cbHjgWpAHthH8EbmQrEqMe0qTw575QgIrHYSDmY/a2sspnmfydDe0PSK/4C
NksoZrSnumHnNg62QZRgVjFt1KIq+tWDKfVVp1H5jT5EDSh4NMtFZ2QwWr8YljSScZWEzYj5zKAJ
hHWH7REBPcIZ6U3S0Oqj0yRCZNukoM/2gTnu7BwKLu/1GZEZkxQ+Cj5ZHppIRf3NjL1y4q5yTvBT
dLOXdj8kix5tLteJVHjqe2vqX5yhn76ArDcm/mSmbz8Zyfn9i5d7RfEcG7Ad0GiMvAgBkyW6D+De
q8b4DaXyhHsC8hxOhdia2puYmSh8NOR4ZMkqRSb33kAWs1Zy6OjmeYDrl7eyYPLV+IODHLJn5GG+
DlOQuuTNGml19IrAFdemB6795lalrL5mqQs/OxYueP25CCr/6g/MzbYtKVapXAtMkuJtGLpxPCbl
RJ7LbHZEe1YRLfRtRQKa8WmARQNGKnXmeN8XfgfUxq7brPA3sTfZCQiTNtHht8kzPQ/8pV/+MAbD
7n4H4FGEhj/L++/wtP/DMnUvKTwaIv0WZtofTDU6VY6rwB55nm3ZPpWW+9eySNYsbLauv8qqNld5
Pe4jPX9qBWv6IIIf4TzZGzdLbq4XvTYY7T2j3jipOLpjTF4GPXN79u//IwX4/6bS2v4XpfWPr+HX
5vtX/Zfqevmh36trJX6xPR9TE5Wy9Ueoo239YiIw8j1p0nMVrrD+o642pPyFgtulzU0WBpzn5Zf9
o7A24PwpXwrSwmwh2ONDDHxsW/44Y5q/Hf/lDFoK5z+dQaZlSVv6Jk9OoUf1HPHXM2jopa/hp2cQ
TQeS5kL0xBeNXTkzvZ9z1Ppk8kFEhgn6czHQHA3apl0O9YbJRbMeR0BuY33XHe5D0DjfCK/+0zbl
vzrD/xo66fH8bEdS/3u8Tj460r9RA60gYZoFi3g9uLR0ipy6lgYfCySKq4X15MQNCV8iu3Fl/DG3
jOni6YO2zKdy7E4lQCavokaJE0+s/vkzW7ZLf3vlqPNt6fLP903lyb++cqr2RIgQBAhdYs17BmbM
oZCDRhYhN2MsDh7U/g2mE5RbkmkPfO+dWbc4Ymow0m3SRAexULczf9403UAwjshcDE7iLU/NTzGg
BSjgP+tCvpMU161I+nymzn82iiilOSmcta2KM56aEBcBA1VhZ98LecXyWm08FbvALqx6bSFfIbMC
bHXtxuvY+SZliB+tRnRkDWQl4RZasTM0t0pa74EkmwbYN8CNKmTOM6JL9elawTptN8JwLwmYrQcq
FHeNdS2CooVxOn+yYu8+0zta//MX2OcD8LcXWAkbOiVnJhBK8+/ASB8Fb+iCa1lXkbJ22NQFg7v5
MDV9d1kKz7aejKep0/Oqsb1tanrfJHh3PIFMP7vJOUhGP2f2fRhpWiDTHYBbewiDw8BQ1EcWXrni
YPUg9T2SQ/w8NK9V8Txq2uCW55D/OBoIUoRRQte355P00dOk6G92Xk2j2FGIhwx4QIwwGOUzt9h1
pq1v3Vwc/bKlUUUATyi89Ky96dpZPRi3AOudnIOZJak4p3OfbCfgS2uRqRSn80SSlclg1p1hkiBw
noiXu1GynIe+f4v7oj4MgUfYN3jZqT9S3mCYISsQUiQpNSxH45p90k01k7joFINTUnAimoJemnYQ
drlxNGzBUVubfLYTajPMF07YXMhReAmTqHwuTOfOYk2wEgwjVFzZtwIkOX+jl+7DNlpXIjH2nu18
ZvaE+8EFYmz27Ub27MJtu3gq5mz8fTH5b9c38786BVwLkZnPGW1Jd3n8z1HSzBTggI0ZmypSjBRN
yTVG5JtVv2lgIRvyT5otcwZS7+WxnOQ7g8XzHNbPxAmRa6x1ShRavkVL1mLgVCZEY4vMuUH9arqm
fcu68th4fbiNjOJfnLwmrY+/n7wS/bOimeJBOnCWq8efnnnRtACmLcQcTJ8uYWgCTfZLZ88mnUhA
gqJFNlvrpMQERfeFGIweoSYV5nkG3VGOS3BrPtIlZy6BWx5HNmUqIAouc7iyN3U92Ju0jDapmt9E
B2IEQz/6dxdjnpv61xRY3FrThT7884/k3+sNrsYQ2ogTFhYtH8e2lqv1n/4q25BjYSacTXaJD1ax
BZtTXBtJiS6+Yzbr9BcEdl+Ii52Ck2MALJNzTXfFb094Y6B3mua/WCCsZYH66wLGasi66noWoePy
75dhnjBEB3gTa2caNO1huhrDPOOvj1csvvOlZ3/OZfKH0QpnUZTBtEvw5lb2ZYQ8vmZIrthOd9ha
kuFEwjH4drNssX4F59m0iV1LbA9dCwVmrop9EmEMsQhtxYY33dqoeuP1KDfQtVc9LKx/9Xr/p7PI
RiPN8ucI/Hhsl/92FjmUoBq3PKszcY07L67fED8w1ogOSZz4SM6R1zkJLp+EtHUFjxE5YrDCyfid
7QiphVzM8RO+IlhykMixcZLV+C9qUP8/vQGcDwgd0BvzDFkH/1ZBpJiMsa7gCw4T+CvCM99Tr+nX
pEY/CzX7l7bFsG0Uw4BkeZp2QjTTiY5FveuaFCu1kATmDeo5q+zmWldFiEFIaQB9HRH1ViafXTY5
0jCfpUpBDhiQiWIDyXckxWsqBpdBd/0CWX4Jhpfdh3ZidWmkzD/liOnXAqfZacKBuVPkCO5i1/k2
dn6BDrtKVjUxLUBgh3zbjBMvUKEhv/lfMFeeir6CWjtVhEd2HuuoBUEsAJjBS541xMN1gv47wiDf
OgWicp60kZxmVYcXifShKMFFRBbUTHvY46p+Tpo42aWaTlCOvt7wIJ2ccOWE1wYjCdfpM/oJzPST
s2HmZx8MWv4opIpXO5dkdWToxhLHblaO093MJWYo8yjqvYloDHpMyb4u7GbvIZGF+M1EHMkbUVvu
0ZmLvblsLTHu7/75hQDHjfm3z51HYjflj8f5KS3luX+7FIRi8BHZR9QJ2l0bJLdl11J1aoVSD6Cj
Tt2TW7Tuid2YeyJw66vRC2P7uD8LCWkmDzJCCsZKNhsILRjh6demcaMzTasWIHJ191IT96+2ERWV
U/slj2nEVI1b3VDZ2i9N5T8/7g9CZP4dTRyyEcPui1f8bNErf5DsxAKVDJRgsoFPNQ3GMZzycatG
U+5imqDvHpx0JtOIvhnLNe9IvtTeHgW+2HHWENJIX5hVielreVRUoj8FiEPWjSyrZ6YLi/xF3dlG
r6bId17yLHNeQF8121p3w/Zxn05G58UpJtoiDQjN5Ts0ORowCsC4Ph583Phxcadf3F8D4k35vI7T
juDZ5AYqKb0hIdoPmIVQ5XL0uOvx4OMwG9lI61AwuRfzr24Gi93m2W/LBwJWLeRXQkB98i77bOvn
LJ/JEFjXspvBpTy+RC1314G0KSebcKsKYb3L3u33UN3C7cMN8cchaRfyUGo4jA1pipssgL2pqgqc
mj9scpCS7zoR07khtYkNuFo18+x+ocBiU5Et2IgF++EGKNH43H5OJ5AatYhXDp/WSxfH8uLNE+1X
8oMR3TXOfa7zA+kCzS7MwMUOCcv10jRIzu2IddUw9Xd0rEicZic7eFGGKaForV1sqPmJKrnb5ozf
+TQM0Zbgcy7bfcXMnKQ+pMA/grCVn4IcenQPpk/SoP8ELtG45AGSP2s5jMk9Rnfqpht8Ta9uH9eX
Ap3eM5CjgiAUA3UjSx2ITFIXNn0sqm3CiPOZkGz3KNqlnu9G5HoGVIAA69frWJrqkrVk6Mxm/0om
SP+aJvKzAzwZ+Q1HXizFPoqx7VvLd4jcbrYZG7bt3G6NRKjXx0000XUeRmkdH4emEsZhdClShVuo
1zFJy1e+f0wUjRVbvlC+6ndJJUHkiEZzJfW7EWj0lGVJLCaPuXbyEqR29fQ4Glvrp8Hw4Po4EqCj
lBbYA02AEm4aGdfHTYhb/+rVmiQXTXXTtZxLmDYJOvcZeFCB8I3EAeZs15J6//juP37YXx61wEYm
Q/PViXx5awg6f42b5NKbkpdHVs0iAZp3Rmxa7zn5uIk7s8upInDDropQbbWFfRv8kRxR8RFhi4Wz
yD00pX5FMGQgU3PJwdNVvXFxNxDrEiyFyJQB0o7LFziu5k7PWEAYJkRI3EznRI11E3TB/3QIeblh
Gs6NMZ1plqSXFP/g7zc9HIl1NPBW4YWxL9WkMGg+Hg7i2a7QonJxcmR1aHWIkkwnBixbyQzksZC5
Gq9iYkUgGenix2s9mEfRWNb190NFtjGBK8+P7w39qbq5Q7F3liXQTYT5HLoqPNs+Nu282NVYeN+7
1FU3WTYffcMr1ixHFkePx5TInMdjzfKdj8c60f3+2H/xc8tjwVzapMuRMoF6ZHqOcBtids5qKm0O
Hzd1ypvR6mLeJfBBf78P+14Iogdz2h/3Ab0i767CMNP2CTL3mUtkOkW3YIYJtBw9bkgjCjcFPYR9
DUT4SON1WmnpDs/W6N8yIpIhpXLULje0bfdK9Cx/dZjEazJaVjUSDqwedI7XcGOXlw7G4/BclbHx
VLNBehw5hhlei6G8hL0zPpmQfltZDcA8Qit9HvpvbDTcpzGBukVutn/sOpFdc6nT55r/QSsxXxmk
dTs3NhaZS5I/ZYmkzW4x5zlGtf3rFHf5E0WSeemQy+fZHJwB4htnq1PzEbvjPghKsYuwGdB/JzLe
6sf2ni9fheeib6r7H/fObBTXBXzK3eObHg8wTTKA4fivjx/5435liXfIQfbpcf/jW5XsxQ5tXLvG
GoQhQ8f65EW191rGMQrHNLg9jiaot5saHeKOMa77mmHxvYig/q0cFBrueLa2DgvzvdKm99pkNAwj
fLR79oZfEdR6V9Q61o44r3k7J970Diwux3ZVMy0s++ndj0tzz7wT9v5ymKJOPdRTCDx6+WZbTQcc
qcYSP19csKYucZ3YwMOqd2eaJO4FJSRiWvaYQNO9sw1t6kxbe3qiuV07K0XtjiLo9rhLeEKRPdOP
ZFlDsvGTQR0t/te3VhTdrk2teuv60YBfgOTrbow62FU8WoaeeiaYDVEuD2I96N/MsjqrelZPj7se
v20s53uea3896wptntQOkGlAPJd5+aqTzZmLy3zNyujAzHB+0rmvX83MxMCdq3Bb11Xz2mplP0/A
Fx5Hj+/wzFysA3oCh57f8aqWpUEa5efHdzzuGqPxhwPe9vK4K8Tgc3BSQg0eD1Zt8zPIebbNqJ6d
brKASYSgDnE839LOQ7bG0eOGSei8zzSFomvof9xnYBpcu1HeH/64zzKLdaKy5F6XGftlxJf4ptj3
0KXyMIcX9VvnLOsUSe+PI59x2psyN0nMuvS4Z4wQPxGxgYPBo9fRMzd7Thn2vdpNCVc+lSBslpKd
hM3uGBPXQB5kJF+T5aZIvgp2rpYP1ywGf4rdPOJ9wiU27FTfFqumHeObSb751Q1vWV7Et8c9XumE
5wqQlKpN91mP+tQnisVgOVLtbN7j5tPjoAuMPbwm4+oFQXXtSFVUdcYoL0ckulEk6O5DP6rWqVJY
1esTERL2l0yC/Kz1eJrlEIP+D1a9UOpqNJm6ysZK6fuM3Rafvrqay83jK80V+tLyk0Fp2fBH+MSR
bwkWh5QQpOafXb/+2SeTHFHSR+ElHfPmGaUdZgZYY0eHv52e/H8cqyQdD2bI2+7FhXtKZITMh8SR
DxI+gJP4YbdL/DH80NXYrz007SidqD4mE+xCSsD9ysRcdMqHxni1rTrYx0tF4pBk+SrwAdwro9nV
EpU9Yn6XxKSBEMLFT8LMIXpZMoXoyXEkGdoxyfH4eCf48uZRbofKGK+6rqbrONnvPuSdTVpLTPtk
Cr20zJhGxq+daw14yydi1DqPgIhCvoD0mo5FSEwinDEorvnwnPAsbrjk9DYXsWmuWr+76N4vz6ZT
Y0qSemumJxxkxZ1B9nSH7BEdbb/dSQgu24ynj7cFy240qE1ZJ09hLCcGsGXnIRSNiF7xK+yNYzHM
a3/SERtlw6d0qb5qM8SfAH332MDl23QpnL8wZ7LkV0lyJe553kVjmx9KxzcgyyxvWdMO3aVEjcpw
J46eYCY+BWR1NCta02B7bJTBXlM94wnwDlAxWmbXi+G/AF4YWv2HI4xkUwQewNQwi3Z1hP7fGByL
cf2PBxSZJgby376M71yWhxPUw32C33EnlO0d8R+qZwRp/Spy9N43W15uS6oRF8aS5my967yq3jlw
cqig/eyXp8cLRkcMG8MkOIWkessANb/YNUK55QgFvHyzDu4wbkDhOc8Y/uVb0NgkTPp5fYmtpmCX
S/PsWPRkAQo/eUJtcS38qngDhzOtNUPpPXZX++6PKYEnRkEjlYr92uThxxxXxtYpfPxIzuewc6Nv
c4E/JyY27EzPgP00WecTtRLnFxpooqaRth0dUVNzptYptGcGmDaCTbJzry6xDU8hSV9VnFjv0fQ2
lvQvg4myDAB0tB8zll4cdWZ1y82i3grYIOc6KJl9caFLWwRtexVgsiuZlBMnn7+hGlDkpOHyF3n/
8vi1VBAbA4v6KwkfCW8xAcveLeiGGeaRFb8QjN3SiIvDW+uUH2Cno5uf4X8cZhcdz2AdHk/ZL/MS
VEub426f4w3UgfgE/cc+cGVmPj7zx1RBFV/Z5pibqel2fYO9qCp3RZn0R4G86E004Ycq5bD1/VYd
+kkmuwmM5L7pquojLBt6UXY9X7BCJ+sx5+/zCRo+xiVzBeVIG5SotX0UPZPBCuK00wsmAYqldJ7F
qUjGH+Dcmgv5FM8ijOQLMeoFykGQO49DcBTdLiRFjUjOeTOZQ3J/VGk5ETqHtHfoLLJvKtaUz+/4
TYs9U8oPbZn+k6m0/4SzmQZJTNLd4/DxQID75Rj6zfeqqFS7N0qPBQmL/SZC6r3PMwmdkKEwZxZh
EIMs5ZdBO4eqtKAA5s0X4krGMw4+3AtsKy4s0d6q51d+UKkke6skJhA7e/oh0V1Aj4TQTvrCu1mr
mWv9KKCbk9g+KnKPAlU0T8AebqKJqtdBlMdwjsAlaLI+jBiZuESs9eI3H6Jzkjdll/5rfWpr3zhr
5JRJWCdHtPPLmcVNaUf4xRmerzsjo1Ds+SU2spk1c8Bu5dWG/Wz5tXqWlahghCFNe9xXYTFALa+j
7hiqMMBmqqInfIXxk2yWeEqTxdcyyEOiH/gd1qZ7HIiyK2BqOATO/YQH0fZO80FczyHTlrhUWn+U
zErOg6vo/KAApUuGBhcnL1GOuAarOduIMgWfHae4pDx9CdysuTy+Sllo1yFNMhSizZcSlMPdJb5p
hdJZbH2HzjNUYNxwVnngI0Ksdjla2xb99WVAcEo8pPMzBLuxG7IUFbtVSH9rYsJZYb1iJiUycWC6
CCmykER9TPOBoX4I7UF2ODAaH0WMHFaCUEz8vC56Eu1zaVpeuLYljXjZoLHXLZpd2s/BqXIbzGCj
zDZ4iaNdmw9c6BHh5/lQf4K98i2GwEwKKYHKMPutMzq01xK2Nip499fJnPJjOw3tBd8EZ/BSp6Vm
e81m2oWV2YOMZHs20KlQxgnfuGLbyGhG+AOtlcbe+FnbbGD8ZKtGzPAZwyp5SnN8nlp395phz8pG
7UuHNS33ypLHIqESaAY/f/N0QCme4LBK21QTMGLirNDRa15M40U57uK+4aX84xDV4sXM4orflRp7
gomvZTkPP8Z//yJEsPC4Z3koVDGLYUZEItrl8d507cxK2hcb0YZv2rSt+yQaSRmVD/uAScrGga25
FlXGUufyHkCeKaEsBmxDfVW+9ZF0Efy14pQHdkFYWIlbHLGvQd9k8dr9BmjnhZ00MdwtNCpkB3pf
1D7+gQ4Wom/K7LUx6ujZZtdU4Bin61k1pNiAx0BshEFR8AFPs/HkBYisqqYNz9iA5DE2TD7D2t7V
6fdGZ/EmpL9+prrB8pmY9ScHPdEBVNJwfdyUTjVeDR/qWUw/eZMZ+b5VA54mYqnvI5k7dxhoXy0z
Og1eQrUoS8wfyiI31a2x3hSgvaAVuRtzDJnJlIaxZe/SnqPICUBXeSSPCLIEQqhbGycu7OvkTdZ1
NjyLSR5TUxoIfUYWJUqPnYKLhT5flCemNtcyD7NTKrDJTS2EyDCvu5OJ45PzVr8TYbu4ft2u/4m1
u7rIQTSHhJMZF7iT7rUmRdFTsMHADmFrl97Z8p14V1g++Y+d/ZvWxPYmJb1+D7kJV4GF7PAbuyms
IDUNRqXke4KU8xBFAAOnoXT5gAljXdQ4beBTznxA/c9RlX3BClyfyde4+UMgL2U3/IQ4VHxmjnal
t/xUoVc8lOg1V5YuxXOT+uktLseXydU7NNsfxdj2p9G26ztjiXWDe+MlIncWnnn9xa46uednUXmi
vbzmGRedIcIvk9X+ZwBJemfMCGvSdupudRtt7IktAIKiAtM/2/06t/HLy/kqB695yX/MREG8iDG/
R0jJr7IVJBGxoYUj/AMny7h3LfgoIADKo2tmwLXQ3rCP9A2cCfBfCVchSlrX0x1aZhXnTx2aWeyi
KTu9CaITAR/N/XHTN/U1TH331yAyP9Nw+RbUjj5jeZlWJjKCvTFAptXwyc5dXOSnxhlw4C4BJWnE
QG4a8+lIMX8MkQgdUSvHuOnw00/u+NkYqunQo7jbhpr5bdXb88FlHsjbVnwYnKd704/wVnr4p+1i
2UUFnnWzl45WPevTqL6gCMaGQdoMpQvonZXMm3mdyji6IsME9TeGd2vU4ZnpycjmryvfnMApyaFO
8w+G+rwxPmwJJtcKi/ezOZMXQxfTgbxlHqM2AxAD8Fq3+W8aQBNh93pW6sxINO7i6XPrYRqKZEFR
Zxf9ZUpz9lZViMy6p0jjOX32uyc7hp+osh4rvwFxbv0YbujcYCnqOh+eSeNtZJmptUUy1q2eyotr
qu5cxqDIEHC+mctNY0YfOBZoPoYpmllIjNsWHfBhQEdIThORwHmcU1IOeIKNumu+D0m06QlSWseG
IUnbVXxw/PCtWm54hX8dx964xP1QHH4vD31bNzvMn2y2+w6pM0zLS1B1au85lnNu7E/Y7aNrPVBW
sfXJv4wegeFG4d8H7YNcMel+mXqoj5NCSY675/y4qafeJrLXPQT2HD89bmpQwI1NYVYujEQwcj5M
1noC6qAHMO7ukz3m/t5sfMHq36ut29nhVswBeRyOFf6kp0+zLj6DHCw2ppT+1bDbF/ZyrC9CBfdc
dtnKpE23iYKpP5UoI1HEuv0pE5KRPxvIdZFIjz620K9JXe3pUqXrvJnKQ68HZ0uIks04n4hamuNf
0sZMd5nOmr09ESZCFxyXfaPyHb1UNoQqPulWPKGo906lh6QaPUy/qxtzFwEfvUUOOUGihBljO+7K
HCNEOj7jv6RGJ16QLXNKnWKXTSkDYxcyU6oa5yqanBDquS0vM/O0z+QgljZpNtRrpq3iw9gnUOjh
RR8wup+LSqeXyWJHKjsQJsraJ8p1ESj05R45OUqWCGUQKxHZ6nESHxPDYOgZTpC8ya/fkoD0mk+h
dbJRkG/s2elPA0zzDAzUqZvR95eLumQKQmsVYV5ZJSMZ1+lcf3UnXAEEBoc5e8SJTxFjUDSIjW+f
ER6DMkLavYqpGpygvlqDNAgH7fAbi6zcOm3onYKeAb3Q/kE1DKNLVUscv5E89Xo6zCNbQLbi7qmM
GYR4pXxxKZROkx7gh6IUdciFuPoeH052Oqe+m1+SIn524S5d+n7yyMSCTBpH2dVX1SuzVgftf0NG
UZHu+0HxRo9I3SVArywr06NUUJ+sCpqti/HHVVRdFaSVzNEmFSN/RwiGGDVjQ1pzOBovTVIOz3ng
VKDgiy/IK7E2hf7HMDOR6eP0BXc90/XEv9Z1lzwJh40u7c+Qbivt3qACNApBnt1NgJW1VjBbhuVL
f0FF4xLixQDxOIe2cUbcbjyNgwZhXSZ7QJs2q5G2L74lR87fMSTynkrUa1HT2HNTvXSLOc2D8gP8
I0Zk7YPMyiZB/bokzcRTxmtgjO2qEPPnyXbTb8sXA0HWKwvr2rooaYvMYSVePB8XYNS9uV46OKvC
Ge65YBe9xPkwCdoTpdOd+6wb1iZSaD5tTb0bayN+09i2zthmP7CKfOHqWiJK4lyrkXyR3T1n5+yR
36pCOiaTV37OApcZQ2K9iXZY0lC9YkWgXnQTgeAiOzU1QwIJChs1AmH1MIl4x2f7dagTsulbVKkk
T4irSklpRu2CqZSdyXp68EQccAo5Cewjsbnw/kdgB/FE62eCeCxwtZxtrrhJDxaSSFx97O3efJcS
cWqYZzhGzGo8GAkxXGE+d7sO1fMuCGYSceAtAib83tj4dWlLirvdIAQq0ZI/0zQO1+EUpU+BC4kn
0u5m9Kzp3pvOrZmtcSO8KL2K8TxMU/vJSoLvyKNYlnW2cCno9WUkUZ6m2BBIlN09dLicd7heu5yO
VwwxZO6GsJKCtli3DOBWPfSJbkoksIi+2pBsiTyjMRzo5UBUmn7JrM+JZe3irFotKu5d1Sakirbt
SqUDpSPxMAezOtra+3/cncly41i2ZX+lfgBpAC7aSQ0I9iIpUaTaCUx0udD3F+3XvwVGvIzIMKtX
VtMaJBOky8NFEsC955y910aKX/vhqk2qB1tqpD/igagH7alNWdTUKH91kxoEudPfEISjy+lunMe3
oSqMa83nuyF3I9gRtNzt0j4KlkWW/ep9qrTEiskinB+kzfwfl/YxytaZktkfQU58aUHAHhuUcvyc
Grzsuf5aK6qnsGAfDI0ZWUcm39WMGAS0TcS+onGvmVsY6xwVqAfi5Ky3SvaFX5d0k9mqkk82M4OO
Ky4NVOsaJHHqFWPRPwaMRtcxvpLHMPqwCDs+w4/DKi1z8Lv3On/Q8zXJRCV6p2C4JL67UMd5FUbG
75FA/0Rcq/0V1TS4KBeVt0jNMq8u6voKSgIKAQLvc6tylqqWfLiXkDVId280iwRpUpI/zfYBL++w
Zy2kMJI16uxftazsp0yf4mNDGEAcaiFJD9lG8432xtKNs7RizA+cF6xOVe9ZZYItV+pEaw2Oatol
AQlsZGZYYEt/JbiZ+UMU6xQGH6EzaEtTJcmkmfznfpLKQY3lR8jOjeYZc8J0nsLcH0QudMxOBNmx
EasPaW0FhwbioNZ/CyVwL2HqtiTLwJ4zB/mCFCXbdI2MX1vz9z2UjuiV8WBxP2FD7E8I1BX/iMsC
h3tVZSfdjZqjMYUwkeckQ00+u5bVfHU9agwWnbUtOIkg4+X8ru9dZ2YHvm+UbF2KPCxwYFcEdQmV
E+CP8MdtXUS/+rIrTlYrAW11ot/ivvSqYUIN0hBEl7FzxG6l0ZqoUb63+OeP6ptDSOC5GABUjWZW
f8xtPOjfHSPt7luLFMezzRKbNgzAcYhZCVIPIgkk0MOgYHYtu9r48NMR569gj+62wwjs3CY1Q1tO
w0urxeZrhXWXcA/aemAI21PTC2h0U0i1OvrxRnUwiKGgB0mBohM9GI4rvQ3O0DSrZ6JPuHQaGK76
FlHT5EkrnD4iV30EBqLupO4bK8sG+9mZbvDQO8P4rjor3hE4ADEOdMs00odqOgsGu1fdSvwNsF7t
kDSRzWaQL64h/mqhRpX1oXUJo2dZ6x/hSA2QkitbKKn57obQ7Sbl1xAzwccv3T3RpFd3Qcf56Nd5
ccVaAA+cjfiC3IjwDLnvOKWm8+qEXI9dY7U7mcbNs2+NJdhwuEhyCNOV1YXsGqC8HCkrqldJE3cA
VfQ+NJG1D00TVbUUJZnhs0ojmW6lX4sN06LwUKBqBPzcaVfdGotFytj4oiV6Cf390amrAcjjpG/c
cmx/ObNjYtIIDAlDdfKcOvohGFr+9k0Lq7q0bplNbkWoAKUKQ4f9jwybfRyWa+Lw/EWmufaZGC7J
vqOzV5jsiw1pmcN56JOXqgZu0sb1a2VRgaTzj9oJPu3Cj9lC1Am0oigxThC7ml1eVaiPtVr+sfNP
429VsY2HzCRJEfxJ8G043UuQ1dk7sSRsxPWlOtUkEjdafiLzkyZSm4Svc/qfEnP3b1MEIax+Z6tT
mekp0ZGNRXNuTfOZr7lMoDU+t7oznXXd+K27RbqnEGFyNozwnwCczMFCOpQPd5bS5rCYrPqdwa18
jkcw/6kLK7jrlM+2L8wXJy8O5O/R265EdqWkiA8aRKgFMPa3sdcfxRzjRpuh9io6JlsLUyRt1snZ
T7OwovHz58jRjnLSLHqVIxwSV6T0xXFcYYMznrCbvzC4JtAPd87y3qSIsT4O5IdNCeSBaAZ3mkrG
9Xj/sDLCDR5TmZqXqt5RnznAumh4a7ThPCUX0O8pnzG+6f3KAku3gy+M6DL8HZpZ9mzn5HpUmHS2
BaEL0H0XsTI8mjilCJgYwP5XwdW0ZHEuwvotKxABjrnDd9Fqx6EztIPpJtGTG75zxfmIA+xxU7YD
YDvZ+acKzAcYldg545ytPgp2aYCC8uIxCLOCRG+F4bLrlrTODfWAAn5aYl+C9R07GYodVGqjYT0M
Fv4lwleHo13QL3ZSloRSMMTEEfZEOGPwOA5QRolH1cgjssp14hvZMrOV/BS2couuDAXAPEwa5aCf
0xSCHsSkeHaPj+54icrmNepYhVJaUkf8aojBu0ohFY2QEzpqzOb6A9sHFhxupCEV2EBU0wir8v7G
unLI97ER0lEv4FqXnRM+WKlAcxumW2pA+Za11RIBSbZNyV7aNSJ7ZUsy3eaDIlbG+4E5vyJk8no/
mP/IccHB2bg4l9aAZtnMZfjUisTYSytSVoxxjDd7dKASptovv0kSYNrj2iYSYOU06rA3V3Sjhm9M
cfRPIQVf6bi7K9KM60VYAG7Qkh5UnKL/OOkwLEuKKCIoU+2iczsiGKN9EVlevLinsIPzorEAeoVF
X2WbOCLf42wCZMnMPUy67OH+kIwBXQI1tk5u1ase1CdWRn2oH+rqR8+YuPmoDvZdNfdUYbzNu0c+
b22F3Qs1wBx9TQGTEG1rHMBMhSetDCtyiUtBqWx31x4qLRQ4d9uowTZREfAukkCKU6kPnhvmkJaC
d0OV2luXurD2XHv0cCw4WK9PfhoZpxgFFFBF2PhOZNdnJiykdXQKt9PEdbdTCWQnLG17CXfXOtOb
I2hbaROxg6Sa0tpXHlvKnA+E+dZKc5AHlmbefyjiOiv+kLdhzm2Rsh0mgWdkBM/wxr6bLHeDDQiB
mu4b6MD3RPTyKemi6KqZ3BsTzd7CRUrXIODpEcZqfoJebO5dBg9rzRX11QpVtnRR2n1atuYBtzBo
BKYDXLu5eyPH+BBXDiM/nK0WI7dfpdL+zpSgvBp6rm8cGyu5iMaWtXqSH2a2bHzhf7DZT7aDJIJl
ogFClE20plZEORfAnkbkVm2tSgabhKH2h6OTFccsKSD9JJGfDibpvQrJlSyk+TBsE5bXwZKeGZrR
0umd4IhqIzzGNOaP96dqaNlEjkSPI4khfecaX+kQbAjggygbg9yohtpkGx8+GNJ+Nu49nzAota0E
sLDt2/AW9pTBKJNHeC4W3o31BMUKw0LyxCZWHsEL//mQxgm/7f1FwI+NmW4UG5Md7YrWZG5elzvF
0ejYaNH04dNdmMQY3cYxQc4SsmyBrOpZng7wGCHBYgKO2CBsLSGtZ8Gg/ZEwl43aOSz2BKCoy7Yt
6nVvsD+CtNgeUlSXtH6B9oLyNl/9Kq2XSp8j3zX9szF3mu8PUgfYsdDHKFyWVn0kM3g76frzXz26
eW4hbQ3IcZQ65U61Q/2x8e1nUWbD/v7s/uDYNLGUwaEj1uCAnqo+vNqqCK7j8JO0Rg85TfH3Gice
I3D9lICDvdSBKdmm6rStE6l8+EMNC3wMkifXoIQA7hksxxiav6Ioxilv1T+PgD0NaxoTcokIAs0R
e/8D+3MCTmzn5f4sFba+SgMsQVWnnMtSTN9jAaqpNKyfpmLO0TYpxm71KagsDWA3GMbAEOZeOK25
nyOmCIC7H84v4rs8BCjzt2LuSLdAwBeqgzTt/jTt9Y8R38KzZmmvguH+W54pYqkJJzlZwiCgrhzJ
JNGCh7hIK7I9RlEfIjRTi6HNYCa0ZXASZry53wL8+T6AAiBZyoRUaBbSdTtlsEKbGk4MNeBFUZEL
W4wAX0FckJknU+Wjt+QnbIOFqvTatSRua2uCKVoqVdO8AoRS14mthesWat1rXUHsT0darHouyeSb
q6auzcUjhvFVk2jqcy6CiCrblhuC0ASomQg1tqGDU68aiu6Qe3VA1PjHP44SS4/+eA3DE5TCsOzW
eetoj/eHyuosL2T7THHPa9McLBgP3KAqx0V8Ofr5rtX14TVHF7jIO0FUfOv0r06tESJJRauXt9oy
vnNLSy4kM9q7gWn7miBx+6M3LPYGef7SdD7ZF3pLFnYXPfUoXM4x7tKT6Tar+7MyoWK0jTm6EAT2
xPvZMQTc+wr7N1PWhk8/f9beRsOybjlzwsLttrk+9s8Ax51zFW7uT3o7659rJUAqVpGDWM4/AG1o
pjbnBFgwEGzWw5T6nCjdnw+5LcB/1VFfbOGJbCdB6J9spnpDMWO+15111AqpPLtziNxo33gD2bpK
oed6poZMlA20BT04x8Jhs/9YGbRavfvNjhgLZX8/ut8G70f3hxnLacf+qsZiRX6EWr2X+APvRTo3
PTIf//26wdg1NMT42c+vG0x82ZxoOMRYtFZOomJFJGaMNHZ3bJh8uiVj/i5AAtvGb0z+f3yjkb9V
43cMijJYVAHyJVBdKCLUjxgQ1dIE3LeQ9WAfu/nhfuRn+Z9H9BnXnE4ms9fE3ld+Y++xn/959Ndr
lcB9QDQAIK7kKKjdj/ejjtAe2oORgUjb2v31h/fX//qxaP5bYU5KoR9iHvnrD0gciFd6SA0qm2Y4
uK1PH6wclWsQGumTbkwP2VQHL0FnF9cMhrYvrEVDD2Gdh5nPYDHWgwfFcrxSJM1O0/VxI6wgu7AV
xbBSG+a33/+mbe3frDzZdSrSJ75Td9OIMXt04VUAUmJETpvxxmxWEk9S1Scs0b/dHIQxegh8OzLU
brVNooYfp5+CcnIlQRYSn2QTWthPTBjRdR3uD4Or/nlUSartP/6Ad7fK64CmkmOdKHfLvUjL5jFy
p+bRNdvgZDI2p8dIc6foqIrL3nyYZFptsJSswMTZAbm+/pJaO/x03GnPlH7nS0O8xTKr9yOzfC9o
eSrcvFvqbMYHl2xLe2hvCR8UExNce1kHXskBOXmMMXAtulRkG7sdgpPeF+8qWrzr4Ff1c+8bngnG
55r2zPT9ovRa2qMProkG7v4QxPiw+OvEqclufBtCHYper2QHcLrKRmE+eH/p/mCy8OF/4icCpPKr
UhNM1lsNxti/H9y4UQDNIEze232pC0C2syllFDua0G6x6GuRP4Cr/e9DF64WZLw0f7gfsT33atxU
YEBoSd+ni11tfipW2TyVoiwuBmlIWTpAp1eBYo5kB8zTJibqyt43Usfr0n58HwZMSz0hyAulCNxt
X9EnipBOnJSimW844X8fGeljWnT5k5YHn6Lw82M9j96LonaXrmtSvWvpeIE7UQGCeYPKTFaFvayh
HxCD3oRLO8ehTbX9nech17WeMsBXO/8prwx0f0oWf0/Vi61k001RgcjmNGcfTFd45tyl/+thKMZf
Fibkzf2lCOl3jrbmhSxm0h0bWosBfiUuavOHM3SBDxipVq2+mzUnrqgA3qj12K7AEhJZ7VbKPhDO
D3IfLKuBpXiTG4gXhdvmNnV9ha/fFRtEQyZtZv0h0Or0d15oDwrBCn8dKMW4tx5iw2TG2s49JVdh
EhMyP85jwl6dzjlQsjvUFtmfRzTpnQM8CWMnlBb1BlKsioB3N3fVA4g9qGr3w/uDPb94P1KxXuwb
fu7+kn3/Ocam+FSn+pT1TnWx/efBbrrr/WEyw0ubuc2JuWF35W6heUM/h/n2QJiMqEv20ZgHT7LB
hRXZnfpLOqshN4xfrdj6dvUVWYnz2itmuS+VuWMejs5rA9FmnYYMnof5aTbFUKgZN+3z0jcoqPig
3J6zht4uXVt0Dse7J2oGhP3TW/9vYNgfVvt/P/3f14KTKvsfoWL//6HHVKxf/2f0GBit77b+av6D
jjD/lT/ZY474l8ZGT5iaahsYPP4iJCiO+y9hqjZwC1WbDZ4aHrQ/0WNQyQxstRrWYMcw2Sjjvm+K
dqaSafq/UPe4qksfGiYG4LL/F0DCjFr4m7/UxMCr2bN/F2ejMHB1/8PeaDiiTcPEstZumm9amSC4
jKBrL8J+2DSDu2Uutm3KaBVn9rqL5x5T/dC5PobuhzZ3H+kfnGl6PUL+JTh4fIUT6o1ud+zys1uR
La8uTLXwdCd+ypJxBfz3re27D7Mun4WFQDVtV07mf5ba9GG4wypL6htD2I1NkvnU5uuG0ZqWv0ak
sSVlSA6buTaz9AzAFxYsQa7h73r44zT/j7P8f/2NOXJHrf1luOUDEVzmmP8cw7AsW7j/YI5EdtPr
0uiCTTSikGIClB6mjtayWp4inGjfgZ/2C7M36N2owXFK8vxJNavYS9rmpMSavdSMILqYiebuhq54
ZMv8Ouij8oHF6SPFpe3xX9S8ER7/GUUetbkp9Y0K1/RhVLVH2x/SbY3oZpEYrIoEmQZYv/aCLrTQ
fkSGoZA9whNA1/4BHpk3ao2xB255HSzD31MzDieQ2fqzsU/lin24svMtkGJTQ5JFbfKb511urooE
STP4dGWfdtWqjMt84Zp2uBwNVmE0I2jmOniRak1XVrYWymYrQnwZK0xEfdU9ijxesOkK5/3KoUkT
kgsD6e4rVUx7Uj2hr7CbZPpcn+zB6nZ+TPwv+9pqTXM99to0yB4njdjWqHEO9IaBfLkRLvyk0x67
bvo2B+VTWL72hTHyPXinz8kosUIta9S7v12rT398rX//to2ZYvGPb9uydOAynPoEzTv/4G80YS0y
pLL+GtBG6Q3JZ0HJA1aK9asElEPiY8YSWqGO1guaDzPLP84+GR8QeNyXbNrpsOdFg4iuZ5+SA/1P
7ZcmbZunkOHfQsqchbCefiPzt5noOvKk0c0b0UZcnF6FW5u5FeRwOv6LwHqOfGr9FpkCAXhyRV5M
uiY5hgw1B80G6c/rIquTjaEW5pJOLT2PHBnX//yJ/MPZfz//GZBDTeEa4P/mO8/fPfCsnXqnulG4
UeKAq7MPmmUuiG6AxL9mvEvitxu5m84d5QGSrMWc3PjFkh6dSJhex2CTmAYCPlaQDSUlrTs5mOEK
ZlzDvkTihDS0E/l2L7iF/ZWfZe6ud36Br/L3JoD5warL5f/lDdFc+ueXbCBKRxciXFe1bTKK/vMt
5U3hGlYdEE1Mljrb9YtMwmwTRdWjxWm4mWy9eyB/GdPU/TCbCgiq9jBT53y6/zGZ52FpLopayj1j
hWDVk3DC9l1BrgYdY61rcA1rne9RPjIGp3c/gvRj77+aseQGhvstw8xtG47F0swfbT249FYWLEI2
4xthd8+x/xOAn4BHll5Vst1cTe7iOopXZcEeq1GfZcfMUn/RxbjOkcLt4/TFHysGPhqcvGlQ9yW0
a7ahsePVQYoQrq7gfcUN0mn9nQjKm2rZlxLps1cOBWS9eLiEcf9SM09CGOxfO+u7RDUitebdx+8Z
tuPBicglTtJrbNtHgJLRyo+HlwZMDqJZCxUVdRugLLxNFekDXpwhQ4r6G1pXL8mDA58epFjAIkze
wlvgUBY0thIQDBedBrW7hU1xL7i9IjfPTd8kByyrT22I8RIj9NaRkb+I0G35ivGFDZWAkAjovUg/
JieDtYh8xJMDaow4K+MnzOtjPLxXUavffITrROyIW13FP11hf1k+6X4qAlCCJkuZTfu6VchwEN0j
tq1Ho1K/fBUeMWNsJk1sWGGo6AunI0ZbJPT5zALjoitVnPHDtaTLsMLY8EnURrkY7Jp4OtdaK6Ue
LQ15M1G17TIHi23dFajYoe+hsoHDOK2MOsLuXuKk9WlQTnW1bPVCXaol9OdYRMWqiwPnUKkNfYiQ
5pQICSCbumyRctN+SHTEDpP6hS74kvuo5ohaJruUtJV1NwBxi0ek7pq5mCx971PQEjl8rnyG14Ou
vDcdXR4dji/jQEpdc2MYSvbMVAKLgvqYhWfI5M3alTmew+FJZlCtDakmvM8qhVMgyLrc9Tl2L15F
kjwMaDHM3lwknB8q+TiVI79lVCUbB2/DME+FWtO3AJko9oNpQc5sO7oP9USg0ihlvOwgBlQ2EicK
UBITIrJBZPqdC+RLMjDJsZHVDzkTa1Cgwit3jAbezdk/lQ/vZVmSPWVHe0vvKaRzulY+2p0mx49j
pjcqMGc5jnEA7ALT7hSMsLedilQu17eWoUXCYAMIe7BJeCawpXWT29gp61r4sKWl+zUk/Vl3zQfk
GdEagYMGkflQynFlEI6Hn4MBcG7nXhUWLHBZTiKBek4ifSDxbY3knOrUDl0UvNwoTXBFEd0yxL4x
r8Rrp4k0ZEL1uIo0lBuD74YMWVt747jlTBJkPj6dDcINV5bbPOlZ+aQpqeuBaLrQgGg240C2LcP9
fWKP7b4H8ccJFBCkWl8qrQEvDsG+Q2EQJNtMk9HDqGcW/ahqHvYa39Gg8s+12nuXJ3MURealQfxm
5zXBerrD5CQNF0mRUDOGNYkfL+qsmZDj+Fn74zkpEJdm4SMT7lM4YRKx65KQkPRr6MM9steaq1q1
MdPR3Z9Sr86x1ted1m4jEApLkZF06prKUfGNHT6kEmEiTcY6oDPPTowI42hdVHgyW1Ov1uS2cPIP
wYdBkEAios9AV0C/dZS2QpZb0mpeaFnDbJbiycgtpsOtugIu5BlOT7paHJxtAc/bsuFfRyMzTqzW
7RPsXW2TCjT2UyZWJK5iYCyxHunstBagKtOlIxqm+8ysKsdHLmUHx4rEY1y7JeLwFP9rurEM+cbA
nxF63H6H5vRs6krg9WrwqfXDJYMEu2nNAVGurS3CCGIYm3/JvSEnYq3D8CQIch6Ja1kNqv2gAzrU
Rww0BckhzpCj6CrhnbtKHix7p8+X1biajOhMMOU3WgLmuJlcUewHxJj29Kv9npEHIySGuA1f9IQ5
0AcHsfIVcvSkJPI7snYiJySVOV++bCUIdadmhlL8wmw2oLyRbDEn9ZIM8kkho35TTy3YxK4oSOAl
UxPLDXFGcmPo6HTy2K7xdoWvam++hwIFgTZWsMVV+ysATct06zYNoO1DRYNWm4XOyk074qTS5poO
XIQun2APDNHG8dKU+kOi+ofY7Z6RC9HlsjAUcke0F7UfnU2DSV4wxTvkkms/1cRRST7zAsJVwv51
NZCNA5WLz1QvJq/CtuYHR8j6/c5UjR8Fb4yrpstOiz1/4nY7qe6Xg1SQzIdjqlq3pCeHgM3Irov4
CVwIKAOJh6v7xFyzGV2abfdRMygNAn1vheF5pilYNoNUhmsw7sXLYB16wcVX4DJjk1x3a0BkN0Ok
104Uy0zpf4TdXGOrOHSm0nIt9I+p1bEgIOr17blFrKuoyb4jP1NgUgQHS2+/6mBc9U3wU2N6R5CN
Xw3lju6BjQvJybOqhcCmtmgiicm43FETDaP6AvGMxmCnXFLZcVO0uu+YUfi5QxJiYN+f+ixedJr6
gtXN96ZWD72++KHrDq+eVvQitnBXRgiaBElshoWkRMO9NIs995WVfJsoCsM4uzTjVtjVza7iq5ZF
ezrs7I4FbjYVjYNtvfk/7jTSdZdOtpwc9CX4in9UBcBNgXJR8qMImn3aW3OUVql4jm76C7uIV52W
yH3N9cRAMHiesclLfDaE97AvmykkQ0OYh7qBgcYa19TmEsDD0Q1+CZd0L5RYCF9n+ZZqyD1Z38tK
jzGA9OWPhduWMtwLuZA9snlo6RJAV9kG4DyUgjCxnxsnXjo2v4I9/irGdam4tFUrPCBDucgsZqpT
8dYk3SXJCmDco3+01fCtqpHrhW9uDFCYhZAGYak+0eVkByGJCChIYjQ7VmCdZUA3McmAhFgCPWLA
YbVv2DZfbRJqmZ6MgQcuSjNQuEmcLE9aG+3VEbO6prJ0Gq4Fq6SxPqXDM6dTiAmLgGCN5VKnSUbw
ZPA2KPCbOyIlpD6GKxJJFPUEg9Zlp1is7Zz7ZRtXApcU1FITEddsvGMZeras6XecRNE6rtotHir0
N/UD6Zahh/4UflurkxOe9l9KhObO1rVrBdNnGTTBrjF9T2sJxChr9YWm68iS276FYuL2pWnLUrH1
xzF9a9ua37JqN74IQCwbSLXGgVO9eHZwqWp5e0TYlHqWy+YGZui4oKja+SUj/Gi8ubb55FZTsWkZ
vi5wsx31ZrqQNh8yrdI4w6vAXZi2uexsbi21w6pSKeV2/sIGJycvWv9B4EQcFVVVn9XzdPqXcGq8
qrLn/BuGtanGz7nfPwxtMi2g/xNgQHi1rspN2OxQ/dgeBCexdhIX9JyTzbiY4Eg43nXKCK+adGTD
5lMhGxTaUK17Ml2XNRkdW0hMaIv1YxWR+qWW9qsVYMcB/dr5KwITORfNaa6D8hWOmweRh9Qdlc9W
jPl10KynJsZtiLiAK0HcMh3IeJ3iqUKV8lnaq8l3vDiaOjxOhMqPqvVlqmS+OLaxFcYcs5kSh1Yo
V78H76J0byrGOM8ZiNdAUnhJCD71J5JcIqAHKOoiO32hufxNufRSBRZObhmt8Govyk1VZ7g9wHCF
I/e3eW5js9jpFZCERj/2hVGy8mBq00SSL40Zu9zO4aDOcNNL3ngGcBfJdv0bPUyHCDmyPyMMSilA
wRJXeGNuc7xAa6XPQr78BLdJUz+ZUHFTS/ucwnivoU2CJvzeTuQyYo+m+h8XiVa9E/r244yU3nXS
HCT7pgi50kL60W/fLV9Tyj6udrx7U/iNPYmquERUjJJfpM4xtrdOHr4Tj7PHOmPwmWTrRMpfhGzi
D8tOoxVyz6od5potak3TIHMjRsYFGxskNZk1nfMl7PGAOv0xz+SZHteliD+DVBB3244XnNNAv0+Z
EX3arfic3HZjue23FWqfjfTfZx0k2aPrzAEIAOJ3aJAb2PnvgbeYVfXjSMcFPxubNtIB9vk8UkzG
yGPGhrRLaeJN42MLRWN8dpjxw4eZTkmoo1FjxusJVwLhCPy1hMq/1qB3ewnWHYfhpG+HRxXgOSy3
GsLDPJ/i24HHfEtzv96kziu7NdsLwoBwsQDiTs9flv50GxK0Ncm48YeQk5JV2VOkTjAb60OHs+p+
P+kpgT2HPfBEsoBToMszcdMj9j1EIXhjiUCHTRW46pi4LJ/GjhFTUWkTJnKBgG/A6LgEi/7DvPUr
n/WEOeVfhf7Fw6B0so18TauSXOIxeUqUPlymDcJf/idtiqo+K18KZdgx/w5WDN2uZqZYgD76n8Ie
XgmrfKPuPnRaxdLOQFtImjCWXqyTNLo60IMGgR8mM9Hoi34PnsHxwMHA52qxmpugn0lsovsVa0Sv
sOevKmBVEY6RpgXbRFqds1QQI5L9udA6gBZjcnaDvFstOwBVcNT1ZdmGSwZdy1ztv+4femfXhxis
wrJLmLNjSjEd/A91av2KDOu1Hbt2DrMVCyozKAPIp+x2XAQ6N0/NSvcF4rFCT18RuGeE45gk1kpk
oM5chUTnLIYDomXGEkjQzpHGJXT0aFWr4UORs3fISq6CLDNe5lAIERAX2Q40NiDG0ZqjyAMeo2Xx
dbIsLNBI3nXlRbW56JDZU47Ha39EIdt0+SMkGdAj2mtRhKSouL+agkyXET1Mg2OYy/SRJvYtUUxt
MU7PttM8BuTUOHwFZus/ZJlE2eQOELIaKo3qKLVLMgL1FL52K2JjC2ElQHVNxZa7BM1CnDo7E5sb
cyhXY5Kc84tdWR6cClqfBlK8Ansl/17HaTSB5u/zgKDlaFsGs8IMVFRKkacE0U+nx/lyxHvP9qQl
7xeOVl9Wmlfl300tuMeUdeElTrR1KaYzJ6GW+w56hXUZP1pX5t2eO+0hi6dblxJDyLJ0KdC/e7GV
nbNJvrZVFS80vVoKzbrotnnTDMChgPSnoGeNZ4ZF1MKPMhHQNbVYSIfiF+LuD72frnE/FNvMZLlg
itNmmKt8/yWJdQ/A/MnUnJd+FJBAvqQYEs91wp8qCDdAhJdFmOxsCSgsoMCIRkBw0/DuDy8WLuGF
VNLz1DbseaS6tsldysx138jD4Fj7pIeMqzlm6qm/C51kRUQOVIT9gQ72Bwt+vCjJruO6zZidzXG0
itxYwMGXBMPb6Aq7g25Eq6KfiaxYtRZh4v/usG0sZF9dZAzpItMvYkA+0TaDvtLNNTD3mxWBBgkL
/RBGLLWV3UCKobU6UrKQLOxFubgVebnvG/VQG90rU/RfvkMWQpIzInu7/9MKbtp0JB6xFeMe/M1H
Une5F7IfGG7EKXMhQ8OPiZEsNHJLfNDI0hF0pdjj4n14B0u/H8ewAzOGGbUZDxJtg1fgSBxGJFGC
3PUgzQ49knmv7Q2IijZTe34kA5wUOi0qPMxd7FvfY1v9qKVzE52zMRr8Z323Rv7xQ7+c8DC6JTRI
HD4vMEA9OsCRlBRASdDx9IzLcA7HdD/GgjjzRK9qAEi0vfPCoisqzMWIMMfPHdD5ZvMx2GCcYjYG
5XgQCXdnkQKj10K/XKrBuai1swE5jZ6RP5Y0lonUGqH5rS180GPEhwcwr1kBZIa3V1DoWXRq2n5h
92qJIxlnEz6WdQ3CgN6IsXbHfDc6Yg1Y3lnq/kNXaAF7jvFEGq+7jdXxCVFO18p6VQbaWx2VB8sf
voySBFrdMV6Y5h+qRN80eTF6vaZt6lYl9sV9hBu6bZBgIsz4VFVhbQ1Vf82Bk2GwU9ZuAe24sjJE
pBB5w9hNljqcjo0wolfYCg2NxSBbtWlCSrQ1lGs5GZibDO2J+k3spzpH5KuGG3VwjHNrWy4Jk/aD
axdMHswWfH2qUWpM9oXboVjXQdFeJ197SrTxy5GOcwBwKZ8zR6MX9FNC37tk/8XemezWjazZ+lUK
Z85EMIJkkIMz2X0jbbVu5AlhWxL7vufT10fnuVW27LLvAWpYmYCQiXSaJhmM5v/X+lY2T3yUtynq
mm0OMI5jNY7s3lMUdRYUAyrQiYovTnAkBDFING7XT+j/U6npDqrzUiTVajljRZw9SQ9/nvOlFlAQ
XNcL6uarcDFwBfEeZj/u9YkSRFIB+q1EVS3yCLHP3ap6LIvcOCDq2OqxyNatqozPrLuIwenRB6w+
JtFkKBR0cEaSusyQ13Xgx1dpRFhg5hvOVe/GD+7GT+k2ZTYg55EuI2UT276KsV+tdJldAn8cXpKp
3/sSDcuKyJt17LYohQIzxqHXbcliKb94HNKpMLTingqDuxuZy85ERXhX/UQSl4XO550rqcCOBIxd
KaJ0tuFNRVrf82BCbdVYZ0BGmNMh87rqoJLYuEsNy17pRjrPPuuNMf39K00iZ5GX3wMQz47Uqcg7
9knWilxxw9SSfRWucUAm4p+ceqJEAyllT6jvfRIKYhP9gekcEd/anvLyykps79RQK6fUkl4Tm5Ze
f/unEJYfFnKNNZSq4xCUl8EVFF4bP5wvltmRcqEA+zXZvSq6jND7IQV+wA9tISauhu7s1eTM9obs
COoZzPuynetz08SvEWiJ+0QZTx142ivMusxrsBCOtYoYVMyP1yamsG//9u3HBAvD64NXRc7SduZJ
8p101ZnKAs02ePhIqJYfTYk40iVoZHCbx3xKPkuyVna2aRCT2LbJihaif5d2U3hAicXQ5l582y4e
qEHSrhJhDAxTxtfuVKRI47HXGy7gX+w2zAvCbWoshfwvQzyjG7TQkLgoVW/qBK6nMbnlmj5VDxLq
3jH2hXyoSWe7ZMkgtlWCXIXYKU3fb65R1xLyZ1jADDyZ3RouJ6RZGPdkZ2DQzUiXTYsi/ahj5zmq
Q8zfBjtOSLDRGQ2msTX1KvLn5r4yalTltfxE72VN78K8Zm0UNy7lbAXB9NKHI8xFOcYHdyJHecZt
tHUW8qePletEZg6oFWy0ZNh4x8Sz2V6F2Btx6LOWVeGls9fabYk5bCi/logTc/xgGFIpUPNh3xvR
2EZrN5vabRqBeJiYMluj9U/tjDlQD80e3Q2144pC9Gg3t4xNf5NqvcXclpwwWLoXez54hUBiFzgn
fAH2CeWKYDCF3kY5zJccq91DXU3HisLomZ6+ux/t8tGsc/CPGDaQKI4XORuagB7DX6daGpceUlcM
W+kwECl+iKXNYBHuAQ7wfBEWeTBIQqiRhNFOF+j8+5k6GmFaxcXOqteQN7YiVKdHqG6wxYsrpGle
dCXKBGB8kh0H1VKar9qLnwTVJc0NMHFBam0z9sklzp/7wL799slV49gt8YBMpiMVdFx32YlZCjZn
lm8j2hgrlaX3bP+rfVh181mHZAJEQ1wz6jBHpB5KMqinh8K1vBN2Qepgg1HuDJnH1yAFWLcE+Zp1
d3JxSD1RzDp5EWfS0hj0YngxiOUrW868or8AnUcRGhqPzVC/8KyL8zwU71vHsY/WOOtbxUqCf5FV
vxyvAvAuX7y0e5p1XVxG7Wcbc85xgTXKOAHEog3nUgNHkupfwS30AfIScYQLYdVNFqkARgZlM4qT
u28/Ejv7arKCzyI/hUrFd17JJ2AygIvSq68GJ94GoyVWaeKwbqGX70kgreDU9IH7BD6JkCb9Lh49
SYffgORImdaM9JXtD+qqiWW39l0XqmRNlwQVud4PTWnehiK+ycb6wlfBpD4QAyk9YhAhc1psQJly
R2oucwlb3YtUd8vowO6YVVTwLIcTfTxj0VfD1dBnA1IA0zpHRpSeSlh/w9xHO3tsr4yMrqswjW0v
rekumqjnwh2VWfTq3DhWk5NiBNKZ41qBeSJAn5n7J6/uIR0YI8BO8/GbpafCc0dEpO9s0Xxn2Ilh
89Ov4bzoz/bBaM3Xzqy+lhSNdpYacM7n+Mbi2nqAihzVmbyHnGLsOecfm9RAPS9vkqION4ZPSGYM
XAUk8Lwjv9epnb1XxCUR8XiMjbFUJ4vrdSkdUIvhttMyKy5WJDHve9F9wWJsTYpPUJlXoNUpfxQl
8kN6CpweVL0Y/RCVmHi3gS2cVMFH5I2wyyjv6BpX29xgQxjS4Dw75i3fXU13qpOIr1R6XTbRp4J6
xT7sY7kvYiAbeBIXCba1iYf23vSTu25OTyeSvmb48eb7FOnXlpV6NQX6wVHqBuMoy3qMDLtnkx2H
ajPiSdnIlmKStfiDKQsdq+q6J2No4NscsoSKTFeeMqPbE5F7Ug7kXyVoI/fRdDdDEZpKbFuNztjq
aszD4jyIrmWHCxs4KDi/KUrDlf2SSorVoZucZJBeSdQaVxyU3zuGSMGU9JTdpKPgwKa0eK2hvB+z
7FM6OvCCQu+lqeNHK8Yq79WEfHX+SNPbT7CO4K86BI27Hoa238/SCe+rlFJxHLTJVdbn9aYigqm3
hhoakeh2jSLP2wJpBgLe2TowNMwqSDdm2iaH1shAxGKz/TCEnUFke1MtzBD7Jg7EJSsT62UsYRdS
fSugfT7m6ajOcel5xA1QNannBrOqFcDwd/cd22G6eV70cZ4PfYBFx7DMBDFh/loiD19FpSM2djXs
mq4vX7jdDzMW/fdDa92XjJQV+4P52rZ8SqfUjczSk3tTCv9Wq5D6ohpGStH4IjlIpbliPhlTYHgQ
5g4R1pWjN+CJYZoF7UoPujUr2mdjlVwPhnHlZ9N8jT9tNbvTyaqJskCDZXMkhQjF2982XrttZ+w/
RmcMm6hqFs8Hol+37zY0FYpVE+tg41ByZA/rfoUC8ZJAX2YrDaqJz/mYycDeAxHut1jRzlPIutZn
HFT6GJqqBgGbcsyg3mbcORmZqhq5SdUPOyZvHyvJVG380qFYoLx37jjc9F4Lv0d3B2/0Yd1ItqTk
WuyDdqpuitCP1waHC7Me+72K3XEr+qFbZYkFpQd7ELQs73OJFFlIxXZKue3aT+lHdync5lE9mzR0
baqbhwTnkqezr46AO5WOR0FSoovTGD504XMkwvNsTEw23TyCmOFI3ZQsQWiAh13ILExdMMh2PdZL
Xmy5JEEiIAYmAbqf/RUfUQTcPHBJh27iO127TLw9GyRrxPs4MTPVYd8eKIXyCaIdraFpeMMH2RaU
ea3I3M+huvZjyjtU/58G6tKH2GS7FZWQFrW6c0aVILvGiAzrnXS+ObJ3ikJASzOkMjVoSeUxtaGc
cvz9HA/i1FmkNg5dcN2NpGbE7rZ0RyARvReSkOZt63nO9lY2kv4XUOsOCDGvRP3qejbAly75JLVs
zqFAt4B+gJ19XT04pIOtNMFho7/tUMq9Rx96tNnPQAqipg91RbHFMthJ0uQfxfCuS9tLpiG36czd
JBnk+DorcYGQBJB3NOzcqpP3mZjgQZHuHY2Gu8kb76PRJ9ODDuOjFSYLBsxoj8s+eHhGOX2qkmzZ
ZYMpwsbN0zkjxvY3dUapwbK6XYoNdw1O9YYQxGJVYXu4YFFLV8nQzpc4gpoe5iiDXJAfGkcteW0V
v9uhrPKvo0XBVQBroVBMADkPh3R2qrw5Loim3ZAF/dpXEf2CGFGvZ3DYCW5pMZEWCEVsI5nHC9n1
a1G4gNKXjq6wglOYje9f29QC7mxJe2OVXkF5wIt4WvwyspEIRoAg0iDVTZ6g/e7pm3TkAbPM0F2a
yRBfAS2n1zVlIYo01I4aFfHB5rC4Bn2Xbdw0AuVPj7PB+LIp7LFa1y2RPHVuf4qr6AlfK6EtofSv
lCbEWBCMTN9iKd6sEEcXq0SIIxm1EcxdQu6buVl1g36tZUQjnpRvoCXbjmKBv5Dzghfmof7IDlRv
LO23oMluhUvZuqcYgUvuXdCANVLUvBtMqxinq0cq65TKZfbcsKGJWwSMw9TckUi5VKCpXbVKOhsd
ewefQsVW9zShCsnmOHbK+9CHAQROiUIOJQ7PXWp80DNWIiyO7mJYiQOTfX/sbMMALXpi9fSJ4eWO
76aQL9f1yO42NuZI22rwH0ky5LCNggBF+rBZ+r9JJVuc/Bu7T4NNVaDAi8dPGSaQqH4iuFSuQtWr
VaVKqNaAWhy1rxP/EzVM4A5ticrnAbrQiJTDPmei7JBeS/2AEw5yhgMwik2BOXbDyc+6R6T4yEPG
6okABbrffrobOmSRhNw0hzrq5z25GuDz6CXRZQ0PyqPqGnB8SrGFvvNJkKKq4p6JAu13XVY+u2gq
Kea14FOU/Ei4KCva+AinBUQh6DnW4QgQCYirEK7laUYaQQE5O0d9Fp9qb1zkERa6ANvYs6mr18uh
9aouGaSYPqdrR7rhw5wPd47/ZIhwuC5A8KUxE0SPMiszm61fcUVRHRlgdEZ8b62XnAZpsIoVwfPo
Bg9G1HLextsjO/84hK6PcCF9snpaaCZoPFOEz25+aNNdbrUj9thnT2R3kGFTmJ/uh8r/IFOR0Kqs
7K1p+HcTaVq0Cmm1xYRmtLiqNI39dTPR1bHEeJvM5i29TVCJQKgAdpTHvFEPRd9bt9HyQtK8kBvS
RnPOquZTR84TA9h6SoqAnNaYJgibwVdhBwB8vCOBrWyeGlhoZScJtrUJi0o9vAysGhgcbeeMqizo
ELcxf7p0UBX0IwJmwTPBPEnGfsW0c+rtGTEANQl4IfdKjEhQktxf5XC0A3UblTEWVB1QLwFTu+KA
Mq+oMLHA9wmh4n56jFU3HrG6HUXlGnsqinPUHBugWZBXdHWBI1PTsnH6e49yJpV2f9O7IesVoBkq
FMDOyu5LCjqAdQtFRhU/0cVw18pp3yG3pcqfVUc9dx9BxkHxIZbeUF8FBUBI18mW1to1Is2XSPkL
fprzKFU/eljmDtA7mkE7vyjvPiVgiplIfCwcFEh4YBEGtu22iSs0uTWuB1OoXYnADUnOqoJ01RjN
wD7BOjo5O+JwlieiSO+d2doN5GBMDUCXWH+ciuBrNfN4dGG+UkL6hLdGbvWUpmfvViBGswtHfgQv
Fm8GnVYor6RYmYbSBBE3p6qxgzW/ZbMTSUfPMi8vSUI/FEbgLglj6iLKPizH5yvTmt81A2nOKVk0
qyil/5w0n0snFjeVNvhIXEgbXdJyJJkXfmyZPbulIJtgUefxOaJnphiERNPfC2V87QTbc0d7xk5K
gWCvIRaEEfesB3lfppgFXaugkFIU09XIRmsjKxaLWITJuo3n4TpMjJu+9u0jLHx2t31GmROps2ma
BFggviGhtq2vg46SV+jdMf2rQ2SJ8MH2+o2d1lRCDXSlykJNFwmDZ9SUzLdjfFPW7Qv016dEmZdE
omcRo7UVJacKo7G+mhNI2tatOVg/KemPj3TQAYdkezePvM084WcthR1jwDHHrUdj8pQPAkSDWT1w
xIluu1x+bJxhOKq+Qg2E0+5m9pL72i6qmzQ6dTTG1iJzim3oN86qxci+qcv2C2iFeV8M3odJC/Oq
lOW8G+TIaRMt0izaattZLnZ4MzvFrfoShfTIAqO2sAZSPOm74hyVOVEfk/eR3Fyo95b3EJFFsZt1
Mu9o5Q6ue1pcibaLmQs11xoKzv73yl/zJ2+DRfojB1/SJ20yIN8m7DnF6KRsqdiHFQBQk/FsSF6D
P7jzNkELmXmTwo65bA0MWi/dKPYDRPIx5ZAZQNPaypiVCSDDR6r95pVJI9QTXb8yKwTf3/6o/2eu
eaQF8c9/fC06gDTT/UsQFfn3Thm5vLP/2Vzz0D1//vnX/+2sUe5frkVNHU23pV2bFLF//Mfw0rT/
/Ic0/3KldNnjeKa0Pdwt/+WrkfIvwV8mQ0JZYA8X9fu/fDXuX/yrckgyRfauvxl13gSN/i541PpB
cq75nTSxUeSOWo7pWaZeks++T5IDkCUmA9WWU/UHxhJiZ//uu0fBTnEKivx778KPqva/L2F5ntYE
WFiWEG8uYbueoSSkX1rwiK+XqkxjrOpSOndtk+HhBafltX/I/VvML/9tl/h2TckFxRJEZ2FOWlKz
vrstrEJenTZ0M2LiOyjWI7dhj1RQcII2nsnbf/sOJbYoMu7wT9lyeY/fX82ay8zCbOCuxqHY+Cyd
c/mB+sZ1XNl/uK9fPEuuRLCUrQVeELW8zu/uqxqiefIi3wVccD235ybCd9PWHKS7P1zoFw+QYhOm
LlyZjmXZb6wIM1ioogwZFyDGH3Klv+CuX8uFs1YjLq76P7mZ3r4vmEoWA1DTYhMWuZ4/3hcKcavq
BGTwQd6ZFumbKV4MDiaCgA7QbzsvOv/+lf2Y2MwAsRzMap7DR6S5TfFmgABsmds8Rp7ZlVBD9QcI
bJvoj8Pwx9zAv6+yfPrCpWuoXPPNUywL9i1mmWo2ZO86c2nKoNQjWuPK69vbtH3nBS+/v62fXhvW
OJeJg1nDspV+O+5F06V+lLE+muwLXHVXVxAd6GjrMtmYhvOHQfLT5IHzTPDwSEYWjJK34x7vT1MN
k+actOywIdu3jf8Hm8+btfHbI3SEBozJ7TDw3454l+U2ol1mrxbSb5gUCHC8Be1ifEjn8j6j50Vz
mph5S+xnOFNJPIKxeAwXQsPMxsEq7pCubKiirCb0Z0n68fcP/KcPcnkErss4khYTuH7zQRqjkTZh
wCMI6qXpaaN/JvHMlAepzD8kPP7i3Tomrt/F7uSwkLyZR4GWE+ej2UaHEPvLELA/dcKkLu4pJ61L
EOW/v7NfvVyTScbkBy/ZffOFqLDp+Vxd7syiy5wycUNn//0lfn54fHuOqUxXYbDwvmUbfjebAd0h
W3AGVetLUiW0vIqjjjrpdPQa8Ye7+fap/bAiWMu1+GEpBVDZe3M7HKb9aW6h1NHQnRbfwwv1pHBt
RIDEm2TA2NKP78iPA/Ik8xcnt8Xu9zdr/mjhW0Yy5ln+lrYjLYv3/+McV4AnTGk6OHhm6vcENX8N
qrw/KvpYRzuLX0wZwGKtH1gUP5VO69EbKdL73/8Zfp6PtI0fF/+gWL5a9WYIoYayErpxKOqbHpZj
Jc/1CIumEZckVSFZkP4Gnff731/056lWa+mB8GNvuwRIv3nydWTLITcBoJSReKcD49V0/UtfDeXq
99f5+fvAjEMeO1+IAzjn7ZJlhZ7t4xaw8QU8TxIdIyEBPigDSS5sUf7hY/zV22TbZiu2YJ7C3/zm
rkwITmkp6KTNKEoIxLC+zCZ+B6unOds38Uvjyz1RzR9708IYqq6JJz78+/fLExVMCgT6/bSEOUZC
M2NEodRXZDKH1RcpSWtyO1ERIuR8yJu22Pz+ir/4Xhk0HIG0oBtl6jfLmTYraTgmi6ZvDgvTA4tg
aX4W3fA1LiGN/P5iv3rCCKBYW0Ad2vD230yt+RwHVtoOmqPablJny51phNTqQfr4CQHkWJwj29gi
M8h9l4by8feX/8WoxVnNKkr5h8/l7QYhr2TCidJl1IZfIE6RCI9Ix/vDBPjLi9imwpuCqRfH549T
gkJEYSYs4yuO+Juq+hywC8lRQP/7t8JHz7LhOSZf4pvXZqA9aAeBXcj3buHe2dlL4f9pclt+jx+n
V1c4HGYcHphWHGd/vBOSAupcGGzgtJlcyc4ZVg6MkN75bIAQwzSMegVgEe1MT9d/GCg/T2pcGl6T
6SjGCqfoHy9dhOxTMcKh8JvkvjZoy8/PXeutwuqZkDOOy6+/f5w/ntaXeZzrOXi+JIcnKbw3L82d
emBCscMkysZq8Rj0yt/35hesxCc3mrbIfHaVru5/f9VffA5M2RwETVtzomFNfnObphoSv0IYNGFf
NOPhvZycawJ31zD3EFEip/OLLzTFT/6cEL6e/GHC+3mocnnmVUXcDXu9t9+Djxl+MjiWrMb4XWvh
kg2+YB77w6v81aNlDqcnb9kskG+/B4fYaTsvGUV2fRrAMrkDRdP4GVHNJsP5sahbgTv94fP4xfjh
esthhyernLf7KtjiKPrcAiN97l4rBb10Pmnq3+gfLuSILg6BP1zxF5sRyMNMbRx0lHDYD/z4Lps0
HZJm2dS2qCYrrHKJbt+ByjljO9mmg3eDm21tKQDL7F1/P46WD/HHD9XT1ByYWLlfsAdvPtSK+rCd
dHiro8y+zYCwrsgK/VeZ6H+EU/zyIp7Fx4FEgEf7ZqyCl/K7ejldRZi6aDFmn8Okufz+Rn4ekJy2
pel44Er47N8CQcB1jyzOLMCRhVBjLJeqsTnYxpaU2ejf3sIs12KIeJRLXFstC+N3G1UqFmZWLQ+t
H/BZ5k7V3Bmdru6CNsLE+/v7+nkbwx1xMFWSZZ0h+ebZeXGQKzOoide0cRnO1r0IvHQFCmuf+92r
Q0/5Dx/dtwH+dkh8f8U3G9N29EtCHEpnRRkyoeIoJT6CUvvHICC9tC1INiLMOYWK55MG7Ojos1FO
7cFMwWSFsk+gZI6KcFWzvZ4rf2JP7arH3gDSP6Cs/Pr7x/Orb0c7HAdttnqsaW+3k0UQ2DXaLgc9
UfDstgFKF4lnOPS+kgl3MinR0yDOiBgMylvo6B9+f3n8rW8+oKVkZrEp8Cj1OCw4b5+WiLXKJ/E4
9QhWIhQC2s0xybAf7Y5ZEhnB60Q71e8WZrPfPQm222AopsG2zk4BTPjGNIPCpftO8cq6ZW3MWTCR
5Havc6VkhBqxIeByQIygDe/dZKoO1EQYOQXJEDrsLPrFI3+hXuCdDuQW22QByOQhtpu+yVdTjuZu
pi7c5wAXIZ3CUdy6+ZSJJ512Fn0nOh2qeG+igkC0iFynro55TsOp+ijDpqJdoWfiJIt92tY0YdYI
lAIXFWJNh3JeBSXKR+QNNAhLfGKWlRVkfVtJbL9Uup0E7QyPjOJdHZaTgupllJU1H8kxmnHg44gw
yWgwyyAB7te33TQd0OcCtty4mfRIhc9aMrQQ4VeDMjd10XkzkO2CzehmTIqyewK9VVpfW9Qf+o6e
xeKA82KM6gyAGpvyTRJ3s/rSyhyhAhGOhPchZDKs4baMxx7pjQozx4wJNUks80s/iH4O1oZjy7Ra
tYAoo+eeitN4aVUXyrMWQcV/qNScTRtihhP2Fv44V/KI74kIkVXfa2qjOHT8sXvQTVva+2BKJ79c
h9mcx+RRqYYsTWM2rNbcxb124OnTs69Bl5WTP2FI9l3zqEjbSd8PyjbJ4dGY69CbxBWgb6ImkrKx
6WBSSerWoqvm8qHqugR1ZT7PIQBTXcIIAkKTeAK3VSdj2u6jSfcdTwsH3kqS4Gy34xeRqTHbWdLB
hOS2djklq7LwdffVGSq/fuxwX2MhaFuPAYG5FMvHJdc4tUhnmJIgO9fwhtSZVFq7uG7dCORnnxBg
e8EIq5rrLucZH4tB0KjHAOMmEcyksSg8yJ6A+m9RA00+DujKkDd4noW7R2Y1Ntu2AdC3t2N/UecH
Ks7OQlSJcRsEfl2lR3QmxfAZgWXYXDtzQPbZyqYadJiIBaVrrDThpcLwC/tFAddOUNLadTu/pvZU
5qDng87bdeyHUZnj4nyhDh/5H3sJVPWLyOeMXyIss8RoAEDQGV+Mjnz6zVhHAuodYipY5ozQ8kyc
RNxepq6wFLEnwxIjkIdnomIcTB0Gvo1S4RrDRwxnAVntBpMt7bZWRZgrKyqAa0z9RoSnYTBCepE0
wersyQB2G3YQG1JSkiwS2ltqHxhjstz9QjcNE+nCsnBV5GZg7LXTz9Xaq7ymmR6ADIecls4gAQct
N31GYgMuNBalntxS+pBMhzg5mvIDlPgouuu8rHY/pT1uGHdtuK2jjzOMaefKdzoT7a9VTOa5yZOs
R/YaOy7G6t6EpjXpoYt2DpGuweI91vb7kkbmgx+52FA7O2mjW8s35GSuzL4ZhL0OQywvCK5Sop2o
QBKPwCk8jHJz/lAL9Nyv7G0nzAy1K3XdrEqnMc1Xo5fVyJxIEQ8FtIGNHPNePUYkbxSFprZtQywI
H+XA12vAshzuQ0JSUwMbOLSkZ+kZXa/x4Ln2cEcYnCw+UCgs+nkTtI4XPZoIuJziGoi+I+H36cHN
Xpw4aWW4BRaJ+G1wCZK+7wNl1xdsN2aEmQYJwonbTgtgGmNDSGLswG7e8/kZ/Q3gpIy0yBpWN81+
VeXU+wFOISf8ttL8b7fa9i/F5XP20ryF3S3X+S8gHh2hf11387n9/MO/bHOyVae77mVpe1Eebv9f
M2n5lf+///E/Xr79Ln9ooplafbfYLr//v/6/5Qb++Q+wZC/19023b7/+7yaaaf9Fv4sDnsvRR9rK
Y9X9u4km/jK/gbGW9hqNsaVl8d9dNPUX1TY6CibbekEdnq3/v7popvmXwyZLU7eVdF2h2/07dDrK
Pm+2o3iIOJVp13GpBbE3+Mav+26LONv4kbqy2EbIIClsEotEh/3IIv+BRJJgM9cAkh35BDMVF7Cp
y0sLNhPKUfZiZ8V94eb2jmhU45gGxk128Jr5Hgl/ubZmv76U/oYW7zFPECAiIJy27Mnu4B97Ax9d
1IHnieKjwUR7MF05o1xEdQKpYImIwaQL92KItriGmXx86AUhmeLK++q4zL8JI7mc4u1chK+6KIO7
wemxpUA5O+S1TVmweWcm64JZeR+SS44Myahv44YUnzDU/Sa3cJybBRKsGM3AVhQVcC07rg/JMBLC
Hn+s4MQdCyH96xyboQwU4Gudn23NvTuRPWzhvQfNbJ78mh/JkJ6rKLYPdibiQ2AaF38W4aEKB1zD
U3VuDAhFFegOsvXweC7QhCQEaKCRoNFWRwgc0AKwHUKq7H6kHkA/s8TSQTLTComS8WLhiVqJIk1u
4cLeYsLt6BL4TwUMPL8q4lNQLjunut92GtgNzoldL5yHsnLjfeg5VBbbLsZVMXXX9SIpps342HuJ
eiGsDdZWWN9gFBkAirKTicrnZLTbI9DS5pZcwm2zBPok8ik1B2Nj19I6VZ3aIpBwP+q+S9ALcc6k
XYWICsU10cjdTgcBym2rvvfk8IjorsUL2GJ7suxt6QKM5l0heAm68GlOwxt8SYc5T92tILJpU8Dl
23R598VCNMGyIJ9dv4rWZaytS1G+CCDulLytrU5TDwNlUW9jtG8sAEO3UXXfPRo9EmonJTAmQ8Bd
lD1ncNOyiPdG7R9XYiXDCQ9AnX6Y2K9upr6Fr5Oz2SRjtl93C0Y5zN4lFq7B2ID7ThCrd9IFsj0v
cw4Ip669qfTJRUMW6bOm7qja39MLJutPuDWOUyUktnqXo0jdHkuP7FIEWOVazNZ4MnQ/njDGBNvc
bjFmkwpsJYPcO0m/HeBy9ZoomWQ4oWwOjxMcQyc3iL6Iydaa8kuVfhZiIEEbm+uGMuoG82L/LML0
FYn/S5PZ+uIluBg7SnY3YeGqLY7Q0ygbtFTulwqBxTVPP9DTqY1ZI8JhxjIoS3gIY7iBn2t9UbaB
F8EPX/1UoRdE0WWVxPW1NmUG5cOeJIMrPOXz+BIglTrIktyjGcmajTQH7VNcIE1OL6XtIrDOxI4c
j2klWMDxfPkfAfqjNyVNBFE97vEa8l1ad4ckQXvp04daOTV+m7Cv9nYYP5LCukmI8t4ovxvXCNDb
66YI0fGO9UzwVEzscmCfRiBaF+XMBzSFuY73DtFoWeXcc4qQRymK9zLgd0dzegiiNMTl0ocXIAIU
3eKq2FD02zdzF+6JmeeQzBiV9XxwlW6/+t2tHUtwcl20VTooN+Og8aQh40KZeDZrGHxUFDtQbtf1
nKptF8bQ1NCWEsBanRqAlr7Q1Vl+KgY9X9WxDUYpoLwoQ75wnAITQFqi3VMDH3kQEqTrVKh/Sjtw
0Ih/JXoH/XZAOgyinvep+oojy9+ZA9L4YJ5OtbaujGgq98Qsgeio1FNiVN5K6nHYTxkgeKvzrzKY
ILqMgIMMILAMz7x4Zpc8aZRPm6FaT5lub5Fxn8AJkbrHNgNxKYhf4InS3SnUmubohicSIgGu7EWL
K121d2PGSG1h2x3qfmavyi0U3QBqXpT4QRzT2FAYr7YTdn+bwPtbNw/EA5iqfW3Tw2rHKia6x7vG
YGFdz7UgT0y0nNeLYGWEjvuAoMx9CL3lu22829zDeORi1uSAZq/Z0ANo8uvbuRqTew8P9W2NmzW5
Mw2ruB28try7I60MEWVxCljtEF1mmKvyU8LJ4y4UICyGSIm9i4sBf3579+1H7gYo6yeFPDNkDLjq
JhvaACRjr3ZAvRbrc6hPwHwCgPQ4u7Ck95kubtyAY6QH1pngBHS4/nhVaA2yCBD3xsVItXYG/amb
vQP6qMec2XWYcNSU3mcmr/oS2LtQUFlGGie3pdUPqyCpHwxiGlZOlNpHg543yupPZdCBKWr9TaE7
zlYj+RR5xLPyNdq7+ZGUlgdCB4xDOY8YJrwlsVdlJFksfOPGZD62ynG8rnnVjxBEIeqR1+l86poy
P+rFiQ/rAif7EItVQoLbbpqbam8iq7nCgtcssSDmplGozqKkUMceSdrRn7IGulbSHPqsS6/bAecW
FVy8RnN1IjS32DgFDDe308EWxH9yR/Zls4VGjbfPHextnlxSEBu3eNRC3An2fTWlNk4TpXYq6sjt
TKMHryf2iAH/yRlEfSfq8WMfHJ3K6I71kilPgMtrIfpoD8+bNdUwni38lfswGkH0mB5xmKZNPajs
wLgq8xGKz9Yxqvsqni34Io66rcz7VtbXVMzPVaWaR9uLPwwDf+qpyqFuYULq7fixdVgs7NB0viBq
J3x38F5Z2E4cksRV6vOnRxBLSKdGtZwQtOkYPLsWNVJfoAL2p8hEaY/9d5w4Aqu4Ptmydfax5J9m
DmlAtlJqgMhIG8s4WhMJJo6FZ9RyMCm5ZD8uRlHmBM084TIpm+EaFJ4CF0T8m6vT67oEQBVpSba4
mT5zNthYNn4Yw44/Jl5fsyGRONiHmBmOesjGDMWNHYU36Qz/q27gw+iGyAlKyKcWV29sW1tlrSXn
wXU4iycrZhke06cBDNM2sZ0X4bTdee7uGsMPCGyDqzMOsD+yzq52fFEpZa2m/k+mzqy5TS3ctr+I
qkUPr5IQkpBkuW9eKCc7pocFi/7X3yHXrXPOi8o7yXYcCRZfM+eYB9Q2x9gYeDdAF+5IPrWaSj+Y
ZKiOc+HdZH9qbIJWCUnLgoLEphSRjt/9I0VaAt4z3hITtDFuxo0x05E6/jVLC2LmdJa8q8n9stAz
DbPxOgk5X3m/ugcQ4pzJSxMg1IUFWq5bnhJPOu3brqy0Y+HClvW7Qw4pJiQZhVMVHp6/wjFrzK1y
YJctP7HRFoEPRA28xqWU84lIyXBIZFhjZ9klrfMliRlVvtA+JiA3e4PKOGhscbRV6WwX4A2RWWjc
EMh3245nRAnBR04Zkd71zbf9FxkP1VnTd8CuzK3lco1QejwpXXs1fWDAWk9STglBUK/SfWJBSdHr
s9nBq5O2eRtr9TozMgsNnygZL5tRUnSQPSaft1skQZbLTyVD2rv/etHpe4ATal+Nd8VOo4ZL0YPU
IPSb60OGsbbiHdeFHnRSHaiyr7Llr4HaRIFrPtfaMRHjZbar6TAqoJJGeTJnSHVZlTC4bNhkJpVG
iysA1PCAfsCgcFNw0U6DDKqkaZmV4LmCJhBNejFuqFSzEDIGP7V2ma0u3ce+kyOq5e7BgbJpHTC4
C4ZzN/NC8ElofKW/PMy55uGpb0+c4AiicWMNgzedFA9QxqO94CPpoDkJ3NJJJdjNZTfU5xtBRsa2
pmDajUtsb1miwYjy9+lwR2AOZZj5cm8AFcBWOuBahfIvlfOWLYwOY4LqKbAxeGXuN9ADEwZMT348
rTKHYPVEalLdfw2WqI+zPr4BFqOuQoewbV34JK6xPOaWT/GTOo9IU5K9onLZDXOMqlpgFaHN+6x1
EmxJlH1I7gTVsvH7XeOlAoTeInFk1OFc9cvW6ddoFcVTr8c1knciOd2FZZLPIhZhBdDUxL5//noX
raigOXRZrBmF+yH15FYID9W14Xxwpum7VnNJ3koNTFiSumZ5ShLetGWVj7lG8K3Jx0PU2RuDAGtT
4qXyet24poQkH8mMwnFnYUhbvmW+Iv8y8fe3WgNi5X5BzdY2BRB6QPv7UZGcvY4F8xbMb9tmrvet
fr/yui7ewIDT8E4Z48YanezkDr0R2IPscDDzHZokxUWfNpuqm89EO+M7S0yDugwi0dISSGv1xhtT
aGtXes2BMQq360B5WmdXw5avXkaiLgwBMqnI0doQMdrv0vvnpxUdZ24+7YzVOiyl+0TYz0dxdydn
0gL/X6+hkxRH22kflXCbHV67sHOmB0XqpyOPqllc8mbH19Sx8E1PurnT3ObHcmQk6nt2X2XvpL/y
Xsh3iVFwS2b0upe9gQvKrUqSZFKG42ag9TZDObyPRKMCdVa+ZmOTo/WbEqIiiFr7mQx1A0NTHTov
xFR/p1H4RTC0It3F97cvYVcxmBONXwdrfFWOwglp85yQSci86gtgabtHL9Y6ub9vPfux4bPaunfU
HsDDc8lwNUiJM4QGExEoDXpFOZgP/LYPuKaJAsXAES2dvHDPorDnOQSqyT5CJZ1fpi7+D3BeiF+E
c8NRaGzJI99YeXngLKtfbL3CHcn58jyYClKBX/s89/Vk1yPkdnJ0B1pis/dkxiqI4asxC6amxzMS
ZFab4CUA0nXs70spS2gj5tXC3lYCe7zqRAyubngqpfkP9gHMBbN/ZrL/T/pWiGpPXFsmlhopKwwt
3dAeXVCyuXwVpnzPO1t/a8uc6KUW2zenM5VWbkTa1GGa2rkq/rEq3jELyyK8EoqcHgVaP1GVo9WI
bfzhDc/p1PAv1Vw9MDcDzddup953tro7hH6hNQCoLD203OFoZVPIg2S8IbWDGq8YWSgbi27u5vCR
4vUhSdIXrbbjk1c4xJObSxn4ogtmE+M92Dv32RncrX5XcPJoKbftGINuWEyxrSeLx3PZEJ0FZsHp
zCSgj9LX9lH6o9pNAqpGKzCRYN+d7XzYiAm4Vb+kJPPpVhdgA8J7tigog0WNTZ7Kd0UVF+ajeqL1
2LWV4+5aHwwgSbRYZBdiZ6ZM3opyZCAxOVYw3lMwE7MU0OoFGJ5urxv6H1aV/BNypC0lTyxq7PXQ
zvGTreH2EKOpsZIwbkSmvTOP1CI/TuMryOddVo0VqG/mEITlYQ2aCsJ0oRyUTlwdUqOj1SvjzWor
6iv4SbBeGIzm5hy1HbTCvl4Pll0SVR3HLVJeIsmAE6KiTL+7pk33SsQXrWM0n9sYKtKVUPUC5Z/v
JAd3TJZDkayYJZp15ipF54jJAN41gMh26PdKI6rNeR2FAcQNAhRs8B+co+wgbO1miu7ltxn/fSlW
l2HUpNPXrfK8Zpod2k59q3s+qmry4PXnWShZeJxImyYF6ofvzYJ6CX7/tt8XbFA2laAJsemOH7z/
T2JI7R18umbbDiSTjilxKeaC189wmyEokrQIWrM0N7DA5EUJgR02W+GpmvMBzggzgwqAnJM+zMY7
JEeDBMP8I528/1K45OdyjE+JMT2m3ZOg+9ibrfdAiehdUpNnPiEnY6R0IOqQ2MY96MOR49od4lfW
CTyWCoZIWDb2g8JuqrWcsVWsYzjz+bGzRoNmZz6iTr+WYiEPMeUgZwafHmYzvltA/HcltW9s0T9m
D/Fh1bVbx92/rRS2SJm/pXDBWPgQfAu0DFRFHLQL+W0xixqS6aDdyWkgEZIXGltvW7WhPytCJtW3
72pHdNfra8tzaLo/XYUBInq13Ii/4McmsvNWNQO83Wb8C+OdKZpZiCDvZqKOl/aEPyk55u7wY448
QBOuwQ1VfxmYVQG/fhiO3E6xeM4Keu0p7s7sWbSOykWf4RFkWmNBEffeRlg5FeyQTd75rxBFnv1s
/aiHl9iD4Kasd1x0X4Pbmxu35nrtap1H4rT3lqCiqUtLIMA4uzkbsUPnDT9jn9mB4UhUnHPyRKI1
2ONvTwGyJjHL5+Nn/TgnZEzbJGqW61c98K+xRPmo7s37ALoJf1DZen8sDbcZQeS1l32T34WZThRw
W9fT7A2sXJdrn2sHk1Y3MGLzrXaXfzF7lK01Qaldix1b/B+0OZAKYu1m68szk+gr9MNAtSsOv/Hb
XnbJPQKaNaN0CR2u+7baTpghrTlhmrNybeiAhofHsdNfWdRRN9w9thb4H1ruU4GaELnKnzHpfgo/
u6bVn3ZdI/Z2Efjt3ITPqBfTQwY7DxpU9lnEdjTrVO0pk8JNCfisUstRNCuSVzNY3IzvwlMy2WRs
yihPOgcIRHb23JV1inrowK1RPw54a1eM0d0nnJ4rWaJw9EyvwesJOdIRXzy3UdQaeLZbrT3IsrAD
u03/Yj97J4qD6eLA1DOZ4mux9A9eNjBP+uMIYBZZXdKkMF7GSuhZ9quezHtmzj7efHWaEkYTYoqU
Rwszt2xgViPb4FPBe/+dpAuAyWxiRCcBmow+cewD6WkzKIehhNlIIlIAceMb49rLsrZ/JjiQI/cy
nZBa28C0gf0CiRE4HjZebkcIGIA2jC51sUcTTVMEro2jiXgAIP5plDsa5I6JKXnJc2uxNdyJvv5k
INwx+/ZkNeafcRTD1mdSXKDOqnrre8nqswUbervQS+t3H1syhFmdEjrJm0ei2C4fwIUmKeC8DInT
kO0ytf5BVAk7e/Sjrpr3QzHfplJCSB1OjesxxeihhiBaPsE+mODLaxhN9dtgOy9L90rD+wRCeOeY
aOVNPJwFIxFQ0/LSMMjY2CanBXnIXUDmDm6Vet2vlXhwBufLGE0CKM2vhOYcX8vGMFhv5fODmRcX
u2C+4RSPzL4JYmPZ34/am0ZpzPY1Yt8fxb6iz9Ht8zSrC2aVdMuBiWV0IqF3md9T5e7itjo3TVJB
eUWzpufrsWiG96YEblvZHofnH4Yr27nCWNoI4E/zrDMaA3/KxC+7jh6u9qJeIt1qj9kCbMHIaXaa
Vg+NlrmLPfPTFt2Jg5UFd0fUd+zkzNPMkM3IrbGh7pQkHNuriFTrnBXxgwDrKJkdscf5F3fsB1aF
8VfFgM3dbnpo0wK+R3ImsOvoec0VZ+yT/cY6MKpFcc0X8wEg6EYp+QoxiOXHmuwM1kCept2I8fN2
OTt9Nv60YcwF1onb0vqqqTKYKTjEhXXLQU/VQaFDx/sClAyan+wKGB1+/tckhKyx+ruJKaQDCVRq
A8rzz8yK9qPb/xQMTLYzg79cdodaEc9GjgkRnZRGSJ9zjOWz87VyaEuNaeiif83rCBWapIbAzFcK
3iIQS0nUs3YhVvHHSpvHpLNuOa74PvHPaalRMdxHvD3IeAr/e4poKz3iJdKDJ/j4rHgGolE7l7Lp
ml3eQiOi+cBvbjwNy/BNhQPCytQFkkxMzyyC5w2qIcAxa/6p993JpTyIy5esXW4E24Jh8TfmnYyZ
OZKkDvvT57Mfx+KStkY4BMy+MEsDzfB1HNkMqA2L0WIjw6wZ31FjPxVEt07CO0nCjjYwbgJ7cumo
uwfDnI8L+8UdQoBpA8mf/QTsIIBjZHnu8qVlb8cxogGFh4cMUgVpQGmcEeLgohRk7hUMC6e5esl9
7WwiNN9kLUHQWvMFZ6ALWpVCLcOWT0uOdf80qCLeIC14TCw2d2n/NBTj0XUIGmxB+1pUKVrp3pSw
3jtzpV/P/qYOUgKWitsRLtASu+epHyn4fJ57VvLReHSaPderzFgXtuZ/Ez2/xyXb1iHSim3RWLdO
Zj/gN0Zu0Vj3L5bWXDWxliE4+0vByZo116GXAL5WEoqnGpKUH5UYSfKFeTMihfuRTPYP1UUpN4yv
otZa7sP0f47yx8P90dW6cDBSpj012PvNKDoOzNZ9sV2H6bQe4mIdqQDc8/2sdkvtXGT+qwOlhU3G
j5bbP9K0XhtZJAHNWKgrcRqL6Sm/45u80djmC8U8tGL4gxzApaguXPkvkuqB+vdx4mIeVyvIzMey
BsjkLmLc2PrNnnDMWmqlsuPGQ2f9oiMDTHvxl/hoQrGF3gQ5+CDiUgsIKHMRVu/k8nwi6Wmo19fD
vIoLBdx+qpgL1UCKkFhhxa6Sv0s3/gNNVs7P89we/cIWuy4XTzq8lSWmWFgGdmvN8kqgRr3p4ABP
JUVI6cE5mfMmYrLLnH4xzigx9kQa8FYuL7P5NCgDiUyBWbujgoMZ9I6rp9uwT0EYQbtMfCMCNkpj
F01XkiDDSYHxY6SmTHHOuWy+hrTN9pldNKcsMZqTtoI7xv5/TynzUSesO//sTMYDzJkihNe4a3z0
F1r3vQ6OQUxm95Wr9G+51mz37K+pXFkK9dtUFUdyAqkS2uoxHyCJVjZjlNH78v8ss+7tY9rjjVs9
GrPqT2XsHjKcddffF1Ku221v5dGEaX2rucyQyQRh3UaWbTjXSKjSOBsDoAsEiYP0jYaR83hD9p8P
JZqX2DQPDVv+0Oi8WwaMMRh6ju3OhW/5Mo2xs0fLWiNvqh0SIobY3JiOqvYMMfRe0aKwckOluxQH
I/thnuFe4sHmpC5ZUybedaxeyqX1LmiyvWviwwGsrKTbTelRymo45eweBpMqutIW9md1H0oFcmAe
kVlL6X70Y/WuJ7XHXYburSKHJfEy8lg8A5oT5UEFNmZb6fm4WZxl7zRgvBpgM80CQlpjVAf1AV+I
h6oPbR71DVVJRhrn4u8XAu1gk1ss05VGD5PMgDh5LAL/0kEfInaajOHByoG1xktJXpHR/PFEIQ91
Jg+INCsqyfWQrzWj3ExtISIPFyOhnyQPDkNFcmi7uN9LwHsb1cb3zaf25HX/khS8vg9HMxPkYbLm
3bksL/DYlSeb7nOzZGZ7j3IMHLOnm/buQHMnlqd2zttDGmtaVKF73ajZZSwkeTLl6iluqFsS5glx
8m/0WoIW1BqgKqT9nur3RZsCUpLtsDzy+PyZ3LYPW2XcR/fMifPMDCdKYNuAhoClUGN4t/xXGMii
04rRYA5kmkkw3R4rtz0BbwXaigdNVB7FPzv1tKd9T+w+LG33b5XHf/2K/rC2UvnST335wAr2Qq32
2cmCOQ+BYpTWvRHFpvW3SNunfLCPQPe4F/0qCzAg7tyhzp40j9C0hbzN7NstSLv3jNilZ1faocwr
SmcuxgvZM3kvtaAfCK52chA2ICLa5TWbEOs1MBkNmA+Hxs4iWbxqCNtfZD4SuFXU+wWI6bvpaRbj
SmMOZy8jKmFRIVHJgHmSyoAnd65oxoCtO6SS+kdZW1/Wnf6FfDOwzPZAublz9CVs+2F6yGeqGE8p
7xsDWIbuWh9DqyQfmplm0zrNDi4hqt7aYgBTTLvK6J59mRnbUfHmLRBhcm35QtIwrk3xPRtNSYji
KI82Ph9dCvFUJvELSR6E61h4PTnSIUcK1d6ctEujiavG07isSwH0jQLT3rd0A0n96Kbpp1YgObCX
WWPvqvyDnZhyj1bnaPtFaPfdf31KckivEeGFypomsQKadRgMUjE8J2oEiVyAlvjk1gdc+iQNzeuF
K/xxoHbb1/UoqFd0QMtODFckXvPHmQw6ZsHx+6S6bcEeYXsPKVpM7YVbWScMZSWIyhdXl6tjNxvO
s154lIKxFhXlSqpJXvlPzOWYD92/UmMKYMu0HxIvhlamGRdNUPPP+rzxB6k9svOgEZ8AjVQw4dZG
sTVUiRO4UIxuiyRHaSVHjCF7bx2T0cQbroEVXtbxmKVrVHtF2PlxfUCCjcnSKLmDGsEcirq0nmJw
tlU1HJZW809x7rH3TE1AOKTA0Cot82lc+iLS6qE5WN5iX5aV91DTWvYxqwlDqtV3vmFqz7kiZY0N
NxkfAgB5TySMsaAKIWz6T9Ob7aNbjIiTGGin6X/6Kk4NwHlCdu6XcaqD3KarQmX5SgQUEGQewwZF
598MFNqmN8filZyQ1oDOJY22fmISUwZ8GvUtbj2iMTV5LsqYvsCjxvdbgctzGfWDA74oamXBZlxk
xrEisytiyfXVezDdusXJLkSqFKHrTOZVcxAi6qNHQNJAJAtiw/apJLgZdCNAfuXWhEqocZtNODsZ
+eV7rQSk45Oy9Jn99nV2u7Knt28tPdGJdj6EaNz/uHAfa5w8/5x45KcAz8fA63nFqrg1zbdUb+cU
jRUxzpbLmCkGG9CODKXTYYUOlfwHRNz7TO6QHiTP8r1IIK0syCF2XmzF0LcgsLGQF7Bma5L4BjLL
Cgy7qEP7k2cmNegfSUgzmL/aVtXGRpK5Q2S2I9gsP9J0B0MXT8cOzBNHATql2KkoEZv1NE3zeoJF
9SPtDm5yJtfo9wV+cqsQ7Lt29dIDttm0o7RQJEhQbui7pnttwtRYWFzouSkiHYq7D5xaivqar2sZ
MdX5vy//+2utY38LOZX73z/RL/MKuFZefDQNLMpLLz5BWy+YSOEKYvgEMX2KJDT9CFnrFDWJ0x0r
6ez6XLABN/Vp54H5i1ytbyId3QZxhqQEY6sojT2D7ozrNjAXVgOOTOLjkHHt2naFlsf+q3VIRYzW
Pfy+eXXtB0lTeQd5fytXuLdbVtZiOxWJbR0021aHjGiozGzmKLm/ZEmlE7z0vJqVT6MK7PX3K4pJ
eMych3tHCNIQoP/9fkK/X/1+b5JPsOL4p//9PaJjag5NnwGesLAmiTqLMj1Oo2GdskjQWzE8HwGR
uQPLX9tixJ3+U07X7hnmM0Yw9DT6/aprajTuOZrwrn9BKJWcJ01s8JWwxO7/emPOGq6OBfWYgI41
zu65sqiyvYGwWewxr7HQozIFpGcV5qvAcwQ+v83p6k0UeXVOChO4JitIpJfDm+Wlug8W8xn4lcG5
aWcF2wvBzB3MXURQWebZ+UWYFjJczTX39b3xF5MexKpbz4j9lU4T2jSGwFTvI0C/h/tB/t9Ojgfd
b2KBFupO9pO5iXMeJDXr71dZh/x/NBhIpyrfZolGfiN6Lb327kMpdzZODjsgNoYpi7ws2/0mddZ8
kJu1z4u9M/ePjOLYKHkrl1rPFpGbP0OuNMUXvQIxSShEuSu15K9XrFe7H/OwcdtAQ3e5zcuGpm/s
zwjrGRxZsRcWiDJZw2jOk9vboK5alirKGaM0JUmkLgguWOz1z5LoJUOPrrxYU7KvBwItGUAM555N
dTir+H1FLF3REwZJ5v2A2DaPKtG2hICF/erwM5FEwrZLdKGlt/be5Tn8iXkoKvQieRkJarzMKROr
YSLSVWuamt9A8p/NJtNti2g8B0/GMvzxp9x+c23VXFy3t+gSapItJ8+OnLZIg2qS7LdX3d2yYJ0+
+mSkv9Pal3x0nOsgDaSPhjV+NH5OVjFBWge32TT3P6lUsl9tIsQ2RCFthNPE//KB5ChHHz57QmC2
JuRJMCDzg5WW62FNynLPdDJEAwL7dmQp7DJTusthz6YxazcUmAwo1+a7yx2GUEsXMXc20KfNn8R3
yj3ET3XqUOMEfgb1bxmNdyt+s6vR+JORwc42c8qO3sTYVsT2yXOqewIBYVaEKljnmOrt4OVWQWB6
lxPA7DUPqlT9FsTT8NdaP4zOeUsJG3rLK9bCXfUB6l1xatkUDlZx0BVRuIPX5eitxmIHfJNirPdG
5AFhnSR/lCKwok9q7pY7obPRdRxNEN+IDE01jv/MG3js9dAnEaJeukHMT2nBcSoQ5b7NPD516vJF
NMGyip9kyMabmROi1JSOR+gJsqRkyr7KB931pj9FL5mRFCXpo9Oa3voZw2OJvQY7GWdh67lR5yz6
8zrCiJvumouZd34lPMnJO/ZLXkR+KytrTx402alHFgMI3kzAiQN5yRup9x54TN+45Gltb/2m6v+U
fraz8xUcaEsMLHeATkQj/EholLTAJNa7Xj78ccDCbpJ5jYOl84fd2PPpLYvqg8Ew5C62vSlMYmMJ
pwpEcmNO25VJyeOUiiOPkOY1F0kWTbIB5tgO1Rf5A69e3D0Cyi6PyaCFFlGy+1XV3xPZN7Dg0fys
QPGYnvJAvP83fg7mVgSS8fr7qzwrWjrd5MOy4q9Y8QAq2xlM9P2larNLmfhVWGmFwSzfQz78P1/9
/trQjR9Yobzt0M+vbFL8izYzEuAyJm60ji/j/eX313+/Gq1a0PhPap+RuLsprTYJf3/Dz/X6YmWn
YjHzM83ntlgX2LOwbrf+5CWXOyWRoTPXaTrvG71hXgu9ZnEShWnEA33G+A9xXxnFdmudUou9rCG0
HYtCRFembRH2hj74ipasupYTfHeo0OOY9+HvL5f337ObgaVqP6PD62f6Vvq231/PXJf/5/4nivtX
teze13G4FbZUgQX8+fr7smLzpKb0ioVzm5Iup29uh11r8A9ouvem9serTejCdRqa//+Vh3tiJ3V/
2HrpR9Gmj8IV8CeZhx2UZ1xHoRjjUDLv05RbojcAY8uZSM2+TMI1a7VnAhPLiHo7WDFjbbof1ifW
sdWH22IRoG0W+q6p7CvDUKjRbrnHIj8+UmvFt14s4VBBHsTvbEaZhZioxz7GqFDkoa3LcTeP1Ox5
keekWbERi61bz1DQGjt/n4P2pLS1JtKGBDt0UzyKxp+fpXbDQfUVs5X2iQc5DuySURU/o7v1gilv
LEj988GZ1vkaa1PENJM8T1UHzUhbRl2gv5RTZz3ai7EzNUnmTJonR3jCHrEILa1tftM656lylARq
B3i/E4hY546Nk44ZJiiLe5LJVOYvNjmzEd5C9lNMe0NXA4iVgH57AXyLn3CLYKrb1LKSUULWMu1C
d0xWbh8//c+ZJGHp5HYEpbYVkscvTnR2iYPLMJxd4jBU20Sb6Zw0612il985Kl+vWSyco9UJiz4d
tqKfo7NtZ0YOdbFcMxNNUWEs33av648ixQ0Mu+a82ty/va59+/V85XsPj4MwmYtUxiO1hxcU6MjQ
FTLE11l3jT20Xa9ru7chc9CAJe3ORqq8N0f8C9B4yKD+IeQQnR/zx9dCFXUwue58qWt7ZJXBNtCa
yNwo2ue8z77u+PetnxQrsoNKDwka8Lpl/DcCcIGKORdRNVqAK6uswAXRktQFSHBUbf04SgjODXX9
CWyyuVOMfEiJ9O1Ts9jth486tZBW/1YBuj4IfA3FKkLdlpFM0YEgnOiCRmvnZ9s8ymGeAr/TAfnk
pvFYdv1wzEwKKZ0tUJim6gcS++fipdSs5DAESVnsLSJ+yL9pRNgohvdqlpj7quKqm+wwF384Tr2r
iNjsVVCxX9xWFeEjg+bMZO25j8qe5Mmeum7TrgNbSDt/nj0zD6uBMGLA8hMDo0btvFZabN1j667U
tq6swZZr+S6ganqE6UUoHmSp3XO1iArV5bOahuUyGZ24TvroHGJj/fr9r7yQJvIT8V05xnod7n9g
tIWHnq3q2OPxa6gnjPN9gJXLuT9MS41KbtvjFtv2M9oYeKHstN+IBXX2S8EZzlIM6HfuSfOam667
pRz4tMsa8KYHhz8eiP/z8FDGLT+QlZn/mWnDDnrxsalUh0bPLY5yGJZpZnQBLHt0x3V3KSti+6iB
+qszu2RAaPTupCioWMZHgs2WhwxTFwRR5kSlSepYsyY6V/SQHOfZ+dCpSx2m33hTZERtSN2difbq
mrK9VrhNMbb5r0U3BU7MKiBpnBelxhARcrWbWV42uqpvjWJbT3HkhAJP39VdZU/XxCwU20lEEmhk
tITqLL72mY3zP29lZzwUzrsPvlPLmUmnup2f4ztxH5erRWELjbLBGjeUa06zTIyxx7W6UXkeB2OJ
9nBGvwkKtiuvdnx/FNqVfkXNIwg+XSaiQYJ4Hdv3z2520ms5YNPGLO7f4n56EUDh9sbcdnuiU4kW
1GzuvGFq93M/MR8UhX/U44kCsBDvnnypMtm+YfRwuuIhr8W/ifSq99lry4OprTqaRA1K/zS+Ox5C
UKTA1onmukUZu05HGS8nPJnrE/HM5hMXDbYZez4PAm9DOg3VSdYsalXGskcqTr+1dwaY95z0OO3K
yNQW87YO7pvNla6tNaxny1oe+qH5Dy/X/MY9yDcXoTN2Lq4lGL4SOBXZex4Q4i5teF4oKyI1oW/7
/t1nIgKHFE2VP2ATnJx1LzD57lcEPqGWdPmHljPx9hDf6ISEbHWUqs+izcIBz0mgsA0ydGa42WeI
rnISEE66qFwCN7N4O2S/Kexp+cHo/W4+ZOc7WV7UsDjAOY2eH0hX+VFM+IS8lV0BzFFQo7gkUX+K
z9wyu1sNiPV5mgGTsPFvnaR9TVued0OKg9QyvB1uINr6TFWRmUh4fj1bACvPL5ik0kVYb50e/n42
la02/shfXlm4g6XZ2BEY6nF7j8zaUexVG4tR2G7OWKYSx0GSH3N99vJ6qOZufGxb+bzMdvay2Ayc
PG84uLWh7TTFRxN31XBGLfDjxdhj6vunBWKQjCHXOSd+TfoZj4Mz5lLnkMrirTLwJRPRWnwkS+1t
xvvOfvFQPrdZ+T4aL3ADx4/UmGyEimM0tOTMJp1vvjsuj3Le/iMVA/J3tUwfFaZWS/PiV0XAcmim
+X94/e69L0mYrFX0gHYHBv3qEqHRdy7xouLZXmDZq3lxAk93atoiEoWs19UzNX703EOjHNeB3xRv
Tltquxk8NKGaXb4d8aqdf79zSqI1eTZHm2DPnQ+J9v5Zot11nT6AMV0fXNeT+6FWXegZ3G4JAqqq
e9PI7Hwkfds5lBXKQ39wLnrPXa2z5TgaHCh44QyMskMa5HBlPwhvBYxeqO2MqTfQ4bcy648/C9lM
N8P+m+iz/YAL+kNnu3wB14oOBejCe6rzB6XGOaBNMg4Xc2k/ZCFvorU8tLaEDK9ssk2lfU3S1D/k
KqcdpII95qQ+JM2h/LBZnioXOKQgE52OaNgod6oOlet9JepQ48h4XI3hX9kQZMG5QNSS7pMFGH9m
peccsiL7mbXp5rJoeBqa+w87Gt9W1yUX5iL+xod6s3eHsg7vRe8HvdNr2XEP9qix3SwZH3UGgt3i
zh++zWeyDuVLXHUoqiob55JhPgB1tp5ce7x0ALsjQtKBsfJTd+P3wHM7WFIuBeWJl2QVw2OzzJfC
5dBZ7pe917TyNq/9X0fK5QM18iiyKbCtzieMudY+sn4OrbUYdytiuxAm58KTj1QO2CDqAwD2it1w
0pgOEu3crjZvHtt3tTYvjU/jZ4ExCHWev6zt+PFz2/7nkRFODAISFeFyipPlMV0LLlqj1R6J9zUe
6ti3LpNFWlwjOAAmp1D7jkZ4Z1HDHnmKgpW3myZkJsGkHdy7l/oRw69hq2BVD+mUvJqLgBcAr+GM
cKUK/VgTVKPIeZ1Je++SGsZQighzFVz3GltntjLyrCDWb5b7T4flRyPawvDObNpumB2f8lnqHwnq
/ZAKBT0yFL8P5LGvHPYoW+iRCbJcmrvT803L/x91Z7LbOLd251sJMucBm01ucpB/IFG9ZFnuyvaE
qHLDvt9srz4PXUHO+U8QBAEyycQo1/e5bEvk5tus9axwfG1Ky90mTXTPQD1CpDqZr0GUPQblGNx+
HiF5wEMg6stPI8esyCoOXxRKqjUPB55WPXpm5tnsfgqLa6mJ9/qA2p9CIdxNSqGS4yFKW5ThoeFd
s2fW8Lq7JG/rGCGTmrtnHMnprp362Va5cwnpKFcFo+1Xl7tzg6GEJ7o5x4fMFNkmjTLCAuLpxQjD
5NSDCfALZW0dZiuPY/ElGtoQI4reW8gq259fBhBA3ROM6up3dJ/NwS5pkPBA/Pw4qT7yPJ62ehHZ
5zpmyG21fzjFGGuI11KTyQHx9ewXyBgp2d6mSF8zAL4kqQhvedLc26lXn8bEfZu9x6zC72nHNEQV
w4sNBlt7n+j2VRZFfu8Y6lEJsz3PSiA7aNIXBjTDs9YzNw977TpiNz/wjjo3b+7nVeJVT1ocZi/M
FHwT1Pe7FdWLmrAIztPWSyfEADbuCUgX82sys78Zof337hwdCGK+nwjZOup58xF3pH5k2FrHVvtS
KaZPO+VJN6JSKB1j3KkXuLZ0UVAv0D3I/uAG4SJ+y4mMzupXUsQemYk13wgTWSWh6HSTPHiccd+s
0lHmz9DsM3rdIbpzWnM6NBY351xVBN3OlJFDhLIq1jFmNNp9hsFjPUIFU7HwnhrZk5liyW83fW+k
yQ00K++xy7LHmJiQbQoVeW/mzPgTJ0NTYGTszTLWuyyu2dTFLiKifia6eqjWMXFeu6yrqhv967xW
eCRvruu9RHV23+lu/m3PzGVqWfyRGkh3uDKo6eI2PpDHQKgPq9IL+breXtJGYksRu5REm+sQ9s66
rptjLafkCWLBgymIgF/Z2SM1MEK5rvwouYFI+jUuLqvJW1xlnV+ayXTtEFaw/+kxgsnwyGQ/vQw2
rWarwG9MhlltxyRJEFL06TvOxXu8Fhbz0YyTp0Q91xgtxf2NE2B8MywNYaAzho+i0cin4Nl9qQbe
qA6GJcAE5XAOhOLiAgLBjaD6h1gAx6s8Hh514GIyHAjiq4jJYmmBiI8uWnNLvDVz9cmkvf+yG/3L
dOv8V+2q3Me88DzX+XCcVBzs0NXlRyXy/JIvLliJVeKR3YGFdK4lMtsrdLZbOAeUyZ6br55JpeL3
6ACvjlr0uzbYycG3aXgeCf2gZ6XtD1qrkJzDxLFHwzjWNmUlQd4Id3M4v82UjTydYiQ3xJ++yjn9
DRaFRBhzzPY5xxJ8foZKm8bE1fX386Ie0l0/GgSQUKhe9LILT8yBdxz3fDbBXFlxx8bkCqcmcKMk
vkuN4L72kz5vDgUAmP0o4k/ucu/y84HrKLhAMgk3Lg532tWZjbjykEtFk3YpZIEDp49LphIAPgyg
7JFU8pIJYmGwfCaS0i05DGMiji2HMP9bQ12vlTkBjkI/Y39b1XVKSoKH94uXWy22an7uv3+ZGE8p
c9sztEDCMlEgQg92LpHH48qPhqKgweNkiTTor92cV39/H7b88V2XZ/Gl754BKOAM1CJtk5hMKnqd
KZPRpg4O0QghFjqC7M7IE1oaAH2rvmksLJM8tdBIohBaovl+/pQNvDBdqL4FS9tNjt4ecZaW3v39
55c/BS0up8DTL6hQCHQtPRzKEQOUXi//x4ci5hXPGx7ASjffkJ4R2Dpj3q6r/LnlXdt2cVQfZ5Rk
8K3A+Wtzxgqrc5BatORbiMqmhG8S0q8VkhNlXMvZgO5PV3Qs2rj4+wHP54T/cYKDR2xfUWGzMxJK
KPpA2sgYHTljLIvdoIZImbHM8eeDMVgv5AJom3j5K0HwLkyBEL+tqzCBWsG6rLTwZCbBDi5IsBOd
W8Pb7zdJZtX6xu1B1GQlm8HIGY6OTch1JfPDeGcRf+yPIAVWtpt8ioKAS0JF88XiTjg3PvcAIdiP
WN51tw0OnFEQbBIYeedntcPKiJkdC0or8yhh61+siqej3TvtFnHsU+vUW1A4EUtm7C+tqwafstla
OYP9nKvx03anbk0AFM1WTptAzMY01Np64r0Dj1Z9Zg7DRdToDcbYHXKjjVnhsMb6Zu4ThsccTfXR
a8OXgLR16oE6pNzQLZhq4OmiqD4YRYJXu9JSP5+HhihETfoV74pZjNtQq9UWqNIh58UIzAC3jpn2
HHA54IMWlYxu5MXx50/lhDsH3ePyzrNkJpnJW3fOuNUKd96GQ3JDeVkf3RJbQe+6N2IUcaijeMfL
7uy5fwk16vMDyna1oB+EgeYKEhjUIQO6DcK/NQtgjKLL29/GWkVSTzj7jUAuVcRMtDSWi5zo05FQ
ygpLELnVTBxOGZCfrSnn55/3aWjltu2DYKdkel+IBAgCW+Ed5MK9ZekJI7P491hiBO5vk9SSoxo3
lezouAXxScIKT6EKSG3XBHGuMJuRsOTBnsNjMSpKNBjKMRhf2W38NIaGtZZyaPatoqSyNcPcs+0T
hNRxinP9JrigbYdueBYXD43brCegEcW4GTxBlknGQpNMjYk3ZMLNwI2UuQ8TU4xN6nrQHurpCGaF
xi1AoVcV3dFeJu0/f6o1g4VuH+wSSdYKZu0vpvSFL+qJngosYSjpLPiXsfCB27FLdJA/XwegA8Ls
mMPkcrg3sogq3yAdfpQVw8A4ODRyXKJtcWSgv+1DE6u4NR8K2f19f8cQ/VoSq+fMMOujaY+vpTCz
bZP+pEbmG+V2T0NQPaYpi2tRDSTfhYr5dT6mG1lsCk89a7lDU6Y3L87Yosofyi1XCW4wiwW7GcCH
5TDUV/SNag3KItt1lnZjOFueu9RCn2+yMWMf2Kxl3FQ3xGmnlChXXGHQK7IsJn4nLGlRvNzPHLRQ
3NwUL7R8tYdqX8/IgG5bIAWFA8ij1p6spH/Eza1v9NS6JvGeIgaLzkSZRUwg7BF88kOQykuohVez
m3iwREG4thrgDbZJDGKGqWhNE5GuhsFSe03jaahTsnLkyZOuZ2BauvBqZ9WlwMNx5PLeJB43a+kX
DfqsgJzHnPGdEWJUxMt5DLEm0ce0l1CUCJIUmSKg6vaLQsKiJ6X/6tFx2uOpaWjOSDicsnexhFqH
WLbdXDzw8DJWEfgCUrn1AklKBAYMrnE+5PZxIkhiNehiZC0di9OYn7reUHvHEM/Ige+6eEg3WGmw
wDjdBlVKv85lNjxoEUrhOSfwBbfg3pLehwGVJk37+muYh6fJIzBQijo9puQxMj1CFFWDy4AFhSpr
IKAWDoSp9su3sOnzsas74cEWJGrVCVoT3qe3Zvg9ojjgcYcGgKDYhxQBFB6Gi0lTt2vt54ZwzCCt
d4ElP5IQeomjShQZUNN2zO6IURh4E9X8BkQu2XX6TNda9sXxnx9ml8fU7EA3YxCFhN8qblkrdtpI
8FvAblk4zW8zzEuyoVDBrEqYMmuLoedawS47YopL/cEhdJen8LRVMn9EXMT9Zd9YMk+kh4kKmQ/P
RJV5kHThpq8TO8jXtKfjurfKAWHOylaWdqQoJnyPI7Vq+YyEKu1YG+4hCZt65zZXz5HYLF1+OZlY
yneTqudC6ihC22TXtN4h72JtR1IAb96Elz0VBTpr9KikIF7xacsdu6yQobb5MU7DsFEQxhbRts6y
hAi8spP9Cam5A2jtRAnurF3HbNY//x7a4IzrGJLHkCymOyjmG3ofdcrmLF5xsAYY8bluco9QwVRx
+MdTbCK6J7ir7KJVlJnPxjR9KECXjP77t5myd8vu8tbVlrFzE3RacuRYy3Hj/fxLJmJG1Ih1vEFb
/jQlEQbDKG7PhEohiPcgRA7gzne159wCB/mmTNSzl4xYnLFj0KqNztb0ht9tywwgsdWwSarZIRN+
OEgXo7Ddoz2eJ+qAFQ1vcHIwSQ2JGWOQ0T6GoGRm0ExPqkApl+L8WJVe9MyYi63M8iEs9GCbpPJJ
t9pkE9hzQ0n25OZxe4zKjwBd7xZhD47LxYkdm9N0+vlQs0ngzaAIVRnsJ4dQvVK9D3lgbtvCfitV
/8zCq9j1YepzsOqHIsHnl3tqPBl64x0H9Cyxi7wGWfyJMLBNnQADkHqEepsBwmHSEK1Z6XgqqhFR
59QezRYrkkjBaOBai1aDpZ3bAr9pIMN9iyi0z7ATR+E9ia6aNhJxrA6OXrt7TYfOkrmVuR1GQpzJ
oorXDZkbiAI9n0evs6PmGY4jfUdk4NXgN/+FKhltEPvS9YCMjouTnKysrw8lMcaYHNjlFKTQcuUi
4+zoj3MwiVsPAiCOpas55CPvLaUl87Hv3EwZzrSC8UNJc0tOrns2mQGcZjlFvuNpl3kesifPfEol
cq40cW30IFZzrYpdEoS3JKmN17mnH0oqEb24pJlTsnJM9XpfrDw0eFjjbaQcUC981E0kvg7nqp2J
2URvFZGyvupSjJyOct+drklPRuTwaqWYUVnyrpe41X1c4xeosg+dF3Q7jeMjhIYlONi9OdnwCVJd
8xvNXuUySs9FWf2eBtM7hmP/9gH3I1l3IZlWkiIbc0DBtyN7byW905zZ2s7I009aUx67BiPOlBhP
mAT3zGTechJz92H45UILXGWE3e2aPF3bHHhc8lwGidHH/uBGRM06DdNzY6yvaWQXQGDfhAOSZo51
G2AeEadhz6A5C8ynLpcxUXwwU4awvs7ZtwU9ZI8+9HPGtn6eDErxCt3uZvK+NTGVu34SDYFq9rTm
GOAYR69GwCwV1Lqk/0eXyaYizViopO4VCUB5ZJiloZpmxFPFFx7AzBuQsGxSLelPaWUi0OFxdmr6
9yLMOFWnHmGxA38fCIxEWIWZOmtSIiA9c9hW9f0gXuZSm++qAsXY6Ihtzjs/2DLxRc/OvAlRFxOo
XSfTb5Zif0SM57stM/eQRYgoc/czUNLb4v5AIONk9UAmDSZSTjecBRiMcgwFm5B2lQnO4m5zUjLu
dGwTWgVywwoAiY1LUEcfH7MYp/U0AXVw+vwS5h1uhciFkzXZj5Zl17TuvLcqKjGEWV5whwCFoO7M
fHJkr56GHG1ClTKaMiK1Q7SD/qJtDgp4JKV0fp/2+kemym5Pmnm4DWNO6059eQxSfPbwzd5OfNgC
azuVHnaxnMdKYH0WkdexSzZeaBAuHUHcMEWDtU5QAWP/5hkQQLv48ctVRpbBoxxiX2uImLdxjmwm
fTyCQiX5hdiKbWs3n7UNMpZph6+NibUqR2UhAiV5t1YZ1bDpkNZXfISxqa8cTJjrOeltP3X1aE1+
wgUrQXoB4sW4hh8uUrMFshaZjj17wD4il0TINPuKRZCdtND6EMFcQGtpz1h3mcFY3qbV5hNZpq34
YiSfrMhS9RlrrcuZAX0aYhZvYx7tLi8xGDcmqnnmwc3FxaG3T+NQmYzYDMwzU79rSXpdQ2iysYTA
shAzrt1YXPvwC+hudeW15VvjBFBG0uwUB5rWGQ/cTAyNRA7dnk4lnsh4zaFwQogiLrtyb0OsfWRT
yR2cYBYXgReso6S908jGWKvWeJ5US4wfg3s0FzqyforXSCsfVd9/i747InFa1UFUrJ0eQkUdGn5P
oUvONQKOyapvWh5czIiUQKeCCgY3Y72ETG7nzPozJW5NASOA1TuCPnbapWPcr4JaWP6cweeIwEH5
4eImUezMtvoQ3SwNa7Ao7gpTnXq2o6ve6uTG9prb5OZclQm2BTeM2IeHYbH2gvIiEoVKm5t9TR4r
SDaQDVhI7FuLB32vHPtbCs1v8xiN4+BF6zbAK9m/VeRK+UhsdhilycBm6QJ+yOfnBMxRYD5xWY7t
pnz48tw+uACmfw5rS9uHRfGqyvQOBjXQBgtbVY9ZMOGy9DsZMOOXRK2CqFjnRsmmX8w+rSEClqY6
IL9ajw2MWhCuJRbYYd7GtG2Ncr5TW5yTPkb17Xz3mAqvsQFXI7LSfTdXd4Ny9L3bUivO0xtFCai8
5obeCDO3hVig0Cy4aawWfc6ltUSkvG7FgPKL3jrPNcVZgsJyImjFL1mtbdyKQSIR28DlR8fwsUWU
ZsUzEgtmCpKqs7X8osLY5wzO1qEcdfaWc8s9jCUixdyMdfhXHBMxWSmbi4+yKSfgd9MU+ROkDsiK
RMlYRCnmcG7RwiEqizx8+0VIjZIkPlfb65RABPSSB9bIZPiGEuZhjuVslCPJnom1Ll2YhBWsGveU
Nu2L3YT7nOGTHyz+61Rvap8d2tWlbXDlAOAZNyBRyBBYBm3ZVt9yz31Po/ldmjoi0bk0kaok3H5z
wpXiExNLGy46wDO1A3imftQgMWwZEZfrYOr8oVbXuR5LPBFIAmruXth6vYb+lTJL82JjbcJ6OLKD
Xw6kEC0+jqXSDpx9oRnlsdEkKwScU35mlhMSHjvb5VBzd/8cHmHqeo0gtOD4oEwOaOOxGRB2Tdrx
V8QEBm8+dgyhd0wKzPmGHU/z9Si8FnPFrYe1jgkMmBMZechfZ62nCqwf83L2ndmrTqpxIW0GOpg4
s+P50sVfsnORwOH9FcL0CYM3jm6efRlWtbdKzDIZzihfYt5Op67dWE2LstN1v1E1BXeoKDjA4z5+
ryyNB96xBd/w4mXha2dnvx0lD0NvT7cgvXGYcqP90cfauCRiVeaVvUf2ghduORCmKAObFBEwwqyJ
Ysirq4dwu4QiDZX35qF5fqk4ZvD8qpXdDeIB38MHzVtAZLIVnapWN5hu8vzvMCVdczf7bTjlk9XW
cHD6nsDyoYn8cu62el9jg/A04zqV4omV45+q8V69HAYofkW6uiDystOogmRHtOrDPCicNxHN8mSH
mwln80pLxhbJdXVIfzxu0IehCbD6cZIw3fNyIshxKuppIDVSDFdjRpGLWfsiqybcESGuKbzGlZG/
GWlyP+YFAxT9wECgvSRugBiLuKNdbdr5qxsiZqXMTy1cNLHu4Avz7qNS+2bXvfdS4a0q0Ovrvkvu
vW7pnpWQq6LkfwwNLF0x0S5AlQ+zO4O/wX1sD7zQElsMNAYkPjiqliaIWHqv6U44btQOzgMPpmY3
VTNAJy4pNXpItwbrWVEjqCQYVq4OBMWI01+IMMYHaIiMWgY4D2EU7DOvJU86bphvtFrt6+PC2cHz
UcqMwSkJ4liuPOPQeuCvWHcB/e6JtqWl2rQZRHbEtdm+6DGQ9NTeOm3H2i7DQ1xazd6rum3XUf7M
GKuJRz8iSm/n4KrMoWI7oo/bKu0NfLzoyqxsfKNOFisCq+m2Z/02huzuozzZtakB63HApLRcySnJ
7l5c8ZxvfIm+nUYWJApDLX5Ozs8s9cSGad++twwkRPXMxXuqtYeciIxDaHS3kJJ81SXufkIcjjVO
vpvBR+3QgPUSCJeFiT9Skt36cjgamJNG9kuQ6eerkc6fo16Nfo1FLtJnbvO8/G5hyRnZAstA0x5O
CPbsmLkQK6sAp0xBfweRsLSIgo3kvdFU42p2+6OFOLxU3rflsMi1b/EkHmzmH77bg3ebiz+6whkv
z030pWIkvzkSll3ThdFBueVDF0p+7aJ10COkxf6HK0Fee27oCKu06gBqwe+ivl87iawOaAE+qxAb
HO/lHZo7G6VfmDy5WYMuudcin1jX6M5CX92GnvlLR6u9nWK01XDh7fsSfCeeRG5vbWiLE2EYHe6P
B2taEqp0F2k57vtrVk3pCc2aBy5kqDamZVAkZph0miHYBzHF25yhBSv4lp5V1NeC3aPR6fq+DD0f
4Z7YslSGcmM96DCKSlU+IhtnG9lkN6ze55G5nsU73AvMQ2XCxBShcrnmMrcBlEFke7SxCAbUEbrX
LIFO2E0nQnaTxb61yKqTlnkKYjJHLEPk4RmbKnpOzfytb2JlPgtv5Jzs8Uz2+GFYm2/CCDm8yB62
ZeHSjTEqCQV6nXTuKJBHvOO4thkF1y+z4zJxaW1uC+wKtG3MpoM0XqnlB+yxxW8J7szm+D6xe8kv
s4D0AaRuy7FhvSDmt3Bux7Onax5iaIM5X9Y5B9dOLylL2XXlxBMFZ2ScK1Wvs1zU+3BqT7oRnGVF
TyEdiC99X8JgjmeoiFU0rcoqYcw1MW6ADMjkI3bF3sX4vAq1ARmAYNQRwnFS4WVMjbe2qqFGsf50
5TN6WXq7Cu9k/Cc0Gnw1EgVMFjd/JvdxMPJ3mdnfTFEpc+3pSEwC8A47fQ8MLIbC3KamwfPcWhQ3
S7M7BHNGpDISilj3VmX7J6q6Y6491pSYTKzHae+08h1t/olAEmK/EWkCv+GMQzWPrhuQa1SJboPb
VR1iYb6ZVX4VDQ56XHUbBhUk0te0MZmbPLtRdIbcdnDl+JDL6vjeaYaO5HUYuXQ5UFsDDZtXk/HN
KGFAavFghR57wrnepkjbV6EVXBqqw02QYjYLRFYcosa7a5Xt4BdC+svEL9rYU44hhmdGaJ4cLrq1
V1Ugo0OIh7UgdaGv9oEYdi6UBsyp8pYOnyUxCnTAOGaHsglPI7kZ287RP3kaJkzXvGYDBKrZ6Vll
rheAl08egnHuDP3P7Dgt89VG2zHvhXWFrojjxgr9OMWPMBTaWZci9fWOF4QFrLerJncXkge+lh76
UT1NYFN540laCdMAUWyjMEh91UHsSaaBffo1t9p3EJOQzygNTw231aod2seWrUyDXHBTRnZOWdRv
mx4rTYulFOIbohXiWya7OMX22Qxugd2+znZRwtPJvZMI35iFss2lbC5zLzxJ1X64qt+gLa4O41R3
WzK8eZbnUle/gh7YGdSzUo1L7w3Q16jBOsgUWR1nx1yAHSW3ynwwI/Ey6IommyGoMJvnbGiHQzHE
+7ocrk0nXt28LvdGadjreg72CTFFfuHlxRpnmRTT6CewcbIQ4l3aoAtlEpjnQXtABIC1w07Kvd30
Ym2DSx8mtmaqmC6RGo9swFZ1KQ/E8i0v4naIGWETGjaRxtAwx9YVjNEA0xJcBW5Z84BBkTk3bYSu
KvtmAM4Q9g46MMC3tGfnMQRPJtbgbSK7C+XX6zB+ND0P3SrL5l04DFBe1FYHhbJGguGgwxanGYUB
MsZq7+AddxKcR6FNmJMWF6AEa3U3RgS4FGWq6CXAKmK+ihEzzOn8JPpdwCZrixzvD9eXufKS9Ltm
IgvKNrjPNAefHA5VXsMgYQv63qm8ukLEjVdG0f5N+/p/HT5wiT+asi2/1b+nD/xr+MB//P8UUWAR
7fS/z/k+dcPvWP2njILlC/5mFAj3H8Jisum65MMZtmkRRPA3o0A4/7Bt9kW6cAXbESzm/zOiwNL/
oUMuFZ4hTTKmHIuIhJbdZkQ8uPsP2xSO7jqGqTu6LeT/VUSB828JBaQS2Hwj3SXtWzj8dP8WXMSw
rWYag5PHrjt9X1cFfNaJkxug994a2Vdy5LEMah1jONKpSh/7P5U6njET9lK404MkRD5Y98cQ4+dR
Ing7/vPTuiM8VLcA5uGh4Qn+g33Mlv/77+dB7rAqrJ2dZsODJJuXo6FRLCS5PzEjvSJ7INou3fQW
KUNy8oyHYpQHvM3UyFjrN54pnjySAHDfkPFVghGB8Dv6sesxl44ZS4x2JTZzGiz0YU4INnswsLrs
yy6MdHmCEurypOeBt0kx/+5C1lGj5j5hCy985mSfToDFL6/YENlhO/nwJvKbnasL9fu+4YF3+/nB
Cs99Ganm3roa0F4Dw6SwKTeqReXe1nTXRebsbB6ya9Uw2Gh1+MShru7HCiGoq9uXpIi7vRm2t4gT
8BBOEzPZyURjrQc8TGjHxlR70gyxG9ISYyPreJKEeqgCwo/00TeNsD/bao62PUsnFnKmvFeMHseo
C3Z5OR66Ailwm4jsFDV2vtCwM6RRgTir2uJhFfZHpxjukbo3YCyZP6JWcleRN7doCA8J/oYHUxkn
05qSnegxwiEvnu7MLJG+TJfsKKw7txmWW+vypC7jbZfUjyXNDYaPswTmMGXW/se14LXTjDGjoJGO
+0u4LE/nPRQAtfFygMBa9zDlH0guFssuthOttqm40zAhQx2ht8ueJOsVcRluumc14K2Hge2CZF1U
Nwg8FbZ+Jo0shrzh0iiEvkp/gU9DM6s8tlGs+1qbzclIvxwG2XOULJtSF49kZlHmxfW5SmD21HXf
IPBLfddxsvMkzdd5shlHNwxze0GrnanWTyH80dW3byFCznaBNSNVm6Fs4xM3uvwlrcAFDQgjSAFa
fpNFZtGHrrZJp7bb6MEx9cZuacUZGtZ8tZEhH+7DbE/WwQZrJiZWllF8qb41BOMN2zauGhBFhQ9g
X9v2r2le1vLzokqpm5MV2yY7yCbfDGQIEW4PE6FfsAPFGJT+OKHEgsgUbb3KPReNgHRY6oyg2fdu
cKGmx8wWF4ObesdM/b5wjWgblIW5sibUgFxdGosNgDZjNaTrkDSRl9CrzvEsn/pIOPf4hLwDKdz0
+jVdgfLKW9AIA12MYsOmk3MwJ412dHFB7hoJC8TpjlOLRoHNUu87RjWvANbbYJjOPx+q2tsI2c53
rjHLXVx1w8omHaJHo/eIBmDrugLXF1r1E6DTF1mTVdGBxQ+buILV6EcQKhLngw2wWiYD1oH9HpTN
VKKe9rQROK4LpKg05/0K2zGQMz3lmnQz7PiZju55oSpnH7ExEU/hCMqcYVKs3eFVMq1B5lJ0EHBY
m/xcByoJma2jRPBSRQQLQ1FaokUQaP7u+4r0b2PImIB3a8ek7BrzWpx7d0KYr+BtSocfx2QMB1hK
v4fx4F4qVz5gz8UIn5sJKEsaTuTwNQcVqUqUAW2IQzmkbA2EW2xEsSyp4bGLAQ0siCSlGPyGS3+U
WKScTm6yhoiLj3u25DaoIEN3XbsGV+ruhpIiwcJiupLQtnFUel/oDB8D3vJb6CW0f7p1x2RbHbXA
/Ca4arhZcT3eGiw8Bx5qqDmWv8ML8FnmAxaJsKf7sftoYfL2wJmy7lA5BZEIdYtWJ2qPWYNMiCAo
nVtspjMtyFXYO51zNBHj7qQm22PRoOqCbv2fPoyZwrLfPKAdSLZ5aoZrj2TZjaqM6p5fBfot5w7V
910W9NXdPJvEGcB24RoaQXE71M4mI9fM8OwzQFvrkCaEXSvWAZukQ20obFaOIwCOSrj2G1oCP1a4
bM0w0vfYS8XRbgdzPbkftVDZrRvS/NZmLjRuHCY7u5LGCWv9Y7v8x1rSkFQeWveRtJXW7Oz3JmUO
6pq/kYg1G+6U/uhqPb0OBvrAK4D8zeStjLWp3Ux4lQ+pW6cQSzx7V5nuqc8K+1eCaGOeu+Szs8zf
tqyS53SEmxKHaAuyeo7XsnH02xzhdqr0zjsQ8berlJXd5RqMEVXOKKJtz9twsXPpKAdvUmscS6zS
HQpdfguHEUm96TnAXqtmuIvM/JrnsXhMS8SuvQ3nj6QYccD4pHaasYiMTfVczmzYJqGnXxrhJO5k
fY79KPAYlTV92Sjx2ZjFYZA4NKTiu9uW0a1MW+7omW2eNdI8yFDgzwBZf2XUfFKAgPnyJn3iC6uN
Vdu3hlvKy2uMK87UKTLnZ4ihqRsgHnHM9c+n6ORJfQtRv2AKa89cUoOCubQsHpcPhkcAoz56O9RT
ak1FxdY+jgdzS/3VnoOBTSQWEHeTR0qdk9lUZyD5X2T3sRVc/irHznDGGYfIjO11OFuA9wTs83PP
zweMkOokiLOz0IF6YxDut9iSujMGEZde+OejKMZkn4rx5i0dr6EkPPTeis/AzkM5Be9NFtx5rOJM
yv83rZJQsEfo6FFN3xSrMkGPLI11QvD1Jektc21KCUpMc14CtJuM/HAdS3Awu7SnJ3A1s7/0bXtf
8c7nTRUeao0VXiqiY9WYYufqZ50X8IzKrCVTetmWYtk/6ejpAHHMnV84o45+bBg3c1Xe64HggVoY
xikfiW108NshvL8BCNlbMJ+4ve9jozc2EZCl6ziE8yYu8PxTrZBUEhjO8V/K6vu/4aP/pejy+zIu
VPvf/qtYUk7/NZOUcC6qVdtjSmRKR5j/VqzqKTfznPFjYiHDOOOQX6blNxaDA8+t8txwA21j1Eic
hAs3Pu33VQhsUM+0aZtnwW8OBTaD3Xg2Q4UAE6W8q1CF9pLAAtsb9pCUXnFyvmswm2Hf5el5GNh2
ZCo/JpK6RzjapVJYGFRbMxCLgBYMALYRuUYhHA69bO6peUJ/mEEKzfJ1JsDP17z8/xjOav+vZbvj
6hY1u+VJ6B1Lg/Cv2bPNaNthrGKwJ06pzj2V3s4qHaxenrYVVcDT1CaH2k41Nvk4uPaDg1FEgLtd
NAsjQDjtLqVK88fRiq8qXCxXg7HXcl17i2AXmpKkClS2wU5jwX0fE30xC+RSULnehzJBiEh4JdLq
8vdPBWNbVESFhb1XG4F+yMRh9CKYI5pu8k0hJu/6wH1Ba5SdO0gItmMVu9Jd3AbmNkwta9f3hn3E
tXs167R8iwccSZH31LUdKsa4K+6MOvoll4k1y/jeL9kVXye9Y3xvxKfKVcW2tnA0zXC/71vvtwrH
TRAp548Ii5urSSY6aculngZELLGRAGBsg50iBgWFKyX9zPC6L3YFgHtyrlvqi+QcLwj/Wo+6vTUR
gtu3xsqcZlr2/07deS03rmXZ9lfqB1ABt2EeGwA9KYoylHlBJCUlvPf4+h5gVp+qergd0S8dt0/m
QZIiRbsB7L3WnGOq4mFhZJi2DOkdAbg80a6OTGxhS5nQTojnyCnIL5h2R5K0m9A1av095Kg6axJK
7mgiK2RlhRnbm0JPz6xcDJeuu6u2qDhJaXF1ViT7WH3Na3pJRjEiEZorKm6x2BRZ56+Mom8dZBMN
AmsIPn5fPcYorb06Sd785bO1QBvhbaHq2JZT49YyCAdEPDUeyvGtkspbSUu1znJ7I6nley04JgVw
6JFu6S+oQpDs8Zqh/98k/SG2R9tVzPApNIBuBabWI1ylmT+M1kMukvCUqUx3/OjDnEy6OhrSFI3S
WkC6CQRl3G+eOSv1Di0oSkhTfk6mn0zy6aED/r5OcXb6748RYkld/vdjhEUas64YKoUVuuPLnvMv
kXupgSKiH8LOm1rU/zWKTkc2w0eFrvKkExmZUZDNAqT2KHmpzaHeaKFtYtP1xqK2DqKfr5SEaKOY
FPPx5q1BEjyVqQgc1bY9IYglYSGAvsjvcPjN5YoTOARMLYAnuMDwOaOYc477WG1wxAb5VS2yD3sU
v9KWWaDdo5RT6OXU6ugYqnEEBonHryXjNCWhakDN4inC9hAcmMyS5G+FQwBtbEiAhKHoWjuuMyuv
Oc3g0e8sYn0STV/5qnpG5df+yYD+X6v3LE/0VZRTHQVh+/9H2qS6nFP+36Wc1+BX/v3rX0s591/4
U8rRxN9l6t46pRxbMWRlGXp/Sjmq/Xdhaqpu4y61bJ2pzF+lHP3v93FoW0JoumEQJ/tXKUdS/k7p
h2hHHk01TKQK/5NSjopN8N+GvqWw/jFUcsgtWVUsm6rTvw99yGUAmmL/yehm8EkDq9h5Vo51kf1I
hRyuGj0q136KDTvr7C9TQ5NnqOWbavXiamAWw0L4LMXlVszVhxqIgzUZZ1OzaBBp27ELfEehpYlG
V3PwcAK/ts0Xrd9Hc/lalZPiplP2a2hJBaGYRJDHRa3Sl7RFKaybzLQDFWF9bf0KDZvMcIBXsqz+
Tma1x5vbHdiDTKn6AoJ5hWiYeSFoAmRpymlAquIYWvnd9zvm3DctzW6WjccdV87gGLIK0socvvJa
isCWkCzLMz7RcL4YMquqWmJuODMVM+PiSc1QlSq4vQsVDPaom2viBfWuvRUNa/1ATYnv01lI2Oj/
WKa9a7m0yiIQBbJYSSN4wpKWY9FJ9SrEDrDzTQK1l3l4Kl6Hun5nxrdmovFT8bug/5Sj2rQ0N6w0
frA1AFYaBL1U7ifHlrFKxnq5QT2RO4gYdqKlwsHyeSbCA8SOFKSNh9DkU+3mL6WaH4ceUaRsWG/Z
SOPRH9pLl5CriAPP4KCk0P9sm2+8QZStK9tTxhweYtK/SPFNHxsTgwt5UvEkrzqQQU5o5Y8mpx0o
VJvIlKmEae8p/A7uVqxSP31eyKwyhCUlqR9gjLk4OJ+n6Jzmx0qxKTGFJVQ0kxNQ/zPA1QUVoawi
e2Dhbx5H3sgEytEpYHiOrV6CCWgKWEXlZxXYH5Q41Y019UiDInUTq/Yn2jaYHmj/gWY8GOC4YVsL
XJhAgUKTGUwKAh/gOmI625rtjSrs3QkTaLmPFgMmg3LlYzyAHKk/Wko2uKAvX0wLxyppL1iH5Jd+
xJMGpOKrWCbOfuHPGCs6sK/tcEy74FmdJ2Ov/7WxWIR7Ct4Op56RH8iF1aC6N+hOqm8ZEmkg3I1L
xI/M3mLJh8LWJtpFydZfJOF4FIkcF+qpDOXWtaqm5iyOk+ifm/vP/OWGaMSTBCULSm8y74DLFpsi
IoWo4NRPyYZTFB1wugw/I6KaaM5LyrIFEgJ4tsWM08ppFvG4tliZ7pfUCbe3XkqbtDHafRbF3f5+
6b7JF8n5jNUfHOwY0k6cNCcNaYIJgCj7Si/ZhOYiCctb9gRKlr61CGRmcnNQyj6FVjTTfr1vS3MG
k6HD0EEl6BGXcNS16aZWNDTHs7nINeWcV/tHodH7lQeYEgZnq7D0ny+sy/kW6O/uLbB73ig6eLjF
CepRRMxecKqbSZoZ69oMBKRvvZg1/npUmrf7K71vwH5UEAuXF32/TtR55Am8W0xJgtGzs/nIIfkX
uG4C69In3cxBLsZ+hnuI78heLEf3q4ne0Ggish5nlK5u7MI802KbPR1JEEaNrgcSzvGtWTZ+cI67
Czgpf9fUEFis2AT11qLeXzb3S/dNoMgj6YoAS+fZ+OrJLHQA7QLWLNCm38Mluzb5XbRh8ye5pA4I
bZOXxJTZEF7tTwBJ0I03CUSjsqKI3AbBsJcmdT2blrq1h+DHTzvackuZ5L6J6VTtFW0V9bO0AxOA
gnzZTMtj/vNqImsNMYADve2lGjMv1RhZ9sn86CpR70UHRxgRAs2lmFB7S8v34bK5X7oP7ZH03732
PYM79nAmhJQ0sLiSN4Q07UKLOEMfRls75ott20U36+sbevefvlCj9SR1zV5COrWDTGiFpr/u9OGd
PLB2N6PMrvxYXUUdHUscto+BhMHBrLRf6G/rnMJfLnlFCixtFmJm6IymV1jxIgOCbDMStHsQi7rJ
jhoigRnD9zGBPXbcNXr2XIYjmAhTaEBSuRRYaY7FSkkpg1FDY0psubl8NGAbbWpDPyKmDQj3uW+n
nKhYSPD8QMHMVktKs+WLA8dMM9si+wXxnE2wM0qBhkiEDDQEOcxkXP4XxTMZQ7FPgJp2kka5jmFo
psclO8YBEtrTaJfVnRRXp558ZAI+U69FUuDe8YJwgFNEVV23YklL6HCfP7QtTmDVpCVPWrTilVRd
c/2BOshGBJ22m/ATHxll8g50wEFvy8cU/fSuZE3hlSPHz1CbsVIZPgbjAvKEGJkGYNnwopQvz2py
8HAk77HPi3hncPGcCeNqkf/451qSRNbWVs0Ti4/4Miva7yBP4/3cPqcxZwwWmega9Xxjmv60qWUf
/YcZdGtRKgD3FbFVtSWdU8OYPREYZA2QTrElhPO868OgQooo5Sup4Itp9DKi/4xfPkVYscupfFpS
MxLhBxFyAA89l15TWsoDK1C3GDkzsvaEmBivlCkfN41iXjVI6l6hG1RtDezQ5cxMKAnGR6VopcME
8NSJFelScATHRCN9opXGOKiieBXGmerQuEuN5Jtg5lcaYKZXU3x1dIQU7NMyisMlqiApJuDisnkO
ILoTj2apRzDpWCOjfZukXqG0C19jrFbE4s7rPERSrgpByK+nUpKE11ZZaz1VO0dEIjoPCNGHGT2F
UYhvWUqBz4C8aNFWh7MpbTF7W2/MkGoab/0MML5DbOuMfoB0zPPRJRwaTkEYRjkrauq1zzSiJzq7
QspHLybon4aQ82oVUMoA9EiJftwWQBlkHf4tVgH8bIvYM2vGbRybZ7Mxi4Nqv8sNlrehsKMVonIv
lkGRiBHWvtyT7IsODG1VtFBtCaXlK6bk3GwtejQ1YVLeLJQv1ZfGU4tukGZd7rAUk1sjcEfM7ct6
lMYEqB2K3G2NjKtHMl6fItJuXlTJ3uLx2GV9Xj1w6B09oTfWVk6775Ig1wls625sxUaO0/Gs+rK2
Lnu4hzTcYg8uouZijLclmTGStxAd677Yha042jFwt64yX+UhStcNbAmnY2xSD1V/R5amrbSgiA5S
BbrGwr3fAHthgdgx7fIBK4DmOOr1MLmJBVeqqmiktER4u1rui7XR2Wc4+BrLORh62cLm6GXMH/4U
2OiKDWVHNm3m1vOS8R4+2Y31o/ha4mKF7BEJ1l+JX/wY4fxt5oJUXF9qD6hdSEFJmmCjQbfcR5m5
5QjIOlCrdnNFBVfgayOs1811rKA5Uxzw0tNZbvocyHUnuQxKjFkc7YviFEvaazlBRru3KNMR2loa
lE/qsLWXyIa87AKXsFmbUhIircgI4bPNerklX/G3Lo2EHzQsQREInvSa9MgovxZhDfAJNEaSEB2P
ctInhsVtdXUXkTfvFXl+TMJ2S5nzahCA7pCV9xXX5qE0LRhMTOuRqPTWptf1CkqfRWWFZBeYxTmk
syVxMZCzD9GmR8kOf8wmGhwJ38uqr0KanNoBsRsJNTrCdvpUcPZQK0ld9IzSag0FbN+pWrWeEvG9
kJ+q6J2PQJzHlupgZw3XumyJ6qvSN72JqGbooJWHnEVIH6fN6b6BO/OPS/erfmz3VLG14z9/jlmX
SaFaI9GOEC8rrXQLhGmuqPH8noK0e8qGaNjPYgMiLiGysLkwdYt2nDDe475+iexxOvlVuVeV2MQF
1zxCJrsRfeovfb0nNVlGf9rhPF02xMaAKLWzDhFlY5n7zG44oM8BZk6YldWmHkxq5EGAM1CVviwL
VrklIBsl7VdnDNpbnzQ/IOTLc61q741VvMjJCPneYj5HwhrgdusrHfN6q8WIvf16bjgK6w9U/4lL
UsajYAccEhWNtR5AdZaChBwDUnHxOB2Yx67IVCWqBx4iMbrYzw3zVmrxTVGKDbKcJ3n030YjPidk
pM6lfTFL/A+FCROvH9VP2BsllPmof+wCO3mAasdqK4nVTz+j7geTYRnMIR/1gge4b/4EvMv2b87S
PeFHxnAU8Uta4IHHw6iRNE8WRNOoL6OOsUWr+u+hsi5+3MpoF0giiF8D7FYH22gvVmWew2T6GNpa
2tLR7J26JN8qa3T4Y2oGuXJZiVkzc6DY341ScC0MPBxUb2YTKbCZ+KcYemDT0RJkyXoKjbg/ZXHe
HhX2ZJ2ToIHLfcrmX2gmG0icabPrcJ8Cr468QiKirsvkd3tOrM3M+Rs1+wJQRvilChklGfK2hCVQ
H77ajUjWU20PKCzTn0FTPiSqqnvRSykphCPWwgTBPMxUlBOgCZsz1VcIVgqKsjIZBJY1JJQaiyCp
mnVnqLRxXzTaVxyHsKELfJd26nMbzt2BuZarKg01vxj7et8kz2ZQA9hHZl1Hhc3woD86EJW5j6ys
dms7cuea/KUkj1ZM1nSiJcoDQ/dLLej/5KwwgdollmONxasyYKUhwM/jA0PSqmfa3go6e9VZJK9j
ViN3Otga0nzThW6sKj7HqvGP9sABVl0mEoaVrFtEVYe6knASqbnliWxYDZEmthVvD+O3QttWQCSo
rJry7RKalQ4bApCR1yW4T+f0SLinwVSlmbYSdHbCbAJ4aoWbhNHBx7ChWiFZ0BCydgmQZpfZZ5fP
mjs0iekGNmC6SbJOugo8NlYNasUgi6KCJjYUo7YqKwe93ZI/k1MTbmm+msg4oaRJDxRVHin+IkaB
SR5HJ6ORd7t6kEd2PX1XBnazM9G/rxo8ZV7RTZQZJj1wqaWvZJkIgNpA65bP9q6ieT7ImF3AjnY0
dOuSkaUGz0OJwNOioySNzA+LHFCKqkU4NOsHhI3ge339gKSYCJs8N9fMh/CZyOpFU83PWeCy0RF3
wo7NaTbzJpkATiUtka41H4KEaNsMMbKlLaQtQApJNgU7qRfbkTARj/IZsoV4OtHb5ZjdyqR/wEYA
ImuMqGEggquumbPoHrgpaKB+oNcvN1rafvgsbnn/mqeWZni0o+3cFRrSGZsCehIjBJeDLzhCuiPP
0xrjYLmy/JmjAfBGXKBe2iD4MStxwOxEr0JMMtjPiNCO6N1Uh+kXv8C0LX8au6y7dmHKUT/6yUk0
PKIX6nlQ/yE1v7ASVIbvZGMljkKnFNv22PU0s3F8yby2PmVfPe4K7CSruq/V7VzOphfUsicJ81OJ
cmOPQHw3FQpTeI4Xfha6Fi0Qxiz83zqz17rUvMoGL7Uyfkf53J77nkATI+AIlywmzIj2x34IpavS
J99SNxjXNA1eC2oju5GpluMTB0IiZZe9quXIBHw4WpIdHStOBl49IIidqt6t1ArsJO0YL4zoOpTl
9Dui9SEKNfklD7QCKU0OrwTRDBBMXAqb4mJxaTW2jX1KjaaHnG+M+7kB8SOkN9aaWLXSEjMBiPmh
hvmjYCOhrE3CfMCMEHsTlaeue7DiofMEGX2jaU8UEoZmyW0aD6S9jFuttpEut6hnEgsHDokxdj9a
HklO47Yzpk9hIMkngWSLQxRKVQ7kNg2wsdH2IX0qiTI3b5lV9fheFTOXNrwlUDmzifV90EA6TOOv
fATfFulDtxmHI5whcbhvgkr5xyVRCd2rCASnDgittB4sBWlVeczT7Hc+0yUgqreQ62bTp+1XOzTg
+nFXJ3K+xzmxsoZZOdw3CGOzVRly+LAR5RIfC6+DVPjT3VNvLamvQdl4qHUw9hYsBkWXvs6JTXwy
xZE8sjlaAJk7Txzljpk9ax7Jf9MNpxrKnLVERfAA3sUJ9eF5nvAC+EV8MEuzuVSJuNLMEe9+JDXr
JqqGTTWm4t2waUHXzJuTvoTmWC/8iCKBsdAH8bkj4QNh2rkqo+lcLBuR+++WEvkrdaIzB1itk/sP
nVD3nYlNblWjiPGmnLn4HDJ/VjNiujHN7f2uADvI4Y++ddnvohkp1UCOeIKXBNqSuWQptyEWY04+
Q5IqZEbixu1V3LiNoS+DZfxtm2m/f2yNiEqvNWZep3IAgGBkedjtmmfUGl5excFrCYgFfKlIyLcE
rqn0erNOKaVsykrqUGRUKi3F7pdJb/YRh+TwvMgL/LBP32WjY1oMMZOmCR5eOdjWEzOLPORAOiB/
Juaw+jKbZW5fIdSJ228EE+Wpzr6i0JCOEScr5pzaxTAHBAgCq7jxlFvtcejVh5Ke7mlmtrOZq/RX
26EfkLrgN97zB1V9KxKLlvnCSfDXWp7ICFmig1UXsPQz5D0IfakqmBcxau6YAFaCi+ijkYbfHKaX
NssASsbIiqcQEjCappVNG63sDPZi1q5dUksoxnMwzNTTFuyqSgFvxsPs+9K2ti2Y5Om3JUXkX5ay
706+HJ/wn8YnnHHf4+jjQMCmGjcZRh/TekGgpK1yM8ne+ri6IC2Q34fEOM5GdayGwetKnA8hVuaz
XhWP5IqTBW6KX1i1Llbwo5qWfVJQ8QXSFeti7lqE6c21TXrAUD7lZUPny6BaR58Rc8BYRCerUdh5
47Ok5F+6DftILPRxUjg7W5qOfRE44Hmp4ETiEcxH+5ggrHFp0pHehF9evOsBxI/e4OBsL6dGnai2
1oahaPro4my73sWiQ57eocrUvhQ7eIVFA0kehwRiveKCJZxCVVHi9jc1L5n8jymJX6IcHqNiM4uo
qbAVYLQ438e7Fv8peIhhWTLDe8jDnMxOjWRcPTLmV7oKXYQLbhSqtq5wOVKDMFkAzu3bHEad28aY
g9NacE4KKBeQeOFmQ9FvVT0bPQBswAWnRrxJkkS5BnhRpEriSW5AgZnhcylUcRpjo3FMYRj4JKB9
lPfa5nLpftW21Cd/qrd6g5mpyQDzSf5IzgHn0XGQZM/KxK6gsvVYDDj1Cx6qwN/thbSrNsTMbLFP
XevKQCtEwS2Wmz3BVoDO6A70xpsM9ASHqNtQt9i3vbJlj6/8yH/V4q2gdbnNkmWWnhkP8MCKjRmb
1yj7KElN39pg0vYibC+mZs6r0ixOUwV4ibpYRqE+4+uWVFwZM8QHOq1phVKCxu3NoEq9omx5jnXr
0aKs0vVEa1KdwiqnnsCFDE9UuJ4zrVxFU9ZuMlpniFOGk2mXmLj7ikg5gCNPA1J5x1AgCDSscyyb
OSZJhmMSNMSKywyLjrDgmKg/fRigXo+canzhkmGNZc6PdqPWDCtZYAITVllpLpysY9wg/kUpgYTB
alZJnkneNDe8fURhz30gvmFJ67xtj30FHLBCkCzwA2pmAKHQaZoN1Ve4NptkYeBKkzsHibRlD8fP
DTwEKrNnVCT51qNHIFjtYRUy1wHGauRqBGnKzHZXiYEGObQXqiPTq1pEJn6MkQGf1SdYL9O5TCz0
YgNmV1kP2b2N9lXJRmlHVcoQvCKYeNIO6GcbKMqJY+pVtEzELnLLWdryq5qT/kfaht9aSRVdC8m8
szkarkeiHQBm4Dmwe3SoTHmisL/KfvkhKbVyYXXTUO2MSA+12bdxotSBoR6zUbwZGU0Mqaj9VbnM
wyP8ny0JpPMYMAI6igss2B8KprssD16EllUPrY1xPA4bT8WaYZUKdrte2YzQVJgTEVCMb3rF6Ofz
aapLpuQHGVkFMzZJrHlktM3Lpp6YxMwy8xMD3UsLywyR8BQTU03dX9ubsfJeNpzy0wjbbjgxztpB
1lb1ooLWmxhqW4vfr9PVZ2VWy8cQTYeKRpxjKc0RH84wbAcULyQAtL2+j7P2UzJ3Wtz84nUSD6j+
dLJ4zBqT3g12R9bEZ7sEFV436bHW7U/AFfoqJ0X2WDDVdIe46Uk5CqSjPQ/dqp1J84Vp+4K2CqiG
rXJ+QiU0mL1Ny5MIQ5RhL9jGLjL5xZVSbe1qGF2U8hiEBm2POo/eUdhSTU42TUswtoDpPJNABt9U
p39kY6M1o0Oc5B/g01+UhHEA0YOEV3POWKEOwQlyxWPTU6BoFJ9alUDnDqahLUIoXthFydGB9lUx
N62zhxIi+dagLYIWrwfhX58KJF4rUL1kdrbMALso2SsM1cl+yI1kN1Qw1XwWTDFRhKGSXSQ53hZS
3ewrg44x1Sg3NZYZ8piOJKwTvDABQ0NRlW3bOq7QM8yHTJNsN20Ccyu1SfyO9JbwWhgf3Rw2614D
sV5KNZLPXjnE05JIM+yVGKpaAQZs1ZVxd45B15LYoU/veZeqK8jD+TbS9PZBJDAvazO+JRz1bYgw
sh1CApdlhfSjKsIybmi4e+DaqBITK7Cq6XPVABENJF++Ni0VKZoz4LPz8e3DlNLy2yjnzDXlsXus
JU3s2g5hYxB24sXSzG8iyOtvJYTxh9EtEI11SXBUgAAyV4OFklZEz3kSAnOQgeAHvGYYK3C0yHc+
9AqSoxDKKvID/ciBirgijQ40zbPizWrKZ4Ro/nelLJkY0Xhi1dEhB1IJJ6dtHhuxdJgHW135LRI1
gYVC6jFVamWZfc9uGfHCAdRlLhru9pG4XXMXWcJej2HZvpDygyKM2nbcdy+iQcCJDbo+ptDMCLWF
gtCgwV1laZa/KbW4zJY+fdfp+CgHRo/NgbxLARnTGRl5SwJhtJu0ANF21Fi7RJasMxYNsDSNGM9d
7nPORicwZLH5A6npwyc87IqkynR1Ie+7Y1XH1now9NeSo6OLPe6MJIHarUJOgEKEoOP7xpukK43b
ZjPt85Ld1qYVO/eRE/s10PJMJ9WZrHlK+dY2KfiyphIhVgeTwKuiKqWlC6JUbapdPYLL6azfVBGJ
Fadua2Ag3WgqxQBCwAnJLsJ33Q6ZW+cj8/VKZQoncdbpd0EaNjuaZSMdg++BMjOVwcitih6Mvxhz
sG/9DweI1piPGd9gDZ+OGXfCGCihPUrkni8PmZRV6enScItj+1ehE9+i2BmwFajrtfpoGtA09Fml
OEfbXAngCcXqV59JwHsb+Yey9ZOsdFvYloS2o8hfhfV0bYrPxtAiVzKZXBNxhGEsZAWeAyJvJ/Su
3br/hf8/5zzKBxYO8w+r8u2UDVfDyi4GCxTFZD4Kx/u1mJgeWXwJftMTb+FLJyOMMOqMhofgvICw
oX3DpzvOWfpkZdrPaGonTfSfnJhWY2H5l8SmpVzWyievZV0QcOGORfMMUgw8TsjpvSKZ2DUvNAGf
WwtppppMq1zD8aqW8++eSYMWv9eS9dEFonTTYMDGIj3kZvreRMceXJJU2eCp28MgmjUo47XWcBIK
kk/qb0w26CXJ3b40yA2vsE/v04lAs7qt3mcjoTGZcvCPvls/n9j7qFLVanMFpvmYwpDK5fiLZsx+
gqvhRvJI/KPPvDTQ8UsmBuljlpKuy/obO1TxGPQa8s8+XovYvnE0PtZKi8oW1GFJYsd5bDAzEf1T
N9hKaPdasZp5WjZy3vK1Z6melX1PGrU+ofVPbPmD2G2KjDE5En0yPw1+/J71kfXTs9ZPOJWf+WYo
3NUoVZHpOt0c1E8SLuNtrZX6Jlbsc1lF0wlIkbad2+BVjsDBGaX8wNg5+pXV7W0jmB5MzBjMhoNk
FWktzBalENAs4k+IbLJNzGBfCmmNVaU4z6V2HYwoPKicf2CPoH1GGgJw1WSqHwQNmkpCoYfK96lM
n6MQwX7dQTaOwhzihmABb01w9UgG88pBJ8a1HTi1KPLkduHN1jPgA9AuvQRFblzi4iePJaytt65e
gB9do9FHJdm5AhcXPs4+b1mVKDhhP7sNfiq8JmyStTKh/ycKfTXb068A4Qxgm1WWM3xBXXbbxDee
bWoDdPLoPup0iNGml/6B3sJMqBUFfjo38YNO+MOfjVXSy7fGXmz+3NBgRPUGwfyDWCWJ8fJf977f
PObBtFKzgfc8JiSXDuXrBCYTEJauMk9RaoPJFCXULgt/z/QKhyKL11VHh9eaEP9ZyITkEE120GVo
wm2AMrlJ71DFjQWsR1LljWlHv9CpMjNG+MFcAO6U6mtUBodiZROTbAEFVem0m3mUHdUcc7cWNs8q
hRMvS4jSs2W7otCxoyCRuKnO7Ckkmxf2k1Ikez2kUBeICVuO8hXPTeCZHEAclG8rYZHRSjnGCXqf
w1Zb3axap+NqX0o5gUjT2I8Ra0yvGiKAjWbr5SqWKkXPv8tFGNWp+TpPtBxDinkpIp3YcbQvzqRY
FmYnFmB+R3tr1GjrWilCMTnXVq3dAkoYrHo9yN0jeuCDDnalC2W0+236Sx4B6WJwo05bP4kofx4Q
b2zQkWxV+qz7MC2qdRmXNKQD8mXRnnKCHTjIwmdH2JoN6TESo7Ubqx6MJ2odkVQFa9OqWGeVTbIp
LUIPoOr7WLF2TZQPW8m/59E+ZRF6hFBDWptz1Vnwba5AQQZVigygqa4e/PSch+pViaMvTSTlaZI5
ROZR9Kwl8IWMqotxnuVPQ1vGHAaaky/iNa5rvCaNprtZxUxS0IgNs1+aNZ3KsnwRPa3aqGiULSof
ZzbiXzRSfssIn12aGeo5lNIn1Q6+c53vTPMZa5kMsQHl21zRMEsKVKV3ykpnpr9LPCrrMkSLFPq2
pxNFkgfyvO5n4mNTO6C+GOa/ZpvaPAWsu2MKUJ9hJ/uqdQjytFdyb2YbSJxQT5ljKw1eNEOMT4HZ
PoFCfDW16V1hjQnhIU1WRl4ytYyxpSz0Ef+5GOZTPKg/wIjWAE7RoBTqgX4PFSIMKK9xIe9lVf3o
LcxxURc91RXAiKa0ixU+u32MTBM0UvQx63CBakTR2vxC2mb7lAB6ahQpesyLapVkwtOGIHRj9CVO
azJk7/LQ/zWJ7L8qZP9PWaJlQ1FMW/3vxLQ7oHg/f/uO/vYft+5vp675N12t8tcD/BHXCsS1FDhs
06LBw0HE+ssnvdyCslWFoioL7vIvPmlV/J20BzzUqq2i9YSB95e4drlJ0CqyzP+RqlbT7cVK8a+C
cpPnVWVNcBKwNRsew7+rajNTSLWiBBxpvcy5fr6cG+ccOS+j83L7vH1y6nPOtzMbft44n0hZnJu+
apyb4rygEXFu0XI7P1fd5TbuWTmfn8BxnHdEr07mnAjg4x8CErn6PrmX99IrnM9iuQxknR8u98qc
d9u5XnkFy7XEef++XgGluLZzu53PtxeehgOR91K5RMF5qvv5aS/PxcMQEussj/P+j98VzkE47yy1
l59QqVzu88kzL8/BGXiVON+D8206p+W2god/0XnlPNZyjdecOQdOessLWu6/fCiYKLi6vLbrcEmc
g+Z8J1z+vnKFPphz+F62YL68y/UbxMtmeV6T/5fPArbiPz6Ud14EzSQecPlzvS4v+Cq4OysOHmdw
5c/6K3YPg3td3rvGO7jyVg48I/dMHN7StPxLmX99v8dyL5zn/GbnXMk35leKFdiXpUdCrsdwVOV9
oq/JWTVeqZotx7Efiyk+6S7apio38wfPy7MMfIIYvfisl68OKYuxwTW6fn/vXDBolOQc+hRAcaKE
+Bq3ggRF9Dy8MeFq3+oDhenoRohE8tZ+6CdEK6f57PNaAiRZEMmd6Brv5L1/aSl3wkN7qB7yD/wR
iGWwNIcIgdDKrBvjYSYZ1NxLyE/bZ8W+kLdFlVIltXcAAQ4GBzGUIxf43J1sr22HTeN+3s72nxH5
+fISOD/8/4JNaNeVBGIz53CbZYgylv/6Ozsvf37CiOLG25neIXd4WgbXC2OdVbqrbvxNcCH6zN1V
ZIAz3OkmOpsnPCTOz+w8sWXfiL37WHRulbM89dPPT7DcxAaMSnCZD9UG/1xyEYce0dlbv2v5o7In
LMPbZMgwvlSX8fD9/ftyvXwfltHHY70wFEPGI6d05C2AMzecWvB38tCScyuWJ+NNBM664bleuHg7
c+3+JhTeCT9Y3jE3sVlRks8IxFp66I7YpuvlzS97ELcvA3MZpuwco/P0ww03duvIKVz261vo3gz3
xm33PeJ+rxv7+fnGfs615ZfPvBj2nuW5l2f/5M58kG+PfDIvjXvjdfELPNa5cpenXX6dv/yzLly2
y2/tZjYvwUp747vKPhv35Xajz+ieUJPdX+TywX/ybMvB6L6L/nk2HvX+nl/49rnAo3ME4gnPN/67
X+f5uPJypoOwSlUX45NyMFk6z554m3mdfHDsD3/2Sx5k4nvhQLM803k59t3yNYPuLdsrpaf+oGUi
nkR5QWPmTCve/vKE59spw4/6ce53s4f0fAXy9yKdxTsqRedzds73z45dfHlcHnj5uzwJ3/NywFsO
M8slkEP3P8tP/vycl3PjYLSMgfuHb/LmXja+97J8sPDl+EiWT2FePr3lzz/GA6/6z2dS8MnxApfP
nAMPR8n/ZO481lu3tjX7LtXH+ZBDFwAJZlGR4u7gU0QgACKnp79jUT5V9r6n7Lq9srZoCiTBlcNc
c46fuwyLV77//e6n9dJYcXvmg6K5iOyyzPNFC/76eljbZ/Nor60cQ/RC71cA18J+hSXAF8X2wLto
LQ/9uwmwFnow57u/OHFF4YTFj7FtgiHAos7ssHx/F9MFTZa8iIZ0azcil7/eKT0Sx+P7MmYcF42J
/vt1PJ8eHm6pwZXl1rTFW27Plqn/U/O3z8UeOeU1mhL1/C4yK9oTje31l3gbPfWnVTzd2oD4flL7
U9lioiK4gnSIGvglZpH9L1Gp4gc42e3n8/FedE9HJN9x726pZnCgkTXuTzf/GUeoWJG9ylWWIoMi
p3dfh9J9O++OX4wvjC63Ar6lVgyt77zjltaHr1Phns+n3cfXMfTFPRVuL75INAs+90B7J6kiH4wu
h8Pb4fzwJKrHD74+yGDvUodfPTXyJXkjbWIUKfsS9c5XvlPMtKNK5OH2lKT9Mj1RUtz6C1oc7xMd
NHGPi/PuIzgeH77WjGKje3w4Bpl78R4eflqIqADxKvUussFA+PXwIfqlePPDw631NR5NVDTYyA1O
5+NXcOS1L9wg3cteeuDAdBWu8wXvPX5BcTY/2e7SnDDDu+n7R+vS7PiCI9/w9XE8nQLS8NMab9k8
0tx4Jy+O7jpyQ5+sP+Dx7j7cOoBI1L9/nhgYqKLYoymIaz9j/a150BKWCul7+rp65JuSpekoLh+g
XkXZK9TMbTEj8nj7sGhKoneIXiIuMNks38UT8ZX0pOMxONJlRP0cvz5y0e1m9yugdL+Ox9Ph4KXu
5jl2H0t3s4nd78G959/34+Pb2yHmFV4yvOfN2xuqDK7tTr7inUv3cFa8g+3y6M3eYTH4i/PsHTNR
s3Q/sv4lKr13qSPL4yFzeXF35r/D8/MbArvut/jOx+fd6cy3bA7nwj09nw+7wl3wbHfcnUidO3q6
G3ycPk7H3Hs4vfGdNMfT+UBDKxZIa7yp7vPb2/PhfHh7vo/d5w0NsHZTnsju4XTanbnf6XzKuKPJ
k+OJFiQun04fO9udPTyWRapJFXkqXO5ekkeb7L2d3zaqe3g7i1uIhJNQ7nMkYRBGF2eTdO3OxyMt
4PjxdeK2oj1+7XqKPVzueOfpuBNXj3jeijx1/ik4nUgFKTnbXJuWBzoWd+b+u9PudCRfu7Moqt2O
MwZXfDG55dWfNA0+ySOnXDDd3eF8XvC/Iymgi4oiO58n1naUwuH8ERRu4h3P5+cDbz/N3O1EyeBK
uziRDZGj5zM5prhq3k6JnnmRAYHnhzcqnv+pot/z3h0pEFV3e8MttQuSz0WRB5sXuJktvv6WVpIk
ipdrPyXPE25yS6C4DSUEuEQM45H78YW7FsUUfDxAU7wNWKI7iv4qBhq6EX38yL0pipOoEFonjfTr
4fT8+Eb/PR82pRvw5oe3DV9OSe9oMqJuRWk+HMVoQcGeTowCHqk5844gWLxtQveNwuLCLTfiuSgL
8Y883p4vut49h+4Zp1oaCV4Snmj6NiUknotfcXXyS3fww9vVN85u3MgbuIRAK5dEsiMXG6vbrAff
4ktLd4Fke/aAA0ZxUAGBfuNlf33SvvlScfuf35+6FvcQPzNfVDCq5J4YWT7EEzGEMqTeRtUvrpAO
qr0ULz5E68x9tt03iI7e89vk02epVNFxf9JNvyXwnD9YZ3gclHr0KPGq6NQ/FxdgzMjF+IL7Zd6s
BQmvPHI6osdv+usAGrgLFBQ6X7GJAarGsRCxxPJ7vLcW1qLe2muRvvmWXMkDdr34EH+mPkjDZb8m
omq9h6Pr2oHDpCt2HNdbfk4UX+3SFmvSVtNg+VDlLfOAlnb6EM1MvCCK9N/PQ5duSCf7yCidD/LO
kMM/62CvMSHxjeIWHML+rCE9kawP3isaosmNfh65e73olqIZZswXrYvDNm8N/YdjsT3C8+DPKDja
vsQyZKbc8akGj/yFSfh2B2LtKS08oheiKfQLecnOhZJdqEvV/c6CgWEudAvKNPFhdDAuURspF233
Q6SucY3FqXYZCFVXdimDwcctxn0WtQbc6VYWEzufZ1ps6bGXg29ASTBGiHFK3JG6pUtlVDd5EaXE
kAjTiR9RIh+n2C082lfmMn29i4uHj6v3sYjdMniM/IJGIsqCcsQN/vaVb7SIW8mi3exSYHgr8ITQ
T/5fkjLeJp6e355RFPGQlQs43yIhmXfb8KEXL1IliuGnXf6kmFsVIlu3pnmhLABm8DGR3LMurj4/
/1TwH62VXIgbiFoS6RBJY0B/Y3gEZsSFzH1j80Ja3jQexA/3EA/i5yfBf3Sqn5STo5+3iUfmLPFW
bSO6lsjhx8fomaRYlD+gTV/0BtEnmFtkSvaxIFOZxxbnAMOcZ8gYcCXyRQF+i4eJPwaXOMczfEdU
P7MNmqHkjsJ1IZ2zV+sJ7qA9EfrGwZJ7PbcPxFXBY3xyvur7eNsGm9Zjumn5WOqmi9ITXywqWPJF
FWKv5hdFCJeAvqW4Fi/Eq6gr3hoW6RAJKjzxVh6fi6/iudzLp8RPuIo2AIkVr4ukA4h2YRuyn8YW
gPlD7KjZXPmiO77TSCoPBhdNBbCSL8Yd0SEw6i7iENM07I2PsXWT++Ku2VdBssmDdJkuxfJK4ZNr
saARy5XC507EF/An/B02uOLiz15Bq2BYezYxWi/1k976w6L0U0/2WPwK04wYPRjcHmIPVDkrdOwU
jG+fsvcucTuxdiNh/IptgzDm0MVXCB1ianFcdjjcSPz0PMOthIz1fu9zisuoI67UOzAh7rAgfNN5
Sp+LfR3kvr3UFqp/9dtbcRaeqF5R5aItw+tyv6F/+s4KI0axMj6HestpZSythqvf6z5xqHO/uBjo
Ofph6BHX1fWY1hcIbNWg+cx9jxUX3kQHg867ouxHbqslsGSD1K/MbbqxV+09fGzaDI6XKJgeDU/1
DQ8tTB7HxZuOsdqND/LSCphJAuysS/iUAVHjPsRT77LGzZjegN/JcmYsGnyilhmVOl93k7Xum/w1
evVCCZJ1t+SzC4Tm1tPyuhYzgLLAKYbmpp5oI0t4Gn7to+rgMaz7nAD6li/7nPAF5ID0XHhHuMiC
0HP8cCHe74hPiVYWTCu4uTTOIiDYaTmsphXXl8myDOJFtmBMyFhY4qHnQXWnyvtlv2zYjb72Swku
iFv73ULf1DvUojwOaZeIhi6JhlysEZ8U+yz+W/PLs/Waxzt2wEtR63s2bb9eX3ufGhZ7U6r6Zhzj
YRJ2i9dsrQev00a/l4Cqs2/BLPa63bLj3Qtr2fZl+/rK51+3rximXvmTv3P3k5Cu15df+1f/4j5u
X3/t2f95xim7w+JPa/7ZM7J3wVt/Uazn124h8qMGw0bdT1jXROeSloYfI/jkYRRRD3Luakfc857s
g7V2fPHT4BNJFOs4Bll7pwsLWeahdemigREzLCI9XngWGFP/m5ITP/eiK3zT1/mHcfD++/Pz8/7z
foVpRlz847/Hx+9JjJei8W6exZpRrOsxzeXC3EjmXoVJhb/vSeZe9sQtMBLy8tZ/EXZEsbcTJUrJ
ijJlT4YkK7tOsYXc/2Gh5N0Y8z5JmMgq2Gl6C8HMXrMt9tGjs7bWIt3wm9NnpV/gPZ49TycxXpVB
yI7Fn1blfngvviRpRVzudFLf1fdx2BMPBlsbUoC6Gr+qO+hnZOJCu8uXbXC9AyBe/8qXZOdR7B74
FQMm2eTZhTmYjQHP+OtFmKtET9Z466ewKmCsETmj4CgK8veCsfLfm+nPzPv+6fTft1s+X5fPb4fj
2ykQW6CYgv6+//xfgmfxPzqw+H8DtD5dc/79znD9/5DpoTh/i2cNuqT4epOIgGveuj+jPW6f+zl9
kBTtX6aGf5yjA1UyLRAy/2Z7SIr5Lw4eHDwzDdNWBML1f8M9FPVfwDZwfXU4ICZ0wCQhf3BaFflf
jrgbGA7DcsSBxv8E7qH/9RAC7x7TVnVTs6COgKkzDQ5e/ky1AV+NbzDIdVBqyyFOP7ULgsKE40Bx
Vz/7MaUrVJoIcfxlT+ohNC8VdAMZI7Aal34c6cmyh/vjdY7VBGUanXHSqBB+AT6Phra5v5b9Bm83
dI8v+FkBYUQRYqxxpkPgd9nlE3as/gqtX04SAkgn7S5WTH/uR3mNaKGxmiNnVSIRmE8LGeWbY9W9
hThQ3FkSyn6hFHuagdujXRX5+taaORWLvq7Hn1OYPxPBDPsvhzO3ctFxXlYNSkfnjOi3w5lLbRSS
08R3jQ0a0JRx7MjyEW2XunmXFCNQ1T0Ol71f6fl1ZSclGmKswGyB3VONdpkKZeg8sbFPFSboTGdS
fE3W07Vuj0tLYN4MZKxwQC925RS+XXuDXYul6hvJVjgihTNYhT2sKD1BnmfW4jXHoRN4unRSEe4D
sIC73gQ5rmD40KrxGNrv4E+8xASAn1Pj3tzBYFSTmfWSSkDHVQf3SWw8qBEi9pwwnpaa0+/qBk8J
BLcJpXG+pDFWN2mtJmCNqhP43t6zOy3BH/nnaPP/Wrb6X2lrP2WrygYizKqh26rK4dqf2xwoLnvu
TekQztE1GOqHxkYMOJqlQG9lZY1T+4x7EW7ZSfXSEMEmEYF3kkz5yWpYxFTl5XGUYxw8RgKEs1gj
+sm4BEXa4qZi5cSy5ig4X5VCI5Cj7ZcJfus6OpUIh814UEWd6cIIYSKoEzwGEpug3TTndEPDKzwb
jI0+jioxrmoTcKToHMNWX0wombit3rzodBbv7xuaKhrS/zkF/CkMXbEtC/aEihPlbw0NJ/JpSnQi
FIZ0YREyBGy1AgB7+cYHEg5rXBMePSi4s0730YSn2oDAX4rBNB0nNm/lBXcUtWjLJUFpYGiS/F0i
8gxGXVouid37rtIGTKtdUi5hMi7+PvHKfxg9OL3ULAjPyEk72m+jRz8rkhLjmwnXJrxTumrpjChU
D1MJFW/08DtkuYsHSdeidHZpzK0eI0Th8CYwWM3H3yfmNlT9VpKGCvFd1+FhK+bvXdas6rrRrQTU
m8oOz4CVIfXgSSSTSL18DjuiRhDhICzx+iiPGhqOXYMQYPU2pha7JufKxO6YRwK+AxCE6RJC9N4E
rYX/ATTSzsY/opHMnWNIh6M72WP1FFbTa2IjDWJlZQj03ZDc2AzHjcYyqJchDsyVvNeAtq1T00Gu
U1Le2zEJXRSay3WFjscyNFhNGQ5dDb1mXBGr6QhkeUa0PZkOnqJpwwrvJY74rETeddmTQUBhDLH2
70tO+yva7NYGTUezNODXhiGmnb92yMt0lXq91g+4NZfLKo9WeopYDK5qxsoeCCElfhbPUdbQUqfi
yWUSSJcCAa05aot79ppDR6ievr9chs6bJ0JU5xQlILPDetTsTDrgbKqcMBKWkloWLtQRPiYqyrcg
nVS6L67BaIDZXqXL/dowkXt9NNENQYz1Av7Dpu1ckffz/z7Tyl+hVrdMW7IgnQuila3ov2W6KSZ7
0hX5kI1jEgCbZFmrBOhaItqqmOPCQrB5OZmrEPRHc1f0svkPw6AiOsdv7ZVpl9WBaRuahpPBX0u9
AZ6h1aF2YGSpXAi039qVQFWd4F4tvy/kHuE4VWL/JT9RchujYkRj4P6nctD+wwDE2KPImm4orFFu
jeNPXDs5yqzMGeRD3BSBhtbDotW/QkB290kaY0Hq6j3uq5f9UJoP8jV8RQtT37RNhPoIcFUPWCjz
DgFjqw7xxp1S0zbs8EILOBEgpLpGStyXVc/qAocovESRO8RfFB+yedLRM1CE4gtBXqYTvVWhoPFG
OrrwLYBlQ6vglIb5PxT7za3i92JXoN/j1MH6ShNrvD/PPrEmqbOUyYcqGY+D0pcugNTiGR2nEkGH
A2Kdo8sSw5fkwr6vNgO+UKC65t43hgtkrWxTSdV4gOye4FhKbUDGrZZjyfh2ZYPTTdnBUXvY9Nln
0zZ2INfNvVJAXB4n6YMgBCdAeBCe8zXSNyb8FC/M1KUxQR3WIXcVliCaxPovGcWfNI/hutYlzNXK
9NpKODx3MMxqw7C32RUNbG3iMJ/AyXHRmc6LEYQICa1RHkXtu9rGaAwuAaq3IMVnECIyHt9qGWEx
1MzC66Ik2Q6o5/qqoy37ELm9xLofYlkEWB2sJ8e+w3cz2pShEDrRr8s678u1za4YMOcyS3KdhRxO
/n/fKcWS97/1CdXBu0bG71yhd/5WOe2QRonUHRpNalayE4IZVq6/CK6qcNoSnmnzaMDNj3CuTWSv
hBFipcaGmLHgYteF31VliXtu/5ImWb5GEM0bsj5Z6qD/g6tKHJWkMYzbPRJ5TvYPgMjbZPd7w8LF
yACYprISUH8DRKaDjZBKRhSAGr+x8sAyM8uLvpciL7RQ50MU58lW0PFILr4DIXnTTdA/ea29BHGt
CKElGgbi5Kdrd1lVY5UHuEg3bklMloT0I8hspMzqWlkRV2X7EXhRjwnJcJV6vPpNajkrdcgUeOFN
6QMeEJ+Mh38g5f6HmYJNh66xXlFkfn/rPDqxOVNIdMQ0MBPoY4uYlAQBrJneyury8PeN4T8NTOyO
FE1hfa3gqPnXtlDirD9UdXG44GS7DKXkW3JY5/z9d/y3RQPQRXY9hs1goBKI8fsgnF9VmUAGFXXW
rnNr4e6BEJoTjHqyURFzhJ9O1REuzRpQ93Fr54iWtcOlQVHNUHdSxnJanwhcVttooV/jQJdAyDgE
+UcDcePRBI5Ji0Fcp1vdWoQdqDVpDiEydTr+2OavUEIch7CV4ySCwXulqiBzXVmPi/UbEX/Y0Z27
LknRI5+urOhy3jA25XPM9sg1LQMNMwI2g1lQeTQcGReWluPcOXkaoQEPZax6xT6EMbvNDKIw/6Hs
BPbxzw1eACuZOi02jrpOOKGY4P40c8ylggA4YVeOVD81EcwDk0hRXG7r3osaKWgsWfIdXcIUr4Hc
0C3W5UUxvxAh8ELki7LLQnz+ZU1elVd1HTf0UQPfXH/Ir/KymsB+aLWvlez95nSUvAk6qaRTN1aY
OP6sJYC6QReWVghvywR9aEoJ8HJ6eWSAYyq1Fom+ifpsVRmUV3l/bXBPVspQYx0Dee9Kn1sq+ILj
GptdVohnMMf18qK22vMV0IkURs4OzbgIYjXL6xjk/5ldtLUdVfuzR15rgav4Qwo4c/v35cpk9B8K
Vmfl78jELcra7+sxuEjzbKn1AeIGR+CZqjzMCWdnebmqc1s5DmaF9N11/JmLNQOv//CiIPfaoGUt
G5j02U77dZolvpziWp0YobU2sLUbbCejgWCNyio75LC0IE67FDaeDTRoGFiUqzDidQJYCqK4Fr1c
JofU6PfErCDUPV9OjaMra4QG8x0xlpzL6L9iuJv7GX1TT51rZXHJLMRI2fn7ZcIo3duN6l1qPKpG
+70YALtbWjvh3j4eLtNGbQbYFY6K+cBMHPAJnbKs7OvbJVfBorfml22VEkuK/BjNPXre3KvqnHnb
M0kpM1FcUdtkSIQbfmHbLL2XpVVHSMFOCt2Z7BDFEpUVB05I9AFY7AB2xCN9z4AvVUWcWRp2sovT
68cktlyJXRymnq5oXJMH4lEc+nKxIW4kZoGbx7tra33YyC52BIO54xzJG2UTF6a2aeTxFXONx6bi
S4fd4htthec5U2sNY3kDgjIxkVBrYnoxmopPIaV8sGashBqYD49Baa0VaR/0mq151ypEE44A36Wh
xYTrmYAp0X/0NVjsd0ZefpeqtCoIHtmXOWJzkWVsp6YNigHRDx1qh9l/1prJeY9Ym0QXhJ//vnEK
Fu1/6/SOzmYVvAvGp99n6Lkc9dku84N0SQc0ahk1wykZAzBfDpEOYeYZqJ7iQMf63a5jaZ1pxlMI
8yvoa50DHpPA9nGkF5cRh63EilxTbYbfUDk7Tex1W7QFPMDod/akgKeRygXWsU92vdZmwBlMkozw
gOqjSbd2KChtndeUrW1mi7jrx7WlpwQx9px1qSWSpnLWEoVaN8RC0Xim1HoMzVyHMDEf0UkbV4mT
nZ2px1vdTpE115Mvs233RMlyapQXCIKM6b5TTNxOptT0JakfoZvZV2qjTIK/L1jld6sIo6kDV5qF
uKLge/z7fiTppNjQamnfdgo6IF2aexUqp74BqNaTrUuAKU3z5mcQMHvo2P+w8FJ+t3eJbye8wrZ0
XdGwR4rJ+E9jed0jTisZ9n6sJ6+O62dTybaKWXOkEzPTw1DklC81g5taLJrziPdQpQ2SksSbfA2w
x3x403fdjOD7kGkbGK//lML/MNs4WDwtFeunSvP7bb9mRZcq6RzCWGNH8Ubt0750LWjeETYwSbnm
MtqdHK0gKD91KEI7E9YibQJYZgg9icgxllGnumgihERV/UPdgVb+vVuACCCi0mQZoTuYcn9bGJmW
nGUhkepWA5rFMEK3At/9ZEj9HTjMmWadYg+wzMsmjMNpHef1kVA2dhoKc0st1SsVlQQmFC9O0AeG
lhXtCziWL5fxLSGQma1GffXTNBtgeXL06ti7ciaoexoqZMfhS710ijMGzgC6IBt088V0ZJweJkJe
omjkAJX9+MapI9ydTKjI6XzNX7KUDmjXPaAKmF+lrD3EbaUsuxIC8O1PPVaclSyxiA6znqjxWb0H
PzQ8OYjhyM4z8dPl46z0xnqQsJFCpzHOtoUjRqWV7zM64lCSCF9rE8SBVL0gcxlsqqxEBwwtJ/ib
zjI2sfYiQBEBNZ88SRmtjdLuWcyEW8K+coi+yaGb2xXKkdI2lvSJWaxe1BMHiHKlDZtGioUHs7ki
tofTQ+dgdUSZzvbeqaTw2Awl/i66Oay6plqhtpw+xJPKRIWG4cbU4/KlkCXcM7op3vdmV76U7fAk
9el+ZHn/2hpIp082x6p9ki8z/TIFUZHEwZTpeRCW+UNkK19EZ6H5ja5l44S+Ys/BPGQR4q+57mtV
0xEX4+u1VXvNYDXLVvcBj0474n5QY7kkGNXnjRLXHB1qcxWokGxWOjqxxFuHQWGmxqKKx1+2kn5p
V/iUcRXaS1Qa7ydz6+jRfGQq3dpObYFx6mnvgwUTCP2nkbDxtksRWVOPKqTILDHqhSZhpi6S5mEY
jYU14wCeauWjnLDTMFL1M1Zwohf8KRYG1/VgqHet3ukeVA1MjIn+TUx1fddBC5SG7js11JCQl+sd
Y5nsAWq5R/gR/CCtS5vzUwUNjaWq2gVVwUZYNz+umvVoD9MnOjB3kogxHSYsdDqbE+QJkW0l1Mlj
Cn6QZQszf78Zs/5X2YS/iguAATUHAjkPH+ZQuX1/0VwltZ8ueY1hpruTbIsAo9DahZm2bJXw3Bsm
am+c3Q0slJUO5ah2iA7x0K3DEqVjQvP3aKKcaid9Z1I/xSnCjyz1iwnhrhpX/SHEjE4Y5WOGMd6I
6veRECFIRSWuUIX0a5R11kZWEh7MfHpJaEig29ikOrPqWj1RnLpddytCwTYovV0WdWdf/EaqH6XY
btB8uuLA0167RWxxIJjPzryOYkyldV2AQMznQJW6kzSCzGIEnBeAUYeFmeG7b4gjE6mJSu8iNReU
3cOV1YzGwVnWDnKf6pVySjULzU96Tlp1BNZDqJOM/tAalGSPD1GnSF57hd+TaT5cI21pX2cOx7us
8QpwSp42N4/X1PKUWPsuYqTLrmWhCNFcmFXKZuq1dne5SsAjWXyiDH+nlKq8G1nuZ2OExY5Qh5zw
Vy9JL4cKQta2IrDrKhm5f7HjfOF0VuHBIdAdtjsRtuttPycg+qLXPu9AryTx2cIui2RVjsxXtR31
DJy2ol2xI8EydVjrF5K9a69mh7NBafnplRPY0NZKvyYedjHM4fIyp18yErdei44UuksEgNfji9nU
+NzrFd7/+GwxgkxRcnGLAWRP/AmWE+Kg2u0JtV4mg/wuZZMcONHJjgyO9/MUNwQcpeKiR+QunHdD
CB9baGQyjhlbSWvfjLZbsPN+VS8PuclBVpJ0AOcVeTnXRJtKtfw9xPrZmQlnNWOw1sQ+4nJ2eQZu
33lWmQkBd5U9HyhBDsdnCtJB+FY2HiN7SlfhxDwia5mnRtcPRwotrytleBPZeGKkP4VlOizlnqYU
TZ0XOs25tqECqKzf8wZR8hw3kjC575tshsD91FPKsg6GytHxtEXSQ+vkfGFJo6/0V04VTFkCe/Jq
KuiCdDDgfUW9ropGtd3IapRFHo3qnVLHRKEgEJLC+4fDYvIX+GfXak19BeCW4Ut6kJrqHYMSByd6
/DEniNdqVwNJsCg6J200LCe9/EY8qlznc7skuO/ij1L/qWv1fmzGClSjQt9laQs5fqwDU5Fe9Eue
bhTzrtb7eI9uizfDiCR3F/UZQWpjiUDBYmzeVLMqVxVg5eByqbfXQck3oAXbedEO47C8pNUjR6Ec
+1uERcPdGtnByBUzBgOykyurSaprQkRTPL2yJvdaZbhHR9ARo8P2gnYBFmMdDAT+QUIlnjjdPx5Y
gF83wGjBnbLTgO2jzhsnoZKtt6kBpMhEj38LUn6gMWOZ4NdLlvu3D8EbTgg5Fp+/3e7SjifMk9Yi
NS7Xze0BIE6D12Q0L0dwu8GQhIDtb6/oGfGpTfaGDoOxkOvy1SDalZV/GrFgHCW8gggSJT/dwjJ9
vTIfgZV8t+b91CmHULk8XlgPYVYWIc/aCBeXNjrkJcHMSIcgtWmpm8k2XtBGapejqp47owVFKuts
6qR41xQ4gibKSR3jVYVkuQsK4XArcWLF8405GsGg8oHqajyNNRtRBBf1CaCzAo1zoSSV9KiKTj7F
RNvWjJ3+bCf6OVHQgC/s/cDyfDOMFdqQ5vwwKQ4CuFPlzTBOPWiBqHghKb1JsXT2o0C/pZa8Z0Vw
ylSsnLDTWBaoo5tZIcR13QYa6JSY3kqOWa2h1w9KCLFEnp4qq6vXTpBeyhen7ZKDnSAQadqTZ2uj
b1hEb7HrdFmLolEgWa9ZzpIztsqHDqKwB7/zW6qL4pmz7flu1JS7HhbdEnvssbRnxasm+I2WZrwS
B8jKXVZf8kyLj2mzs/TK2QOE8Ps4aX12I0iL61q+mOsUGy+b2j2rXTzrOpOY68xcmk3zPjoY/WQd
NZlBcTj1Le+VS/YC+SXcya0trXOrQqKqZ2UDvh3xz4hIQBjv2yo3DpLSDcsq0pDC085mW8trWQrj
e6xr4bY1lKMjz/F9OUW7egbnbvXGe5UcEePRd1grs5XJHN7XyNdNTRf6WdU+y8gnB/qH0mdPAzjk
pdQOqzi0wFRE1kk2Z/Z+k2T5g/ZpmOHsR4marjKYBat24oysZEczckD8DNh224VFz/5iN3UQtPrL
JkosjGFa9NAWw6GjzpXE7vZE52MTpU0y8g8HkzUpyo+qD70q9MAIupPgtcdDnm1vz6xWJdIGjgeB
7pzkpjYTFQzUk10oW6O56IvsOo/YMKCKGx2w98sbgGsh+yHwkH2MZPIs2A3Owk6zAq5JGnljgYS0
Fs2bIpGldavl62LqyiDSxkcHsl4+XRtUl1jKzhxZX5PS8IpQ+0pjOcO7Tt2MjDd3VqV/aX2me33k
YJbXzGkXK9gK45H4fXl4Lm0ThruRIIGMDMG+6i6b5lozgk/VoxA/8JUp7V+HOXmALZdtwI4jfzeb
LEkULd4Pcg2K9pLsogJY8sWqVHRlM3t7ATk92e1pwN6xibV8n8uo4+bxsqqN91p6A/6QHqACHPg7
3AmZQGuUzwQ2D/u8hNQJxWhzmeOHobrg144B6qBj/TeBYfuDFZdCGLRfd4gENWpU3mltLuNj2UxN
MLfWcm6kjTUZkME7NfHQ5IMMWJNftCWdB1BCH5yIEjWYhhHm5DLbKSOnQNDa4gmSeZjl9YFaxK1p
zbStI6fdy95sNnA3J6AzDROd0PTCYDj62axt1CG1Dmqv3mXsD3ZFoeIjJbOstlllcxyr2OBJ5UNT
ch2humhx7cIEzBpWC9mU7sx2lFeSQT+rQ6CbLE3uAGldF3Q0eAb28I6Hz5YZrPVSjbUiqwnUyRVA
roqdHLLc0cCZdeg3GBfdTTupX+MY4ptWYj73KjTY1MTGcDEuO6nEfocpeYd6AsjHFkwPkebrLKrQ
im0ZwKGCIwvceISwq0Gt669JP1aEpue/KidqNlZnLaRpWjRRYz7EUrdNTPuY2lJ4l+jWLrYIhJQG
7XKYKpZlDJNaVTq7gnG0NUy2zE1moBsoq3BxPKDt3cY2QiA0NSCu1nLMZYYSizur2Is1IcFyvZT1
0WyFdY2T2Nk0qtccrYIbT7zQexAVHC7CKEKZBDrPFAAeiIGnPV8GQOCceHkpnCkk1m0FRRKThapU
XYJuhEZYOUnKBGDHWyPr89s0cA/fUD46UYJoGaI+mBwI7ad6klDrDnEPQA0LEqpZQ7HS8uZUKxGy
8+Afl+HMeC/1YXSOe+aY7l6uwvptlo/pgOpz318JH+ou34A7GqxNkbMtpBIyWlx9KuQ+kDWVAbtr
2PP11kdS595lmMYtEItxaxjTc09V0n1r/DCU6A4i4JX9x3WlK1f1FLV7vTKSbQ94qi3ZNaEUvWUl
A1w21mFeKtN6vjDu1THrqQSzIMO6sdel2lrEZrGSC7k9YPkPkgvbpqt6fZ1MHI+sa0PAhXm9y60u
Xchq4eyuo9wBwpB/JfYvZdLr3SCzi8yscSHNoEyRmAsyA81qW7qOPg4W5QaNvcEdJ/0SwGPC80IN
r9tYrpYmsktBaxSPF7a4ixIzwRXNGjcZVBBiTR2ugCSqGE1QU2gbA8SiPjxlwjisjbDlK5XpOmEk
QT3SoegtZcb0EJ1RqJC3Y54eMvn6qlk9YF7TelLVqlrSSnGdxhhwUPFx8ZpScu6wcO/Ssjg0xpzA
nNKhd5N5FdtPoItBgeOCRJfjx4jlQyxx1hT2Y80OIy42WRt5zfeFpd/jWBdb25z6Levjlo1TmN6n
zmXd6SVu763NCWoe4RrPUJQjML6N7dYMEv2/qDuTJbmRtLu+ikx7yADHvNAmAMSQEZnMmUluYEwO
jnl2OICn/0+w2kxNVquof6kdu8qqGYkMuH/Dufda90QGbcQyG2fy8j7YdaPjss6cm3LBPQrfZ+wm
RxTYblpeOAgZm2NXuA9NUmXaEFdqxmSCL77JF3uSXoxFaZN4hZ6wR9+Mo29s67lUDEOaKvvEcJp4
QlN9lLrQidthtqhno7wEW0AcdwBr7QzhwZ0s6sdyTO8UI13fZ6SahQ96ghblyFo3LFocfbHcPr8z
Wts9LxiFjwTenHmWydzkDEq7zYydObwJNwIYDaP4Xi9Fea308QSBjnnGozWZhjEnX9FrzjbZUv6K
y5JdGPO57cf9kJcP5FiDn1er3g99RvJBXRwnr1UfShyusNAEJtoo92LHaQDcmpSAlMxvdwVum1js
z/qw6gVB0HYnA0nc9BzQ0a9THTFGOpr4x58sy35wckjzADO4Q6fyg7P63i3rBAw2/I9zYZ9B1xiB
Yb1/mDwDB63B46sgzwQRXDSL0ISACu6VzL3v/O4LDUOdcMmaB0yU+qgO3ueOOaVEi17mdwM40OiS
2mhm0j2n7vusKlanlWgAknGIyai0O4/ZR+F9DvmeHdRUfDTVYJ+bNo85jEkGaF6Ldg3JZeWHGmmD
wY/8RGYSt+wyI6rB2HDf5uHjEWAUvpEQOxb5RBzfsoil6WO+5zOCixkncxmQ9Znncjw5lf3meZq5
pTuCOYZEchDllQZLFfVh3+1N8oL6KiVNly+WpWp5UKGoP8s5GvG4wUvXwhO+fXbKTF6cpv42hZZ/
FPMbdX14McE3dpZwRgY4Hcz/WP5QnvgxSLPbSeLpXXcA7G6XLtKteZiyNGDfGZ66qk5jt1kRa7Q3
UnXsPb3wm1TUNJLb+lBVE53zZkzcqRWmjOXbgkffPkub4TTgLY0tOeIlsihvS0t+s6r1FeRxtzjK
5GsrUEZs1ZEuiWBqORAa7A17jPSCeBLbndnJr1bTq7jKuCvwhh/vLTAnZbFW1t2HETx/FfU9HcXR
1a14ZhSFZYDb3qQrNnNdlYa7HAjrZFIVmHoxyabo8NfD9J/7j3+eZ7LCmci6+L2lXsoBR0/KOqM/
j03jHGszd/buYgyH0p2JXsEtZLf1WLuHG3qx0XXnnYEHYuzo2sXnsytuQi2e0tRinjg6l3A+41Bk
PxQng6lTNFLJnY2G3+RgZ2HMlICLNtfn1RyemB1OAK0MpLXtTZgf4w3kDwSmC1ENd7kaXomiTvfS
w3GRg/dhxVHpWa/tRVwqKMlb3LkHrLYUdq3NfG/Moz5ZOKwRNz4tEUuS4OCplRRlPBRae3nf6K7i
gsjonTdhsK8KdQIpvR8x2sWTjQgVURc9cdPaOts3U8fGKO3Gbu+1+lEpZnsGmaNtFshkXJ1nY5BI
9foaZcO8vBLpw2p75i8zHRjTioO9sb+EbKiOTWi8aMdGaGLX6ZOc9a4etvJD3nM/ZgMK93zCJ86Y
nEdv4RUptLneBIEmlod0HW+oWSNUox2VW/XYh8b4FIxICMx0Mj/kefu1UCK4tJZ44e2GQrkpxWC+
qx6bp7LgdHa4GQK7WBNvo3PDbDL7sHLn8/ogWiHidRybnqmIt+cewQd2XpekTzMs6Ee3Y4Siv22N
LfiatvmdSfkVLZ017esVoq/RNFFh52LEwaVVdqTMTFy0u8Uzu+M6Gqd0xJNUGiND8zwXeDKPfazh
u4GE87t0ISl5pZIJbeO7vXFmrmUWYCgL0mE4wV4YDMTkEOgoH7d9meKZX9GIxk5bVkT2VMC4riaS
JfDgKgvvHFCIPyjXvu0LVHnsrJ+3ClhmyfL9MmCFx2yNki4w9lwPViTUTDDq6JRxEPSg02K9JywE
rZukatrWEC4vby44AvKg617Gk0dp60hDf7Dq+dFZw7dcl5x/2VPRLN5Jypxt83WlhnWqfVOT0bEX
7vwxU+V+Htv+3AjnPAdzf+xsPJIaX+/6SbnsIjCwsuEfSHhvRGSMrP5MOe1JTzzkA8vAFS9WKpy+
TBRHfuSNLnrUDtOyKfdfSheDVBL74Gn09mBac36oHMuNw7Byd0EY++XcPFpTnLZZeh7Nl3H23DuQ
2x17BXUDc1yQlbNn9MqeggRAo1a3uQBfULwm0WRg2Ty41EBS9A8i7Em3bYfXhVQodpvw8DJPCRNL
AyrfkpDKwp/kfqxTqiH6yYvqxOO6bRiXBVPwaC8Z2d7VvUYekNiWgdyqnBpSyER3T/7QR9ghD6d0
Tzy2ExEYmETH7dXvtxXFelAjdt3ED0x+E4NuINOsWRMYgQtga+/ToGsJH8cXPh0uWQ1vWZUPBh1N
bC+RWmakWka9Mh+bSJtlL+ZM5VduThx1zOuAt0eoVoc/wmUEGzaa9MgWKZo3/QJvVPy1FftvKUL+
s9bjF3Oq/zfRyOF7e/el/j7+/yAb8f8xCvZOtfOX/xF9qb5/a5v8V++q63/5l3DE8oL/ZdnwNdeF
J+muHgvHvzJhIUYJhcU5ii1t4AAAsGpsmOlk//t/GhZ5sXBzYeB7Jrt5W7Dm/ZduxBBoSkLMrEyL
CtoRgLb/HeGI+HVdDTUlYK0d07JNYbtXfv3XhTHOWaGDYW3+XMj5sgzkkq9s2yOJ1yh+6v1jTRea
z65xW7YuS5uWeItaUzRl84QckK9xbLv2U5a532Xq2id4OSCUtk13pifDw2S6f8DznCuN9H9opesH
Dj2mhTCF7NkDcX00/77hnvrKGta1Kp9XZj4nZgElK6hx3W2LBfSS91gnEJMpcxKZUvNA7quO+8Cc
9humhJGxAmpn7EirVuNTNxgHldn8wfLaQ4b9Nk1+ccKzFuVhww1n+uPHlLZtncIXW1ZppHSF2LHv
H6aDsaxrXDNB2PMdsKPMTrPD3A+HeRrrm4GoOrIv5zyRDcrLURnhwRvl2cX6+ZG9VPanzfWve+uf
TwXECoESgJ1r/w24FJWh+NR185yFL0MLka0YFIXVZZ01CsxgILFzUKSPFTZ/6tM9JvnOKZzab6JU
3cmd0tioxA2HcfuaL9vrMGnOUuCGPzBRzq/bfz6nzXrdFyyEPdt1eSl+/e1hTdgMaura54pWNzeZ
/dmgN+zQjgSsXdIibw82AQBRyt6uz9Jpn9p0aK1suZLLe7k8eLMBvNqTwO3O8jZTqvvEjAR7+h6i
qZQmQy9G4crP3+xu/uF74UPW6+PmmF8mO5sTrsxv+I6CNM0envMFed2YlScst5ijqYa0+ep1XoiJ
MDjCBbFaSdvUb6oi3Shj6hWlLFPwPhh6vv2qQffEgzL+hEj8Ss/+9ZBcpA8O0JgdOL9DCGXvV/yy
1vZZLrl9XDgNGJYt4Umz1iVaCFuqorraAu/DvPvh+4hCFnoDYjGQUHfTn1Ah+z98HI4wgi1cz4dw
8q4E/r8xJbZywsWqVP+81ThN8qQOPelYO1QhgOArrtGC3fIpIDKemJsgysaM7xkyCJlvIwmFeLL6
tYH8B79Ox2zzD52BlLJTDuS1tzKRVe3LNHg+X9PsLjNS92YI5WNTfIMfc+56tVEx6AP7kvFxJkQj
yZeMlazRs5vT5p+UML9iUT8fvcVC0oTeCU24zOtx+W8/q0rrStR1BgipczxMMyaUxRcpC5bQ+4Z3
hl963ZOrRLTQ1bzWA+8wCJSodNLOzIwMOtFtVD/+mUv5Daf+16cKLJ+hCSt6tj+/fqrN0Z4ljHV4
Ng0PtmpQ1L8bZiDiTJQK9rZOeTf3+mWs8H6tUoyYig+kUL6a7KvciXRS8ZaphrrUz/1ozEM/QnU0
RlktydchFKbwAfi0a/3hYV5B6V9OatsNLdh8diO28Pyfkql/f5Z5T/PpT/6zntHoMzpID1iioh5u
+Rr/8xP6FXu6PiAXCYDwQhcxADuW37Ad4WBlKsOcv8rhcaTys+7sZVe0wQt38/3SO18Z64o/HLp/
P8vcK0GHhpMLHMjzt5vImhm7YN3uPzt+/k3p8MFDnGTU39YcEWEebp/++Wf8+1fTBdBFFiUCj7Hu
78TeqsO5bcOFn3EYzF2AV25xmboZpWDj/fEI+tstywN12YwJgZxIAID8+o1DR6Q6x5v95yKlZ+Jw
GKKy79MdeO0B+QmWfEEr2QAXR7OAv/XDu9L54i3+H277//Qzh8IKrp8mDK3fH3FZwYrV1hI857wY
jMD0JazIM+8y8hxH8w9/mfVTpPf7NxbqC8NQvq086N9/aq/xnAkz2+efuLgvrkbh1eSyrFrfZqM1
osIc8hPd5pU9HDTjzDzYI2p6nnkvT305ngu0IETXk1iddc5t0CbMmDm7yhfG+ZeZoycmYqw+qWr7
GnbreNoCE8DKusczvSUSDbXEEJSnoaZFKGcETUGG0iMXCES1RRtbubq/Zng9rpqYx7rIAZRMdfQb
HCns1kG6StKMQaCPnD/LFv8Ig9FNPtjY6LHviotFnPKwxJyu87YP6HRd0jEIWbVF4lgrEW9Il4iN
YNpR6WcHxXAsmZ/QKAfnjvl2zPrgAZgUr4ZwgakYuIVbsoauczXl45Zg5tabNLbP25ZCuwfj0V3y
+wBzcCwNvTz/ZMr2NcyacsdeFQMa9EJV6yRG0J6rieusIkCGVeB3I9+Q7096PjikASjb3NFGjpE2
QXAH57CUNaR0m3vJcp83DMqYxP1gsmUmfV5au8Jq1uNqz3asc8emeCVNBuEdWeKZAyju4QKKBzb7
qvGQ4UCYOsWHcWlvqIEARc3+vrUDTIG7DftLk/CxrVKvzNBknb6ORAfcNmFxo3TaPoCkvNZSOcc0
YOVpOMYLRWf/ATHYI0Acw1Slsj36FP5UMtekcsMOHqPoaKjB3ULtYQmTGT4hVl8rwBACqwNGAARv
RvSNUHRFc/znA8Qyf5VicDIKk5oNVQ5wqMBH97cTa+yg+01Ggy+2I68+/anFcGf2Yk1iCtyKcY8U
JEuyESSXpxGL5sucZqzk1vy6YKb5zJdLGpSvo31YKo2zBILa0LJ5kEogVlnzH55pYTxRt1nUtza7
unB9GZfylFfFRnKh/bHOaWanzDxoQiscXZnHKgA8cgPp3265H6cUaTsrdbwvoC8xqW4gtHvqCCby
LQU5Butk73h2Anf0Wa3WOxWBcTTm71kOOqL6FKZ3Kc2dkxcfF0wxgzQ41SS07sZs5Dqc9+ayvNVX
nXSAy06A5MBrmi/r0Dnn0Xafyo7X2FybyKq0eUIzFVwAyYYjOWPxxoIRHpybE8C+tYLEnmjspW0m
Xd0Q8FEwZFpazEgsN6KKqkncwKMftocN05XgD+/yMF1jP6iySLM+ZKLTH9t0eSUNZ4mBIfqoKN5n
V+JpIZwL2XPvqRfgOaEb+1BCr7vBVO1b1jo7SCLik/A0WsmJ/+fvyN/7QTRBHPeIFUwaLG62Xw/+
rKhXrYe+eFGiDPcAFuQxFSwDLR0tbZ+TTOPt/DZ92KiUopYKaG/79t73B1SNEFORSyB4lhNeG2qs
/2G9I6RF32R3JBYt+9MX+vphfj2vA98MsHym77k2P781r1INwtX1VLyMTHp2HlmxOxC7OyT41Ja5
eQx51TD77lmBrgOimtJ/Qd11Ww4VC7hNujswn1Vec20KN0QxEWRRuYb3//xIf2Oyr8XJ9ZHaV6I4
EFxlvxUnZY+GPkQY+uKORMl4vB9mFm1bfs8KFxMpm6ghu/8WzvUnhMtrlFfrnowR9FtQmRluXSUD
OqLeh30w9C+gMv/88f5DccnHg0hgSOE6FGy//cYlDEVTII98mSze387yEqNXw+5KA5SzwBu6Ue+r
9vn+m+l5YN2/jY2PigaE3u13qqthKjNNPLNpxk1mAEw0KVq9jJU8aSoIWMwm2/mWE6MT+dds6v/u
QfD3AoEhm8lvnu6Ewuh33ZeuQgK7AnN4sS0qy8WUNGwEWZEG68ervU5nOW6omvEWOChxDmU7HOtA
h0lnOIeZhWDsEB5IXfw1dFkWk6RT7BQ+FzuGjp9YOdxAXFN2rAuZCxUI4ZihXbDWeeeH1sG3Gutu
SicynMcFqWiX/7BsomCh7WGK7BP5Il/EW7OiuK7QDcfhgsmruBRVZe+6yXnR5MGS9mckpd2+FLP1
Htgsy/75t2shPfjbS3KdQzJpope0bSZNv77Rm1szKmRX9JLln9NtDY7a9Y6dDkkrsNrXkUnBnWu3
HyrnYrbZ+hiwDuWU45QSfiTY1SeLXan9NqEbbbCDkoQ72RYRr9IHlhuCm7TsP7oFtg3OYrXnOj9S
asBiaY4N4a3fHbGv1LI99LiRjm12A6tB6yy6H3Iy8SxbbHlpezZxncCicjH855//S67naTJysIKx
Ajla+bW4bk5EG8CGJbKrTfdksdRInf2SJ8SY4XnLXCWZlGcwgjG/pgEiqc5jOYxdQwY95rpRJoLt
uHSH4BrbKZuLvc7zXfA8Ez0Uy7HEIy3Q57mCnpFpfd9YBHoZi3g3lVAkC2CoZU3FoURFdXG0OveT
VCdIr/7q3eHf1E56IzJsw9hQanQzcdaiRgoCrouf0nTRqDRq/RXZGguEt7oFjsAOwD/8XCes50VZ
42NjeerQCcwM5MLGugvJF9KgCcM6X1TYBZTdCybKYhgucHbb3s5SjA2KhfWFPXAzFlyY0LDos66z
/EHgowHuMaEunN+tbClv13w6DCXzca+AVZ+Uz41Wet+YypBOM1/X8A65O/mUEyjvJPUgjbOh7B9j
ID6WmbA+EGH1pHJpsZJx0RGXRrkPrOAdUQU5feUcJvbcGVcK2U7MFDMxQ63P1TwdFm+NJTlAMcBn
EPeT+akejLh0VXqbLtVl9Lfp3EA7S3Z2MhP2Xbumzk6W0PsSNeGuz70Hv+qhQd154XuSwenKuzlt
wuMicFpgIpmj5wtp/exi6mOFs8zGceN5AsJnCcSNsfldIsQi94MJnpdZ043acA3sveloijZA710/
Q5h9S63Ju6DWRRMuNpLrKxkmhdJnL1wnttBFbPlOmZRmJR9lytHWNDtX2u1bZn6lGF3AKc2dMSA3
/WnZQmd8CVQ7JawygVqRcB/Cnl23zNQ37tN3vbk42svmSydvg+KgLAGoR20L7Fx9ash036cNcRYL
+7C8cKKBZj6ptsdagWFJN2xuFmG/CJqWA+uih7xKv7t5WNyaW2HuzJG8aGO2ocTDHMB5HWrGgAWu
M5p/UXerv09X7qRiwDPTg10+tkIfXd6m6KcyqjTF96VkM3sNYmH+VqHXNMf+oGrMAsYGro4XKGRC
1up4U87MktaQR2MLcCnhRt6XlY1ebHMqGEv8/CoCu80OM/y8FAdvGaZjMY8YbPr12+AGy83qfa9B
AJKFdyYqFHcdrUxCzClgHFKi3Xq/WRUtQJPZzJ2qO08K3OAM3m537WkKUYWfrktysKJz5uPPl/n1
B1t3t3KG/J3ttjgtHghIN2aHbUOA3Tn2LXORaW+Wm/XcGo9OU2LcV3qEwUE73fVyq16barz6X6Rb
Yjb1U2B12QMx36y4NXFoxkBuHSmEUdpi9r1UbhDlRhjcLQLv+vl7T/37zAbgnUXaejM6foKUAtLu
yj+toOJVYJvx7LaMI5sqQaByX2e+cW920xeZNcB2cnDjDZhxCDZaTh/Yoe6sYO+AX2nre9suxYGb
hHpV4LsRuK2VGDqckm51R/wFhgbBUfk1668RoihrNE4yx6oY+tMqOmJMKfWSgRvjjBnTktS+9SrM
hcCA1heHcPb7KGub+5bYiw9bOsRbWYhzYNbsr/SXvLE/uaGxTwdqvaLcjoFfPbFTNI9W23EYsi7N
yrk+p5iV7HTfEALceQ/aNn4sqoKitYnWQZa8qxWxyLrrUkx/wghXdKsushfZTcw+BYa8quhf5zV4
C7Vl3GqUVgFYxzEb668aX4WbyjPvAmQi45y9tHPih/1wqjjVMAfQL7Crc8Lp5cSEKjrjrsod1Ekm
4aadH96DfRVIHI+rRUuxaiIfFi87o/L2QA9SOymEJonLlK+bmMYY35QRYGqR99v1CprB073grfYM
xi+p08SG7y178uFxwCS05jwbiv+2CBOu4w6CGEmFmmYjckbVX2OHMNjhl75UHYEOs52dWRDIk2MO
AN3iq2Dzm+gBY66NSFNAVrz47Mbub+Ho2XM4y+ctGOtb3ev7QCzskTO2quYM8oWGy87cp8Z6VCWT
YyGd6SLy9eMcEvwwdlqeygkAAljiUkwLFLoqzKhqM0AL33sLW/O2MtXyWvTghXkRknKaFvvJ5Prj
zfsIavl5aWdOiG74kE3ZjZ/bBKqSXs8PrbZjI3xxDCR5rsAjnN0ZJXXHr3csMYUMUsTs6BqisV9C
4BhGk57U3n5IGRkUOuVCGbZDm+rqJN2Psks/Dwb6gWkR/bGfgq+ApDkn5/zNNq11H24LxiXDlB+K
qs1PfEfx0BtGMFpt7aVAjMRWi9+1nI+QCMa+tED1NWcUB5vUsQpRz4j2x5pJKDKDTawHBbdq8uEI
YiKVfoB6mLFIDZV9kCX3WGDMLw8Ov8NYBrzklbGGSW8uepdbPn2QcIaE/doU9812YdkDuV/47Nav
emg7LATzWuO56QwvAq4q4oHPRGM7f+RwlnFLBR7VSoXJMDFZC5ZnwgdhSXAbu/haU/v7y55sXiLI
oOXRtXQJACh0gpm9l4W9gx58sorQ40FP7k2BKrqZHYxB+7xNZm1cgE7xF0zTp1BPB/LGeKVxQWrX
4ot2uSXGyX9quxIpDT3/Tnlrv0Nlr+2ZedAG2LjSSKEy4pazmltcD5779taZ8F0OtEyspWPi1PIX
5KdRuE9bUd7XZngwmd5QhPSoUMfmUzgjeJ7E42aVLyFedewRzacqJ9ljFfN6WKf+I4qdJDDKZ2s2
btWCKyk9SRXVlYf3gG1giuqOkjBpVfBrNSTFNe4A8VrBieZzPNgtsVDSYtaVu/MNKzfaKEuceK3G
sx+0h7AeP7Of/dQvARi+nX2AJqYjsLL3Nv1CC+Ce8AaLUydEXW8Z/VE76gWNnL5v8nJBnumf1Gik
ODnhqzqbMprcljT3wu0SP+cf50xjMRqCj5sJxUvH9PbnMTWPwOht7dinjiDMaCXnF1EFuLsmBnnc
OAEGcl95DwByOW6t3TLn4S4zZgrNNOobg5JZAlLNmKY27FnSzdh22Mbk0KtF1Co/S1pX+bSwUdsa
GgSLXZnTknjsX5m0kudre7N9quaQ/++pmPZ+QdrbODuozczKZywy4pSxVSSw+QssVhUazDa4XVJU
PKxxc7yOQ+A1H682FD9/vbFmK5djZgw7zmT/XqZxGKBxbPvyW7+qETYuVzH+euUuFZChVG+3nUYL
hi76YmFXcwoqBEpz4NAVBajzfRJWUqt3EzoLNzavlNO61CRw29NHZwtxgE2797rU9E+VNe7DnwZe
cqeoXHajbitAV/Rsnk4bNBYNaXmjjQjhYx/4Y2IufKiZzmOR5ET3nXGT4WhA0RbNjaMTq9+YJJWl
98pg/Qq0REEwWXGeVsVed+IeJrzYY+NHLzDpeO2oAcLrhidolXGGfvwEdu2fe2/9PPRbmJBxzGym
BTD1hekc+jqfE0l97io1oYTxxX5ZOcAnMnQjl+DTuKvpCitvWC6OWb161zZk6TFCJ5I4kXUNW9J9
dWVmshkrPtbSfwMcJvyGl+CEXREHwyIpy/AsAlkC2/cbLFxyirdq4AvlF3ypV+NFZWGWuBnOu16O
7q/vyJwr6nhziFPjJ33JuDjYLOubgicIrEXiZkMr3IdjIl3anew6i+V0NLbhJPDhQP3pkFrYXtwJ
iNabkHLkGF/5xvhj3bwMyIpBmNs/ETTvA52Hr16dfdHV8Ni3+aHJQdrsjivcrygEO9tAnheOMSVX
5BM6bRh8cjfk0mCJ/GUB22sBgXPXI1OJX/5WdsVOF9O28/whKfrsUJeDfE2L8ikonz2C4SCgvOzg
trCq/UDADEKnPA7yfq/6xovrgYdq1BX3+cJQkCDCx4zxBOnL5buVZ1+9a3KdKZFUseYQUh1Hi1bJ
Dg0qJFfgWtAcrBKbs6WiDu1ShbNVhVJ+rtSQILEByzoYCDjJo9NN1NUpE97PWwNvt2nN4HR43mTw
7GaEF28F434/F3E+pk99Mz7rEJURPZ0RZVaxwlkx5/P9mWjBGeg/6y5LW9aR1Y5+XFnG8a932C8x
Q/bwfWQR8a6yvj3RlNrJWHcHf3NvaU+KWEx34bq9gw8/GY56WzzlHTJpPpSaWdPE3m7XjGZ/mib5
lk3WoyXFsFtCAGGvQl7ZVkuxb7rxguhM7hDJZh86G2CKT5HiHtLjjoMf3sdK2u7Bk8FL6YdbAv6B
9XPpnoNxAYnq9BOX17eBfVmEgRvWRrJ9FgD9ERmTePfOuF2P6bsclm6HMwwmy4V6ZYnxuKYs23M0
z6SnKtS0vfGMSPhYq/BHu1I8DlmQ7zEYoTTO/IPHGiKpM9xegpa2wvQn99zL/qQ7xT4ACCbqp+ts
kqWFYVAF/RwGrYjKSlDdJFDvtWZQaFzZ06Yp8CRHRbdfGX7Dbdb5+lldHRizkguxtp7ygm2QD2N2
0/kfKTi2g6Gepc4+ey4sGd2sdXDM8hN43LSbW0dRp9zZK3aqIOX3peyc3bDChBvMCCIWNdMZgUWZ
Il7oSsO98ZBCd0Nu7zOiVg+pWJxEewK31fldVNNnGJgFffg8MMIXZ35+cWEGfWQzz52L1NezVsxf
p82O7TKXB2gZnYQI9iJnphRxrPKrVpUXFxaRpW6H1hg0/WIVxQ/Sr10muEjlAjjDgbxcWGMs0ZrW
2/c0nF3KxcW25d1V3dmpBzPCeIC3OnKd3HnOuu07wptuVPfr1jAKqMI3h0zWpAuusQxpXmKgaCBI
G90bLcKPq28nOHGa1PU/PIF36DzRJ2+I0s61VXa73kAamA/VM763F1B6Wjwsae57YgVPnTsjFQ3N
Z6e30V4E8xP6ym9tsGTAhPU3hZx8dKc3z93IizAlS+cU4jXT8YxAeUdiKJltg2YuKYzPeV7E7iBl
rIvglHKWRqlN62Qan6wJeWRdcicv8h3PHgQ81lGl9ldsTG9RJoznQEGwVGtJRTNZe8hqwPptRTa6
KB4KFTAMb0c6twei4jFqKrxuv8x4TSLO9M7mdus5B2toT0vpNpcy42r3ABzvyZw+NSPFq4TB31KK
9Kq1jtU4zMl0nbIMlUUr7yIjDK350pT04xPt4R1CkTZe+7qLxFwCFVoy5sHS6VEU1UTKu9eSu1He
qyHVdT+OoY9lfZRFeD/iXQYWDLcZXGe4wdCSptmYBNxlTn3U3RCTw96AnCIjXdPl05JtFVpOG9Me
5NFRFuAin1PfIyhpj3M9NfT85afBWyw6ZVBxDPX9gLK6samhC2YsO6du9oUlUMFWPdkXBqIcx5re
GQddLzy02vM21/SDgtRld7+Y3OubWfDDCJkELF92tYt4amnJYs9Ghoe5Gy6P3mRiw1YARaQtjTZ2
kOca/89rOSRD481aDHUjUHZFzVw8MTly8AK8jHU13zludeO0xfNQmHay+elzUZIr0viK2CNlV8hv
ukNuj+q01gH2BiOOP1ZHLFzmP+NjixI72MB0Nsu+sNXL4t6+Y39a7ntzjC2V3rUsTDHQFLSRpqDC
qlsfmTiXRSzKhup3PZqmN+/Qmn6Cg/++zsESSbO83iX5HhHRfTryqbtBPrQ20QFh+L3qM5PvwLBf
A1ZmBbHTYsC/tPaRWFZYcKBjZ4zSh19wIaoOMxMBjlvaf9zvM+XcjptgPBbWjEBKdZ/2h9UUp3nx
vo+Kl3zLqnPVBQ+daR5K0mJ3WSge4Mhjqx9f06E9wi33p9yCNqoHsGjXj/LQkvylHMLGiEAdB2T5
kdlJfesb673qDQYMDhG9TgikYjw2axGlhF53wVtmb/auBmED2+qLQ6FwXnKRebs8ErhuO8Uxcyx9
OnY9n52yRC1YSQ6DLXiwckmYzVA4p9JLHx3b/RCkOFUvvYH7g/V1s6uCPZ3I495ab8p+9rkDqiaW
6rMdkGXeYT3dMuSMSiftE+Hr8qJnljPcu/i8LhNsPlvwiNcg1oZtHlo1g0BcLwLcmQtqlGK4s+X8
o/ZmBmJ9NSWGWKlduK0SplwFtWv2vea7GlVEW0edjWrcG0xjz+CH380sbhtHZgmqspJ2zmYugifg
frt61ZkGkuLWwjfT0Ex5Nh9NO80AK/4x25Nx3H2qrstKf2zQVIRe8vNnHvNR7qYxhFhQ+cyzfhgW
3JaQobm50MDkLu4R1xhekut1oqYAhyIsWc+9j7MYNnDRfzF3Xs2NK1m2/isT845z4U3E3PtA70V5
84JQSSogASQ8EubX3w86bY7p6Y6ep4mOYBdJ1RGLBDNz773Wt6CYy50pa+JL5iM7FJRjlyMtTrpl
8lhOdPcysxNvDponsLffbzx7jTqkujyPcV/vLA4Ebe3Iu8ztCT2hV0UpQlx60PqnHvOCq8gbwI1v
7JOxHRZV4/ho8mx/1fX8mhjkz74omX4NfW3f4NPB5OkUq+/eiZpYvhkvXmjOiwf6CfSRXV/ty7xI
qcXS/BDE47YMMGfmnXkL/g8/l/0B++nLEyrjEpjf+ImiqkmBkBQlKIPZk8pwydoLwDgIHKJgOgxh
bO9dbfhCAzNdFSdJ5rfVPiqlfkTnOuyAoxJYzcTeybtp4fRc4Lb/L7RFWGj+PLaxUKEA0STT1vo1
dvY36qmaBmhailE+BvDLV46crpnWghFX/FqYCl7t6AvXLpZtwDvaIF2cjG6XtGG18RPVb8hir9P4
K7HafaqnMUZ72sCBuqoqZDow+h310Cnta3xFuT6scXnhCmOrycSdMk9i1ML90GFxQySHuxC0K87D
GC+tjQklAc6l4/0OJ/yd5ZSuI8tzFxFQAOhhS9GYI3VnC3s+8S/25IFOG9UqTS2aP9ZzklRU1E1x
JpnXWrBfaTjkek70mFQYgK2MZpjwIvYZXnrTuHhNhO0XkGvbeHdtEHy2LcD6prkkJUV55Nfrpr0Z
KwYisqtobVGCGbSvoHF8GUL79LJutlsvhTK3iZ7RnpoxJiF1qj4xzS+bBuNGXj8x69FWtQ2nsQ4I
92nrca0BUsBD7++oUJ5GoXJaJiwnLNm7JkjeBVbwnZXaNwDcOKrr2G4H3NKrzMYaJcOXIjWPdtc9
ZHkAOCPgIxNzCnsjiGlFMZU2cHFTMYH98SgrEVHgFomKhQYTaJEr8YA1/JUzHhJLQdEyhj9BPDHk
ssRXEZAbb8vUXUjXfdVaegFTZbWcsJhzeQUUWV7jxnGwX3i1f2T3OkYyr9kv2XfiwuPLVfIlaeOv
dMRchmjzQpuJcoxvZuhZC5h49GwT4+BRrTb+XPBKlJxVS96giI6ywlqeV9mDVXoEstYvSh9o32rK
25oefT/20NR3WTy4DKb53VRBGfPiUIwikFs4Hqze5M6gRbDK3frsmRSxTQHsHlAevX+bFRv3DaYy
d+1FybAPBocCPtT6NfvHQx3Qr3d7B19Hbh/HtHvtxbBIJzwd3VcAAXvt+2TuxoMgPyj3aaeZKdlX
OW5vM0ztFV4ydgy7LTZ22jdLZyy/6EGDZrEReap8Cnjzkw9VDtXZU+42KJOPeghPYUp/OxtWJUHU
i7ptjn3qultvwPls5caO2QKwzCFfh0OfwjMxOPNqXGPSIatoQIVUcnYjN4EDA9ybV+FHR9Mar/1k
gTUM6lfHEve2ZV5x9dzoBsU8HYRtytgKyw92LhdZ04SvHE/M8NY3zrhAXPOajVOxrvMfwqtOEskn
h3YCr4bwUx/vkYNizPFIV6g59qJ37towXbqQaFd0yDhAgeiOtafB1Wg19FGwsjp1cEqPEJmR6dho
WGfb40inFQV7IOBwv8hIlZmaj7EqGAyI6LZKW9KEhnEtEbocOI8ny2i8mem5/Gsh7Lk2M4MSG2I7
KYcGFlvZWCVftsXnVTndAuu4v8vnGYVNEzvK6Q0jbKevZYCWGmxABS5f0wJNPYesZp1Qn+R2Cb1V
+sFiyt/RNHBtlcELljq+gFBTwfnY+irzrmyjGxM7zlpTLGy0u19aNXzEaRb9i2Xa+AfDddQdqG8h
ZqLY9v/A24uthNGc6+SPhdDfY3zKC1AWF63/Ocn6PY/4B/gFn0A2qV2ec5507PscZNny+3MJGDhM
cb355yP/P4tikMIGLsJW8Ha24/7hJbWUnIGF4/zRLAqQjH4FXzKO2YzNal+6ixr3Hrrr/b/9S22S
TAILQSwQ+D+iTstitBIbw/ojFDgIjK73EYzOR+shT1XpLof0pjr35z//ncafTA8z6B72euCi2Db5
3++VDYkuosQwVPlo2mV96BSyQG8KjqGbAd2YKD7LR4PpGaw+VqzWII4jx4M+1N6rV8TnqI78TVoa
70zZCG9z02mbTWnIOVY//YsX+g/2ckQqPoI8rhLd/KMEo4iaZCy6sXrUjdrf5PD4hRmucJQQDBbw
0Vg532gZfVTIHDcmsx04H+ROGxjK5BiQS1jU//LC/bOqP3Bnerrn+Xxu7h/fPODQGFr6tHv0Z55F
QQUIeWqHzWAb5LwDceC/hFnNOuyiZta7CHzAWNyAnfXpLn+pqviJA8g6GWO9HqoumI8ehwn82dJq
OPDFlqpXwDLghOZL5RvTpTfsalXkGCpRc23bEgGiWwbjqvbSDxNAJiJxSioJ1EILRn/rZ9WLrWjb
AqrXTglLwULRxWSsdPH0Wp6jnPWm1uax5+jJJbTxcm3U/cVz0uiQId7MKpnsEZvSvHWIipShtnQh
/W59zSc5zJheaVQIYsqRYIUDSbt90T9RnEOYULvOqo/hmK5HORPQxugiXWEt4QpQaHlc0fFrWBnt
3utMxJpZOCxa+tZLw6O0t6CxTWhCCruXO8E0beXnN3USnlhGACbVAZ73qmZiAXuhNv37eJqONJ21
Za5VDvYphBP0t9ZCVOVasX2srS7NYdQwJsI4LOitNznpUwGWaOeVhpBax/2w7zvGcnppwYuxAXd1
zoahiUHj33yY6oIxkFvjHrXjfMcaqC9yvep2aUMlrgXFJtBmVmuT9zuvbUj+CdamHzwb6aRoIAAz
C2b5TyjbTcvGUVUYhoN4qY9FxJpcDqvY61du5LyaOqI1E25FOXjvtu58yamYmF2AMQqM+tYK8rWq
AqDBZYpK5Bm8BookvTwmCeYQY4Y1Mew5qBZQfhA3KI+pqbQQhgBtITLkgJgvMeY3vwqk/i13439n
Svwf+Bv/sVHyf2EoFhOI3yxiq/f2/T++8la042zP/L//ede955+/MzV+/4VfTY2W/guibT0ISGmh
dYUv5a+mRtP/ZXYJ+XgWHZIwsND8xtT4i453Dyauz0EEKdr83N9Mjb/4HOaR+GNtQOnvoeT8f//1
OxVg84f7v019MnT3D/uyMb84i3QIQLPEcvwplMOhDR4YNpxgtJ7oaQNc1GF88YIfFKfGshdTvm6m
yV2i/KA10verAiRtEIT3fmedEqct9g180kVVPIdBWRPFTZ5HzXRjUFGyDGI737R+fY1ZKKDDQ7Ek
lwRCbWeeMC0CChDJK1Optarlzp/N8WmAX6yv2I+zsG0uJtyyIE6PnqY+HHpum9DtPlM3r7a5z7rI
SmyecioCT+uPdgmtzjAY1Adln73aVMlmeCh1dXJMyiJ8h9SAkKNZEJeGPUTr3OTcFw+c/WjrdzZR
MH0TPwweJMdBkVKRNsWjE7T3bdneGyAyQDM8FJ3LWN9vvnTzUdMwlHVWuM6N5qM3SqLDhqhctEya
gaQ0y9GbpqVek2XhReGx0Ju1YSN5j+Mdi75aT4H2o/HUvR1q5GzKIFhmY7uvKueWvAZqEDzYGWvH
xRJeuxpEDwkyYuwyNiK7BUodkztEPa/D2Ixke5uOzLpG68ufYUaujfCsplqlio8PkWEaKykqjn2N
uFcCytwcrcI8ZGlIK97WJsaBAAFZWCTN1tYKfZ17gCdBQRpBuUUiTjdygOHAaBZGy2uZhPjb5/lE
qDfEbqRvWESmTQJddh1MsKDaKoeOPkimAF2yTIeqRZcdpYtg7K5OKt97+h6zDWNfFSOmCnRhnQ8i
jbA2IEp4HsrK3aPY2ePTxD8Tawi4a7lqI7rHo1PXey234nX0oye27RiZiWAKXOzHKW42rUw3oXTH
M+yOhashGhxcSAu6XW97/CL3HZNskgttM4KjLoanLMZVbkFxMZL7zK82jpvSLrMfnZqUh6Qryyst
FKRgaB26wfI3Lkx1qAd0kz1YnY5lgJ3Bsj9OerjqBq58b75E4q1rJMWW9vtzjnoUANHe180zhKbb
2a648HMrO+UTDVORVUzzO6gvhpMeHeC9W5UHm0YA+xWBtRMqaraYkV9gZE1no7GocL6IPMDg0r2E
klpdLw217SqXvtM8p/aRdXlW5O8SwAiMqxWNzUWcU1hNNpMKx/jJaJnqV2WfdiVecFG8kOGxilz4
q6oBPOnhNsxHJjO6f4NiofGsbAWw9qYZ6KGH+qM/UWQPafTACH0kuU7fIALaNXB/FpzQaGanJXmY
49rOaFP3en+bJngfGiW3Rqds2kHjhVkw5B+vcfcKg6KTvdOVa2N16XRaBxHB3Cn8JrcUYjkFOcTH
2trMI++l1HAvSygWbonzoDKZAusx2EB7mA7OULxBigb10KXTqmEQqUltDyJiuDECKZaZ7n9VZnOY
pDCP3sRYjS185apS7hF93FfqCy77z87UzLXHrwCSbL8MWCEUAJ1F60Y/ZJ3fG0gXVm3d/rQmsKZg
LE54DWd05YsTg05Vuh/v68bBtBRV94ZChjIVj8h+3nJk/S2AwjE3yfEmzaGum/uwfS2thBkanV9p
4jm2BnK5zBirZLdonezJiQoQiR3rnN0IoHkBuI1CFls96tE3FknCRB/ecmNfmfy9JDUGmsmWj7Ri
cJ6FW98Cklrb5Mp53mdVoG8poBBjSfdwhhodAjH0BJA5F3ntHVFnE/sa+M+CnuxCxKOxN5EfR2Z8
7YP+ROcL+FWongVSx0WWusUOGVrCmNU/IURMAVpgKHjuY4jHpf3ei6Y70b1ntOO31Sap04GJ9si4
whPyIJnwP+HMRbGaEVxTv2mRjyg6lZuUxRGqP3q2oq3OGGX3NRhwmXd3lms8441MKiJhLI1GEXBg
claNiuw6C7PbR5awGMaxQV6Xrz/m8YXQHC5fU0/2b8bQGpiZLHyd2iGs0D0TwrJoVQg0ZfiRWM5H
UzWHse4LGhX5FgHLRmhTjExIzOBGN1xPCLkXXTUtnclo11UZLHHEYouWVIomgR9Ct+eF8B6qhrEJ
o/62BUB+duPxwx6JX4b0twESdf/tDpA4sGihd/ukyGkE6VegbHdN54abXj5VbvM56t5w9SJ0bDAo
R2zCyIfIpMyPju3tEhGYz0TS2But5+LNmnaCyjabDopqnHmWOHADRzHGL9Z2yXJYWkzmiW/Y4Wdq
bvrQ2cuYtN48YJZKlMRz2JuoVDqJ+3huRZri4oXMQyxHZgvbtas1P0hDJGvELrHqZp8k5AQkfn8o
CoZetKMuovBeu9qjVnF6pBjSuYOw9Dr4LLFodrea1SEWctV+tGnDtHF99HT8ZEk0PEsTC3rO6HOT
GaRvu97OoCxlipJuLFk/dwWH6iHM9ePkpHPZcHBkrq1FLwkCyr+6eCBOY+78Z453i1L33i4coODD
bdnB9y71AAFvfJNpSIfiIH/xmgHJB9l8K8jsEP9yRZQ9CgswrfuCKQepKgVUmeluUhejhCRGd1DH
aAX5mOHt0tlgFaZwHpEvFXlibOg/DYs+Lg819edG5qdJ3ESFdZ/Q2y2r8iL0eSjKBCvM7iPOUTGb
HPus/jKK8UuU2da3sxtSOK6hAoqbouuK9ajZ9CZ5G1H6A7zLgznkwbJFHk9QD9/dtvnktAZnoq5d
RiY5OX99fQv/l8Ze5z5HGOmWQz1cpdN/iEx7DSMUHI4WdCu4FuwZihCvlN2IwpVxiWIHGyYdQwrr
aiJYRB0uepxxQOg5Qi0MZzrB1raRR/tfTPQ2RVi8pM4jQZQbSbWHMJVOSTSAW89o3UwxVzm+Emct
+aKmIdMt33qRQchEjrY/+pQzcoMEE0n1g3ytYrC9TTGpuypvu2UHDUPF8i6d/JZ5NtMCThqLvtau
cTXeleWMEyw8gJqy+0BH5AKoArLTGFOFPiD5MRTFj17tPav87DnVLQC8nmnouIyDJ7lyfO3RqooP
TrjAHY7ZZCIc0wGEoVsIIjtj8vUOoQ7qponLEo86x5c0eYCFdzsyVIlia5eO8p1XAf68zh+T/BAa
zkNWsVRiCiB4U/P3YxehpdCtHaf6H8Ho3sjGOgZp8erZ+a4u83uhuUdpCueJjKdn+IdiKeHMmlIT
K7q6xcYbuxgZYvKl+dOJI1S9d0XfMuoD85eKjuD2HrZQJp1VUVRrKmFxzWhCG+iy7+wJ6HAX4jTq
VqMuXlPGiodc0w96mpTrhpYfLktx1/ttwtBHf1XmeFCxKR+NMZYrt0PiNFjtgSJ2A/ftq7eGcz/e
a9q685rsghweua4C6zMAjV/mVf+iuuix4DTrmurOnAdlGpPfRgqGCsqTSLogtdYtzaIgPQRgfhZJ
RqSsssyaQjd9B+BEVT+lnOzLdtr0Hqzd1g5WbV8eCFDIN8rLfmpxwGy1oK2jTex4IQoQqYD+IleH
j4nXqyFWr/VJecOzsp6X+o3f9h2t6I5zUTdxGtJunJr3KEZgx5uMuUriKiAypaFE2U2lGBAaIwYL
ByFuXEHBkxdkMHW2WS8DL1MHa0RsqNtpu/JJx92g3aMdO+HxHnrczrmFAa0JfyZNuS8sFyKWpz9h
ggpvh7zcs+pg7Gif84qs3wS4ievNufEm0QZG2XuoLZgjdAaUvMEzS0yUiKfw6NFg5mKvtLZBj1q8
1kS0FvXkLMu8+0xoxgzLfMze4M/chTEkyLj0UEjCuuwgbBkKZ5kPoyuyGAzone0tuh4wG4sbzL/4
bJjSXWQs5duxdoONEjpy61Ebz0MKDrfExg3MG69H7WWwcF0VbZyOfsho5XThDTKjLBqAk7KYWAMh
XhVmIJZIVk2yKuAwCZ0ue9WfR936iUM9ufNzLduJkX54HdpfTZCb+5Ar+aqn1cdUIKAvGeou4zQ2
VroCFs4ra1FJaFutsuw9dgBCgsNGHdoM/JbWOPIZ9oa1ThvZbjFfrbShCwiPO1DRgKGjMbOSsUUu
hoVxXIMbCtuLUBxLD+8sbXgNhTOsWFszyLl5eRIcDgyGGC2xKUYbMysHNBUYpdzKq+oDscaF8AG7
WCz6Eg1F1EGZ12eqVYAABOxZxcLgwAarCa8lokQU5j29I2RHKEAcJPe7aByeAxYyT7/1opkk2IG/
xPz4RNTxugsD90CNYOT58ODxbGAlW0/xeYT+BBJXyk3ds/u1nQ9oU/YMW6YTVSv8uVCw5uofybAw
rQHtybejbCzSZZyvxoTBN2KNbl32drPBU4C/EwFfzMZNDMyNTFEqYgTxYbLXZJ0O9R3mvgiXLDOF
WS/lm8duPkjg1x1OVna0EmGtSjryaBCGIxnKi7rUr8pP8nUSFz26G3lrhTgHfR2bORfsMy+WwY+p
WYseLSpsVj6w7DYcrbPq/d3IiGiYFQVeiELTTOiJOvk5cIfxTscvU6GGYnoQ3NzbdoTNcEie4rYn
DxYOKlYRAI3kTNttdgFYLJBkWViMGZb7eAeXXDzrybHZzryB82OJ1oJpbDLE5qIv7rCjZFyG7aGp
zGgTdJx5AkusJRfBGiB/xDdsUJ690nOMVpqgE1ltQ2YZzO/Tx14Rs1CYWHd9+TNMmRjF7h1mtkWT
deaG0cYqVZ7PpSt7TE/kVUlk9rZUx0E3Qr5mpLcgfEl05p9i8h8mdjy8E6a3MFz8IjbiASwDkrXd
W1PKUtagwscEUPGpm+ZV6d5xGhzrGBrTe2+qL/wXLktdi4m3az6DrmGgWNsSVnF+nTidaKA4GC+q
B8ckIcYoV0hQ3hsx3FuTv+hJ8dz2OZtKa1Y3TRozAyy9YdmmR3PCHWSHrVpjy8YBwMaSKWTdRhW9
dSlses276dVS7kur6M5MSeH0YxMrrHdXRDe+weSS+Wy71QwwK0X2lnIs85pqWrUsD4bDVu0x5coI
ed/q/fBSp2TIBPbHd/vt3+pT/uPm4v+gS/nfNTz/V/Ypmfr8n782//7Up7zvPt9/1uLjD61K/s5f
WpX+LxxOLMvzIQ8APzD/1qo03F/YPx26DCbtQaA6f+9UglgzIO2AXtNZVPh/WqV/7VTa7i9g2Uiw
0nXdA6LAf/CvL+76qzX9n3UqPdgRv9d50DxFlmQbOvkrdEBxsf9+iGULJDAO3wecJEN3CJN+m2d4
NVop4KsE9X0Bc/CmiFrnhEW914YbXOr5A/qY4kjsa7cqKhNtKo+7fYU2JTTZH7TOuE6Ebhyi1H37
vtfHCTRonJhLkWfaripT6gw33PaE+x4aOLNssn0Fd544u8zu2z0acP2+9d3oAGuNRe/76QplTohE
tIkM71UV+HOlDKfLAHBziXcOK0qdW4+QxDaa1vlHcl0evtHPcEDj1QC+ZotuBky6bmg3VdCT1RO+
tBrZrpe0GOtFFJCx7ftF9JBGbbg1ZrRWOfrafQfhaG3avX6Cpq0vSF6p3v3BW5IsvdTxnrgTC5ce
Jc5NFzhilUxUp242smykeX71SYA5ZZncJTnSzFo9Sysdjm49YvYdvP4oNGS8IU532JbpqYhQgeU4
CkF0YPyZNKtMV+YIc9phjI6Px3moOf6gJY4v9Euch1miShKA6e0JAHMfmNz9VKGSZ5rj8jGfUho8
bNXE2uaPvTadYEI6F5jNTVU3N1ZsNjf6SM5Yy3u0UcGssOscsKZN39+xrKwdp/C2dU7YACKmACOO
w4FiLH2k5UaTX+XkvrgVJ3cKY2enhPkOELQ6otyojr2L/YodzCNEGG7y2jXUfazbZ9kN4f33jY+j
1yzLAcAycG3bbhRCmexK/IV9F3atuIEy81lOn7GTIQrva3FggsZSxz95XUe22LGoQr2b6+Iuu5cg
DNaZF5GWi3F3ggdSE2oUi35raZZ37orgRkvi9MYTEGbCUhM76sDhqSxovw3FXcPxoR/VXW278X3a
QQS14zPtZXWZSlkuUrdJXhqdmpqIWqJyzOpJGCBPvUG31+l8V1r8fshzMB1qcTbqnFONydt3sOeb
xptzr3I70Xal0YvbHDox74K75RWPz7Sj5NGMgPyaVoddQZhb/Ns53Q9uxnLiBmrLEWBdyKaKIW5e
G9aBkwEXMDQVr72eaqFjR13/5n4z37f6tD44fXc/tQNxcfPNUDlLgdrw4lckyGXYRJrMPdcaggjS
ambde3/U/3YTO21/LGeE/fefvp/4+2NdmXQHzf9i/C32WR+TvT2h6J5vygo3xej508YJGwsrgdts
syQb4L07M6FB2ldMdj3eMC09wx5/7ywjPCeZGYCXKm4L0l2uNNi1q5MN8lqHh+9HlB2GpJ8Y2nUk
b6aRub4GMYk9LEmrU9NYj0ZsD9tqcsvT90PfNwD7ql/vchVmuBPq18lPsPD4I00GDwHzoosGGh/f
30FOQMW40bX4TYxRyrqFZ44CA8hyY8tLmJCMlXjJX/7kIAZdDwPhBVWTI4r7ftqff4Y07RjzAt6e
78eyFltnPdvKEtsqkeM6CKuDYT7zaWBjV0wvUL1U9/ToF46d97eO1cV8alMFwQDhiT4ahE+16ISo
ff/y7PC3Z5Ee+Qf6mJ+0ccdLmmvB2RT7XgS3mYZ/1XHplMALo4EXMsUoM5M/Mv9ZdiSUr3Wv5u4w
PRAQS9cyKU5IAeJL5XrIUlOcwIbXbxMn9n/YkBFQQhqvRQnyxBr76IF3y9gAMHEPnc6suhM5Mlfj
DTQ1q4Q++dkmnhPeNCSimCRUs2vbdFxD68TKblSBD0jMl9cKwXcMkpjwnJgC1KOlERMmyZQHy/gx
C6eWNBjACSR+atsgoGj2GvUgaofzWGDuI61Mr98PlWauUanZTGi8FBqE5P2fpkCcuy5Pzto8D9aD
xlx93/37E35aGXipFYhlZDHJkIijIT3iR3/zR1mQx+NEOi28rGxuOKqb+873nv0QazoYLeuCduri
Fm1+RZHaPWLmXNZjGpQg7w3v6NIa5m11yFkomtdcMYyWUwi8gGx7BHjtjfIrcarQ1KA2xIPtl8uC
4AFflAl2QmMkk2O8ElrK3b41jV3NzHSBCntajZrtseOo8NAqgL8LlUCDsEGVOsvvPxqadef1brMj
uN08u4FvnLEUCLDw5iHGrDSuvh9zqQbORWgz1Bdorn59bP7hlNnFwgvYlJJeoy1WxjadUqostDxm
eQaTUBDlhGaZbfvGSooNy3t7pyC53glgh5vWJVW9jTOyGJQW/+z7PDt+P9sEulqOYH5WYVy/Ee3s
PuiJmu4G9AXsp87D90NGqnOJinSbVTTxvncuZ9657IqEJstq6UjPu5mP0Y09vUN8iC4Z5fqk3/eB
M25pl8h9bQl5a2uk8oTNdE7TXj8bXpXd2hKLSZwx6/q++30zJx4ACanG7fddMclD3Er9pGT9VGKz
fyG1Um1EWULLmO9OUX6WJM3eR8BLIi3KLtK2PwHLZS8R2OsNoTvGRotV9pIQD7FozLi9EV3TP+jE
yn8/bsgqOlQ5hqrvvxWouseBaWPMaaaU5pLQLg3dwCEpq6cxtBKuMnwykafEC6PoeNMDOdkGbSBe
WkO9TjTCr1aeDfdGqtGirscD+mFKat+qVqUuzUuLJfnganGxxf3j3/k901LMWOqzMw+ADrtD5E8D
pVcTXDpT36cjuPml0U/jsohMbft9rBpbEVx6nh2sIr53KpdgOgAaKPzwAWR2YR0ls5ar7jckHVsK
CVjmZscoYBPlJeNkiIbwwRXtFQaa/u7qern0irG41IPtX2j4xEvUmPp7WnYPQdSTVZ3r08XiGLRu
CKHb1m4TPNTFdPVM6w31tPWY8aasDazyG0O55qNMYa/1OSKi73Ph3++a8zHx+4e/n62m1iG5rdjk
lQYHzTWdqw1BZ1cxi9mFYR3d6Tr/hKxriJfjSpV1tlOj4W/xQ5e0K3rSEluipjqLg6wnjPJ9pIBF
4epMN1pYW3szT06pIjsAk4bzooXutYO69RNmCvkFIvvRWKNYIspM72qQVVu8Ns0hB8Un3fDQu067
d0MmlwhJm4PVGcM+mmR7dNtC3w111J/MvrS3bhVM58nPSTAsM4DllgetS07PULHmA5ApbsIQ5pnI
J+e97JM7SswCNwWWI5QCEsF+32B07DKcLol5HvpI343pSBeIdgx1dG5uC068ie4XBzz+6qhKZ9w4
vhR3nOBTUntRzDTNoZWt9aSbOsfISr5ktosey8JeYdvji+4atKSyQd9bEGVe5OSBEPHtxwLptZBt
uWYpcl798slJQvmutxhC22Zf55V125IGtjDq0fowJ8IGQUC/VQUD41EO9cmTxEWKEbMRqxZ5jmYx
7Qp36udQMBsqWtWeOSymq9LCklOl0XMuh2Yvu+lHSXQHoxAIsOWI2NzTIu1LIzNAmdWb6os3w/oE
ZKLu53Sx+9JHxBu08YgFi7ujUdOhk7OsYf4RkaE08EkE7D132sTB3u34BanZJSvLybxz6tfOiVz6
n6nO2NvAXXXLFUFqi1V4N6nNRQrDu7wEsiRlwMs8XFUZos2edkfOzHAjIMLgv/FujKTuLt83yEy7
C5kRYsOFSKAeRmBLV+WX0qtlbxl0HTCFrsUk6k+Wwa9RSzRShhRq9C5p7hzdD8l+MkaExk269xVr
T54gjPXbSNvz9feOThcjTwk7wrBGcoWHYpJ3BHqGS8wiwWMQSWP2iEZvoAdecN13n5afbm1nTkka
4B0mZMR0NHPdUDc+hWY9Z8Tj7huL1YHdOl6lwahfUidKjlZfJMR0JeUTEM6nJnWHzyaMzwoe80ta
9xLvTqJOzBfTcwz5Z+Wzhr3mfb+v7Wr4rMzkh0PP5lHp4bCB+KsOZgbWrFHkYmRTzTjBVsVbD6+O
o6cVnIta9beNcD6LIS7ezKxzKDoL+M/K7WdNym2KLu1NmTRDdYy3B1Zo/bGJ+t334xUZAOuYjIc+
ZrFDdxg+9p48MOlO352AxrPyBRbCyKjuMhJMfn28QVQs8Fpc7MRmeNbTQ07GLHs3de2L+SVqYw8H
ZWNR+4XJm13n5lNbSMHZX0nGM67xVNOS2yJFq9bfz9JqwmSosRR9P9vImlOzq5nH77uxTly60Wg3
3/dcOqGt7sW3sMtPqsvbHQcr61iXreQyld4hc9h9Ytdhtp/E/oGrIttXDukLIF8abFCVeSLizNhC
cjHOeP7pvgVsIs1TQ0LzItNzcew7pkXEodbV0gHXt65VUtzRyND3cRUpnDZhe8LLR6VvetQjYadj
Rzfyx3qMPvrG6z8J8Nw75lC9Fqh8UWrmEjRT0J7G0JPrVOn5C0zK84iSCc0mUUhDICF2RQ01QtSa
xygiGNmzkowv9Q1J4uGbnVbWOhyj/MB1G9wNpYXGg+ftgAYmnAlx58YGh9bRXNqB0NYxncRjnEOZ
gZ7ubXRPGbcV/qRliqn2xaGaDnH2Ak04yRi1LPHa4hnV7oSBjBS0WDn1LdFc8bYJK7LUVGMeCz5Q
HCrRM1bW+jL0AJbcaJ4B4L7YtnprnGwtanaewsZfJP+fq/NYbhxpl+gTIQLebEHQU4ai/AYhtbrh
gQIKBff0/4FmcSPuhhHqaaOhwDL5ZZ7UU3BfVnYOOmkx87DbU9awAKe2tRw1u2YqQZz9UAyCrp65
ag6yy2nIg3W1aaiwugHggk3aUPny++XviwTIkMKeecwxPt18Lx13nLjYpr9qB7NZ5tULQ8nxEdhB
/YydrnqmGnBXcx8iMYfMY+GmovSPEa4RP1AH2O7HxDXOkzaYp34sC2BLg3OvJGt3p5vzDdGn3Lgi
KT4MZ/ighar9W42KoU8DC0IMbWR0sftDh+E3zAnjPZMBR1xZVTc7MIdtyzw6LOzR29fNQCxn4k7s
iMY5Zf7cHvR5yO6XIYd7LSv3Go9dEjkCrCXBKgb/KaF9n+s1mXEQP6B4gBx5RWXtF8GaVjPQYtlP
v8vJ0h5yolzPBqCi319WRYJHe7J2ycSu7fZrbXSgfziSQRxxev8yjxzcezstPuWTyJrqZMtgT0pA
5vs0M7HrQnkPJh8H3uyqZ9ewl725kGCMJG/r5feFcejj6HZM7TqZkuDqWwAvxfDQW456ICs7PLhk
9fauZTnh76/9339gPS13/px0m//3H9qO3HjbeyzHcAw4tiePxN8qoo24O2a+sd3vl78vEF0e3JIl
tWmS+skMUM1Sx9xLp2FFX3+pgD+wH8WZnzj7A5Ccp7I2p6ecKyymhlg7/f5arfXqvtLIq62/Q2XZ
/GSZbGKDtojt7x/4fWny6qyNUMF/v9JI9Me4J846PJ8L4W6tCxjqL/F/L3ULGCwSpaVtewxpZynp
FSRvvMkWHRMhyVrCBv2xrPO/hnKNbVDE/gmXBh6GnogH32WPT0kPIlCC5HVBoJ2KVNNC1lJ7g5W8
39maxgc5fi5AH+/4gNvRkACH1WcyJ78vJgoiea/1a7Pv6ZJq8O8MRAxPg8zqEyXC9mbhnQn71GtP
Q1VF6WD6hyAwrePA+BtsThw6VOzsnP+gb0W176RtnIJ+2i5m8prqgQE6btKv2aIYusSU7HhjzpjJ
/YkbWghHSd977HpR4MJ3oGmPw4ROp+jszAhv2TO7k9ypXJxwOiMygecJRq2EFjC+43vGwd8A0cAX
4YCgDYeRAlTkuQwefBO1U21y9wKJwBITOgVym+6vHI34tUPxuKugLDZboFtfmIpC+EzmhhM7lhac
Z9ClLDnvbNe7swd17fu6OeYdzLRprs8tMIhz71ydpnYObTEw2MFBR0E6KSdgn8Sah2Zj68DIEIHx
x4Ud3LlK84yjna9NwWrggFq754UrdJQhUobTnbUs1pl+Vu00ZTeJ2ftET9/G5EJxLqX4DpI+x5WK
O3tS3oFyxHRvle4DSKf8bOcDhy/Ls5kNOiXxwuTeKBD1FhcEYjypqzOJ6+/TwmfJLLEL5m9NXqdk
MlPkH2qDuX4MzUhcIHVOHvWFoY8MG2LwedRa2Z3+e9GD7lQPZGNLPPF6M7mhhdtmsuaCEH1BDJ7R
poMZY2tKQTUZ+igJG6ul1i0rXQB2NBiepjZbwkqf2gh/SbJrA+vd0dV8sn3vG50e1LSP0awUD1jC
oBsZX9K0yp0xZQmeiH96nCTnRIthkwzl0fXRAOdlHK6WgJ6d4QGe1Z2BOE5v9vgy5qg9+AKOmpmY
YD2WAQ+hf0WGTAA2TBdnwvhiiZ5IKen+0MUijGcZF1SONIbK9PuSGYuzc6rgD9LOVkt3qH9YEW1c
TAI9CwmcwdnQRCOi02EZfIKh+T2J32BTT5gdek/tKJ55+G1tKKnmu+Hmo9Co9oCXV/SjcdkIvdLX
D71OYAmWw3vnoP8ZHBFV7JECyIFCFv1KCwjG6hzAtPDymQyjl4ur0ZD0yOJ5eBAKn6Bt7AKaPMNA
UCUYzBDm2iW7QIplo7Enc9u47KGE8IulaiE5G5gVk5rbRzDAv8i+daJuB8zVOVfGLDmYxkRTe+qS
WitR2Ze5iJzWbC5awYTUSNpdbAJl1KfsUjbyX+DIW1EIf+u35oftQ9iJjZwh6OQ1kd6W706RoTW6
KMA4pLk05Fvmj0ywm3bawSzJQbqMrPIUV7pIwfiSBiMyA//O05a70R9po/TVzapUfvJq2d3V/GDx
UoWG3wWYSZND26fWsSYBjxH5sZZtfPKzd9rtS056TsRmPBxYYbGCrC8UdR+oMSVVkRGQYsU406fF
TxzKLLhCsts+5NUhhlNRJxehj+PJ8tPxklDhDs/muZJez8CBzQL/GRg12iMpdnuj7JEadu6YEMd4
5yTqg+OWZeSA9GaAQvO70f+r/fpokNGL1FCkByuHtQBOVd+7+Zo9rfzQYO178ybcF754MkhsQNyc
cIpryYfVo74rinlulQ9jF6DpfiGR90YuOdHdKM2ncw7x+9HPanKW+fKccuDZoC0HBQFhkDneiyv9
XS8JAQHItTa7tkz814xzVGh67b9fB3JNUxduA7fDwtTx0FuvPlYHWDk4W2I8nrmRWae5klbo+D62
noxsPF42rKqIO6p/qcko3pX5U5uqNrJdStfBqqyhx1ySWj6iIFboeOJuUd6j0Zq7isKVPcVwhwI0
KORTi+iR7h0wvxy7EcyRJ+Psp8MMOsCN+iKjv5pPqaMce8rI6CrlCqdx02kyyngFx6WpXdmQVvfQ
LeVWgEPnGsZZikhrHHEziBICpMolEtDo2DfBmV3LButtWZl+lLX+29iSPYDfXm+Unp8clIQAOuHW
s/o7ESwvXTf+dI7rhKO93AJpnYqhX+4Z5O/Naho+8oK9asgfqbX096qGIGomw3Nrj3stCQ7si/HG
argIWfTIzW6vsfcjNpZG84R3dEMpGbi0qduK3FT41ckLGsGcM+RzMcVyKVAOxlL0fp+rMmGk6ong
m9i2HnyrRZbJunSBABjhJ8fZ1i4m+ZoFlXvKhP+iDwsllEHXvuP2/+uayDg87HdzTUS3z/SJ6JSK
EIJq1pez4wp1Y0ejFZG/tVlIyta5izJKmfpvEgIuC9c0fEYyXhufMHRPtxYS5J6J5/dY+A0OgNy4
CjYEYGdghcxk2Vu5LI8rUB7Os7mBFlUARWPYA3P/5vr91yLIR2lqaaIeMyH4N3yMHqJWz/Cr0Rkv
aI4njl6Gf3qiloW1s8HvJ2BnEOjGJrbY7UPpEwHxilctyD+hSaudoVOMZwU0QqIrxHxMOI4nkOYo
bR4Tf+sGTY5NfZp2E8I80ILyaiTOnW6VXqSPnQEHor6ZysDtrzsnXfk2XJzpzrc7dUD3guOVvo2W
QgI20Z4Lh1wsUTAcPgmO2CQdSTT4gl7k1qZkk4yBwwwool8ByaItP0jqjWATtA1nHu6H9Nu1H0UQ
BPTZEpvRepdC5qz7cAOqfgUnxbZNXgY4h6em1zhbxP9cgoObptTfrSK9ZC4/PWcACm4sWP8Fbw7L
wwH/96onZydMcKM3LkdLm488/SejhRTaBK8++hNIu6aO7FrmMC29bE925dUsYzcETgeB4z5QKe7B
etrSprh6qMUhNxSzBuhpG9uSFyG8d66t1E4cpslBr2KRiWZFuHigMTAgPsCQ7m/FDT6rdM5ka5q/
WoBNDEEHBFffS7p+941g6CyriJQ33HhwVl42JvzU6jRKBD7+ohJP3uTN1E8aR8w4+1YfYUooJr25
RiKD2rZbNszfCB0keGJj5xSae5wbHEpmxlmqJLFCI0R8jlMqL4CkHiZITtU8mFsKL6ewduyjzZFk
s+D9o8tZbnsnIVUo9QeU3/zQ6PmlXaCZe5RO6l3XH3UIGCF3+AAyf/NMHgNw6iLz7Th+F3Qxhz6M
kqi3CHknZPUSX4E4dcp7g6qsfQ5Vc0icoz0+5H7gHMHih/TONvs1JtQy+74nggd7V8fJ2nod+YMB
2zQcjEh4sX0RgdfSyGzTmqHvBkSvjTIwLXmFe4p78Y+AqbhmRkBRTfVWZ6q5Lztopnlqg8Ih5SOH
jr+10d9FpkG2A0ZGdJj+c4vHh0zLpef9vSum5Fkp3p61LCTRT/kw18wSySnWOjgK+iv9cyOZdNgy
3qUU2DoABs3FAVLPj3ifzT57qpvE2yk2CwCcOHf7eY9wHRxbaCE4rd2T/6FVjX1WOn4lnnoqmOqP
iS6+I1+gHiZbt8HeU+Mi5PE1PsZmRo9eb786LKMwdZkmWOqYUJx6K6mYPitJqsdvXO8B3sVKJHWf
ekQD2BQFxjN/wtmc0XU5aYA6Y66rXmHSA9PSGrG+yPqP0viUm0SUmLBha8sygK+Z+9LmZF90rsQ1
6MAFY9lWy833vp8EsJOACk5NvFNOsZz82JOHsdCye2bmRCO65N3sWNXT3qDqo6Kja1GAbN0xN08E
5Y6tIrRUQiHGS5vei0FdWv2X3gIUsBLirLXGB+1waodRHuo/uOMtEAWYszG7m6k4PLf3AzxM0Q44
Zj233TrY9tGlKsT9JpQze34HSdRl6dE0Vz9nkJEZammlqg5VLhmU3Qxjje8nwMIWE88XDwjRL5ws
K7pv4Zc2hGvOWqxgaXmFYrJgHVUbJJGfk9OyXf/PpH3TO6G2kMSf6Gf273qHWOxS/2ROYpzswVfX
aUWfSKV/LpVxweOSnYfA/FQBJae9LrnGDzBdehgIUJL4nAMrvsLfMe5je2b/nUiXW92d1VIXJ2rK
DwHD/RFQFNY93z6N+fyHQ+B07QI5XTOGRccmLgi39bj3m6raikAm0KYpqi25CdCYUU878dAllM/J
xb8i/PrXXIKKUGmRbX2jYvIsd3Ym6EgVXbchThdHuEUVAWH6WS1redW+OXLkfAYZU0l/E9CAwg81
Yj/mfcjLIgokhFRtJJxbCO8QQPOPoJeiZ3ehTWJh/Z6I0FHMFsKb7+/wyO2gtwFkwXWCB/SAHQqK
RlFVB3jlOFPGZ1zQ2tH12Ga8rWqdHIQfNDyqb59AlRiPvy9Ny5y8QlTg74HeiMIGQA8PaZ+A/iob
9wvDhX80XMUMu1l11WXvOT35cqyiVb1nIAN1bW1IbqQkVPZElE09VbGBeRLloSy97OTK5NFMxuu0
9Ayc+jis1PylwHZt/Cp/gqNmb+NRSzaD6cDqa0Glk8AMHbD5jF4/29Gqd2nKrS4XB88dHzFaBcdl
ZhtDJLG5enPsSAFtZFfdVNea8/aFkct3mrfDMXPLXVU0F095/M1pEQ3m2j9da9FkegBZYUwhss1h
Z/OjJtEgQ4EQq1o/P7rvah4ZS5fefeJwsAMvf9TWJgQfw4bTXymi6EI9a6yI6SUmomaMxlFwlh7y
e1Qed0NCYDvk2s9ETTWq0xMoQmPTl91DX7U4uAerJuu68JEjiqEnKW00JrlIX8iOPg4gW/goXvs2
P+pll227bu0sg045lnQfMJs4yFwbT/TNVCvfh7T5SDnD2B3x5O4JnnL+jIlujDYqs+4SkSJ8g05C
/iK3eMKLJWwVbEWmMlFikkRzBsknFrprHSsqrMpqV1XmvEl6+EHjANeOLhutX5p9jYa50eWHN5v9
xm85i7idydmYQUvU+fOrOzfGkWfUYAK3xIfOxTEHQS23KFbPe01srJinXgzYWTAC7oNZDlEwYPZd
CLDONcNORjQ7Qk0mWg34WyPb9Zq3qcu1R7qQt2CtLyfFHwrkcTZyhg2+kexj3Ndike8ojvHJC85K
Ndm5dsfdopvJXhB99HzHCJXWsIpmOrUFgiq9eIXvfjTFDJRHL9sQVPKXlStja6rhkoiUoJG414KW
qFLJUqALJyzinDohZzw3MxQiKI4QMmeEVwpJqkArjnE3YRHm37n0DXh8W/lhbVD50KxaCNMZnLdW
cJoBOW8moDVbuI1e6ExmyYVjoTQ9yF8TDxwOTikwPuXyonslWLJqpOvV5o3+faFeqdk2GWMl06YV
xxGUYKC/c7Hk6hY3J0xpeBABdWlj8aMPQBSd1ttQM3huBlxY8eyeGCKTin1tFNYI3xUIagXVENla
/efSksrw0F5Ez+C8GcPJl1x5oYYcCmf6oTXmAH+2pvMDfDPcipcqdkmZDQyX2zhi+Zvu6uLE9Dc7
akwEONkG9Yaabwhijg5wT3Dvx0/TiVvs60CHWTx0lIPA9T46LdknOflPtE47Kt/8BSyar/XdoX3x
pf4vpg7GzFZgUWXxYEC0a/rBwljdPFqefGxUsqcOHSSmvx8SnIpwT181r7c2/FRH4E8eaTUToDRX
NkQrMW/ArxHvIPmCBpfuLP0uy5PmrR+Ch7IhjoBwQt542QMzeh3JW216J654n/3dfGPOkbWNu+1m
5500QR5mjaoPy8wkXOM+VHvIBtsZjSDCH8P76wSHsoj5kJbFZ9qUkCQCY9i5zt8SLmAaA+Hg29b3
Ezdm7oG7xAHsbVaGG5XacEP85TTqw5V0afdxsTaHOM2O/uRAZ2IMfBGpcRi9+KpjbVqjTPV+nN8A
s2XbWAuADuspCAyRJ4+rd7DNXibHZ+Mien52XbKr0IQDG/4NKPCNwNe0URbk97hOOlq9xD5HORga
iwRcYT6ZWnVXKks/YLv6pFq+UucqoO9upirHd8iJuWSeGmRsgUmeYvpkN7ZL86i8GTYJC7jfGgi2
BcioVCuxqszIIgOUKTL5nEuLEi3Y1qu/g0eoSicdPemoxxa+z0nY2k5042eapJ/BUvu3hYxw7Qc/
ce7bUYvpiGHlHAV5zkqLyIiEbUbeiFikzDhjqRdHp0VE6ozqIfdKOmWz+r5ZbIPtmPYVQp2Qu8gv
wwQOysOou3Vocavd5smHmeRfJTRigmMe0QnYOf2onyxzDjaFn8ARsfSAw9wQGaX4KwVZWSSRjecz
AkRhZalPIzfQ1ZPONuw5xvxoNw8Sz9EGlwdnPBcseOWQ+k777taPxbyb4OTDea4F0ROzpn6tick7
k0rGPnLxh2UKua1rQIGRROAUgO/v39NMU1unm18GwNcVzVAXHCcB6gUMvSKBWtYVgF24IYqoR6l6
wkZzDAi/NnlpQCjIiz32FbqP5vxJdpMVxT3BMD3F96njqV96mg6Kk63MLx+sXlRpeA0qkuAkyWnB
mwGbVH+q8b43rO9eo7yDkoK3PjGrI+2QJC04DQ0Nl3UHbf2ULvMzWW7vOHcq23SFcxqSIbjW8/yM
xRawrHHhUECctlOvOKAPc8u1K7Oes8r8psAgOFmZARFG6/ZTlRw9gkEiH75ydsYNmz0KE1Fnx3HS
XeLZx0Ex9hi9/p3eHtZB9vVtPMSgxD0KOg3y2YOI5b4l4bzrTIxPrtv+4a23iVf15HD97jnJXft+
Vlc74Ght6s7ByahMc04LL3XVbYHVvDdA0viZ23LUIk9v/S3uwz8xEHZUbgdAkH4Q645GpWQ+DXdZ
oT6ZxAB5sZunrplxgvTZxUReiaCMXTodmZHV/cVvvGI3Wfq7QRPCXSJrOMNDvsEGxOmbjd+fz5h1
2ZLVnS7xVrSUr0ZZ0b/rq1sZ7F84zsrctpoQmzGeDlh5ocWXoM9qPQbivcxveeffxkn/mBbDJSYy
ciGD/24Wn0Vie6jnE3uPlTDp6TKOgUrPNkWBCC9sDk7Z9D476oo9n7tL9yOn7FW2FEE2765GHaOw
rEPZsn1I0ZzsJb8TOO7wbbjguu3giGGV3Ksu35rEYPadi89R0limHMajhUf5EFd3u3Oa1aJw7Y0j
s8zlrrb8t2lkdabcmZ1jRI4CX7oVDg7zoK6OvVr60PfZ8aSmv6UWrvE5U+2pgMDR2SrZKoxX/PMY
KkVLTtB5tqamPTqM9IF4Zgd/GT4Sp9i3dvblu8x6Jp9EaJCKMBi0N2o3nUNjN38c7WEpp53s6Baa
Ne2Pnwdw2+MJ7wTdKGHM760xCOwmn6NJ3uIjKb4gT4OfH7w9rR13pWE+DLq8tcBiB3Ui+9VHRd7/
qIHuvnlus8hqdzoJQYIrQbpn8vSYNohk6zQ+crvlMzD5NBN34kP+M0gwxMayIgy0ZdMewWFYOzux
/o6sZdzWjexU2v4tmIFc2Mkfa+CP6k5/k1iweCSZmIg09qA6Jl92DjneDtIvHTwFKVv7T9xvycZf
atpKR5d+aU0NvHfDT9BXN+VhL6g1ODX834Ztp78qR82r/AZFxFXvhl3ts9J8xrn9tXTLBskmoRqi
/9AC508xFI+40olILvpP3zjvoNi+vX5+ykxu47Q7RLBgub3FKRld0q/J8tBJ7YxNY/mSDmugOZpE
+Gbnwe4JGhGUXEYqO0DwEgEYAWI15Y7Z7bsYdIzXeX1JHsHZfVKk+o614GHKyJOC0mdc3mJY9dRD
TUlLmHrJo1+Zey911r1UH7b6YqnQlRhI6YorgYuHQGFxTqYY3nXKdyxhrU5dOeyFJqbDoHPOs2x6
hOY2iYpMPBsyJjs/NOFI6xREk+xo5dXbumkVeeQFGedfAoMMiZ79xDr0C+yEdEmfKwsg8pgwhpnd
W96W1cXNX6B0+iQ0QZJYdXxlrbrLSZMwn7DuHJh9TZCWJy4bhDSdHyczHgPlUmXZZ8RJ5w+uMLhE
svpJeO6r3aJHGEpec42PzNwd6T/y7slZHAb/nX/yPGe7YXafdaUxnslkJLh/7nKBoA91B6gB0BMg
3WRWyUt/atnAzofy6FOWyyDpm07ejHFY1qDT1EgQdfLmmMxXOyf/1tzxkrUAqjQn+8gRDpRBmrPo
i/dGcMIC+mBVntogiWXb0ewkvhV241VAM6GmbKSQFHhYLQiIf1g6MV+kVfmYWDUHcG9Xa3a7n0b9
lvo4FbBWx0jw4r7wkeuXBjWigf7A5BIByRA4lxMilXma35pRH5hX+TwCPaPfxWNS3JlTAF+LMhQ0
pzhE8PvMHUDLlYyfyTtw0AiKOwDQX3ImMYfXmv8VamR11NFjp6z7ynQf22oytmTgz+vaWttGHjYO
eWAiPirChB+HQ8GvaSIwt9gcJ/5Nvo010idc8NIrrVMEw6nNya4U9nA1xaeXwJDsCoFT3J//4Yna
pOuTG6TEjeflVgwMZuJguukMR+sBccHR9K1FSSw7Nc+WVjEIn5QKmWddapPZYtDXVEEgZNvigzzP
gYtVu5nN6TwncPgT++DaDUneinif4rOiSwzGKC8aLMeB+H7H2maT45BG9qIwTDCDTXcMHl5KSbGg
lFeZJMMeDBSXj+5v22kI9AbwEat4WVw8Lzx3e1Oy1jLl2k1gKzn1kNimpMg6JO2z5+BO0obxk3Bv
fuCROePqArNpTkjmXr3XC6d70udeHKoKzG6n5Lk395Vj6n84LyLMEJx2sCbzNIip56VvtmUR7Isl
V3sUeOK8fA9F9+L51seU0RPWSZDqXbaP43aEtanEGd9WJHMrvbQV/Kdm9RAt7snrHTRFPlxZ6y0M
jpcKR1RXnIUxvzHx2/t9ytFj/ffBw7QeQlRvHXCT/BMT7rb64MGnjbAuc4vHtzi5pXGfSU+/t+V0
R6SBMzh75Jo53eaCStI+9+5rr/kLK/jCBdvYj2lhnbpgQtzM8A2hNIUcqLnGUwqtWcY/srN7c5Aw
mwqmOCaduqPhjAzb8hihv94Lo2IoOmU7pcNcAsxAtpT6S50OwyS9eFjxImg+WpmfmATwY09I+Qot
oN9smIjTMhOv5aXte1QgZQJlbwYS7qsG15VgL9pmOhdUlcTAjFNuVDzVDO4y9o2w9cSNw+t1kdhl
ewD1YVsRo0tjEIdm7qyEhBH+ppxftJrpdWnD1Sedx562EjRErl/HYe/o3gYFa7kuk++fkgBKFHbx
vyMVwIw3sd5MoszvS851VovHMm3Ll85/F46X7yxTvDUGdnP4ecZdDw2/KOq/SeXWd1ZWNCylvJBZ
Qv0T6xRzmU6aqXvcLZXa6L2zL9xcPvTcT5PRwlvXDI/OENOzXvqcxVPxniZFvZ/HliIjcAJhmlSE
oCxwkWmnIg1zzgvFO+Z+mini+v0SE0OG0wjCS90zOsDvube5o5D8pksTHywolpy9z+3jV8GhXUtJ
QU1qvOBsLfd88OgHxWnP7lKn7/382SvOwkxZgj1lUDRm6cqNPK85U5pxyS2+mC3ARxqYGnySFFt5
8gG2+3hfCEmZWVu5d0vnwtJPjXhTtQyx+VjiD8HhMHMdBm3h9jQudU8ZxvG9pAngHDdwQezRLaLF
fc67iTCAc3b9mIhgkZHlJVkUiEeuc8kh6+kicNPhJLMZljvlj3XskmRpvb+9i2HHklRdeJN6hTCy
BuQeFyuxI3fmfowfIcMkfwj4VIVT8+qUfEoqRfxc43DYQUmKVGA+wvCN5om5O9UoPFUTFHFWXrAr
9QOdtyfaC74I1fcbd2k/BAgzJKYKXIiEeQRvo6gZKurB1R2SLpwBBB281f8Jna2Omq7crgeMVOpf
ce09dnKi0Kpy4B52axyjh+rMTO6TVfzvlFDLUxeEBoqqGygD8Z/drowqE8Zakzzh2eZPTcG3YkfB
jpMymBxgmWm1u5tMh0rMJru3ppH3dyVLtqoO7byB4jyaFRvczKy1SIudytKDybsWeDjUR9HfgN3y
2ykyrXx49GL5rpz6SvLaPRs1sbqMQTZIBn8cgh2g7XgPcYG2vqC3IiSmdvGNo5ekkWXjGRiWq6lX
zZMtzeIEOLAJ4x8aHCgvXPgtvQSPX0A9IfHEzxlVCQqqgf6BYBhN1KRUabCRS0/KO+s0UFbWa8PY
yzJ6aCB0wbAucAPhO2/7yyDbJ9dNSUxWxwp93AbdtRETF39dy5mIMsuhkYI5eBAbj5qtuZ+L8S37
7Dut3yFlYqOIg29/ABJASQWXP/1iYXoKO8PBlxS/DwaNXi2JyDEP7jFKJqHuzX9n55Hs2r4AT5FM
flSmK7RiyH9Mo0JhK974558APTzR1LBpR5NmjQXoKorrxrEqZPw0P1gOdQF0eB7GNHvCt5lsmwT6
hqLTPKY6PWx6dSSMJZH5c1IDqc3NnaOC0Wp8NVP1RwjfnyVGMR5osyh2mmIzah5aVaaXrg/e5LD4
yNfq4oyaH4o2oYeHuY82vsRj6m3G2fq0QRPx4QSqYc/FBjM8IZJqvZcDLGihtJ9lgVPQk0mwGfpL
V7YPnKkxIj1pSb2diaWADEKSXSrxxx8YqrrDe+4QXKuS7j5R7d3soNg4QEQSv8eWtb697rtWkmfl
sNhlI5ftpmJMMGc0RDCZnOjasp3HJDH+lZMT1qn/k9SCN80wbr5ZPvSBW+9Mhgi+lUNS6bw3MqZr
sYm2lpWfJzf4bhgkTeTFScaOzdZYiXjc/6EbEeWsaejDqaHuR0v/x9tFDwqeHSMAfWgxO6RpAb4L
N88xw68Am93Nf8asrA+V4d04DIwboz55I+eWlCGuUVJmOyYzzAJjZ9gDpbtcwKVFb0ryD5M/xzPT
xHk0gahmncgXWAd5QTIz6x7z1nrEFJlsl3cskP+EMm4gRjbSaACl4KfNsaCNeNLx8gPiY2je9BPv
nXluSSxw42fdc/CbWbn2nTC6YmDiJxsTBkPuat9z19EigOZn+zU9UDjRZncCVVPGUN6lc7/UEyig
XedLEgBrr+Cc/sn1lsaVFDdYzHZLtdajr+af1k+4nzvJk4n5ozOvtYVwQaZ6N8bMBByjfJySTVwm
N68Rj5AI5RbT7kYMy6nv3J9mPSDS/VZEtc67y+H6C+coR06XPGN9Z0p84rXwvmvxMBOekpNxnvvg
nWwwdYPC5EkdntJGDzZBZezx3u/U4tBSUSOA1eCVNbKKWX1MzeQfHBGavXAAbDEs4OlJuVGDlxDd
rXBsHMvetiCeRcwHI0xPwsv3MHCl2l8rzeodBIE+dOABh5MsANSqx4ZITTQIwZVrAlBT2ALaxvhc
AtJD2ywXjpYcCxCK/2Itu+vVdFk88xPSQJTzBznvkzccJHYckwxoTG+FccEllFFlwRkdfQL0JRn6
BAbiAac7YicnsMRGLeo5CmJLA4CHrNvi+9vj/3+dfUz/67DDNnioLM13weXcnHRy7lRAYGoiEx02
BpzCxfuYxmXbZZjLuB98dEH6rI0EBx0yQnQ+ALxfv0oR33tTfVV28NpOcF1KrTmbsmWxXD8mrY+y
PBtQk1cc6i4W/qUZyuo0oneTkMlDarxZ0FrmU55v/8RC/5CYBTacWdpDwrhN06wLNz4uRw69BTUF
fdpEXlbQgykF7KvFviY23xE6FSXyFe3fnrHc0rXoLC7+FtALGbFB3nRFtWVQCgMmG3dilQ0TFf81
uxdSxLdq0p+rMXvL0BFclkw9rV/JLjPPtz/zYpYPtK6wNwChKZv4D2CCJ9rs8IwXHU1vE/8XPTzo
at7j7KPxdydnHNuc5gW+XlrefBLZPXGkpcVEmTGn1VqYiXhdcAlnFQ4H8+TbPsRrrn6HlmA53jH9
5ibKOM3+Hym0N8u1PVxRE7q55aDv02yJUsj1HOxMng63RIxPNoEJpNgcNbvKHyqeNRRSCdVMHyOt
Qor0xYAMC2LbdF+plBF6B1m2JAgSZPE3mxcdriQwsF7CifR44P2l2xetLiIhuv2QYid2B2LtLreu
uu0/Jq72ppNgvfGmeEdRJj96MRD1AhuXNdqb/VC53V+urrjDO2hUsXpM3eQq0kQBsEL9UmnuctN1
6dKy5IbRMvXkg2cRPi52TvcSCPq5xy3bU7b9H1vntRs5knbbFzoEaILuNr2XSZmSbghZem8iyKf/
F7N7Tg8aAxQSSpmSlKL5zN5ru1H2jFYSGC7dXsiLsY1q5iw2TqxOsqYs1Taaku/eYKaH7iVdt73F
2IZ02YEiKkyVtewwvqxMs8/3orCfe9qaZdIgDeaKOZCNvdaj9qnGjJ7g9taBC3IiofUA1pMuQ45I
pCP5rxvtiBW4Y8lg6Iiu23if1vJL1C0hvSiSHYHCcwSsx4mvHqNOpxejlSYrlGa0E1cy0jKXYb1Z
h9+Fmz1SYBkmAhvRO6wnSDeIJ2OTG3myktwuFyZSonyeiqWOeMpE8qYE2iDFotmEJHl0MCajORrg
3sn0AE+HbZnYWqaBxDZCZs56fSnYxDBiM91NbeU7hwOHfsji/Jb2EeDhQloZXHuV/iEgACXTeCxS
hyMg0O4qHaERde4fHRIIdUSuMUySxYa5MDnn7hdMQppTNws4yNl5IF4k8jMYhpWnc/MqdUIr6vSP
3hpPyZicfMQAVer0G0dn0g7Og2KQYmlsOdeG7tqTtsuv6//xVqLh/LBg0KZBs55EM7FVehqTQhyM
3HuqJDWSsA2CNNZdhYvKrHtoW4O+Ra/L2aqG17YAuAzTF20NwoUhfYQb+GgkgkIMIWIxiuBsa+YK
a/1br00MlLsvWVI3k+iHAA6IcltF+aZsGVU3DdfoXtfOaa9auOj6wrBhd2bSPBC/QnNK0QQKyViL
pIACJgkwsPDu9UmBvCXvwTDZDwyJ+gUuz33JvG2awlcCSy/IPVFbJuiVE/6GIPfA34N+G8ocblTR
AXCsID4pl6SewYzUMgIP2aOiQSWCACDBRRbbK1ZcMKkLuS6y+UpSDsjPHUxLGg3oiDjXm7jG8Tn9
weriHZPKlZMbZ2QkLSIygyjW3l0rNpErOcYuWr9xm3TGTonGWrl9CuLTig5RyzmYADXsq6heotRj
zJ1+pKF2jYT/gK+jWwMBzit+fST5GSGPS0nFlzk2OwkqgCPdMGsf034qYujvJsdMGbfwScp5Om2d
fKFNK5Oh87ZoGgAPZnh2HDbWHQyNjCFK1AbVef5W2UQ4ikPhbOsd4rK85Tbg0U+pBsB0GNQOyYU+
tSPBrKu+gScIxmBVZ/JrYtB3cgl4W6BTBTM42PSw+U8xeyxGV5F5F0hC5ip+4MGwtpqbp3u3btQK
ZolgTQUPy6xnMJVB16EVfrIhUuljzAV4gAJRAvn2SLnilqMSzCxSzVNSXseZHWnCK2WayinbS5IB
mBq2WvXAlQWNa+iuq1b3QI2iLm+dBnZfwTUqYpRAW39K8+QPSZs2PhHj1OkMA+wPQkt0tKAh57T9
FEXVC+c3vVXDjTZnwTjnCzfxqK7KqcQi0e4H1hpr7m31SnsvUrgDgTE+ZG7K0At8uVFmqFADa0XX
9A6HgG1JqggcsydCgBj7LxDc3oVrcHRMB0vTppwzu4NO5B+SjWzl2Y8OblL2sjnRSfqnNaLoNUYN
dkV+BZ56ZALyOU3ebzDNkdccyGt7bXmFccAGki49ZfpbZAn4p4Yvt9f7AxLMV7/z1SK3B7QIBKBx
ZFurSSikfsh1vPiFPT4kTOM3ihpc12TDdgxBejYfwESrHTFNZCQhD+iV6hnlx2dv/ONmmnvfGr+x
39cXz8GgIYI5PEiSO9M2EEe7wqzJlImvWhAWd5GDetcyJmZds4I6a678ZfpVhynIE/c2p/KDDPzm
oUnS/iCS9LG1JfrepF44vcsLP3xUNry48Y5x0LYY+y9lImy38NIdazY7DLeTD3znCG88TS3GgSgF
02RQmRrBi54zj7JYV62jwn2H2LZznPQ9ofDa5AkOGCOo9Z1hj691LileUbZzIHS/g39VoZZuDS98
bxstuAPmudPR0WEnongbeN+ia07k0DNDMp1uZXrGt199x/kEyVwinW5LbiiFPjMU8hztYuO/ZAVy
81irv7QGg4UDjT4sOSZNdW/RngJGRjlhkgblhKj+IkRJq0G2gvt5sFPkm+1N1z1UVrN91GLgzrlZ
3Kw8O4Ip6ITN6stI0blE/g5EbbQlE0OuMx2Smx4n3grHimP3oGhoD/DBRmTikNgWS/CZ+ZRtdPOP
MC3Mezq7ozEMP1xlnM0kP3RjIM/QeXOs7bgYu84g/ql2FtLmL9zk7C8nw99U9FAGOyzXpXWyCjxr
I+kEeIAgXmTOV133j11X6Uulf3PTbNfEcPG76oMg0thnjOgQSNt1MEZd/NGmAWKTEE96dneBs2vT
Yr1j/8IoN7Z/IzH9SmE6B/i1a6plgnzNhC1YFnmrxKUwK8jb3vpuehLsxHDGNmaMiCHrP70MGG2P
bXPJ4ooN3ODXD6zL0U5oMuAmP535Rsa8BH0MdOy3WtV1RE/nTDoI46OznJj8mmTRM6k04NYsWH+z
kdZyBPEI9Rdj3p1iO74DowHHvPagsus/AQuoxqEiCIW9bJinsdVMN4VfXVVlN8dEvIw4xLRiGO5c
6aUbemG409MBHcHH6MNHSJunPiAlISq4/48oaLv6XCQ+R2OJ3wGNWV+C1p38nHCSbNywJACMhGso
GXNQmSWeAYPzaKi5iAMVQrRE49Ya3ZM2+JcAQqs5uS8s9KdtqTGUZ726GfMEoY7K9jrVA8H231Y3
IFnI9qwEXjvTY/jsOGvU5OeexMtF56JfwktNTEoay5XXRmcTRf42C8b3EJrUsoI0luncMmoH+1Bk
IZiSc4eZGwynA2DBfrc3Pc5XdDVLJ3cXElzSXlflj+ryB93W472tTRtt5pfFaMdqQmgWeTW+lh5O
1zCuVi6UxmVMwD35c+1KliitbSnP2RCeYT24i4iwQgd6dWE+ZzhJH+PmQQQ23hv8M9TG9hdyLcRb
9iWRW9ueEWxMYKWxq8G4su3sL2h/sWOn6drD2rbkylAtx/K56fJVPqEJM7i0cwMeKIRzkkv1KbaR
CrT3eYRPdpDRc2FnO1+r2Q21oVjgLcayEk4TANHHYESrDQaPcR75qUiD1wwoveOEKyBI1+UwI4Fk
8FB0hLKXRn8qJ/Pez4Ctonj/Hi3t1yYOHak1REiHo2LsCYyHE3xlSQOq2yVstyYTtfHfyxqWtplC
dzYs89pgZo7pbpeY6+MTq7hm00G9XlXsiIz4rXP1VwzhR49lHd6tpVtkB4RVCQExpFqkOQl3TRfP
E5SOecm8JeASL2tjG6TjI3X7zkvic9yWF4t9AjDeECVT/TToIxMpiG7cCQNMXvz1My/4GXx32dsD
ufcixKZIX0d+73Ky+10RRmpdtO2r6Otx4U/ZrqXxXGEY/tYuDTmii5FXrhwNIqA7ay/VOUijSwCr
dMcGmf1lPjXrseCqIj1/UY01TvJg109YGDQkK3mDXFtUJCOOtmxBOxdMK0dv15b2fdZEb441XKT3
Ehgx+w6uvgvBlgErrvnulOoxjX+odpCnmmqWdQLcqAv7IW4Eo0zL/gmN0ILSd/AwsiF/ipkjamDF
SITuGvUnDugwjJMJHBETu3ohlTHOvXAVtkRmWtNd0cVnCqdnPc/ZsSN8DEGHF0l9SU0TLxcvSdIz
CMyA0DoRBbTLtqPpQaOGSMcnMLlt1HDKM5uPQDVlBmOBUZk/UjpPTNsg8WUbSSrDMpNoxVNZfMHZ
PqF2xeLORGQEtmG0HseivUI566D8K07m4BBNx9V9ZTp0aDOinMoTA5UQ2cbyLZg8XPeT9jlBQL+K
iqlhcUmtxojf2aqOPszMa2yQml4vkABGB68cV50KPzLT6leINySQohDkkg1IexjGrWSdzdXYXzvo
2BZMP+/6GgFpngabQJSHeYPmll/zP0txbfT898xl5lQjTjeUmgXveY+UTn/NRP+J8rCC7tOBuqCi
HwOAMi7GrsKY1tlA3qxNzAlBW968G4MtZTcCsYk500NsJrxjQOArf7FW6ogXDPsxk229J2jwoKpD
jJD2fmx0Y82iDc2c3GUDJgUHANnC5Sj07OR36jm2el64dd4ajyaBt9yX0e5EuOOnyrLXBPrGLGQ4
C1INnXQxm66lTV+k2vok8kzbdCItD7kKXqKcIdrtYxFoTWwn86fdHvyf2OujA44yLmzExOK3G2MA
gEY+/49htuFcuEazqZsypDgk81v/PHXr+tG0pkc0wv3yn5/i9qn1cCQEBLNN6ZSHKfHv2iQcN838
I4mmKw9p5hWH29M2yCSbb6K+ZXnO2jkR4PY/lFANFiNCnRUTGBzkbfb3QwgDwjJmoW9F7grua4cP
6CamYpMrz+1rb6/G7eGfH+tf7/vrd/5fn3P7Lf/57P/1Kbf3NSj/caLOL/y/Puf2M/zrO//XZ//1
rf/18dt/8c+3/q9P/1/f4X+9j70CP49jdM621sTm35+Cxzjf3d6JogJZ3T8fNxMPj9Tt+e2HEmwR
Jy6j//nFbm/lufT//m3xziYtCM7/HHb/9fV/fem/frXbU/32Tf76/6WaCFqbv/6vX3MkF54Aoyx0
AGkMcsdc7U6XRgOCgvY9T+LnEPbVNjcRpNsd6nczTolRCu49bey3uBZe2JyTFpx5u77yNCBM7z0m
qmWDYogVNSoK4zdlAkoDj+poaoLskNBbTcJrlxEDzMiIsZVPbDJRONvWnH4oPTzjmGzZsBxd3bYB
FQJSputdjPSKO0svqVrKld/13jYVndiVBasHpMrIBJRCQsf/1M7+qDr9kCr+tWDBMNp3f6JOpRd2
CK8U1BejiSmxZNQsOhmuGpm+pi1VQ97J79TUjJMriR8Kpw7VOikP4Xc7dtaGaU1LgH3rrU18zVvh
e2u/sNxXyFO0/3pz4C5jnUc3+FWt7A4f4YyayfwS1oDxRZvaD/IT9R+DOcIBG1+0+2gokq2P4RCL
Q/k1sA+2+jHaAZRkBTMM9cU25AYBjL0OOX8hjd3jqK7ggbKLSj0ZbnBuUat07afTcNJ2mHaXltVL
iCzduakAznnNnrgqbTUUs+xiCHv07/bOaGdVRCTxBNuuWHcuDkbDxhnGd180DtF+NUFTy6F11Gzc
x8foUnelDfptOfmvTNVGQBvmZ5hmIE1LNgwwzxa+yfjdUYlchtm7X7Gg6gnAntc0TEapq0nvIBBq
SOD0AkFrwLFuvMz6UZNYxZ1bXqc+u2SR/GUfED9nyFNWI9g0ij/jK7BQ9XdywO2gvzTjXeg73TKK
sIIGhlz6VnVfqwhDXso4lvUoOP/4vocqtkxKdzjFSl9S50RIZFgdxy7b5B7z52DQqRangbjaja77
73gYv2uh/eZOZa6AzB1rF0Wo7SpWBJa0V1ZgbAUOLV6IQUOGb25q5OF6H7J0qymHO/hDq94pLWZA
HFmGCQyfIcSXzs7xUCXAb1MSTsjBXdo2A3nyJLnnGoyLamjlccgQj+PqorRqwNwoPsHG7QmV+oR4
O6zB5G9YbX4apW3umkTzl0Zc8eVVT1/P1HXqGeH63lWLPG8lUViuA6aStksrGGcAcesJdCf+FW85
1umsf63NVd3RcpdJo+1g6c7xDL551FL+1y5pSPud5s1LT5s4B67L/IUG+LUDhbV3g1fWmeCKUGYs
AhmSOw5RvwgAnOia9RBHFC5iKvDeKQ13Mk6yow1SP2LRXyq4F1WX+Cetyh992UUbCG64d2BMhM07
njGFaawnPL437mwn/hat3e2wOALLdWCauEGAnWRkoRPx4kIL+godrr2udJ9Cg+BUVU8QQS0CoXJS
U5SdYfA7TQ7dT82UaZ2XzYurGHUp3XzBE8Qr33zhggXFEaMT0XZgA9AQBh455s24q6KIkEVfHCZq
FaLZgnVZoavX4JC9mvs0Z/kwQihex+jAuh4hAHulfsfGYBGnnLIqFL+G1+1QJfQLzDTFkT8nr4fm
boIWXUDWMUZhX5G4xp9ekBrt0rWv6DfOY9hPCC6xdmR40ZIJyZsp5L71GaJoTf7EHvqV2zdBUoqr
G0JYvjZm8xt/+wzn8rTGXmtNp6bVu1WDMXI5MuuxUy/GDhlWjPYkY19R7nOkTEuDDlnX1TEs38xS
f+4RxXX1bJdF2GwGlOBprG2BIt+lffQ9AMGFXqs367QfT+Pg8wowVNcd+xkl+ZrxdI2oK+oWjdff
1Wbz2rY+S/cREIHO5nurCadcJoiUclPfWmrY0wCqs61GLuZrrhEk9mXghn3ANXIDaNbeTn3+oXVZ
eaIhfXYc+7GXFS0CQ+hFuEYEk8Fb4IS3QyROXptyy0nth8GpUNSoHSnirFd0/B9sh/wj8sl1w9x4
a9uCQPMPPQwOdsV4fgaWWuUEg1aLn5pKbmCB2OtKlSHCISZDZMgsGd1fBz97MYMuWjgg7rakOtMH
d6hDdfd5YMSBpAs1nOyHj7g2w50ymuciy06OQPlqsxOdlPwQ7n3imBNiUPYxEzhGJ8+zxaDZ+Kx6
ZkfZPB/LGmNt9OSpJFXiryO9QRogd43GGr/VmXgXaBbsXG3qJleHOYeHQx2Vtq2tU0Pguynkj2s4
dyjEw5HoHy9mic0f4qUywC2JxEuWHOYO8m02uu0eGyNZQFBij/QfD0Qe3HM8QEYT2rXR+52db8aw
VZfYqUuM1h0B16x3RkPfpFo+a4JplWsPr3xbp9w2BRGlmucu0+JFC+NXYA1yG7kEwazcUbwUJokQ
Fdz/DcAT5v5a8qAc294RsLcpIjGCicMJxiBrVRs02o+NqRdHLeyOxD79ssOyEXHxY5Su9f4W9Xh6
nLxnv+dVExEnYlqHWIhMI92jz64vLHTvWTYu7KZ665vMO7j9zLGmYunMWcOtnn2XGxiWdlgfxR9m
Fd+87a48xY00RxxCzxgwpMcnwvLWJV0xvCsYbdclkRHowohnLDQEOGwjTKeHgtitQlaprC9JB8Nk
PIT7AEr9IqgRhID6Qk0uI+eBBZllW8/S9FkXJJO9j7va23oVkw7CNGIWx2xSOp05bKa79l2RIVzV
tR0SrZFhcLZ0TdvZV7FkUaWIYiuyRxiJX47Fdd6JvhUL/Z2Q+TPSSBInplpH/dw+jYYZrbtdM3re
0R0kYF0NHIQIEMmI/MeN6lMzOo9YE41NNI4N9eCpweR6FiNGY72N001ooTuAm0TYTFWxKFnUykYF
N9lk26KcCtGzVGCFrYHUG1ISYYOZB7vAASF1xhdfOVvtsBivbFtYLMTO5xQzEmompsDEZUerWh8f
0jg7ZeIpcpDOeNpGcyx9KVmZEzXDpgLCKsYR70Mr+zsOyCtshPkmQ5fvxNgZiZ2IFZZxTXUncvSy
fW+XGatY4xXzot3E7IdESwymzYpV09JDb8s7pArWwg9YAqsGWj4JPmrFPIUYGah/dEH+L9Qg0veM
AEKpQdwgpT7zzYxZXTXQf4Lz8NgsIMqkHEl1iFLk/iZ2UW9G7r8c0KyX2irelY5AH8K+NbR7c+eb
0R9TvAxO8mJ2V2TYjNJkeR+JFICfzVK/NOy3oIlOZoiuPRyZANmKUn0intz/hE7YLDI/lsfEp5AO
0frEY/0W+dNJ6y142eRgwl9DwJeXKztAnFTHDBxVQUKA1JaTdN8703yry+FNn7AhOTaxgXGs7dh+
o76qqTA5wDfpnF4sKmy4+ozJMlemNVJDzokqYLtttC34MQvtdTbLOoq7sJ6NoLH9bANAsNu6pnpg
2GTTVWdAzLP0JZuwSXI9ZGzK4tvqE3gvqUWUQVWcnQxNsdnamKWA2MfxRMjOw1BCHsm85RSYAUkP
uK2GzyJEFNOEzj7PRnFwnIGxlfLquxSWEXvfXjxNAD8x3bT2oY+ItUcP8hMZrYN8wWvWxJ8hlBeK
NKMgxy4YsiiWlHgbDvxDSvYMOllmChy7nU2oW1htih6BHrIh4q/CMHjoG987DqWOXMxP249Ma7e+
F2kv5K1tq862ULnI4UoqbXNHDbKvyJ29YlyN7z0rPhvcbsuA9Cqs8xJ9ht7+VDAZ2c7Wb+HMQMuh
zmxbMxMrw2K8dntgBKLvgJUcdEcwA09QPhNEYT6LGE+QKzqNS0FiPZdV+ffTPjKGI+g+hu3YXzGd
JfqZPJjhtfY4UBzvtVIqPBeOovNL2dGHuj7tkQFXD17ks1IeXA2LMU8ZtlXkWE0VBpQY6M/8vmp+
QKpgLjkyLJpdnt4eOtR/K1RLDM3///tAWRIQmhoj277/fF6T1y0GAP3e4ITbDPB5r22a6Ghchk+D
iQbmLXvcq6Ye74TW2VfLid2VGUcfjTGQaJvVEtmcLu9ub/mqeONPpe//9f6+cg4kLCCYJQ1wAqP3
AnVBrEf2HpsAjPFL0xtiVaCe3BnzR9tYesvK1pk3hm69wu1BZ+xa0aVEBHPsZ4fb/EyVLrurQHs2
mQFyN6eTxOvuPlRZ/V6JOHiTyNCByVregcoyfClkh39eC8BjGO0mbFS6u32aStcybuq3iRXxzg9r
B8Ng7G/4XgF9dp2egkoAZqKMG/Fw7H2jds8h48u1Btbj2gudsotcgvc5FqFhSvACDPrJdjGLa/Mf
xQ58cgjmh7jLxdqaKOB7nB2DdNurXUThNWj/euLoRXetEHvhf0nJGwItsGxLVxxlEGRHGSJ86VPS
niwtSlZF1D7YRix2tWvUz2EtXoi3HS/t/CxO8abVgWecbh8ERAzwoGF4xj1I7Lo8jOEAKRbqSveO
WaOGbaF76V09aPXaHQRRShlq5LhlEwguiM4xZpuYxua96zvqscC+RnfrOnj4K4eW30OVUk/fDU6b
Wk2/ynGPJHTJL4vOE/pu/c6kv0PQatX4e3DSjkDnuANScEx15RPNyVAZA+PAoDJ1EY8VaM0tp9tx
JcyPllOjcjDceh9oKj1NKb2iVtM+BlK6D1hN3AfgCCthcxccCk75unGHl5JMVyvu3Tdw6O7G9cxx
e3taGCi5uVYecgw8aKDM9rFPWUOQapAcbk/Rvfrbfhy+y6h5DbMU+LRlsRopNXqHTBlPWZRVdB0I
PNuA7ULK8WIUOleQ/M5kbv+kIzXlB25/8c0GxykU43Z0rUewucExbnpinDts1lyumos7P+RO1Fwm
T8J6d3G53D7gEBZmoJnhI5AojiJiVysHReB3Na5SMBvrWx7YMFjkw6h1B0bllBsTZctQPJiZhw2z
ymsBsoc3YxndNSSkpsQoXJKyrh6iiHhdGyopmHKP0tLSjiAk5wbMK4H5ms89uXIffV2jAaf6OjOj
svdlk9xnUPXW9PbVsSyr8eITurPy8WVS0/oF66g4WNelKNZhH2Nc4D6J2A4SyiKLuX/nhh49lvmQ
86fzq0865Q8zNrp70/K5EmYjd8UagoSXp9a95z/kTZk+3h6Uldj7wGMp2ybIP/24Otwe2CBUB8KC
qoPHMoCxx4bG25mzh6JLS0Yeg+F4IDzMorlhO3ZKSPBx0zDYjyADTy2/EGBcb+GA+jybXhUgpsk3
MbyuEZdcQXPHeGClYbB8Dti/swajnyAREsvxncoIqKgtNpVO9+Ug8n0xMkKFqKZYO1DW6MCdt4Yf
Ws/2UBgcnbaB8lXQHqhu2mplBuMqUeaJINo/6S3Tw2+9F08hqy9xJN7nHNuZA2QOMggSAaJ6ST83
9fOk+dGO0ZR5lELXGbE0wd6BJ3cMSBhjz4IrqW+nrRFyHSxc5Mn8IctPIxXo0qvgh1/+WsTgsRu2
48TERXe3B6h0b5zxdJm9oz0gZ7EXQ5A73/K1GpXCSYk4swYY8zCWuBEo9JdMmt298O3ujKeP7qhR
zlWHNriwVGoApOvqYzU/8OXHTpmvXl2Fz5Xv+RtbGxHERVJ7wvZJtC3d+DBflH3ysStLz14avxIH
Iv2OzVh8tYRcXnBSx+YKi7iiWKBsCSd10fRKPnCBNHdp3VlYXUP5lmf1g4JevmLBBhQs1tqjx0B0
wmJ/xoiub2Asy8M0mOGl85OrXhjhU9tmW7bu/R3UoWJBtWC/jHG5p8UMjmYEk8KcMHGxX6aJd1y0
AzlLWtjU2iEvnebEtaDcAD/RHqmCcMnHyC/aIX1Lxqq/kr5ZLLIkyY6iiCUxNA4cWK3RngrNsHf4
8yCL6UJ7qlCoZG14NRSvcyixGbscqVoeztMvyPx2e2h8wuHzSbePMExp4XNOqg7l7QVEoiDfwJCr
9tqUQl2ipEPvOT/o0hovWOyvhVmovV+957TfOZqtLK/AhkL93bXS8WGScXqhZUGjyqH7yOvJwGDo
8RIRrWRhCVmgOPQujdDzBzRt37KMtSWOzRBfcE4LFrqHtEix2M0PJaIhT9eTh1HmoBAYoraawWE2
hvEd8/TyWFpYXOZ33R4wWMPZz1MDqbZ0TreHbOLaFxvOtL49jcLG3+ToxVFOpvohDKrnW4AUw/Di
/vZgRUg0ZOmrXQNp+mjr9rS+Bpzkd1PDfI8JQLIt0Z1vHZxSyzHJ9mFD+KCFpYZoF6c7W+Bl4J0k
Ci8JBiRBSs6a6PcIpQhJAre3mOpQ8YZ4oaUXnlXNCez4lr8Ba0xL6eAsWltZ6q0Ny5keXdaRo0az
aE65/pjXVb/vFTC72wfHFJWEowZMuWx0jqY5MZK/vTnNV6OyTwg3rQSobaE7F+mKdN+q2to5jYPp
C5FfC/7UhzkcDavUI03WgBNAsnOGgjEEMmZblWSMXXjAHk5Uj5y6aWAcgewHr8aA8Abyw7M7pAEj
d5OYsLBprgkUgAV4CbmPgyo9jqjqF1ntkoPesybn5qH+qM6uVsh4ASFaf7iQw4bsX1VialB4s26Z
ivoSjsUukYF1LocUt3pNpgo4CHFup/Lvh7TVcworgurjaCrOWpcDE8C6tC8C2gGNRiJGIbNrkB6t
RjxaR4oh+uKeAn8a2mff90jjncZ1z/AfmTqbXEEDiGq2PKk0dh+UqJNNTE4i+Y/OHTSOCqwqgGQL
sPi9rOG/mJUQ4FBGaWzdAbPeMA8tqFkZSTblhtsRfDeuRyNSNOgF+khTbgn240W6F1gqebkq/4BM
VttKFGWXMDV3lEmfMsxrWKQ1U8z/FzfdGNrkEMEyZM4uI4pbFDM2HWB45Dj+zi0DfdGU7Ngef3BW
NQvY7uaq6QJmJxg3uZtu3dFp9smIUV625ImB/6PRx1bWW/150tu95eXNRhJrTCQl+lRqSQPF5IXx
LhuNwmGZ0W89gzOznNpTo+hOLeTxLMdWbcMlV4Q2sXN+ssI+ANrTUjkTLo5QyxmfW3NKTvSvXwVL
+I3IxEGNZbn39NE9jSYekQL683bm/LYOAVaUqVdlEINLhmW97EqqurbkDZZJVlg4B8Ouvjgw3/Ny
fE21Cax83iansl856WdaNcFVeMI/lgxhaXubjSfnWbFl6gfFcLJPqqcE72MW+0zdBao1Au3j2N8X
ductosg7hXmerNnfoGYu/K+op8DLRvurL3qgDsQHDEktjqU5XCLLe27jikvYsZXnyXI14ta9bE3W
94+FobALEnwtOtnqeVRftTQ6ZDqSFpBJbMDJYOrTYZe6wPjRfG6MOrC2ZLt8p3IXjdZjnUUoiREB
L7vQAR/SMtGaplRbJ64bnTvX9DZKoYdKDOt1cnMEiH0HutgB9BGZVL+N92AWYtuFEIa63GML0SXf
RSc/Yv+ETxQwcspuq6ibdW0728ZEU4oN9h7Llhu5fxrHcFG2+VxhBKIwRtknzw4ZWLk0QKWg4U9D
CEK5kS5FVV0Euu8tDtZvtkOPqYPURwNlVzb+3u34y4Ec+gQ8s5OyenLCdk85BAQiZe4eHjWnf/Zs
j5loS1Zy3n3Etrfm9XYgy8U4GrBVMqZCWzTpYl+T+IV18U6e0xAOHJKyZskIc7gnHBgu7Z1Xl+Wa
pq+zRizMDiNj5XgcPiIa90mh1L7g5z/JktTzVucmTNEaaYxNSoHNBb2IspA7uCwZF37SHwFmb6i9
i3uvpDBK0AF2LrDoivGMbeTjk3Cz6myK4jPS6lMnZX9EAMGYTUufYpnJZeGg62pjt1zUISAV6U/a
1uq1k5/opJKrXK7jNJvOiUDazZirWifgMkRpnjXfPICUKKHphHdWBpsj1CHAuMW6jMA65Zr/UxPL
uQC+jUkmIaZaMw0yt4Cqup6xRWQm7lWUfQ6I1qfBgbiL/g+VxaYYy3BvDuEfX3/ElS5ziouwa65c
ZS5ugRawM5kapHex0Y7g7rW3suy+8E2ito4FoWxw/Gtr/hrARU7rPqPOKJdmr5+FShyIAv2BhHVc
C+tJT7eDGn8HlZxlk797iF/3XtO9oR+K2FLEX+oPHTfLD3OYtqHFVipweI1SNHZMslmzGeydcv3T
jSEm1naK4bzRXhXamUXYghjMo3dTjE+YJxjtGnCg4cMl3melCRAigpFV2THedZV57bXrGKTk1voN
9+sK5X0SoRae2naRVWqLZqkwzJ2kZCJH217b3XgvYjPekIGBCzYJn428cdk28CrJoV7UNesnQ5/u
XR20uehm6E7BHQ2yU6TX3YaR4BvlW8g5z7V9Xsy4HbYBn2X+hjS9BHsKVplhgKPUYnAfSCZOc1zE
GpnLgXHJ7eg9mbnTLUEAK3ZdK3aelCLjd9WOE5fb6aEgta0YuG1rgYjXyn/M3DJc50GJnrrSAZ7r
2cWMcU45VGW3NpjRh/uRk9LmZyeRtm8T4mDS09Q7Rcahxx1D7sbahAoZVz9F36a42YHacUM/DjP0
LQ/le2Dkxs4ZAGjEqMsc8tMu6GrMZV5+6v/H2JktN65kWfZX0u5zIwtwDO5oq8wHEpwpkZpDeoFp
xDzP+PpeiMrqyltVVt1maWEZV4oIkYS7Hz9n77X76Qt58mc8GeyzKn0Pt1NcAixRrKNiUqex7tVp
CAk3j7Dr0baOPLu1CdCIrFVo5T+uTsYUu8YngrvnVqQGRmmqY6aeEiqnkScrjjR0NEnXrNu63qQ1
FpyKmZLuwgzPdG6wlfZCtOSP0HFkFe01Hrg3tkvihpGXb0FR3FHEv4gBR7AZg4ho/HOgl2exdB8N
vP9VZX+HeJchx3c3vn87WjEa5HI/D9zjiMb1plBvNkzCEN8z0LUrxu9T8jlk9rtQdCK0Rl8THoaD
L0adXmnVrzbSrrSNbqSquaepYyhj0hHu4s5F7F2Le+oRe1+P1RaW2xHhXEgp2D42bnxWNHmo440w
uAkr+3Hyg2MbQvCNXawjpCEcszpDEtoCNobDzuth3tJEd5FUPCfgquU24yTj+Y/xek1En4dThhSs
v+VOBGUjJTpT/mgh20fl5q6nduxQh0iiWI5wwCLftx1MwGjJ8oWXcEOqwL2B1rFTSOWlzVEUjtq0
iUTwHtRDvy+HxwQ2CoR+C+5Rj3ORXkluWqeY7JsqBmGVIEpGxflk9QxrC1ks4mcsq4Ap90wrbxXL
jBEonkT93kWhS8TMcJSZ+4Z+qVo7PshixfiaiR3+qaE4m4DOQARDGxfFV9qKhBRg/5xbAW31sWMl
hma6t+Lqzmrc17SrHqoYB3XWMnPJMUn2OXpbQNGrWS/3zZy+d5HJvhdlaOoC5xLU68Zfjto6Ytwn
YZ9Jt0NOTHBeoBj+ceO0ucHt7NrgcQaxoYM/qzvrB9u2sdE4lIiw3fRGugkUtnqzBZlOpOA6R+Vz
QIZdBk6P3tyg0iIPrJ5DBCIy/SLCeB1KsRE+LLq6PdgmklZmvLs6zF5x7SLiqKtDGr11pf+eloO5
mYL+vdCmeJ0LDYldaueEBhDc0VUHXBwgryr3qymG76WW7NrpcXLSt9JOOq8u0SnGsX8yjGctQbdi
K2o+XQfZ1LJKJ2DVnDHWmBBnOKBcmPX625p032sEkYmR1ePBjs80AU56ADVXY+qbkYfIZqoVWMEI
IyrM7CBMYJXo+XSOrkMwk4c80AvhWNXB/dZM+AjdKTalob4RUpYAGAQQ6oIypRVkwijxTMAjSMpg
ttFU9huZZ+YZlV/iEFYkw3ojKgZPyUdvWsM2YdqMLQ7NxVjqB82MXxq04j70LA3twKLXbjQsHo1W
XOfStMgMeCwG/GLCGB4wWcDqBjEYkqquR5X2ICbBCGEqfunug1toJSIgtTbHDh8O7Mqtzb+bOfND
NFeAIFsFyjNIN6ArOjgjNrPAkZanYXBT1C0Sdmiah+lnX8K3DolmXpH5ENz6VQVQrknwLjypTLsp
ncZgIAfnlMchCNLfzcd6KbYg+4flbcrjq/2qhFwVRe5C+j7NuQEO0rWh6zTue12xPYYOflq3FK81
fhGvCAn00+LPCAHNUVNaQItsYvpe5x8TJcIAU4D39MMNuU7byQcVQn9B0cvxPGyABSCypn+ttfQG
iwOi4owQ27bb9VNykzVOsUVC0ayEMO91LWwIDYE3Og/mV3rjVKRs2MT4rHMLmerQRLccFisn4UNu
KRoB8vQbFabR3qSzuwazlv0qiFCqyv5idOpO9v23zn7GTHOp71rMz8iVrLZ7dkZUSX4sd7rNbawE
eRMpwKdZyESubfCbQ1m4yjKuqRKVxjRn2te0rzwTB4YXdL3XEOZ9bUz3ysQKbje9RY4N/Qs5yJYS
m3yBlhh7X41eEIZYuCM6vyru7kRhjGdlgX6QgfrAb7GofpNDgd0Pn1e2N+eo8OrEeBnUeIflCCHP
SHNpTqFDSHkel8K9La12hzsO2ZTI1k1M7gG5LAABklHfQTnFW28ByCKv2LOV++1wZ2OLq47zbJ2I
sDtRtpybQPv04/aELXJjkwnmF/0XmobyYDnRGwIe/UjgBQ9JEq4x8IYH0nNpa/fVftaxh6sh3dlM
yJAKU2giLrsh+OkFAQ+SYjK8yrlcxdxlCCmgC93CiqrdgCU78ykTFYwCAmpGbm9H+yFIsmcH70Oq
P5QIHnZVnL1qEbelylJ7wP7HFkj4fiTFpslfggzhuOHXBCuY4Be70MRhXoOUs6ZyB425IQ4Dy3JN
PkHWfubkiXERQFAke/FEN61ek7VJkgb40i7HCJBAn03riZgCGx59I28HoyJgZHrE4fVgmAMKTSo2
WsRpQNbgM95AGbZHmYrwqGnGW5rIQ9osTEMhkfSongxKJgLrqJ2fJ9qd2TDfV4LOYTIjP7aBZOUL
sXNolxRTla86Z0bpLhaFQ2rEG3LMn4yK0bCht18zuFgG+wc9ai9TPTueLoM92MrphBP9le1w24Cu
TbRpZr9iZKBideNaHRaxCe90kRRbx50YRDSgKkXRb83ZfCwS+9VpeZD6aOTe6buuVyn3GBio3Ucf
uOhIo2FtTvoaAqixExOTlZBMnxwiQUqoCGF3GhS1moWrNbd5AKHRkeD45rnh3mYEn25FPyD0fT5X
WFyOoIKpAQDE5cBFuWYIA4yFy7f+I8mgRkDmH8re+TETDYUpAgGV4hgo6O6RuXILB/Fl8GuiSwjN
0iMr4W2dcIE4DEGHHuXGwOpPljyXSLQbpPynnPSftWMqJsZRgy0EcMHsm9eKuD7+1pBL4qy3oN47
fgTyqdoMk7oOtDIkqACiiDoPfntaaOWNX+jwB10fiJVBz/lTGkV4g4SZhf48khZJnulHW7ouzCnE
kqNvvVslBz4dacQzi+WJD9mIb7Pa9o8dOoY+6eqTmACjihb7WAQ0G3dd5wEwczy7sTeJmyKj12Od
CTpdfWxtY8F+MOhMuWXnI3qFEDkND5SWAmoOAwZ/I5wPmwzaLZGowboeydZCt1LsEVmu8MMNXlwp
BBh28eQw2jw0+oLlZV0fAGJs0nYVJmG5q7mcYvfiTufyiW8C4UVF/hIabbevFXybMEyBSFuMCKcX
39ZgWSJXYSzqmTBH+8y9c/0kOyfgRjPDuY41raGGa549dMldgrmWMd+Byf59T3RO2ZCDZ/rXSSsW
+FD9EQZzcHRIfBal7M5Nn5L9g2W6J6Zra/ISSZUqzJVhk1mb62/MacC0CcI0ux4hoVEuNYIwGy8s
S25mMmLsPB+m0mfM0Nf3GWkTKZxJ2i0oco0QSSe1bUXCnuDZ10OYHZ1LQi/DCyxYzrbJ/XSP4/Ih
NF0S41JzrWv86yJ3j1oUkW0AHXQtX5kjENyRo08U7SFQtJ54nOksNTMOxRbwEHqDhhNBg6IQDStL
kyZrRM+3ZS4ld4CpWle2dVMGkMaxdSqcXt2L4UJ6q5NDH4/goculCVEwJuqc+FJrPdHzpjj//oeH
jIK2dizupwhAGPSUB+4trERcuArRQwlMDkgCmy8s8fupjLVtrlO0mKb1LipiKTuqIjYEn2jDQ2jH
r7SFr6AwwDCKlgh4PapXkRQQAmaop0i8+PaYNtoff/mXv//r5/i/g+/iuoSDFflf8i67FlHeNn/7
Q9h//KX8t/98+PrbH8pQpq4rwTVat/AuCenw9c93qFMB3238LxQTQyLRU6yTsKpOLkCO2xggqWvT
+mfEO96EABV9YFybsLfPvkbjTcwGTV2TWDWzppnpAvyNBjSQQw07GumueSAN715O+7GL60ufKHlt
HYsXWed47M1FJtH7l//H65B/fh0WP75hSsOyTUO3YfKr//Q61DTEZZaDegfestXLvtlj6+5XIsz6
K+zaGBitVXiCKfxdFScvECSQGWfNjSukdlsp392PZvlRJaN2G6qtXRfBOXWih1ip6UicQQ4mQq82
GN+wnmAAVcagPUgn92+NKYeBGLbS+59fku3+15ckXNcUpuDuJU3H+vNLGjgPsIK40QawWcwby6Q9
44bBDCc6BX6qv+iBtRsoX4kDCk0P9ufMjau5gyGZfkdDtTN6ydaQJbfcCszRsC7/8Qupv7QFovip
kumDk7bu+fcvMxiKM+36BpdeOlr9BeQhTWCU9o/L1WldFaUNmR9YU9+TQDRkeMzGZmz2Rdms6yZr
r7U+BSuLCn5ZTekTMlWuWVLOR0Z56XMpeX5oQIxnjr1DK7qSVnMc3XYGtVMakjX1+7cyZ9Of7RQh
SJpd7MxUhyywHn//LrW74PD7nf6XP62C5veq+Cx49VEQtv/pt39/LDL+96/Ln/m/3/PnP/H3m+iz
Lprip/0fv2v3Xdy+Z9/Nf/6mP/3N/Ov/+Om89/b9T7+BTsfhedd919P9d8M05N9X8/Kd/79f/Mv3
77/lcSq///bHJ+D0dvnbAg6MP/7xpWX1C0P/p0dy+fv/8cXlBfztj4dvgH3v6X/5E9/vTfu3PzTD
+Ktp24rmrtBZ1LbJ1sKd8/eX5F9t9hWplJLMtViUf/wlJ3svZEtx/uq4hiNclC7S1XWTp76BBb98
SfzV1CXaDVs50jWItfzj31/7P3ayf/vQ/vudzVhW/H/sbPayYBybLUEJW7LHOcvy+qedrTEAmmu9
hu6lKG8NwJoMXDI0xBSkAwZo9jNMFLRT961V+vvEWPpLRkoPP7YxDVIkuoTyIDQbIdGefB1vdNxI
Y/tP7+h/s//i0eO9+PPPKXl/FIuct4MNzF2+/k8/J8boCjhVeGal3USiubZ+hKatil9nbdJuuir+
cFOE3QgPl4kMJY2gZa6KYIAd3DDQi8jXzgLz0ehqZx+26Vf6O+wxFU81/Gv0qfFKKCaQXbbRmoKQ
3Ur9ANGDskC7w8WLeaSFTiimHf8i7dBL8Zo+Wmn7mtURriBy+IaITpPIYkRFyS6ypLbSJvPE9B3u
O5TvDYHa8zZ/cntwYY6oL0XjTrtiJqDDGCWQm5wSg/ui40cJnSNuVaBujhSR03KSpGtYq/QdfPVQ
+FdYkO1JV8UhQf+PgRHil26ztd305nA/M0umkWNFhzhkXtN2g75xuvILcKk4Z/WiBgkYlmANF16q
5ju6fndmEud7IJ5fqYO0FGlECscLRZKWLPxY7iiIGLIbY7Q2HRyFJYJkmTbWb7473M2THexaoJKm
FXPlKVxyNpUBA1D/qdP3IOaEKGnxTiKRmx7j6xqcOgJiESRE0Y2XcCCeVVKRHH//4oQzZzlZadsM
tV+DenPntx3abt+Vt1BOfyXSPiYK1SWzN7oCdkBVyQ+J39qLtP40zJiY0RNgGgqcX5HswuUh+axA
1usDYNqA8Moi4Equh6S/lI0GNIk4FUs7qoxHwNJA6aHn+cL/gZJVbOPG3NYMPVG0oPoNrfJniuY3
MwXkyQAN5kK/4NWGLgXz1oQfTpmbGPi73BsULpn0avgGF5Cy3mP5eY3a7sew++/A6nbu7P8CmclM
WMpbBAzuOm7zC2bzBi4E+qcunj4iDhxiPAH3gPBXg/1GpgrWhWhaq4m7rW2o8yhAxTeDe0VTscv8
aYfuu+ZqUj256U1fFWqv+xqPdoE0Mo5Bo+Ju1+iPY0GXiweEgnFo2gzrGrqotuh2soNbl+DPT4OC
2b1lPYdkIOlR8BhmoJt80t2dosWLOz0h/0T9R9unDxFZSbd+ESLY1EWvMWNmH6jzF6pDw67zAw6v
tSVqwmKUFW9s9AfIgdpdo2iGzXLI1pVRH0R0bPu5Wpkzt7iidN9zFGVerQ0P7AcQpeJwk2P2Xdvd
SzW4AuIl6iw5B3traV6QUvMrEebamoi1mSftFGTxraXlt9wYvotpvBcBwoXSaIyj097fLA+BoQ+n
KYEMmNAESqfqQ1J50nXQVmUHlNxCzrQRZvUTQmB3cPbTN4NHbEj4UVO5NQifXqXduFWBOLo5aegG
t5LQT7+zVqyTLmWAJz/0FsqZYbyNrv6RtVgk4okYJgRJAQ4VDTL1VIhNk/RHkX5Q229J+uIyDPo8
C/Nb5df39lNk5trG8tsfpwuYdpYvwhhf7Cp6bJP+0wYvhaCA6C1GuxZTraiejnIJptfd/gT3jwGY
Pp4Hu3lqHYwsXRO/VsHCNvejl1QY20kHPpL3rDF/RB1KZN86gYapmhFGRamrbd8y2epIxslaBzhk
P3l4Mngf9prP9kBC1oD71n2oKuu7tyPC6BOmIE1YrBGvi0OgYU2KU1oS1UDwEX0IDqLkpk+dL4ww
7pCkG+6Mz5D9gh3X3iVCosUaQUTYKgl94m/zV2vxgfXdjy7ykitScyadBLJ2bDF/Ldud23EHT50u
82SG58JMLn7TnovKPQRDvppbum0kKO0Z7AML5WhqmPOt1CLu0nygZGa8E5y1QHBQKCUGyArmpcwz
78ehAe5PLiJBRkuqgQ8xzGJgbCGsr5I7V9KZLQqi+Qaq9o6TgFzafEFwFPmFq8J4JDLp5I94kHig
fIq7DdjoX1ZAGEaOhbNB1+Bob8J1umsQIbsgPe+wCExXokPw7phls0mV8d2RoEkrYGslqEMdi9Bs
XYIlz/URHYSdfgqbWeo02ucquNJEYA5R5O+2ZcckVAZfiB4raFI+UIjhAiAPuEiyn5imsWXi45th
9czTu7IkEU7I5daKv3dFyFe35v8Q9pMF3xkWTh9DDu1FJPeBSNF8bzqe6ZvZaOlu6JaHcXJTV0RG
uZJLP0M5XDSLlQAPWe3e0/znuHwgXCTdOpEJj2ds0LRboVejZduqDp6Zghka9vmIane6Ukqcxz7q
2Sj8DjpAfYM009z1rm0cpXhyYXECH2MeNSctGYN9sxYOQaXp7OWthUrXCeI1Gpx4x3zOI4AmTvUN
c295cGfs85DDzywuolKMpuVK7eOdojsNk6jBh4uAA3KNiw9j9sO9yaFBchFFe6CAOpjJtWwtBgEQ
PddxMD70RHBN8M92sV/32wRvzspvmuYCSb3YdIX/5Zucl6ZUXJZd/8nMxz2wPqMgYaiKe2tbSxci
KAikuSMAB1JE4sUNeb2hm4oLvikWb/bmVv0VycMLRhucUXb+0g3uuCldw6vbHGeGggxldoG5hScM
5sm0Y6+YbbWSlvZrkgVKUIHDmODKE05LqNuM00lxxo6FSBiSMjodR4uf56J6TmLrakF63SeC4Lzf
ufO0TfcKYeuaEATymSMkFomkdeWg8bjlSv0B/MIiRsPxaWnGz0k791tytL61yZjPUyNOpNHCwfbD
XaTl9hmg/e2AE6rTfeEVyMXISzLvJ072e8YJwT4OFxJ6Tqa9iC26h2pPiHS8QdJKFdfc/f4lLvDb
dm7lVdF46QnkW9k9kqbAqb6UAq2YdtdKQYEePlo4ghON0rxbfqBu7+eWC4kdfOyyJjuXYW5WT1Qj
rXWYuZbLvt61WgFPffyofZxDuR5d6vFnYuZgyyNAt7Opg6kYkmeBFQ3Z2a5wVXGq3dMUa0RO+/C7
IdUb3fwY+dj6SueCLG035AyUTEKHB+a4634Sv2rmmMwRwSjo1bRXtRpXomJJTcp8ACYo7U6nZvUf
mMEnbAMw7yuDYnIVjxXO16mnv1DaVxwm0dWlizamm6KgMWa15mocUfSh5Q8sYk2rDGK5Ed7MM3/Y
kbbtJTK8xsiWt6U7EI9WzHIjRHbBl+yZhSKvPRvftTFzgRamV7s2ca9lmufAksgAyyzd1V8JUzal
fqQMsmPcfZMbT0CFzRMwuymUqCwk682UjwRpFiMm1+rFjORzOzbHgXV38GfnEyDleRwJSmjNxmXU
mJBJg6/CmblwDM0P3XJuzpch7/e94lA1ZnjHJepZUyE2LbSbQoFwHa2BPhapn96UBVeGUAG3ELYe
e6rvUB89RFEs9grx4JoEuT2ZpdpFjdBks4HcUyOH+zXEyAZJqd8WLUIf0AVVOE5nlEMfbZVTx2qE
GpNeFxLiZpXYCBKgqcSVBW17j8ngQyGgLKGcn8slBYm+4JG4IGikEbjzHkLvtbqpltAxe7I1jEHO
Jm0al3wR9z3SR2LYrDeyAcWN0gliHdCib3rU32sbXzk9JUY9RHFsQVwVtNR9cwklv/VhdnNOI+dC
HAcPOOInCi0dmbUPWz6M7GVDI0G9R9sWk+LnRXwqizXLjOIHrSNcPW/Uq6G7u5pUwJ2j7B2tgBIs
+Yx8LkSymYpWeLn0W4QZngnLqxjxNxSRmuCOEBFBpijGx5w3qBm8lIiliT9pNks2m/ApwgLSfH3w
SmGDG2tMh/c+ZMqXsAvw7H6y6VuoIHVOYoZWpt//GivQVb//s7T1r1BjGFEmF/QgMfEOlly0oR8x
sdV20WePuT/+BPRGatMg9oKCPEqPhWtrK7KnytUc06vv40LDzee2G9u6zwPCubuyYPtv4jst9SkT
tbnYtOnjVFghdzZ8bMSGQPQdesvzw2bexAMW+6yD5qNFyafRgrgloNFSxVo56bGsbPUC9QRpKymD
BXjEXhgREb6+v9ZDF/4RDOZ+bpydQt0YRukGlCdjrro7RdCxoT9H3+SB7gcGa3D6fOU5pNL2uvLR
B7fOlnvo2nL4HDS2xd6e+KaVM9snzJ5Hbn8QTZs36WjwkMpwkxIIufltOosZ7ZR8F5eEYz8TtNbl
Mj7EvkS7Aze896W/kyCBcYk81QtsrvEPjRZUHgGpDELp4gNFu4xxMzHdBDlVVl5ZRtZ6QqgdhZK3
IM/3wpfPMLbZzSx4WfpNEPsk3kLfAqaUPYX5yD0BbNShaeB4W5HznDH1h4kBRVTgX66KV7eqstt6
5M4r0PRUsGm3RgAqTkva+GEKf4ijgNfP1NhqLjrSgsLGjD0agiOnf1ODPuxMhh5lH71wTMMCysEM
TdkRdO1jyYJbj0UF/bZiXOA7+XjDAZgcEYU5u2zK52tAxhSjLPPTMErcXdS/IpoRjr8nFdU4SWY/
WE6Jxwi1O2dRnMGV3YSMqW7qjN4yyScgVyOEpylRBgxGEdqRt0w0ZfXTlhBHbJk+WTNF7tgp/I59
ctOWZe4ZDRo4c1+mORYIA9sv49Zk7Vf1uO5gd6xdQjp3VnDMVTT9IhHqXrPyi9ScZhM2IyNLNlve
UHWskQoGTHdXVEG86lg8FS0eY5JWaLv4Hp2OftXiv8BDsSDUe679bHLTJnhiVyWEVlsqONl3zOge
rLh/g7HgNaMjdo0R/whkvK6GMAV1J62S1wiXxlRiH+XKchbTEmzS5luWzGtHiiRCpKZYO63Roj0U
B6cEKgwq/Ai0VJ4VW35h65tF5USEOMbntEdYWW+ZF1NyFS9jZuCXLvNLIQLchAxqbgSD9FU+eDxu
EG8D7Y35GoL8KIAmqKadq8VcNHwu/ah36zWWyr1idknuUQOkhJT0UGqth8ej2s4MzgvsE/Q9mKaa
6YlH4ltzlGfObK2DWXOTJwzb1/mn4eaT0mdDXtENCqSpt05dTWB5HkftXbw8l66VctUbNjRmnmNq
Ha2znxGM8EaqGR2YjVU4FCVIV6ZITpTcBZht12xOCJnjuzgbDOjtsUd9NjMqjdCK+diq2BOpL5j7
dQatjljDtDwOFjcNmCj4wLIVqBODG778ohlytWFmy1S2GyucIfzbAkoB6uF+sDxKuFtQcKhbw+xm
tn3OQT9/pu+FxUUOIH0pOgoZIjiTSH96jUYH8NO3tnV/sjwDikjxmi9ZCXX/pHLtklDIUgpll1lL
Nu5cAqYGHpshHtByYCmuM+ybiLk8OM23wsyfcwxGa9z8dLBcwqqSLjrUUoH5jsmbyOmqM3VMcDUx
CU+LEvVAFomzHnQfvgRegBTJ6zgvQWFN362Olnt0Rmcby2Q/CnDwcTPu3IQRIJa1Y7epoJFN5QlT
EpgstDsu/bLeQuNKb52An6OVoG5yOA6N1NnMLesgBD3a2ov4taOEINgeaFZRW1vY+ztpqq3PPryK
el+tas0GOGlqe6SY9RVVCpwPK704sxj3wsX1EXzBuEd4zEmM4gwYirZNClpBFgzhmapl1xtoIt3B
/Ckrv1gFBuIvUwrgXii1+gHIj5vgU6nzNYNnWk5RBXsPfDI6up40sA/MZl+WAsEgqCgDvUC9jkzA
13jfSP4hGuYcI9ZAu/LA6dQ/tnDssYOtikQ9hr340NLKXllZ4e5sc3hQVniiXYofvyaTtVbGfWFk
ns4EhYw594O8CZ4D1ySDB78vmRDByW8kWeHiFqtYsGpBU3uc7pzT0MbWeW4B23eJfLGmIvV0oqPW
tTFerwC+3bNh2wgKB56DuBOEFMcdmVSIusCAZGHEEGN0sVuATw8rLKGa1j9mc1jtLSnO8Rg9WuE+
pD2zzovYWKe+fB3yttgDBkZp0NY4ICj11wH6wYnB/jpLjRn+aI3z7BwFznNplQU4CJgBmgyOY2fB
egNswqb+k49MwUFBvzgEKuyiKn8xWmM/G90h7u2T5XAF0JP65GdQ9NqhxdKKfWs9K3ESMcaS2MMY
uZX+7G4w57OcnOlHs09dFN+1ow6IAcHOGr1UiMK/3takHG+ilM5hh+Jw7HEKTKVBzZiNHoYzgEMd
3WBXcLSXwoq9sYG0lF7sBnGPViGUbYnunKRxqVIYBW3stYb9EoqN61Ab27z/sH3Gd/xX2IrJveCa
yP1NOOZFJ+kcu/mjL6w3NyuQQoX2i1bJlTMEoIv6kOyqkMgsizJ0yRId8T6nUFYaMiByBnLr2Tm4
EGFWreM+OU5yzxgP2qnt1TbaYKRDOz7zLdpxXCVQaaBb/YoU1VVLqhPr7ssBj6w4djrO7dIEdiz4
LDLBJ53hRU5m86pHOJc7rDUjGu9d3gvP1LL0Nso0E+MLp6hD+qE5vFQGnZ/WzscNARUUJNp0RJhT
qfpz0vI7XcP4a7bmj9WZF1E17xzkxrkCCYDC8d52iZimk7Busl5sBuKi2aqIJ1TIr7noITn7FnJc
Qk9GEC6YKlD5XIaKZmJGwqrZ0AsLHNshay081UFpX0L4JK72JkltuwZyUeCyBaT1Ux1S/AuNK7dJ
q5SYvsQ4ZaY7PZCtyajA9fRaN71xZivrB7E0k60Dpf0pX9Dps0gJJJIkVs4ueVY2XcWEcXHcWO/V
QDaHHj8RboyUIlefRSrfssn49jFxkeOaf8gEj/NjbxCKDUVZGyAe5KjC/ZmHpzNnuqW+QwgDA3+v
Dl7pioABLqejwnYA9JozLO4U5h9cMY0Nysuv62ebGtPP/WwXpPNMQe2Kuzb7UaTWTNLOVmKkuTna
S+R64O5nHzBUA29x4lLBAd1x/bQJIzAaXCuuuNROqh1zuLL63D/5o61B71uPsUL9rJv0Lsfw0jHS
oN1OU8xqkIFHL23mOmuCRFBOENDLijyiN6NBBTjbTnpE+dWO3GSD9Isx9HrsLNbI7CnXXcgIdfDL
d8QtFi4UuYL2SbSkNCQkSxJPSGjgZzYJrpWt49Gl649Oh1xIMwskW919PwzQ1SrEF47QP0ZFsTTE
Odm/mBaL6dYQIwgCh5UabHKVk/88T4/Cqu5mkQT7UYf33JYKj2MceRmKYHwpyU3wW2cNKTQ33b2k
RBGtbE6zu4TRkXnSCmcH5/qjW7DRqdleErkzy/COZve87vsUZw/FYWTV1ilAGHiTudXifb11Oxo0
vcsG7uBE67PsNiWf85au7WbEgLlYY7lIddU7wiSUMYB98jnnQgvNvBbiEuuy3EgHcd04q62bIswW
dotqC11IN5unOgrDXbwwKMKp+elLGikTvJFKFCi1JKdzZ+GdkwIrwWiDJh/Mi9mm5q3fBTFnJnL9
LiRDNpg/J4kOHzHTuxiy6kIlxFiQKEq9/2G3VRC/1+BrbOT4FqCQpqq3XTXQGiQHPEAaOZ76RPvs
7Tmkm0/zZMHmcLyVhwGtplXrxGlrNvJL0stL82SQfwbO3X/pqnMQI1GUhXUOcHSusny6KQVEqNTW
Go8ZiMAjNj/Mc/sZF0iFxrA9EIf61Ha/dVB7oyOvAO7dRcWTy104fQg1h4YOFL6ZFJIuaT7DeYH3
YmKipCEMpg0OUYoyTfGRxW2zpJi9JMweDMZJFIrpRtHGW9ndeLcYkIFwgbh2my/GWGiPZm3Y1Utg
dNLQ2cfgMKcohENboCkuBGYb00fPwpbUVKiFMvRyWgHOblZclVyDSnQS+FtkWRLbMHVfbBAFGJOB
NgY3Pz+vz1Oe38NxMbkIQwturK7HU13sCp34brik7h7v9WelRoaCjj3tzdH6dFrNOOqD2OidCfQo
ih5c5GQrA3m2W3zpKRVSRiUy0txfJ4717O+JkyThigYmz/jwGVzpOhknLS9gPWucbS5uISrPtNw4
Kr4dnOGxIlMOAR7qNY3AiTIAPKSl5nMjSc9pBu1opmQLzys4GfchEAmPDvW9Wef+2je+Cuw6+HeI
qLRxBqXJwPjPvBMNVS7QNy90OrntnysHZPVzonVcHmYrjoj8dPB/JdBdO5bfiVgy1jTA1LURh+ap
kaY4RbrWH2sI1HngyGOQk2i7rkzhXkDfupcAnXrvZvUNYOBi34sbJ6LZAJ1sfCxi3b0mOr74Npge
XZxLVz9MzwP9mkbrhqe50uSliEmVCev5JWDXXM+8Hys6PtpWZk3xOqbE9pT29I5m2feyUA9JywuM
e0hqn3gkNWkw5ytKSvdcv3EsGDV2G41QW1Bn0RepP/LuA234Jeyt/q4Ym+kKLeAT6If8hYbZ2oQO
uv5ysaaA5arOo763/Ey+2r0z7WjSFYhhqvApltkxJbUElcEHudKpJ7E+39hGVt0yptDXpcyKva7V
zk6P7pNcNj/CBv8BxvDFNxIyHUzfIi7m/7B3Xttta9m2/SKchoWMV+YsKlCW/IImJ+S0kPH1t0P7
tlPeLFNq18/3ReWyt0ASxEpzjtFHQQib6m1EmZVbowvdo8v3MGlog6cysNF2liZpD9bgH+ik4G7s
R+25Rlhv+8YXSqfGXZcTnOQpNgx4+mqt7XarqGlMTI9GuolblLJhCBnd0wgfd1ol+6LLmh5DjM8y
15IfWueXFwJhhoWSdMyqmJ4ual+rEJs6gFNRuojNziUeJC4e9HRdGw5auUyGSyZHZWkbXrRMaT2t
HNPMH1MWxjVWBpTQMvkO8llujFS5cytq5XTTDhTq7kCjA2kOwl0zOO2OuHNCCTwiuUGr+QIc/dgC
jR91fSuAnrERJtIrdr42Mf9Lx3rbsc2/r/DLTIrerCYtrHo0nV9CMQmSrwNr1ZrRfa479YQKeXPY
/VASUsO1mdKhCQhfmDl8qbOWZC9E+F/0MWBgKvEvavruzMqnxinnbrwSxXq00Gw6SAfgkz6KjvMD
lJVto+I0p/FZT5Y8km/ARQZheK6oE6eaom7HmsknrkNrqRjCgWbtTLvZ5rFx2cgWIlqobHu2ceaN
S8VM33yLcxekPbJuivikBq8SEdsTthrEgLrzhJpSWQaQxe4qE2OK6plzs6/9kxvkF57afB23JvVt
HvKZn1T1Pm4Q9cWNeuzBfeJ9hODOyelABPCwwBi3i2q9gFNPJQTJ8BCARtbwGNGsNLMzYKUfZeXv
q4L1o0OotypLhdJRZm9tgEwHcH5GA+UyqqdMTybVxFmGiAuOMRDApS+di3Sqhy4KyyMWngNufMx5
RX/BTS5WtrBxJFnGiwnYzeJEt06N8eJ6+rAW43CxOc3OOzd013WcZEstcYGYJZymLFdGr5yzc5me
qshRvg/OV0OlnETYa7QFk3LRmyzdgHsJ5q2N2bsWuPC8hjMiWwJw2O5jh4TQVOVq0CucU0nVLqQ9
PI6UtGUB5DkAdrjGo/pUSKT0UvO+6p2oTkwHtK0SC3Vz6caHhDAjxPBus0z8Vt9bZVTh79tx4ngF
HNFsjVLL1vBwz1pXHsJQuMDKAeroqXWw7YTuC3GtbtBxFGxAOFYo1ehUCO4EqlQSVaNlR1GUI0JB
HcWibmPWur5LBVWxhPS1OMzJjqwUpNptplPAUejLsNPh+DQDjF5ikiN3QrUgbI8W6v6pSY/9q1tq
3Lcl2TxUAHKPDVu0JJYLtJMWblQYsWul6u8ywU7WatSHKCXgDRvNXZgFgHajjhZfMjUZWxQU7LBo
8T7go6Qk2DevSV/oiyRVz0zJ2pKmLzZTwNENBUezapwNcD6A1uwcj2nG0q8XiLRbL6EWB7y4mX6A
/IMJVjrEtAmjeqCHyFfoM2GR+1uQQ+ODpzYCBZ9TdSin/xc5OqTr6Yeg+xuzhWL0KVp3wRN9tByf
xlItOsxwno0FVOHY46LiFUTv2PgxGL11uZWTIsdXf+oixdCu01qMPaAh4FvGHmiLH0rCnxTCPylC
mrtwHM2djQ8NWhpPc1OacmfSPKLhPwTPWmwFRJVVk+Z9et33FycJRO5Up1079LcZJm26FlB2DDO3
d/TJ31zEjavC/FZbOlv/rNsao7upNJlu+gHoGWhUngVlik9NiaEPO1vsk9Tep97IB2aNgQhEgLKq
CohMBXatpk1OcDLyrUfP1W+K4BjbxJIVanls6qJZExYb3mt6B8h1gA7FVE1OcreUjfqsumqxE3Xh
LqcMHKz81GiRCviovVJQpgQfB3Npa92mcVLk3uaxZPNCdQ8hajC5EGNMYbzVlVEKA0hCVBxChQau
i8V2ZQnxq/aYCqlWG4RzeF+KVHvMfamAd0naZ5cWfRteTKGkm8rCgERMZ+gn4SFWoUMroJLzaDyq
ZDxMDa0HG7/srPYFtfJ02s76l5E8NvIXLHzbqf1sO4AhlaG7hCYBEl5OtQjXHcoSNGUkbzkry6J/
I2N02GWG7VOOr3lrcrATZYmvu6rp4SWIXiOsLZpZmkvN2MICNRD1t+G6McyYkBvT2RLA8gCQoQCD
u6SF983M41WLzfxUe9ma5Jx+YWWYrFocCEe7UH+5BSrAzjnoCuEAbkwTk1MA7+9ENEe9jI2IXb5S
Q9vNCC60OYWZqkswVNk9NboeLYw4NrZdEJwNqbGkU1dPbAkADLyKi1dvxb4DAssQrDGzoZilqLM2
h1RfNhA6FhrhIxl5ewdFCelv6cwbIJ1mQlZy39L1WJHUJxb1IJRVhGoZz4bTIrvxN61pj1sr1XFL
egh2hK60lAUyh2g3q8elKrydpXNGa9hwZwMtX0+468FzmfweDExFa/rdPwvSiOaVHVEKCqoAKoCB
yVxL9AUueMrM0E4XLsjMWVkLAEdNaCwNa28Fxc9BT811K2tWNLYgGS2PewK7Dn6SlKeWZwtNv7Jx
A5UypxXeR71yFnFnrnwtEneJcyijaDPAoN+pDQXrqMpx3EbxJURDtqsp9E2yKih3DCxEfsgONcVT
qbs58LQ9g+pT1e6EzuoUS+shpM44H9Jg63DHV1pt5ceuNImToi4xsKIWbaOfB0RO2HkHIqPt/pwW
CjwwCEiiddAYFHY/hzXEMXJqN6rEZLghJJgo1ld2j6RsSjjo2+LSmg5ZRL636XwTepJpUtpxLG8n
OItTxTqViGqoynqc4g2MBoI8udgpnrWme3KSPDlW4cUr7lthwcxw1JN3zibqlXnSevjY7lTwcqQ8
DQlOEkPF32T7bAKdXAvWdYqhpC7t5yrBaFoBQqRJoJkY2pwCf0OUzY0k+jpFKGGfEUTlkBA7K4K7
OvA5uwozJJeEZS1QQDaobcAiSQafjTWMtocTrtTeXSihDp3Bpvc9iR91fKVMnxCDhbY3VCtdBdUJ
tYLcZcGIf80b8f54xt7K7+1E/WakBmE8vb92VQetXdCrK5rQ4E5tcx3pw0NC2tYsjdRkFYkqO2YY
1sE2fMm59QvV+wGzrN+4OgUROvD5Ma9Bavt5fddyCl51SA7XZhgOSzE0K9fRtFPRsEmoXG0FvfxX
YgHPCDMPlnfprLUiYlsP4YqgVQM7LgYw/PHNJqUt6drVOM+jnD48lMwAT52OtJ8jLVIel2+eDSM6
miogX00Vi1AbGwrgIIgr4eL21vwUaWd9EgbXjBCGwDOw7QsVbgpAdnapWnDinaZO533gSE2Hu7Lx
q7kdqcqhEuZEMAMnnnIq0R2HnJv8vi0xcWAnoQFOgw7SFGoVbsO2FCTXutkx7vvg+QFoVIpgZvKu
qNSOwjYxZ/Yo8DUF32PSPJej1/BNU+apkIHhuKOZ2PtwqfpvrXZxXEA+pqPC0VQITuacwelTC74H
mht98+E4w9fLIb2UxhO8I4tpQi32WG+fQuLcNKdzWRwqb5HkJVwO+jZdPXj4f9twDjOXEHAf0hTb
dlpJ/QyCbvOsZ/Vh9Ju1ZUoWYyP6aisw5NwO/ZRPjbYk2rcf7CWb2LlihXT22ZrsvCK7pK73Kx9B
x0U+CyEZ11OVhzOCA9dSpU2+bkPjS6jTW9KgYEV5SIMsdl6q2hCPfUOBU7JPBTRBVcAj126QHOsi
N793G/MOwIW5VrH43g1DXTBVRC9mjRFElVPNieXfIAPgyS1qxLaQ/YxgsjYkxLsMYh4bCXWPgC/W
VMDXpsjsrJDltWvuQ70S27ZS3gzsmgvbkiHu4WKd9TnBxRVHO5/RAgpyIyN6ZaOXP5dElRwjJzhl
Ke0qq7dNKLYkKIWhisqCejSLhlqZMK6BxvijffKr8cW2tXwXxvoj8BSsaDWyqkjcS0fNN/UQ/uiV
gxpMaDOLmaWe3gRT8Eg+eUQXRmhbO0mRlE0/RpQw/eb9jySdLgkcJOGY4yHlzoRMPHYzm8TntSze
6i4LJVgLpvZgOoTKuVBe2ozTBOIGomi/e04JCUoqJbs9y0NhaZ+VABRLVHxpJUpS61vYy1ev0oed
qTb/9weqE3w4ZAAw3zsSEgzfgXS6aOMRLrkEYwifVbhsLKYfOQGJO5B/VGMt0AMadJBimUmbcBg9
uKNq/wRJPViXJcjwRKEHq6hy9/7j/depAkytr47k0ukfFEBNO+d//5P3/5vnJGkUoY8N08/poLgP
qM7oY1FrUtwvwkObmfsJYpQKYVHRp18bBaEVUDNSRscDIWlvduTRf/TSi5sOFd2HhGw+KA5Y2mgt
a2wpwu+QDFBuogKCLaf14a4qjWen4Ujh1Hs9S9pdiuYRb9JM0QgB1EOYK/BHt0571oEkrJKkk2xG
ihJ5R0J9JpPJQTewkFLo2qi6A4SMxh7wS5atgXh6zRebwUFTQbmiXtkd66VTJfnS0yUNrKp8Ulzi
rMwphR2w4KlVuhZEUdmt9IaAoDwnnTnVe8RNzOckf6sr8pGbdda8enrHjt+KAdy31HtsfOhWp7Dz
8cwjXdJzVbYrK/1V6D294ipfwQPB5t4BGHfaaBukjfzZ0oFwMV2MnBnWmWjvA9WcNTxROwh0zSK3
sjXKHnctNNCQwITjU2GLX66d+hs4X4dCr3Syo1xlJ4tz63JQ8TQzWjO7sYMbmSqEpglOBoOxos9G
IrpvnkzJ4ZWMjapv3EWU+uNCj9ABVi5y8Inf4M0HGC7Oa1lY+SUSJRlB0wogzPhgI7a7ePlEXStj
kzJDj5NfFN4DGSQNDWzCM+p9FQwE48XFSxay4SPusd86YbEewsI4mhM0KkrXCHUuWUjxMsZLkrQu
sA6fVDslty9eor0M7RmHI33SAh+64UbkLcH2mE7+b+BYqgfiOYx5U+zyrvDXMu4eAr32llN0G9Fi
ZDkrymuQRMOs15gcNcT5W1Ksfk0FE5p30yI4NIuM0cCJM27mfpTVi6Ybz5CG2HvZTDxx1paHLFdQ
RRjNXJ10NGAD4Cq7NcC+tjhL3s8JF/3CdDeFZaJ8HlUmOANqlajSlS9R0Q9xd1I01lOzgDDuK+rG
Z/whG34h94z7b0AJs7rhuW4UfRc27iGIjHg7EIqRQX2l8umKEJIIq4xtGKhe8nIJNcCZ1VVEhrtT
8BFSZW7m1bjyew53cTAQpkq8YBhSeRxiH7dEyArb5T47FhuDC9lHbkl6fdFS2m4Rs6NJ5LsqyMrJ
G2WdDM64LuQAM5OEO47cXGr6wJlFQTgzSnVmMlRmTvxgSE7vUYseVbVri4D39BUW16yKhy94FWAo
DFQ4Z1FNTQoparRrrQy1L3IQKMzKkZJ3sHb1/gd9TfIbvB/gv4YFO3F4k2GNXU7bJaI3V9TzuY52
15Dvs8NrdY+U+JtVjvGdDtcoT1TkyoFy1grnFVHhiEMgfcvdIt6lcDam0kKcZ9qGWHIka1bzJUWX
wCHV/5Y0ds58JfCEELo6L6z4XmVHN0N0mB3tYHTnSve1bfEPqQ3rHqp3S3HzJdbZTUCVY4F2GLNx
N51gHSRUenoowERtxag8psgflDZCB9OXNJ9c+6yrFHDjpCr3+WBjFW7UBXvN15GWzEyGPS0nYRJW
AQ5C76jRueIuhb9Mk6k8BCaWi0GBwMB4iXb03w5Wz4PVjMOGOJ4eNWxSrChP4yzq63sgHkeXEhTn
y5qwlITUVYfkd7xnRCdyXAtdFGLwedRVBs+qoxPYum+eAY4laxChhIRQJjJBMTbqby7xOV7soT9q
3Z9Gw4hu1X4v2LlQi+qMk8PeDLNG8qsPx3BNl0Ff+Ar6DzPl4Bma1ETyCJg9RyEw1CmeCuylEqDg
hHFmKmOd86x+5cUiO7kASaff0gI+UfKOCMBMmQiOUnaISxjt16ISHTu+aLzTs+yrMuJmyjX24+xY
DDp8FIrrJlUoNDQQkQQh0NjQV2DhUA61hqAU21Ng8tDhWi+YoMpdbAJKsdvcX1Rj0MyxY22tkmQo
XBZQwNL0SwkSfZ4o6Vdh1O0cgYwyV9RdrijGYd3rLFjo9UEVk2ZbAz+OOZuCI0Mz7k8Whdjr/UMe
PJit5NZw5+e9Vk/Adf1Raf2HrAt/AvaPV2gX254SEFrRTYNsYJk3FDXIaF7qRT7OOg1pch+xBKWj
tvXovMF3MMKVTSJ4nuv3OYL3BQxyb+0YGTDTGgpNw6GgIzZHDC+BAvShpMsLlQStswfGGaIW+fRa
Fi8NwqyiqnBnXbmTikJyYYfpHtjiQ+E/DnVDoiTruweP8oEaVxF18d4+tKKU0Aa9rRTaF10HxkvR
OKOU9DNPiHftB7xVLnCzWaWqwTahidt2MX7mGhZ+KfF0ep63pqH23ZEqQw9K4KrBjEqHKLovxk6l
1xxgAS8RbzrUyoNAfwwH/air2pnXIju8PxQNnAW1G17CCpI+SrV87wrnHuWS3DY+sBd6dQ9aiR3B
oUoEpoQg0nJSYoa+L7YBcQKLCXBnjhjSwyj6YeAQ51zqrd4rkUEA0SGo9Hs1nc7UCe1drxDs8ULQ
pSB0dWmdG+qjezeOls3QwKlrzMdOC+iXynRNMb8/Vlp11FLji4E4eZOr2lwptAH/g7ibzF6WJcAw
4CFUIbMhwokvPpxFjmcsNaWCdNbXnEPecY4WEY6JNFaLZQquxaA1nQxqvOCyZwAd7gp6cctzhTa1
VMwn3bDJ/vRckjaRTqnEPZ/JIAtAr+iHUmeN4z36cFIA8LvmKVF5JmudsJsuoMwIRLbkPpLm4MlM
Pxuqyn5He/OT3kLUi0atJ1iauCzK51640jBdLHhmc0rQxIvY7iNIcHMztuOKIWQvqphna1CCi8TK
saOIS00A3O7c3/bc0oaHuECHwoSp79GcE29qMWXGERUbm4M4DxCtFduqOISog9i6BsyuvBxhhxFs
1RlcA+ztOmh/CUfkh7oJCWIIwkdUJa9ekTcbkS+HNh0WzMyU+CwbtsMMnxkOAAQMcqn77MkSj+Qh
L8ECJqaFZygnejJBohwFKUZGsX/AvoUnlN0WnW/qigXrclQQzwyfAIleQB48ARUj4i/bLNgDqJ3L
0d5iCLmoucaC8l2PoJWzbeksVUhUCO5FwEhgZJkeoktjqlCMLLAzT3W+Ctm1sJDu4W6EKyNk4jN6
UbN7Bx6QdONrrRgwD0Vy1qJOW3RhDvv+RMJZenDlgXNFtM2QOGW1XwFW6C8DdssFwOxwF8n42Rro
3FZY6InRksVTrR4LaP0iyI8q0gqK23q8Kqv41PbdSIWXehu7W+DCSBiWIwEOtJdgKWsmsRfE3ywK
wtmLUnE4+hmzvA7HY56NGnbRLCJcqAVman1VHehadVq+SiQp+wy/CiQdAKbu1uwEpObyq1319XK0
zZ+JC88tJx15gdXT2NBAwpyQ5Qc0RlTksVGj9ozTBblN5cKKAGsgpKsnQetd7isUjTT5ZCGJaBu6
cXIPlx3MTt+iY8Rj6so42paqBpbK2iU67pGiqElgGti/xvrwgq1P3reKeQcJ35s32jhpGKN9Pe02
ECXR0/MZlc2IvoRVdU7tnHwb37QXEKEQ24MvWgUG+A2IU+tcR/4TknK37CTccrzUwgToMKqQh/rB
BExi6DX32Fj6kJ7h8LTVOqDJjKL0MaUptK5gh6W0p7eq7o+7Lss3FG58aiXg6DLPW45+/aI0eByt
mqwgK+U+1UGG1YQIw9BYA6dF510RNmVnYu/7wQuu9Gjmjy56ydrGWMEGhyU+TfaCxNX9+590A5E2
Kw+UL56rsmJTE8K5Zu6Hl0ClsghToO8lIU38NcnSwYMRuOeo3pUi7NZedcD0xOpo1XvkVtYFZySJ
iJCMTF26m250wfKSUL/ws59xgilhtJBFur79xYcQPsXebQx1jFemyJ66XxWt63U/tJeBNXRBuNew
sBr3ex6WCZ34yjgU4dlqzW9mSmkwp7FMESS4r0xxpmpNOIDiBfdmLVWCdfXXwtfXY0nGoBXY1BWK
bk+yrspWGXEhyAuxS2yKubWjbAPd9w5qnDyXenHfdVgYR0NZwKhzwN1U3zIT4EpBa8EiqBCgZZUc
BxTU6A2oO2H3oVgVAOWihUtOnOoedXFoAHidce8+s4MlkCdxXkJqKsgNUfdGvnKOel2uXFW/szxj
vEODT6EMnil274ZcOlc+BCOBckPtvch4GggVdBuaoZcY1LNKTvZctSv2jEZ4Umr5zDLG47cdbfXJ
9AFn+5Zx6rqpBooWcg16lw8sQgtxCXNuGebE5RgusZLjF5X0liMVXTTS2IhsEbCtieti2dJ0JVlH
omKNSe6bsNv0aPcdxZOd43vHqQStsCq8ZrWwF6VkcddKDvRBrSmPvaaFVMSZwtHxr/iVxdDaTy26
KLIlrTUoq3SHf4BY99g80clDdt4HhHjoX1QTJwfmg4PNQKpNfiFJzddK7/EaO+Yz0dwcCupB27Up
dRGOjEDvRr3fJjToYkvTdhBnHq1CP1XWvT/IX3nnPE6ANEZ9mwXaZuwVFwqf7+AUZumYj7J4aRuI
Rmr19t4CDE2iKNvQIymk67A79ONIYzOhQPr+L+8/PA3bVFT3X+KpJtRX5M5KVjI4RtMfozhJF0aA
8ULraipISYLxoK+YZCP7zSzTS4e0dNdEbLiRfgL8mn7p/UrvP8LpmpmCBX5w6O6H9avMAjxGqbfr
teF+4gSjZI8oZipSbopR27iR8VB2vUtNg++QKGoby4FFBkQUleTLkFzvaVlDk3u6444r9+gKAAJx
8NsM1dsA0nesExOnr3HJ0CKrS8yhPKOttcmmQtP7j85uuPT7Hwlxom2X71MeSZrvrT/u33/AsGRG
RieQJwaVMEu+BBbCpgo4036QOGiYiZhjUDDtVb3A8RbV2zwAGBkn0cxrkQuWiKoMW7KtoP7fqUjn
iIyb6w1RFAaa5LlhjxUVbUnIZ7ErC/vStMPGyPpgVQKP80aYBaSLaysY9uvYHUPSpLxDEeNyVyIy
w1WyVGcKrkGeohcUAueeE+9ccSvCzy0sL5WxqtRwVSXsP9rO2cSsqaBumTAtR9UoybUQlTAWUnT6
KQxWHNWAvG+SoyXxRTq4f+iBwSvKNkOIWM9MF71G4XRoNBYRgTGQzShnLrJD4KWPk7VUFiEkRxpR
cYE1oS0LjAqdvXfLWV8+wPNCdk2/u2qVbdQDtioYhfNQECTQN/5FJvRuIvxvnOcuo+2goYuf0jB5
jQtKe2EGtyKMFl0bYA/poj3v7YnJBwcaqZE1rtaBOPpFMp0a3YT/TnCYddG62uh7A0ITaV+PzrJo
ORHoY7FsTOATvTne2aX+YgicKHXYHkyW2lWpmupGMdTnQGlJJiFKellSYi4C/GX0ie7h4aG2NV56
R75JW5JYaLNlGhP1PI7epaf3CKm22HAig/nYAdRPI4RfSB1eaIG3dNv8NbBedRXaIzIBRHtGmQIw
pidhdM3MzdPnqPUpbznFhcyL75g4fhhmjbOWFV/iIxBmUM5q8AUVkoSlJCiQqiDNb83Jt2afPZmd
lS9zx4es7oRPvvSrFR1+JDJFUiNHnQ8x/TPyp/xtijRD4JFA/EJ9u+np7NNUUgDCC1rBq0nWs5a+
vyMrkbJ0a3EzAHlx/ARN70irutRQkjaKVuKtdnEt6ARrjayUA1nghHboP5RAcTdGG+NT8eqD2ki5
7b1qXWqS7QlxMmQ9wbm27jPf8bZqWp4tkhEmq32yMSViDVTX8wJiG2lwC9+PTr3WcXc7utLvSJb/
TwN6+oQGpIr3GwUBCcLOf9GAVmESsjhlP//FA5p+5x8ekNAg+6iaLlTOHRYCPEhi/+CABMwfVwMT
5HBQNYDx/IcGpKn/48LpcR04aa5l2zb/VOXvNCDjfyyqQq7LPgF2j8Uv/7/QgP6NOQORbtjTK4MU
+hdcR0hLSI/q8taxQveFkIDqwXKMhr0IHUI+6kcstYnH9R/g0H9eg1vyO8DHi6tY9WN8snn6GCQv
vvn28XUnBNufrgus6ffr9m7nW00fOHtqMqzmQY0lIt7C0Hy1oiD7BAR34wZxl//1IqkLMp7gFTYl
HmzD0m1hQaTk7Rqw0v/qYzhXZDYTmEzB1tPe69ZwTlrtEelCMWtM46I4TIgfv8i/MXD/+x0409//
BlFq9UZFVuJxr0YqdO1LQywqwWxMkj9Nmf4zQ/zz4J//ufW/Q/P+TZb6z4tcsfLGSDgKwFFnD8x8
5ZdYlWnYR82b4TVrhf1hrT9+/GluPFHO9GX99mksHc6OAul7bxdWvRpjfNMOdaFP7tWtq19x5fD9
VpZVcHU2a8ALAqLRE6f6/vFbv/U8MaB/f+tRo2vjKG17bzZyx2r2rNPEMuLs8HeXvxrPbZewGoWe
vYfrcZdow5a9/r1S5Pu/u/zVUK7ILjKixrT2Rt6dkLKtISAm2HmLT7BfYrrQH8a0czWmlcrtHBdQ
+F5FlgJuHgGZ3s4K6yUtnzjNtM/dNvwEjXjjabWvRvZkQOlwTVj7ILPEQrNTqgH1HUTYhyrQHocK
W1PgyL8b5PbVIFc8DK5dQQYP2YUAK2Tz3W6LB42w43ld+LuPv50bg9y+GuTV2BILSGoIzst0nylp
P887cRDgXWcVlDBBoNYnQ+TG1GtfjXQ8MF1C1YCPA4MfryIiDc8xxgUxo0cgo78+/jw3BqJ9NcxF
mMWdk/MqtYGphwTXahajZ/u7i1+NctbVOpAlT5rF7Lvr0c/NTQVO88dXvzHMp3X792Feg/cNg4i3
nmCq8LG46Wx7C0xDH1/+1v2/GuZgvWlCF6GNGvp7RtoUzdfZGLxUdrf6+AVuvf+rgQ52s9OygXkk
w/qNO5ZirNF3BWob3zp9/BK3PsPVUM8IhEU67PK0akO2Jnkeq4RpS+ySarSWxHh9/DI3HqJrzKGK
N7flrXOy8kasPv5DoqJo/vjaN+7SNVSV2mpOillp76nnL/KMih1RpqSW2e76717gakRreGZlXvn2
nqLEfRfql1LhsEgZ4JMZ48YcaE3fzW8LaYBxB9C5Yu0jpBZa0wJhIA8WMVNrtidEujNj+PnxJ7n1
NUy38LdXsjVwBRpmxT0kU8zvnH6hEUbHjy9+41G6JsG2kV4Iq3OtvaTsnhbF89gjbbaloL2mfLYt
uPVlXw1ppUbeoqDb3RMc+OzJ8qVvzDeidOK/fJiuxvSQ4/AGPmLtQ7RiKHxLA1FaO27+7hZdDeig
Sv3CNC1rn0AXiMK7rlGXKXxom5ixj1/h1v25Gs8xQk9LbXn/aCjfNM3TX0UOqs5Sm+LvXuEdCPzb
MzQ2nZ6NLd9AHhDnUun4C/K214Cai88+xI0l1Lxap8HoVeOIdmufRA+ERcCVLiFRpDAniQkn0eWv
bpV5Naxlj7/esIpJdj6ItbTojei+o69dK662H7+EmB6bP+ykzKuh7et1rSD/Tg6Y1Mq53Xf4uanh
FcsqzYLXfPS610GtymPipW25hHsGHMBV6UPMMAw5d67b65+9lRtPxjtj+7fvjUSjNsc9PewhT6yY
HyGzPZydGUFPW9pis2QdffKAiBuzjDb9/W+vNNADSmL8M3ssWO4L5bDd6C2cs72svuu/LIzmPjKL
hf/tk3t8Y/rUrqYEIaMyyH1ezjnad/6ph2O/QHyDQWD2PToNC8qR3Pm5vgw2/dePX/PWJ7yaJZqK
KEwrzwc2FsUjJo2nfqguH19a3PqeruYImjcx1Xs+TrmMH6x5uqzmJNbMs5k+1+diqS7k3Fl+/Fo3
xpl2NVkQOyYds0uHvQZPvC7s8xBBha3rF8spll1tVbOPX+fGRxJXm/xY5oPlAYrZ66V/Z5To1Vv5
2Oqk8358fW26738aZtML//bEVTRvhZdV+YG++Ug/E44PaqsqBj1WaOAmTbdA8UUnFblSN0oNE2aW
KduyMNwjsaXGuUTMCSTSKZHCGMAtx4DIcsVuyrOK92WPvg0FneURUl3a1NwJI1bgIMHg+mTM3HiG
zashk7ltL10HIWEd6HQkKI6WhL/IRnkxNTxGsz7LXP4C/2cwM2RK0//jO3djzX7HU/9249A7YM+2
nX6fWi9F/rVE0lKaiOAi+ckj9v4s/emruRqdMcubW5pZckCptsIvDt4dxGxJI0jvFnalQbt0jy13
Ow6inaIfawIqMZGtXEn2VPe9htIMZnkWWspDD0dw5phB+Mljc+OxNKen6bcPH0Zu6LR1mBz8VrS7
2ijNLW4j4xClSvHJgi+mj/mnj381mqkmxWqsFMlBdSMk+p0XwYQIE5v+aGbGZN67U7QgYaj1SQEY
TbfWbzrc2KX2HNPYOdo45nedAn714y/8xmcWV4sewRuV3bKs7OWw7xAVFM5Lj43m44uLaeL4w6cV
V8tdl1lKlfThsG/apn5lk4BZvgTGfdS1uj2xAEF1Ue14Kz2cE2WA9Kak7/LJUebGRzOvZrPAo7qJ
9S8+mBlSnhC6/nr0tAQOaNN+9jTfmPiNq5ksrQs6LLqbHbB9xl8JMyimXMcmB3FSJl/5JwyVjfCA
0IbtiohENPHQx9e2IfVnzyx7Og5j9ROjMOClQVUC+mpJU8GlAxv6pcaTmsyCIkZk7zoIy1TpvWSW
JDu8aHFVBC4R2J98U38c+BYqwn8/+71TQbDrx36v3qcPI9Grv5JX46K9YhnxSMNBBjxDLgnOU9kq
n+xA/njveMmrmaACFwCalpfMYCvUPZjg9pPZ89aVrwayOyVgaebQ73t6gL1Bv+vbx7fp1oWvRm+n
q8SOB4K3TPtaCb6FafI3Zz5uxtXDWvYI/TxD6/e+PGlxBWzyhAtn3mpvPXppR35SKnxfYv9rRNKh
uHpghwqxTKAhGQUDsNOWySJbRQvlodjLZX5It9GGHM4j+sSls/Q+GSQ3btr1eVxvEYNm0mBNsb+U
zALoWj7+Nv74zNqqcXUs8E30ionOAE8kJJR0obS/gvzsdp/VQv74xrn+1dzYOCrdZyMlaVjmBl0+
zTpKZSg+qXTeuvrV3OgLxx2byeKFOdGALpEsC72xPpl5p6/zv75m3vo0J/62lJmx7IpaIFPh6LrS
wRCHCRtHWy6lfmc6L15LKK37l2dwY/qEv72Y4ffUVpw0PyBygWiF/UNBeNlon3yWG7tS43qecLHG
KVbBZk5uAvVQhwcIqHULWHr88fGDdGtVNq4mDJS/PToLkR2gCJhv3WiW69YqxK70RmVj0h5+SWyU
CwJz67xzjIRCtKPvazHw30kQHjTK00+OErce6qspJhv6wCLgKZukjpvGSM5pHr2ZmXuGJfrZRkeb
Lvanx+NqtnGKsjSDRuaHbg4TbVWu2XiskKitxOL/cHZeu5HjShh+IgEilW8ldVS322lmbN8IniQq
U4kKT3/+Ns6Fh9uSAOMAi7PGQmySVcVU9X8o7fShbuL2B7ETu/qMS0A/8pfHWZvZD1wxKp8tJcSz
JmIc9uVIn98Y25/E7XaVF21K749wf5xOd5r3/u0JRScb1a1d6j79/t2tBIuZ3YAmBYsaFF7NQUnl
ifbaCcxHaN8AMUaQcL/ctxl31qRgEQ7ghqnDkJxQ0MrfKZQUt+A36CvBYsYqNClYmBz63DD59MTN
byE9AlrjMegVdqa24mRzwyMFjAw31yTq0ECn9IWX6Z3lRgXBdSAt12LSXB+kMMGmygJ7C030KNYW
cYTsRhQB1vd9d788BXMNSIFC2LhJa+zsSqY8d3WDYrIrWJFAzYuuGPBcC1KcUFUQWFqKLhhgl6Pi
CYpr2UdBXFhUKxMxZ0eS/9eGqTZm0hUnaP89TBbZK0heWx6fmUD64ZWf4nTPoILPKN4JFbCRoXsK
Rf4oSY6Qlkdm0AYoGWVlNzmz+lDJzVHnWiUE+K+TgEQGh+h7nonDOKIwc0DxEXJfUEmEcghkOi13
bO6cQSXnjgD1ZEDuJSfsq5FtC9ipQ70utX3SgTqAewvgwUEhjHYMYvzLbdKZ0fz4+6fRtEariCLU
Ugatjye2TbaNNyi7PjR34pL50/4X1CBgIn77jkjjtX9QL+h2XuKhlsf7otNSKSq0YSeKdLxe4RUj
QO1QWcrbParjdstdnDHFjxupTz0coaffJAPOhpXVlU8ommwgKDuuPcbNff36909fT+2cajYEwYIU
2aYt/akl7Uqon/uyFAdCjVhITDOHoLXxxhq/5fr78oDMBMmPW91PP1nXLJQrUGz/o+pPWBVu6fxS
6NPyt2fM6ePt/dO3axt1zRCgcgKeoRRD4y5UXgCy8kTe4jlg5fphrhF53TeaekhCHIzMFsBuqP3U
4g6qyUjgq11I4a2440wrquT+UGHXsHHG9Z6N86zj/MptCKDn0ElSUacPYPqXBkyVfF40qjEmE+yH
cOUwTNDRqDjUAVL+uxjrTXbF2yw3NBP01Ws3P82MaJrCioQYAtT4IKOFH3uUDOthDHGTlYVrxmCv
SWifWwC+JhkAcR0gp5z6BfTJw3rFquZ2tqq0rgsmCqTJ4/Cl78K/jnD7c3lufLFx/jbPdlA+reWg
3D5YAl0nu3OXMBsJu0PAQEh0wew+WVvITvuFDz2mnXUOLxAk/21vqy2ErdZOsxQDdGMfe83R+zxw
cPKOdhBHD7hhbironbTKtA/H/ID6ZChl7yKzQV3UAGi5cTCK5EkLvy/bxOy4Xn/RJ6PImJmrSoTu
Istp2kKGZmsewJU/wAJdPAN4aw/lMyHnmrn4uR1Ce8jNjDANJ4JWm9hW0NdW9JV1+uMF5tb4SfFA
jJC2G5p+CDqthgha3VALCgIiPmXIDD9AVcdMsUvT4x+1AQFmIcDsGaKm20KIxPF1A6X4cRUK0Cx0
frDKMMX/y1B+ntF+l6thcaJg4QKNAWwH1OAzOJCW+7QWChi0Bii1Kw56+7rfdOT8JLNIDdHomAyx
hUL2AaoZu2gPrSo/PWJR3qUeMK8+sN+b7gDVoQ3f9WsGeNNzcW0jhTp1cibKUdMUQLhaeeH3/Tn9
Rg/jJT1Yx/Q1O8ZPol/p5W2TQ1tSwOtCgTrtUkPw3sV78ayekycTFme/2PsSquUu2y3b9lyfpHhH
qQrMJViAQQjmMlgOmx78puVPf1z8/sfg0Acp0vUo2B1thm+zExhuO+Ml3Wv76Gif4oO6rQ7dwfDS
i+Mvt3bTd9CYFPuMrkDRE8OARfFZIe+1ua3Z7+VPSyTi/2dVmkj4/dcvdbzKFFBzG/B6Whzsh+El
fMjvQNjZQczMgzQk0tQu1p1wURbkp68tRKu3yrF5xkK4Yg76zTM8foFkDpPKaIuXFOyf3NYXPtB1
7kt2gC6be3nePB5i92e2LS6Duzu9vqPs0kNgUt33++vb4fV8Dw34TbxVfHuzNrkzduNIdpNC+Neq
mgZXyOGpFr+ulRYrgz3XVclq8rRT7MZEV5V9sxl8xTX2Jd5zFe8P9kZYztoNxM7d1EcSDgKvuhId
Z0dYsh+16FDjfw0rvTdtuw1ICyfjGuzxv3GDWizocUCn5ND6qJ5zLbfZGH7nQrHBbVzQi/CeDjGD
fXvsfjlvyZ35K0Rd/OgaHtRs1gbmGqdvuJNznYpPqxDToxrESfzCGhZATlEAKIhnefWmx5jEp2iH
AjlcpKDWbBP5LNksz8d12G+1Kq26qPOBvpnaYaLT46AApGOD8hD0EEBY/v6cIdF/e9Uqpj5irzgE
CVR52h3tV7ZZH+eiWz9cWkyTsKPKlOLD4lf0HQ817tWWoHx/hwrr3VvlxiDMACHqdf7wV4Myo2sc
+1Pi8nOzsv/+OJDe+gXSgmvXVgHxBvwC4DX8cEc36Z7hSR/1cPvwFJ4sr/LrjXNWtwnWqWSj+CEu
4rVDu+28/Meao2oz/iSnz/dWVVgiwgGpf0Bd7I5fwqM4TT5BEMlgQCKAhOMjPdAD3xfuO3BUHju2
5/LCj82F7gvPuDf85an+SMq4MSBynn1VCVCOFAyIVfkD4lf0aGE3db0TbPd8j9pO5015Q5EPuyPe
6Dp+EyjP1X6tee1qUreal2JWLcAhLIurRfi699K5vYunL8/esd/JfbQ3IOJ/pwVDADm8rX1pTuJd
3+Z+uUV6MmaHbMQGQvf+2rzcTpTBPkaKc0MCaUlIDGF1jF3l0j5DPXP6Yd5b3yJs3E/NpfjT/CQr
zjC3nZDT9RVncrDVQ2OoIHsq7pWf+dny+GbcGkd6wiyvZAHePhigU1KMokLvQd24GtuRn4r76q7f
lTvrEQP6ZO0mJOEAU+AmG6CVDuPXdjC2FKCGxGyIWWNW0xh6nrEKENWwEnJnYp8txaYRFdbQ7LtO
kUahJbDRjJcBj9oFG1eC39zOwpaClGrVhWqiSi6ot5BuG0F6fDAOgNbegUEdVN8qn/5Cbah+abbO
pv2ZnoGuwWJenNkf7XXZKa87iP84hUEd6Rc0pQElwLTsgjAFR5lFqOY0oOGn969WYwZGSkCbHcj7
cmM3N2loTIqIrEDuTzpNeRBz8HY4oFPaH7COV5aq63bsRlfkSGdDpQl1uqwLVDzm1H9NEyJeOTQ/
cWrrCdtG2ZmXdMU0ZnoihzKUKlZDUaKtkf/MQJiIdrm1dtM3MyVypZBK9CjXDY5vG0BxvJeB4XTI
XMflM4dq30ownhssKfxEDqDGKOLsUUj8M4z/QpD1GSRhb8jGC5SpfBsYoBZEvuV5n+vRdRQ/bV3i
KSd8gE4myFEtB6UV5epRx37ljvALDrBlCExOWsTPy61d4/ktO5CCUNLHKGVGNgbKSqAbBQUzEKUh
c69AxRAaLIPzRROQAg/yXbiTp5AJi3C/Rhp1b0GqhcXa2o50phdS8OGQStdBreoCPRleO6XeoQpx
uzxA14G4NUCSz4+FktWGA+OFBqD9pJMOAmANRL5XVoE535C8fOBGPlqM5AGF0HQ9hfs6ZGeuVF/7
9fIxnFNrxCiH0LgbtV0PqVYRD9+WB2bml8unblaGlePkUR84Qx16VAPCL1czddujfHLlcW/GOOUK
oaRuSzI1aR/0UYvM1NxnDCsKeQuBb+L6j+V+zEywfPJOh6wA6JrlAcSZ93hPfoUmZL6yZs19W/Jl
+K4+jXGaB311N7WAM2hrce/mcmtQOS0JOp9OC9LjVa+gwzNSr/TPVexA+Sft2D4uuzUDmptlyXFH
6KI3jXqVuTTK6twPY/ocNmkYCGjQrez957oiOS9xEOgMAR1GUdQPVECcBLBOr4+Kx8yJVtxsbiIk
LwbwGNBAEuIwNrYnFrbPdil+f81+JA9GTlIGDXvWB9ifQoe/gpjY45e+LKckEeBYxrHCl8HTBvor
can2Nd+VM49KO+2xjWkF5NW7Y21WW8if3gNkePjaD7/68+clrMZ7UJ+pMBpI6CeG+WKE+bTiUjMx
Qa4B0sE5DcMxEcA1QToDJIkJepUKSgVN5XmiKzFhxupNyW/Nsq4ts+i7wG6tO5uNewjxvEH8eMXi
5z5/tdJP45NytWZQgheBQUFQrCF5DQ7hAH7e8vDPfV7yWW3K9UzE2BMhb1cFegkqCxlwWGoYm19s
QXLZrlWQjNNMUaCx+rWMxn06FEjOdarn5R7MhARTctcaAtUWMlShe5eMTygSvjRIdGZV9rewlZW9
/ExEMCW3tVNzhHAoR9Sh96CLbJq62y3/+JkNnFz3E3ekiSku+YKBNE8tkMWVLR6baNpBg+lOIdbR
NqJsxRtmdqZyAVCGwseURVQEhKkRyLDjTifQWqYacPB6dUSSbwopTnOAlFKdfW3y5XIgByzhQVMG
9E/NgTIWUY8nWWBm+xLUiuUhvP3+YiD1QvIQiLKlqD9oAo517mxUyngmuoAilogdkHljS/W67mFQ
Y55CsMmEVH4CsbhLVLUoaFC5YxEPLFgzd9M0a6HkpoDe1sXQDINKTPoeY82/CLUFpQgqYyUkdLUJ
W14TUo9HPQfnAgKARrld7suMLRtSLGlGJJuOqSkCDXpALtz+ZerDd4i1bpQ6X2ljxpjlqohmIFov
GrRhRHcWiC/J7+XfPhNJDCmSQOXbhjSfIYKqPRkYzRBvLNrK+XZuXKQYQiy1BtC8rgMroSV3rWKE
7H0ccigyxThOH3Ne1l8cHimcTLGZocp1FAFUGwGz+gsu+WZ5gOYGXo4ighhRRfDlvvoz0NfGWsl6
nvmunD4PvovOIOgNv56SjYqXmjIy75d/8sy4y8nBsaZUfR1hAWWo63OVTrunurrPYT0+iYyVcZlr
RNoBIC2VtWBZhVCgL3Y1ZAMoUS8ssfap88Wh169Nf1pESdHnHFS7JMiaK8oCFeDHlAMoujxKt2/n
DConCseoXTCBA8QMQCN0L+y828V5lW4mlbSuyKMBD1la3m9ipFcB3YGaHT6K2Df0nB8IhJVBmwBU
fYoUVC5ANwEJdxza12xQ8A5jQfOuacdxZbs146VymjGLeYXiiRq306AFfXNSqFCMQJjuRQy+yPJw
zNmjFAgKFtdpBQjmsc5Bd8hKGzJa6lSudGDOWuRQMCZxXrNBBCoVgDIUw4nFznfWx8THTexaTcpc
K1IU0DID64AuRFCnbzT/HgMlE1s7kT9+bYikUKBbkVNrCgwmHd65+N2AJfClD8u5wVUdjZBgxIc5
hMjLFDjs/2tkzSrgzIyInPpbjF0dUgjSBaKhT6h96N1Ecc4MnBgx2ithfsZy5PTf0ukmVQ0xtw7t
n2NnPJVEPC8PzIzdy7m/NE4B7APXOeBR/UAMZ8cL0ByBVV/+/MzeSrs2+ynATFbiNBlwGwFQrd+R
rxFUYXiXEhWi+lX5wqb0m6Ynv6kAy3C5wbmhuv79U4OFRWLLwckpUMG2jP5qKOj+2ocl761bdazM
psWH2ZOp/nEAaVv+8JwB0X9/MalZzXS1BDraSNy0y7w+vouAQbbTlRuguSGRfDZs6wFrN355Xj3q
3bMj1orzZ46RcspvNjpDPulQ406yt27MPShhuiUU8CCajHPM2qPIjIXK+b6FcFjkNE0foBTEFexE
OBAR6e/lwZ8ZGzm3N8HNFdfaRgTFWLkAv7XK9+UPz4yNnMBbAAbYOxkRQe40xwbR5ormZv17kxm+
CO2vGaWco+vU9aBoJu4g9Kp/gvT2RqX1itXcfr00qFzCb2ttz5NRtEHIw0QHKBFKpNbYRV5De+QZ
WLXti6K1/N4scHuA2/RmFzHgo9KoSnxGOdk7IF8E4AhOKJ5ywg10M/HkjUzw56ozeqShsspLIdSM
/zhHphHLrD9DndlA7fF8G0LR9DCFhnVG5INQcobTWMeBSGfRiLexooo8Zjh/lidrxgU/Mr8/BY1O
iUzIqCMIQk+pdMFOAo+jCug0vEedWFmfZ8xYzlvlYGlBmATOAk2X7/UEzlXcvcR5u1nuwoy9yQmr
OiWjWfIpQ37MVWlWNZ4gCBmENH1SYlCWGrGaGoSwdOMuX05YhV5hOuQtnlbECNHabtwVGntZ7sOM
M8qZqi1nKIKPcRDP+spvyasa/lz+8Mz8ynmqtCj7aaIKTtuFjSO+nQ3FpuRGB1Ximj3lHTcelhu6
PclEvm00R8MYIF7fBUPHfFUZ9g1Hqqjzuvz1j7rp/449ka8cqclHJFHaeEfRO+YZOoghidWwgwY4
lasagm8JhIc3rdNGz63VhbsJfON7Kx4onpJ1ax+SfoDmKgXzh+hg+HUMOZYAk35tmD8uIj65ETBA
hmYnIPsadgFlWKd5anjz3E5IZRj419xI1t9AfFBRHhc2aKOBfALIlTH/rlCxkvf9cQHz3yGmH1mg
n/pgg+alK2aFW90BY1Xr0FafYqJCg1krCWA7Gkk8kRLmdWGLIqyptLYxbop+xnh7OuSsB89p4CjG
gJzPU9Tk5cFs8SRcqMBzQvfC3ED0P3pAQnn/jSRTCzaJQO5LlxOPghznC7NCPo6FcwdHlv4d3g/r
C8W5+3sYMTb4bCDFX6NpQ9zlmcm+LUEQyCcHTD9qK7HXgbmK7G7T3JIy1lyDtcC0/QDDvHf8qBXl
wUppBcaX1oB3OKAGL4Qgs5sVmokXIXWCsG4CoFgGPMQubXHPYpuZs8mjKPOIKJv7KFa7ix3G1Rfv
WOWsbnPQcR+SY+sM2ePNeAUogQrONWNlcbydhGJQOYFbjCbwxCqu0HmvpoarK42NdNOCA0sLfDjJ
NcibdAIP9XZX3FlEJPdUWNPOAfH+oU4M+2xmZffF/YC0CTOZ0+B2ERuNMganUamUd4OB2k5Q98lM
fyjJSjszMVRWWTHBEY4n0jvgvd/b1vcQL/krwee60b3hGR+H/E+eYQHk7EyacI597bLfkA4aIy/9
07wCBJvdpa9a6YXAFa6EkpluyFIhQF+OBeVozOGvQ/LUGj+WezGzEsiKFH2oq8QoM6wEoCbGUE7G
9WU1/MjUcWUdnjnwyKIUdpkoSUe1DI/0zqU32tdMi/7WrIHmEXBeUZQeGgCbyixcWXHmBuq6En2a
FQcMUvB/sAPsyIWTbyF06JdH6vZSBrXgfz+sQgW8d0oYrKOk6b6rcd1OjaE7hFX9Z7mFubmQTlRV
jwsfndkplJumozDyKWiroflr2Fl3NnLG/eVm5kaI/tuRUDDwOEDQCto8AVfE2OeG87T86bkxkpya
E6dKKJBVAQTPQNDCaQJaFhnwxu7kdADHLbdyc2uHi+7r3z9NMWNTAyYMCsOworpaXoA4B7H/9D6p
bdAQ1JVWPlzrP/6NZq7T9KkZgGyUFnzJa7rv9BK/R3f0GO+LLQmUO2sDkz1E9+yxviuO4UrCye3r
QbQo2e51O2xbNS5mw7c6BmzYJc/Gj/yh/Ba+Rp2PTPJNtR2BYg3oKfrV7dfEyeYydWXtQEvPhTAj
9DR1IYkcXoZt64MyftD8a7Js6vXb3md3/G96QK3Pu3MsHil0sK5ZhF+sgjAl088nuyjMElMKFZ6X
PI/uwpRtlq1Fu2nvGFXJ3jUGXGrK0btqU20MV0XqfrPrz4AluLX/9syQg5ttjZ/lLj3bfhE0yN5H
ur5b/8k2SVBs8M+Nc5+d15IsbvoIfo7kI8g6NfORdkiCvSrVo5AiBTmk8frQ3C13eK4B6c4wUqa8
TFsovVTjez8cVfsXS1YqcOYSiOVnyKw0zMJKYKHg2G6UC/GNgG+Hg7NNLsPe9DmyqclxhHEU53Gf
X8x9DXmTL3VLfpWMR27X1YBp7E1QkoG0V95BFv/at6WIok1AUpn9Nc+UgOCXMNyrCxB/10o051KN
5ZdHvBFGSTnht0MP5KV+1r+r5+ypDsJt+z3+bX0fmUtWjkQzsVF+GKRhnplTgpbqMPbjiOMVAcp/
EWDLmpszZ+0l6WpLN2Kj/DZo5TQE0hp28EK9N+Im/vPbOXWR5X/+GR+3P0t3G7uPzEfFCKgwnrMz
UYmoun9xKEP27N/g+0PmfWV/Zzrya2KsDUBidpDYicsEwcusNr2uvC+bxW3lDnxcCh2xYmRTPOLj
AGT81TJkNrsx9nnf+JP16LwVd80BqmoQBTQehqPYoBYvSL7mxIYUJUbVZkVVYR4NjhqnFvgs7WGk
urfcsbmVRlbrCsPENMiEeBt+Gz11051BSbuEh/AEOt/gQW1pp56oXyBLPIN4yONyqzOBSX5/NMbR
NjUgBoOc7mj0jJ2aK8hKZLot3Gg68gskjxWhZCMGTGyVC8gsQfyQf7NPw7G6xxwd4wvUzlYybWYW
FFmpaIh4NiXGdfAc7oF76GZrt683N8vohLTlqJSuG9Ls2on4sSjfdeU+ponf9sYm1QELLf6Ya9U5
t7VR0dR1kj7tbrKEi7qy0NRw0S7jkR8cd4KzCk+9QGfx1/KM35aKQCvXIfzUitPHtGlGTDnnAvoU
d7QCH46EHtE0gGJRsxyzfVLkexBc/eUm54xM2kkYgCI4ZYoWG6S8au8GOU/98/KnbyvzozdSOJjs
PhcTuWqowS8z7jbmyxj+4rQF7FT3KvozY8jcd34104rHzI6fFAa0HnX3IhyGgLYolSkUMOmh+pvU
nkFwL6soex03wA57b621Z5258ZN2D0rOaFbmCHlIgndD7UeuXMq1DMEZx5EfHZFnRahjYW7ikiWe
nrZPjZLdL0/O3LeviVOfLC2qqzCJaWEfDJ4di3x4UbRkZRmY+7S0Oxi1MeND2VoHh0OhkxR2c2cQ
LV/54R910zfWUvnFMbShpiAItQ6tppDTqAC1bRGgdiezRD1IZbM/nTIClq4PNq6hQvVHDuHObZdx
5aIMJHqOigTAWJCm9ANlTbRp9LC5TIoGKR5FZ/hXEJ5VCCduI7CevRz3Fo9NMcQvkL0BsjwkVlAV
g3LQGeN3qRXXG9VpCFDRUX2wwbD1kfMEzYqmBzgxKeINGDDpj7a11WOKLNt9U1XqPUY/eh5S0W3a
LEZig4Y7F8Dcq9Yt1ejYDFw9NrFtAu2Yqj8MDo6Tq3Z99WYkOV6CdBE5j1mjAbrYZMlOINfgPE5V
cm/VKn1WMmWC5j7OBEmaT6lPGLBkk2bruqc3ieLXRQ9U4VRVe4wfqudCUYttXHMTG568i+9Hq0O5
tmZDSgUCOXXr4ijdv7UousZpJ9f1bTk4BBdPWTadQOkGQNoWw11fixSUQLVeucqf2ZfJ774Db6iC
GYINARGRJ5mXd68mlB4T43lKdX/ZB2Z89+ME9MkHzDQsIpE79qEWPXaaZlbfax0HqzopnZW1b64f
UnhFxRlgph1xDqHZWtvKZM1erZJkN9hl52mhNmxZXg8rm6DbF5Ym8FD/OnU6QZl7UnLrwPDAn0Ey
3zZ9pHUPF9WMw4PZ1zTgXYEC63hEATjYrQUQjwC3ujmuxL/H9YS8L2Hb6cox4eYFDX6OFI2p1Rtq
ZGXhoSkTgYSVArppYfQCQbs98Kxrr8hz4UaKwMAhJiCaWw7e3NINbYdDqiUrsWbGQOSnY0sPWTnG
LDxAEvqgXvPKI6H94QDVLRvgzADJr8fEnJqSgz51iDINjGLdAAYJcFneeT1nK2ePuT5cLfOTkWdW
mDexaVsHqCBuakCF6QDe8bBGiZrrgrQFa8sIlehKGR6uiOuHvkvL71lnQouScvXRmlRrZSpmZll+
TTZ1s7aUzHEOWlnc55Gxo2G9srufG6Frk59GSFjUiBsy2IfQMDmo9PxaO2lqO3HF8C5P9HVVvbFm
ya9O2WRGVZXaYKY1PQj0RQIkPEn60s2dUvF1SJuEKPtLxbHsC7ZyATA3M1IwMNWpBsNdsQ4Em60w
ASWFCFdNdZev5SjMHSI+zoGfR04xCp1kunPgAipQqQ3gOuszDdpT3DEuYdmRXWqBWK41buwMuEeq
jGqPypJWeIpl2SmEP2ub4U6SDOdiGsyVoHvbVmxZcWVoGD6WO2oQ1qN6l4ZWfnBKtfG/NpdSvCls
iJ4XRmkfqNU8mChQBdjW3JdV+2OqpvOo0Nirh2llHZyxTfnRBATppDBYjQihmoeshgKmGM6VRrbL
fZn7/NVeP02gqRmRXeDwfMgTCublHzMKPWCSV6z+9jw48mOJ41R51KaOdQBY4iVGUVGbrybkzf1y
Ke4YPClLpw1DvHayxjUICNwMBa22bq1Inc41cP37p6Gx2siKpyxSDlqeeAMSzpIydtGZlbGZ+7wU
dBjostWkGRAzHvEOpqG2HmqWAkohpfnF7c3HLuFTD7K8aKcJwkeHpFceVCbeUET50EZ05epsJr7I
enOoWFVEbuUAEwxd64W8Mh6BeCPHIqq6F6uZqpVFcuaQL2vPxWWvm3EBGTU7ByOYWj/1nFV+r6Ka
yShaH8KQo9v3A1SceLoWr+dmR/Jxy2E5uE/YuXBgc71iGFQvrZG3rnTR1xxbTudhdW8SVg0EZtu5
QwyECgR0uRZ9bU2T03kSUGlHa6rbIFVNPzdaw6Utu2jNWqrGjGvLWTxqNMQV76o20FNFuAYFlVa1
u8cvRSU5j0eMDHxsSqsgsl4a1DQJHoz99+Vvz8lxybk8sen0bVQBdy/6Jj9E9SgGb0xD5qWGVWyM
UG+2pq2Mf5t8VO6SqZu8AjCIzCV9y+41U+j3I4W6kpcmjB/b3um3iq4g7SDLxaU0nbHzIucaLlr9
yoWvGxsrLk6SdC2ozriDnPSgkMRpJ1SEBJ2dmYAMgXhMxm1YFHtiAF7FbPV3GIWvIKivrKZz1zhy
GgQyAooMw4IRKzsL+ImweM41xh3XHtXqEWHfgNhQB9iAD16EAr5xijNU6GT2BhRUayUKfJQ039hC
qdJ2ps3qSLf1YgpCqx8H1PDElglZyCYekZ8eGTrS7uq/o62lP81IayCWYhG+LZw6PBn9KPZ0Ahac
9qrYDJnVHW0+/AHb3Dr3Vj2AC6Xobmky3Ytz0qLC1ozfh1pJ3zsGEoRiGcNbZBaoiZlQIeNmRscB
m0yA9q4aUlKXXMViVUz60QzDClpzpNsUamhiO9zm34F1yE8VtCVAU2zTH7qap3txfdBPu6r39SyJ
NyJRoG0XOxk46yT/0dICiDtsY7aUc7qDyKlxrLtM3VBV516Od/Vdj44DO01Db5yS2i+aFlp4tNG9
a0GVr5dt8YjlJdFcmmdQhQEC61x0jrPtFZUejLTNd3U6ahB2R95wUjblAxQxcTwopz7ycNmEpwHO
jGz0OM8LfqiqUcG9YBM/AIMRF65ZUIO4xSDqX8teeXstseUS+QHVwEbmdAR6C/xJ8AbRxIwf1Jw9
OcaXcHI48Eh7HQeKnKJLoE/AKzM8NnrabGIN+53lHsysGLIUYssdpeoGZLtahqA+UilDUMMN5AQj
V32z3MTtQXJUaVHS2xRkoFrUAWp53lq7Ol6rtt24Gf8mjrWyub3dhi0rxzmC2jwaujqoyGvd9y60
8m3yN4LtL/fhOtj/9WJb1oWDXGMzcdOsgiKzFV8geppDa3lqbB2LdN8W9vNUlT+W25rri3TyhUAB
UOZ2bh+s1vYi5N1l8SXjdzGo68sNXD90qzPXhj9tsHDV4rRpV2INx+Lq6XGxDUexy1m9y8sO7wNm
8nO5odvGZTvXv39qyIF4aDXYeHyoi/qbiXQaXKFsjWxNOHzu89JeFNdAfYJLvCFA+Ex8K0+mw6iW
+rar+Boy6vZ+wZZVJFpFw5F66LqgnJxDVDonx1BW3GLm04727+C0pRoXUNptIRxuW7+TsmCPWVat
3WHNfV1adlAvhpS4qL3ewduvQ236JEy+dDMDkvu/P9wRpFdxm01QMJrcE9V6bByoXNVrp+C5WZXC
RUvCabQEajtJ/A5GH3IwT2AhrvjxjG/9R7ooY/VEi1pDMH1g4olnuKG2fnWA+i5b/IxryXJFOFhM
TTEhFbgiVetD3cmbkOLilj3d85jcK/XaKWZmfmXtIqpbULxQsfLUmuabqD02O3slP2muD1J40MyU
lbiIaINcRJrfaxSq/Miu9PjA+KZiyZudFeN2ebxm4qqsl4aJrURJHBIkQ/UwIHfQLQmue7IJqmmK
mfsaNX/VzlqS6FzProP5KR7VlKQEmc0kUMtYfXC6yAHunL3pTk/2EAeDhlrdqP5yz+YmSHZvyC1R
nbUksFV6DtUMT+HNj+VPz3iILJdWapWt1BYcMNG6ct8zezpYyKw9O+DrrWwL5kZK8vGyTsOITCMJ
kA1+DpsxdinJDqk57OqePTqquXafMNOQrKCTaG2Rkbqqgy6LcAhId1nJ/Koxdg5ew81pZSGaMTNZ
tDZp8Voi6qwOtFH/W7ZjubHIcO84w6EtAbNqBtwixaWyEgRm5uc/+jppHBaQpCRByc03wiDgnEKC
jVE9/trsyJAv1eIx7pBsEvRgfpbtJUMWnYolEMcJz1HTr8UBi/7rLVM62Bg4TYUFX6yw9hkUvii7
m4zXxuEr+RxzEyPZGQvVHB8z1KCDFIVrJErlxy1Y6xV51xLcLlRMgd5rpj8se86MU8pAsKRVygz0
5DooSXIqO3vP6m7l2nrm03IJTNQUvGNZT4K0nDY9Q+4DsoiWf/XMovWf8peYVMmkwd+L8qzosZ+R
3FXzP+OXcIWmLSfaFnY/QF/CIIGujgGKAp7ynP522Pi1/YKcYCvGMe+YQ/H5lnp0rJ7alO26eE3o
a27gr174KaiXTEuw6+vaoA2r19Sij1lVTyuONmOecsasVnDQrx27CurJ9JQJif/2S673btHkm1D7
WzdfurRFetS/fcArEcv7CtsGvHs8F6lJ3DAZfkR4IlgxoblBknzZ0Bu1S6tmDOIuv2hOvuPceF+2
zrlPSy4sAAWahqgmQdjQb0OYnJzOWIkOM4FU1tlRk1FTagOrUFLh2kEHGaj/WeCyefmHz7iVnOTK
BQu51YxtEOOulkCXIQEZNIcQSpaX6p5Zcb4SGmasSE5pBd4waax0VIM41fe1WXrTAIhSXECQMUnQ
KyArkfgXr+UUzkyIrLHTKJbK1D6sIHhb+DlAsOO0Jicw1xNpa8hH6CQyB5eQpcKPyFXibvc/zq6r
OVJcjf4iqkACIb0C3W13O9vj9KKaCCJnkH79Pb33ZZY1pspPWzszBS2h8IUTrP6Zz4CtUNaEU2XZ
aMfUG7tiBRfAlyjXzkp510EV+zQz5KUpGdwqcEbCvrMzQgfeHnBTk4Cu5GhG/MpVYu/iXvY7uxjT
vak8b9cxYZ4/Xy1rs3r+87+OmbF3uK5dVKYnLW/crnvy4dbwtUcvdv9Ia3vgCE4BeabQ6OSzvpvJ
sKm4jh/4Qba/BLfmsVu04whJqbG59cZnFI439s/K7lxiV3tB1WA3eLBtqxMb7X1dTzdNu+WbvbbW
Fnmg78faNoY6py691JB5N12NNjDQOsUcOQJe3flGnLNyDizxqu0IdSjWzvap8OJ7WxMnoP4cB7nD
f6KksXGUrb3kPMq/lo+TEZFD8wUc0Zrx0C864FdVG0dePkGFvGvjL77nHGf/9R46aeW2Mxoc02y9
m/hNpzxQpLnk5Mfni3VtIOc//+sFIK/gnh1w3XbglIVu4orXYR6yU9LV+Vmddatdvfae5bXOcg+N
WOw3WzUDbOZtNoaJRMHQymZ57NmmgP1KBrLErnq5j9wTJe5T3PVBwb3LWrw0iQlS9hPX/P7zWVs5
PZZ2m9nIqGtVuODHEvqjlXDe0G7YUgpd2YhLvGriQkSynzt6Gnz7ldbt92zWr4VdPX7+29cev7zg
bSDXMPPkhGreH4dkcGbXw61V6i/yJri72OpF7s2zgdTBySV5cWU1iu7aeGiiyi7BPiLjfNGmDqTr
42S+rDp7uktE4Uct9BLevcFqXnnr6CPsROjXvtYSwJp3FfIeS9MT90EoL9EqYd4WOHZlXS91c1oT
t146jfSk5/R3J7udzNzXZpx++r27EXCvvWJxBogR5OpMTfQE97c/ThqHA3LRzrXfklRuXFkrm2YJ
Zh2UZWbHrr1Tkr9XhR8OI2wAy5+OAM2Kbpw0K+tuiaUUmdM1phjJyS9vCaOh1Z2VezcO/bUBLK7z
lLl2nLCenHJb3o+uuc9L60cp2KVu6rCbvK2258rGp4u73aqAoK08SU8xAzzOjLV/lBB6+trWXAIn
+wpmhenA3JMPIlOcqEif/6uaja+89gUWO58LNxlc6bjwyULXo80KcTXkMt55lpq/dl8ttXTAzPeE
XUj3VMKWr/Jv/LqNbHGRfMnQjvElFFIAQMxzVRQnw5W1j+N63Ll2llz7U99fUDTw9pXP+y+exEtg
ZNuNjURhxj0BkR0M8e84f4/NFh92ZSktpXXQCO5RkUs6tOqyMoRqmzhJj3wNdsf/IY3+da9zPpOY
w+Hz1EwwGCyT+HefJq915/2yR/O1j70EQ46yBUOfIlXs8wSUhureAYgxZAMNa2l9STMTX3yxsztt
ww1LtPo0eexBxAB6y+6BGXUchmYDILxyeCxhkaS3pCasQK2nvrM1UtP04AjYgY+/v2SsjEGQf0dZ
3GVDl1aNc3K8Xl0OA0iL6MsJ8trRIf32pXt9iYJU/sAcm9oNzDF1Fcw+tw+Tgpt8kXcbF9HK+bEU
ZcCSsiofxfUTStQQ8fAvRyb3jbOF8PgYUsKXIMNy8oAXyqiB8WZrB1D1yIMybq8Qxl9Dag1a7Cmc
buz0foCQXPj5nK0kJUt9Bmc8x78D0BymY+09hzruAY0DJ7kcuN+/i742d/XcIYWoec1/f+2di+vc
g0Y46V1tTnpw5LXqBb+K0UZ/VTPYphBoaYodS2ApF8q5Y1sl5pVPt9RzMLxzcDpCkwjlL+Bfkaiw
E3OHjQBrZQMtTXAtY/rMOlsLqD5NQXgzh1kaOCX2MXIvODTH1cY1vzaMxWHAfMie4FSWECrnV3JU
v8E6OWBgW6XZtYEsrve4FN7sU986lqR6jK3kl1WOD9J/Vgq1JNho7j5fAmvDWBwH/liUMJSEugnQ
UbW8z+ZH8yVlEMaXMMWktRWSH2MdC3GjxdWI8D5X92W+EcStxKL/MN7+ulaK2SKWzrQ85vjl9lVh
ZaHj3JJ+y/985VJc4hFZ4wKyYBQ+gHLe4BZPzk2ELwn1MH9JnoRqaae9GAYnlXLgLOZD87Yg+a/S
2sL20H+6/R9UZ5aAxzplpaw6mZ4cnMaXdam7qOKShmk+QS8p9R64xgWTzOU36Tbw+LbRg+1yUh6g
Ei4PQjjTld218DSyAC2+QOv5JdExDRNqPc8oN1zSGnCzPLOv3FLDP88kRYB/noPyp70olu6fJm2G
wHPb+yqm1WXK8uQkE80jlKMJaGneGbJGvydpDu5ZOf5wpxisxFR4r7S36yhregg3ppQFfurlEXBK
VQOVZGjkgTduJ0HjErbDP0I7t3dhqTTy3wZ2LiDUKJiHV1zUgUkcSHuYFh5MGuKJcyL0zoXkZABR
5zTIq1Ydc1XNh9Rq/xT2kAfDyJN925Vy71Fo88U+ElHYa8IXF4lPEZ5DVvRHwBJ6gAah9zBbllWE
cnTB22aTvJ4HW4YoiXRNIPu6j1if9UGiwSkSBsQyqMffzzlL381kJ3dGNNNhNBBryZtuDiTWb9Q6
nXhiEGy7yzTqgJNHqgAtBwuG6HmDBlYzWt5tKy3aB4PT+K9EQQoxG2oEnYlvAsif6yP1UdGKM1GE
1Cr+lLQC4Y6OLjQwSXtMspYGTXMGt3EaCereCJIea2P2pdf8geHe09jCpSjl+cucDSyY8qELBk/5
r5XfOyFQx3BOnGoVOtyJ973nyksnyx57k4uQFDU9FLz/6fXgz8Gq7dkGESlwFHn0Rt5FFCXTvYDc
eTQOCix+PsI81MrsQLgxFtIcN0FFKBi9HM6Ebp3+6Wh/y2OIuXt+AwraXNYha9RvwcDckE1/2xTD
r0kUF8M0ZUFDzRBkef3qWdOfBN2/sImrbMedOkkCU5g03fVUtnc2V9SPhi6e3rKhQ4XcZnQHba7h
Nidefy8tpcFIhIuqHqm/I6k/7GpVz2cjaTRmxPg26bYFYjLOdjii7VDmqTlOGaqHjtLvad1CVdMa
3f3ct0VUVgBHciLtYzwUOQAPmcKtir2eetV48GrrhuZVHEJNewoKC/pg82iyYBQodZkS15cH39JA
pAg2KgLAWdpPMW5MiT2mx2v4jz/nQj6ObG5CkUjIN1q1F9Te/H3oS5B86ZzuWOXrF98GTxBljwHK
j621Q3mg+l46iTnarg9fYL/OQtI58CvunC7S3G72GdH9Y5mSK3H2uMF+ve/7ogwKadeB7vtfJC3J
PXAoVlScxSNFAovt3vLfnF4AV93RF877d2pnAsPiNGB1+aDPtTbgF+tAWMkrT6enxFMvzE6b0McQ
8djyB6fNpT3I9krmookGLyOhNRfdtKsUmKGIGyz74KkRgCBwQackbAtX62is4rTbCcfx031ZpwKf
glhY/2Cn5ldSU3NpUONrIu1U7MUHneiQ8KJ6QDLFT3Y/iF1dZyxM0gT10lwx+qNjfnkhEpbfewac
il1taH1WoiNj0GD97rqkk9E0l/ERJCL6yIa5vx/Gmd8MBhw+WDHRi3YUBSTgyAjGdd5T6M05unDv
Be1JHvmOl5waHIB7P01D6WANw+mdQ8qFiwcPl8FPB3XQMWLal2HRez9ZadIrv6/zS5wcA9DTZBhv
pWzbg+x4vkt8InYZKZJdnavs2fHHDD62JWBZ/kjT/YS47mmG0udzi8LWmz9q4wYdCoe7pKxov4Mf
UH1JpUsPicUHYIJlbp55gZaw2+DYKvI8cSPLBuzf1SQLvVlWAAQP9wBquccWPOY98TweTqg3x8FA
lBPvpqKAJKdV5hfGJOqYOAzHXzLNuzTL3mMOR6Oa38yTDVu3Rvc7S6Hpw12rP6h+SoOWABtezUl3
SYA0Dr3G56HDKi/qJasxqfVTApoxvoDlB6nOruXkygP4umnAZflNJJweE+nB1bcqHhogjg+ObbHI
H9UAo6n8BZMyfcusyjs6OEqj2devSVyB7DuAfqZm/gLcbQljhtT+MVSN/SwIYDasOjO0KhX1M04D
O2VTMONi3E9lVhw9W8QBdNidkBO4mYxp09xPZmz/8Ezjb/0svvJNynDfDdnrl+K2JWgf62o4977R
iosfGKRUQkCI7bBi3772+EV0C6icW56JuqdEuM8xH6FnBH8NjFtvWB+tiGPxJYaeuLHpU0hvHs0t
lkFyNz3r76QJmmv1bb633skrf52e+vv+Gj2xh88HtRIxLgHzScPgX6A4PzpJnUZdPvIhYJmx0sD1
c+hPJpmzkcytBO9LMkjfFB5Exoh1bIYfPeuD2LF2hSpAe4gDp/5i7L5kheT22VlgmgCn61myzwZP
PNlW10M90PoiDH0J4obnn0Z5V/JjUfR3tVNcJ+n8TvvhgZRfcpRkfAni7muHQjSJ8KNKL9Pqtcx/
G6vc+A4fZzf+Erw9zrEDSATKjHDCuiAs2bnJeOhx6X1lQYEu/O9aytw0ZeKzUZ8KDbk1HORxUPc2
IiyZvnbjlm7VCqkUYuv/fg2lBsglHwQXOPBpXGvt5Zkcl0sa1cSLfLt8pkN5MoO8n3nxSKluQZ31
+sDEFNGknwft+DUEuS/OW+uvpEskc9fAPi5Hm77w9nnnmF3e5fm91RfZXuRxs5Fdf5x8+Ut89+Cr
BogAZL8uyAPXDtQgwip2tnRY1p6+ON2QuhsIsVBIifcZgsM/zZcMUpj/Ty721/QMJi6wAXN5dEFv
uhtrYqJZqGmjtrG2mhe5OhS/U1gOtcOpkFM/BVJmU9hB/fvauIV+/HxJr03NojAPZCxFYBTDZph7
4yFtvfISt3f762tPX7TjLNlWDXGwktng9XdJU7MDWiX5ny89fQnBNqg4mLokmH2CC1wV441nJWn0
+cNXJn+Jv+a5bBSH1t5pLpiMxFzFl/BcSXflrLONIvbaKxb7PFeTnFKrxu+Hty64kJEDWZG+/v75
AD4uMPpLt2oPmW9pDwwDMARZHIKzwJ3Fld/GXgAywg/VQk7LdbsNaNLaYM5//tdWyJjVjFqhoQ7v
pLAYp11ePbKmPnw+mI+vcn/pUl26YqzyIs9g9TaHrHyofSQmcKub8o0XrP38RfnNyqZac5IO6B7V
IQV7MS4QPRYbtauVXbbEWRtY6YIqJqaTmrMm8gTLv0nL3zQqW5udxSbOLJVlfYrSmG8/1/qPQHrT
wyxEzsHns782OYtt7KV+RXk9oPZZ01fd2feKsTveW19rbfpL8luNuYk7S8ijg9m/Md1kdpbdbxEn
V2ZnSXuzRo/7rovWZplbKEsN31TuHqfCiuzevH0+QWuvWOzkgdOxcm2UPm1z29mvbtMcxvS3l24Z
H52f89/anr/EtruuB8iYiMXR0LwMpjm9MeCC9ABqk0btkqJ++nwcK+t0iW6HMo6viE8RpGuGSlfl
kXu7J+ri86evLKMlmr1VtJcASGKP+XOUdWebk9803cJ+rM3RYgd3UmXETzt0TFG6tftfULYvh+9l
8ppB2OnzAXzcJvKXOPY+9lgqLJxxFQj5oV35XThov7u1vU60kZ9W8zWowsjhOyBwI7cwW82Bj2fO
WZ4fkIClYyY69KdmcTHOKMbKISIO3XAq+Xj5opb377NbNi74RT33j2AchVl90HaCit9r3H3ponOW
ciSxaWvbSpl/RP531yR0B95J5LjOxrpakSZ0ludHNTttOhJVngo638ZZcqPiYW/V9W2SlfuKWE/x
AItTBMuXkhpE1Fbz1g79xuR9vO6c5fFSqrglAOWClt2OyV3m9vVlB/oyqqVQR4f8LBTPyqzd2KAr
QFZnSSN0B7B1UuhiHlOYGhx4PPWXfSrsgwWxC1BtS37d510X2Xqi+1ag3GEr+DvOcgR/TJUowdOz
EM7n22FFbNBZHkuE91VZtVyfcg96/4M6ZYUtX7E53LAsyykQDJ0F1pB2NxQZieDP4G188o+DGxDs
FytWS5lMvaVPs7jlMw3S+ZnaIhjT6Th2P+Iy20goV3bG8siKgboZhzI3p3ZEXqUVqqYUpWuU7ppT
o4r7zydy7S2LowuYcY5K4cyPtLkf7V8gowY0RYdoy/Zk7fnk37PFuMgoSoH8CFp/IC3ME2JAOuuo
tP58PoKPLw7HX5wgiSeHNE4GJPWxvhV+d8GHLV+etU+9CD76brJKf/CnE3ROzRsbK3Xv6B4qg7zl
r+iVlN9JaY1HRkyzpdy/Ml9LBg7Q4qSqUpQoWrsJU/0suj81IGO5qTd2zsqZseThOFIh51Kjf0wm
twtdMqEL5bShpGqfWn4GSVA57z//MivTt6TkeE3TE5cbAxutl8zMt6zVkXHn0CcxWiYz7ion+vxN
/4BW/hulOEt6jo2jiRSgaR9tq4YTyzDPEIDUM8C2U7HnMGk7uDbLDymx4vuxTMoTM666ihvIYE0A
n10Qy8lf55jkIcQjh3C0zbDTENcKbMbKq3ZSYpePFpD6Ntpws05SFLST4eXzX7+ygpdS+l3lzijf
YwVP4/jYdPWTzNFX/PzZK9f3kvwzKaW5j14PcOGotxeJtx+Vc2mn5Rb38R9p+o+mfnGCwCTJ9/2s
0JCPGLy33CY4QTqL3WfFpEJ0m9MI7WF267lpF7VpLSNI3N+iTRKH/mxm7CVv3AmmnEM6zOhuDlAx
GWcC9fvRg4DmmWJFW2SmYyHxF7TEX6iWhhLl7/eKcffSsKzdw2N9OomqQhOWWGgVtaRHnzaLQ/gy
88A2ihxZmXuhVVUs0FCD28Vd291PIh52MCGqj8xK/IBmtIRNWktQ6zDJAf9CfKNWUgawcoc8vErg
oux5fYnantsFCRq5TVC3QxIQQmcTCF7dubS9zwv9UzJnei+lPf+qfceZgkRaYP5Qe9ihjM9C2+0g
ifK1T7w4Yks4hxLtN9XJ60DqQgm4pmXEQWv5/PFrq3Nxvo6ZbtAxrtqTS/Nzcd5V+qpJiuzxa49f
nLEuxVf3k4kdnSy+KUX+kpTdVly+8tOX5CiI3LXZCHdwqBM0/b6D2V5oa602oq+12O8/lCg/AfRs
4tWJV/l1kdmXQ9of06kB1C09AeimA42SWQDswx43IHq9iNS5tYXvXjldl5D/IqFeYnRjII4wHe1K
Vxd9n+W7pob5Byg4oTHWtW357uFL32lJyFJejfq2nvyjBf29QDNzaTX5RhCyckgtLQfqTqhBTlSf
ei+B5PYYduzPkDcbC3jlSl0SsHrppila8/6xHqm6nqtyClNY9x7KwhMP0iurjUtobRTnVfhXGSoB
jBk4mNY/+vNj71+P8iW2vpTkO0vjAKvkY25imGsnBoCE6UcCTQMBt1HgJb744xeHiGuDvWXNNrZh
w6/9Pn9OpXWAqOsGiHJtJy4Okb5nbe17pT6hA7xvJP0+5+rX5wtzbdoXB4hdECbqjgEqK++G/Ea4
r6p8/fzRHyfdzpJUlaMd1aKEDOiUa0dQb9rVgFZ49IIit0up2GksV+08fP6ylXEsTQGycfTcspAo
WNsQeepLWGnCxW3+/fnT/+/b/cE9vXQCwCGuPYfDJJuIpMUoFPCKxi6h4CVn63fbMevRBlYMinXo
iZchDBABZjJOe5mPWf0OKejkRNWlQUn3UHj5uykEue5g1XGAFUXOcCF3w0mVZ9ioldv+HFgQ1XOg
8lT3c8DyLquDuKHVDaus+aqSdnyYSM3fhD2QyAOy5yljKt4z0cV7BefwfTpl8Y6Lkd9CsQjKuY2r
mixANo/f4skirPJ4fpKWVf9AR+/N5Kg6QuAI93fLJfwHxnEyfxrI4l7NrbJh0SPG0OVAmOjBzq8G
1633XQyBpY7M2QWSQzjqwKbpra1oHSoYWkRysNIL1qf1BQKCnw5Emvd+n5EDJaa7mG3yKzMgcuZO
VwWjqTJI8Frvg+/O92Plz3vgf5xHdGVf5Ni4u9jKyj9VCdxM01rVjrYCRgaVwv8X2hQnqSsZsAGT
2MUIi3Wire80z4EpBeF2p9qqhQ0l1KYMk5Ah8xMdFTYgQkNv8xBguOlxyMl7DnbppYYs6rUL+MgF
YAgF1NCH8rI1SoS57hGMKfjQa8N06NTFL0iMxdHsDGgZjz7AU7HJgM84d6lsA8zaVLnFrvRIecwb
v6oCUnZAPYgRYMKwMFrcJrrKAVTsBjusu1Tsi5TSwJncEkqjE/TO5/y7m7E+ol7nQgxlyl0Selna
BTkYqOBGNPoljV1/R0fqXTI6wHa4hsOh1U/UCiAkVOyNjQPadQtEThwB121m9SpwIZ5/O+azs5/a
YdgZaP/dDPHw2kOZ7hJajuWzJStnX0Gk7aFBy/pQN4CRBYjv5x8ZEOjQK62BE+KuO+wQtmU7Oefm
PQWUi+asuvPaeIrwaYCTUxOnOwZJsZ3imiOSbOfdqKXZu5CRCxrudUmordm/g+ZmemPXY/3YlCCp
76FkLDATifejdjuwomUmCzRUvfENjXm6r1If8WDVORdV2r7msy+OfV3JO2gWAhJpaDLdaqvWUXyG
mYi5xyoZ8+5qSh21hxoSC7ktu5APGf82QiU1HCUyeCBGdZvdTCZFs4sX+dsU8+ky8ybgW9qBdKHf
zMVFXSm+o2n3nXnNWz0NZZgWlQzLPhdHNITaHcjdzgFyMhOHsG7n7irSJYhxB1cUkUiF89Rj/ZSA
cs7+g1J2ZYdkIvkUOWZ8SBuv3bO4aAGnkkVU+4/14FgHqAACVaarIr/nMRw3ge6pcbuop6K20Vrs
07jOdqXA5YYlC6cFBsvKOGn9u6yaXgxhhkUcVgG3ADzBfTmxkAlbhtnAirWSeleuaJKo66BLGrkZ
sG9fy5uWXMceVTv3rFFzbPyBBFXc3eSUfEMRZsvgcu24X1y4k+uTZoCEIYLH4XsGpFgJAkUA48SN
eG3t+YsbVzc5mOYwBTrSGNYMpTeJW0L68fZsBvO1S/0/jMdZsyY2U3pKstr/2cvYFIHodf+1kGRJ
YFS2w5tZOdWpcTOyk2f7g175CjUL+tVXnGPrv0K2oWQ1ZZPvHQfjB43fAr7wg1lfs3dx6LkE89fT
BXSq57zw3GOO2lci3xTUZmt3o2iw8n2X5EVTN/AC5hk6uH7H7pDmQyZVWZBsgeW6t1FaO//QD0KG
JXmRljHqW2fmFPHMdAIYlh87nc2BThkJOiAicWtV9pf4SM6Su8UAVI2552NAULQ9kqp+lKiuh4Ni
chfb01PFt77LWuZ0ThT++i4mKYexTFtUVi3mROnMX1NLiwCNlSPJ/BPp4ovMHjbgJStzuITfj60Z
bAJU8jEGhKIa31kWR6V4HJsOx+rXWsjO0kxDiN52MVHW0enai9KZZ9Tju5/A5z59Hj2uDGJJAEUc
0ksLorwnt4oBm7Z5vpcqTh/RGDdHaKJm8GON9cXnL1vRvEX49u/v0zGa5EXnqZPnc3ngAyGIf6Ai
Y3HgllvlKMho5JP6JkybXM20Gw9Y9yKC3N60EYuvrJCleYaehXFbga6zEd9F/0g6fk8YQZkK93oe
35cwhP58rGsvWiQvJM4hbDHj9iWSw5AAXdBo7Ozveqqj3sQHbIpvRd/JjbetnBlLHmmFhS9nih5r
Y9lTBOYZGBciBlY6cZrd5wNaSfSW5FFU+vxS8FQcLd8B9j2/5LPa+CgrefySOkqLOU1AjxMwfu8f
IPV/7Vr6SvrlS+okX+sWLrmd6Vykk5mphCwMvSKxc0E7Hnme2UCirk3O+c//OniQBijFWpfDwzrZ
xaS9Z+0X+yxLNieq0SgvjY44coNmHDr1ymYhs2/idKPatfbbyb9/uyviem64zY917e6EhhVkV275
eK3ADp0li5OfOQE50q6jg8Zh6FsWufFAioyoLrLIpP73ZnDbK6/1+qiMmQy7DACionFJJC2pDpUk
cMAAtSgybN7SPlxbboutqcbSaZrzxwKLI7TRede1/h4n+qYvCYs+3y0rG3JJ/iy6c+Oipv5xbM40
oVrlQIYUL51db9w+KxWMJdUTdaLOGVvFjzwxT82U1VE11TdDosAiH2/iUUE9vNSPGcl+fj6itaLo
0ndiIJC96wzeOFNH7pUY90WOLxR7r9k5+WNifOrgEZ3y6dabUFzI5rtEgmfy+evXJnRxtbOh1VZD
E3ase+aBAF6LfQ55xrBx5q1vtnIXLmmfomfYC2VXnRynvKIzfygMf7dAdukEfy8c8GI+H8rK+lt6
eHfUqVBwB8ATSqwNgDf9k5956G81EBLztmAla4NZNG+45WtbV1BCFICSBpar218oxvoRkNLqGQqQ
4zUDluD18xF9eNkB+bR4mQfnq4HpVB7BkTogk5OB3XbHeWyuTAlxXDg9uBhntlEz/RivgNctTqwq
dUtBDUzQoQOqA79B86Kn4oXa+SOr4RmPQs2bo+hzLPyL2JBrVSQIoQHys6v5/fMRf7gc8RMWSZis
cRKzhAug12CNya1gkuOZerdxfHy4RPD4xRGV00bIDssbRhDkGeZ4wIral45rH0gmNm7ED499jy/7
0T5KwDElSX+iPbko2vba9ubyKysczz6vk7+uQxjsIc2u8v5UZeCQtc+zEYfZufU2m58fo0TwhvOy
/+sNKO6dleehv+Q2RIJdZ94g+nTZJvU+ceDNNBgI10yRVThHcOI2LsqVj7JsRXtwQVSVm0JbauBq
5xa9fPTiBOUqbb05dreFTVhZWsumsUK9Pp7jGJr37VMC3nk36LCtyo2VtfbZz3/+18RV7WipgeHp
DX/VcRlY8s/nO2LtwYszwDKgzJZcwRtFy+/GUbeu9yVhDnzsxX4HI1VxSVDgzoT9Ws31Q28KHbQl
SlcodW2cYR8emHjJYkcjNUlbgpr2SUHjpcFCGkFihUpqGLu/k2kjTlz7tot9rUsh6rRJhhPK70Fa
O1GG1vUYb+l7fxxueXyppie8YUDXBA472nHcC79MWBa4eUEfbCfJb0xjkSOVoxWCdII2X9UgSCBs
3Fd5M4PYB2bnDn4z4wvWoPkmzbwlhb9yPyy1+KYSLUYL4jYA1FRJ4Of+qUzNTT5YL7NFv6VmNPA6
R53485X4T3D5n+oGZmExy1kzSCtDdRIuVq69Q5fBe6BzTWCfAg9PrRpU3g1OjtmC91Tp5X/QJwla
j10M2ty540PTCeeCAYryjVJpQ0mRGpCY7eJbr0V7o4pa7kAR3UodPgzkvP+oizmNGjm1VX/kvZkQ
gqbJXV9BYBxO7foqQSHugFpW+4f2bvskoep48fkk/XNSfjBJy3zOslUMEJ3bHtFTLi/KZuIXjSFc
hXRuh2yv3YnQ3XnnhbWR409nRIE5Burmqmd19W43ljhmcZVbsN1LyS/ucfu+4ejSzKScLiY0bO7d
oohPHCTJn16tgW/r/NpWQQMKNYFcIoju+ypWTuhWiBdSziTq2XndXlPf1bDucsqLDBzcMWidtLuA
BbH67boqR1PcTV+rRIHuDBAdyQOUv53I94y40DbrDkq2rglYqsWTk036py8Qr4YgLRjovDjsEhzQ
7OAKx8qDWnXTtyKGFyrAFf5u5HX1ONWQ3o5tXezEBO+dc9U7zPwJPjB1Z46l1fRvcZJO6GxJDlXU
3NNB2nb1N1YT1KlBfg7hgmyfXAfY8I0vhZP5gw+17FWOLCFCW/Zw9DsvSA0DG/42RdDbOsPGnbCy
PZcNSp0nPnVy2h6bjp+46m6g1I4+3Cj2yk4uG+h59O5WIr72rsXF3UhRJGauuiN0LdF25dOrHPRD
L5D4T9aFB8JHqIzXh5/P3cfwMeyu813+13XnoGZaUZnEJym9UYexabpkh/qI/sOh3jaFMJAt//Sa
x34Qp0721prSv5viqn4aYje7YInDD+DN2UM0aN7Awbd029+qh34K5zS/B3xsuiYAQL0RXXQ7zhv3
J9yZzM+qAd5pY6uu3KxLyiktGRSEirg8Gq/OLh1kXEfqyS0VtY+jGn+JRgUKiAl4stUwtPD3JTwH
YOwYZW4GMNXL5x/hf5ydW3OjuBaFfxFVICEEr4CNjZM4t07S/UJ1utOIi0BcBIJff5bnacYnjqu6
5mGqZlLGBiHty9rf+vz78/PsYApqE/Au7w7VXD6hlnnLyF8ZObL/E88L2EugWTdBN0sCVOJBH5Pz
cmNDifr1V//85vjnNd4BVpyLPTCdVuCAPMtgUvGqiHW3dGO+84qZ/OV1TrfuX8u0QCggJq5xQHql
u6kWzKl0DltDDapDJOrM+vb17/n8UfjnzS8qck+vNiAeuUvpcZysOvLXWv36u08/i9MM9eTJzlen
9cq8LUYvm6PjyGs7x4UAzT0L0GS/1AGqQ10qPCUS+HCRJ6eayl1rCI51dPtDKPWnKznmhW3qvEU1
664CXQeb7gino74EkqEtegjwshrCIvvdoH+9+vpKu+1CVHgO3VQKd81VTo/7ht4xCDM1gB35EPO+
KDZfP5pLv+ds29W5D7JAxbt0XEpYjVWwk7hfFmX9KQhdxUmnYd+bFo7D26Zr+r9LCc47WbKvmTdA
oYdOpdVHdgBrtyEn91//ogtL+byFteQZlCHTmB9GiEbnVUTDcHUG4R+p3Sdn7nnbJVeCzCXDhx9+
WOEbC1kow9+w3I3miIW3t/GPItx24e3b4RDfbvHPcb/f7re3cXx7+3x8BPUn3D+Gv5LkI3n82H9M
4ce4ublP9vsw2T/vw/3HjR9Gm6QON3dputlsvu12+Nf39CnapcldGuFz4viwi/A3myiNdofbeLt9
ix9OfxZF8Vsc7+K3HRiOV7afC6/WeRcIMOuZmhkLsGyr+h3AmfGYIbOKmVWOMQAR3ovfslJcudql
5X62TVA8OlF0NseQib0dV2fLsjGRlrly5v9TR/vs4Z1tFMMMa5ul8vi+lf7WFBAXO91hroHeWbvd
ItJVmHtUTiOPfxuK6nGG8KPQkNr8lSyRIXj/72YO1yB3mpexx2Zes6Ph1vKmHEsiJqjGXTHbTvL1
G3DhPp43fcACVxI2b3xfdGAGeGnQ/mmu7X8X3q7zlkxRgK4HwAVWhOiL+wr96I2GBOzKhnfhWP2/
jjA6YWLuZ75n9LFzjoXfxUH+sIJs9PWduVQhPG/3sHJwwIZSbG+C7q4smxi5/aYqxojKLvaXdg+D
ZkjGIb9q6X3eUzgEV068yOzvQrZzymdXLHDGlqhEnZRUWX8sxevXv+zCm3reDVps6LAkUVhbi90k
7ry2G9sz87ei1OVN3mcu6sjLNVbA5/1aZHCn5/evsER4fQ+gZ9Clbu3+EiqL5s7ezlOzpZr8WpGy
Q4APkg2ML8FSk2TclFNxrZd/aY2c7RLwQl2rsQUYxyhPfPedprsfqGxBk6r0M0BuNP76jl56i852
i9kzVT3yle+BrOqm9wKmoyp/+vqzL67Ds60ASNxMt7yr0LWA7C4sZy7NbpC1XjDxMPphptcOiszG
qdvQzqoRcCgfdjoYRKm7D1IosRnVNCeOxzN25d24sILOoT/2pOqcmLVEvYHeDI74IYoFktRBPJpi
hcFZ7l+beLpwZ889deG74gHhuqi0XIekZRC0rRz9IFCYrsQXl34K/e/yBBLR86gZy7QluQKJva6f
SUNNughvfRxt3sBEz/TXooILVztv6eXjjCGVwatTYALbbb6U1a8F1SM7CgggcV7pg3fhjHPy9dK5
sPzP+3umgqdPk2GLrJYFalV1Ywv6wFB68uZm+/Ul/uncfXJQnnf0pqWy10aNfC9rM45hNnnFexe0
ZDd7vfeg+mp4APlFpiVT5kFKDoKBbwxI+xAI7U3LGjsaM15B0dvXyVT13k2D+lUkXTZf6XJ+voT4
eWCi9TIFIIeQVBR1kusaUxZH0lX7KzfgtFD+/wbwcz1KntfcBx9tSc1S3uXFccgI6u2QyzYZ27q9
u3Hrfu+Q9Zb0fkQ0SGPBTxuku68vf+nHne08uiogBHcIQQsXmtSaRCseAmwernz85yvIO2ciSYl8
iU4qT1kHq+GD6F/LCdQ/dqUD9k/96f9vHuwu/vv2wSDZ95jf5+nb23FvbY63xaObuMkBUJlIhksE
BWnUhocs+s1CyFFCNxoSEXkRjYvQhFM4xEPspCxdX9o90t0bUJ5VqKInK9YIbH9/fY8vNIrYOV5J
YSwHW15WpEpUQVou7VCEMu/yLQv4lMKeh22UWEqMcFmsnEJv7rBhnEBrV9bY508BH/rfu9Suk/AG
WKmkdXnjN++eA/OcMeTLcOUpf74rgfLx38/35wF0usDLU6m73ax0GRJd3S/OumU6uwV97VpYfelC
p1X8r1gAxy5ea2KVwFByewChtV/2TtbUS0gLn6Swli8SBzHd69cP7vMAFFH0fy/XLZmNRtCQp62e
70HIToGQvjZXd+Gzg9N//9dPsXKMNlb9lKcwUni0pbUx1fzw9df+PM9m5/AmDAdOrCx5kWaDNW4b
jKZGgL6EXAIeMDotRPG+icq1JVf28M/3EBacRUnKcUQA6A7w8QHflMV3R5C0B+zy619zIZVi52a6
egxmIlZ8/Or7wHh3Ua35hwOX+KhrIBKVJd+iKm2Hne0lfSswDeDLn6j9/4aJLWbNs/7t6y9y6Ymd
xVEN9nwlJrdIu4rvhyJLJ3rN6PjCuj4HPhkgVwsxdgUWwxTm8FpQqOoh9Q/dlcVWea3fcuFBnaOf
1mCWEG7XBYScdqrN/GAXw4c3rVcSjguRJiQD/13TakJZz+l9LDwMuTr1j7ImN36lMQaA6Xxa/ZDj
M7FGSDFUNC56Y7n64NV/d5Khefrfi3vF4GvRWbiHUKQrFMNrtq+uFmEvPPxzF15eWhgcZU6R9s3y
4XR9DJfJ96/X1YXd+RwBtdg1ILOI5NIR455bi1UCMF6LHMUg6D5YM3rtRaKfy6fAMj17U7nTt9XA
VprioAm+B4NZHu15Lh5rMnsgrbJK/uKOl/ch6aAxiPy69/ckaKc+Kl1bAT3S2E6xg8Vb960dG3hI
CqdcY8DiYQ6TU9SK4TTJblBfq/a5rtSNb3xnCKVbMI0Djw9PxWkSLJScy1+SVCP4w7z2wPfzyM60
U5aIkqzvclTyKBsf58jgwHrdDZRASytY25h2wGPEwWyZIZoIfRmpKjeyIfm3meZTLNypA8QVJZ1u
8AhYHWJMhhHEU+4TO/FqyjHyUvbbtSf+b95pe4OjuYkXsJanEMDp4mYYwMQIONLXEXjxIeoXVPaU
nskes3DT86qkTKomL8MV+MLIz3yWFug4/oLqQyL3Xe0fU956qaZz/9CVuv6ZYeTkEJiTXRoPpJNw
KI5/Yn7a2awYP4v6stTo5MrZwQxN222oyLw1dIIhO5IK5NuIZl5OwxpDSLe936l7z+NYIJg9Cj7c
ySF3vrD+tGBqh/6AS0BRiNBl1O6dLdDVX9U0oYeytnMI+Yr3mvkl/aV9MLuijNTm3l/J9NG6gJfq
Olj2Pe3oVgsTTOGIIZmktwaxB6NJ3FUKg0vwEJ10VDGm8miGZelDhhnoiFiD91iYdnzAfLv64bK2
2WZOzt8MiLVgBNtlFfOukbsyG6r3wBccw/M5JtTDAhBvGsNwGrXgkdkoIihg4ig2KYz3KQlRdDNF
amRN7M1VM0SqFwP+46JwyNuTj+5QtupvVj/rb5jomuOeLvUey3TQGPPFeE0oR2Adh75bHpASyHvX
FeJ3UXn23m6DGaFh1s6RNQqAItyxEBhqxqJ+Kxa0O/KlQrvVahzv6NQZPJAddAt9q6rv2NyOXih0
gxXDRYGHLgt/CCmIMSqUsy2KqB4xdDMMU5sITDXBC8yDTDKsl6E8tvlcPC95V2GEfsbEoS9wT0OE
Fz3ethnYpYDULsbs+/k2w6QFBkDHxhUbDHpLilkyMS8b40ga+Y7vgp0+VHzHVauf1woDaMqs64bl
Y//RzzZg7U2P2xYGLct3QDjRcGS0Br7YySf8P3uCfjLjmH7Q7XwQKyvRWvL5TV7V/X3pBd4QDbLp
i+0C1PXPUfHTWQpJ1R/Wa3TQHejFtqzy3NS1CAO0WmVPxF7zPVyxmx9FPk+7snG+l0PToMUjp11l
1exhaS33vkfp9Qglpb2jvUF7fxzoXg11uxV4r+JmLA1mrSjbTS1pE1cN5AjtnL0HDG4Cm30USe1M
gGVDDH5nJpZMMyZCt5ls2F1hT/1vv2pmTB6y7Em5NkaCZ2izCDghCb6n/x1xRLtlgyxuJQFWZW18
0KC1iINxin10nwMYaKZOO6Ln7+pgTICcbw4ZZOciEoOZgphOc3BrB1ptJtt5wjx8DYBpWW39gs9b
X8o5zpbRBcw/I4Dugy1hbexy1ptTS9vA8+KjdXy2y4n60wUgtufLIOcdkIzdxvIJ3XfGhXKBN6yC
jWfjPwA9Q+6kY8GFIDNVYqFuvO96DHcBJcLHG5Cq1UfA2fziL1QfXFHKQ8HVmnDWARQfzChq1kuV
1m2nbhp7dm4bRREOLigZKCfA+N7oeuTYZJXaAmTV7pjn+Y/UXexnl1F755Zyxd+oUb5h8FHFFgZX
t2qu1w28wVy+zbKAxZjYQN9z8mXo0zZPS0rcQyEHa6MVywlmKrkst2aGSjFcsP1DFlnb3wJjqltR
EJEYH8PsDpbqrRCapGh8d3fqRIJaO8T4Ouus2NcLKP25rTZSiupOWU0HmDtHbmwvxZvySztdMOS5
zdD5u1lZ7nUwHDKABfo9DL80FNWrUjU8YYbiVlO4QaDQ5dCHCaKGnVeJLrE8wYFR4BAkjVUZa8g9
QphEtD9xTY4RxSGobhvsqD8CYVUPzM35CSJulk2PStmzWw/QOHmYuow0yKap33T6qS2dbi9ApdyC
Nl9hbDOHnsYdgpd8coHzxrbxYA0mSCx8+JZ7xrpdCLQqkINYoRGiBBeE8/F1EkD+R6bQZeRgGOvX
wkFjdljpv04yl1sXeKLXecY4r2G2uzG5KW8HeDgc0GiD8b2N3qSx1+lbUM/yLh+hXW4gufrIqCru
iNsW313VVqk1zQTHaO4kC4KcfT0LChCAAyMwuRQ7SI/hSdBZRt+KuZQJ7GbZD9qV4wgW2WI6zLza
2e3oa/0DAZhKfMA/IZbPM/5RFrzfFXQNQF93yjtTNb0IlfLga2XG4K5vV8wGqzZ/wVC0Y+36evQf
DcDkh3rl7Id2p/Vllic7xQLeAFJ4wQspoOmLoQmZ57joOFJBUpdvHC2cTcbEvAUrxd4EDYQQ1VSQ
jW1ZbK8tKpJMWLkILePa2wCw7Hj2yW+UijvA93Nr3/uoMHvrYP3KTjO6M19WgNHRmokAVpRbnqOm
7DVjF8Nt3Y8GobDlq1aG81qTp9VqKWQLZkyrNlfbXDXi1a0xCSNt+IsIYK9i0Ke7LeOkT9D0PuHV
Zbct23LdKIQyxxWlr60/6z5q+hZQ+qkweisGVt0XGFeLfezR6TIK2FeKvtvg8FtB46cTwgOwSfWK
Yf4JdgQic27gDTBsZrSND3i6qkVx1xngzXI6YxFJLEdnsLA7YiwxOoUkjyb3RwyjBxirN30AIsCA
KWXXx4R6Q+W4qURV/oE0aj1AG9AfSE5xU3pP3daLRVEqcjA67/uyuBvXMiB4/eaB/JLFsCZ+qUzi
DcpDs6vzjq49aNw6APP7sef7fHFrbDD5tGs9x6/jnk/Ob51Xw1HaNd5OMrvBBmaGDY7zQr+BAX3a
FxgAJAPqKHbk2HV+I2yPbxFylI98ErLeGNO37hbJGbwfSNFuiI2a8prh7JGGgirSMmEOaikaN4LK
apzjkc3qbXKrxg4zbF8irBg6McOCOJOxHlvsOo84NouuXX9nusvvpLDm6GRf4IezW+JsHfzSbOq6
KO6CAmOqGz9zZIIgq5dh2cLjIwTJbQ4OyhWRpZGv1hmJRzjGRCAW+LtaNXkbEaTLMpbVRA3G3lAN
gEkw4qpwbbXIMXIiSZRVvIIl01Tc5Z0X/CyInf1GZa2NeXXCERGqH1YwNnb+qeTSrrY6UXoWcmyR
sNxSFxYfKy+nVzKODp6fs6K3b3mVfVdg2bgRPABAKy9n/8mx+wA2TXX/jCGodsFdKEVSLbAoQETZ
3eNL84O256CJESrzF5tYaP2oZire1iIjduwxC5I1wNz3C+/Xow+u2Ier7UaGlaOcjxEIk7slm9rT
79fWjUMx6YkI2HW6EHbRDCepCHRYcuBT2GKLtJssIBXdxk4CG1QtHiwiho3XCgZAJVJEw8iUg9wZ
0TgrWpAcDJSyJZpTYzi4s5H4uJV+KLCxb2An8RzQ3I0B33aOFh2gOgb5lWHBa/dbDqZBdbBhXYYY
sNZubFMij8anVtL2SCYEKNh9qBZeQrXpu9/G3kHtQacwAbJ3MA8J3iyJOfNQdeX6kBvF3+rOg9Lf
4TTpp7qJVNsUj7wb24MdCPOdIWtqUY+RdgzwhPnu+SucfwqzrL8RG5kJ9iKz88Ot5ua7sUr4LVCc
w0erpvTGHp3lEU4iTSKYQx5nt7BTIVnZxZWHGrJYBKJnFxjbaIDq8RYSrfKOolewUb3ZgemTcDq0
d5Zj+XdBUA2JBSsgGDkPPX0sR57HwiMjxKdWe8vraX3FYgBgAu/JllrFuFt1t0BIMXkxouom8lU/
bJWBHcaAnO1GG9iJuGbhL/Okl/vah56jcN1pX8N9JQZGEbWMpmojZJsEE3xFftcSIE8kTCeiHglF
hLK/ilRVL1u52lQhYfLcXY6t/ls/1/ldJVf5WOUwFSfGXQ7ZCa+F7VdsuwZ127XK1hf43ZIDFnt2
qECseOv7Kk8D5gUx4osuDdyyf8DYy5y0sNlLy6CFHwiOtajuunUvBphBc2ENAC004IwFlMrduCIx
HqDHBIikd965ULkNFQmBXZM/tP3zVDTzgRIyHREPYYAT00HaCd0FFXR7RjJae7SLpqUHDAS4JMS3
RlReBRapnhIBguWxAe/yxlIwq0FJTjpHH4rPjY3354UZ4W6tbh5+jQ3N3+GFg3wA3Yj2RWEeFj3W
ks24noGzDxYFZlXtvj0Wpmx2FNMviD0d1Hs2cHTzZ6T2pwzXmTqRYPZVJJicAiXRNkCWNB20OL1D
9TtYCe2Lp4lCzOZrhHONU/TghGSNsDY9ErPfsrbNoyubukwGLtcOoU1LX7D+1hfDGUySaNCbLOLY
iOGG4+ss6qxxPEDvL0K/ET1a4Qz8O/zGxDL4Q6JPNikTECepp/iy75p8xgYgA+tmwEAcPHxaEgV5
pl4leOgh4R1snzLX7tOl6UA0wfHU/pxqBwgPbOkRhrnVgXCPbUocMzCbgtDsvnZX5762AxrpU6lQ
Y+gcFLZiOpqy6E3U06bd4FRdf2atLgEnKt2dDYrh0XYc/+eA3fP3gsjmrp6nEZ442dxuQbgRXtgv
4L5tfGkhh5UOxfwPgXoTYZ/tdFGlufVOi8q029kqxB51C5zLpFi5D48wPKNIB2b94dVwsoc0BD5T
DBTcKppQcbGBBZz6LiRee2eQVkBY5Nf7Ke9YqD1VpTMVdjK1JYAblbv8bAV6uEjYJPgOFP1Nl5dq
C6IT/KSaYflFDeV5aFrFD3nv1BtmMCJuVr/b9toJEopNYCv4sLxlBmEQ9sl6CPOgIzdoSOtN4aBM
HZJVezs7Xz0ckeUwHBG2tpHwHBJzFBTgN8Kr+8bTPoglg7BIRAcwmARWaYS4to1G2NrsS5d3+9rq
fNiG25W4qbN62jlVUe8A9dOPdOlMSucqe+7WGmS92fWajd16bz6cCBMuh3JLZwz98oDQhASY/gND
SA57IfoJx1NVuU+khG9N003FFiyc/p40bZHYRV28lEy6B4UBwV2b5/olcDWgJxy7dLugBAX9FmTX
87ykyjY1HLuYW8RIEAFwVMTfIunuYlmODIZXo/oTcFLAal1kBXxKMoqWzYA8w+RZhRrBlKNvrxZ6
6w6F/WBABLsrNHZFqCeX7jvrzPSArjeFxHwUMuqLqb5VNfyRZAHfI43EfQ8aPApKY5Pv+2Ko4sKH
4VmLfGqrg6B919qHs48sSv7cZYzeg83mfuMlb1AUYNhDB3hwCVmyuHH1+uFiwM6KwPKB3ycmH3YI
rwh8y6xqh7fbxMpgeK2oqH4VVeE9NQLChrAtYSrW8dWO/ZG38J404q4cuBex3OdPrINqBfUp/9Vb
WHcH2ECeOrovHjyHtz+sfHZeV8a9nZETLj+Bhax612Ihqm/rVjenCFjYYkM1m2ChmC35C++lTpVV
ym+iIvK5n131vnJi9nwCOQnjPMWmK112AEHDeWSQdMb17Pf7plvkzi4V5lZ069xQxty7HrNwMRxd
xNHJwa0j8FXc9EFX3/mzQdwAolP9A690dregRh1LcLDgSef1SMhPZgiSgtGx0HrYZjn8A6tAmx1H
2rOdFKLGmrUfnjrNMKJyeJc3hiZuxd24JkX3PUA2vbX6dvhTMZy7gDDBd2wuC6TtUGeW5VIfaQk4
KSy39LsVCP1Q9xyOXZ6/7ISdIRhbFxfVE7g8jyHeF/sRrEv/SGvUsnsHGO4QkbnY1rnFX6COkLuF
L95jpxugkmbpqlDYYyNCaVYAc0Sps6cWydWfQjTy0ULB/x5Jt4jQOlMv3NjFDkVKEs0S2V2FCtw2
m8YhkV2ZOaEduCx1i75ykIGq7ODW7bRfkKlWUTGt3a2XO2XCO6/YEVbhxhk/eGqMVDBPw7uuOonc
r24y+KsBJAQ1ArO/rZPbO9gZUeaKuKT+PXWq5mi3yjlI26GpDcYhJBnM2gs8li11VLBTphcpqxkS
VmfBM169vtl7hZlu4TzoIeYx+QRilGXHfQvBjFSdv3EEop2+Awl7miERmD1qf28XqIVY0c1xXefy
d9dyW4XjWrnf/M7zNw1KOfE4jM19s6z5PcpQdpXUNprVZBitLaY1svBUcnVCajR8OEoyr7HNSiee
RclfIapRt44praSAUbYVgZ7snjhXIiZgoC03sFMFxwR1kHqz+DAOBv5sSiCkweHbWf4SKeCkNngT
15DAVfAH9crmFW5k1o3pSP4jk0I/FyCIohZnqVutndP2nmcYEPGcW1VO+gmnm0Cuz09marm44UiR
+7Bqu2ZEWdE0CMwashtZq/bznJttT1D4DmgAT0jfQQ4Idce7PdUIfvRYhlkji4M1V2AWciWePIha
fTj+VfqpWXpj38FarUvGk8mizrypA0jJab8blzfPxsJ73cIp6gb6qDxtUIe4Bw1WPFsjKY/KcoM9
41axNYxO8I5iKHw3VYNH0jRQ26k5wcCHuKtr5SQKRsiPPcq4L00F8JcviX6VwDE9zhZ110TCD+6D
WAilkfn6O1RrhpuhQXzFtcAEF1uXB9SpNYzVUMJZwcW6RS5XJMSf1m3duzrBqC55r/xsTbTuUXZd
fLU3Q5/FyLjKx3Lq8pvcQlhKMVgU4/C2XsqZGOBvrAakcd2KhPrSq7eBy7FBatUiZFVI9G6ZjRVb
9k7hbRDg8ncfrvN1xEbtfZc25/a9K3GDo4Y02YszN92Bt271hhoMbLRQglQsqXEAeluKc+aNLRQu
c6KcAjdyKn96c7LKey4o6yF1MXX5jpoj+4nHl3/zbbiQ42nX/EgCrXdYF+630nFdtAOUoC+2a6aD
6vpZhA21X7J1QiqmvNDD+NQLdBl+uxvKSWAowl5vwZS3tlRVZL9kRAKRaXswDXHrIiYglu2HlaIh
ifeY7gLMa4CYw8xTa6AqwFKyXieN4bRh6DiG/aCIevC9at55i6l+5/Yk51CtPnwarYEgu0Ervd7k
qi/uAyh8v7stqXZVMTt/WA55NqOMX+lMX2qtnalbppW1HiYAytT22ZEumMAes6AN8eby0ACqG3/d
wbvY+DxrDaPGYo+msVBGmqlODcJJSAVIfcTIrEEryhm3tYS/YeYFVui0vYhhhWkhKBRqt+AcDD0m
r/V4+em3fSKJ4WeSmGViPVp8ORRTk+0/WX2HpWzDVm1aSoZABw5cEqh0b3otC7j7WXoZX5Rr+tt8
mcjzAAuzO1plPCmxwLatCtrtUq10w0/0tKkZGFoYo3XAJoPGIDI6HMDuggTWpt+r2qtvZIER7rQQ
Tr1bury/XeysJUlJUCoK/aJgzaZFhpEO0D+MyDIGbJcrr8gPZIMO1ibin3uYYPq46LM3zqOb8jKf
q6SrGcogAu3+Cs3XUMvWwHsUM3lLLqzXQhdtsi6V3DkjDOp86g6bBmDCk6SquTEGdFZvyOpXTFP1
z9px6ki5SHpYNaEXUBIbJ0w93+jGCY45s9BDWbJ8C+MfezOig7brFlo+eNaEXL9pvciyZhHXOEXh
q7tafyehOTdbQKkHRWVML6cNRhH3q0Prf+AjaGS4cBwi1I4XJa+J7k5L4bMlctanX6whc+airFNK
B+KC5ZvzWGgPMEznVPnzc7sAKAhI0rDNePtcu8v0eOVNOXWaP7v0WZdedzaKJj6p05zRRA3Q7GLo
6NQF3cr5tWlokpcWus/2ATlz5Lvyt+OZK2qeC+qHc2sFGIzKPGOmTN2RTA/DxL/D2Ibuq5a6V7ab
S1c40/TMzAFb3EXhypK03FGY7sKi2bB8Y2dlds0y5YIS4XySbawLQy1UnFPZkS72OJhcaNOu375+
QJc+/UwhgHeWLazwWjDrBAx95857tIm8hiu7dIPO9mPl9egSafSIHHQTK8EjJIaFfQ3IfWHyHBOR
WHT/0lT1MFBp7Wlswbsa5btEl+SOSSM/pN/5r7L06V4wj0ZmKP2jFn52OOHH46Iky7YE2wzTn029
HXwY7XJLqCujsxdetnPGhebEJoKjgE+G9XYJ+J+KW89zUX1gWniL+/vNDNjbZmvMk68f4YWbfA6+
WNdhcTi2OnSJCGy/gdaI/Ga2QwLD4SsH3qVLnG0geTf0omHYQCqUMqBXtP64ovpBg/rKbIZz4eA+
x1ysnouiTy7yVNHc+/DRrb/pAx99vLKfMLidQZfisaVA+RSnZ2DzICoYdTZW0cABHNrfIipQWkA9
al30YyCGaT9RRf4KoMDO4RgUxpa51ck8HZB2zUMTuu130bz/3dM720NQC6trRBF1ivqtDAuvggu2
u5LbKgjWzdeXuPCOe2eyRghPjZbL5O1RVDiiIXJou+7+7z76bPuYLVCXlcIb2KFqvdD7tr/CPbmk
oT1HY2guKpHXQ5PKwsHQPmvm1J1a9MpZPz54GjWTUM9LF64GIddQD25a8dr5q40d8et/N5ZSAEJI
QK5Oa7FshhlttABmQxM2sK9v2+eKTfd8RTVdFVRmABgDfBGjUNRzm3p6y0CLO3Tt0MROfeoKLHUl
r2xKl96vs51SM4o4sYSyVUM51DRbj0FX7t4M3rUX+LSWPjnnz80RoGUkGeI/lc6NhV5WRksSTUNj
Q4C1ci+B56sWIZzJOzc2OVWow85NUe7g4cMPMBOHhbLnl/OhpEAsfH2PL/zkcz8FMPqDxfCySZfJ
SarS+dEhDkDN3fHC2dHTlSd56SpnOyOjs1dNFk64OkM6hyq8sM2+tY4zOL9f/45P316P/xP3/+uQ
800OfGU3wavNWxIKUES2yOevP/rTbR0ffbYqlPbXUiFShgrGusFEjgixBQOpLeiVo+nCdz8/C2Ex
OqnGgv9QJ+tb7ZH3sjJXNogL3/381Ou0aFywZaqDPxEG7NwAbobL/lRrZl1Z05eu8D/OzmNHbmTb
ol8UAL2ZkkyfWUaVZVQTQiWV6F0E/de/lXd0Ua/VAu6oG41WppJkBE+cs/faX27tWIBkmcF2H+P4
VbNHHp02Arv6l9t6+5T/t2DQ4n3ZYkhBxJlJK/9otM1PNhu2/qeKuDpHr9COueovd+BPP+L23//r
6UkBvNOW4GsSo9+tPpDVpt2r5W9soT/9ituN/6+Pb0ZP1zAhxUebwYt/5NQYTPWz5b+X1v+EQ+BC
fXl7oQy0ewt5F5JFfRu7Kt3Gmto6Sr36cWFv/n0l/OMy5ku+vMeagQNr7HKvFzomXnZB4rfzCErL
0r/9jD/diC+lcKmNsyXJCDiO8ceit4HE9VMWf7Es/WmdfVnIla56unSsM9foZSAG/W00+89/vzT/
/CaGUP+lwRDHVl6ifvSOTlPuOcIxKe0FUodRHKul25ElybgxPyWMcQIa9X8puv7wk75u3/nat0Xt
19bJMMgfut0WO+EQ8Zff9I8vYH7Tl7UNw79Y82GcT8agsh2RZaQdONZyLSF7bFImM2E1pGpbdF59
9kpb37alJbY68W1B56fVzq+wkONEQh9DE1rtGR2Tb5AYI77KOvnbAedP1+DLHmF4s4DDh7pOdjO8
gb5qXuNc9379+0X406d/2RqWuLPjtm38I0kBYVJ4Qbpof7m+f1hO9u0r/2tbyBUcUo3YjtNgFD+k
k5/qXk1AExua8PXLv//1/7CgvqbYaHnqen2P6KpZ3vvlxayY/1pP//7Zf3o8vmwHvtDWONHI8bWG
D0n7jn9Y+GThn24HG7XDX37Cn+7Alz2haGhL2/BKj5k/vDEQPbWz8Zcd4U934MuOYBY3es9s+USR
SRU1OGLDOUfGaVdmcjdPbfm/MT/dr6SoJNcYh0ytdYq1kWZd+ai85dL4HHWX6bCs5fbf78gffs9X
XJROMNbMd/G6HG54wiyNg9KvbAYw42eM0OTfv+UPN+Rrqo0hfCSFkh8DSWtbztVOX52/3JA/ffTt
h/3XkmikhAx2yxREKOcEjYWcUfO7/C8L7g+L4Wt8V7Ks4zwYvL+S3GCS6N+bcXbQ3GLz79flTx//
9R3MIErqzrKe+lK7X6oR1WWGSdj89u8f/48tExzUX5ZboxmmrM1FP8VedlK5RvxIx7y/SzdFk5KP
rmnEwCwxXnb/bw58E3MDV/4fKrCvbJ96HW2zXdv1NOlOuinRyb90BDkeiKkpduOYL5siL8oTc43k
e58RY4ogrPo+CulvYmQHMqC7NW2F1dpXms/jwaxWwVtqHeZ3P1E5jcZC3g+2gwYfXQ0k0tWZz+s0
FGEiYnFy3WpBVyn9vTvb1XbU0EKY6TjsDDKGQJO4XYS1BIXxWnlXx2+Sbe7J9gwJCMExeTAby0jZ
U/XSu6sLVOKLqzUpIqShfdHnKtZDaD7FpURkGjGzLZlvLctDu/RKhq3j912YWpZ+TC05Hcd+SfcM
JeMKDLax3lmLN97FZj3SiUn0l2XwmsNYZvq3gQahF3ZTcjPxVCVH1KqI912puw9V2jOPKsp8szhS
fwO41+4M7NtBZkGuWxvlf7Nnvcqgnzn1HAoNicImU22z8cAjBrlZFXQHU/2UOojYKWiqoPHT9kCa
sxdNvrE8x7U7Pqdc6l0R99m3TFZNEcxWbkStZSIwtjDAVJMblXXz1OnZZ2lYya7W5IueG9ldaZcn
Q8oy1BxlBvPCeKYUqiXjxmuiWNVhFqeHJkkPQyoQBY7joR6y9tkymmWTYnENTYS8YclpiVFmsW7d
TnwI5JgbbErdZrCbK4q5JPAR1q3YIh1OO4Fom36bFtOnreRvWTbrk+a3xZ6vXI+JpmnBoHkF0lnj
gijthx2XXji045Oxeqdmtp41vyBVa3HO5DJPQemg6R3z9qIyk7ywEmeRepxJ6gj0JenZDb08KKry
nWm6FcaS9O5EQ+q2mq27I3L7bnR9OAitpvaunqWRPhfeuR9VM5Dk1BqvC43r47jgwFG4wuWijVtI
MjVy1TkL3Kxwr3qzoI9kb5nzmx7cbdttTVJWRBpWeepaH1VSrInbdRpCyy8Zf44+J3+6WyGsv76O
pjZFNYVselDRLFDKRZnoyo1m1+MWPkp6nOZYJ7nGwfKAzAcjvDZuJJLbmxYJOHsqUTnGHZ4fxH3E
bLXVEVGHPJiuqW1mK3Yf8250XpgJjUvQL4bYgWeiQENQs4/jjOm+RJgZ9E2nvnmz4UVVVfknuy5J
MZJGeSm8bHzwav9t7Jo+FEUrQx3pyJKZz3oOPx5d91Xvio3Qi2OT6s/zXDboLIrfpBFpV7PTvQBr
RByNpvN7aeojY5d3DztPgHzMDZzRKy9JNh+JBttyzv5sXDZTY62vuu8OoZeXu6FZ6r1lktjWY9TJ
OzQvbf3dkvVFjWa0pPGuTLu7ellOaeUcHbL1rDz5lpr+D/KQn3rNfyjSBXX1tOzb1Kq2iPXXzWgu
GG9UeiewlC1xs2219odWzZu5Vk/kcp9XI3mbkCciVotQEtKmqWu0UaRQL0o797G+R2d7vmEwKf4P
A/laskVCjcwsknbxSsgYORYGmW1JXoYiFd9QrlzmxTgweP+mm/292zsvJtKqAaVSWemPjIS2tZv/
nkbxmJnzXmTmveWKJwYzM1Lv+DIq90Gs8c1W9jDoWYE8P83RLKaXyjOPRVkj7GpQaiX7pop3cl0Q
57PfkIoT93vXaempxb/yunhP9OI56727Yi0feL4368QfaYzDOmbXrKXFlrNZMY0VuD80Hu4q3lZj
dzeUxi/bVZhaXCOYp3S7aIUToLdMQ9clPyNPyUX1+iVBiOZHRJR/ICU7C2u+NLU8mpli4EhcMNfg
anjJhWo4o0PhPszCjtC0vkJGx5FVSGRV4rmyxZvetpcZk7YoTMR59nvc1ndEK6Hs7b3Pylie8lm/
tgZFm2Xx3Lq9t2kb+QBr/JX5zZay5dzYk7ZRif5dkJcRmguUvU7YW3DhUYbrxRPqVIN3k2P9zasY
99oc4YRA5iewfNbirteyB2NtX21/LXGLTT+ZXdfh6HR3CIFPqba8QrbKkLvND+WkHvTcf6RVzVCF
8LLOe5hqfZsa7X7MS/jrNtrd5Oz4M9lb/IqlYubjJc5zZXUXu/Se08S8INPqEUMQv1BjvVgK69U3
0GOTwvsLJsdpco27Wk9RcHv2k9YNv+fZuSbsHFmFnrbx4u++1Z4B/xN2Z033jeXhajVObl0/TTXh
xLmyd6SnnjJ9uC9M9GZCf/A7b4ug6jB48Zuq+/NaFffUxwlNu/qNbN9P31kfYJ1czLU+dLyBiSar
Nx3pfhp/M+w+Nf48eR8b435OtFNqZhffXl5praBazTz0LFBmqy77OYzdvV7Xd1U8lmcjrdkmGvJf
9MV272zT7Y8OYO+tlZojEZbIap0Ek8Mgyyc1di99RpNpntc7jAKQaBskrhlfZpWvo481psv8PjLA
pNgsn0UV9ab+aMebAiPTefqLHJRK4hlbVdv+fnbdu8oBKk17IImWMn8hW20490W/7LE8Vrv8P1Iy
OPq8Bdw2HE0Xd4nlDDC6l0u7Zk/2whDerLVPjAlepGGUZBqflYHtGvea2T+15BvpEFQDs6uvssyX
QE3yaBs80D6UejtHeoaryWmPsVVYwdri3HeRgoSma+9Q7dahLrnQAolxippejPNKZGL/Qpjk0Z+Q
VFTJFcnt67Lk12GZTovb41Iqtn2d8W6rvpO4im14qt6WqntYXXG2yULcYXS4ADQmoKLHVJH7GYdD
Pb/YSbfJBzcLTGfYzRY1LEbKoNAWWL/13re9T7ezkUqVxhYRZgEtuziNtpaeMr5Zb9dD52Z3mGs2
Re9MOyPXAPHQ0UxrdiBvxDsb1yf8FlxMIGNW7W6kEJ8Ue1UYL91zW2RvfrJeE9MQ94NmuzxeSx+I
yn6w3GqfmN3Z79hxO0np5+X52e3USphdNh2pu3ix58/AhR/k6h6rsjpMcwZLDqaYluh3Dg9DQoxh
hpeIRdq9N6t8hre/W1FmjJ343hICRM1CHUgQ18ZDkH7U3W5vdgBS2ulEl3lfJs7FTEhvtH15nIzp
ZOj+tRjGx1EjaDDHYbyhUZadMFq5ARKsbazmU6OVzzLvjnndL6hz2/i9nMT0S3qq/t5ihkPADpil
G1Vk+OKuyP1dDaczxvkWd9Pr3NAyxxgbowlkcYJXX0Moens3GbJrqrTqgK6JGYI/xVu9rc3NYnvs
GH5u381a3wSMhYjN1Fojyg3lkunkw3qxvGOh9CcxY23rascKHEx0D0mi5IMOQxsrtEWCec4zP87O
GGVKm8MyRecfTx2hCqvxU4dIvp/x6+C66rSNPRDOuA7TS6x1LkorYAPksGU3CfbgyDLKyY+KgP71
odGw1ss8ZoQjeyoYHMSBxcxhP7flnWbFe+0W7Z02OAfwEK5gTGSLQss/JE3zfcVEvvFS+SNOvE9t
NGYuGUxorxZr0PcG+rx4YvPXEDe7Hemf7vwoU7Y6i+x42yxeBpNHZmQx+UmeBYMJ1Fszpm1VIQcd
zdE9t9rKk9U634VfXetlLENOB36Qlg4yzcw8xYluvnHcQQKut8VOH2nnLsOCNrN+TjGvBaRu8su6
5PvQ4rdrx0NeKrjuzUZ31+M6pJtW9/a4W85+5W+0gnudx2lArXdL1ozo2QbuQFdtYq2RBBLgEaSE
VJGZmOEobj7o6vekr/UGQ/XRHtudsywv9rTufGN6xVCJZ1osz/nonP0B43rj3AlfvwzFisXE2Pmp
fnG97NmtYpsY2uyEv7eHsc6vwTu1M+oujqaBTc6rAGh3aZkF0tFe+zglxfNWwBR9uddh8gdIcbVA
SXuTpuv9tJIgDnW8CbukTEjiBFUfux++Wf4wJmLyYjzaAwTv783qIKjusjyaptzZzqt0I91h7BoX
o/U5o5QP1tRKDi0eif0S68jc1Yx1SqDGkcpTJ6TuvHvtrqgfkAn3n7NmEV6xcI8wGmvO1vK05Dlz
lD0THzxwMmwHtCBe35FbVUnEDaKKsKX3nMB8JI8aySuU8AZdWn50yx4YTp41Bd205DvqZvspJ4r1
zjD9YYckody7lVj2QkvYZMe8iTqUwPu165edPvlOR3Ze40S+58vrOpTJobI976mYl+op6Ys57KcY
3a0YMO/i7Y4wcmjP9mqlT7E1qY0T181b3K3uyZlKG44EcYPvrj7FYdqjxgC+TZSn0EewEWNvHPI+
lldX8/ozc0TtwlBMi9patqyvvglbexgvmTH30dh308Uc8ClQ6ZnXjvL+jkqn3XaLJJ0Dms89bx16
RWM3ahdw8usRAW4XKuMGw1PoojlOq31vMv+inq0jG7hAgMcIUKdu4QETg29veurAw1i4/tPA9UKN
PB+HmvtKApd8WizSD0J3bAoc3Krvz6SoFPdZ2ej7vM6bc+/1NWckr9e3Og/RA2UFttRBRxGsG2l6
sK2uf4DZh1ZFR/97Y3JlV5Gy7iEU5CfOZhzwWuWirEPWECboLhG7YXnelSOokMzJbso/O45mqyh2
VQuXuDDa6VhOThkRRRyHMvbpQCi33DnCcLZeK7w9Vs5xa02LIpYnk8jfu/HqW/UPGzRB4E2ZeFJV
Ba0Sk+jD6LrLmYp6jbrGcQI15mZke7P1DaNg+kxXHnchkX479u04MJdm3CQesfGu4Uybzu3WwMWr
g7a48r6N0hiekobwlzlJNS45Znu0ytlHOZgiXMq23ekVitoI0zziTVad8+BjzsNDkkwUJW7S8nEp
JiEEx1k4kJ0VWC6XYbZH2oIpmXQosPpJYD+2zZtZSn+aSjS2lG6VxRoYKAvStnmzTVVdUvYJtS4G
yze+JwYabGry0VniJUuwUPpG8Z5W9bR1GuSsGkFXJbYFTCk7Y9TDNZtD7sp+qrE0gjQYeWlW9b1Q
E1rpWb91MCyA/TkPG/LWfW3PP3Qeq0CQ5e6Kvts59aAfmpYInNLciM61o15K75SATaBUMacfjsy4
TIvHKKLBGVQL1wiNZF0jQ+W8Ef9j+pQDKS3atcn8HytxOiET0GQzOEVPXwSkWDFBmKCnMvOezN98
zEaY3Kfj4C0/ZMHKXAgdV1MTpS4tl1muD349T3usmT+ZiqRBI2cHGemK2b8s71Jtfs8MTnMcDcNY
AZhaB2Kg8zFhM60zcNie+F6NyxTkI+L/zB3vDC3pI7IRiOpN9lql61GmI1FCHH2fWGnUZ96hZ5dV
pXulvDvFyowSqoeQmu25LpybmI4YDNBL78rE5dNUW7tEXT9Or3IQV20ovi9q5aTU4kMNskaNexQH
b07SRKpzTh2uFvAJblBbMWbRFQKaSXGz9ut5cMw3s1x+FO5CAEV2mrvi0XGnx3LhtN6KWzHexa+W
xKLqzN6DHcs18LRhvA5VPN1LziVJWNayPyXrVIPX6iwaP/VFJN7Fb1Czloj775jc/OIUIj76WE0R
vj9sqcREhL651NvJX7RH3n/dUdjTeMCf6N63ZTPssyZlafNbA1EbPnaGeHx0ygwHpj3/HPElDmI6
pBblybjs1xkEdaNtc1F9TrX26IDEsjXYBPWwUms7+UUKu4vazL+2Kn1F/n9HL+K4rHI/mx3Rq+NQ
bWxN/5y0cmfNwD9aLOitB+4BkVxYoo3XrbSKKN8utcWjCNX4oPXA+k2rotk40qstZe8HXmHHeM9p
0WKv03fQurgheg8aKM82Y80bes05OOuY+LadLLQw67wpoh9khE5GCWOsAiuzj8X+eSGb9+KSDLpJ
6+5FuWSpzp57wULznmSsd8LQu2AUdfM4TTaKwiJjCjDodqBapUW2P70DPcqCxom39J42lZYfcA5d
ldP+aOPkR+X4H9pM57Ah4yNI2vYFz8xPC4fXpZ8MKA+2tbfHikjs1ts2jfUoavHk69aAXqa6N7Gq
rX7NA+ZMjLrtjtsw7A3JDpGWKtu0HW33xXobSncPT2jCQTgu5q/cYxhioDOiL5i5TtB2lgeprGBv
tzsgRUSX9ApfpNWcBUe54ziTRsHqq19sPDonmVTxKSNaLYqBZr7WmTlGMYUN/ZdeXJqhKu54/dV7
N9a1jTdkILhgBghIuZOXY3F2hNKDadAsG2s5hUzupdRYecuyGAwi9aRhYVOYknVTcQSnVeWlDRlu
q30l9JnIkVUZ8R05EKuFOdNafubAZL9XTeX+HgAY/oCOAhvJ9Yv01JWqveLEqPcOxn2gAqVzr7qy
2/nxaF3trG8udLvKy2jmInJdJ96bY8fzOspeI6yFI6sb9J22XtelHbrIGI1so2ciW8I0JR56O2uF
iCjarefZsGliZvbyW4LDiCzTnd+KoSufALhUhJBzXL1fE5XqQZKJ4tyIoXum3qDn0Boxz0eqVT80
s9Hx8BhV8XPNBlA5dN4PRNF0dEPM7t5xc7nX0EV/1hz3Q4lon/BuV0sOxiQk4EFvfifpYw3w3Jmb
2nLNpzIX6iBgO/dBZ9TWGI1xYtFVtxGv7hGoDXmU2cJe7pSI802s9dQYWDzkk3C6/UAR9kLbpcui
QnXVDmFufq0NT6HL9jjfGcobq6iRpRPxNrS2/EY8+LoUZytVBmijzC9A3lN/8Vcige8FY53c6rV0
7lLRdj1eqNTArIX8/3GWxbIbhRF/YvLvflSyTWlxUwdFtn7T6ZbGsqMyxRTkyFiEM9iFU9VI2lYK
hw7e9X7hrWJ1WbI1S9wdhvSJx6o0cz3iEiB2o9Ht/aTHmINVp1+8QRZnnInyo5kRuRlpY+EqBabQ
2XV9AXWx7oVQI7e293bYJYeobgf91Bf46ApedRsG4OMD4ZJOaGWNftJcQB5F6ng7Qyn/Yk1i+THp
kuNNkeNsCrxFyK2osoZ8IN/YWJM7Oph5veJx8kkIoN2EKadTtfHQdVUcpWx3QdnVRhM4pLMcsPPK
XwxA2sMySPFEobfuQEH20VTV6zM1vofAIhPflu5mViU3YY4GQhuI8BLJDvu0duzhhd1cDPOVh9d/
U8DHvyG2guOq+BtsC2O+pb9oHt4EHSTYiX6yeEts6b6NqzlHmdVODJyUAUshM8AJCQbFD22cz7+M
bsq4gGn7bfJMcqZ5w4EqAlULEW89FG4+35W6rJNwmHzvDduruV2zZTnikuxeM1XLn2Q/ZHsgoVCD
4mraaa1wopqOwnZqnBVLsOg/NHcBm1HKxjvEukz39pSM5zQl3yureTFoGaldhFVou9Sc5/PsxsIE
DJIZz7o2TD9Iba9/xBQw/JvEqJo7anwa+DKAvQuBL72knVuWtvdqYa3eKaBxkaHV/j5t/fW1BK1x
FF27XotZ6/RgkKpHd1G4+hwfFCXZt8ZkvoVn95YqQc9Sp82T6/lzubTtGE2mwUFHGTgqGDuMwZT6
bbUvjVZrAssXxhu0Grh7k22Jk5TWvClsPHtRPKnk1yTy7LsWz/Ke4Ir+SuJKUwbp1H8Y4Fu3XpPn
G1sVaMZ7o8O1nXtRP+q3CtF338tlYkaoBALbDWG2pn3vOdnYPxk0LNPvqcQWvkn7mj4udtknv8MN
WHB8eZ3Lgv7c7Jcr0ywpQofe5ibPU28ztwJSVePX+iE29J4nlN9NU4qAU6yat0qQQVTADEo8+zDe
wkEb3aPqOlmFJqYznrzS59iUmwQrsEGEIm4tvAnTvPJ+KN3BDIhsnT/Y9ZYLSMJuO/rDh6c7uGWl
KTdcsCkQaScAgwBZ8cImMTMz4r8EkF2Kh2FU1VtuTrDnSixCXjqZt3Vl3IsYQFfeK7JY4WPh91/t
yqFizZk5CpF8U0WCTqaHjs9yus68e/d2bPyak+W0etVb190sTCP9Pb/tmlCWyDf75mFWjIAwo9nu
eE7MlcZ1llEbTt/HWewKvDJTjEO+MlW0euaVuKeRfkJxJ7x2uBRtuu4KuiYhDYxH0RHiV4zuG3O1
jcrESeNXBCuZ51E6DXXol827NSuivyiYxzgtEGr5K1yp+DfU25IGkLv16tbdGEnNmd7CTom9mNoa
RQIHe4fgDrRLUa3VCa2Ecs+nq8Aw0rMmu5NRGglHglVucmd6wG3usQ2Mc5SSY7yxMn8O3Gb9Obbm
28iQOSyW6Wlp2Z0SIR5zB0w7x4h3T7knnf4txzpBK27WfpUOqD4JVDisVv8dKL/PUSNm88xEEnK6
45UB1ydcEv21reDnNnBwQjNNKYO7l9GzCKiA8AONASyarj6Yv5VgARhuVN5+NBD9dx7vAkhHWbCu
g0IYF3NW1zAaao38OfMKDdCoikCyrdD2Squgl0hg7SIe94sYnn0XN6UGmoZmnHWokuKbV/cXKzEu
Zpd8yB64Dj4tZ8spP1xiyGbWqKUBgCaJEVrT99zg5GFlLT+YSW4fdAIq946EuCMWSqXOrB9Vkvrn
gSpnY8Ds2rkpPVlLtx5wz0dKh3+WyFlGqLrPVkVfK7YS5GoZn2A5/k9t1t0Q41gWYZbGfL9KUKyQ
Vm5zX96nG7VAQGAA7TCtVCqqBLNYu6p/cTLnMA8HlaHZtDDooBG+0AQLen+MlGZ7SDmdX01q3Me9
B/10zv1rEqt442kdFESrf3G7mZEIaoK8zH4uvnCwpjD2BhmtA04YKoboDSCFReRhK5in1lXj3fdQ
aw6EH4NMc4E3Nkn3yR8tAr+1UOdxGg/4QcNGzVzDDmTYVi8AowkWYsAY390SkC1CENR2aALkgOYi
juWsYDet2tPgFVB97dy/4IyhE2sX98ngPNdL3u+1ZjYPdT2/Amljp23TIWL4YUeZYbe88unAZoYO
ta8jEB4SWh9m7L0bfW6vEHs0+gJY6r2s1jdpZqioTpt6o4wOc7BZepyR5cU1CIAD+gzBIlbWI6+s
yMoqPywaRxwaIx03TC6ZcrTeHDA3PsPVYUSt8VQagxGH+HDVoZKiPPVmMwSpjhIht1Z376T5e5uC
EWG2sWvNpn7uWjfdO1ViMCBNbMAFE+JwDehI789+OKXtLrZiqFlN/b1LlpbohBV8oI9yXV8A4Axy
oDHU2hwYsvKndktDkbp69NLM3LCS6id/ZRToKPnBLRKBcj2dXo2GhVrd2lauCeah+enEuhV1uZgD
pcpvuK+fl57Ihow5WbikbhM57cz0Ph2MsIwHuudkGudwsUBwpCyzm8NaW11GuVQjz5yEipMFtu8n
R9OzvdZv62TdzpzmwPnf9x7anHl0X2xa0xP72LaIzsCPG3iKCT/T9DUaK6YBRjH7m9lbv3utVp1X
ucaHxEj6D+EOvHtcLw/ZDXHYxhaHfA0oCw91DX1ofqX6bqC04hpuIBTyTlb3ehNXvA2be0hJIGEm
1lW8pkzrdTzQhtVfYgCzkak1OsuJErdqdZelq/2g/mkuiyiGh4zjREhmxHQTgL5UggVuOapHKzT9
whIu75o6X/Dx0/hqBv88ynTl/3R/j/jz74k5LXcY80zqhIxz+cJ8qpO4K2fM8tRXmP0TgCCR3Tcy
BJaQBjYnS/ad2w7hJBzPMJjtYJ/ekFr1RxVnAB9a993wgTH2fjViZE8OWVVUUS6G367R8qQ4PFj1
IDkBqEMrRzCHi83bo+s3JRsKwyqjfqkbxsqVpWOH7ZPndLQug7E04arQ39uW9Tk59Wkln4ujYX01
+2GLm/FU1/4QEtmxBrRPniEj1uGyFgKOmf2TS/HhlKxoz+O0nWXVz7Zed3FShLpVfOY1OfeyEy/t
CidnqkameLPxy9eXTda308YcZ8hfVntnQ9cJJg3072A/akl8giNYhbj1sy24LSNyqAdOTVMxZtFZ
5Ja+/F7M/nc6r+dupYyyaq9HG9CaxUzqZqZ/MnLvOZtrPlFORiONq5dADAX4ChiAT7hBy5SzXUDt
BSPgxMheKcKFvyY7DfxEs9XTnFerqdA4sX9I8Dl+TpUGCm3Vz9SUQEuGIdk6TKmvaVOt5yxp3L2S
FugrTUs2CgjUQS9S9cM1jPGsrYjkMrvsn7APD8euoRCjhIpv/sRuco8yGwALqc4r32dzsD7FIPs+
choUAgInf8IoS+Wh7dD5Ui3POy9CnEja1P+q/YJsx9G1knfWhtwuU1nFTzk9fDpbOdybfrbX976O
GTCMthoOvm500LByOez81iBbuMz7LbqZn3lqu6fJsEkaHjQDMFelnZ1KEXiad/UjfS5CH50cyY80
qw9muhMhss28kYXXbZx+0fc6fZ2DkWOVKygMI7pj/ra3mpg7rMwaXVXsvuFom/dMJYtwHZtkZzUQ
Cd2lX3dT3pq/ZjmuR2BQ6f0q1LCjMREfEV2Z31feBT8zb0l/D9JkutJP7WbGBrYfZuACgBOspzll
b9fARXGeR9ESABcCP+wMMxWerkDxKDeFceisgnFc3O3B1oIoXVABQFSrsg4FBNmnhEZk2ba8tdb4
TWLr+ll1IaVakn06N1keNK2X3En4KoRHZmqrK2V87+qWSPREAX/yZTftOHGt35gS4wy8bZb01Drb
2JlCyuFRY/IUB/NomUGnmuqGFkUaV8nBXAJNb4E+Asqi5CkXEKfAJN/dBnQWUnexXFCz6GHV++mT
nzFvK5T1G1V4/5undAnoHs9RmdANiTtLC/zMoI9bTk1Yp2T+WrlzK0VGbWtijX1zqjgNS1PBn6bJ
dvWLpN66uYlmj7TZC8To4mmm0L54fmG9ceq29rmEhF/Zbr0DjSPOqDHzHQIEP9TSGy+7i8zWUun/
cXYeS44y3RZ9oUsEiUlgKiGvUnnXE6It3nue/i6+Ubf+UimiZt01QBKQ7py913YLc4SnhcrrltqT
QrPbhK3W9bn2IktJD7KuaC/dIChw5or5gHoaGOKUzmUcOLmMMLjGWe3tOgf2hawnSFLR0G18nY2S
oEjhgtCbgYe4enc+2a07I62Ln0qFFX+MWiaKRC1fNKsr7hst0Ha54bQvxtAPdwTbMsV3Aim1V1HK
jCmlLce2MDZmkOZs9btgJYuypOCWIxjqW9ntVBb2pVfq0a92jOtDp6viGAtRP6U23vyBd3RFyoZG
LGNWuXXbCVxnzRYic+H2MkqXJjrSpZJkwwpp0fjILhEhYmFVzbaKQirJI6xWSTngVMQsMIvS0oM/
HujZ7YS4aVj4MJdX4HH5VWGq3clq0Kg7+P7aEZFytEfPpJKoNNGTNGULCSKsNjgD6t3QNf0y9JEY
hXrZn+SUy40ObGMTto35qKWev+rGuFpJs8lWFYCMb1HlC5YFJz2ZY6CtOKAk65ZCMKTdDvhn0aKq
QyS0KIXiuQKLKC29Mtk64ZSTHUMhJ2SmvNFGTtkMdf+QUchYG3zmHcKummnY7hd5zzLX5lpVuKJx
pGtbgJYhOCUoUILhW6P55dIZepNIqjp1A9solnqlUG7yTQzF8Pg6CE9Wz/YZCCXTGueM73YZpcfA
oYxTjEHqLxsOjyj5RmUpfIW51daqdjU4gY2RgjSALI04IMROuJsYdces9KMHwqYNNjL5dAgJO6Kb
3OCJjcPRhaBo3HK8AVDtVBBwQzt+d9BUHCC7yGVXTJTU+waCQWEaHELoEE1tF/ygQsRMG4xVcM/h
OT4NaRo5+Of9FIxcM6yixOx3QwSDlRvPbe1hLFJLQ8kTx+3GYr46OEZu7OGjFxsTxN23NKXbKKqx
P0LmDeOF1QThbWhxUlcdEz5G7AzPY4270ZVjmt5IRGG/Jci9Bb3DcCms/lYAvEAOSGUY0So85FE1
1ggR2W4DMx44+C60RCzjAQ3KqLu2gfWg8Jx7hY1IH2bLyCuYxwXF7XmbO1TF2lHjU237zSZrlE3p
RfeR0214TVxmbU4CZYdKlDagBmM1GapVOwx7C6nf5MeuHnd7H3AO/bFV1dp7vae2Nmq0gqe9N8bH
MlDLjRopszKaYGa92PmdvjRBLrlDpJ+chpnaUpXWTUK2dlYa3+NnYzcYyjue0G2ZtreapzH0IJPH
vp4uhKLDlU/ugh6gq9I9xkFx70EKNovmrtQ5qZhVcXIUyOhWGBo7M/UTt01bex1GzikdtepgMYmt
+qppActxzPCU4IU65yYOw5u4NAlWRgen6wHhyKlY5Kr32vXNWtXtyh16ilg0DldaZN6g3/V3npF0
h4lWoIPojb6tvpXse9F5wgrJn20TIU6vK2Jf+bW/VuNOMJ04MefH2H4uhtx6kM0ctQfQ+H4YUv25
MT3Vce1uLH8VlKoOJbKhkMy62qs5GxbDQNEE8S/3J7bvrKw0VwgVxYItG6ycxm+XDZrlZSVta13E
9PV8heNKWyOpHBg8IHwzjthmExcuAj1ro1tWsm4K39inRqPvNM2ylmnqKZuodnrXN+lKqknM2pii
ZAkEDcmknG1ntrSHbedBK6XUYayjciiOVYTKVecwcxzLtGfNjXVKslH8pDXjt8IMqFvN6jn06vLZ
09vi0Ta14VRO6BCqHOdUyPZ933Vy3MP3QEVJ4XslgH5vutQ03ulQt0QfWu1GU6zkB131+mCZc1Wl
jvBZYa/RibsKVeqHxriuKZ/dwonhx3AmxI9qG89GVNirkvO1oDM6tpspTCT7I1zyy0EmQAhDrdtQ
32PLKcnl3Yqyy5FVckZa0F2ouvsE98IvZyzFfRSKio6yTI9hqyE+kV38HcCG9ZDmWntwnDTBx2Y1
uavlfgoKeGakLmhsJtYirWrDlZXPWLSySbkpVT8nl8gxVmMmUjoz/o1Np4HyjTnuZUA7OhTpH81z
yKaK0/p7SxFr7U3pCwDgZEGL9M6x44fCqml82E433RClwVyRyaJaVwiemfzbCWl7l++VkFbSYpjG
4YGqV7wZwyl59soxQ7GUU0VD+O/2HpNtktGQq53BBh6bzWZSoNA3WcipoNZirLIlyGcDgvQyDFLK
jZy2NDcAfn/K9Lr6bbNmowFqPSj8SbGDqoOpv0Vis2QshacqsbM1YuN80duN940chQNuW7mhjk8O
dg9R+BmdZvRL06bYzUNSEwDNNC7EQX8fZNYf0hwe+G7RNjRIDHDylJpv4kCwDpPbUq8lt0FH5uIq
3P+fYWuNLxSeAMpa/T51Wo4HdZtvp0op9/YUpztVgvKfAttn62e0K5y5IKHjfliPRK9vo6kbV0mf
NRSfnWRHbrK/QB2sI+8CQcQkBURY84MnJpgSXcBYzhnnYu80fFmOz+Uq7LPiBaKmuurFOOw9X+Y7
ZRxerM4xwaDq/iY3NMj6tvZEsR6xvc3W1lHV9JQCKT3SPPPuEYF3t0TZZ39GDTVXHDVy2ZdT71aW
aW+yLGfCCDCbZGxLl7JOkerABULcDyVND0dIPWo/zj17+QhOGmO2gw05N2n215w/2jbiuJ1Db63j
MT7lsdCXTV2XS7NrTQqdhk7dYSJ0gsaucTv4lcW5PAtXPV6S+XDr/CSFwKL8DWTNpn+IJdWE2CrH
7mjUBaIE6jCPNASRixZV5qJNSrdE+MiF0vVYxs00uLOSyV5GQ2UtOwpoL1Vgtw9WZahbVdjRTfGT
OrFcawWjwq6ogshA048VHcYHswWd2RTFAciuSU8JKCJTXbIC3E5LQ60Ht7FMvip4sUOfo96KRXoj
jLF5bKIeYUABOM6fd+pmhN5KTRnq5iieEQeuc618UKb6PQzGe2Bg90UqMT4P1C4S+CUop8VUPJcK
Wm7qRidYl+rBmvR8O5Bmt8qEQfNobsZy/BArWTt7vRbw7XpBacv705fOOuU2LchnIeBFnUucDRCj
uH9IlODJTCLaRjT8OgDVTLts+ttaN298/KKrxkAMKNOwu9EHtjoQ7raZrSBzLMwtW8HUpesbbHXZ
PPrdgL1NZTb3oNgsY2t4sgr9t59mjx2Od/iTuFjomUz0+uYpj0b+BBRDmNJtkyHYCmTyLq3IbHYQ
0fAMB7lqGezIrrR7H6W2SOXKTMp0oRUa6DyZvKsgthehQhXEosO3GEPaB35E30ojS9ZrHxX6lQsv
aoJ1q2vJqhwjugSZbUGEFfoCvM/3sm1aahsFiJQo81boc+mEM2zL1skWPRFkK12Hq4f6pl/0XUNx
15zDalCQvbVZ06wGsiHAtY3vOGjHA+rgdNlVc8utCrINfMBiSZSRt+5Mx6fUaKGUyrC3kF5UzCMZ
eT6r2E0PsX1rwSp2S3xYW44I+dbK9DvWasTIaAy4mfaNN4c00yJTju0MdoVmiYidFuUiDONXrWlm
5L7+otREH1Fo3nu2BjwN1Uspxl+11nw3VYx7bHOxHSDwWbGBkTuryFjItbS7j6z0yYNkS2KZschz
wlcSzdoZmn+alLHBO6YFp2aoslU8lCZtfR4DmNQ5BnBeS+YtmV8PUHYiJJMVuyBSBBtlgSbhj5cY
vHnoFV1UnhN7h8hbNDX62j4OT14UUJFv0G+pHYxEmubQQRGKoYsI7YUYqvvM8B/D3jsRkfAtaENo
jFDIu8g7aoVXsT+g2F0KpKCzk8jE8XC0G9O6ZX9/Kgxlmcv4bYrLd+akkiJTZaxzb6iPobQT9vP9
Q5ug/9Rib9hquuqzV9eHW97Id0KCVwH8QJhVaEjkk16ZJ2di3mCAogeNx0MF97/x5Q7dxqOWWUfE
JHydmjJsG9PL1YY6cgEPvSNO26Jv1F2tJyOI5DdQtSX9AbYMa8dRKaKG/W7SJw05AWEEqPM48FBb
1RSgog1Pkf4KyFSqSKtKH36WA3kKQh2Cb4zTehPJ9g9K8HXf2y9jgKjJUYNbhfzBNYIXYM8c6xap
bjzzIjzbktcsUYdHQc/KswI6yIQiKfn0hObYW9HScGUrUCZDhHV51m7vmC+Vmt14DULoIucrejBe
CKYhHqOxst9zf29Zxv7ED/VZF71bo43BmvZNRERQ8Nj76t4XchOI1pWa8qw1SPdlvpaIEQyKYktr
Sr8XSrDqJ2PFuZmJbY45aHLrOZi5HonNgu0h1EG6z/9K+zbFqYawZmBfkRR3AH3vPHwJY6Ou1VZ9
4bb0oPXNN2fwN4FTb3FmuU1g7FBAMg+o41suPNSmXdEsu8m32cR7N1XrcKIB5p/T3NvTWmbbUSME
ttCDHJDKPtOkpD473NdV+G2S8bjsMOkw8JM/aovyoFN1apNl8pLn8S0NaCygOtVI6FO4cJJgzzD/
VYluM4hhXtARKbPIYQGSvpuZCB0TxKirSJM0wUsO1QWxVbLWCN9A6kw+A5vcZNSrJaICcrjygap3
myo3UVSwdsY8LMO+RZTfUDSTr1WHwM1iJ3mjKvlw6/UmPZmgrVeWUcOutTVKDKmjohZpiVxMGyac
1HZ+oJER29AjN6QoUelbY7rveu5x7VgFAWDaq1JGFIVhi+6dkf5lTGl3lxLkhIlPn9ZgpGnnFeVv
KdLeWKRO4t0qU8h496lp1HqCMpptW8OQb03ltq4or4loaG7wVzz0KewcxaEPiPDrJUq1/FtFk2tH
JzzbV574FlY4GEmH1lybs8mCSJJhhQCFJA5immyq4RQbhhLCLhX110iPQaNlnDGmG8J0XAcWtKtZ
470+FL91x3ANwuGI4q5K2MHa06iItY3AaTP2tdhTdFGP2TQStCrYkWYdhSRN0jGheqgvM48wQIHi
VyvIaK5IVbLyXZmO90lG37D22NfphFHjDmxPKcxghYMSKd/5b/LJOCH6/lNbGT80hVJg3OAsaq1h
XGsxs4mqNO9E1HmuRo98CZZTQ5sTRktpY/IMzPr7SMdnEYfUXWvP0TdCBaVdDE+U5OPlaDFX0Bpi
GzfQqi5Qvq0pO7htMPXLNE5it5K0nDBWAMrT/GLvZPqOXtOIv8IflmSryU1DU4pIP0nUlritzfCH
mGxantbEdk2tFOomiOyItxN/gqKfy95YX2Gg+ssi8quVP+CXxSNOWQ36/8KnT7k0VIHuM0uU+z7k
H229ibP2bkwGedfj7FmkgaEuTepGbocgf+NgNHjKjXYmLUdyleOsXpiaAufW3o3saBTZay5BRkxQ
JSp4q/Q27LlPeRcaq1hON7k+3KvUffcyrt/spNspVrALRmcWUO0cpMmDl6ykHx2K3PBdlSYWk5iC
SsGWT8yVD4ljPJBxZu55JhmpJPrvVjPfxqKMXMrrt4PQX1KKJWvaMX8yf2ITmzKuEd+Hef7ICesu
tsXRdij550yJi3xs1z6Z0Avg8xRHoqbj4VTveON4BgXiKTsWSxUY9GJSp7sozqmcFOGRI8VNU6mj
WxvaDsnOH6vvqcfkv+mqIsrvWM7KsHoMnIYMt5x9sujDLYI/gkRS86C23S9K67MxCMRzH/oPlkLn
3iqGZ7/jp0b5BljIjTR5Y2NJgUG5maT9btW0pAn7ooZTKwu/RZPqK+oxUof7DBbDQtXy49gOeyXu
MjrSFOKF5YBOZXuUKTRkei+iqt2oy1i1fomwfc/mJwja0OW0vNNG4z5MEJv1WrMVDJJlNSmPWq7e
NpZ4QpDyNBCXQuV6RH3a7GeBJOjZ8jBN2nGcxmXlh3tgv8dsyABcS2tL/I6Lyf1GyFnln+xFoO9H
Jt/Kt9AJtP1BLTtKaVmKNo1aklGAd9HK8DFqpl8YJJ9qI8fJlQ0nANE/a+k8D13FPt/JT75U86Xl
qTdR4lNRsWb/zKmytJicHtat1LL8ZazTQdcymlF2a+7jSUFO2fQZ6nsRheZDiVRiDTGn3yqRJYAZ
y/pFxlZxW/gRNi90VQjffMRuoxVwIjJTkiURPBs1KvUGPeALfY76KGUkbqWnZn/AtZPQRTMywq48
f/RQiORI6FR8p7H6/1QIt3gQPZstc0iVX3XXdsQ69fT4Ul4wI8/kSuk8GqZNRqW4joObVsfXrAKn
5jSJo33XlWa7q9Fxry3QzSkNeEtZT10U7qVepdmKGnUW4Ptd1Kchn63G7FeoQocPEy23WZ/tr7uy
0JeYAodTrVr0bCMDz9akVg32+Hg0+YjxjxhD9jKGSA95VIj9/xWZDSE8MNuDTy/rd5UhhFogQGC6
jX5jCDpFnvO9kZZ1BTRxAfhknHFFCCYqyS9PxWFMHQlAPvjVq0a+DFH70ca2FxwNnz+HQlwAZuhn
2KGQrO8saic+Cd+hn7VvUY8x+vNrX6CJ6DMS4i8YR1ULslJY0Q5hwS4PKXCYsLDT6OGNGTcmR9Er
2JIL4Az9jDMU6cK2/V7rDlD6s/FYerd9dAWA9jGEWlr6GVFk6KdYELg6U5jqg1LX626K0GTr2jJM
Chfa85467QJFxUZ38C0FbLCDO/RpPz6/h5d+2vz3v+4hiIupKhLTIY7oubIeK5WSya+vXXp+Jf66
9KArSU3bIT4EzPBVhqGt+omh44sP/wxm4g2Kbelx4e39BMAjw7uMsPB196V4+PzrX3q7tH+/foFd
Ne390D9Y4rcuf1mltYTKknVPn1/+whDUz6hBrYil2gxlcphK2vNtK5aJ2m4tjXh5aaP5VgmK+Non
nQ12cGWwcMLAP4zZH4tCW0Nlw6vRECUcjuvt5x9y4T3Szsa57Ktc6JXTH0p8Wk1yQ6WbDFPlysO+
MItoZyO9HFv8Wn3joG8a1jArVobRX3kOF/gx2tnYRmJp5nFgxgc9bk96lP6yOMAje0N4NMmW9Rmp
PhLKaxzIC2+VdjbcUZrZKNen5iDFuyhvDXwdWf0y9fWVh33pTp2NZwqWAvVZZRwUYyIcQFbUyNF/
f//8KV+6+vz3v4a03yBSZJdKRKLnrKTR3TvRsPvapc/G89AhfnKiyYFBaMNmKFZKZn0pZFyiEPn3
a+elQRMZqMfe9jhGEMB8MDWvXbFrvfISXXr7zwYzqWqTDX6uPeitmi5weKK0NFMC4SP77vPbcwGu
pJ0PYgfvGUbt9OCNxOKYnhc84pYNfkoKdxuVIsaDE8nqLp8K+4bgaNJEPv/cC++rOB/XaD26ScJn
swlkZfOrnHKocGhOSwKQ+quvrZh/xwcYJ3E2wmu/amrEBd5+0BS2UAQnetlRUQe4cNObj+oWtv6L
k4erCkvElbHyXwz8Rx96NvZRQWSawrn64FgDoU91Xzw3nVlxPEdHs8inPtl7NBW2HmW/pxB62Trx
FAS6WM+XSZtDoedYtFDk0BMgUie3JnHJN75wsAyzXShcFXqeSnmm79+xX2jruIho8FLcp3RvNYNA
1jwqT6jnp2PhiIpUcIdAUE6BB3bE1BEaLN/G0AxrA7fVSZu88THtyYJfQuONNwHKqJXR9q/NGGuP
XdujWDdVtpB9X74RFabgCe9tqoBDkbF1yIUZHFEFUAYx+3jVNljih0Fx9jV19R80DAyk2ropjsXk
I9XUOfH7ivFuGyhKnTSoXs1WlXtn0ubmc2Kt8qA2Fkh51FVaq+POGftw1+t5segTZB65hUIS3oi/
nYSPh0L0xQ5ng7JV9JyMeuLvChIfMnk0pN4gtzYwijGCjkbiY5ojwAyZD3tz7keKzHpjUPpaQ0fX
bmzoG7X7+cv98bAFGPrvvBAMSCyaCufgRIBJRwUeG57/MFHbXX/+AR8v8hAq//0AJKqpVpH7ymyf
PIz0rWtKYMZzrMifUuPY//mnXBqjZz9D11V2px1PEr4tZYJkqSe/VfZbsXj+/AMuTPv/kfv/mvY7
1e/sEt7Vnoa6vaPqND4GphJcmfkvff2zRaXNw8qBPMDM372OBaQF8Ctd8UOL3z7/9h8/Zeu/nfdf
315RyAmitz0dTNHeTdMAxprIrlGT91+7/tnq4lSQauyB75/aKcSgaTXre3HpfO3qZ0tLnQNjA6IA
XTJ9rSF2VOlLYFy5tjAu3ZuzZQURqholGrLAqaB5SUZ9e9t3I3lzzgSEJ+0Q/jjaqTerAT/9OL3G
XdcclDbx1lU/6s/5ZKQbEobKH07PCI5n9EVKjcBtEcUDm5LeJuq66ugRkIqd1R/lvaPn3gJXXb3P
bZ32tITh0ltDSpZ7Yew6Tqack6vQ2eZx3z0VHo3yXFXUe4QuGuVGVf42mAhPahGla9HNQvyJVEEn
z/VNGQsCrKexO2Qart5qJuHpDYUZwkiLpWHThMMVRFokxVNaG6QygZjCzW1prTLL8LwNOnosSn4d
7T2uuqGfMwDHkE9NJOZ8cMsBHV3goyMrzDUAc37HN0XSehwZxQZ4l/emUWc6oHw2n4WXJLdDYiN0
7IvxJHS12goYB8eJ8mOCvL/UNznCh8d+YuZHromEG7c8qhwxvFLwMt6U2KlO0g+ScoHrI9vawRgv
CXyhGZ05lNHG0oSc0eYPVtIQnlaUzfRkG8aU4SpVKXdMWrZBbTc9GGNY7bVSaNRhPW1vjckPjFkk
x/VSFJAjlHQboft80RqR38isSFIaOsiJUSyCymoFwLmUpNVEQ61We0rkKoQIYe5VHEQxBAuva9QW
s/4kRfRU4eyE2UJPEjmDaYTxCs0zVXBlgEOhR6KAlRThnxyp+3ial7iKyeuji6SlUBcGWFtHZ9e0
qM/G1ikOTUMX30lzsTTbEIpV5qlHP7cBHiiUZ4RtkEkJjWSWTZYLrAuwn60WedFUUH5NCIe7Msd+
vP+S1tkkheEpjiewhQclfi6ybFnF7772qKl3sXoS7e0YWpvPx/vHcy0FgX+XDIH9zPLADh5GWJmL
ToUpngf+++cX1+ar/O+Oh63wv1fPSxPRrAkt2KAluc2UMUWqbUHEqgxzxOqmymPcDtmDlwRyhfy8
WJtK2dwUiJ7Ri+DgsS3UT75V6xv2Ft7P1sDUm4kC50tMutOGInJ0pAOubtHZCmVZKSM4E82oK3Hl
QVxYLdSzDWlObmPqgzLZS+RFnqWARgrQ1cIHsI6f36RLn3C2FTWdYSRKSuUedc9R3C9azgwJxfXW
u/ITxDx3/+9TsNR5u/DXipRIs5x4ze29MPunrhbf1UDfIr3+qRAGTOKLErpFV+zsTPxpGZRuaIXb
z3/bhbfLPFtN6F81hoeR9ACgQqPvgjEytaYr++kLi4l6tg9BJ1OOShbY+5J9SIMpIqP3DpLpym27
dPn573/dNUwuDX5kVsI2eU2x+lnlSeuuXfziMzkb4OOkNH0QA53K7fQ29MNbUdFNRHX13vQoHIRR
uuiXV2WTIwGJdnbpfemRWOrZgDdjRAk1NX2Quc2wy5TC3w7Unq4A2MXHT9xSz0Y8uNAUS5Nw9p5W
BGRed/ErXtTgKQ/minQQcJhrk0JbEjYbLTHGgOrzomRXCQzCPvKdd2RN3SrXQ+9KiMmlx3j2Cqrk
wfZ6OvdMYm1B22KRI9aJr5a2P56oOQL9+5ZQ+g1ir83goUd9s0I4MKz6RLBAjOib0lIYG9Uc+32t
VHLfqGVdXnk7P541pHM2L2mES9p9bdt7qT2BtGoyTAL2PtP6L17/bFbKx3owlAFJtVCrV7tCxxsE
B62MoDH2X3oy0jmblkxfkFSMFmxPy9W1y4IzN/qZ2YL7+eRz6Radzw9aSg9zktbeK5QiWxZ52d1T
7C6/FzQg8WQgEboyE83f+H8nWOmcTRWlI2thEcq9B0sEOeIttaoFQebsQG8dyjJf+zlnM0apteHU
55RGvO67CToE0qtLLu0y5CD9+SfMz/ajn3E+NZjJgGNWgEsX+Q8D8GztpHNyLut1bMDdteW4jLLu
Ctv844EpHe1s5BgtUtHE1w9TB32wUtKV4uFUSEFJXLljlz7hbOgbY2wHOhSGQ49CpxuHNZZtlGxP
n9+tS6/X2chHp0fDHJzHvoFQmebfe/u7bx7t6NrO48K3t89GeKxjmOxpaeyBEm+TES04OIHNlPR3
X/r+9tkIn5QgRqHF/ZcK0Z3c9e5og55adH5Q0t7Hbvz551z6HWfDfIxSVDtCwysQt+CYQVdgQajI
O//a5c9GeV/WPSCLiIccAIKT3fCjsf23iAby59e/MLb/K+b9tQ2QcBKnKtKcfQZsjGNqZIBd9r/n
028rvbID1OcB9sHAs8+GthVIc1JjYFYyydUHW9ftGx/X+iJC7nU0W8XakSWt41rHiAPeXHY0byCz
BOytVkEnTJfEHpxQiqJuowgRdhtY6Wl0aiBAWZktGw1rwZi2z3ZljjAv8Zp0Ck7yIPSVRZf5Ymua
KjhEpOWu2RrSRRgan0rse9s89JxvcetTPArrVA2/NDLN8101EI+Og0FdHmw0eaZR4QnWNmN6LWr3
46FpqmevdsaJxu6VAJ0kpCp87ouhbNfmRIH8iy0i4zw7Qeah6Ky2mjPhbQLfxCkl2PbK3fl4D2UY
Z/OwJ9U+TeKuPKRtfUgq9dUPxz9feZvhG/076QIY7IiaoRNfNv5rS8gZxnfKr0kO9RboQ3sfKxQY
Pv+sjwe+cd5qDge7AWJWAeRp0At26I0TfD/Rr69dff7Uv8ZlgEciqHyu3k3QgIFrqcZLBzbma1c/
G5FzhHwmhSrA1oJA1NDHrUrV6DeV1jXrzz/i49XW+G8y+OsHEOhNpa1qaZ3J8c5oGtRqVefGYOkX
Xmj9LEUIaulaRsmlZ6H9e7cKbPIdtof+UCh18sKuK1y3VTugOHHa6co0duG1PW8xK8roJwYkjwM8
IL0Z8Jtd2/pc+vZnS22WopDOQqM7dBaM4Kc6+xZc68d+PL0b543kEZ+4jhVjPMSi2TjsQBYwQ5RF
lHo/QNLOpjnl2rC+8CvOu8rC7NRx0nkGCEc6mG6579Y4wTA4DI+fv1IXnsB5cxlKXA+qwuoPod/+
DmHUgM9rvjYizjvJBFFUXRkqyp6yaotCvUES7JhR9mAZBBVc+ZBLP+BsUPu6TXneMlgIfbyWcDz1
Lrj//N78133930WWiua/QyBMoK8i3I8Oulp6N3bUUGDpihRM2gTnBx7s6Co89uepqdvEpbOqzmbt
8BYYYrerMgg1Dey0tyz00n2ey9IlKhjfmplOLZEcRbrTOyd6GOq82ESo2pe4ZLW3z7/7pTfnfCPr
VYHSKAN7nJnXYg8cMlPS6V2lCMwrr87H51jjvOEb6qqc2+GzML19bWdvcjS7BbI+PfqOuY84Qy80
e7gzJHrXz3/Vx6u0cd7rHQ1INW1Hm1yJvpnEGwnjzStuY//aHH6hyWucN3mhjwW0NE1rbxuQNwMT
e2S9qlRtoXkv+liurCS59yEM59UXf9HZ6pphX6l0qH17Q8MNorznOHVxSrTxlerKpTs2//2vJUO0
CJAitZ8OanGakmw3gc7UggOYuitnsksfcDb+9DCoY82IsgPgvTShJ629FrZYGOWVt+zS9c/GYNQ4
EaX2jMhBXC6V/mM0Haq1PwyOsp+/Uxem8/PmmygbMtSzODvMOR71s4KXuOYwTqgN8vX8yix1YTiK
s8V09I3ICDrGSiF/soeCCvXLZuH4/Bdc2Bb8VzD86xmnpUcujG6NBy3ay+Yn3rw1BvtF3TxVLQSU
8OfnH3PpRp0tqU1VQ4zzbXFo/WLXzZP5pKcbRLbfaky8i0LJrrxSl0bhf72Bv34QuFMgoV0PmcZK
DDcMQ3TV+UGtrJ9+7r/hOH30/ezg++M79rhr5asL9VXjXIPT0aVWHQm2hSlgBfR9g6YL5DLoKGq4
wlNieKZh6oYJ0HUTLnSw8Kv2ykbowlt+frqxrQqEZa9kB6t/tCHYxCFavtHCbKZ97Q08P+CYZCzF
hgUxM8uwGncmNLNG6Y/52MVXBtKFd/y8Z1COCOCscpT7aUCCYijKsLHrQp56pw6vfIS40B4yziv4
2USs1hzJiBgVwHAkstqVTj26etroRDWMCD661l9NJTTJpSLB9tgjBoyobc2tqkMqiq1Af4sQVLs4
3YBoCGq8+B9CNutZQAsPA76StjGB8BBhlND0Vn6D1B+yVjjdhr3dLYw+m7OXBnkwqiJcDqNR7bAI
krJhhRlR17KGY+F4T5Nnd7ckl5ZbtSuapxaI0MOo1YUbRDZMLwfDQ0osJnlI+KlUC+YL0apkWNUK
8TlK+MOztAY7TBbtpogIipGgetAWol81fhYfEj/s1mNVg7zLlWkVa0SY+4YVkwM2KMsQavNLnWXk
zSXlsM4L4W+stPV2Iqq8nfSseKf4KVet0LCdogDHUJs4/o9msiNnUUym87uJRbwz8Ixgr+frN7pl
B7CE82Ad5ka31qx0AF82JS8qHuh12rYqPDuZHVvyk8i5itUnuD6+awWpeR/UWv3g45JdxV3hQCyu
stdWOn8UgR1Nm13JClQiN/LJq8AxDtV3xr80Tq8C6MugQah+uhvtQr6Go1V9Lz01eLHsznS7yAc/
Maq3QUKjKIJxuU7MFkpQHf2GJCho7vTpNjMc+hZpTa6Dbmd3sRaO8EWb0a1qXaxURDaPoER53mLE
BxbGUU30y1RdyXf+eN7UHf3fJRhDdzBi1i8Og9SgVFIljbCgEZjhtKQ0WMTSnYQKv+vKavDxMNTP
i6S9k1btNJEbIidi2Ed1K+GoAP66cvlLv+ZsY0klTvOqUDGYJenZBxr+XBsSwbJUOshDVmeAvqij
x8+XnEu/5WzJ0RoMB5jpx8Ng/QzpcdnjYQyKK7/k0pw7f+hfq0xnqRMQINZky4eKVYoCD7E5PBaR
QQOthLj3ld9gqGcbmLKvKkv2UXXo8T/S+bn7f86upLlRHoj+IqpAAgFXsB3HZLIns1yoWdkEEvvy
67/nOWX0WVDlqpxykKylW0336/eSoXkvQPO6PrxuFcrt4kk9oBukm6Neosn8sWrPPBLfUu99ffjz
r7zwCaQW53w0/zcgKWSnJncfhVW8UuhKXze0cpMkxG44cVz07mGvz62DyVauUPejlWtTgIcIkUos
o5j7L71d31OQ/6z/aN2NVFLsMy9JjphjjhJ57mqDxIdVhTXZ2BLd6EoW0umLfrbA7RJ1IKD3KpB8
oEt3AsfqdT/+bNMfbnyHRo5+EYsA4x/ezTR1vLAk+DiLXbCkr09x+TpS//z/D1OUM1LKlawY5MfL
OEB78x/bGl9zPpCAGfVxfRLdNqmWi47ronFpFdn01Yuf8Qk4bUErLl8d9Jf++/tl7WV1WVoiGmRa
PnhoMweRYmwtGwd8+ZuZqhUUyJR1XcnTBhoUcf4yuyB6xfe5cwDZRpAs+XQA72GHfhqwcQopresu
raece8Ih7TXN/RyJ7nkeAQUCqayzEaxrzsJTDpxCK+rclsxOJEOvH63QicrvCzFv5GA0z41aS4GY
RdkbBBZRTm85ND2m4ReYIsEu+2J6cuPO6pagnHlXgV3SqRsR1Rl7IIx+90V919rOz6tuq6d46ALa
znYMcl1Q3rjgBJ5vaiEhnOJMv9bHP//M/7to6pF/ryz1hgx/KVxSKu/BpfIGsrjX9aF1O6O4aLSy
8wGVlzJqrAZdpN86dDTW5sa+6H634qWhQjEIG6KT6IPtjgIUa3ncXHcpXcVLNw3a2KFPgewXBISh
+wgUSQfRmq3ksuaX/1V6/uDkkqx3WDPYgAnM4F+D2DD48GlqHNY3/fLnPAi2/j1PABAbm0u3jEDw
zEA3Yxxpkn6ei/xk+WLvp8wEhce0X59Mc8IqwBzZa7MdQRsT5VB6K7gbLmBxsMqt7KzGfFV4+di6
Y8s4hwweNLAEyBApGGditJLVrUR38Bxet4rzQX04kNr2WwZU4BBl6DgG1eMoHn0HQSn3QVV43RSK
lUGPpzPbwqoibr/T4VHML3nztj60bpMUK7PwXSChuiyjejS/txw5LgIi6Brk9ZB4vettsE6vT6Q7
bMXirI4a/TL59glIk6d0om+90expSW/Wh6ea8ZlidkuPDwHQWY4RGsn9SJrgjkUzfHz0qlEilqkg
DF3XUGeafAPZyNQeu8DsJ/fFnS3zs296oJ/xKsaeR8O2D4xNzY09Q3JnLyBU1d1AcaL6DmQ/GLrd
CVXZLK7yT7HnJnswYeX4NG7drz5I++5aIJtvRs/1/0iwwP0GQNfY987g3hYGHX52SV7ua0r9uxT6
AahRm+7L+vo158iU6K1wIDYkOIhmMu5EJB6f6yX/zmZ8dTbxSy28jeuiCbHYefoPl32Zi8LHJ5hA
Jid7n6b42IMDHpA48MJsNWRqHBxTHvUaBMTxUpMpMsAJD7HtY0E3a7yaEIidL8+Hnw+JLoI6yiQj
Bh6BY52l96ylp86F6FHPjuVivsZDc4KCz1ZRWbdfinNou9mBQjtHSNdAheCumf0wh5TCFP9eP3bd
rVfe9zGGyjKoWEhELZDu5LNVv/l+M5879clGAKdbguJ8fM9JIW410YiAG7Yt3/v0F4jPwhh0Stet
QXFB1YDybgLC/MhO0R2LLNcjyH6eEyQ4Nzz035rZhSiFKb4nAXUcxddTE1Vgmjxk9+Rkh23Id6YR
GCEy+3PY7oxP4Jk/xMHpJdnF9+VnpGE3ptdcaEfxTHY6T4TzikSeP85v6KwB7JdRUH2sb5/G8h3F
8hlEF6AKVtQRuEeD7ovpfVnoAxhMdtd1qjM1hkyzpRLEQ246c9FIkTHQg/ig9qzy4rC+gsuXmP0v
iERbmb8M8RQlNq1vnDK3QHJYQy1pAWvJdVMod8xrWlD0QtARJWYCPiDgkBYC+jR74/W5fAbMUy5Y
MWdjUTEHLWCuX+2dZeBHlg8oPoPAGaK5i7zlAKVet11qgGnzfoKEMpB2aFkM0rpBgPmlBEXQ+k5d
jgCZGl9mJW/z1u3yyK+PgkaOLCDeG98kkI2LJz9q8mnDLDSnroaaXt+ODWRf0S2ddkXouvWzv9Cv
EJaeN1Zy2XExVzlzP5Pg3RYtWrXsn3P7JkG2B9nVzNlIrWpqNsxVDh15atdCMjmP7HKMf0ALtvwK
Bp/kjbOyEAcpPCKDczvJC/BREJH3vD0kwCCIlZvsbf2sNCtUYx4ugbUkHrYQXN6BRJoj+eSM33uA
NNbHv+y5mBpU+AwMqwJ82ifQQUYlhLIrd/q8PrTGYtRAIuv6ii8CtefxzPMFouMsfW8B2/MctBfQ
jZdFU8wDR82/731rTGVRDdYctbx4MmZIZfdPrvelw1OMVBpY8g4QZ/D4dTkupoYXozkiA94B5Q7I
AzqtUmi7yd/ukP5a3zPdcZ+P6UP0UljQvpMSe9aDyb47Ewsm4INe7pj7uj6B7lCUaIJlHl2ETIAa
zZ1w5BHlLwt7gHYCOGh/r0+hcS+M/LuGrGVlBblOXNkKlU3wEaKPCBL1ffa1Mfn9NIKn2iw3EPu6
/VIcQDMjxysMAZ51j0NhoZgQqdYHi4FLdICM5vqCNG5MjS3SybDdpDUQePv3Mb9N7OeFP141tBo4
EMKbvKUAhCfEATDAX24llOl7e/y+Pv753vw/LMLz9O9ZkDTJ8OWN1twUjuQVWU3jaEKsYsM/ajbG
OV+yD7cVqd6E1yZ23+jjyAOj6EDKLyCDvApcwhzFtCuU/xpQds8Rg3TiLRvRSNcbHCQMtAKfPeii
rlzGeXkflzG40PwDPV4kLIgtgeN+gRgVxEE3XKzmjjqKTTPZAnc6waZLMHlCnyqA+whKqwiAp14/
Zd0MilFDUtVzOZ0QvnUueFJ50Dkg03Nec/99fQLdQSsm7VpVDK02NK5w5n5LvPEdmLiHJUaXxHXj
K++s5Ur0KhPmnOqFeei8sD9VVQkSTJm7GzNoDMFWIvSymixiNig0daJ9BaviyfHT62zYVmzMWM7t
nq1dRS1KEgZiKeFDR7P6ctXW2IqNtaWbmC6I3KK8Y+YOgHf0Dzvch7pcTm6um0KxswzUxsliI/fk
+fe+8wZ14da5zv/8bbv/YFqzT5oF4j0ySoY6DkAVvgRo6LwqDctUxHvu8iFtfLOKCgIZnB8crdzz
xoW/nEVgKuBdlGhAXrKc4ZosD3TK782pfC1rNMOanr3vJWr5Qw08RzFf54NsxcJit0wyWXDQM8ZQ
6/FlDKZ+n2b7nKYbRGtEY8S28lZaaEexHMHmaJy6/GDnBUT1XF6ETd0X7yDdTP6AlO+33zDrlExg
UYR4FNjThyHeCVB3Q0gaqj2zZGikpEZ27yTSu2UOpAYzMIb+KhMJ5WfIcaI8XM6PzgwiztKLixDB
K1DFA/df1y+rxtepsNC+rqHcWQGhI4WFBGAtZfXJH2sfrW1Sfi6AgNn4eNFMpIJBWx8PZ4YK3cmy
0pAW9a6FVHA8op2uuG4pKhqUFbCHThpWlDIDwuIgtc3IyWMgu8t/XLVZtuJX+cIE4A2ANZCeo7e1
D3knwtH+7pDP6xNo7pTKbmi5IhlLk0MaTEJaT1rxqSWOAayyU+/XZ9AF+CrJYZsCu+xk9hxVjdtB
SAI5CQe9oIcaoGgIxIFWg08e3/tjmZ0KCOwdUDDJNqzyL4DyQvxkKd63mK2FVvPkAu1SvAnbePXO
TPLghDqisSAO/JhB7NfxIKfWn+a0+U4t47Vr6w3fr3m01N6YhfA48xnabkawTB8k2uL3Ztxtdatr
fJzaDdMCF+7O4F+LWvYlMyBcItJPDn1IweNpLTOUq8W+KTYuou6enP//4R2AhPMAcWoKPl2W3lbg
kW+d4b3L5o0XTLdR5/9/GJ41frMA/uWcMjYXgQHB+jOt/nXPjNoWkybCb+S5vI2usQDl+0D6XpDy
rR5XjZ+hiudvJFSdZtnhGExCd7WE+BB0ZZIdt6pqB7KJw7od6aZRvH/PQEALMl+cQI12ngKkx8Vd
yj6DSHO3PoHuiBVfUxPXrgQ07qKk+i2GbwWHcHH256qx1Z4Y6HH4gAvCF88InWd0ak7jD/NKgDNT
22C80ZnQPVKIqK+hRICCeoPWbMj2BRDFa4+dT7uwzw36VPpxufFpo7mwal+MBV4YsKT5oNiwl+J5
aVx5yM3NdLvGsv/XGSMqZ+zaPD7JfICYAwVxA57gryj6hjbqlyk0erYid91CFMPuQCDeLAnggPky
P3YyhRBojhTy+rFr7qzaIDMh15KjaRJgwCrd2TO5SytQMY2nPt6iAzn78Qv+XYWCQ/iul/xc7Koh
nPsAKcC9A1ajUAiAmNsMuNyS8eP6YnQ7pdh5kUNM3XcXGTU2jVJpnCwmN4bWvZFENW5v6lvwpouo
IX9iwY8phAvqcthlggaDixxldu5Edruwcq57+K3zkX3wuFAAYQMY6svIWFCMhSghepGpsZhQYVyk
9bS+ZRqXotKu4bO88NE5XAHaApkd8S1Nx7DZ8ima8/jLF/JhBT4fLdPweANKEOdrb87fEPNv3Fvd
0Mr3OAWXPZRdGvdE3Z+T+ZQb7+v7oRtXuULLTNMSuHF88ECjfkLd3mw3jlNjB2qPx2DYZVxzzk7o
5/mGBlwO3bkx4BAPAp159hvy64frlqC8EqK0wObt4zHNvPR+NEkCUXprC3Kr2R+1zcFCno4V+CaM
umT+3dj1H7/aej41LlXtbxAO9XhvIG8q/eYorSmyC+OmrCAP0dN7hKI7KFxBamresGjNzVebHUCy
hh7Q9swh4IKLt3gVPQ0hDLV+BrrBFduti3jhBUVE3eXfXOSjcggTmJBVum7086wf7Kolk+HOEqCu
saV7v4I2GC0gUZLg6+m6Cc6n/2ECyXiVGZCjOiGRHU7Wm4+YIGFb4ZhucxTbnZrFGXMLaD2v+Dza
UA/1vrTz1oOmu6CKAcfp7FkWb0XEZqCRYzp+hhzBfn1bNCZsKm9A0qFXFLYlIoOQLzGD5vSYEKiA
9RAMr4D2ElsEbbqPIpVhCJ9XkEo3wU2XLbXx6HDU3QN7acUNS/vkZoLQ66EbGqTY7E7cmGXV76b2
rGg2eMZP4bf9VTGU4yibCVYqMjvlDDpGWX0TQ3pXsHYrZ3v5oByVzEjmdepPZ9bfqqoPI4MGsmf8
Wj8n3dDev9eXpwNpCobq68CHn3Pshxl6gTZM42zB/w9nUJ38d2y7HyZgcUEtNWfgu0VLmRT91zo9
CzWi/WT99182EEeFYPOsmzoHNIunFopNYTPnVjh70FqTPjrs16fQLUNxIaiCOej3IfYps14z8ElD
3ylk7St0fK6c4Hw2H1yIPwkeU4DiMEEFXcLPS5PtrPkp6zZSwuezvHQOihNhlblYNW5/VOZEHJIZ
KtGin/qTaQ+QD+8NfOfNbnbLW+5u3CrdqZB/V2Q5EI63O6wILBFIQP8x/Z8ga7xyuxTXUiSeJ0Xi
2idQwjThPBUQ7M33gwFmO2eUW9h+3RKU0ABJ2D43rXMRYEzzEFqh97mb3VUm2SLF0kyg8hdBrign
yKegdiTkAbjRu4b5RwZpnvVbqzFsFXxfFGTpGMVH6lgv9zWT+66vb9aH1v1yxa792s/Lwa9qZAoZ
sk9J2EMQrzDnjfPVDa8EBE0myy7zF/sUW/aODCIAp9YuMZ+v+/HnWT8YW2IuNvU5vuLAQ9a0fyx6
EBA7XB/78qMHt/Pv2LMXQ6rm/Mtr+sQbFqI1ZB9DMGz+LszruO0dFRzlxBXPyOROEXeTYz8mr7Ow
QD7kmhv5Jd29If+uIc2RQ60GMLt01PrRgLcc7XTuRgJTd7KK5ULlLo5nU7qg5OUP5ULjwC3zk5fQ
rebwv33sF1ydiouaDa9tfZ5WoHMqoGplpdMnw/bFDvpiU9gn0JFKp6JDQ6uRWIGRy+GRM8+5Q/Ug
f2BIUuwbixdbv+biw4GQXHlbIRCKwGNu0bkj3T9VmpFgKfpHw4MIHrrYf6/fuYvOHZMoxmgLl8yd
U8oot/D01WxGXQsBLhjUTWjfgU8lYluMaBePD1MphulwCK0DGovmdN7taP5c28uhnjbWcfHeYfDz
pB/s0uvpUtLcA/k/lOLDNhs4aLb4xleA5iRU6JcYrdKGRA2Qt8gD5qzbtfJpBhV/VV8FLnOo2loA
jr4GHzINTL9YfKBWbeMTpLW6Qye6rX5w3SKUHcqsjndlG9NTC2F5s0UwzW4JlClJk29s00X/hUUo
/gtyzFAMMx16GtIeErdTUYw7t+LFMxT+oIrMwVGVkH7YwPlqrpNKrdwtjXA6D91njRSnvu/3/sA+
GeOWBI5uuxRHtuQEmuAmiOnAk12HaI5M7qCpae1xUvNNIQm/WTdA3aYpTi21bEQJOSUnKupdWQrz
QPv4FQTst10snljKx+N1EykRSTPRJKcd4OO9SwHbgKDcgE6AqoDQZ0luDAA+r3nGHKqi/JK5Xkpw
rVMUNY0nSF2cAMSGVmP+farmdxO6pOvr0Zy/CvZjSewi8SzMSCbfQaYOPSoUz5DnXh9d409UvN84
QHhwsSZQtWQgmiisgyGHjYPQ/XDFD0oUltGmh4OQXvqeJNAFz/rqnY5Jv1v/7boJzv//6AuHtI7b
ojUjUCYFxXw7tRR0QxsPvG5wxcgZGP9Z7lCAn9slcCbwIo7Q3mFbXupiagqXR/nYmNMhzedFiAg3
yLkH1LaOjHr+ItNK3nhoPdxBV4gfZFuCamES6caiNMauovzyPjWLiQAPTbkB0fHx1u5BcGG45ReS
OVuf4bpJFEunYJhF9/mEftasOqB+LRB29Y+DP/10OncDQqi7toqRt15Xd+2AnEzekxcmpk/FlG18
BmoOXkX3OanneiZqV0BMCNwqExTxZkDjLa9xOe3vANz+762dicXNyhrMyEizt4ny7K6t+e8OtXcI
7R5lDQJbySFM0x+z7CqwEOZUoh83yduMt+4STUA7A5MUNjk/lnQLm345uYTxFVMnvCu4PcO5G0sF
bbvBSo8D7fnT7FL7wcuH5oVOtfNJuiTLwZqduq8TcNnvYFzhjxDnqjaSS5ogz1EcwuiD+wThUR11
6RSCD3QPMs0QwNkwN1DXTKcdQZlo3ff8ha78L4TGkhX/0Ju99I1qtE7Uh2S98RlKSIF0psARAtqa
bVAXbF+O2QENggH4dNCeeVva0MD2H6AxcfJ6E+UkP8RJp9MzL68SvsKvUtxKEidOOtlQQZ4adwGB
BWPknbkFevrLwQvwlthyv74BOjNR4gZqdjP6liXIWEoolHttvZ9p8nV0++teD5Xzv23dltSmZZ0k
Cq3QpMrzZ68b411de3IDXKVxIo7iRKBJDonfvkKkWBhpMDvjLQSqN77h/pa7LtwPFbvYVkbfGbJE
YmF2ftfSOOTGA5VfFmJCERp1gSm/bWpvnwDwbM320SyqT2CAvpFFd1NA0Xv9kDSuWEU5SmMBhaAx
L1GHfhfSAw/mPYC1f187WxdOE9apSEeIwhjoxiyg4mSBlYIByVqIkLA/2egHtrWVpdGtQ/Evo+sI
s8omiHtnE9p4il91zx+QNn2Y5jTf2KvLzI4OVWGPAL+LOkmdJkr6s9RyDXXwfYn+2C4A2AP0CAaE
gf4INnm/27QWgZzS8lSNY/rsVNXEg6oYx0PcGhQEST1+qbDN13JcRtAGL0X1zXX74iHxY56H6Fa1
bxqUfiMyDe6f9aPWXOa/AMIPwRCZAPVbKAI5k9cPdbu8JB0q4etja2xdLekbtO3tMptlZCVLuu+r
GjBoo3gm0HvbcKeaA1ZL+nljpl5ulOMJsLHxYXCX5Nksink3WYb3FvsZ2Thk3TyK1wLbgicrpO6j
idIoM7M74ht3dZEeDJQL1jdLYxFqWX9pJ2BQF5AfEr8MgRXcU1M8NVS+mgRMG3b886ppVBwtmMMq
IsnURZkrT7ZsSiCo6Mkv8RqhWlEH3DRv1mfS3CwVVhsPfjm2HeDAPujF7oG7WCCPFZcbJ6+5WyqG
ludoQGcLlVHal8fEi1+rnJwGeMr1H685cBU/a6YGH0BqhuoyaaDIhJqQ9VJX5p4ZcmN7dAtQXhHg
syzHnDvzRJIB9xX+acgOudiCUmp2XwVrjgzDM3MgJ4s4xQNLqL8HujLbiJh0oyvBKOhrIUo0AZ4+
pb59i/J+fe9OZv60vvl/gSUXHkEVC9lMeQailsk8uf5QHR1eMpDyTfUBdFf2nk12fi+caYYzmdgt
hBn5LQFt5Y0YrBoa5gC52dzIT3yoyk8V7bL3FuIYr+s/TWOlKo7SsCQZKkbM04RIPJd+4OcnEbeH
HigKxjfWr7kafzkRPvhkKxE12h8XehoX3/iaduYQFQ4bIpIWw+/r1nE+2A9TNBUBD/s0tlEhH0H6
HSKjtjctZGrlPnas/XWTqFElPh4ywtl06qvxILpfcgYXIpM7rx1Cdxg2DEl3JIpvnmaSipEm5ARI
JTR+7BGIt/nJqLNDUwtAT+yv66vRnYryfepkdDHHeGqBTRZ3vmfeeyw/Ts5VPDMOCEL/PZHBdRqE
xf18aphxGFMe+bTaSSYO679es0sqqrLyljT1LWTLeefsTCl/mQvInFM+/CLWWeXVYxsWoouHVITl
bDCjHDLkscm37gtYqE6H6ba/saJ4DLof7NV+YQ/Jo3kXR+T4wj+lb9mP9RVqXLYKs0xqmmUiReO8
z/Pqnk1pF5FyMe7aeHoi3L8K2udQFW9p2kh12wABAacm32NKHqel3DgjzXeo2u5gFqJwUtFABlhC
1dEn38cECOdysp+YHHdtAYEMCKRtifz9bT244GXVpgd/8tFI1ldw4iPdgczzUUzZvkom6NXaYRaj
rllOUD9EERhtnSOC15ClAvV5JwT5CWQgk9CFMFmTFaHp0o0t0DwsaptENbYCsiBg9OjT5GhDmrbi
88bQGvtV4f3JyJO+BhIgMhf57Ff0oVugfOnZz+vXTzf8+Vp+8KiJnYx22y99BB7uPIQw6xsURQQo
SI3rAkQVIFm4vKQu+GSjyv3Z5jgVku/AlH6IgVhCeX4jrjr/3EuXQnkY0rFIrKpGwasj409a2O+j
bE5ovvqypFsHoTtj5VmwR4OR2DYkYErzgfImIJCYXD8EXZZMJccmnV0NhQltckHbn2exY1CLviE3
l0Jv1PtUd/MTTcBlXVkHW6B7b31W3dErL4ORp7nfVuhz7t15x6QFngh5a7L5unzD37V+uFlG1hj1
hDZGCEmJm7Fs5xAFZHNjxzS/XYVRtlktOAC+fdR3z3JKAiK+lvb39X25TKngQJlZsYmiyLqW4Sno
eyhh7RLD9E9dU1V7aNTOO+GZdQCianpXt0MayjxPH3rIjf4qO4dvBKq6FKMKrhRpn0mobOArxPve
Z08ye2TeeGYLCKCvcqD2cp9JfkIz8GFgP0y6FSBrXLnKLT0bKCeCqQrZ+anNA/DgyDpcoLtRooVJ
LiCNGG/X91jzrpvnc/1wOTLXozwFo0vUF6P1RJAz2A+OQX+CohigyTwxoE5Tb7XJaSxX5Z+deCcH
SNLActHguYD8yKy3Poc0fkcVhgSDM0ccgqFl/crzr2V+n9oiMCGFu75PuvGVKLGXskTIi8fOqgvn
uwHG3qOTleyPj9TyjqAit3EeOntSfAEnJvgIQJscpYKduGXu8NW1H5tpt74M3QkoUaIZ26TwOtTc
5JDe0syCjrz4vD705V9OVBikqFETyVNaRgBn3fRdvc8H8ua53XF9+MuVK+IrvqDIwE2X8rOTzEZ2
gL76LpZjUE8Dv0sWFEIHqNsWcSr2adFsZRl1SzobzQfjcMD+VYwZUhBxnk1B01ZQgiohO2QVzlYU
dflAiIqQjIFJrQgEvkCnNd7PjJ747F31rBBV19Ev+3IoF2uMFuOV+JBISG8LQjcGv+ygiEpOa5fp
Mg5WW0aeIdENiHtafrdt9HX4d053ykAxvn7suv1RHvueD17bcJBCZnzasWrcT7nYqEr+/TT6f6xC
VHpyI6OT2VXILy5o7dkVIHgN/RQJOoacb9j0hnXXiWo8uu5M0Qnn0mMBOYijlxfJrQnCpX0Nir+b
EZASVFwS40cKGGoAuZnskz32aJ/ty+7FrEj/eTDy/AgWeejRu7F52xUx36O3mh/qfDL3ToqGriUB
C0kzZezZcc3qaX3vLvos5qjMUBSk/2VSwmQm+5ewX2jvg7jlz2KQjTtw8e3A+IpJzpY0XRO1nchL
Ggg/P0no04LVI/RKJ2jJFjroohFiFsUIp8ypU5n4duS0RWiVtzVGz5yN9123Ref/f7DwFkF3lkks
gTYnsIVw674ufjTjj+sO4LykD6PPYz0XkInHjWqfM3JktRcs9fNUva0Pr9uZs818GL6yKnDtGjFD
xZs/luiRGRZkYOO0vuYtws4rtteUYPfiFJsDuFdo5HTXe98Lg2yUqnS/nvz76xczbXpOczvyqyEs
bBpa4t5pthjedHdTeUeFQe22kzOJxty4p4v3C4JARdD5ln8wGc1DNOlsXCHdTOqT2ozMaEjjRL41
Ad1nANyORjqYQe9mQb0VC2t2S0X9ZHae5SlhLMrm+ZhWs3voDHSaF8tWKeSiowV/jmLM6ZRDcCQ9
LyP5vringqUbXkL3yxX7lTNPUpcR/HKnrG5bQfmhoWO6t3mZ7tcN4fJnG3PUqm1nu33b9/jq5JBJ
/tUIYR861KWOsh9/L0Zt9oFhkKoOwQBiPoytNUGjfOnBWrg+v8aLqLxiswWC2MQe7ag20PLd2Mix
gHviiWbzg8emP+uT6Pbx/P8P1l4CD5sQq3WiKreDygIXfA/0r78l2Ku5xkxxJkUbL3HniCZKE8t9
MqaxeZxold1OFgrWAfp44p0DUoONHdMtRnEtsh+WybUmN4rB8dwKdkSxLajaLdJY3YVQEUcmabtu
MVw7QnNZ0HGIy5g3En26/SBDW5gBz4FPIIHhb2YOdPajOJycglndToE0SroqWNwfnvX9TME3xy9L
d49kguk9Vtlns36YZB9Q4zMb4w0D+5uB+l8cA9NVPBCvpoLEFbiv7KHZmfkcNl35XixDKEzxq+6K
w5JBiZUPt6Jqf07eMu5AE/h6/gIQwMAWbXFTLPTdQxp3/aZqrpIKZbK73hCxXVuRlza7Yky/ZE52
m1TVDSHZjVGyDYSqZsdVRNNgTtnUF5UT4e5E+Da79Sz7dX0FmuupApd4DiYPCBezKPXw6T38ikGo
2FXP1w2uxBxGUcXCKDtktBE6zz1ICka0z6IBa314DfW1o8KRuqyk0hF1GfkOFQ+ubac3IifdbZEz
toOovB86bZ7dxgatX30B6aEZdIhIK0Dv9qYsPHeHjiq+8wYTAkQ8b+cj7RIvEE1Df40zb3eL62d7
bqfmS+VZ5vuSlsjLW4ak4QjarLeh8pNnm7vWlywv4oj7uf259aV54/HYejCAljoUc2skiLU5CJZz
hmbPqfLcrX4t3e1TrKFzWp81YC2PrMqgn8Z+MOagKT3+ZUky+sjthu9LE53iG9utmU4F3FR2bbou
9VEscAeJR7m8rajFw96IwXOD5Rtb0bzOp6mommSGCJXfShLFTuHfJ8iMoZaJjmKr5ebtkNRQT6Gt
U+9Mu+lCVwwTC01nSLfulc4mlAfCzEdrbOMzIJgi+8Wo+RsKeL+QQ7gyUFBBZKSxAbhpPCdq2z4s
ezP0qR2Y9ed1s9D8fBUxtBTugktpjpEw2fnjLOvAllvgQp9pM7dcsSYQsFXThkQf+HKBsJnT+d2Y
0Nw6GezPAtBtSPGubjh8jeNTEUNyXErPm2wSNUv+KGP5o2LGVspDd52VU/YbWqXDyMfIoGgdA93B
e2PIgwBraihm8iWv+/36eegWoUQApJVDxr10iBpvui9jumuSeGPoi6ki5qjYDscyoQJpgbxMeOO+
nb/LNsHzx8KCvvcZmojGLORg71hfh+5eKe8+dENk3tCcRkYVRz6JH6pc/GRQBNo4bN1iFHeWSsB2
u0SCbz2p4tBKq9FBEkr4e+lDQtB2KZg7hjQN/Zr0QdyB439jYs1dVhEgJWO8dUqwzC3LPVQoG3t5
FZIcLRzVVTunknX5tu3OQ5mh4Fo/Mfdx8WXg5Btpo4vpKYZmmX+D5dkUjSdsQaLOkTf+4HyW0owD
MMuDg7f/SRf5jRlbfFWam6xiOoaSGRlQefhMtuRdOnbnKHNrHX89x4XYTsVyzPkikVXN7Kjw4bZA
Fp/eQkCPfHJqYzkm6RSHFMqTuxpY0hsB6rzAifP3uLCaXQeo31PsTGmQD3YTZsyvAvwPOVNIUwMX
3MzvQ15Xt4nTmLdNLPqdj4zV3qOu2M925x2kM9qBA/bqkLoFurFmzkOwz70vjTRv0V99D3gWvc1q
82vpmt9yOZsH147vFiuDMReFeSzRfrYkcglLv34fQRoSWFQmASrg1SEnKElPA7syF6XiEKt6kWbB
nTHyQDGY7N2x615blDnfwVPd3k1T2tz4XVXeXHV1VWSiB/mYPklwdQmlN3zsdgQBYjtvBLYal6Ki
EuekXjy3gEIA7a17p45PWeJ/8rLqff3Hawz7L/Diw4dk3wKqDgmZOmqGlxoCVp3rhi16hP1uw7A1
BqFCEUt/QD6UJXNUTz0J0zn+RVJoK6z/el0TKT3P+uHnjyCbSUeZOECcFs3BrrxuBn2BB6VTo5Z3
aDVpQ4h/+88QJ0oegYU2DkmXGTuTye7NmwYjhHSOeF7/MbqtVJxz3ORMLE4MNPrMaxjHePTMoYOa
EDoN2mbDl2mug4qziEEzUjhFY0W591Z4NsRr3pN4y240z4sKmDAtd4TSaGmBEv1o9RUEwUgI3EQw
9PfG8FaW/UuxxTylW4fikxNnQZOktGA0Pfsjm+KnlXanZqn8jUhc4/NVmqmKV2A8ArcfWmrd9mbM
xeeu8z/5/oDOFih1irn9zUb5Y/3kdfumPPts6CqZpKX9NxvDoAc6GX2Qpxbw2UfhPxZnklGxJfKl
Ccr+4+xKluTUgeAXEQEChLgCvc+MZ/PYngvh5ZlVgASI5etftk9juWki+mTHHFBrqSqpqjJTr+A3
yRh7AooVJ2VC+TmpD23inQxjCDyjDvzWWcnILtitTl5IeBMPqsWVrIpdGuTzUIWuv/p8Wfo6+dtu
s6zrlJ0q++Q39V3TQ1bKyuoYECdRHCDj+58hyofYqf7DO3OrmPujGdsBgNZuDuwSMtSWL16ub93C
atra1okyY1PVp/bJ5NZ744o7CP6gMWqgoajFD+HSNXzSgnfQW/J8m0qrlWgCNhgQOh6tjrR3X42J
uMgLd0/XZ7NgVXpjnltUdgVlenGiecnDeSCvRe9HlbFWZFjYNr0dLxlR7irtwkJVDDebyXbuu7FY
w+z9cdoXrjd6053fUDNNbGGe3MAISrDa3yMfWG75k/tFvFMH5JMbv0W+IrR+dCd6cCJ+Jw5ka2/Y
HpKkc/0MwiBwE2cv1Wf8Iz9nw9YM1mTYl5b2vK8fIg26T52iZJ0NnTWvfIHcQn5fOz4I+SRuGytO
6/IZIToQdqrMHrDhzDx19DtzHkFWuzOnKoqLr7ccDxQI/p4DNcmUGHlinqg7vXq53EwVyHHwGLr+
+YVoDNr1v7+fFJ1jsBlMhb3K3MiyXX7wIaK7qyAncCdRNr9LcUv8Xch2eDBxV9zRHKJsCRddwEwz
2ec2v40HjegZbMg2jqD1sIoTBV1mIAH0b3IcIcnyz9cnu7RX9t9zHXN0G1S+WUAcz9rVTru1c++r
PauT5ZN25Xpz2dyInrhm1CqJ48YIkgU5gi8OqlTzuIY1uhy0CNU8HwfeFw8VA8R0kFYZMi/IjOeG
21t7egURG1J8Y1SupeAvGw/Rk9IWslUxa8z5ZGZD2LM0asg7uU2DiugZZkEcw2NZYZ5QaN94CiSc
RhaN3lo9aeG365llWjmQVbGBX3NJGg72tp+KsFjj6VgyGT25nNmiaNEBfK60ZPSzN+PUBkOVJWkI
wfvyfuStAyVEY9qU9aR2SPT4UVHMHd4Xcbppc1NFxGlvcw86gtbiRPlGnQLLLp9ImgeWcecmcsU5
LC3j+e8f/Ccy/glta38+kbkPivZddR0wqjf+8rMBffg4YtCcdKwyUW9JrY2dDP49hLC8Y0pHK7pu
7wu2qCckOUnAvTa48wmiQVGcFQEAAZvrn15aGu0y5PpTzaoYGmfzlEaZWR4kiNfRVba9/vk/nCD/
xlXyT0EUpJCT29Hh5MfZ9MvqWl+GZK7Q+4m8MdmMo8O+zU7rF6Hb0BHb4nPuhNAmTE+tjapKYPcS
6houVO+3cezNx4nmAxpehvg+Qd+lGXiEk00Fma4QMl3Z57xnI9+VEJ97cM7Sg4mZmKHoq2lvUQXs
d06c+zIb2PfYieNvjpDxM0vHdlNVhB5UiappgsrA3lZjFTam3Ued1/pJIEESAY0+7nqhUHVchszq
hjfUHox9L9P6yShaMGwCFhYZXV0eJ6NGa7bqplB0zWvD/WTTtN4ERcc6flO2koda+BmkcwYDscFP
70RjmhGhvrGHsFnxy8tJv6W8RJcp9ZG3ZU0eh75ZtzsGCey9hxzHPW28/FN8plBooIL4ffRKpw1s
Hs/HskzFFACX3DbBoLLq5fpeLkQdHS7sA1rjg0RoPqXgtQga0y3CrACGfobSaAguy+frwywcdr2O
ISdLWi6Q5CfThvwule0YlFy9X//4whz00gWda1fh7ovjjpb8eHqda7rLpiEcxp/XB1j69drbsrTA
jCWACEa7h2cHvSv7uyb11ljdF+KmntbPY6s2LXuwTmI2+6gHTnczTxnZJsKnUCmUFWgzCvnKJt53
QSaR8LhtVpoDTcGoYA1z6iJpqcxNKUgTNgbEl2/7+nktP3hQ264MYg+jQG6cJGDjaJ+E8B6vf/tP
JuyCA9LRm9S0k6ZsgXi1B6U2EuXAx0z28yNJrfSNNo7zXiCXsRn8lD+Wk+GFZtqoB5Pl1V46/ozO
Gem5Qd6kBn6ZQU4zuPggQD2aDxKi1BG1YmcfD8J9YAq90DKd+sjJR4LlRyV8pUFwwUnr77d2SvrC
cLHts/vM3SFwxduMQun1FVowCf3dBtXf3nMpzJpn6TsC/QNLIQlEK36X1nwlyiyNcc6UfNhhCkVC
kTUz7mAqQfkDhcHQlNPwEk+Nv6lcE/Xn65NZMBD9GTcPVg3pKgTjvM6OSSuOdZHDK/pGOLo2qNxI
u2fCeDf6cQXTcJ7BpeOlxc+JujOVJe1PZZuIoOihnjyADynwgErOyqoNiA28GO7r0fUJLhwFHc/L
bUdK4DbRlp2gWJ/73UMeZ3lYIAV82wBaJjEFJRxQGhO4roXRR27PSChlTL/lVmetvbYXJqFXdKBc
3ZhsRH7Hz5/daQ7BaOmptd7+hR3RqzlJTeoa1YX4mJIOu54EiftA+g3FzqjuZ9beFg31wg5pzMGR
rCtOJZuCmaNADE4qnpeRKNeIAZeW6WxNH6zGA0yzVBMEbh1cS1x5Z5QP5rASpxYsUi/nkJwCzE5m
CM+iYyBPz5xLKqJO3SHpOoU3HSU9Qc4zmyWOQazTBAEfyGycBO3CePIOt33e/nt5oN0xcT+brFMR
f3HoEBi43GfO59s+rtl1zl23bmzbAuuc/5BJNAAI5b5RFxTF1wdY2gDtCdxNArzapeWcPI/1u8nv
X+1c9Xfc6/qIgMZ5xZwvQ5co0WGeLbHyjDIku03D8t7nZqz9oEsK74FO3C6Dcayrz3PqoVbBBjtM
Bhf9kH6xcfvxxuilV8Q85oP0FVjIU9Wg3dVMQpL8AO3syiFbWEe9AmanxpDN540SXHzHk8uC1OzU
bN1xZD+hCLbmspaG0Q4bMFYC3CtIh5SyLDbgnpcGootqhHvCEc831w/FgsXrFTEuLMNgiQtxLbBO
pqLbUNYGvm2vrNXS57UzV2VdlZg1Z8dWWfsCxIcBhNv8CNCPNRTJ0jJp0aNnVunSlnlHCzlzJ3ux
GxkqND/FK8d5YQZ6CSofFYrJzPWPWKptgtJv45u7ri9XXMrC9UEvQoG4zUlHDo9bp44IPWgcHbok
zlRQGLaxH0xR7JJydPBKpb9kZa+VEpdmpT0aDAO9rfXQ+ceimr/g5vXizPUny+9frp+qhU3R61FT
bFW9M1rziaJZI3UCm/C9wZtvQ56vXSKXZnD++4dQVckWisxQmT6VSO9GQpbTvp14EqK/bV65+SzN
Qnsl1BWn1Zzn0G1N7a85EyK0/KaPLOHtrab5fX2pFnrbyJ9c2YeJUOpkOF9QQUlV0AIXOO3qIaiz
YOKhQVHZBdPXSgA4/+4LN0cd4dtwaBumrkAOOu8/1Zm6Z7O3UopZWirNzocU3RpJ2+IO16Akndpb
lr8DLhzWuXvjZmh23jgJVLkHpIrK+hukBiPpjodyuodu78rqLExBh/MO07mfiafTiXlOGQxtZgeV
BJVil4I/LJ/WmpoWNkEH9lrFWLqJiunRy3CdblwnCUYneb5+mBaM4h/IruIeYX0TH2f/k+lUoCTy
d9Xk3OYKdWRujFcUOLihn9sVn9H7uJ9HFhT+mktaWn/NoIkJtrEihbWZjhk/U5bMR+HF9h10Ak0g
z0BEd32NLtdAiY7EBeLJAqgKutu0UQeHVP+VX2rXCKtR7LKU3NbRSXRQLihCzHFGi9ophTIt0Jlz
EUkFQgaF/urbYqtJ/vaAOTeEi+ab+FhjbaAyhZ7OeWPYycrnF141ulAKUqSKFPOEdXKm7eDdebkT
UoLm2/sS1PdkTW91yR40u87NarZqH8OMSbyrZ+uB12u0M5d32tJhuSwp4rpmYjrFCgRL2dxl+1oW
2bOj4GfdYfR2Hgpnb9eP1eVAbv0D0jWZkqIazhLi+XPqgi1mYHdxM3/1BrHP6gxFP4VWMtBur7jc
pdlpIXwqM6OcQHaK7be3hEA8aJJzWBAR4jx8HkW8xuB2eYcsHac7A2OQygYiS1Zr1GHmtb/rwf1y
fdWWvq0Z/VSyuFOTgoCT3Z5L7NYP37qN1N/ScbqyEG5qO9ArV4XxzU3VjykdvvApW0mR/VFA+zec
Wr79t/3N3jTIrmrBV1zlFt7+bvdQ2pX6UXVm9+CyOrljfeFHTpK7d34xJ8cqxbkjRT/dJX3MogTq
ORuaNM7++lpeNlgUXv/+PQYx03QcUuCFhRiiBrzbT1BsbH62vQvElEnqT7ZCYSfyeb3Wx3rZZ1u+
FvZjEY9mbTrs6M5f0hoVFUnBgJoHNFtTgFwaQXMPPfUwBmny01Q1h7JzXjMX+AlK6WNtZjcxpVNL
VzxREko3YwHVMixSIKt7UPtsZXYPgZXAZ/9d353Lodn6R3OhagzqO2iWRv7uYZLlyYzLH5ZNVhon
Fzafad6gRf+nZDKbTp7hlY+UDD4JCje2kVaduyhHw+CbjCFrmJWDvYayX3B5uuyC8tKZA3ebgc3N
vUOxs4iMOJq7IbSzJ8JRGfONOMBVZ+3qtHAWdCWGvKRVYk8w6MLMojpJg6p5cZHdtfy16vfSjM5u
6sNdfPDEbPHOz091Ntg5+Eeb8Ws2yzZsJqNrgpgV3r1qK9Qr3Ur8IO60ptG+4Ad18ZTEA92uhAbJ
CVITR+QUIC3evl4/eBfjhOvrde7JFLRi7MwUbVVsx/3UjXwb2Rmnww2a0jR7BY7af7xtMM2f21Pv
FiND64OXf7Y88LiO6Dh/B5lKIFFivz7GxWOACWmbJCXzWjMHiTBILHmQ0tbZoa9NBEz475OPLtfb
htHcO6iWC9XN4JVt6uq7aaPP0WPq2KTmr5qSlRv1xfOGqWguuz/X7ZTEM7wkkKOCsgWSr3vffq89
BPAsKOY0AAHgymAXPRAG05y1V+UQhJ3QAkMl+KPRwPnmzs1r6qZrL6ilATRfjbpE5iUyB7GorHYo
3qmQVuQnaONXSqkL39frtKlTyjwpKdSAmYF7luzzZ69hVWRU/VqHykU7dH29WpvUZe6Dgcg8qj5O
QtbIH8KPVwo3Sz9fc9Eq9mLLZT7YFqlZHKamqe5j2fWhX9XtyhAXowB+/tlkPvgvkZRnprbWPDa9
/w3sKru67gHJFVgyjkw46vXbuJvWwFgLnkUHYykupNso0zx2rfOcM/Vryrwf+WBu59Z/Ill3C8sA
JqXZO+IaawtHtifHtB9igD0Amn4TXb8vGjPsknotvFxOXGMgzeKbWEGxMZ3ocRxF1BlAGNVB6zWh
ku028xy0GzcRSb1HNAdEXVus3SPPxv7PPRLDak5gpkXmTgI9b9iaTwK19s+xoiC2JWYellNGXxMU
wwPSus2PJEsBarE9GbTUOoKsfU1gZ+nca76hwi1L2gQ8/qoVkaugA+WsXEyWTr3mFJgceU8GR5xD
6m9K1Se8JsLBWzkbC7FAr+tNbmEkws0IKq8824KX5zVVLXROPfm7no2f1yPBwhT0+l7RjY4j3Kk+
TU7z3NPh28CbvZEOKw+5pTlofiHva6fIWBYfe+g2m+jtbdHF4w9lwPuVqLw0Ac0tOIxBSri3utNc
KEhEGll1qCcPjV2id1c8z9IQ579/8Dz4sCHtGWmtLM37h6SM82C0OQ9jW9YrcX9pCM0PEIHYBY0L
51h1X20K8VRqRj1Zg1AsfV0zfpBVoEU4Fs2JJjwCg+PemUREknF72xnSjByk0pMwUKk42mO5SRL7
Z8nKdxdatOH17y94/n86+9UwO0NWuMcy956auDpYnjGGsZGcbMf5WTnZHfzJyl4v+H29OWROJmX7
cjRPBc8kCLhVpIj12OXe56mZfydsLcOx4JT0PpEJ8shN7NP65Az2q+Pxp7kkK35jYbf11v7GqFnM
pA3uv3mC2F/MD2h2NwMmUb2/viFLP16zajMBc/Yw0vkkcrnLLQUCsmR//dNLP14z51ZO2ejMZ9EV
tw2mcT8ZPCi6NbmchZOkF0+TfmzAgGji623PI7/s3qCW/ARIWdSjyy+ocMyQHZ9vu5TqxVSzHOtM
jhK9rCU/mCyJavC6+zdydPo6nrBAaW1ISghWSSxVl55ylwFYcZsd6LXTuq2TsvBACzCgXGMl70yJ
Xcpe0rIOO+c29mlfRxSiq4eQoYP0HUudRzByAnoKDErv0T5qTLgSECWunNgFwk9fJ1GWQ8msuQTo
0ic/Z6vaULt7jadin/KvPPYORuLv/DK+53b26KBSjKaz2y72eo1V5bKo0DYHvW/TCweXhcRLQ1Un
0XV7WQiweo2VpwOqkXZvH9MsNh/mxBeRVbvO3lHGuAVAON5dH2fBLnWa5MIGaSL1pQ+BIv+VmvFn
JwfvDtiRVmLIgkvRq6rdQEDy3LuApdtjQPP32L/tBqLzI8/oeM683EBbPhHf+JAyEJb494Qr9NuP
QJZeX56l8/UnkfrhjoD+Y+rxBvcoyysijxNjowZphJPvVPvRJAyKLsCSf2p5Hm8Ij2lAzJZv5Ozg
gd/Zwl055wvLqBfJOshwA3gQyxMX6h51vmOexis7tOA79QqZReYBjX7wnRkD51E/fMuoCcq+JP86
GX40uufCYr2WgF44bjp/7VxKA8zJpX3kk78HGXAdGl18j3vw6/X9WgjzemGalwB8MQeKb2Uu66jM
xuSVxbP9gAd9dqgaq900hTuu2M6SjWr3o8JKSZaYk3Wkicmhz+Sqn31lsiOGbrc0d6qVcRZ26M/b
78MZTHvkooAGgLqBSSKQRYVtMgaWaoJSQGghN4O2XEuPLuyPDl1NUIdVOaTsTrX6blF/Z+BqD+69
lVO8sGB6udrvStCyC3x9Qh//ING04/VItr5k2bTiNhd+v16pxm2ytB0zFSAb9ycQdEMTRIl0fplE
Z63cZBaOmF6LHdPWjlErsI7dkJgBB+NzmBfuC7Cjd5wXzSYT5Y+bDrNejwWBgzAAkiNHFX/yhznK
qk9ePgaKF0Fffr0+xtKCaWc46wHL6jjyIUNpvaNO9gA6mZNVQ4bz+veXtlx7pJtgOEH6vobOBa+3
suJhqt6GlhwcvhIHliagvdWt0W3lUMTZCTzCd21lf8mGsgr9pFQr/vGy62V6RZa0jMY5l/ORIJXq
5MXeHYfNLYvD9PorzmSP3DOzjrxwT8VQBF77CO+1NYy1HMnlw8r8898/ug7WgVrF7Vpwysr90A1P
IFm5J4k8JEP6redyLQ+1NM55+z+O4xO0zCVze4IMbVhaXyxIKRKwHMXpj5mtkfYt7cT5CHwYxC1m
DoIbnNW46X5aMv7UqDUd18sdTchonsf88G3P7s5XLij9dHw8cm884BK+K3O3jcykfoBBhGljncbM
Q8NeMa6VBRbSd0yvx8bl1PvAXpBj2uaPRR7vjV6gwfgFdfLQ4TW65Jv9VJKtKVRQumvUDksLqRn9
OPtEdKkNoxfpw9xNzwkKYNeP9J87/r+ZQfZPeTVpi4bNALgzNIPuHLOGYlJbjvmGVDy/7wFQL9EI
7udN4LSslKE7O+okWGdtYq9GbKtlDu2AOS+8t8bpJIumnM7AB6uiHIK5I/lT18lGRcw3kfRo+rkI
q66cVp52l90VRCL+PgaZWcegIsLKlA7By/qBDCIcnSdjWnG3f54HF5ZHr3lCpTcuxsEbj0ZfyQig
G5glq8ijbKGAgmJNH5lV3L/5SEvlgQPq97DiZNxaXlweoAroP/HOgVhc2cTRcNbulIbJt54HwdSh
I+RQxatY08uYIBfton+vBSnKZIT6dncy9mo7hfHO3KQh39j7sYmGe5Rkojm8G+6aB/QQ7Ksn8gXK
hds1Guklg9RBvSpJu9r2z6P3QV0GSREUw8YYN/X2DHRsAu/X9QN7OX4wHd5rTIy68PDdyfEfRB/R
ZFPR6LZPa04RWjbNqHqjA+lIE57JWBPDCM3bIjeO+9/bY3Db8NLaM481aZ/GuMsCVSZbs+ffrv/6
JVPQtr8yQSYyDrjnmHU1nowiGQ5z0dN9jdblx9Qw0pVE74Iz0vkvS0mqmuXYgG7I3jhwqEwlK8mO
pSloGwCO/UaoAhpeKvMfZlGF6syMlUz+cSZruY6F86MX+IuiTvzKRzONzLtt5SIJYHbsc9saK+dz
YXnY+e8fApOfg7WTzY1zVA59qe1sVzjFLYhCF/V07dP+CN/SorjK01G8d0yRh77u4FSuH6ClldGi
TNaORjJPI8fNLH/pTO8O0L8X6a7JBi5trnazTGazJojPwEwn7yOe5M70iOaXEIXulVB29vmXXLVm
YAx4eOVAFvLUuL/aqgzsIgF07Qdld8YfYECyvb5O5A82+MJIOvM/OmxEYvdTB3SGs7fBhOGXdz3h
W9eBOHOVhbzaWOldJb7Z2SYufzZzHmSQuAVGL7Bnsa/jvQN2iIq/ghUu9qedzV4hj7Dj45ciqzfQ
fI2U+JKr9Oin7d52dq107wb1gq7SgCKrgWZtWX5PxbGhNEBmqTGbyIVsRtptMf/HWIwIQg1KPGCr
typ0vEGB4UE5+0yAOg8imXYSKCEDNFEEjfxSm2YY47/xG1grmBPV4nduPjSmhU8/AULRcr6dne1c
HUcy74di47n7GBVKpl6H5Ldbz08QQwzdJAmLZD8nNIBWKlp27+Ku2arhd8O21jhsz83N5lkn4Tfa
eQ7xkG/MsozQkxm5FjAhoMIa3kAwFQxeNI7ffDMqsvvsjPcGzcgQh0mzQWPJUB7H6ZwefjPnfZG9
FrUIh+SbeEsN3ECCpIkyEFHZbWBIYFgp4JFlG6icBCBy3Rsx6IAnHlG142zvgN17dswwnze9+VJC
TmECD3fOfwk7AtVeIOKtxV8SycLJvTOhVEleiPXq4oqcGwmIoXbZILeduI/r5iS9LjTH7yS3tgXg
kkbz1DCkykkC5JyHXdumdI98bTIAo7CT5hiK5JTRQw31YYyGK0RWR7ioRiWQMSgHW809bq0ErQ11
8jgpK+CFCdZzsZGoHvRgIRLOJk0Bk5yD3vrRuveS0q2BgMvRHTWAJqbnVZi25hZvhsDKPzfA6ksV
AmIbNWkZWXMVCqD6ei/0pm8O32aVsUEjbihxixJ3QsqAD3fx+G7UdpBWz4Jsat8LnHk7Ttif8vOQ
njz3BbYcZFBs4SbCMAg28HTYSg+zH9/Z8OgiJVU6VsgGVJXtAZnEIYCEblDP950dsPK++eWUuxIS
h1/tPqj8343xn5X9h2r0AMJpoSJI3Wyum+vCU8fVHLKowZLT5bw7mXL+4fnstRe4PTtW9l1N8imz
jO/Xx1lw/LpcRztbIMFNZHcCV73cdCbnj5Ut7JXE5tLXtYchGE2gkK5SuJx+yPepMOOIlo23v/7b
F1y/pwVeI+7BRJ146jTTX9B5wl6WkRun0W1fP4/6ISQCrpbOoLotoDOWjqD5cOJmx9yeIzHqrPXt
XO5yAnzi7zFkYTslgkt3kkmdb8GxP0adpexviZ3VDyCqy44CjyZQWZmQjTFobDxfn9vivVcLynjh
2GjngGxHXsxZEs1U+UVQxR0UuLLM3CMNOH93bLv4mvbEiOy0lbAIwdlK0Lt8Ljy9gx68DGigj7vk
RJV7dKn95nTjbcVwtAf+vaa+hVyKwD3yiOaYPadORDvnHtC0FcO8zE7mUj1TY9ZNbeYC1B5gKSzC
sYDqRtYJewORmniGBzCoGZCuH58nIaaNX/Azh6oyXmej5VtrpvHeMxA6Zyc3o3R20gnYtpqHjjPL
Hdh86ZvHauu+7lLngKQK/U1FVeyztLXuDZ5M91waAFKCCqj71KHv8weNTe+zlZ0ZjUdmj2GRM//z
wDy1q0nm/0xwhtfyCJftjeqPbjfBPHwjkUeExoNRGltD/DYNtnJBuWwLVH9psEKBaJDZ4jgJyB7P
FbiouiNM7Rdm9Oj63TYf1G+ROG/XTeCyg6V6Z3PbNL4xW0QcTYsfa7d4jNGXC62EA5padlYMZO71
cS4fdaq/9fNuyBk43+WxNwGy8OfHuaz/u+3Tmne1QNNRE9uVR3/u9yDbMYMO52vldy9stt7CPHGH
AzkDBSSzEN/BD3Zfm2KLrMVNMCAoy5zH/eBeu0HY3kDK7mjkk4+XN3TUNn5iWMFUS7KSB1naY829
WqbheQ5J+JEPZfFVWmAUAUPRCMkupk7j5CYnlxKx0q22MJieZo0ZL2NcxttjNoD8xyDGpxJXm8Cw
BIDkLhQh+cpACzujZ1vrccosp5cdnpf5o5d29+3kb1F0+nX9VF1+kIDS6O+NUSLp+7aDlWdG30Q1
L6qgrpxHUdVH28l++DQrosJXh+ujLa2adgzcBjdGM5HqqHL7aaLeZ4DiG/A4lWOQFdO7o8Z0xb8s
LZt2GEbQXRHemeLYlSqJPJhlKO3RDtzUX2mdWTB1Pc1qmSKDiARWjk5p9WA3NH0GpIGtxOylr5O/
9wV6sEY1I+V5lH36zcuLgzfg9nx9FxbWRn+jq8aaKjWb5TEdPKiz5HKCFBLBGwgX85WQvzSE9vMt
okYzJ4V3oA0ePk9+P0ZAYt22t0x7pddl6wNlVoujQxq+S2uTgxMvZ1E/eWuJgIXwxLRrxeDnYual
VwBNXxTIUE41fVbM84MGoXjTW2XSQba6rUICkXAVzFaz1oOwsHL/vNtLWsQgHvQOsiffoZz1OZYS
ZpisnNqlz5/9wAdHDFIygkg48OPochXkkAffmb4poSIF0aDrx2vh6OpqfYbbev3AavdQmVa3SWI6
7NqhXaOsOjumf/MaVH8GjLXo0x6sm4eyYmFVforxijNYgzvEiuUtDXBeuQ8rVObUGyX0c0DVMLYc
Ht0eflZey365Fo13JGbZ7rZ10lzU5ADzYCurBADXETuDxO4d77Myuu3r2p1/qKAOgudGfZxyqMQQ
z7PwnhzETWk+6GT9vUhyIDHah+Ly2HXJQ0EHtCWuqeksrb9m3WiOqbtcSX40K/vVAjXuXWIB6mYr
53vruWsAhyU70AwcvDigL/Bzdewlw1uyjd+TtPjaJGxlgRbiqi7W10Li2E1yZhzbLhveGdi2ds00
Zz/F4BT3dTzYD7SyZBKqpktX7j8LzzzQAPy9KWKuHNb3jQIuHYLufQzKxC4Zf51bVwwGbKxq3f04
G0eAZX929pqWwIK503Os/2AvvQIjsI/i3xFidGBTKF4lXePWX1rE8xH58Glr4sKoTQ9cYjaEP3mG
RCF1k/u5nd7K2fs2q/mO53Ilsb9wN9FpjDnYBwbkL+Sxa9JN3rq7XFU7P3M25fRsgVbjtuCrUxSf
Zel6q1YYxpdviWd/T3j+xON4TaNpaRqa3au0yUy3N+QxBbhpQoo5c9wAgNdAza9WfBNdjkt1jmJj
Up4jfczCU6jSeUiSDXn17Gb093XvtTQLzQnkk51Ay73FKnlgATEr9mj41qNl0btODVvZyrX25AU/
oHMU9zzu887Brk+V1+xyPjkbX2WQdc/KZCUttjCEXvOspKpb9O6JYwrasshQ5i9pW3Y4QWv4psXS
y5qQESwsw8ZiOQlK+nVvvCmPb50Zec2zzsvYshUTWZqJZupNiWb9qsDrtrWeBP3iW994+Xp9Dn+a
UC/EdR2eWRhDWRpurY4M1f77cuIFMrKTolug1fvfyhY10AhV91wVjf01nun0xc0l3YyOKo4999i+
t1y1TU3f2WQQ9gm9FOxwiWeAqnvk9q/rv3LBIel1xbiaq8SKY+s4+P0hs+lDnxivdtHdlWYcNgO9
TydjjQdkabHP/vaD83MgiufVjkeO3KY7nucBcIW7Xq6R+ix9XvMTHWOmAIG6ceC9fIEO65sLmrVA
Tmt0rAthXId0+my2KOvr+CDJf573DIxwkCefyHijUWkOgjUTM3O7ig8cksHla2k9ecO365u89Mu1
q0GcoBUohYzXAVLfZ+519TBXyFSUlv9kpP1aem1hFB3EWXCrIhXJsf4qCwdIq6bdD5HVgZH/vD6N
hQ3WIZx9YyHHNVPj4Cv/wTXQ/FMW/NQaMl1xO5eJH1yq6+nRyjXMqZ/jgxmD5dUYbPuOZClY5rwG
1J88m8wI4tr5z54P87Y6a/2i5bg4iNQQT7MC312WzXznGU5z2+NGh31mBantycKa9uWXmT2R+B7y
U9dXc+lypYM8BXiQYtL3xqFWOQSTHEi4IkBBW6Y6pAOqki1z7qexgq6snzQBmYWztsxni7zgGXXc
5+gYc9pCJ+XA0YjKgqrzjSfJfZBZjANrHlsIrR5Sh3pf6ooN4G2wCujfzICpFMz/AiIk+gLUntpd
X4elY3v+kR+8UvI/Z1ey5KYORb+IKg2IYQvYbpueO0mns6EyMogZMX79O86qo9eYKm87FTCS7tWV
7hkqV7LsPOeWudznOX+A8+SX0sH9c9LeXPcK7Wwx8dlJYoFZjOrUqwpAxYeXuvtcXgkstHQlV9MY
hGt3NDrCC/zenn+ZhuWhL78jYPRYV1YwppZFuhriDGiIJWeD7teBQjjIzaQ8GPV0n8MvAjrLy3UV
pc79zFwXKgBuFZ9QyKTQTx/80VLFPuOs3l2ekZUSXyd+lkJaQ+WkiCsp2mMa8cgv7fzKE72u54rr
QDoKzqPj3P5ord8RjK1Ao6vQCLv861dqSd2cD+4WWUYjKzomsn9J4rhAWcwAN0unHyTlJ4JW7v7y
m1ZSri7tCn/RTPFRGkfcRMuggr5WoJaOeBSE8I2pWKlAdGVXm7i0nkYzOkqZoQ3fFZ8KOdxNSxbS
IXkuY3j4VvPGu9YGTov1dCxbUXUYuJwnfo8e+DT+FOXvWBaeyT5fHrKVfMK1YF9KoQROQdhs89Ev
wQuR/kzP0k1b4NG1OdEKBV643EVGcUAEPXLcAndAwAKCs5Gc1yJDi/JMZn3TL/j5Zc+Ooh92abZl
xbUy+jrrk7O2zJw4do9FEqubwskCK7PuYfH0AicH4BEsujEFKyOkc0Anu66suUQ6ZNWcf5qEAUkm
3hav0Gozrrv318XBk7KVLrj16Um6L6l4KarqyPvvKfvRVnxj11i5sdXVdmPCBlwLsvQ0J/0XQRK/
Kcobk1qYcBBCHIvNXj6pG8O1t+Cka+N2/vu7rTBLyjkd09Y45tFJVXcxkE84jWwsrLWHa9W/6xq8
nkeSQG7116KoT/sf9qbKwUrQ6WzQOufDkoxteqpz3AHLvdkS30ihvFJvicaspCmdEhpx2o79iDKB
uThVuLH9mXDxvR8B3a/YI7UxVtKtHy/nkLWx0kLcHmD46VZ4GZ1fmij2lvyYbGEn1p6tBfiI25lF
0Dk62tOLS2bPbX6l9Mfl370S4TrdE8SoVBoqNnBE+hNDa8LMfwDKCKvUDiL2bHf5JSsfoJM+S7Os
bLs9VwfdV5g8AqjV3eaT/XL56Sv5T6d6uqBOjK6JPLFE7EAyAVSLu3EMW/vh58X7LrwUIVUlzrsP
hKZgfTpChoaypyE3t9pgK2tUZ3tKmi6pNG3nGLW3HUxpedkEuHLyXKDfzMII2rq4rgLRCZ95RQfB
ZYQKhCjfyHovHjHNy+SZdeWVWbqRM9Ymg/87YjN0h3jNuuhYk/J+LpIQVhobCXwlY+iSuemoljRi
zDkCasL8jGWfsg79YqhsHqu42XjJ2oxrcZxF3Kkbit8fpUBnSlh02w5AqVf2pf6e7N4tqNQ0c5JY
53M9Z8+Fak+CbAnnrfxynYRoy8mC9YGDw2FsfWtED5TP3GR+W9Vb1wUrc6uTEM1mtLMGd5KnLm5B
3ekz8w4d3HajW7EyvToVmPbwA7aXNjqavXEA+c3rzccqHwE7pRtzu/YGPZrzAtqvELQ9xg7xWfvd
lSqQ7B4L6XIiWglmnQScpakQZY26WLXZfcLbnzJXD7Tgd9wo0bQbXyXf8jRb+5TzFL1bRyJ2XGs2
hXOsJ+vEjPkwFvHzMLlPAnjWy1+ztp60SDbJci70UVYWC4MUzuIt8GlxMC+XH7+2mLSiu3YbZzFh
vH5yRjbslBWlu0bgpvjy09fGRwvjCYbIuQll+FNJYvQfKjTI9xCt/jU7E73NBLvu3Cj0G2OjLsc+
byOEhNEQKH/MS/sKEXFxMDta3tKhTLY4lX8Lo/9dwVhC3yqKfup70OamsG2NFhvSMO2bTJhNIHFV
ccAJPPlc2/YwPy+MLc8yS9we2pywWAvk6PLOy0zXCXBYgyx7mde+GM82bO1oOlVg17Q/WrhwPDgd
b78VDmGTNzfd+JbZDnw1FmlG11nOCX0fYpzhfi4tzDDJPjf1D9OECXy6sV1/GIAYIm3Jjq6SJcCr
ZhgnQ2ADCkVFCqWw13ESN534TqM/l1fXh6GB92hrF2kkiqdxNMHGv7Xn2CMjvzFIe80NoiX0RDi3
dl4DNlSiYZqBaGDsCKQ7q2naXf7xK4NEziHzLnUQWwBSYEX48Q741h3YeLXtm9k3CqcWibtme8s0
48MIx3ecR+/di5ZODVaK9RfaM3/IZQ9qRnXNzTseraW/yHU7YdHRCnvQJaay8QiM7xv1cnmE6McX
rXi+tpCYCeVj24C5O6jMcRDPhvUYKRKfLAelWuqY86+xmMhblJ09iCuQhM/YURE9ltTA7xkMfs8S
dErmQVQ+2CDwMm/dJYYSzTwdarSMA5NmY+a1BZgiWRo7DpaQWe7TBHIfsG83YSHoJnd2VmQBeP+l
1y9F/D1X6byjbtkdUrlg7sbKsZ6Fy8r94JYW6BRG8zINk9i3ppj2y2zah3RYwKckS7WDR6XaR33d
H4cpnY/dLAEegmxj0Dqwf6xA3byHSXR5ZFkx+UXmAGzcTICFtCa9gZMcAzsYdgt5AVk8Aibr7zxT
X9ApG9+mWsW4UYzQTBQVXPVGqziZsyVdL2sgV2LMcHNNxDDsoaQGv+SY4o7Tnvp7ON00g1+DD3uv
aN29mC3MBGlv4ucX4AUpUZlhWg73MfnmLuQYG2hPkFGIQ+cW4NE2+VJ7XFjRrUPjP33WxPdoNoo0
gINVF0y4D8Ge0nQ+ZN/R1kh686WUPaST5JjSM+Chlz5no/W9i514Z2RD+qmROeTReGulsxeJdoL5
aVKTYCA19QHqnoJRgSkzKJOAbCOLRycBTCeIzKWLA8N25VZzfmXxmTraUg19l9ddDbl6eFYiJlP7
Noarzdciw61nYAhajwe7zM2nxoBIE4R3S/dzRt3N09qHe6dl6hqIsdU4ZKhh3CSz0Y/lz7Sn4KOE
yXWisXiBtjnn4E3bdEAGmlLzoZ2d+8yWvwuKdV7O1sZW8OG5Fu/QzszMbjuDn42BBH+24q8xKnmS
db6D+KzLjSy0MlD6pXe3dEKkCxIccE67Jl38mNAgQ9OFgra8kYpWvkO/9k5UPIg2ts0QdBPzSNsm
3SdOG38r0yr5UQ5R/2S01DrN7Qi7M9k6O5nbJfNQDZCTkyZ1WJ2Fp03SLZ+jRoFIZUloe43TdOVm
pW2FsqIKgv5OH9rLSHDXRRz0uiXbz9WmiePKbqtTN4wuK82stqtwAlLNbzsFv1GVu3529kO+PMwf
j7L4H4MDHRHLaSOoITnDjtr5l8kqhM8aIwW4Evcu0t3SBvz4Y0ydy1HbThOnKe9D5ipyXKrWfexm
cLhakGFfL3/MyrLUYeGu2dujW6k+bHAwCCQMvUKzVeq5Y6Zzq8ZZ/bj8no/3d1OHbSOnJjXvrBpU
qxl383G9d6SzxddZ+witeHAsw0Xmo3W4ZO1jpopfXe8M3giNo6xstnR71r5AKyOsGQawxsLhGh9n
4H7GRyfZAiet/X6tgugS7PARyfFoObxYWTR5PSuhdREZQMgMMrhuCrTosydupT2UUMOqStC2hy4g
bHn+XPdsLUunI4VTo0jrsEvgseykqt3bfcc2KAV/BSr/f5wxdfJNy2Dm5eJoGQKk3UKMqVbma0UX
+nviznJzbmjcT4CIP4hSxH7UND8Xxu0gNjvyZKSLGXSlYr+7qW58o6sgU5QAncK5PXyqiWEFEEac
7loyon4oJfntst72LBvFLtTKybFvYXZnzPbiV5EQ3FdsqQoYmwO8s8Sx3IjDldWl833SOi8LmvRg
6XfDz4F1dyJybi7PjX2ehA9GT+f4lD201QsCXRpjau6FYGhcLR2afSAqO/xYKGY8qdjq/0BeHJ2y
nMvujrYu+dZGtX2bcwOQB1lmO5hiwIqbKnmgbSXehMqSu1rGxb5uE34q3Rns3rpqpN9l8J9VzCze
1JIVQdyxyeeoEB9IUvZw2FYqLGg6HqBHihu5CuolkLVgpp8yBzVSVdQ7Sw3l0RGNCduVfArNBgbC
JjLIo0OS7IuULQ/LcY4f0kTxo5NaNKC8TE5g7y+fYXua+UPESKAiAXF5wBZvnLmVRyuJyzuwtaKb
XJi9T4iUx4oLaPS4qfgim7TDrI/xLs+KBkBK1AS7kcwTPL26fs59gEbtVxBbiOPLquiz46QcCOW7
QJE6UKgEI4um5AudUJlenreV2o7/b00kda+g2zaD3J/3QQN4ygH2e+BgGqZ9hF809V0znQ5DEkc3
kWL1UzFs+gh/vMmZukQLTNFHQDbsMSzKP3b7NpxZninx5rTHSUDsLn/h2kvO+fDdoQ9wojiG8g60
trCYQK+axwcBSNEnHJV+zhUF1xtmKFtUnrUI0zYJFUVmu0RnE7U4w92U6OnnAbagG/H78UHZ1BUq
rHmceS1tEtaj/UQa98bM0lMZtc+jnR5U7vyZybxxM7k2atpuUbZ11MTVRENOHmdoDAzwb8kmeIY5
r7LbksVY2ZIcbbNok8WZpgyl5BSRt0kVj3NpnmD5WXnQ6tq61lupb3ReDB9isFViNoQth7gR+zxI
iBiwjfBZe7hW1ENc3InnDJZqOdgiUFGChkEM04lx4/Ery0mnvUS1G1lmAs1QbNUmRAWcHTPqLRPs
v8I7H6Rsnfc+8SpjRZtOIbzUOURtrGn2m5zaQZ5P/KvIqQOgBmI/T1u2o2Jcct/BkfnGWKJ4Byl6
UkF6QniR6TETETtw08//ZLPJfBrJeVfPTVl6AjU/FKkgxzDAf26fw6/ywFyLPLcdVyhz2n43Rbsh
mob7MV7KQ6Jy9UNG/QJ60VAGpDXyYysV9Ct6o+/9sqnrr3Fq0jfo6WVPsSPErSUN89hmo3ydsii+
TcQiWy8vW+vAnKqDpWzfpbukacmt1U0QRFg6q38qiFEeBxoPlV9DjfWrUoO7V+AmPCxVVG8xpT9G
AwIMeI6vd9mni6xq7rkFesFQ7ooa+BdV7HAxsjfTEzHEZzt6jdMJxq1han+GOonXZmngiI0OxkrC
+D8tKErKsWrPy3P6DW5ekPXpPq7FoWz6T2ab+oY7bSzVlYRha5nPigY36jnCbJmzXWMkO8hE45b7
h6QzpOp/X87lK+GmawV05UKy+axBbBIoV5iQ+DCkx9OtVuHaN2hJj4E7Hts5MU6TiXvOvPWogRqW
ljepc1oasnG0W8l6OkuIcsut7RofURunpV8CkQIsPQSGcnfXjZJWJ/eJKAT2OTMEJvE7Kdqzmpt4
jM7X79e9QMt6OUsHZ5JQnkOv3msgHcLKzi/jl8tPX1m0OkkIUgVGQovFOTkqGvzcWZaj7JNwks03
wsdPpTE8sq59vfyylRWls4NITUQuOwixz5Z7W1XyEdcHJzJWV36LFv4m7diYxPMSVsm0k3AjTafc
L+XiJ2j4VR00b6br/FtNS6tzjLqpcJ7gMOIbDZh02D4kYS6P0coupHOAKuw9BW6kaejgnk/I6gUc
qm/XPfr8ynfpESfoaoEKXxNmRffKcvtV4lZ6IyOtxJnF/312R0xmpMqkYeTk6K42dZBUtXUztZHY
cTU9Xv6CtQXE/n0Lq5NSuIbdhAXYyaECEeSpzLvON6ZBbJyt1sZfi2fhgMYCclwJHZzsbWjoMXfn
jUev/XotkqVjsHbubeNU1b8MpjziHAnbOlus/G6d4mNCp5k4vHRP5WIEZneyl61EvfKzdW6PEv3U
Lp2EM1bVxZ+jXok7wUv5K4ZF73Ujo6sVMteuu9aEndS5bGQqD+Lly0KvArJZpt6lJVMP7PPZnVXa
4EnD9z5BU7N2tgQ3Vpa+zshpgMDMGSHuSRj52b8CHaFnHr00yZa77NrUanHL7ZJ2iYCFdzz26iBq
Y943rZluHD7Wnq5FrsXdpK4Aqj+V0xKgSY46U7Ctm9W1taMFbDNwKqgDZ1QiO4+wrwMj3vaBYKWE
0G3UlNvktawS+K7KEeh/018KtavhpZenT9aW9vraJ2hRq9DDjND9sk+LWsBvSyN6bj9VQUYLc+MW
fWUKdCJOSozCatg4h4Q+lMtdsfy8Kl3q/JulS03cvZRNmKCn7EWucyzc6V7yrQ7ISvGgs2+cpcuj
hZXRKSLVhF51sSuj7GUs1KGfs33LOIps6GNf/pi/gL4PTlA6tYZaI26pHD6Ew1ccWNo391UoD34r
1i1Hy86r78mn6dtL/YSm2LJRUfxFB3/0zvOieLdljl2zLCCCtqHVqXFXwR8KhzOUE2De2Ax2z+Dp
f7H55P7JqwjiIfAu3UljsJ+TCXJ6bdL1+wwaGrumcZPEs0eJZqIBT9g/zVSeO6mS/46YyT01NpWC
0ZRUD0WUosXYtWlNQreg4j6ZXTC+OHLX4DfOEG15jHw8edzW4j6qOiqEgMn6YDX7Mq2zICut79OY
dj535ZMq80M/bHHlPl7hMEn7dxyVANGPcPTKSL7s5nw6ZpV7Vf5Cz/ffR8cM3kFTn7GwM9sX3FU/
Aw+6sS19nNm5ntmBdqP5kuPRcCN4GWAj7A0lDLcz0D493Ds1/uWV/XEa47r0Xt3MaOo60xx2scIF
GQNnqiGp8W3kJYeQdOr+EVTWGy/7OJ1xoU17ZtYAAhUDD7No9mT6W/bCs8Y/l79kbcC0dK+GAt4R
uGYIGaTezbn2smzycuu1KDYm+y/14P8ByfWUX7OWlpHBsZB803e+jHfIAcVn5T0CsbCTfnvD3hS4
IS9kXwQgwbz1r9Vr8YM8T5lnB1Ds8K+C3lv8r+jpu8yAWho+0jHARkWvbuxM0WByhztD4o758liu
hIy+KSjLdBdGLB42sVvdO701+aD8bjlUrz39nBXe/fx0tmEAM8T4+dw9xpX6Zgzu83U/XIv1GeI+
xmJkZuhgpR3t0hw+WYCvp97lx68s4P9tA2IQrEfbJizG7OTazm90FX4R292QSl97/Pnv7wamtgxU
uxHmtSMVaq3yFPHGJ0O/v+7Xn+fj3eMbMymWjPSAFkVib9Mf8C6Eo/GW5tHarGrB3ZS0gIgL5+Gc
iV8tsY592h2u++FaaLt5WXFkWhEu/eg1I/FqyJwm0DS97vHasas1y6acZcdCZfAHZdk7B+bPuzbn
9ZW/XyvjHNTPeZbZPBxGdgNoUuIVTXbP5+zt8gesJHEdDZJ1FFpshNrhZIs5KFOAuFLyWEGcyTOq
qUSHybjqhoDrmJDeirElRa0ITckh49jOgCU18cYJe2UF6UxI4WQA/k4SanXZGIxoiybulvfXSsGh
kyDV1I6NhcvrUA3qyNDm4/UYWon5FcZWz80YvU7R1o66sg/pLMjYtVuXVtDIxS2382V20eSYrCEJ
HJjPBC085Tdy9F9o6Qfbkc6FzNuCREli2aFAXB9lo5ZdIQtr55Y8u4GRuHWMlQV73Kxgd1Ve08Dm
WXfDoFELjF/PP0PKwdrY2NcWoBb71gQfkRJWHOEgoBCa2EMF/Y1BHpqZFt/miUhc0Kdb9dzaAGvZ
oGqTEi0raYbn237HAVimLj2pcKm/bNWna9+jZYQlt+fWtbMhJL0VJHbiZfN4cGzDz5w/9pZCwdpL
tKwgyQIGzoBsX6M1mVVfje7HYqZ+O/XeTNzD5dSwElM6jbIxzMgqo0SEudVbPrdycLyjLRXItSX4
P+5k0gCDrBBWBCog0IVe1FNVJMWzVAO7yyzXmD2RzfGdk3P7UECmZJ9CUfFkN11zBx/UxfBSSC5u
ZMG1Tz2P87vtrXNa0o+jMENzyO+mafkU5cPPy6O4sjHr7ErQHQpAEVoWJryR3mAPTdh1I9+VwJNv
dHDWfr229xtRBtUIMDjDPBnmm2RR9r6eiHi67gPOb303No5jycZosKArAF6M6K0t/iicCi8/fCUg
dT5lqWSm4N+Fw3Gf79rqboDyRdv+cvnrdc/XAn7oh6XKccUSJs2nhNxmY3EgoEpz0QTXvUALd+ZM
JQRCDFSNdn/s7URCTq9/Wdo0YEJtXdu7GOoP0rVuq1njcrAHEAbg9ygaPVnYOzsajsLg2J7z23ow
Ok/yRHisMK+r93SCZVXBaL518UZn6hD2xD5Zhv0LKOvnq4ZN51ba1Koyu8awIZNx35lBMaoj54U5
kKiCZ+h1L9GiOpJ5VgFPZIZVPPw2qiogoB3lSt3wed64AluJbt1Qs4RfrOtwfIeCv0ACSH8lB68V
VxlNWrh0/Df28jElVleoMsxk90pjyPWbKGEvj85aBtY5LQq6Ab2okfRm1TzYhvG9ycevkwkcUtEj
7/aR40mLfrWpe1QGMPJu8eJOgKr31zkc4/O0vZ/mqQ1FvfMqQ/X/1amn5g1kSb6xhldyi853KVEQ
TiYAYmFWzy80bzMAL9IboQClT91+I72v5F6qxX/Z51XFF2ySrkNvTdXd9iLdqGnPy/SDqP+LxnqX
eNO2izu3X2jI6i/leC8U85r4OSWvNdQxLq+BldpWZ1+W9iyycgRjZEjapxI2gw0Us/rMvScpfUiK
+cGYrY1gXIkUnYZJlpLNUS/rUFJIrdVLmgQ5ENj7mpgbR+CVqdAZSL0FC8hODham4kdhfx63jOlX
1pFOPWrjCPgIIWHSnOe2h07Y8iQSmQWL02YADxfNxrXd2ghpwX6WBUyXBr/fwFG1HfbC7fx4i+W5
sph07lHn0r6bSnCPrD71Ka28eRk8ETUerV4AZd1dXk9/l/0Ha1anICUZrtbT2C5CMDugm8ljeqc6
232u4WEZ2qh5il0+JhA97Ice9iyk6xisWYTy46nfVCZcWwjapl+IIVqWaFAhMKHfLDf5Ydv2Rqm1
tha0cHdEkY38TOGa8+TQ8zs5gwby0qgtAPnaT9cKe1WMMs0nPF9C2wwWgx6bf12emo9XF9Mh/D3j
DoEfKwtpmRYYeSX2S97BCU0V9UbC/XiNMR3CXzVJbYN1pcK0aL0mZV5a8RdmzXBvvJ2iLazex1OA
Huu/e6I5RLTntiPCyuhgbgkXKNp4ihhwSNqY5L9nkP+vYiDN/n3F1NRTnphI6nWADzhZfnHqPts/
3LA+djvxOPvmTu7yl/TJeSMv7h099bfZTf6Ufyu/WWxnBJdn7OO1AHu0f39FUcZ9kbaiDgUpP7Xc
upn761rLzD2/8t3W0lU1zveKMIhpuQ8LcV+MMQpwntz45asDqG3sfdGTUjUOwNcxjJ8BWS8D1UJl
qc+7xTdZZZl+q5wmSI2mesySvrjtrDG9d9x8uhPSXAJDyjqgrIcYaxJbuz51im/4H7DTSLPcJ/UC
K6KmqxLPdRzqc7NX36RZjXtjycqdcOch8cyZCr+3unxHVDO+XJ6TtcWnpZYRztzDABnLEORWl+1m
EJnr6S2Zrp0YLb/UalKLBe/IkMLGHDi2vZUnuIahG/yFtSWlpZdKoLAXGWWhq5Jib9lLc8gq4m7E
/0qK0WHiRc6YAjcFtugp+V3nYDw5xXxPFNmotT4+BjGdPjDncwNZk7wPqQnGjm2V2ZEyynd2VjN4
g5kHOOXQHXdnitU2fbk84ytDpuPPG47Lv9EBWWWs6Tfw0H/RdCtM1sZLSzN4bFWYC6JwiRnEku2G
7FyYVj+igdYeLv/6tVdoOcQC5NJy04SFsKq+g4THg6j53aimDWjWSsbXweYlmC8tmRHnNkxaO2k9
WzT5CXbV13GMH/D3qyphQCz/TVcxbXhc4FXhRGkK6zd4MCXdSCFv2AX5VL1Sd8tmc228tPhWiAiH
WsYYQqXy2eimoAOtZCzSp8vTsZI+dJw5bSyDjmyZQijlQPdyhDLFmwP4DSn4Rupd+wAtwmtV9rJ0
yXlGhAqqVPyG4YOxn7P8OtwQ0/HmtpGaswsDwVDBIAQs+baHzwkg1jtalfPJBU1263Jo5Vt07HlH
mgq2SYUZunQcXhdYb+5hqBudBpCrXi9PyErBynTstWBFDb/iioad29WHAoohQWu15JVNlRW4UQ5f
w6llxwwdnWC0IJGlsN5x0Zrw58u/YGVJ6PDrKK3S3qrdJTTF/ArA15MDuTevl8ZjWm2l/Y+PeUzH
XWc0ZTNrUyyKpbX2ijvgtbcqCYZxpjvFiv6TE8M6cuFk2dC7/ntD8UEJpaOwY+LGVeM2uGm3LefY
paL4SkmZPTiw4DqJbJk/09Z6m902RQ0CQRVYGRbufZkk7V0uXfspm2Z2MwOYAp9KzjbyyNqC0vKI
k8vYyBanCYUxBG3GAwcGscb46fJMriRDHbMtlSrahg40zPkfw+j9AXQyBpfO3vrON+XjV7hY7C+3
7l3pBgUDInsO9QPHTV86HjdBbqc3dds/MSYOAhtJ0eaHqqW/Emaw4+VPWxs4LauMjluzqOnB9Ems
atfVziNO24YXTXm/UXOvvEEHdEMSqzJHa1hCXj2M1Xc47rlXzosO315wr2EvtTGF8I449BVYUFMT
MFV976wS6j3DlnrPx5UC0cn79djILoJBbFhFKTSd7U+oGjbGf+XRepd2gcEmZJrYdFoiepvy/FTl
WzHx8aoleluWGE1qleUynWTxWjS3bf/bRm/FTX+5zlYeX3vF+e/vlmycisykuGoMG/cFNHI0bgyv
7eCvQG6HfEvedSUwiN6nra2+z0nHzRPse/28x6+3HQnl1cnetwSA8Wjgp5oOddCU/e1gi42p+Th/
Q4vx349TdmOhpAZKV+WtHTjMjj0kPtgBt42xS7ldHC6H4Mc5nOgt2yGSSSN7Bedpmw0vTmKRO4zq
/AB0gxmgPoKxa1KSFJoy1vfLb/y43CZcy5bY3vFCx+anTkANxndL4dxAV7MMZGtWB7fu+C6FqOCp
VTb/CXenLaHs1ZnUirDOhmMkSgwGPk30Sblm64EYvSv7DlT6aL6HkNEXuNceezcCTarpvlz+3LVV
qh29gJrjEHvpSChg8RXMPUxvXQfevMCEAhtt5nLXnvVQL79sLaC1hAqfEcoHjO7JVOq2kGLXFWwD
Z7ECOCV637afIAacMHxIClx3ssv7Xf853iWBGcC3Kv7lpMCcVo8Q097FD8vGzrqyOvVu7jJFxUKi
qcUpKc33bZ6fQQuW5dcuvInTtDJ8Yg1wTC6NdHd5BD/eMIgujMtw3uvaWlRhYmbD0SpS55ZywGOM
ZnT9y69YCW29dZuWERkNcFpOkMx5a4mIwfFKQp7zbj/Q2d5YCmsfoiWQJF8smDZjumj+jS7PZfez
6zdmZe3R59X3LvGyGU7s5mQuoWO03F/SLt4XJRjcEWmL/eUxYufw+H+hR/QOrrC6nhal1YQly7vE
G9A1+GFbovyS5QPu6Cbbcj2oYpiLvzi/YvgK/kyWAkCjurs1eQ2gcebA4LwenJfaYc03kdaQoTHG
AjBP0UdW0E+ZETicwPgd+kIbv3plYPS+Wl/GbSJJTk+t4UTe3OGVmUuYV4ok2bhqWVk8eneNq1oU
qMiWsGkXf8CxooHtgGi+W3Lrsn3tI7T8vAgnShcbtMM864dzzP2wlqiDjlZsXrc0/ybod+unNUli
O4WFABhlAmfn4ljX8j6ZjLfLi2flC/T2U2dCWgznLvtUQ+TiaLgy2UO9pve5M9YbTZWVRKvLKVOZ
GkhMDQlltbxyUX2ZGb1uEf2NiHejY8dj7riJTWHMbMHFguJUz52naEyug4wSve0/UIM0OJItIWQh
fAXuxqxiHwj9jfS2Mvp6j5+40TJBJx19LTpAHJUeylpJSC3F142P3uPn42L32YST7SSex+Y77Hwn
+fOqhfN363s39BLwRBg2lQTc8IbdWmbUHkY7nwM3ZnSjs79S/eid/Ywqt1MQOoLcR2oFlctV4oHe
7p4624DCWJV/ltgQAJ2cvcaU7tbmvZJO9TYpeNhRxZUNSllJbqZpPi7EfhaF5edxu4OAoD9Xphe1
5I6KSXox36Lrrnyu3jwV2K3NZujIicGc14vi4j51y7s46/eLCQ39znhqOmzggm1ZJFDytyn4wdbx
vwa9WUl7EgVmscItbpY26onM3I0eliGx3yrbmWwP417AAgfWDfvE6KMc7lTWlHq8MglgPMomXlaW
DCVNWeIfraru/bQpbzJTyh3EsV6WZrK8kUkjLLOqP4lcSYA3rcRTtqO8kbe4OXaXdtfL5HF0I+HD
VZx4KaTdoJBq7WrXLW7h3lX7GYXyTKK6TzxdnlUDiD5pk33U1I/C6X+5rWBBA48pTwGJ6vdjNnqT
Y9OgIeIri2zU5SAR4+gRBeiDn6zORfd1KvJAmefeyFTcJU3yKUvoFyJnw0tMPvzH2ZctR4qr3T4R
EQIEiFumnJ0eykP5hrBdZQECAQKE4OnPyn3VJ/9yOaJudvR2dCeT9Okb1oAWp70TOKZikEd+cWVI
RER5og61d6CEgz9QgDLUXtj509Qe5nK588O6TEtLHxwp2JbqoN34dn1fUWeABOAKW5hhjPtcf6Dg
o1ED1VW7NysY+LqP5sXABMyd2Y6KfgH8Qw+RPS954q/GTWbacwiwFX2sVrpZlbptp+DX1NUYv1H+
AcjA57xOUAKfMKexhdqUAbpYtb2qrd1AH1fNrc7qeqyjgYoGsMtpSb1mbWJrrfc2hcgDQx0+Ck63
vYSmTsdva7Ji8UHsKqIDTJHcRXigsFjwtBPtR9HNL5NQJh7Ldk7LGv8kZ3Zyhe8mgVygyxfSU1NW
B6Sdp9wDmLBeC5OVsJ1PWt1A6oGTHM882HB9q62kH2kIs/gA3ZQhL+LQtA8ir7KJmgsoNrCj3sKH
kI5eIpCnTOKKzoO8IGsilxqR2RomCf5Uvwxe98te5+fGHfEyVzgiVjd56Dzb8GeOQCfaocy4R2ur
iGqiP7lq/IgRG8u38h+IHt9DvRynugRqlLHXhY530mth/VUCAZTXPG4n4qJnXAXRCEm9ybI2tHPL
RJTzvcu9T6gB7ZeG7HxR3M+6gp0NXU9yaR/CWb9AoLGNecOXNITQcNyVzZM/48UsUCNf+IRRiv+u
yuqOarL1BmHBMNKx074D6g92Fi9+DWfMUHOyQxoJbStpVwmMFpwsqIsdWcPHmg8qCUsQwgp3OE94
8ggOIivM12xAozw4mFnhkQwX1dYuSMlqb7raR99vVB1Gt/bjVKpDb1krlEjxvgNmPTTDQvakdKDv
L10bVuFrCFK27mIyAvY6VlZWSuQNoi71Bv3Z9gfouFbk1rUXNQ7pttCmcRAiZRj7XdumsvdEwnmb
x0x2Q1JUeZD5lFcpBXkC+d/4TkFhnBUKJKetZdqOwKqX4c+lHbeEjUGUL8WSMOr9MnCHTQGU2ju9
eC6C5U5W+Z4PtkJrozk7uJXUC4YwZsWyK0W5rdr1nlvukbL5p61GWAmw/DgMvoodXZ1biGzlLiRO
F+YkVExTtsCiLQPwnEXT2AeRpSeT4X0epDC37ozOSc58Aubo8JSX83wQZnK29TRDzRevuhlEGRXz
nGFWCdHPlpw97e5WG1pi3QrHVgvFWQTxZSdC97MAa7YqYq8O3ChQ5qwMV9ECBGwEoZcN5L+AQnDZ
idn2EPvadiO7J3orG/8JS3HYrOCXklaGCfAlJAM4sYuGkvfxUlk8wtTM2RtGj05R17Hq1/bGWr3q
RSxq2wmT/5AUn5ZwQP6obaW6Hr2U0WIjWr1GtaIHzZiVNN4w//CFvQsDcjv6wwOzujEm5bQL6Mgi
PvHn3DgyxrM9Lja7D50VmiK8nWPN13Pt2AKCWd4JVoCvduMAByZ/Gas4ykDsLD5A12tE9AHM7r2D
SViKWIclN7Np51X5CwlIH0+57rdOpwPEDNeJ4XHKtqEPddEB4pkZneHSMagB0rmdTGjRvg/cUpE1
igexYpUG7hpEw1R99rlLI6y2h6qe2kwJHKZO4zy5jXoMaooihF1sWenLhGQmqpQ6BwOgfpMyn0Dm
Q1cpLH+bwgky+GzC2wv+jucKMBf4UBcs7WzaQ0MtPDuoT8vRkulgVgGIcQlOPZNeskI6TSAby3J/
OLpqAel78OgWEL856QID24DiWNntE8xAzoSDJir85bcYzG+L6vfVDA8eGVVijxWUzap3U1rdxi7y
IZ5zqA1BPS3mhXsLH8o3LZrXzudvvaUGjErmjRx6OPs4v/Q63uSEP48YNtgFDMm6yUA3agojsrpj
bLe2hfXoJB6Eg6IJvlyJ1sGTqbwyXpZy75XwESwsIxMcv2ECa46XgiFWeAPCzDI6NyGOr1QNstzU
BY5VXZm9axvogdudjoXu0dFh5r6AT2bEHfHaa5tiqcpnDp0i5FTq0W17K+kav97qXp2dJXgMCRzY
c3eO3GDeLJLt3U7rqAc9CaDiChJz5sUP8owz/3H2nUdh0Hoc5Q2vh5+ug6A6tlDj7IUsEkeQIQ5H
Pkejhlqv7q02KWzjxf7M9p2x7NjnnYyLfD27IJU4JdEZVk+4gWagg2qo/mUJCCsZhv/XcxlEQe3b
OxNwfSKha2Iy4fQqEUuiHiEiVfBTOBQzTs6yNWj5eC3yECZvezOB0GMDujCH8mBXcOsYm2JX4mfU
3NwFuRdmQ184aRGODezQFg2Vav8DR/Szaze3QQl/o9ngLC7KEHIu5nnI18diEm4CIk+ewN/ibrVU
Aws/cWvP3cdCZrlpMRY8iW5c4imYLoQTF21DCGJEQTmz26ZW41Yjn4ihAEhuharyuGFtt3fmPIzU
qE6IZiSah/LG4fN9KfpH2hVib3kGzHAXUmAMG/V/rksJ+uMULOdmiVnnP+WMzXNU1zY5kELxWwWz
pp2h+XJbziA5B52S4HhOy10d5sN9Q0ovEmhu7mAFPX0IaW3lYIZjUUEdGunfRQh6rX/LgIZVNIIl
CJp4OcXtOrYfzsWbZC60OlnDsDxDWhDNEC7sczdbwS3XPHz2bTjLWvN6i3m8l8fad/oNmdpl5xYL
zlK/e5qCdkuCackkRHOyyjjOTSsAaCkN3pwDMewjnKJVmluSZJABdOLCePMDWi8aSSUUNFco8EVQ
SrtrAOmEgOHwZFr4dSHpWaCO3YbJYpX2thg9EcmATWmF5nFE+7aMW2TJkMOmJ1t69nbW7HfFei9V
0/qmytmLxrBGZtYPMBIf7SkDZ/TRJ12FhdTlmQ/wfkp7wi435ce5Nfu7YmVrlAMBFEvk0lnOADWT
vc1AIVfjvi36EDAdNSaW5B5UFrmIbexCoIQgk13NC85A7WMvd34ZDZZVJkNhq620Wvu1Q2/v6Dsa
JFqrdeLA5fVRgl//6A2Gb2mByWwNC4KbwDQlHGxJkfQOq9+aGp4ZG6Gm7tnuvTCikOCK+k6Hn1Dj
tFMoeCyoBOzPGj42US/y7gCZKjxzwweU3V0Z+yUkzWG9lGfMadYYIqMmzoP6dzH3TswlhUUQ89+p
mFdkMk2f+t5i/3Ilcc80EB+iA4nUtIuLugrLrs0WpQYERe1DfrlGHm7ZHVJYiP4QuxJQVs9FErbm
tbKojGf4yu6gPI2Dx9VOYpbaimFO7yYtr/pTWPkiZhC43JplolFYraAHOEUQ6XyZIbpm9alulA1h
mwUxmngqBfaqytZhePHC8q5r2iKesbpiWWvUWkjLs3bEmijo/BZMVg9BE3ML6jJSuXG8pT12AALU
Thhlw/l9fBgnXuB4bYDqrNspKav+QRCUNhzYvJS1c3kE0wK9kVDd+2UApy+z4DByvA9auWFqjYFJ
JONFCl1CaHV1cJGkufUCOaqPJcQd+5r+sCvNImjKo/5b+ykLJ7Tka85M4pEQtZvOf0NJw0XyHeDf
r+0lGxbk3pM9tCn6PohVAhCL0GnjYeCfjZ68DI+CDqMHybgWrOdx5FUEhkuRFDXMmSsBeeZlQCrb
OIE4BJqNJB5JKZOlMtAYIc5lVI3aiDmmugvzGcx3sfhYruV4WFY4Eq0W688KcLaEIYyeDITiYi/s
cWijsE/Htfe2lF1U4x2qbhGu86ge5pOaEKhCn168fvunYahyHaH1KVJgIEgGVVIww1v3SPgkUq+1
3KzU5lO61ENhWYyp8n1s7Ek9I39RGz8EaqVduvAmkIi0DCqjUQk14k629XbNhRtxX+Jh9Phgejih
Qml79OMipK9WQM1ZezZK3RVHmIcHfJ50/dBTF5bYnemSwJa4UgOLCj9sipjUwOQteRNLzzxUpOOQ
/i+gmVKtcB/t6AxN21FveAiVv1bCcMDWg3NbcBxLAwtuPQcxOUDR6hhZRJMrkPiX41Mf5newQHtw
qwXscVn9CALvzW9Q+wXanlENkPZerg4uOi8lmqpCRGWn30Ng8WPTkRCRChRQVodBjEWM8zp0i9vK
tci+E34fwwAS9e5kffYTGs7FumzGAKX6XJDTMKIzrqT6NGQ6laR+l24+Rb3d8qRy/eFXEAY6gfYr
bAgm0dx0joEab1Phu6qxjRfUArFFyJg5HlxR4QBBYwtmWKmmEEGTik8Q2insTE/dcAbMI4/44rxO
qoN9lpFt6neQR4T3y2URVU9kYH0XlXMPlwhSwAOO1+W2dOoK4A1YG4gRZay1Gmsz+O58ct3J2qoa
1lidsJ8c32XPSszVA119svX9kaWASi7IBCGba3EkpTVUI0+NMT3SfBxgNk6srHMJ7GJ9bgdxqCDB
K21VZ3nXGKyyID+1aK28ohUPHQkoIbK4VG1+JF3Df69k0j+gLGNitOFwmHscys4z4Bsv8H1xMgev
8cEeJGaHRg+ZJEX5woeqPAqi/HsIlrPDoNSyIfnq3Ve5Ko61R8R2bUX3qeQEkfrR0AGiEmGzD7Qs
Yxg8UtjCjPgsktRbNoTdpncmlq5iVJuiQS9D86bbTwLcMiDO0T9b2sDdFpMJY3vwnD0siGUY6UF0
faRHBudhJBKrHS/hTO/+3qX8YgRALn//T5cSeEVXzQJdSuYNe5i87AIOOSHkMPDR8n79/Rpf9Lev
7UraEdJ3C9b8HnraSP90dV/T7zQCv/rty9//c/8dPKdbvVRk387uU68CBFNH2snfb/yL7vM1U6AH
KhEFWh/uHYMBdmizAQLQRY3D1R/Sf7vE1Ry514w7vi3JXq/onaCqRe9Iuy/oqP/jBa5Gxr1eWlE3
LNiDFCIz4Q3V1gYq9REtovYbINUX3+CaX0TtpqYtSkaI4Vuvpe18jB775qe/GHhf2wc0ODNcy8Pn
RTR/rOr2vM70KNbu1Xb909qtv//+Ff44GvbCa+KBlv0yImcL9iFGbXOxE+o1J1uOPMxBJbIQ+c24
4Y+7Dde5XP8/q5XDabnsW23vHQe0eftjaMy+tdG8WqpvluxXV7jCsfic4K6hnrgn3XhxzMga6zez
G+Czi28W1FdXuPz9P8/QzLqEpntvH3j97EyvJig2HnwxtHL/BUWCl+T9/xfoy1ytTcPdfeCVVZqv
XZF0q/j0c/LDGvTe0ggiaH8s3wwQ/7jEcLmrCLI0tSi8EUMUPufy0HtsM9Em8RWyATCUz+6i6Ddv
7qsrXQ1DQzJgHArkN+TgaJgADuDFteMjs0EDHAJYU3XT+8t3gfGrz3QVWOqxkzCW8NCQm/0VVKay
i0an/8FEu0SBmb+Z3n/1SFfRhZTMCW3J8z0aO7JjEa3GjSnQ0gDqmQz6H1/cFRIFmsqjNc+wfKDi
sy9eZv+WjT+Qp83fKTxeltb/mfJ44TUrIO8QgevRag6FaveLj5kFuu51NHnjN5P2ry5wtfEJQKT9
Qjx7Dw8GEKFp/jQGkAj3jPy3VXxNAfBk25ehgzlVZbiL/n+7EZVEP60/rKI6mGn8JiB/9SBXu19a
0Kgx9Wrv+xydw3Ye7le7ghB5Ib+Z+P7xMMGnuFz4P+HFQbLX+LODeT5Ei3cTTE4x4UOr5++B/ov1
yq42O9fovqNMJ1BG5vCwa2O7ehmqLi6mV+aU38Tgr97R1T6Ha5TlhZKwPXR/z5oNL6gRODj3/jc5
21e/f7W1QxfuhB6b2wOKzf1lwBRc+n3Nd4Tbr37+ak8PtnBsUHoxZp2DmGmKMRBPJnf95gP/cYqL
D3y1mR2y5nXnQBbZC1uaAYs178t1gNUFelSx1Ms5gN9NiRoPmsKy3v3Td78mBCBJByPKLGwf6ocW
IFLuJx4i7yK6qDHfnSRfvLhrLoCzTH27dgDMwao3qtA877rfPSZSf3+EP3Ph4Z9xWdP/2RkKJtIB
6EvA43nurm38jZws+Kf5P6U3HknPYr8K0wrqDpas3uZ53XjNmM3m198v/8W+vOYAhBP3TbdQe195
/cGZ+A/MY74D335xVl1j/6EKpmt05Nm+EOrR0AYQcQOnkgGT52+25Bf7/hrqH3oMgHBdA28IqxOU
acBJOJjMWB7ZtQqDCbRL+m++01cPc7X7S/QAxgVWJAdCVUbsDmNCuKMFn3nzr1e42v/TLEIa9LSC
nofIKsgcK5y4DXDEHX/4+8f+aiVfhQApKDQy7ZDsYWAwomUAEmODaBCtjv1Pdl1YzVdhYJqR1psS
yozoFNYprEvv2sVzIm/5DqL7xTNco/Ub0vKhCTt7z3pr39XmhVVBBvLfNyfJVz9/daLTFVJXHTif
e+PRY+2EU4TxztNqvM+/f4IvVqx/tdtbGExC+dVRh7zGRDiAYlvXeQ9ShQ+FyQsMPap/DFvXgusc
yJOlhybcASOVg5EXNV7vJa+at78/yP/QSH9Irq5l11GtoU0u2xHQs3yKCweJlYAJ5zZo9U7NZBNY
7RO8034F05RKVJCVFSYug18RzdHqRHcoXB5U293//Xb+R0L50+1cAtx/wihRRCALL7290GzaGqiL
YYyHk6ilefOgZ7c8Da7uNiGUFLZiCiFrOfg2igMXsv1F6d47KhgxRBjJ3je5vYXPiDxDxzvYmsZU
59EQ4C2m2tx4Asz1cUJ30ELT5txafgcDED+I16DotszAVjpsFNnmwQI6CUr0IzUKW0x4iEuDn58g
UUvTEJ5/Rw1Hrwwny5yxkoWP8B5u4gnwnLSGS/Km5MpDt3MBQLuUYzzMtR+rEmr3MdcllDwdAKwD
xoY98BD0AebQczKUy7S14LmaYC7iJZ47lxkd5+lQWQ3qXRg7RJo24y7k8H4Ki1LE+dzLR1nO6jmf
7WDboj2W6NDvMoj/mQTsbXWZCrEEAJspoxgIpX//XF9ts6to6rCcodkIwV406Q82D/dhM2Xwtcr+
7eevQmmzYIBqAgCbe/JqD4eKvBr9DTjvfxDIPy20qyAKqo1t1RS3Pe3ppjvCJxOtfu8YbJuYp3Lr
nGHgc8ZETN20mTk15+kbjZGvIsdVZA1R93FVOZieCrTuwV9ndTKBjp4WTBoMPR03dQQcq745775I
DK7V8ZnwMTwLC3mAovMb6oA3y0I//++f54tHudbH9yWQ2cILnP2iq+6+vug1rA4d40nz+dQrjhE1
H6d/O/SuhZRdCL2FgKsB5A69v1cMhrWMGiVkvMBZ8vnvD2ST/50//2dZ+PY1orDqSWA308wP/QoF
B+AIQEnddOhzefHMRTHtgP3Sz800NWHUAokDfIbI5Yu7zONt1QIqxqU9Hqzere7bAnS6Fs7BO4C4
ydM6eeSzHEL2owu7+qnll6GDb4gD9yK7CJ8sTyxsM05E3EHNcIjBVBY3bYCNHhW8/WmcYJzSHCS3
TT0IeZryHxZ9w/gD6l0y1ZjPlua1aWjMu3VPVxDbhzl1Xeg1MwfDuccxsNCwbxOpfxveb1qOpgB0
DwSPFMqfQbknBlIHpoRWga791EcS3lg8/AhdNxHTSwA7Y8uUGyBN0pXZSeuMT11fLRtoIT7wrsXA
Gwj45l1XNFqqc46qU/90LnYDoDMFlTh47FN4zZbUXuK7fjz0dlpg9OU5H8TB3GKd0gV6DlFZBZuF
qV1oOPBwTonmiO9m1cjOzvyTuNZBO/YlRu8UD9OgUI+Du2yCuXz0HXfXKGsfVPKAIXIE+P8P0ZAH
FjzDCTEKCAYkL1XdnaygyMqGZWPB8aBz90ALmgnYGAu3bTItfgZAEHgVRn71HoKS6DPU68faundw
esUQYd7WnbcPyvo27J17rMoqK9cxBf8tm/QTxDcTa4LsVWkgYIIiwyfVhso3UjvwikImm4s4sG5a
B2BYmNLir0D5x6xa09acBH3jpoFbAM6obmucgyMwpCn2srbArL1Ri4yJuZ0aGGj7P0nYRxgbYhiw
RNpk7Xwj0CBhG9OHEeuD3VqTSEzwyrq8IpEFa5HM4gFsigQWPdFirUdY6myVdtKq4fDl1nHr59BS
4jEO3riYy02JzpRRRaymS6uitFK1wKbis3QJMF9PfffWVcfOwN0bHUBxkEAZipugtk/L+1RH9rOZ
gcwBEPbGHSO6d072tnOflgOwwSVaqg6DeCstYvuXPVeftpoO+fqjJZsxt+ISyxTSdFG9D8sj5DsL
TKn6lLjPco0cL86fVHnjVWmXb/tzITd2dzThXltx98OX2+YemE0FF5Y6xs/j8WxANXa0vzFVAq5u
Zz2Mxd6HagVU1sZ4fYCHlJF3AEom6JjkQdz2NxIYmfmuhdUaMH6UpFNfYWxb79ZQRsNT8ByE1hYb
pZQiqaAqSTcVN08gdnFa3AQ+UE4vE/638M4FGNhbFj45ZrvsPQpfLA/SbnFNn5dPi5sXMpjXEWl1
XVclVHnNzgWSJgpsrMdmL627UigMHcYol27kjdiRWcD9yJZPZH4o1lN+tv0+WiUY2KJKq3re+GMi
fw5+bJMltj+KPoKI4xag1MT127hvgxSbaFj3oo+aYNe090AVI5koMbpGZxPhhE54TbBnuZHkdjK7
nj8QeVxpBpsSNEN/5PB3V+dyfgia7dSeR1bCbCyGE8FQ34x90gLhRzZ182LqY4sBqSrvMChpAKHE
iqusM9ZTYeIwxPQ9WcoNsbJ1S8O4ACTK2biYoS/peD+1Ud0ewzmp99LOKpJV/bSxzLvWG8yUq1/V
RVHHo/EgtuStWLfKTuWbaRNexcqP6Jv6zBESVWKVUYD9wm7C4BfuTZhsAbLRuh2nPfFfuHUzkZT5
d9A7bcZYPwEDJzW4q8fRxAXPKhZjnGT5z36RXVytNb33SZzT0wosgb9i2L5t191cKMAGbvma6m5P
msQDbgLGCMC9RhfnD+A4IKmKwkz+cIFQhQs1AHeIxZsWVWFQ3gCvUcHIj41HWIIB0pOucOlenURY
adDM+FYpwPlAykXF8txVr70PaohKgADZBwJxeoCBoS/OHXF2jGAwCW4e6eCQBdjT0hyW5relfrTd
2xAAopjfw2wPv/2bACc+/SLGjkyBlMd24xBIl0EXZ8ut9rBG6uZ6IwCfNBUUZH7PgLLPTCXa+Wnc
LchNqDSf3XxMZ0AACDLbCtA91Yzw37311gWo0McRuBp7/VmXfcK6k8TQtbYfA/Y0UgoXgf440ft5
bGAg/6TkU9nvRrLhnh9XvYm99kbBAbLXOVyJO9xZg7LtTJF3V4Ap1KDg1jCJ9AEfqFFfhdZ7zXdW
/SsoIBYGn3NA07tgK9E1asci5opcTM8mZPyjxbYtpLBy3Di1jrmHtUfiFUZBQTED7DYm/nQf6GND
RCqmIQHsBAy3WPhAIkNZrDVnNKCTBbswtN58le9EDuC+3LgjlmmTYbgP+B24WRidLvDeq7dlyJIu
5OC5o5VRSOAoUw2I0AURTw2YF2MbKdu9dysI3Iy3poDiNMwv4gK9Th/+rF2+kTzISo+jWYXPvC4q
IrTfDOED4GeHBVgUCs0wqA+rnhzqwdnALv1uBFuyNxBCmMUx0POpxbGHnnMSegAheeGGNr0L4z9n
6+IzApr34EMCJQ4qfl/nS2INnyh10glwMElfSjFhLy+xuwKs5sLXamAbf6Ip8h68EjC5yMtK+t2C
JYzpYtySVwYENM74kr0UNd8QD1rp+t7Vd174XnUWOLBAUnhzOlmP48wiTG7T0a7wHwoE3SAd4DSK
o4mTY06ao9vKg9t4W+ODdgD1hk9iNykHjGIanmq581AUKaZRzlt3OQVpw3TnWh5DVSUc8Q24FNXc
VsiTkD04iFxGHls7j5Wd5OwJ+IuI6oUCfZZStmwoCroxdEm0GmdHKyRXDJjqn7yi+gKiva/GBfJ2
IIWElF84Hw6NsZyOdZCn6ItucnFhbdC7wMFXVmAMQOkP+qrdXVj/REEKkKYLCO6nZzkHl+Mwkl3M
xanMnwjoHm1+Y5W3Xg6VB3Hr4vqdGs5uAXS2D9PBjmU66Pei0zdOXv9UfnGHd51AyCRc/WhV2F/9
DPGNMYXz7GHR4y/UtC8TYLal7UVUKXSfwozPSBeISQPyG/CZRwFQhAlY2uBhpB4/x+alhMUS+ArW
TW582Gf6h86zU8fN8ZzyBoOqk8z5O7CcOyFdTEfKAIgwc7JymAlWw703DEAUw4C7gGEDYPQSgboa
2rOogSYf68x3u91oN8DXKGs3D1ZcB3ILHFmSTyWAsoi/hdvcXsS7Yln4H2UDdCfc+H6GlBZJLv1P
7gFZvk7ayViBbwdjEpl1fvBBMOzfGLhbZn5r0QjnKYnYukw3K7UTyZEPi4fA9O95iHgBZF+J1YN0
yzNQ81rfK4IUoM5j6DpE8G2ILMt7LpFmxlXZsRi+hkXk+9WGO8N24nQzc/UAh4Q4D5EkoC4ohuWu
gt+Y7+oburY61QxpmbDhd27b+haK07982C4DjAY8UynLRAJWiNQ8B5OAkh0oIvGK0ApHaAApc4mz
ymqsVPQ4xYRqWywZH1JkZvykOGyERwGYGtptCXR4LJoBUJ0OrVFi/TYzd2IQfuoIGgl5TDjkMQs8
RkJaDzoew+AmIGI8EVvCEXpid1BJncBWgPxRXoMgoMK7kHaPgB0eg9Z/KZBsriqoklnO20lUH6RY
oZztPfis/cFGffAW2A01eQ3AdAUkr8PwZiuc37KWddy6+h4dPTgYhLneuH7gnrBdnlra8rTr/zdL
d38XHAh/VRTDowKYKYH68ASpNmS83K/zF9izYFYdFCTKBeCEgPp8uDa/MWbAzE/MyIKUjzhrAIbu
dDEkIeyvU1Y1KAmqSSAADwfT2Dtwt/poCUCYgcPMsW/42QPwyXVB2moamEItmmYL3jU6d+YtXICu
c9pfOVvTCkG4B9IbiFX02gYIBUxJUPkbD7MWt2BwI2qg/dzbtoynfsiArIobGOPsIN8GX6T+bkHM
006eTV59nCuzNWAGbXljrCTomg3lOoxXu3Yeel/dhz3gUH7xGxiZDHazKRDhVeyrGjj8scOZtVZ7
96IG7VCCRtN8yYzyDkr7ZR8PaNolpcI6XPuqi0zuHxsQeBsbXebWZuEWNehmUXiuYPkopgKI9vF2
WNWTS1lkIFRfunqNBZH3rsozZ8o/gSfflui8bfsBvafQ0sUR1jzgoRaLV2+Vh97RtPJhR9cmgPsU
IAvKGthRGXVBTXG2A+qNY7rZoWgc/abgEYWS4x2UjQeIB0Cq9WDVjO7hPYeb8driZ+GG/IeYifvY
MwuZSzsLbkfVZKAuVFMqI8VFHXsUWDfXkv4J7T+IYbd9gyAuC+vdmLD7sKwFiFCfjpC2JSB6zBW8
0IdaJ0Dpz2/LOMg090rAfO3Ke+/6oTyVvUO2fT1AcU959RkH/XrLwmbZKHBobjA4aW/6kAUPtR74
vQG0snnTMNCsULEZ4Ofh7Oh802v4Y2PGJ9cilGaQi+tTtM4KZx2PY1hWJ7ewvlN+/OMYD79+GX/8
p43qWXSkIIBhrQPGoAM0jN9nJB0UEF94MWbVbCca9Ku/t03+2AXExS5//8/F1oaPIU6r9ZCPLlyc
bro6j/T/4+zMlhpXti36RYqQUv2rLPeAKaCg4EVBdeq7VK+vv8P7qY4uxhE8nQjOLstKpzJTa805
Jg60zz9dXPr4RUk4n9u8RZ/WHsHzbePd+Fge2tPA+2TiKyt71a/mldhMN9aGiXqoT+qu2HY7a22t
P7/+pcsvapxmnJm2zenr6Ebvvf6Obc5z4iv9+g8raIzcosDZj1nRNudg0sKteVeMV7qW0PUeg4ca
mpZ1Pqt8fhOXZtui2mkK1SjNmg4baq31GFr35tUYso/HR1vqy8w+y/qscJujMtfHqX6AtXds669U
SynHLaqloUYkUavU7TF0nVMVZvuUYkU/5icOuvdZY18pLv5n+/6g7LfkCAQ5NfHSsLNjHmbGLrUz
/WdR0lyn6qZvEOTY30m5AZof1rO+Qj5jK7sqa1zsIYq0nzK1ct9DivoYVvuCFXkaE1dfCbasYoUp
j9T2z3/GS/NlMRxFWgfxhITsQPiyb4Y/W94v7aL1R8p4hnI1sp3n9v8PhrrU26idkyv0Y52Drcwn
DiCJN1ftfWVVV5iPH09GbelQj8acqNzSaY7oHfsV0SDUBbT0Sufv45VPW9rQWa1nJ5zGhszQafKK
mlfJVN5g5nzUEvdQUar0XApdIc6Rz3+TC/N/qdHlYEw+dTdzN0R594bOvby1GCK+9unnq/6ztk6C
yE3LlN0hsN11HYT1OsjtbT1n+pUp9WFD3NKWWO/EKWILfH9zjEtCqAp2RSpFRWJ9h45a/rWJRNp+
7U4W6+io2KFix1F1LEYTKb+mPMaKfijr7CvNIm5ksZamMuLgkbFUyHHclhNdQPUltfMrw3Rpzi4W
0FZYqpH3ZXmUikmZye5fmy69gmy4NIMWTzWwKkwWHTtMNLWPdhDeENK1odtwpdX18S+sLuWzeDWJ
wlFdDbzq1K0cAPGUt937Bm479txrIr1LV1l03GOnyXmokT1N6gRKINg3k/NbmOO7lpsPX5lB6pLe
GwRNHeSuPR8r57eC3WdqKp7l6UtPmrrU6KV6U6m5bRbHkeN6zmnfa4sRIXZw5Wc4D8RHq+p54P55
kpW6mnSHpIdjHNxVhrvp29Gz7SfXnXyAjLuiu3KdC3vEUqJX5z3majae45y9BaG+L9LbqeaoNH0b
5TXB1sfdU0tdKvUmQsV6R0udA87Dpz7WA4/nz7zV6lD/4ypq+gISXJ60gPfdqXPrdZconGfc2l0N
GRBCdW7VTW2U3b1qp3j1rZFKrpKp1jfDmHmXovLwoujqtRCUC3PTWSw9tmPLvAD3ezBl8+TO41oR
0wbU/A3mvSvrw6VLLFafKdFjGEGsPooyrgtNuUmN7hHYxJtQ6itSjUuXWCxBaWJYatlAw4ESsnJi
OdCfEKfatneQKa7lVv93svpomi4Wo2BM40kdWxztQ/cS2hbNHbt5n8r4Z6rbqzppn2hcn7Q23Eaq
alxZAS88G0sBoGNmhhbUln0oE/M9Ubu7gg5ZXhHN2+r5DZ3Pn3llXTlSfrySq0sdIE7TUAowJux1
xXfVPnd6gYp8aYVaigBTdqUmiJOOz6a6Y0zhj5YMgMal3v/5BS4N1GIR6UJ87aMjxaFWb+v8PsLE
ndrr9hw2Wxl+X41XFsNLg7Q4diRzFbRAic7FJPPWwCQ9Bcrvz2/hwvq0FPulSUUduoLTOie1AFmh
FHvEYMGL1cTlprGLea0qlXj8/GIfnwZVe/HkOyKbkyAsMUaWjvrYBE2hrDQ8+iAFTW3YS9WZHml0
kylQjwO0XQr28soQ/gcI++BJshdLQmubRN9RczxQk/82x3byI+8Sex1HiBYUDUGwsOsJL79WxeTo
0lxFXpttOkKWPfAZ8Vo3p3HbchYA4gEy8GjMWQnFJqQsj5G1xUPrOkc1qUt8fQqMDM0Mr8yyCyuN
tfjmhtoplpkO1qESGl7h31AtV6pyaq4liVyYXdZiJdODSPSU7+aDmQcgUPpyAPAnWv/z3/zCM2It
VjDhknqhjS5BXcLYNLQbA/GSGg86L+5Yxjieh1d+4Y/PbepSW5MBFdL0lEOsVg902UsT/7U7kT0b
mfru83u58EssWc3lHMjCKFiNh/glRykiHNN34o4K6rUV5dIVFqOlBW3Be681H02BLbsGXaOj6GAX
4MTgfHEDXqo9zTHIFHIX1QOqQUgSWUJ9zwzazWwiYI00UPBfGq4lqDms9Jy8tgFlrBb6ZhPt3QTD
K9TX2dTvP7/Ef0qgDx7rpfSz4G2+bfoOn1DeP7Rl8STacT3BZ9ghM0we9LinQFtW7SbrCU92Y13c
Q3BxgEbF8sp2eWHiLTWhStpS3e9C7WAMwW/s1DdmVSuUjdXN5/d4YYleakIR/w6lEob2QWu1VSGf
LD5dd1kz6UPgXP/iXZxXh38OxBlFb07xkUo6GVwocycQpqnWlcrapSFaLPzzbKdVJxiiOM1LoFJ5
uzYBUa1txbm2zly4xFL+VoZTo3PoHQ9Z9YoPbuWAwkrD8soa/LEw11KXgrdADBkyLG06KnEI5IsG
UfESC2d+z3XTVf2mcOqf5eDij6i70UDtoicQbmYaWnCcddM+wcYTf3CLGGuUZdqLA/048WJYll8C
rqvmeUX55/eTUgehUuUYpWhN0vbKXmijbCEOrj+fhZfG9/z3fz6/iLMiRdc6HVJDfxEtaAcgCre6
rT1//vkXVj5zMf/YYjuc9j0evOpUJGI7sTFwtF47QXjlDi7sROZiEtIPBlFA6Cxk2/qo1tOGIkgA
nQxZxFzn3mQk6wLA2ZWr/YfF/GBlMhfb9tx2QVAJzFnDkOyHwT7zyram+c4mhXn9ptDzU+awrvf2
Kp2RNtF3H8VzNO4N2T8kA+QS/U1Rr1GkLw3vYpNHseEIrdLHQwKxYROpcburNUtfh+dmegqm64vT
cLGBzUJNlGjS5kPSxltEp56ArOUoypVN/sJaaJxPlv/MQgImJbA7Qz+Y/aNi/bFMZ1VNb+mseWU8
XHnWL8x04zx//r0GJ+IqG+g5DklLYnqZhsVG9MIYVspYOlemx6UbOf/9n4toqaHIUp/GQxzd6nNw
KjR0SBIGJJiQOdp+/kxdupPFmiAQgw9FbwwH8vPUg5OIaRtocLWyukuu7PGXLnH++z/3MRF3ZOlz
CLTO7oanLAL3i+AqRvfCitHtP7+PC5PXWKwNbRgOWiXK5mgEtrJOyvjHCGvNG2YkHJFyZbAu/SKL
5aEGFAOFvx4PxEoYRzXP8jvb7Jud0gTCh6w7r01jkl8rCxmLxaGSwmKf5XHk1XQzmEjMZqqw58js
ZN0oPz4ftkt3tHjmiyzroJJV8VEV3xzzUYGMkcjMK8LaC9uv+Y2dJVfXJhzDigqjOrhBbe+SqAw2
aZX09ypVtcwTWnjucY/9lVPKhzPBdJag73DMwky3zOzQTloPkYT097up6M29MgY6IDbEUZ+P3Yfz
mgstptyo9iBxMkseijbp6N7raBoN4FVwvewrbxOXLrGYcInbZ1qjqfJgFcrkekNmxH4uhxAYqZ5e
61Fdushioqmprk2EKsqDrbvP5iD2WRCGXm9a/ufjdOkHWcyxKWtJHjKN+oBrfoUqAPWssdIJInCf
P7/ApRtYbCiysRMbUpI8ZHJfz99nlP46eovPP/zCt182GvPR1mqCIeRBlR21O6PfQwZCPK0hco/C
9MpVPjx4mM6yw2ZKZ0Z/NfSHEW1ZKH7EmrLif9rw1bbo/7ruletcGKpls811ug5IRt4fSrcDnmX0
dIHTNvUtrb5WRjFY1v/foYZbWfzc8CG1vElac2/XIgZLB5qyGkR5ZVW89OmL39rIw5n29ZQcukBA
LA1VdVed8Zyf/9gff7q97Lz0veoqzYSWWw/SwFcy6d5yAoyurEwfl2pNe8krMVBkAXBM7L0ux990
vSB5DWcbQIwAH8vBOGNr6J/62f0NCO5LZxUuel76/9l+daNJTX2Ki4ODWBZU637Wkz2u9C/NKHsp
XJmsqM3BuCaHnErKaYQb9BeYWHO0KeReGbePJ629lKv0eqBMpk2HODL/1Ihipohz19Pnv/ilzz7P
hH9Gp+wrZwp05czCmBNMG46GIEam0Nywcnx+iUuTarGI64MblbJz6aNG6ikScpuL9MrR6uPFyV6W
4cM+t4DZpZJwT9pg5tn1H3punvpwJb/27ZfV9zRRFCUdkIiYWqZ58JsGr5+nK0/zhdFflt/7btJK
xUZOYw0t+uN66nwtQ45h5GQtfz76ly5xHrp/fuAwLebWacv6WI/xJg7ifaxYR3sor5w7Lz3TS7M9
QErb7QOnOtqE2QURpCD7TgHH7CTjfTH8Dt3pb4j0uUiubHa2e15I//8Cay81SLqEWQ0JDk1JFmsc
ndTWfSzTeqALh6Dlvmtpic7CKrf8lyoFhhG6PLzcLkAHKUKSWlvx6hAz0d0So2OhMVOrtNnh7cbg
FIZ9AR9cJPlv6gf1iKZWG/gnwrwrNdUkttLk/b6Jh7j3+k4Wu7RM2mODj2JlIzTGwZHWPgIw/VFT
INF6wzDNB8sZlC0eOrh9+dztnbpT7/TAMPZEvgA9MYpmM1lygrevb7Namt+Ie4pXeSfGF1qK7mYi
HfVOunSy0hC5Oge6EMm9WbnZzs7DAdm/WfpydMYXfGu4cVXSoYtIP0G7e+h7AHVTNz2gMslWND4V
pOtRtOY2lc1YuVDZS+TtdVACytNksGMUEDeOeYFRN0foGUJcnvqMog1w962TQmVUFcfYzIqZAzzA
jZQXueubpePsFLvaFFN2iLose4id7o+pl9XKDKe7VgEqrE6oZ0YL0t5cFC+DkTwrw9j4MpY10E+l
2YosenMtcYb1dhwBAgf1VDCutOHs8Kss0g9kV66y2oJpLW6i0UBaG5XjjRT2LUhEmowpXXa7c8JN
FWi0ajC39brMCTFQv2P8fVMSvkYxdfnWttPtIDBcqSU3GNNdX+dA0b3IAjYomvoJ8A2w//SvK8sb
YVpPKmkIWydSbzCLfs+HaZsbsQKdf6rOPHy0U7hikgCpRVDj42jHQKwgWm5m9OiHJMusxuuCYX5S
Y2wHgxlQ3Cj0lRZhQnLztds38Abd7kkk1tpJgcpHyl6J3d8mIIO8QNkfj1mDZDpU/K6BXkkSzspV
sXr0ZhWSxoH8Iqh2eWgHq6jQOfonsFDd4b6dnHxLXe6xnrFKib7DPUR8wkqq3aublMnOAe1jwvdS
1MTZFCkeRrRk06ZrrV0Wum+DnZIwUDpe02Q/zossEKi3eI5fw6xKNzVtXK/UQ3QBSFf9rgoyPxDZ
XT5qL2hzn8EmHlo8FCWq2nXiBlvLaAbQ4E60MbNiXul5F/pNIi3fFrlNsEG94eDHwaOpUH9TjPEs
wMU+MPd3ekd/s9x8NQddZ3KHP8mQOlUuZJQ+kbdtW94EdXwr4+jEVm95eTbuq2I89r3+0MQu0gL9
D2qCn8IJw71eAZnMrPbBqdWbzEhOgpbRmMlXypQ3jCGHQ6PCaWOYPi+g874Lukc37XUPiyfy5iKg
fF2+W6V9p89WSOJs+SsZHG1nGw2/nuPi6dNl6vVZ8FJaTMhypmyhipYqlo3Xo3KN17gAx5jOPeh+
3QFfGeYr9Mc7MNjrAEzUWgnFTzW3HmU6biM3uoU0fCdc/SZAe/8r7we0CTAofVUffsm4qPCcgQNJ
VALyQiVn9mCjBTLItXASe9rsPBFDJomgSl5J9kCWTLKiR6tG9+O2QQMY277b62+RNjy5XbUNmnET
JA6MeDtbOY5JBkGnDHvMHPEaGm3CzG5LX++q0Q9zcx07+EwbEMy289KAKX7JlbPziIaJ5xjudxCW
M09ukLx3MfDdjALYtodW7lklsztNy3QNG8Tx9ERzV6oI14arHUtzOL8aJ4IZ0aRbNwifOzoImAet
P70U9wOESx+NNZalrGVhDa0T+nkDaX7+UmE46MYcsbmIwlWFFtKMjF+51hV+TjIF7162vdGMXKwm
2zXwp2S/YZ7vzUj26xmK88qwzJ02V0+tUgL2nAP3XlOqaT2E6imZhnc1TwvfpZxMegd+qXbGV6EF
9qE18hNL4KOdJGRym/igzMHIqXarbE1htgZqTxYBXNtVmky3I2hZTBJK6ukw6NFhtj8URT7TH31I
8ejBNFK8wq3kKsnR2Y85jgI7qZ+sjhopfeNf1Tg9A/Kg9xpmtidix1fM9i2BBF8atNZNE5MIWPTH
Vpcb2XTyGEeA8I3udpzCh7QobxyX/mswWJNvlcar0Y0vKLwZjko/gK3DP9Rqr9SuMi+p+Q8ROjxN
gftW1MNbYLd7I1BdZC+0+NxYvMYBfPxxGt7mELJzMCTNeqTptMeu7U+NddCKehXO/Rqg7EGieN8E
09nmNnNTpWmdSr08hVZZr6wIH4tSu6c25+NVM91Xs3RwRaa5P+kYNycB2663bS8Oi2EN/fsPQa3V
mpZs4828QfimEx6mqn2zzXoAJxz/ZcMpSPwYjr1bGWRegNIeXSwWnFAq83aqusBvWiPEoCXmLfae
I0WulRnzYshmu3JKjIZKam1sB454KMhnCdK/ZpSsZTcR6kZBhwiS+MxpJSCkOZq6+mRNcENxZx3Y
GG4KKeFd6+WPaZ4jwje6dNUHdrG2pAn+fFLwDAgDJjMHByCuRbJSFEP12pE9vJTwN2ZF+dmSnLJu
Gqxs+Yiv0KhhTVUzTuYgaquNbqrfilBX/bzEeOgWuC7pDuChkvD4RbjN21xnXjdYbXM3fjPmgX1L
DiS6tOZj1lIlHK185HLpeWJkc3o3Dm13j2PHOCotow/bMz0lENfZpppdkjR3M2nQTIt4fBr76Vap
FHwqJhbiuRN/0Yc/GCH0ziiubtWhPNUzVPaubPemQ7M2gsu7agILzLA1AhrQqlv+f425gFqnRL/D
gWhq1koQp77UNPZm0dCVHAzxrWqc5JRUWorTVA1WlVWWL53M/9vAQr/uD0MJf8vIfCIX85tIcXu/
nSJca8b3uv2b59ka/QLFvRazKLtlbyXfupJ3ULvRvFAGygFLx7ZuBjZzvXxLMT+uXHSmZktxM22+
ZXrw1NAyT0NCBIL2dweDO07Hu6Kq17U6bsV/MSdAu3DQ6quqa+8IQvHbOaKRlzyF8ob6BvCzAS9n
Ya3mwEAWqG8LvJh1pf2cjQJZlLZt2uReb9JDWoh1NTqHCRRGIJW1JoabDNBvYrQEnuLGqp0fRlvd
DJN8S3WaM+1MCgAw5po81jMpnJvEFIbHWNkiQXQ4xIW3Qqk2oUNWrCJfiiHZ4HTacUDx6yS4L89+
4Hhcl6X1CpH2W+78aljCbC2+zyZ8CzgavHBOb/uwu5mFqXglaACzs76VCYiAiW1Z70b0xNb3rhMu
JGjLt5K532dZ7KNiJhDhTOTX37SEb6XEDVjBEXdVUqzMgiOqAKYVV56iu9ioG+Jd2b0Ifn6TnHVz
tqZGkKGA5AK69aOIrU0Y5zujDmrfsDkBmXVPDud0UFI8RqS8PUUE2Q9NszK64thyuDJ1/VuiRwGW
z5IdyWi8QMkl6ES23x7Tu9G/mPIFzv6N0Ud+idsHQjtEglxMU+FlQVYfSlMrt2ptbuoEDXBVu2Tf
Iggau8rcWqi0tl3TaFu3UW66Io3+BqGT3ebWObm4B5zhJvktapoQwk03b/qg31lCsEyQtCKzgOYW
SSihF/YDcBxN0dZBOzbrosq+SxuwcyJ4LsriPXWHfd/UBtgJ53YOovVgRKqnt4xc22uHjvW+ClUC
k8bsFb4/7IRcvOsopLUpln6pMSKhodcsNwyYMGptM+nrkk65dHW5N+0w/jaok87BIs9WUWvabOos
wrVuwNFvytKHA254VVVyrKqM8BXgffNU63hlLZMydi6r9r1QivSkqsJBgFeX+8rhluZaCfdRl5P2
AXfjJkEreUMyFX5FFzfZHMy1Djii1eNVM1bhNzfiRDvmVrMhqoefV1pVqO800zZJpEmJUgkHl11f
L8wq2HdjU72n1eganmiK5K7RpmLT1YJMJLYwgNvEarX3aQsgaj2ocnavFMs+FlaYFCL/99UazVGq
yJ639zbw8vWwlekq8vPv1itHWU8HGzJ9rQC01O0Esys4BRWUCex8FeMGN3GDG7jcPy8RXKiiLHUB
BFOcj/ihPPZDsR4mHuiRq+AFveYaunSBRQlOc/FmND01FFmTzDNUzDSH982pZ4uGgWV/qSFhL/v7
hZOi/hwoNEmWtoFZMkcC9sHj56P0YauImXYusPxTSMm7Vk04tFBICR4JUODw+adMHs4Nj0J5+Nol
FsW4iIpoN7jnYFnNb2lFxda9Er+o+ZNJcsnnl7hQDlp2+O3z46yWmnsYppw2WgOi/w/Q+K99uPjf
ISIljvXctKBq9fFLwLK+LoX5qk9Zvf78Av8FdX5Q+zEXxfWCfIuBjIBgn8gG93yHbGoHTB30SUfE
G87ouSZigegyxxtknN7y6tXv08EdHibDcvDJTlAm5yhXOJ4oMzyNrvhtaLz1SowjnAwsFaf0EHxt
sJdB6fbsWkOnRtohr1tykbBm8crbfgvKazLkC7+mvpgwZNUUeSVqcRja1uuUZyOELPIlbTCF88VY
h26uqkkyBYekIR0cihVAeSv8Y+fC+NrC4y4W0KkZ2eVIsTxEctxqJZSsHEd/kXa/gkx+KebTtJfm
sCHRe7NUuuZYGX9AOG5lYvIaCNuCd0Myi1YWwSST9v3zCXphkVg6PmDXx0oJt+JIBvh0K2HuJDTG
d/a1VvLHfTJ8AP/7hA1WHBPnh59O51ye1wa/iOFnGDOE+Ntr2i4fruVFn6fQB0+as6gbO3MYxhxJ
AD7rvHWXgR850dd+9qXhI1Rz4SAAq49ZWdz3NceWfFxThf0xj9q3z3+HS9/+/Pd/FuuJHNvBMIL6
2MhnmCrD+Pfzz73wwC2NGTOBsEVgRXQD9OTOcptt2iRPljPef/7xl6bPYgGdUn0srTKQx8ymipOe
onT28dOtGu2nYQdXhv/SPSyfa613Wxvzx3EUN4PyXAXrqvuKUZJnbfFAF+AeEjHz0VF0r1k/rm6M
+GcvDM1SWCy7egi7egJloyjihwLNck26prJPxj7chlXEuUK25TrBKrFRSRMePeob7b4s6nyjDs10
lJo73SmugdqVYCDxLZWEvQ39OB97003uc3QGG0VLW4Id0bL3Vmi/mih27oBxgpDJFfU2Kp3kYRQp
fdde560tFcNBmDHBaC0neaXITil5Yb4hiEw1q2nesnhGu2YC+kl0go092oHIkA5EW8GaMbQ/uZtO
vzoCzTfSbWLe4KAATXFbn6rcqYiJctgwsnTuVJ8uDo1Rqxf3iibTp0B1anKDjHJ6M4CgUC1xOmA0
CBBhp9v2IR7r6b3NjXRFb1j9SVowZB1BHm2gj/YflbS6Ld3KDEzOWFQ7125D8h2lthGZyPdqkRG9
NUXnkmQzC68jR/xuiNxiTVVZPjqt2/nqZNSrubHLPSWyZtsRJ3rH257905jIwsGg0m1qaj1rZ1Y6
v7CUmsNYT2lEmeL4t2JRPkmtISXMq5pfUXPLvaOQFeQRZqjicbIDjW/aJqEXSRSaZSfr+6jmAZCi
6ABcBGFwBx/FZYC15GHKqH00DZnVXtzayckuK/utAft+a5uZfMO7IVeamw4714W5ZptD83N2ov6X
cLN8K7CB+Wd04hOuw8nXZjgs7WzVtyNZqPdpFM0rxj/fuu6gf48yOa+l2pJGQNI9dYdhDplNaqNr
flqdkz07KDujQr5injjzqnEo8TmaW21qhS+BVl39rkNR8AZSKe6CglBZqSkWyannyqeaFz8SCy6U
kIr9HDGpyD7roG45uix9Ol79djBayUsepXyn18dtT3iSh9db3RKTLo5toU2+GZQdhC4hd83o0qKB
2UBFna0ieu9UcqLYXZ0flUXAUtzASDKBe+7NRhYEsyXPhauK57HgnzlF9zSKOL83AsD/U2u3ZGrR
SJOEut6mRY7UqyM2SybEw8ZtRubTuZqtmGF9U2mSNziZj/7c0kEwnHs37X4yCu1hyCVF68nQd7nQ
lc1Q58oz5OzxVNqT40m3CDxw7dF3ZiB5pQqYTq9Plbxc2fGgFr4g6HUVN/R2DQvISwWx7y7ukaI1
YRoeDasnVk3G0IgE4ZBNT1vKEaRdl2oXrTtBSyvhEs8J5ZnjaLkTGi+hDG+F01EtckX3EtSuu5/C
0uFwHycbB5nbS1s17l2vU3FJ8jg8NUNB2N1AH8UKOw66nVVsKd9GN6rFsQirXrIdU0wy8Uxq11QX
9ilL9STzlLHKn7UoVB5txUD/c46izzam7linoQd4BnZk/KGorVzZttTvRqn1h6ktyc9memHIom8w
UiraAMSIVl1JMc5pOCspY59SHYibddZ3BDppAQHT6ZDE23IwQarUzrTupkGcwijP/+oFQc+kjZsk
93J/srVg4owO2s10jNaJMzQnOjqCAiNnI3xO1daqtGlN5VOu3EIbtoZeZOucZLeNarKgpYGjIlCv
q1WB/2ZPnCEOiVF1/HAMla1eN7NvD/Q+x7mOdjgo5U8BX5w0vHx6bdiiXwcn6R7U0Eh9u0kAYqn9
mSibpod4oCsQZdoLB/r23nabcRsolJwJQgPd1OphfKyoH3hgIINVAHt9NUt6wUHm/JVQSd81QpkJ
vNSiTWTwImjrmbsVY7IbXONo0Dc7Sl3Op5GI3K1tksQbdfR66W8426huJPg+W1JDgVSZWMVLdG5n
RHSG/Zy0GM/JA0iurHi/QwPCG18Dzpct7Bsy3VHy6igqvs/GlL2jnFGpWqv0UOqa1gS+xE1hVfFe
wsLasxU1O44oJMSN1LGgDzYWWb5B6vwpdXNYOZQu39UyVbZFNlDX1hVjE+ozkVoFSemxlNo2rbN5
FcSO+gSDqcb51BDHZCgVHFtiEllWDJOgVDPYDTmJZIGeGT/atifju2rN147257rq2/57GgXBc9Fr
5T6IGIZEpvrG7DReDquuZM2hCt2bjeXPdG12WqwnvhjYS2tB6XLmzLYdBy2HXwm2KhFNSHI6HDOl
II4xTQv4aPx9jrRTkuTFLuypKdZ9pG/LRmOhSmAeREX4C3xX5+fGUK2nRgoWWTc+airNkbnrBrT6
mnrPc0MUuUkFVs+q/DHsJuvcAXqRTvRDKE68M5ok3xZtJI8aP6UndUXzR23OfsspH7atGjZektm/
6wHaj5OV46rSGsBNvVXfEM+belFCSPmkErpO8ZklvBw7Wo2x9iBK4xcd2vuwqncdHSICvnF6IhDg
3wDT9qQzgTQUbrxVVLP3ZdkX5G+n4XoCm70WUis9AMmk1qk97qGupKPeZZDa5GxtjFAFnSaswQ9T
kvU4pTQ8SJCmqsLajq5Qby3JqhDrzdaaKv3Y2emjSzbunWxchL45eCmRQtMw2SVWpdL+GHL6BO3Y
3keQ6by0BAjr6s5TGOTVGrzRu9vnz0kpt0Zt/CzGEI9ZZ7Hz6kT1CjGT9wqi01CclwRkltdHM03Y
tre8aG7adZ7aLp6AQtLYaX+mbfTbhG3iDQ0PmhYLAfNO/5vqwzdkWI8ice2dkdn7cBDEaQt2oTTg
ycv5RpxnnkvMjDsKq9quhELrEfYKpCrLJhJM6Yo4aZh5FoWv75lQXmola70prIuVDCaQYhYGSCqm
kAZrlxbw3LwN7fQjkJW+atkk11ZLEGJixadQsX5QLn4de+dlFNUPzQIFFZj9tI7ziSVwmuPynPD9
p7aayAf0+xSUrGIuSy+m99F9Ty1B8b2kcG73FkG6GQ+XUT9YVvAjjfTKN0KaeobScTlWqQ2yDgiA
g/nTNVVCc2zn99R1MS9QELJE05xcAaK7SHra4Lb7e9KZiqw4OdVolQWL5EhvKghta1NtwlRJQT1I
a9tzmhhCZ2Hex3n8p0+GwlNsNCtjPWq+nCtCGZPO15UEUIJ0qGNMgF3iKC73PBG8RSiVttVSwntd
LfqbTcFfJwHLWrgwBvkmyOnlfG4q2N+jodg5FRH1xhy8GIRgWgYnx1HFaWeeGxVEi9drptx71WWB
b9n9fG7WPkRak/kDLdCV23TtWb3xp54dHS7pxEkXVP0qhkXn6SOxBn01GP4oU3yNZf9cGeqw1jqa
x0nMkUWJ0nrHesFZOBF/zdidD2inX/MxJBB0rGaKnmO5s4vgOVed3LMHiTVeCb9PKtfuqNB5ltLG
AIHPKltVHfzeCoixRfew0jgKWp1Qz4SVmU6qfRvCstv2qUNV2O1svg5+S6qR76NOMyR3yLucx8f/
4+zMeuTUtSj8iyyBmV9rLqrn6iSdvKB0kmsMGAwGG/j1d1WeOpymkOrpKC0dKDx777W/5TrBO2lQ
V+gGHmCTFg7J4QARimmwrfSF/WQjJxhL5DTXBY/alc8zf20u9dND1RNUiY7vZBTd1jbwqYdmp8bx
msN2F8XwNUzDK0o8vB6SF6rHC00NPmRyUKAfJqgCG31YL0NU8h0pPrEmA7a+AevNtle4QXBr8HaJ
XVd/Ug5yJ6GedYc12BwoNo6dtDPk9DN6Vp6uN8C9QJeNkqQ/laE4JgSg/cOHGA9golCvBoV+lZSo
0oSDwKbyyvEEwPG3kI8PWcHaFa8RSqs7h5xFkFZnQ3JyViEGOrx84eVqh+fApUAJI5kIEdHAd6ki
x5F59C65pF3yiu+kCdkKKs9x5yR+sUP4Ht8O+04+InGEutT3GiLBDWgoZ5n5/ta1s+eR0vASL7tH
NZm1QdyPHlmAnFyi9de6sAGEzfQPDprNCtEdG/9vEp2g+8vWHlJioSsfTIWwf5U/jtmI7IJpsfx7
7LksVbdBtFAgLpi8h2ngYx9A7hJ4PeyHuCmtc0W+hLQ80zzFhtNh/nWoQdjCStxb+aICBF2odxxz
iqMd9HAVNcW7lOqhFwQnysRKUQ/elDveJu7BIfDrJGF1VlV+6nUfbaD+gO25ZwDRGCCGGRpyx9Mw
2RKYBQDJQHay6R8HBZwpSWBt4ZVIuUa1zXYKRz3UXhsst2UPdjACJmsPbruN1uOuHO1T5zjp0YP5
5pp5DNBEJX5HcLtbtzjPo0Qno1gV7RImoYm/wXWmRIS0Ah1R5vpiKgvbinJ0sQRh2yfUupNRKbZ9
iMgMCr7kMUiSfI89GoDQ3sdCMsKOVXHnDbbWBlkrDx+AOmbo32Ax7tc4vogQEGqc5XAfdpOffVI+
wTgc0gB2OW46w2PmmgsSGIXaLinIyjcAi1LtQbkWOOGBtQBMR8b7oQSHjYSvhnXb2XovQfLcCp0G
MUzVx52nRL0uRBfuB5h0r2zXKTaEBN9ZWjtgxoi3tuoj5J4plgPcVTtIeva9V8PpuIE4z5a4gClR
hWsbMeB9AAjhuq/De8hUgCv1C0hJ8wgZhBSLJlCiu47LYt2FBoYBMNpdK7hUPLuV+h5oUFDLquNg
CIts7yWlu07zSjwhZqHXiVMVZ6C5Oqx/sL/VFYQ4tO6drRTDuClsn+8HGbhHDe3evqCm20I31m+7
EIRrf2ji1lJnkTdYW70SZZvDUwED1FXbAXk84MxxDCz9BuP7c9gjZ2l0Yz0J2TbY0GFY3jQEtZVF
AcKHysjBKyUQtynUdFIRbJIwcFgXCY58uYu4h6tGsh8q5B18qcx36Mvhu2449i2c5jHZwAtF0ScY
oIBr7R3bgy1fMuzawQwnmrHfZWcAd710b5m0+X0GRcRXF+LTo8T9C45IXG5BmIS0rYCMJx/g3+L6
fOMV7VdTuXSFqoL6mRiZnS0ToGSts87DaLJNInH4RtE6qN9NSID+HnqU0MCOlw+BXoUSG2PJRzgs
2vl71mfffbgCr1RrB190Y56aBvXasndAHB/UV9HZyBFSBCOSAtnCIqvwwNZNjmbwvo2hRLAtNXAe
DjgckUlI72xjBcgy1nDKrljJ1sAEsepQhMAVrqzsIjySHK7Vo1BIqjN5sRmwXPsMB3vnyTjDeFfI
nj5mlmnv/bTCJosbLKD6CQ0w6Ky2Qk1h76CQZtP1pP/CdcDfLH8Qh6zU5U6MNn+wmgbcWwlixp4T
61tgScyvvOzu+rBw1mXvF/vQwbVlyIlZF32bP0aMyruyV8mOeGN1smlb7AvsJrusz/09D71qH6UG
6liLelsYLhcbKPKbhwj6UtzbCpAsi6FA1Br5kp1NmLPpfIOVDoeIXdhcNjYTRpeceRrsZQ3qiWkt
B5l+BUZEIxkUDiPNTqj9dR5Vm6hdAx18nGCBOBYWENW4Jl/2YtJutGjzQ0AYrpb+iGuMAgM8G2T+
jRR5grnPy52fItGfBG5zcjHmNxIczoMQjtx7wyWHPhZ670YpAmsZg6gtDF29pih+2mCDAqmVW/Il
TKGbRdVYWH7tg5IjDsPHu9AuwocRR6Mtkxr07kylcV2O0UvYDk5MiqrG9ZZV37D/mDUKgvoLvDhN
f/a0sB8rFyKUJKoN5E6Ux7osAwj4jPJXrRL0UDu8PfpeDRlTHuj6fgRp9tktI/hY0NB/sXGwu+Ne
Dy/0zgdyOlRe/kAJdfDvrI11h+vx4DH7Twaj3eeMIGDlh5dgSw/JrYdpueUgc2Jh4oTvfDBtvyc8
ucBAEwHpG4JVrgxTnMLGMh4cXkDxm7nwaxC6TTZuFWW3JfqmblvM5YJGCZUnAl1rhvUJ/yn57+tB
8Jn49JS9oHhXWMpy5GnkL8jmGQaHie62APuUt9CN/ZiOl2cH1aOEByFhuyCm/k8XKJXrv34m8zCl
LVQVnMVdHYEs6cHbw0/vXYT/rj96rmEmKRm7QF3fCLjkyXbvBvIirIfQLLT53K++vPJDvmQclQug
dp7EicruQLD8FlpLJZYzKSv/8soPj+Z1HXA41IaxTvkXw4ZjX9EnVcNyowvpoYIM3hXhTb6ogT8p
NQkh6B/SAgGAvmG4SyK3odYBxDfX2//Szp+kxKaUGc8T3mBwA44znC4GzTeIB2wcGLUES/SfuR6e
pGaGSleDSinMg0swqxkUQEHv3BfO+Ov6F8w835vkZ6Cntfq86JxY4QoTODDqaca1hDPC9cfPNNC0
9LymVEYDDWFvxiD3azyD25bl21vN+yQOB+9GEcO0/Dy3GHZt4GvgfIxYBSLHlzUYBpILOpK5z5gk
WZHgc7J6cMCsSr6F5iXI1EpZZ57flpt0J9O4gAUL63jv4mQHFWVS5wcg+79f74GZDnYn89izh6qK
ho7GLe1XjfEhO+8RK1hq+JllYlplno3QV+WjP8a1Lx6RE3gJSb69/svnHj2ZuplKWiMv1TKIv579
GmcvudSfc4+eZFWDDoUDCCPTOLBt6AexfSpnCQ42N1YmM7ZHYUsw2JTGCipjmX1X/CEMfnfOz+ut
Mvf4yYS1wNFiroWxEogfysVtxf4zRGpl3CXt18yAcSa0iBwVsahlsik8m5C+geeA8N9hRbmwIMwk
bZ3LnvBh7QcyPciHpHPjyEbBgV/UP0ahX6veP5kE2b3BQmj5ekPN9LEzmbMslMnghoBqlMlPYXzc
0MjCN8x0gTOZrsjOkkFEHo0toKd2eYr4YSSofrS18baCJ7gWXf+EuRdN+toVdgNJM5YdpX419IHC
VyzHXZ4tLA0zfUEnPd0OLqxwWUJjO2y3I1wBSveH7uWm6X4NQ7u5/g1zL5l0uLRtnMUJpzGK01aK
vfbKnIgzrrIMgW+6BPJxL03yyU5MJ72tnLLTYNUER0lyFB+52olTlvR3toqKJ2Qn6XMqgB1cKaTV
D2WFmgg4sw13UM4ae6cH4z5agVFwFCL2wW4qMAlFGZ2QGs43iPT0d17p9+eSCfPQ4uL3x8giRKFT
ZMRDyS45ugRs6XtHUrODLVi2kVrqZo17ESL7vczDg5dk3Za1rYsvpx5SgiXyRrqTDNcH7hybkqZ6
Zxc6P0aFi1skQvnJ2209MBmuFnV6VDJkKC8Kxr0/OrtxiPaqhBKiAObbd26rXP3Lvv8ws3PVIDUA
z6NTJR+I7yAhi7Sh/nP9G2YmM738/cPDwxLBY6Ta5SmEBVOGvIVq5MI2M7Pe0ck2kwdMET/LalR3
vFyK7gxKW3R/27XoL1jxw+9mZVVAosHrkyHf4AyxcTOBMMWv640y98snOw0cmhtUBKLQ1haIllc5
nA0h6yYLTT739MniMw5jJLuhGGPYqa/CRK6NPjcw77r+2z9ng13kDP/26KAGCD/CMTxy6L8LGOYh
9EwKJtciQK7My9vLZ5X9W9cP1riyRdL95o7HsSOhLrZiaXWPvBQsqnI7Q7aCVVvlEb6wdcx8unX5
+8de0xJ1GFVlxVnonJwETnURi10qXq9/+8ySaE0Gsw+DpTJAtU5MyvROpyE0/x5/wSUUnoO99UfJ
9rYpaU2GNsSreZSm7oViVHbbCr25TSMSo6B1odp+rqEm56ihy3SZe2SMnVTD9pyFHrKXFSqCIlXt
rzfWzCv+ksI+9EXtiEbVGXiIIxt/FDmKBFGjuScJkP63vWCyc5giIYXtRjQu+AAaxBkWTitYgSw8
/dKnn+xLU9KPaaWrSIfTVJNbe2Olv3gBm8DbfvlkmPYpgsYyA53VC7JVWT53zp8CdNDrD5/74ZNB
GrKydYlGs0RQba2Cxnu0yz5amGAzBxt7MjBZSwMdNJBBe2Hxm7Y58rqp+D0QsJCibHv9A+YGDv13
EgeUoLalxvWhAEjBQ4aPGJSOwYjr+uNnJvHUM0QJiaAkkpWxGVsISeBw2VQrAVGOiyi7lred9v8y
Fj6MfqOgdQhLIK+c8F2POQw+oX9oGigRooUpPIdrmOJ8dOjmjcKZJK6Qx9IJUz8gEGF3JDAorx8a
Vr5EHlGbscgabxvlIn0xPsQT11txJhQ0pfy0okPisc0sYECHnUQawhhsNPa5dv1tbp0T53j9PTOj
+T+Unz6gow0NWTwgW4aQ76pNz9efPDPMpt4ZSUlogeUOxEKoKbfwVf/pQRcSkCBYaKLP54o3rTJp
HSjfIWNgseWdUDJIke8cBhTJmq/XP+DzgexNGZIddAiqjAoWU5ch3m+Zbx1KXq2kOVSoypdFJxdm
zOct5U0LTVpWq9oybhFbWYm84CBes2H8HRVIA1//ks872fMmM54PEPngdF7EYR7tAyGefDdZYLHO
dcLkqIV69lwEjmFxlfRfGG0prIxzSClHLteAfizZUM29ZnLm4o0lh8aHsXUUQP8+vuo+3dvDF2a/
39RC03Bc0wb5RSvC4j7/4VnDCuVdC20/07nTAByy0IXpBzw5sv8UyXNUfbXdhTP0zAB1L3//sAYi
+89KFdUs9qvf/oiidlBOUFvpZPyhzJ9ua5hLh3x4h4OkJo7ngsWIJEIkYa991E9ef/TlQPvfE4A3
DcBRO1CSdTqL82oo0xVE1Raq9gZ2YJGvzm7f+HdJOSTPhkUG0h8VioUxOzMdpqG5EhsSAhQ6jeVY
1fcJSl3XucPY7vpnzXS4Mx2qpu8paYY0phFqYm3/IWzf4Mn2cv3pfwuiPmm1aWyir6Do63oHE64R
OIOE/H/QxYAlk0iJlRYA5MQN9nACA0yAhuVGI742VLDYbi5yg9zIR2IFa9uJXoYUnudNx+yVN/gv
XDV3kgMYQBHxbiRcD1GL7waAY7jweMnD7M0bdQwJSL+uuXtXZ/yP8PvNANLLoB3sfyMuI2EL+cT1
75xpRXdyEJJKVpecHUxyA4utRC+f+w5KLU8tFVrObO/eFJrZeAiKRJ7P45T+Dikq9htnLYRB29i7
lIn7yO1eU9HhSvX9+ifNDbvJUqnbJjFY5nmsQA1WRuyYxRdWgrmpNBlz0ZANoWb4lhaSZye3IAPT
UG8kQGQh1kCsd98Xe/ACb+ucaSRUtth7w8bhcDUgBxSj7QRce9OB3bbmTEOhVtGC0eLi8QDj7Lw6
xb7i/O+mPpjGPk2iBUxVBh5b/c+2+WYsddtiNg19orxGVqnd8JjmkTjbeZB5a5Zw1mJmdNFjRFKI
B3PKO0hgCHyCVA735uvfNLMN/F0pPizRjR3Amwakz7htIG7VBfzGwS0B1MHcOzUOqBDQpQsdPzOE
p0WUlkd8iYgQekYkwJxAQuphuVt4+MyUdyZTnkto8ZHAT2M/6zEbu70NcnUjFwrD51qJ/ruRGd4S
4dcSYzZ0NjUMwatWjMAJmX3VFBm03/ZNUUXPmUzzEs6+yIjBEBk0tDz/wxsPdZN8ZefQBLV6oc/t
mc+hk+ix3bmNz2w0lteUAFrAt3ujzEXqbKLswWior2zfRJvUgnc53A//+O74jvv2a9pAmwwFf/So
M8I2ee+cC4hWVrkEfuem8TiNOEuYGDrG1GgA3FkhtejkMwEOOQ5JCHXKILozG3zrcP1lMyOSTs4n
oIiBSautNLZFd9/l3XHQ3cKImRmP07gt9y3tASeTxhEKuET1Mja/i2DJNWOu/y7f82HS0jJLTWbj
lIAyBDpCNjmajWd/STpw6uGje1vjTGZUgEoLPoQFpDdhP57hYwjhNAoOrIW749w3TKYUZIIQvjvY
0JrmOU2g1U6e7bBcuQ6km9mSkmDuJZPpFHKfFB4dsbA2wSuAGI9FkqOEfXTvpeeceXpbSBCmqf92
CAkdlQU53iPpE78oY+scau5q4VB4GY6fnNqmQV0kJ8OMlwp7v9v+dsb3VIOqhI6xrSV269wbJguC
QKmXpkN/OV00R1hP96W/c1CVAXLRwvo80xN/l6IPQzbP+wbYGsZjH7gf1DdF4RfVZ/1JFrbzOjA4
qa78slw66M59z+XvH97GCl7ILMB63SXyItY+Rqb+6aSYiT0MwG+aH1P+d5SNeVSPNgTYZWOBw4mC
n0dnsPnutsdP5riH2q02pYYc3TT/Y7P+jVvFjdfKaaDQ5TmqVb0gOQZO9iPzk18GVdY94A23/fTJ
1IZM0h0BBk2OMho3NLdPgy8WHj2zrP4nPghRdBNQKElLQAMvMni3H9aRdBbWvLlxM5nHFPg0+AWE
aBgW3rOy24HWm29JFZ1hRa4XBs7MN0xDg31NPFSWkuSYtO8FKjWq+tG6TXgEAMe/A78qkI+veis5
4pyInHYV6nOdVUjDdn2yMDDnfv5lhn+YW5msRYTLBzk23DvmY4MERfQc8WhhX/jcrMQDvurf5/uo
5rMdaKUQb3LKRyBV8yOFq9GuxoXrsR3xYpVAzKp7SOlRT+zgvDoE363ahrm43RK9sknuHHoK5TOD
SPBoUA5+QlELwuFZlPoLSaDPjw7ulIjcOXJIoFGTcVt7w0ZRRHULh365PoEuvfXfBd+dspCjTnRV
WnplLBIQFFF8gLJT7lrHzCLto5XWzW4EgYqtUySgFtbnz1/pTZNzYZ+gUjVJUiTk/DtUh6M0qa1/
2Kz6BUr/U2+nD50Ynq9/3twImixtxq8E8kM9QijiB+PloS7cHbEWIu9zD58cW8BiG1o/Q2YR3ZNt
dKibuLckQLQoWrjtwmxN1jcU3TvQjDNyzG3naDMLNFurfccLYjdyvpu2OjSD2dN0KZc+syr9h3QP
VHHRVFB2981hTHDckz8c8c3XZqHv55pssuqpyNeJ7V+U43mIc7cARiwtY0g8fl7v78/3fndKu0c+
mnnAeiVH4fZ+DLJs9Uy0qQ+sctnBdD4gsbW+LSfhTiXTPPFtmgthnYjqnmVoPaM+Yume/nlDuVPF
tB+lkIdHNm7gBkJyRHpxRlr3IEVeb6e5x08Wb0kt22mKACC9Sq294g0OMygqWrpZzT19sm4jBK5A
ryBB3KGELAnNIwqft33PFrbOz6NI7tRzAL4YpElCJDwc2rxwGLmvNXWeraF5smj2MxfjE3PMT9eG
kvR6a30+K9yp34A/SjDPVUWOFWbCi+/WsFvMeIByJgEWZWGhQu/6i2YaLppsSHCNBOxAUpw5Cn4E
zKNCWhV+GXW0vf78uQ+5vPfDhjqiPPBCtkiOLcS8oarfUjq665KDYeImeskdYO4tk0VX23mf5RGS
IGF4Tqu3HuSQ0j8jDXbjV0zWXdknUatbpCpUotdjewhV86CgLOmku3Ay+BvC+2RbnALpQQJondpC
aM+s39hJvSRxsMsDlKKsE8iTtwDy7tNdAdjmGljseDxEa7221/JFPVmv0R9kBb5dotgbGOnEul+L
s9wPJ+vb0h1qJiaMdeDffswsJy1VhSsOCYP02CYobYePDlR/gG5/jUZRPKIKtftVVszWK1bWkK8R
oX5cH0Qzg3TKerJMUxNLlsmRuC+2f2/J19ZbEPvPHHX+Y+ndtFE55hg5FU3TtRfq7Bfzjf/1+g+f
GZdT0pN20zFsXPCGKt3mcFZPUGs+jg+JSd8B8v11/SVzrTPZsQtXjwJ1nNjhBG1QfT2O35iH4qhV
FvBoYZebe8ek+wHZRjFYPYRHX/NDpL6Fkbv2i2hz/QvmmmmyR7sWypkRA/BRTDscuNO993X7NXLE
GRZ9CzN45gOmlDgTgMuddAhv2xC+gGZzKOqnksqFVfSvOO+T2Tvlw+FSmGlQLJzYFANQHVbiop7A
7lBWDGFEfQjh9rGGg1d2lwxJeRQA29zzgAEQLlL1JbeMtyZgcseVVXRPvS77DcJgF6Qy02vlt6jU
p/xdYtbthJOlp8G0tynm3SlrrqqBWuQMR+NKuO+saNk6isqn69060+ZTzpzsAFZxAeqNXdBXMwYO
tnrt8mHhYDc3aC5//7CzdBmGjaw9ciwt8U7bMjyAttQ84oyU/0jGKlgYmzMLxNRdpVbOSNs0ETFF
sfA9s5voIFOYAF1vopmDRTD5CF55meLgn8c6GFBvC12IuMfl1t43ou43ItTpqkq94kfblTCj9qRZ
uOHNnFqnhitt01luVoCpjrpI62QReMbk8Kf+TjKBytim64+BhD/A9Y+ce9mlaT/0FDTupqp924+N
Hx1lEewjf2MbvgVQ55j6C1Nwrp8mW3RZmjpJ/Gw4OU7g3AMBWayrxisXtueZwTZ1NSejli4YRdap
r6wtl++WPo+DQGn3kuHXXBtNFlha+T3gTd54EkCqihxnY7C3RVPENeDi5ZJTNErP0eb/Xajo9Hon
4G0ET0yUwyeySU9EsuTOSZr03PbMexsNG08lcDjH1mPiK27l7leg59V7WID1twE3XoJ2B3eAFs7F
rINAIASoh/nJXV23ZluDPbsBtxKq4kGFpy7KLeCzUwangRGnAkRuwjvkerEo9kzJJ5+34TZr6/oX
wv1aromlzbFPQr61ggboVYv0dyhqInclbAF3DJv0k9037TOcV4KnsfOsH2U/5hpwK/iwrHqbhBuv
rYbvaRU1Ty1qureqhuQphZwC3j1NFX6rMmByoKK19uOIM8WKqLQ5MMNQRdKHcFBxFe0f6lTKQ9pX
/U+wb7qzytLoVFp1+jRkoLwZMfYr3IqyE0IH5WMyABJbwocTzxqSe1iLJmtW616trdIJgD7KA8gs
s3wvao+v06H5WTKpnnlp7C3Kt+VPkATrbZI53U6hUntb0DbZl1UePYWyJac+rNtD5Sn32GlHggIQ
ghBi2fmub0f3WwrC1k8s1+GxYU0A8x6GgvJKJjuleQbDm6TZDQ0AMp6TVhs79A145zb4IKQxr5BQ
S0wQGA7QzEV/GgoVpaHjAN8FQL5pIL1tlsjijPCCWOMQn64ZwNF4McmOWHtB0KggKtQCbJ00saut
jhz6FPGA7oKkDzcla+xtQeCq4AAtAMME1IrDoGEDRw1IMlIfx9Yexi5Zn2aPAD9F25AVYgM+RL0B
zuuHASDhEf43ClidyvkdNlXx1uZJ/Vtapt7KYuiclYi6YmEv+XynwlX03xVqMDgcsBw0c9XewZoE
DN92BcLTwmXu86WJWpPjjZPSsAEuTJ+G9hfgpGH/9fq6+vmvtqehB1UECMkPZXEC4oYdUsJhMk9S
6910qNG86bcDsv1vy0BKAyVyK1pw3r93qL20x2Shzf8mZP+7FNnTO64z5LUadAvnq+24a476yE9V
7Jx8c49cgPgSbuqNv4JlxVE/DOf+i/7iviNLJ/+wR3JMtl8XGvHzHdieXoBNQoccqKj2FGR3NPtj
VRSMtTMQ+iiqLNe29QZ64kJbzvXX5e8f90EGH7WC+PrUX6yDSAa2XLV2+6VLsP35OLOjyT6bwWkx
KLwADep0oPPbofXWs07AuNX1QTTxMvArMqT4YZO+hYPwsKmShGzKbhxWfm/GLz1CDHsbkJmFu9Xn
e5odTbbkrvAizWynPeH4u2qq5xIYzwrgU168gq20MIzmXjK5/RjqKduzFT4aIvyCvAsQhqXCgsbf
MeUWem7m+mtPr7+tZDQJKVEnXCLqY9nWaj+E/rjOMiT87LEjO3sY0w21Xeth7MZoAwCBs7k+zee+
cLJ8ZFo3bQLDuRNoUQ+wBb1wo0gITTeU477NYuFXC2+aGUDTW0zIQsiEMyyD2kNNcQlaivlz0zf8
55qRNgMMKLGMOFXe3wd2kYP+w2GBEuAElWOAblEWvBSSnZln03sH7Ia47oIaDeb3/JnB6efEwIE6
dVwueZzO9MkUbC2ysh3qxGpPQ+nDEnB00/tINeSxBkt95zMBlnYq/Bu7ZbJuwKzMaWoZwZwEfvJ3
QPWSQw8A7cLYnmuty2D4sCrlBWqmSt1o0LqCJ2uoIHb36xgCj6UtZO4Fk2VgCAFDbVEIEof0uXW+
tMEbcc63DavJ5E+dutTFWLYnwPk3LPtfq/9n5LNDyUo6bGGBmZsUk7NBDTi651s5NoihUFBuN+LI
KL+tFgBL8r+t3xAn5Myx21Ptl5sQ0fYcIFCcqhZ+/MzuNs3kFXATGo3Cj2/yDiTOVr9EGeK8Pj1A
C1kB/aUCuBbVT0UJ94PrfXI5GXyyrU/ze6Ru6oD0qT6h1K5edWY7jttxyx8B/bv+gpkOmd7IYbJs
pFasPUlx8bgCBSf7ff3Jcz99chvHXBY4CWL9Sy3rJPSw57w+wBsBDFwdeJvM8uPa9DeJqOzpFdyk
I0K+BGO3pNWmHp5lH6zJ0pfMnQWCyaxu4DECez2vO7EETlOCdOYQAi0Ix0iljjh/63VQZyBHcwZk
Mk77j5bTAU4WWfUGWFG9tcLKe60jd0m1PONzYweTVSCAsw9ulhGcsDpRrtJgRMQJtFUcgVZtnf3u
ebSromhNhNilhbvXAe6/IbxFFibCzCI0vcBTSgcUTV/OseHZJw8GbM3bMr72FCrPfd8rogIDPpLf
a3Oshp0KFwLfn4cdIFf9d3XwASqGsXLSnfquwcUbknP+q/ZQatAvySVnJtOUNNRZgefwUEaxaJ5k
IzasCxem6UyL+5PJRDHwAg8ufDGSWUj2VGpb5cH7qJYCPjOT1b+898O+pVqLA2Z9uVV1rFubLHMB
3ed7VCs9oeoXHGPf/JQB+d/1pWFGVmpPCURZztRAW5zCAHZxNzAJ7B6Q25JbTfMypggn3KkIEHsR
gJ1twdB7Y6gPd3sLdDzcjKE2c3wDP9MRISRs6PsWhnCPPRPD4frvmxkpU2hR3em6UlGmT4X2ujug
AbakdAugKIFzdUZn4S0zbT6tq2lCeB6QjrQnDTOBbSE3wT2w5G25qbKFeTozHqdcmzbM6ooRXArh
VfUAT99jai2lImd+/JS85Pi4a1oWDjpB+lJf2K6wb+9wHXHYYwgbrJIvbboz3+BPTgwKEQB4G6KV
ULjWmI2/VFwwk2Wwp15hbjvYAOzhwd1abeUxf2En/Wpvyk2xS3d65W/MrjpGsXp178JTsy/XcnN9
dP0lG3yyqU/Nw5BYgqalj9pTeuc8hnvYMO7kDhd1+Gw+8Ht5Ujucip7MXXYCqvqUxsk2eq0WRC/2
X8nyZ2+/9OiHqZ7jpoX1NS1OQHJa0ERBUXtButNVlusO9re2Hb6mAFE+UcAx1UqDdN+vKuGRh8w3
9VukRw9eifBLfbTBBr4TFWp6t5VPKDD3bQ8P2ESSIdb4N/I3UkDvaIC2pYIkvz3bGMACWgoQugB+
gwNomPstCKCF0BvkqsBzDyIgCLLa2o62HeGyG6q4rCPrQcB8ep26pHzqAxUAnJ/CQAR2C29DmMI2
EST1J+YGKWxgmNllTDuAJkbpswVLva1ijWtWUOuFh8btyZdStt0RQfR0V+ewPyNhUTzCkzT939jr
Fvx44GX2aeaBRznk/FU5VeeuRqvNf0dNCT85u0mPMFMXPgDxnnnKAYL/mZAmuKO1hm+lBxtgbJHt
V7CZYEIX+tlvXrpk5dFSf0FYWj8gUIccjnJR6O6YCMSFOj+HCgDmvNQtUOmsjXM9MLGRPiy1AhCu
DzbkJAcwq9s7AhK03ILnn8CanOsX0JyTLa0r/7FDs91b2CDAdEzpi2u85uR0g1UDa8CLtwGIzRWi
RPmuoTbZZ6ogp1RY4O0VLT1ZPVxw055ER06Iva6FpxlCd527HUkFa8hRNMm3tIPf5KpuUQGYDCms
NBA4Bq4DfP1+C6CluQc3MX+V0cVVxSmK4uSo+luSIQYsZRu9WxEDUhInEjhN6lFvGIxPze76rJpR
A9ruZAur8du8JhLZybGdC8YXAfZ8g8GFn8JRwXhWlofIiWlTlJFpa/R+Chhbtk3drMaWfxNdBjRw
wN65ldsKnq3Dq3LhUNIVVK3B5+kXDvQzy5l3uQN/mH0BcHtRCrLWKQB2gqo34JWvf//MCcGbnBA8
1ldhYyonrkGgB/Izf1cctGIOJM9tL5i0b+XwMjGqcSBdQ5Q0K10gfNWYDQ5oP47Y3/aSS7N9bB4p
xjIdq/aUNc+cnwsJ4Ej1cv3ZM2GGaf1zinYJPFCIThSsVpAmkYVfM0EOMMCAbY1YGId/je8+W1+n
12gS9Lxq0MOmVfC5AmXlTibCPkqsi4cQQnCGNRZxyw4A/ph3JX0ZAUl6U5mNOke3yQDAqYGTAZj/
YuYCArfynA2DWcDeIlIc8tEi66Eu/J1dE6ACxVC9ptwle2Cf+bFNWbCTPFR73UTtuhpBNC18HBe7
iIe71h2qe9aV7ao0OT1SnWT7XBflPXd5+6xwXTvJBEYjSe1W4BP37MEJai/ObB1usEL/n7MzWZIU
Z7bwE2EmhBCwBWKOnMeqDZY1IUCAJGae/p6su6nmTzLMclPWXW0NgWa5Hz/fcO25jbWFlT0HygkZ
zUHXek8JpHMZPBI2OJ4VsR20l3Rba0N6sfXnNSEt4HnBUcDADQ7ed6wnT1Pg/vh8PKxNxcV9oKvy
JrVGBDtHc1WKZ/o1WyBYl/x3DMsCVlIiL/KTh8ooP213g2M2iRYX5uHK4XRZ6e1NE7VLYPpOHGhE
BtiKDWg8rbytJt2FMfzxTGHL4zkKpUlKZ24fx4m/g3qDbyKo4a+Z7HqF5Xu8RGNce8/iGusakbRd
C58f8IpeMtkfO5+fgsGHs3qKCqv56SsdDd+r/3aIyIznzuBxH4FIMCFStjvkti8sKh8PIrY8niJn
PfQDV4Dy9ZpuiErnEGZL9gX98MczgC3PqOW7D31dOGggOV+RGiATMt0ksGn5UsMsD6Lcsv16Ljpw
XeC6O7c45lLr9vNHr/zyJcGWEKv229oej6atnpRBCbhxrhJ4ZX3++JUcAlvuo4XLQT6Baf8xHVE8
7uT9LqicP7OHcAhqM65bAneIVKE03tX+1hLWhfeujNjlLtsFUusqgXWUbb0hlBkK9WCzV2SqQ4B/
dp9/299wwf/uIGzpODIp4gG4PpGjTj3DN0mtZhjDBEDHJfNw0ySTBO6+qWCP7467vCP9fppK9yyH
bnycrDKIJGR4R06DAL5BHSDzVu/uC1D53gYC3/W5smwUCBB6hxMCDLjb931JYiEE7A01bwmy43eI
NgBTQAt/V8zSft9qgpgzbm1a7F0xXLe928EkdFODKbBXXrZp3ernJIJx68JP5HaCvzAO/iDYJRH+
Nt+hfLd8TSnEAjlt+0i3EnyZWY/JifVD+kL8JoCILIAZaCfnrQeqYOx55J3+VvNdkGh+X7WO90IJ
zwDegdpAD4DCZ6jg3tnEzzdeZvtQw/g97AjmRgHmBYSU08LlHVpHDDxoyDYXegeLxkeds9iUOuCU
pkCN41GP6VODC4dW6mHU9fXIqrvPX7E2dxYbkwvfdeDDR3FKehYDpoY0InBuXRp//vi1ubPcoPy6
c1KZet1JiSHO8rI91+nEIqAVtl5jH+ZWXvOs+5PbQqOyP6MXWm5t7izOdrVFxoAnWBKSip4MOCRg
HRI3bEsfqbfSybalaIPw829ce9diZ8lAt3L0SKHMGdiPcnJ2pRJAPtl1FtaycqMJ+tcLb1rrrcXu
kllCgonUihMkI/IhA9GhjDxwq3ak0KDqpTPUKGjJ7Zxn7m+foLoKwel0FxQFFkXbtXDP6CGcKZW9
J7Bau6Fa90+B7fu3edeO4K0kfncb9AIgsyBJRR9qwfpsa9fU30wTJDHcd1F8zWGwD7BuDglRUdym
HZ03nmFs7xJgOULL6elOTn5xzjLw6QKAuY8MsbMw67pyyxBVPFFHkauSG7CqAl0MIDEPh7ljse9Z
cZPS8jq37PQ0u16292cc9DrAaBH2yYf9RNNx25VtvpEj/LFk0YywoeH1bd4LtmWj1FskEb/lckaM
2knq1ySXoJhBSBPllcMOZjS4+A8VAqbMqUHwA36BYG9CMKn3kZTo0huRSrNh2m/iugf91hoThfh6
9rVbGVueqRqHWyKhMkOgLLgxHrlFCf2FUb9yQFhG+ZBSAVWyaIeTBInBIU99mn3xyYsbH1GgmOFa
kJ26VtwOAjDFqoch8efDeu1nv4/2fy5iQYLriGrgFRtMp0ZVcddfapCV+bK0xWmJoADCUAGGjL4r
smxftM5NopKvHTyWji4wZ/bA8sPiORD2NniQ1AELBEuE5pIAaWVpWRq6tJagvLKQQK6T9G7s9Rnl
6cgGyvKpKrMaSDhU+3zeB2sttdhqyNSCT5YzAUxR9aJna19bdK8F/drp76+V7z9dTC0wHdIewkUi
ebOFGw9omZbmF/QqH19TUKb93wHEKwKn6doVuG0D7tN9l9U1cDqRUl/z8WBL+xYsXBxVBhj+df0H
CKgtTHUtAHo+b3rvb4XzB/v80sJFFKDN6oYlR24DgbLhxFi3iIUm+xbV57dIA9c483sC6kHf0X/k
YHXk0FjB+GtWqgffEvQGHWIHUr+dYRpfUfDRAg831wx2qVObQQnlD9/B2UEKo/ILQFRz7oe5RtDP
UgjDog6u7kOwg9gtyS1vC24h3Xtaqw13DD2nczveVnnNb1vfzk4Sg/JJOcW4bWAxdesxP90OqKWO
NQM1wgP47q3oDVweW/JeRizhoQMnp3zT92P7LGTZKrBMoWEGQKporoPCzWI2eeUus820gYWptWUu
LbA6Zvk32CRwkLfKZJuofqwhEwJwNaPzu+lGMd34shh3gTXJ30PiQ8PR29Mtadr8KLvMbByNGORs
Jdapmhi7s63OseHw0pfHOk8b3EH0cJ0TSfNQlGbeQnYJBcgEho5VdnQzpKw8c8DeviHZq3akLMUf
OjX0DG/i57x1+10jpgMtmqt+KkD5gm1pnFuzihuSI9brAy4FNRKKgWv/OvWaMwfKKEzI/EpHl/9F
ndWqUxGyP9l+IKMJe9/tj6gSrLeoFZWR5ASEq7Q+SwiLAd4t97aYD5Or99LtDqVLbThGzL8Aer0S
o35qjMy2DndNCCBpCcQ9jHzrarRwKqcPpQNZpAUCc2gKJnalCG7LAA6QKCB+5az8SWwX3KZGMfit
UoEsWHZnQaMY2lU5RXlaPZscNtUAH54IXIAiAG2mOIMYGdfPCa8xI2KsONFFpZp+2qXazdT8blP3
G0/1LYi+U4hePxA7cEMrzQ6UMhrzgHQR7a23FtVfMPHSM4h0A+bszJ1otiWOEawY40zoG7ecWZxa
ity4EHGB+ECRA8jc7TTWN9NQmTMW3Z9zUtzrrrqttEriTo74zzl9c3p1tmrnkTWsvs+J+2Zsigi1
lhpM04pgprVkO0Hw+4cYeeNw8DAdOoAuRYx9rCxloY0z8DjA2gYM04qSqQL6F8jQuO66B4CuofKf
qoNDsGAOsvdwwAz+jFPghbDGvfcq63vNKUijCKVzF5JfV96PkAPDMeNJ+Olz0bm/2qCB9SZpznbl
/RrfvW1cYoJIAGYdtoR10dSRHe8A/ar8BB4eTJ6TWqSxDduZDYrd+7Dm9k9Ah6N3D9fQLUmOa5W+
FtV0cFlxbw35HtSPl75ErN7uzDbVwVUpZyiG1DeQnK8aZiHnkvbHykEnwyH07Agoaf2C0A0Mw0zc
e8BA4SBrYkewa52KH77r3o+cPqqUHRrXu8W5s44q4lyhZBfIwsJGmmcMDt3khaCy39BK39N2voIX
8VEliJG7HaqFZv/K8cZHrR2gq4NN0por8GCfoGpOI6KAVC8ZjJh5dZc2I9CQuKklbItY8y8g0Ujk
NvWWKi2ATiaPZUv+IKb5akawNGvY50QOvLxCuy+ujFebPfE0JoI7JGFaljLUBrnVjtIbkgYA6Obz
2SRBtwUTuolhaxIzjz+UvhdXZYXkPcYT1jRoott03uSk/FWK8kwTco2hWoXwGPWimbGXtEyggg62
QZHqsLbVLgHRHOK1W38yr3U3Qh4N45e4UU7ssVRgucaRmtW/al28GTHuCuPSqMnSWLrjFpBKsp8N
cjYtP3EybdwcF+y2RUqLyHKDeBm7ZS55p1KruyoVPK5wvcFVYNoDk/VTO/LHDNZvNKhORAUzb4lj
P+UOMFkZkOPRZI9vuY3yRFmmIJzlPfIy3lyFPoH1N0mnG5BCDworBUNmKtLwE9nLJJnCpE6uMhXs
HZRMHcahnK5A/IPFAG1vEzXdWE4wQf3Pn+HLn8MfNxhu9eSGE51uLRJcEahEOjptAIh7aB36vdCQ
kzUyG9+AC0P/ZCkJGwryHxv0CZDgn2Mx3iec7nIOihvupIfOJK8dBghs1YFoxwKJnWT8YxF5xVP6
NNi2iVya7KZ3oOzgWRvDXQSZ+T0rx3JrQ9Ia4qbwlE2lHRZ6hgZJy3LrD/Y321jg/tknaBz7KHPt
La9NcKbw2djYGdbtNvU2asbteOjMjbZhL4HE2yFtgjiDBfap1BiIhUJ6J++w+81QzM3Wt87Y5575
v1CUfzvODAxV8qPQCmNMyx9+Z57BHf1GmKs3LOl2guVPQQESRzXTHUCnJagz3Y1bjCBS5u7BUQgl
umbat9idw0qbHg7woBY7CM8jdehc00acZniyASg7vyVseNAEVlWw7TqgDuQ2qDUF17h5pYMGwBCw
xsgp+SsKoA84UojQ68mZBFj0OOlI7Jpi2La5/A0DIR8sYzAPRYmv67rgNyLAsNbi1hX3sh1kEWcf
ydYcsPawJw3O7rn/ABHqXTGLO+Pit6XJdDQKCHvlgOSewxL7ZKQKonlsWxgNJzcpRguKzFIn8ibx
w+2ZDucGO/zkg2mHxmdICM93cJaqwFCogPNl+aM1Qd9Ui+FGlQwujmpr0f5QY1wBWl9glUbSoLEz
jGqFME9PijzKaOWHJbi2rcHmanyE7AZSPtHAXKdDfSVBss9MfS+U3Ng94kM9ighUNgM26Hr7okSm
1nL5m5e5j1477Moyt8KG5UUEZhx9F2MlgBHaG1jX35cB6qUwgSNGMmRo2/q6BfokbswM8KIhQ+RA
qY3obfduHw19SZ70GjRJNW8xeMYQudiX0QKnvIVSoA9IlHj13YTDhdLsF+/HeyksCjNXq40KBVQL
fDceZ5QWgs4HeKyokYvuGYIs2EjEjJLJ1i93UB5xgBudZyXsHzXjJ9XUD4AMFgBcOzFAw3tacMTl
gt04OiIyAYJe2eg6UYrI1lAilZmgvogQZI1lwn6LBvrstENRXQ2YI4dfcWQXXbnpVT1eTRaX15me
7DBLUCbUwBt4QzvYtyb6J52CDBRdT4deUKrfDDl6N9ZDanKMcZU9JLnZwooaMagWRLkhu3ZhNALD
yhdH8FctvSLO5vmqb4cX1dEHzfH5xErubSDEop4NT74ffMudbIgSgrJrPiTxACUaALMl8MPUdCHR
wds8NlcV3CSyxDkDNgsTrhaHjQyeUgmijlsQoqs+TBQgIDj/VPquSuziBOgiBodfNrsUwPsb6sGK
Dv6tWC7bIkUf6VwzUIu59bNyfFHGcHs0SWwqtLuY4PkYEYvVMNTp23eoq8lfAntM3o2dYduQK8JI
1HQZmSMoA7wyMjjiv/idB4gEdwucD1B3XO+mfC7vpNuXVxROkvcFytqvEPapH4Rm5a6wwBVgNoIK
EH9zlUA66JkmZAUJbuXs65ce6N8zcXLEXh0cWHal5XS3OQuGX7xIAwXGJe10JHASAxTFNgeprRQt
hroRfvJwQR9CBc7yjTNjoUmlkvIw29PgPjiNpaoI3KnmOUtEEL2zn0ckhS3oE1qoJkDMbqHeiFHL
ACCGnyT9T7uBCCvR84j9s+TD7Yxf+uIi1f/z8xvVymV26VzpdIxlKCFDQkC6z1mBy8hUZd9QWXhJ
VrNyL1/6U1YuGUDULvWpxoUopwzM9uEe95SbQGaxZVh74Va+EhlZmlMC+Y4KcbhTHAeb3PUt25X5
RXvPj1VVbOlNmXraLixE147sPQY2VQGQwBlMi0fb/o4ReZz09Fq7/YXQ5VqXLCKXVBhfeV42HAf2
iBEUeeQGguYLAaS1hy+CF2DAESKLtD4ZcsvkbdbiiD2PF67naw9fRMgnmAojZ16NR1oXcZ6elQVi
sqy/9vSl97HC9PIAeq9ODiJsv4JCihcHt4EsnMTgX2j7lZ5e2pPJccjsqqgHTGN2ED3q02ua3pOy
OVekeKqw9UtjXaru/uuJ+UEwY2njqeagtFpcf07kTh1uahXdOCQ+8Dq6sfcCG8iphBdB2HThEZTU
yP79wF8eioeHfJdcaNKVz/0fs06ng81bl6tT1U3RPP9m/lnjIi6TB1DAoUETF0bdStRp6dMZiErC
O5pWJ58+Tlhai2IPqVvkzv4XX/A+Iv8JmtktQjo1Ss5ObXCVjwhQMNRznmv3kvfO2gcskiSinuBJ
oBR6qtD1Hx9lrdct2Io3rMb+XnZQfHy+HK+9x/nvd/iCUlvWskb06VsfWNcOdveu+D5M+uXzF6xM
0b+yy38aKnEbObtirk6uJnuLeTjDGeOFPTWXLDtXVMSMLpaY1ut71RZjfcrGPoG/tikjH2qUEMQg
ce15goRJwK3YSJTQTm0eNSK3tl2h003A62lv/T2RzHUZjX4dnItSsmsmWBN/rQEWaxTCq7DKTIfy
1BP2h2O0g8jl/Rq87v5Lz/+b3fungXE4KynkBoijV6J/04gvPMB7SG50M4vt569w/ioBPlg4loai
FhJSRV/b5mTyrnwwDufX4ASi4lIn03QPdCDspnFYc3aNtrsCdYlDs60oDb4htUsfWteeFQ50pj+2
qIYAag1npCHQCYvtYnLeUo4K67hjM1IjAj4QyEGmst8PWtOn2i1IFfm2r6+HWc+wtzLjg2oYwHgo
hMTFJ6CqbSLVEAG2YNl3e6k0F/B0ckFUx1XwTgVeFeXee0Um0RPGhY9rQBO3wg5QltWQbKtUKbYW
q1TkoDz/Owas/z2Dp95zX7nNi8SX/0oCVT+jbtd6NjNQ9qYd+/eSogCxSkVQkU+GcSNSqzw6kOef
/dFTJzLl7rU3K3bO6qH0Q0o7OE3DKt1DdAF58rAyNGhj1w0cFumB4PRQtN2EWgSnODZuLaNq6ptz
X3oEsVouBW6UQqo9KrHGg58Icp91YnqUHrVjanxYyPjBqwO0dSSzov9d2UJd1S0LdohejLdlMT94
kr8MztQfPScJwvH9VlIJ3JFJ6lhA2nQHEuAl3ZzQOOFVFiVoCPyrtBCWQSGoCRxnWwSZRJlh1W/L
vL6WxMVBBFI2Nlh3M63MhsMUlAgPZ5WS4MaQ5s6VXbgV9GD1wdOVirUxdqxG34tEb/sxscn7dE2+
cy5prHPU6yfSchDj8ttwasp6gxyuAW5MoYFn58WqvDqEmP1K8Nk6Wz0o6S1zrmfmT7sqz5KwLI2O
U4Q7ohE3x7DBahPh/+lDkg5djNzlsO20RnzO8n9Vk3LDsXP/fqD1e24rOGdbHouGIDsCBOshbCVc
SHTdNqw9gcNF7wIvBGO0LBwQHb+mwnMOPPNv4UfXQqFhJTsO4+mNyOxf0OeU33NPgMUBd9mdKsd0
iLQZ/ZvMsucH2qBrRgimz6isKK/nitX7KmP9jpD0dw7zoV3awmM1YTelGpCuDqw70SLNm7G0QBiY
VTsKoWsMU4liB6QLiBZe6e2ahvShX2Hc+NQNYMsNGVUWwo+mP6qOyA0LUEYJiMq90/ArdEcT1T7E
gDMAlxCJsvSltq0HROnG/VRaza1XEBkGImVHq+6UiWA38bPQZYosCwwfC9+a3noyvjaWUIdJ+vQp
m0HdnBCbCqtyDDbIviPVjsnHoryzVRTgSnxnwTshIqbtopb3qOrtpYx1F8x7yLqtUAYM4XMb6+/E
2vnQjKOLuk/+UhUyj5MMgu65n5+dOkX0ypnS+6lENMmBnvLocBh8OmlZ7ExQ29hwZtTuu/KlwY18
R3EiCEVWy4ccSxC46xx/+KKFF2xDQjlkv2ud3FsBqGlU+RkY1bkLOA68IYIqhT+Yq56nRH/jheb7
xNiw2+AWboO0oaHrKu8KNUUINhcjAqSTHjfGwKiacw+MtHYuNUQVrhe5uducR22zZ0fPGoGsTiI4
aJV3dYryF9fkMwJwoFh75WS2lW3DBAMZmpY3uQ5LhSWkqFn/PvqRHYexQnbl1yZHIshnPwYkqsJJ
90XEbBsFBE5tNuk8VVcd7txvlUIIo5KFPAqvhwxAMjpf2VOZ3zUMoIuo5BICvza1O8x56uyqqQvi
zpn1HvipP2LMaUQovhkFO2WEZRwWagy8Tr/XsMnojfVz8gN5I1VVbCaT5McBSQnkIkYEq6J8ytwH
NhhZAb7p99eZnBCxqZEeuxmAXngYbaoK+E4U9Q7eJUnsqFk8t6PlbYAQaqE2rMH04lW7A7PTjh0+
Wr+b3rLrCB7mogk1TBAfy5lCIAzC5r53Peut4WJEJA3JiMfSuAqGByCsiqhq/HbvcFuqDWB/yHLZ
tVWd64aTLTNuUEUB7nP4I+1vnZYjSON43EujmuaoteoTSHjDAbcNg1hu6twg5xh8J974NSYQWwL2
EB80jUH246Sr8W52NBJcl4rp/uI5P9q+3+/K/5wRhOwDt+1w7ud35pztm5BH2yY8YD59g5cmUOl3
89E7Wrtq8yCOe8hIipfxAv1m5fy3BO9VGhnTuufVybLBg/WOqrou2aWj39rDF6dwmMc0IDjg/teN
9B4GDa++SU6y5H8+P/e856g/arbFITxpG85ICk3MyNqNTtwIBsPXA1AqgYtQef/umjOEM79Qu7oS
UFh6bFu2CnCnQEuBroHFz8zIXErmXzjDrdy8/paQ/jMEfEqHWghgYe2k3g+QDAcoLbKd22RSGznL
cECty+ettvKmpVu10xmuoNyrTonU90Nf3LDCesYtd1MaeCxquPcSfeHsu3J7WZpX694CEaxC5ELX
OPG5T06CWp1BYnWaL0R51t6wmDnZPPE8sa3+SMvBA2JF04iW/bEPxic/HS/pjt6f9sFAI+9v/6dz
RK9LlaVyOgZGwXP66EkdKpUivf4zM8n+835Z+5TFZLEbdyZsSMZjY/yjg+ipoS7SvPXRrecLQ3jt
FYsJ42seJO0IH6e5yiNViA0S9/HsqLC8BCC2V6b8kqWa24iN6jIjJ/PqvOrr+bE4DvkGm1/3Or41
N8fgG8gi5EKp8MoCQBaRMRx4c2ps0pzGBMHdkDgMB0ECyew+q7x8OylR7BwrgNhYOsPfO9fYXRB/
rqwGS/ckv87GbCDaO5ZOd8i4s08offt8IKyNtsWN1E4dykQw8GMmXosTDEVhMArhEnyavqS9cpYe
SigMcQbdzYjfo3wKlTy/Kcxkw1RfogB+PAZAfvjvdEla6ZY5zsJH3n/vuzbdtVnN9zNFZf7nLfRx
vztLFyXU+PlZBn/zUzFb3q7vbHPvWLq6U12KYmAFtbRF4WlU91MH1WJQxJ+/9uM+x7Htv9/FrcEn
UN7KkzVDMmocBP50BtnI50//eF12lqZMJoAhU90qfkyYiliqown1QFU/hXMGilcGuCy/JPH9eB1w
gsVSk/JR+FC/CBQUWJgbUDJtCGSf4Qydx5G3fPjx+SetDYRFg1UZyvWmnI240OJOWQyh8btNBw3z
1x6/CI4V2FwCVSEArIrsz0isVzVWD5RfYm+vjbLF6pLRjpUWTPBO0heRbJOj7xS3QzvuoDu4Awhx
A7+3nU74hWm/1imLMFmSF9lAJwLdNbzoJg8p4xrGpLXECaa5sPWvDOClIWwKrZ+0yno6eijjj5IW
NWh1d9GKa6W3l05Kk4+l0E0dHJB6UW515hdHLYYWdwcPfhu+Y/9B+i6TyHNn1AmhOsOJc5hI4MSA
V5kXON+xg+O83wyBbH+ljCGV+vlAWZlaS0viAsxK0TtWdZKCbocKsDJkNQ28j8faPmB3nfsu/tqb
FmOGYeGm8DLtTgFvNzZXcSDZRiB+0BXqmLf+S4cM5oWvWmvvxYCxZA8XrBm7eZe8wIVhbu4hPfn8
M1YGytKhp+ldgkgcwudeJs8qJS+jRpji82ev/OylPc+Yw7yRzJl7RI3vY4vKaJKJXyiQu/D4lbIJ
Z+nF47se2KAT94/Q5fZnl0NuYHwxbhDlorHQXfbAZmg4/d6yYEfZThtSV/pLZzh7KZpmOUs8lY4t
5NjXDLl6+FJj3fOirnv+vPE+7hgQLv67BQ3KbXUPjepp7nQ4WXfluP3agxcDF47FpYIlE2wWUvtg
t/Oj32eXgMMfr2z/78v6z/G50+K9OCDAPc3cOO5NRiFmNGNkyq9lY+ylRDrJCh0M0slO7cwfZOP8
YbW/FwYWDYX98KX2Weqk1TByMTROfsJ7pk0hZ2fDst7dfP70lRZaiqRHO8hqy1T6mCG8sSmbFnGO
3tBHFnD6NHu2/lKhor1US+dWMwaT1cGSrvGjynps6wAmBBdCCWsf8f73/3RzT3EEtlFic0p7yF4s
WT/aSfqommI7oOzhwvT+ePWwl/KBPilRa8wxTqnZwv865FDQJMHd592w9vD3WffPF6RkTolH4XDX
BjCyDbrOChPP7WOmsgub/NobFvOXan8WyjdYIPgcN9POMYhdyufPf/5aByzmMLX4bJdwzz2paevB
XnSKB7Ep8+3nT19ZepzFdjOUeioEx9rWZwlkuA3K4y/sNmu/e3HhUbaPPAWFHxwuvT78+PgPnRyK
S/yYj69T9lIm4DRtNkH7imFpDWbrt0EXd7jHH2uZVjHLYSiRT6aNP2+kj08a9jKDP8x0gNYEjeSY
ScU5XDyw+9Nfs6DOOe1T95dTNxUqvspL6KKVXllm7J0iL+ven/F1mboWlnWExf6FaMHKWF0m6WuJ
mKriAj56mdpnjYsI9bCbq0tr3spGbS+JmjClsDSWNrhLDXAvjSGibR94vW3ObbOtxTm1o8/7ZO07
FrOaoYhyyGB+dBryCfBobMmzbk5cXGimj68J9l/7oH8WDerWdaNgsXAcS5UeJdT2hzZzCQqdGzsW
OVIrLK2ciPR1feTOXF8o3PlLEP/foJS9zNwLThxYYFfpyU8TBjG3UtNvv+TiMWkdIG0qWM2dRNP0
WztPxDWqiMBugdVFt3HLxjrOfuXtCk2K0Es1yhhGuHrHDQ+CNw/Z3j0ORhXug64/HV1nzl7aqu/f
YBOkvkkkr9JQW2V25TqYS7VVW5FEXvOpyVsvg8scDKyYsbPXz3tvZXFYKnA6lIuwNp28wyDaO2Nl
kTN+h0r5LJsLS/JK/y0T9NRv6l43Iz+guMTfWwOA6QHkjEhACzuSNisO4Bzp10Qaho5V3c8vfddS
FVG0Hm9QUhEcyDyTHeN19jhSA9seqHjp0zQ57YUGXFv/Fqsr2O+22/R2cIAHQvVidGDFE8n8h6b3
UaRRTqQAq7X1qguUhY9nG4Tp/91DR+5YyKNz/5Da1XBMUhmgsgIuZCjr0Dh2f954zvuW9r+DH3fE
/76lcmk2Cbv1DnNfxkHyY8jHMJ1ToBV4mA6bBF6+BPdNZUcDak9o8IYCWLAkYuJVcGBBYbF1ylA0
ETxQDWGginT3jNLzrjpMVITMvcmR09bVo5IvXoJ0p+dBlXmhPz7eIuAR8N+fPrRWojoU5pxHVO6y
Yfzpe3mL9CtK5u0cUnfkabeoYfjxeUt93B3w4vrv24I8YJXr2tXRSxv/Thv611jA3cy6I1/qcfiO
/fcVvdXXM2LW+bFQSoWcZpkKbSKQNE4ov9Boa5/xPrj/WWShmk6nrmqQq0/EGy0SlDsj/zq0YHV/
3k4rs2SZB0NtqE9cX/iHvPYPJHuYoDJoUX5Vps+QDV94ydpa9v51/3yF7RdyLDvXOyjfPhe0DDsI
XepCYDPyL+xGKwWR9l9z1H/ewTtCMmpSfAjSyyySfmsiOUz5vksBupk4L85eBcsGbQgMI7qMb4lo
HYRrbJzZk6aImc+dX5836srhZJkyS5FAHhLYdR3KdrqBZdumpsGFEPDagFicdesm4420Bao74Gma
jDWUR4jyhFY+filIbi/TZEk/6r7nGAwJ6knEnCACT8N5IBdWsJWhsEyNkZYhT69L//BeFaiKq6Cz
zr2ptgyyhs8bf+0NiykDTZ+bpJ30D3Mx37kcJh0eBymo2yZw/7vwjpUOXibGUhzfqsrP/MOQB7cV
CnyI7p8///krHbzklxamNaPbBM4h9QnESv0mS/CPfvy1p79/0D+zJIe5VjJ0voPpPoSa8LD0ruR4
KQq4ZnK3zIJlYJbkrl+wA6cKKjxhZG1t/dxH1QtDLnzaSA5SVgwnDXlwAdG+rX1h21uQCYsW2ssZ
NC0aJCpWwAeEdoOSsHQoUihLKhlbjXG33dSkFxp6rQ8XMynxmy7pBHMOQOo+C+KrcHIviR9XVtVl
lozDRxpVbi6gqjXdkjGLAiga/G6nUZ/kqqfP+3LtJYsDzgh2j0h9+n/UnVlzG0mWpf9KW757duzh
0dZZD7FgI8AFJCVSL2ESScW+7/Hr54MyayrFTqVmyuZlzKpoKVEEQCDC/fq953xH3xu95o1Sf0KX
hDgvNW9Fydy5VVE7/TvPpLwfbPUJjURdS2x8YVr9tKKU2Yd00P3caaOXalX7bVHl6U9WuL++f5X3
Qy5DmI1B8KCxl6Ndb+IwRA259AYYSn31Kex/tmFczu9/VUpdnv9Pt0JDuI1shND3U6tBz11S9Lee
afXNDXUvNhN1KKMbp+iQW2UXB6qwq2qDXZpRSxIWwd+/sz/6ZS+rwJ9eRKTE6rxiK9oXs3nXOtY2
1ZZN2NhbYPf/5lO8u+XDLuxEy5u3Txuzdie1eyE4SXXjacbqbqZ3f/+LfDuX/NXb+e52ShNrSRRM
Y3tttjPN1ZrYetFHRUctGaEvrYRl4tFFndWuMJ90PWnua83W8RFqcfTvISmgKH3/dk6jXsooFcae
6PD+HlUYguo+Lf3RCbWfzN5/+Iu+u+1iaVXCqCduhsXeqhaiJB27WtZv0/q2zV/66K5irIIx76Vp
sp/0L39wmbwfMVWcl9oSxfY+M+dzvPRPqkw2cY8bL3fqn9zkl0vuLz7A97EdSzFipxqlvR975crJ
04vDEmlZZ0Rf//4S+esFV3kf1WHPRShDtRnJ+LqvasUn7Mn/+0f+0dtz+fs/30VhzGZc8sjotwEc
dEnizd1LovzMHvKjt+bdXaqNdITE0o9HTT040XE0r3r73yq3lPez9R4eZVJEPLQxnJv5sCjXrdj9
e+/Ku7OiUw4Z4XLdeOyKGK3rjSXzQCGJaFh/5jX71nP5q2vm3U0fqu0amqIajzkJY1LGt43evVQK
luMC7x/IBCNNTsaM5XFeMXBOKO0oanLpD+TZTLV0OVVtJ3PyVFXz8s64WyOs6qWNOOdnabba5b78
q9f4bk2wo6KVdlJPRy2L56excUyfENjc6wpaesjMx40JijdIZFFtaoT4n9cqQoGYWgbLVL6M12Ci
14fQoXN9yWfUPTlU+QfaX/0cODY2TiS3SKaNTjoPf//B/aBDCKD0++u5Mgq90OPL9ab1znNIJy8w
mUY+DLyc2FWzC9RYSuF86lsaDVgmoWAY86z+5Eb9we30flIZJ0AdbcntpIF6fcllZe9wZmq+ndcx
FpRw+snO9NcFjPJ+YpkNUYxflAu0XqYvYY5PuSh05L7L86SEe9Wm6Pv7N/QH9+/7FBHakAtBd/Fy
nNQ2gYpd9gGQ82xn2enP7DQ/COFQ3qd7AkCJI1a3+UgY/LICIpTGvZgS7ZQpcn10nHi8rsJUXi0J
1InK1LWvnGGX40DEonTzqlTOHMSpdSXMtZ8dtn70Br9bt+SERz4JneUIsSKGBcHSa4egAER0Z875
xzr+mUb0R5ui/W6tiQhTJPsYylxdD7sCu2DeUU+TigSQMdBT+zotHABv+zz6Gmn9Txa4Hz7ru+WH
FNUsbuclJrPRciFc7BXBksKZtbDzA7WVJ+tuK6EIdvYNeTs/WbJ/YOxS3oeAKEOTtVVG+2K2S0d4
5PqqIZjmRVX8KhbNx2QwG8IjCyXxs2RFCt/nlvEcOer0GnXMRrBxMEPdJYqYDlWvimf8Atg0mtGa
rmUyzy/frvr/fJn/K3qrbn9f47p//Dd/fqnqBXJA3L/74z8eqoL//fflZ/73v/n+J/6xfauuPxdv
3ft/9N3P8Lh/PK//uf/83R+CkkSM5W54a5fzWzfk/bfH5xVe/uX/6Tf/4+3bo2B+fPvtl5eK4+jl
0aKkKn/541v7199+0S4dlf/88+P/8c3LL/DbL/fJW9t+/o/jW1W+/Y8fe/vc9b/9IlTlV00aGho6
SzqSvDqqlOnt92/pv+rY5zEAKw5MW+MCoCQSqY9/++WyQncVwLrffrF+dTQNAJFjgra36MTKX/75
gr77SP71Ef1HORS3VVL2HQ/0/Vprwtvi+Ygq4fU4MJnfI/5Qccf0KOVe65zifqwyQkTm8sEKGaTh
pmc76utNEa6634ViDzlhN/dfkOMq/tiptNHtM5tccfjZjXW5bf+1Z357VQRYKPyHrVnIOt4tIKbK
Gbwtpr0NJWeva5FLGFYeSNHf5HMyePzo5CZyVv0+pFTUMC54S9RI8oWXJzvEX/Knj/GPd+3P79K3
4cCfXw+4fjJqbBwTRLvw/3eFnirFGK55vR8EBH0zam8jhYF+xJnMmqONUfTCg9m/x/7UQwRRQ/SQ
x97WncDgDHKqRuNsDFOGJRa9tNoQG4Bf6WvmrDdjpMyPifaz0du7ooMXq1iGbiiaSeaTqv2P3MuQ
frAuV2OXKcA3Css8JTlxjWFPICM5CqfGjg0/zefPvUVFohVV6ALV3DCtUjZ9uzqbzNAPRFqckgJc
epJV9Saps5ekNHtvtH8GQ/5+EvT7i3VMFRQTF77Ku/x92dEz0mrZH3YyE7nHKcrNMgdKRuQedFXL
vQhkCeSPn3S234VE/fGslqZaOswwi03u+2cls4zb01R3wCtMKBHVtmnCxquQ5bhE4F30uf1nMBIU
W2Za7tJJ3pA7C4TtZ4H06jd8wfdX1+VDcjTFMR1p29/W+z8dI1a4LKJdMQLkMETGZJ32pROF3jhm
e1PEzlbrzNuyxBn37ctoMFbp0tEt0yEGQapc8G71NQ8cZNRi28R05m2ssBfajtzLWVheqkaepDVj
W5a1JdoXtpNgqJhzTvUqo0y2ssfACqTsuiAionXKvVjUKRC6OQcDbYrtKsQ5M7Vj1y3ygyP0D52q
fiDzcAK7lKwcHYC0DZZXVGW3cQoZSJUs8zxO4J3Fr6Om4rKpoQTVqM7wxjqeXK1sO03yU2jq7Q40
y/VktMNh0PA1dVJ+ksw3t+TQCE/IfqP0zUbluSD/vIy4T7dtH+1zZYYXtQrNWzg2aqtyjJIFWM3Q
ld6EA9itFG272GkZmLqBXytR4YwkpjzqkngXCZ7mroJ/chBa/5rZL52TT2eLrXNDZMwtT/01bZsb
Xa3PIkGySddp3M+p5yTq5E7RdA4z8DXSwP8V9RBDhK499U627HR1im9kAsW3CGPiqFh9T4OomGtk
4U0eDnzpmXVVM/ZGq16hXKn2ukuawbiFzadvF00C/1lke6uauOTC6jxps7ERhHH4cwq4y2ribjNG
9JiHrA1q7CVerY4XNowofArn2C2aWj3W6pDi/ZhvRivsPaMH+d1wY/+kL0B24PfHG24jVVG4h+Ax
OLZuOe8jsgxGt4bR51t10TNPhBjbp2y40tANeTbdA48g79smi+Yt80lXDdPR77VX0bKQhiYUv8pc
9F2sOyRbjOdQJPUmhBGDgrC+D831BLV3awIu9Zoyfe1yY91KS1xFwLyr8XPYQZTU0ibcNuCSXGJn
hzwZDnOs72qQgFF+xbJ+CNdu2gCJv0/r9atNZtaEcw9Co2+tGlg7DDjawHvOhhOSuj49TZm75m13
PVYlF79y1C5N4LHunsrSGTynm69LEj/ceI5v+sGt7RoAORKmUuD0NMoMb6Mj306p5USBvPhnJ3KB
pE7AtWIa7uJ0L5qyhCSprCpiKvydRgKDyCF3Y8gfccy+FJZyP+if+qT5lLQPM/uyi6/nZpinnYCZ
hWjwSql5hIkEO4vOCaPMedjmD7wQ06XRhd01ezS7unOnAgrSqkCIExwHTA0G2bSQ+I5lEJMCjU3n
tTLy3JVmn3k6rCWtSkExJdXRXKZhq0SGZ03r5yhX7qXS7AwJ4k9Ypw5FrxeKqnSdpsq8EW/LrFZw
maanWBkfm0ap6WdmyXZUOYhrA68BU1Urqhz953QuzGif9FZ6lDZ4q0Q6exsveAnckMiDnTm0B7U9
tRflQbioT2umTIG17qHKdYHM2LbmJN6lgMcmkTpYoPNuI2vji4kZstVi3+7j56QvNDKDwhOhZOR9
2+t1L4BZlXGg49U8xtpEt9DsAtGlMP3yT6PN2uVUy1OmhmWg2+XXUDI6r0wSzllYbDdT6kMzVDvT
hqlewebWsns7zTOIa9FrOkwPfantkwxbqk4T0k+akGHsCIqQ5qS1HcbP8cQSAJTaxsSLUddQuARX
TtBdJD/ovVdm4eAlCz6KVJU0MJrUTyVOAfTpaKcBEDZLtF0WnJ6rcq/HDA4rhTU7vcSuKx9M0Gdu
79TLdW4MW9AEmwapNTC55pES7iDi9rkbSJC1Ip5ASisO+qNkyHOhV9OmTKpDLr+Yy8AlZbfahuYo
Z9VS45kVoJwRq+6+pYHkqgQuzCY1F8F3iRyf9Im0mBnDrDtdrpvJtCGcKpoke7mBfzqMXX5DWBDk
6hawOgG2rZcYpb0PB5DWjRXiSzbINDbU127ExguY7tYUcgyKgqZ7glivLkuTAJjWbRvD+iDbFpJA
BDIggQs7DBCj4sWga702XBh5hG2/lcfcOcV69VVXQuV4CSwPu5u0coptkReYnrPlQ2UhfxpUVo6C
MzDb0abX0o9xhWnJTARW2Gn+rCoUPZNabYycIncYlHvVbp7DZJnvYyKLvVo/JvmkbcGR7xIzLwPk
N5/W5fVSYe+sjgpmLuHtaau677pMafGXFs44Bc56P1u0cyxSwnQDrraSmunFqPEMCVvbp2QMBPMK
rwPZ0nwkhmU65nbyNTWMaAthfF9gwIWeNd3o7K2nWef1A+z6gBeLO086QW/PezubWOUS0w8X6Cv2
SMAW3aJtVJqDm9lkOJUl8MtWCZRYqbctU1fwFCqaS3VU/Hm1TumlT2dO8kpkne7BMZQB4dMflUis
21zXu4Ax8LWR6nfqVM2uYohhWzaYAaehhITb30MzHLbEMFMfl9oAcJLonSy0YVUq4XO6Dm5hlskn
S4F9pkXoVK2k82AieuqSfaEpSccwI06wmp/yCFWXUJJTlBh86LAX1FTUm1XR40Ougp1tWsTN7L/z
xy6vOq+1EZYUxeh4rcip021+v6kTd2Gl3Q9piojSKR2WaBNaqU7+O2+YUxVno6pnZKesjtmKmbzQ
7KMIM2bzq4PvuTo6RQ/Ojw2aiYH2KodoQ21X+m1WkYfVxca2kfPNZeqo01OFfjsTwLAyeCR0NG+X
J1EqnpakV0kuv1psAxsrOZilmnhGTFpb7eVE+QS2putwHiXNTCW/tjXTb5tIC/KuPThW/kVTqu0M
eFGfhqOhLo/dGPojbLciah6HRr01iZ72avMzREQyruDibW0DAzsVLn5+bfxgqf2XpTWf6q7YjVX7
WKgGCSHGSFDZ+knx9LzRCGTOzwBI9Y2BzTL5KkztNrIaOMCUc8uY1b46LpdCQrJ5xuttSEpQgA+P
f8B0R+9iv12cR4z0iztGq7MtmpdZAdBL0pLuO3OluBf7SW63u6Ktv+hh85a2ljeurMkFrgHR7qQS
5cdcKSfqRHMj2+a5hD9LdizuLHVK9wDuXOazhb/UTuEZC1VZNBihF3cftZGQtmloct/U7NMIV9Q3
ZcPHCHSPXLkcFb+vzmAI7IVwNsDB824s9WjbXUCzQoEelGWzZ3DjZem6ujSvwEcgTsqW9aldx8QF
8pG59azdh5F56eFF/qzpTyUgCsDmSwYBK9VoRbRBmTl10ADJ8sw2B+gA1t7XiuUBaxz04crGXd5X
j06SLNsxqc5qRBIL2VTuDBA4GPNC34oYJ/68XNXQSPj97gsnP4veGoK6vbHr+MuSsHRldYnY2DG3
RjmCVZjUc9K46ZyqHiu17yi27VWp5g9LKHyd4mLT2vUdONY66Ft5ZWmLcVps0FbWkgIuKagVopAv
ML1jbzKKp6yUwK/q6XI5CriBKpl3SVZ6qj0+l0pvbVv9Nqrn6ZpQhYDKySU/0MXq6gSlrT1Vitl4
GrGIsB/zZ6Kn501vD4exC+Y2VIOimu+aaXgwOK1v9NICbRzJXTk3E8QrN6/HahfWUBmsxOiO7PR3
STd+TVLCtgoJJgJYoRN1rEUT3XMH7BuqHmtwWahOpOY5egGp2krldplt1ROF9jS2UxSIQow+WO+D
qS5YvaCQRApMWMCaKHNCBcxJsSnX2ePaP6V99LVUEgFJpfWWnCV0KLPCpzvid5N96xg528+N2nB5
RXH2tVHF5I9M2Ze62Ntl+2oM1AhtLanyoumzNcHYM6I3ZzSrXdKmX1tlPdDdCT1TbdHgOjrHi7V4
7SNWWhCtrqYr96y6uLj717KPd3LkUtdiaWwkL7LQSIKceb7yxuqNp55t24yb4hTVYBvMqLkmAnGr
OSrkNGeN97rafCA61dA0Cgdjo3Jw8ECNrKfKdjaDaD80RRwHyylVGxUWB+jeBCqFb64vAEtO7Wxd
DfaquZaidW4/Toarr1TnRS49QGzwo5TsFPct/QyIMsgpmi0rwAW/mHe7DCdCtbT2phTrw9gqIfwa
vT7zyqHHNCwjon6dgVXdG3bBQdZJ6r2zrlcwPowDM054IaLOfErG2E1Q+T6sU3/9sMp8Z6+2cU5W
0ZzaMnvJu+wgOpXuVN9kflWJK0PLyGxUK04g6bCj4En2NoWYX12IqxZzo0AXVeVrlDTrIoI07Iyt
FppJEJfqfbhZRNwdxsZsD9XUcohW6r0yxctBNIlDUh3awZiuCUTUts658OvmYJlTvTe7t77Wx4Oy
DBjiLQYY6gQEOor8QSmVQ3f5Egrlo6yW0euU9qGYwtvBASJv9/Xg82uzCNOBPGQdsGbqKsfvLXU6
tJcvTQ7A18laThCqCcRnaA6qYobe3CSUFgy7URqXB8U0C7z4dexqA+m83/6YN0W6N5LhqiqTxI8W
0/E0EKkno00UF5des9Xsddvnoe6JuQrGhPNGrsDl5WJzc1nPu8ZMVfaC0LjqnPGmu/ypmGRDmSuJ
Q44a9krVnHfJVHK7NV8N2SS+7RiEswAp0SrjlkVk3Wj59FrwbgsxTUGVysWXY0Ewbskn0TlqHswp
ROxOHaYrk6xDH2f7g+hiDURoya47Ba2uJF42RtfdEPNemJ28/vaF3KGHGKISMzSXUN95O4uquP72
BQzK/ZjHLTxrBTVP+milhn0ircrVLf8y67oqhFh2Y46OUuhc212o0gQ72wZLVpa3rwOiRw6l86HO
dlkoxB1H90wtwNjL53Fq973Qb+s6O+spgdDJcpL22nurWF7Lld3UqAY3aRLq+9Xyx8IEjmXH1+G8
ZP4sh9qHWxWmOhz5KA7aFM24WdxYHHTQKeV+uGaemQNUJbdzlyyZSuzL3AKvqqEEB21UHlUaFPmY
wYBhFZm7T+oUMQaxF0gv46bO8mWzWs6OHQsu75IHDlw3TwLZIuA731rKGHRFs4kse38hfaFp+Bgl
1C7h2Pm2BRzs8vDIGjg3UFbbsXpLmbhhHneXNdotuVX3q5Q3RssOZunNl3qJP8VKp/t9/0LIGdBy
oB11IVZXzUkVcOjTOLO96wWoDan1Xish6RaVZm/WhXLe1Ex20SI62Rww+7o+4m3dlJa8mcvmwWm8
oY5pi7TTl3xmekoz0w+HClai8ghSCPRNf23N0nGJpOXuGOCtsz3r/cp1wtLqJ5XR3fSL9ehoT9Iu
90OCTZagrNm2TohfYAKD9qFVC3xVUNFMdbMfwFXx4c33uuE8OfH0pKTqB1USZNK0ILPHDVNkWoPT
7JkK+DGiW1xbdeAS0XwgTjLz6bjc06QlZxLdJ0dyqAUZV08Kj9WPo/q51eMHMLNwxguIPgznXkOl
+RLr4k0YypPqlMzLeqPxErT3fKqUdd2d0XD3tkvFRmwonKpnmJEwwNPTsjLMgyh4VOUMx3pOYwpm
uQcHCh2/Uk8QAc8QxCZfDdtPtfVUCabRem+f52V1gnEgzCCzt4usF890mCzTNT5JselHNeh5jP1Q
CIvjdXjuQvuukvNGMeqdBJB7NS0tt2GyuklGaa92Yg4INTqG9IAWhEt3ScpEAeLJztHQiOPLKY4h
OLztUMjPWst1Okc9rqCs9bpJNdj7CBVPMR9Y5XgV2bQWCnUxfKqqiLJzmklNHuSp6E2XE1PGNtJ+
oQkkEfGbC7GexqdRtFxg0JmpB5NDUayfZuLcQInWehD1E2W9cRfFertx+qinDqgi36wAl4TC+LSW
GesAWSSPVfNI8oJysCeNjEr066FR6R4O6ZguWvTiVLbx2A3kgmUGfj5YcEosCH7o7fto0q77Dpqn
zrl4KEl3iquTqonHPmNhhWkEAWqVgL+jwK6BbkOHQZGylue8jUxCTS+lP7v21NaBU5sBcixzF+pt
u8tiTvo5ZV9XCwd2jFGxQtXNpeXkXVZor7Ipe1eH+0Rpl0u2QHNubZHe1mP6uJZcPLrgqqArSwCc
Nh2Lq8JpiLJP4Z2bU1S6K6GmnlOW3a4bzLcWQvq+y8yr2C6SrRO1yTaNinnndEbiaRMhE2a4RDu9
Lg9xS0gZ7UeSJMp13FVle9eFoe7q/XDTJK0TVFH22nXXXfoID94xmxGndhUGE1EDvt1Y9UYLmzNx
yFt+fX1r8U4RMw2SOa5Y0ou4GjhwK+gzOqeFEW5le/pJ8+1aMS3ALmIHBuUp2nE6esp4acyZLzaM
9mAUWkQYR1Nuco4OuoG2bk7WFwdSfqp2+cFZx8oPHK3tgnSicZ4pBMXoI1LGabhJe2QB+Vps5rY+
RniA90R7wxVEV5J0VjD0fXUlp9uBavVacFyYJziHhd9Pg72tHJgr/dRw3eaIFuSFpJ1yuCQrIZx3
6mrX3mTZu7SvoPnVqbEbWwjrehalJyet3jKH0TUyD1+bWDpaewDG3mRnp+esME3jtmmtyrcXbuBK
v5vWaAmMYfhY2mMHkMdhA7NCP5pH0zf7PPHWcHyIVFkETqc9Fflonpy8PxVN91L3/K5RyICv5EBO
a4Z+epmVMLAHh4OeYcDun82dnMKdqNXz0in5fR8WX7Kxy4J5WRq/VhYQRlp+vwgJwbqbP8Zj0rq0
gvNdq0VbNV1QuWZXi8E0Yi3U6mqw5CeNVBptkoLNyMAm3tpLkBghToZOwUc5zh/7qcIlLlMoQ5yf
3EGRt7FSpQz78ucoI0zKFk0IYR8Fr+hqXj65vB7BmluVvvth0qq7SDNBHXJjB0s+FYQEZp+FrhM0
lmU2edYXAj8gVFdF9bNIe7g2jfKDFmblXRwKuobtUU6ruSNG04EVdh2Z9QZQh9nz6Gw3y2agdtb0
3LkiKYUztIydE02R7mopnes2W5/Hej4aqZ8ntbKdLLO60VvcXdRrNBL0uSJWhoGazi4PRZHiWk8B
ABppc5BW3+5yJQ7ddtA+NEYrKZISgiqs2F9mnh0fTnRyvo7N9ZxI/miD+UuzwBwuV4tIIbsxvd2M
olFZEdPtvKi7ojaaW7rOQudOmZmgyoiuQGeNcjMqbe3RDvkgqLG3TkoOjw6ldGehmfYbgOgkfWBX
iGbnUM9tf25GuoZtHnab2FrI5ykuw0SHfYoGexprjVvK9S1C3rwt6wVK3cQRNOXAsZ1rDmhjBDaO
0bYI4oIx4mzjhXMSEgBnaVh3scpBE6fOHYEnrU/+QAz37UYFjWcoOoEqsWz2TUqAgWXHr5mhRZ/W
NC/dbh43pZKGrhK2KTGNnETSQTvQUxzGprx6C5tO+vYQWVfZKGhGDXrrt4V6azRwKg0yUBSkAL5k
UqO37E9ST9fNPI50KtMq2xbZ8xKj1C0Xlg4dzF/iiIKhwJAgu0JNYQnetcnaxLnOAgA4sBox42VD
dZ8spXIFG5NEzlVej0vCBn4Z/iT9dZn2a5BNITFOBNcw5mwXd05nfb8rjO1MRMFmjhnadglzg3TO
Odih+iUpqd6AtfVonh3gN/Il0a8VZy52dk82QjP3j4a4XfLK8OifxWcocyRHzrZHlw7ugtA7r5d1
u3MMcWr6hfPW57Gs9OPQjFc6AO+brjsnU3hu0vKTtBIYIdgTo4ptuYhvZ53oLQOIWEK+F/0uax8V
zeyDMbJ2UDyf9aFakKAo+lZZqKwcEWQkEeysEgVeqo4M7EtD9cMomu8J9iadOy4OslHkuavzNzI2
071C0RAgzOw3VpfMBK7F1m6Im97PFIWDxCC8tP6aTmtPpkQbua0gV8eqHcaAghBvOS8HKe1d3c37
mFPMFVGx83WfO9mWxa7yJyP/bI1FdBubkfEQdbOvtKP0+i5nJQaQRu95ja6KUqldZeUDyOejA6R5
b+vLy2QxMhE9gyDwav7CMr+frZpOU5+IK6FNzmWHEtfxSIJQ3zmfSexU7sdHfulY5jUpSzqVmmOr
20FSAhfdLeb27rnnqSTTBrq0MGCtqQagSaztbhAO+uEiujJBpwKF7W6Mbj7ac093yGycwCKLyO3p
UnEzPnI4qsbtZ6Wh4RcZy3RUxubEvM43rSkmmtB6DTWpurU5EAKVTtOeiBbGqkbjKkw76KL0+rHT
AgHR0c8sO79hoz7mubMrRSO32JEHTi5FdA2trNOK7jGCr6oVaX4EPIwlYkjcohKv0liTUzWvB2XK
uA0sMLDWtmATOqpKZVP+t83d4Bivc1s0gEynJhCrTedmnkYvX9kY2lQhJgWuVJmeqXsIwdDXYNKi
hs1Av2+7cN938+KNeUtNoUT9biw+Ro5+xfXhW2lLim65IoYMF+GWZDkEpVLCVZZ1QINM7GlWsngO
o31oCqv3Qw5/uIwY73cdO3jI6XUode0q3ZWrzW+qye3cLguBShndDR61KQ5pmPW+rfRBpCjVVVoR
M1oxncoWEq8K2R+zxYQWxsd927R2dFjS+SrPQ7k1KEC2y6pukmLtwdOWH3WOd26NfpqRuQLQImTf
CuGV6I3yqQtH/bGld0gZ1XxNsoKhNQQkX6MNRwING15JFOE8tjC9W1TGnTFuhtCgolrF1ggVZx/L
jPhPS9W2Yi6ZdgAh9m3j0ifVRsuji5a4CUDa2z4uNW8tB+0kImatlJjN0eynL5D9XhNwLpsl0we3
yym5255dpE44oJDOI4b6JtNIvewqEzBpzNCnyZTmODG95OAk9klhbuu0sM5NpXyQdZTdZOFhKPZh
bIoLeuGcr1p/1EYKsCWsjlY7NcSirdLvVI1QtTyyXEcxCFc2M/O2yoROVNDkkVG7+mqHWUtW4Xie
02Y6L1MY1M7U3tStPl2oXVVgIuokssG+NJcy9YwIXj2LjLw3rNPsHZc/MiTTbrhkAtNZwSyHEYLJ
LmZ5jal2TvHaXiddMd13u3Xo6MFJaCbqZRbkkHfy+98Nmr24y2JkPvN/Xq2lzw9ZlpS3yrTsDWjG
D4aZin0IxNVz/DzSx486sOHr0Z655NZ6/KiauC1mdMbBt+8iBu49iawPgaYlvDFMtF3kOPehUFOC
wlinG+WjMaFi1C7N0aYq7grFTZd6uId4QKZSbtyhneDkQNZQ1FU7vRLJfdo1rLTK+rs15v+1ou+U
vLRVV33t30v6vlMB/n+l+0Pw9Te6v6r4nF+IJG/fRIS/KwX5id8lf6b6q6HqlmZbmoFwjS7APxV/
hvKrw7xVkzq2osu3ED79U/Cn8i2aFA6TH40+ncXD/SEAFOqvlsXfIXJD03NRq9j/NwpAXf8GlviX
/kiidUdsZ5lor+iDSWiH3yuhoISqcjDQFuQW0+vFXFMvL7r600jOOkoMIW+Use9uTCx8xLDxDV41
g7SwIi9Kr9I70PD87OUbJk5XenShdmwNS57tsX0ceqv+VI8J8qpEuCMywsNqT/IR5SHxx4V4ttSG
pn42lbs+1MNnhjA5855nMyLVtW7Q0H376yxa9ro1rveqETFbjvs9rzjbGtOUPHaK+ET0Y/giFnGT
FWb8MZlJPh3b2vTyAVWEvWbhIwHXm3FajGc4EUYAZNkvGTkHazFkZ2WY5+P/4uq8mhtVonb9i6gi
NOlWOduyx/GGsj1joEndZPj155H2d0Kdi01tsMaWLehea70Jcu1HfbMRy6bys0xza8Ugst80U+Su
qxbmSIiXz5Kxb8P4dvIeMssZDhKr7Y1LefVaGqR2WK38C3kdIyEdEMPnqQNT62Y5N8zKoRj5B5Ks
0i0TzGTLVl4wRGTI0OH07oRWdnbK8WgW0vmR1m244cTtczym9a4e2ngnRRE9Wz20OBFk9o9K4gv7
h3oz6pRkOG3haA4o99g7BZ4N8TbqPP87qH/qSQ//Shf7ZlhJyYvfV3KTBqV1JAEgOUPqIQzLTqLX
oJzf7q+No25t2dHw5QY1qWaNOTxmkkLPiB22XmdMr/XUXSzyThemNcUHR2fjvh+0x/tq8zWB1e62
k9H0OpdWuRSQ9w5GULyii56OYe11K5gZ9tXMym49i0I8jDCPN4ZKwzPe32KbBjmZhX2W7SNSDg+o
dmfaQE7vX2C5E9vZtMNzK8gZKYdAPOjSb9elq2iGJSLPShruM/EHcBOGOnmtnMZfDGNQv7uoson6
A25yhzem3+ay0n7z5CnXW5c58FGvDGs3F3N2SA0SVRv0gBtMNJvHVvVYpvCneuGzZcOVwv7MG/86
qCr4jYw3HvEZxLAnDsDy/B/CJH+JmY3fe2oF9u7Je6LLnNf87IrIgsvge8527qR9rDCHPcxtI/dG
GXgnFQzBRmgdPvjGFFO/9PWzoC5YQszJaYvjeoFDiP7qw/oJo0fv32DkJLlmoOa9c8rtFE/3jihK
2x36H3+M/w5NkH3Q81AzdikRcnVZrsK6mq4WepR1xQD4glMYe3NhrBuP27ka226TulN71aFD0d3A
kcqHBnaGmznfYY0BvesQJRr6WJa4dGde1j7mURx+6smg1DSD9CW70YOrkcBdWhi11UNjH+c5cQ50
2nJXO51/aWm41xME9os5QlaSE4kOjat/2iI95JkdvSW1n21sjOIObnK7425su15rXmGKTWEM8UdQ
N9Yao4Xbr8ZwsgpUcMgsVezgOGrs/0heLQeXJDTQ36WDU/yrpzTTe9SxX5XjXCwlSlDN9r1hSINI
AdfcpPXcJ1enN2pa+J1L7b8Nsecv9eDkV9vIGWhUkXks5aCOWRNVW/hPOEaLIFk5lDJvoA+/bewk
/4oOV37pgznMJcYAk0NbIAhxrApt/rGymafErfuLN9+mEYGuVpoEkIVoyvDREzpc1K6GkYgbgoF2
ibRuR6+kq6ezJTtx4kkRq8iy9GdoWati9r0f3C2AS53Ru1KJVvs4IoKtt1XyQtDfp0mWxgncpAXo
9AlcnZL4Sn52cDYylfMI2NPnXBO/nIRNfI1l7zMcgpj1/33BYk7w37+QZjb/9y9sVX20Aw1pJXnn
vaq/U8uQH5Yfd+s4zoKdM7bZB5kyiypI4zdiDlgBzEaAnvrZh1EPBHpO0XQ2LKH+4HO/v1+HV0Ei
aQXcef9u4zSew/irxMbwYgaNeC5VHEB0HKeNBUPtuSWh8SRi5+P+RdxlxLOqphNzk/Byf4EOfL22
bt5lhmp/Jz8J3zHsQWA4Bu4D7PvqafJb/uP6WMN/tkSvIY5y6oz1qY2z7tmNxg67mvA1NGFlFexh
by4sMh4Ux9go0lPfk4wtkKS/6iGN0+xFMa1qRFDSy4zU8fd/oZA2rbyo9Pb308EJd+5oQkusR/tR
jOrtfrkjxHWbtQKY/PZjCqYZi5wZ1rnztXirXu8/jQkpM0uMvhd5WVhLHTO87nT31rSt8UTvHB6F
jqGg3a4XuXrMgIj++GQY9FHtr6OpCc9RNdNrm2Xx6DqpXAthmIyL4cgSF6texqSLCXOQxJvE2Uds
EgfYyb9mAVQSx4n7KChb9wncxI0cK/XSBu1nNzrNh46np/dkIj0b5/bmKc/crYTY+wrcIC5wH6/4
oB5dM60PmTFaj75Is006hPj+gBmRSDrGr2izxlUQ5xYa6N7YpqwNvDgYIL7UzUYXdvk0hYyEM6dK
P6RMX5lWMWlPx/lPaz46hin/qZ4Fi4gTAsOw3UV7OOUQSZmXVSD0W4oh4xrYpFWQ0Vx8NYXYzY4L
w6BQaIjT5AvqC2kKhOYsGcmb+4jOBvzJc//ImIiwLOrd104RyiGV67+7PlBw35vxl3bcd7Ip1A+j
qkvSTJhqlYF7JHtmxcRk/Oxx6WMTYZuPHZWc3XKwVgB0zWcANI2YwvhJBj5RNOBgNbNxaG9bQOPX
4fHmwbef6tHYF4Foj+gHyl0MAe08hIx7NWEODxOWSetqKIunarKzVS5j/48jREZCS2u95fedg4/3
s8nZB4UKfmgED5VZ4XQNjRs+FLSTRdKuoR2pdDGzodo2eC6zmezJ9eydUaXBPw26bOi2+Qfx6lj3
of/XhkgAwbP5O+bDQ0lQyM+UjdeSoIqfqTCfyVcLvyPPeOlCv/32jP596ovoq5fp12RN/VfvWj9F
XMRfUs6/VtaMn2XIk6mJRv0spQUzVQ0z7nppsRxG+BvpqNtTGLjTQ1RrptXZPH7r0Ny7Xl2/sRDJ
rWVTsXmdhSG5Uz4AOal1n+nk2dbmCMbZVm/ZLTLEnnkbaWpenFwk8SLEz8uKA4yZjNqBiMbOqhr7
2cc75lMqqt5JdOUrbXm4jH0ln8SUinWMK+JFezLZoTVb+hFVUOY3zWHKs2iXjWV0SnIZbAoVug8m
ov+1lJ7xBN5m0e818VMsGZnc2L2ObLp/Y30tsE3722VQuODi1E+suGpJLJdAMu92BDBn/Vs0lwN3
vjQODpLMNzMoDhG34lNtUG3XQu/vr6qzLjs2JsTS+2lnAsox53S391PujwLm7qgv91MVwTqgZO7L
zoDZjBKQcmFPUGb/PEAs2nADxdvS6+v3ESKp707wwshheXJseblfxqOw2CmVMs+gLnknjxleXJ5N
B7PLLy3kmrOudb+SU25+ZDZRxKzyfycreof4nr2aXk9ua+riAfl/Xkqxo9cDwtN9oqrNMI/J39Zo
NM1DarBIeXpXGWz02u1yxkMuit7bSwIdbMzJmT+6IWKlw1zy5GvUNyMjyVVe+NGnk7jL+0vjEQ5t
bjEmHWo+rJhol21fNNkfJLdHVv61i8DuVaah3OueiTF1ZfhqTW23Dn0UUp7D/hgxfv40kzP7d/4x
FxPBaQE1y/0yQgB2+HB6jWMyHqIyjdf/XSdL1Or4OQRa+8euFMS0376NN0Zfzmj517nKGMo0sKoZ
sZWfxEWRgAo38YE4NpvQatWyoTgY7RveU+yR7yL1VK9ABapXvhu1o+2LdR0MGIuklVrD8+u2tifV
60jjtbTJN9qHTvy3Mf3inFIrrFPMEzehbuo/aY9/dOozXhzLvPkD3z6+emG2cSJrOkQFHK9wTvUj
NsUUbaS+38+gVlZM1r1TF/nlKYSGt6+hJg9Z1l3qoesuDZzxixyDJURMBkW36yEhSwFg1aPK034j
CHGFolZHT/cDNv9sUkZJ2utMsG89zPz5bAIXNZVuOdbZc9Ab8vlG8rI8HT3ezyxX1BtPC8FI0042
cd7LzVjM485UKfl6OgnfOkKVliTQGseIffBtzGAGNnP6SjDzMxTTaTcrCOduZwQftgbSsJQ1XqK6
QCRiVN8FKVUfElHGClwuoiS1+l03UuWmAP3mkMuPggiuXdLSWCbtLD98u33PU6PFtnzKHyc/jBf3
l8mhYx24WfTHVbsTujOeDChQUKEijxv4dc5b9dPxgS3TJDMf67ar4BZ09raKoJS7ZSd2kdkf7+8H
bpO7HvLc3zWi7j/Ake6X+040Oyg4OdQ6GXyAz+yswCpfdAM7oaljsBSrhrJ969AsM8Ww3/ZIViHO
59XOcDF1hZVvpKuq7UyAFb/h5B76zEdl504QSEzXiFdS9BORaM6lGpPqEwbbQ5Gm4XOY+NGxZmC7
zKwQRn0cQSESQQwJZexZc4QezoHI63UT1P3aMJX3wNsvj7XbXYYRX1y/DZxT1ebnVNCGKOSrx1Fb
4TGvYfkDhVfPHr5tC0DI+hg5N5K9F36rsnDfQ8PNl3AJxXMXBimpa0n9kOtk3g6AYrYwhm1Vdt2H
K9aE5Il3D6B0P/E1LBhbKLMmGYdea+2ixgbij7unGNPsX6acTzCG6v2gnGw9RIN3Sa14jYhWc8Nz
hsKz37cewo9Q2vR3gl7dAc95N7Sxr8LQfrbSL5bU5Gy5KUZ5c+x+9HZPxHc8GLyc/L7CHfytB1/x
3Mlw2DitCh56p30Osl6tioxn+r7I2qP1OVpqeLSp9JU9D5LhsP8bpn591Ub21RtzcIj9ZtiBTslN
gzWf45jWz0jLAVoCbbgP+30yJflRtsNLYsDHLGNLnUmuO/mwwRN7kgdBQiRngD02KX+HWbkWS3+V
byohpvdmSteBBidPA/tLjMbn/X9aNvOgLJwHRdPJ7Cddu0M0fRu22y+1jodLCbi18Uv/u0rYggRF
Pd54w3iMQQa2lunJx6qEQKmh+E6mCd4V5PMDAd5QpjyvXyHssccyOJjJII9mqr5k6ZAxmoX5I5ab
6r+50xTH5bLmB51HBbOdKgxI2WTbj221r5jTl4kRwBw1mo2XDdObFcBPUJL08fvpzc2wrFKI1X4c
Paio+rxf7rQ7Iw+MDdCR9lXkIlxYgVc+YfOF8ag3Ddmusr2V7w4hcYYSAJNq3FtZZEdXpuhPmODj
UEGZfrqf/t+Dvn+1GL+xnUi3hl//9SAI7yO4INds8vwTTf/ZwlruGtwuxXAmDpEkxywNXHnRTsF9
AtEZ3q5/TsJPVdXidD9xBmwljCmKl3lYeldz7bm2c73/fzxlGqYbxZ7Cc/FKNmFyzSyZk1+m2WRr
T14av8suDpFhW+Xm8ZLAu6ttGc1zn5XOKYRJvRzoBz7VTcyimqHYSnhHC8Qs7qNL4BrrZbRin3Yf
0S8zvyfjDBABmUdW4PkfFsG0lG2NKY43zsSK3q6xZ68cOLjIDLL2bHLzHxU0h7prfbRbg38qHe1f
YbjmPLp1h2KHvmI52XZ8rKfoLRJuc7HHpEE6Kd2VH3TOa+BDivEjP7+AzYDdO4le4JS9AQ/PX40g
fSZG7VxQNT0xCd1YjtE8FXUukFyEans/DZGBsP9aCfY9c7lqZTO8p1t/YOQxAC11ffgZEn52hjb3
adYfZQryhR7JipqbVDa2H2ynwgIzSF6q2c8XUMPWk86MlXnjlYambpgJWhDlhPGeA44t/Mb2/nZD
D9XUXuKJmF4yUVUP2D6XD4bpFTgLDl+qNs6BInknnuwNHYkPnFoNpyYaxzXw7C4KyXqsxs7a+7MB
4WvUL4YRn8ogwH1icrxzDHIr0kQC3UqVQWuRG5x3MJXpjHMNxLy7n/3fg9BjuY5z3hb2meURlQKH
mrSJAPo7GhC2S9utw4d2boZLGMpF7djhQzomf2h7vPMkfJI2Db9ZWdxpL4OazQONAiw1NzA3FSDp
wrUU1dbtAImFfFDbmRZpi2yxR/D/5M2g8BaqpG1Rdu1TppHDYWu4xYlgPqaG3+qFp4NhPUjZEAUP
zG9mFAqjaYk/MqqTHQOAtbCRt9zfprq9O7cs/mdXMpNQbHJLeSsJA+nDbOO3UUDI1y4MTbeKA2Qo
XI8p3ZadxRaQj5A/0QVeogb1G4+Q/W2hAlI+vV5i/OauEIdRluIARCUOkMvUopHIgya8gEXXFg/V
rNs/OTDsMoQYjDygYXOE2LHxYDQ9ICdfFKJozsgUso2IEn9VmVIe4n6yViZI0RLUmIIuhtxQerbN
8sNhdotsQdqFd3DBxjc5A4iNrsP5rWLHW8zj2JydHilqwHO3AdOaz1nad2ucKeAF3U7vBxn1dAp+
le2s24vNFlIJFIf5LYiqQ5F77S62QmREvuBtj+20b8yifemdACkG0vfd6LvNiwGlfh0AfTU5bFIj
EWwiaCXQ0ojUWw3UB5s59k82yZyfXiDGpZZGuSst5wPMIbrcD7PyMQes7e+GAnpVaLt8GUfT2Rg+
LhU1f7WjHo1oCSL32vSz/dOODD11j44G7fNU6Ow5scGI3ST4cAgrvYzjXLx2RXZkiKKv9zPdh4tJ
9TFkcg+pU9U9OEF/rquKWWAl/gHvRzzDrbtt+sK8TL7R7FtGoJ42JEyqBCanFYceiacICxMT231a
m2mpbNzNYIZUXZVshtvD6WLWU3CMs0WWNFArJ0mdgQzxqye59IwqvX2zf9LQzN707ESXLo9+Y5Rs
Rxw7f7WrrQOxv2Qju8DHBwgPY1S1kMVF9ehPK3iDzhGbzNfaQaCHklEc026b6ADuUm/RYpTWdLrR
sT2kWBfvhuE2rIUbaPu/tTdM37KEBqe9AZlB+BOO9rio07l/tcfYWZiILE/3017YrxK0Yy0qnpa9
A4OZ1FHoPrBaz55vNgvFJ3luIUyeU4SQVWTzi/YCMuhdYXL/QhgVYOONWN8v2SgVkGGF7sYsYVPP
Vd1wb/jFpp9m46pKL9xOUpsLszO9AHmRCWtKNa8qb+uXMu7HR49o7riN6xeCGuLt4JoGNBA8nfjc
s52IcvgSt4O0h+ahzohBu38hSmE6V6Nql6rVOSVSbi2MckLDMqD8RIduraq4S0/JnKUnT2ViKwuI
Z37UyLc5HfA1hs1wp5DXRXUytYtC1uv/5xDfrqny0cKAvpQV44Rb5x1U5LMuPgqyY7dxM0zrOU9R
Wc3576w6Rk+htA6tZWGAbLViZ/iJfIgNl4yCwh9enQwKf25R9/tTb5lLkCnsXuinWO+z7oT4LV2g
+rE3bZG9SLQP28wvvBPQs7maY6AmczB+MfS0jm35TxRMJiIMEJZw5QDyAxVtOlgeR4Se4bE223Rb
Mlq4X8oHEpaYaJGFZUF0QgqbkjgK6gVnDCTMjKku0kzgBuxZyxlWxd4OY+flfjoGf+I+tQ8geemz
trr3wTbTL+A1tUTxHJztXsnHAUFSIM1jNI/P9VhF27rrxtP9IJhlEqk6Zm8ETudHMTBYG2wZHoow
Dp76m6DLmsz3WXn9TYiE+t/lEYER0/yJVdx8VtGX3fynYRx2OZloz7b81InVwXx2xfM8ug+0wjvH
UeEXNDpoWkgnDWjeWz+sp23Y3lKT2EeWdI7z5X7wEis4zcSzN4MBUlhG01FP4F5+0nmPaLrrxdwT
zFDYwXDs8wG3rlT7K7y50u3AYnacbDaYRF+UJE4OHb27I16MCVv4UriyezYIa9Z4x7/adTQ8Am88
SIepNUD/h9s4wdkpcE/qSWF+DUZG5w4MvgVAbvnqucyjPZu2WtitXBeOA9eAAHIAA7Obj+U4LvPS
Gc4+sN+mRtkDYzfWL2bX7Xz2ouv9jNv+qfbGBt2W469qGw6b66PNGGEua4LI0a7bRRrvekRca28M
yzPjHXWUgexgyUIB1PExg1L22kRAo02n3rz+TblQkHJL1ufCcfVZT3Z5bjb3/79fraW19YZUQl0U
8blA/7zs0y7j34c5rXm2HIKM3zSrYxh4yPQgT1i70A/b9WxG4l3dyOmNC6veaVF/EYHCmDir0vXM
X2ijQviVQTt/JdGYEO0Mc8OMCNNV0YzlCdm2XYjao4rbDYOR9FiYyVpNGTTnUtRXEy+gTT2Jb1Hn
IYKAIP5T1RH+BcOxLur0Ifas9CFyOdSOs4Wn7x1F3K1aI2E+7fomfsuYM9TopOObnnyDdUS8BGHx
ln7jMa4mO+otHLHXaMywIC8aUUnZJDkam/+OMzuQbmZCYYO+P+paDdAKx+45d5SFE2hl/vDgLQon
zH8NPbEwT/7axyB17zQAnAmf+8HFeeAP9izEPFcDqlx/pfy4fWAs6z1EWU6RaPpbUoDe3aQJP6B2
4X1XA3QymK7+qMQ89fn8rYKw3yW3VOxoBq6xyuq1NaNNEDb9k3eTwMZHY/QIadOUhrpJg1WSk/iw
t9RcHps6KI9Mq78LsMgdc0JXgBymzaG1A4KbdYEdxf8+WFtJv3oSpj2f6rj9fw/qdtpE00m3mHgI
xMiH0XaDwyxyON6UNkHtp7t6rN1nRgb2oaLRWsTKEIRZl+HO7LtyETjTV+NY9T/3pvdN3RtHOwg2
REfUP06O1KigTn5NI0ve5mfmQdnOOevs6JpnQ4eEAo5w4YXpJUwgf+TGTY2RZF+jYlXXljmtG0bm
+ylv/7ACOJ82o4Cb/kCfegbnTzrIPrsW78/A5VmUmUU29ejP16k2fynwmLYNzYtXlTiP9NOnnxIH
WSRN+xGDByySblTvzAVh90kHt7S4iZeJMcnXqC3qJdbl3Tqfonyn4uJL9DL6a3nJtmuq5tPI3Wxl
xa11QUNoH4C4x81ME/JnSPn18bFJv7UTL50w3tjzVL9NbqR3c2jDYJ2q6pOpcZtP1Zeb+MHabNAF
FizlnkjQ+nSZ3Ok5m9ATW/lzL2dQOZWu+7nBXC10kazi2Z8mJK6FtWEd3QrtLqlj5tY0/WZ5Hw9m
IVoPfDYmdw1vIEDuk06PtEMdAXTpdKr9yjhnaKBQ8QBmNCWFp1VjZEAi0Ktktrayxxztp7a87WTY
a6sg2W0qR/GECphYOdOvN0ra3TtOOxuG0Iq0RfivTSXck+ll7knbkkbT9acXLx1W9WQb79Msx51i
ZLkGTjLem7n+DkbcdkyKuEdn9j7vl6n2nbXH57wTbRZ/8GuspU5NqC2pi0DfzJbt7ZulTTgtxx7M
p2776FUkCO5v3xXcpdgnZZ2t7z+TCQjgozb9hxA9wDUSv6ZZ7KCiBsuAwm9bknS6Ksm+2oZBuJtv
FBmYe9sZfHYJsNycZ5qvQ5jlv4wKWC5ss/goRgJgp+hrtNBciMw21rQhBLBAjlvIVATrSLmY4FPo
IfPzwnY6MQLWSOdhk1gEwy9HRsv7VKUaImkpMRpp3RU3d0x0PMh0ptID+Q/BQeRevhxcxDh2LIzn
pPkZkkjsmJQHSNpE/mE4HhYl2SAf6dyGRWkZ5gpYu9jfRjzpGM1bksmJi2MZ/mv3JRsoDj6rFg6s
DcXxWibORU2Fi1FM461G71LWE3NP4eTc4PFubEoE0qrex330MM72Ke/maO3ik7mMatU+xO1kLrVI
PytV9Eih9RY6nf3UdUrtcrxVQAUEfuzYyGD0OdcP2BMCzkF/hQ8/7QMQnaf7QQ4OcUtpGO1rH/Ox
qXfUpW25+VGf6aOlO1KJLW43OTt/aZPBPkm0GyJkdcnowE7XxpuRtOaSwXr61EL92xh7t2zjSy67
YdtEgTgN36mci8PA6mWkDA6a4ErTV6K2qDz+QCNp64lVbOGLvEW+5T51hM48RbOBxoObdif5QJ/m
EY8gZZFMR0F7SuLs9345uL3eNn8Aop6tYVjNCaxfl4nRmuIqBWAs/znteKdy7WRsvQyWu86KAPlO
GP117e4a6xkbBhW2q3G4qX3c3sYVRucLaFXy7OfFdGx8HzZil1mvs+1KGkTeqjc356pAGWSWyVfp
8t6Q5NXrNk4xfM4IocNdCeltWoqzezvc/4/VCVk4OkfagiLAPlfZq5jA2UuSTea6omhYMjClGw/N
7dgZvwWUF4w65FcgGe1nlr1JRza6wUqgSqoRLKjibxdHOFPFqrnUoUlQSRftVV6OK8ENsmIOdplt
Wx4S2MnagZie44C3Vt2YPUc9gaORPFhO0i/Nwn5MmB2/ZeHGExgPpLWacbNVf9HlfwzUkIdi6oc9
bU+9DAPjmT2D0KnZ3wIS2jvqEkY6Vec8u49tUywxv0rwXGFG1txkwhT6WCVAe9+KrP6a3VIthGw2
XR+jqQNBc0tMFnRCm6n94LlHI005FtIWhskLZape1mVavTZdFmHRQBZVg8ksOR1t1vnLbPCJJSLw
c0kAUnIKugKBv/LLZUOP+VorJMTd5KTv9Yj9vevG+V4gLdvQUrAFaujuduudkiLFfLyHGqWpoYzH
MvHoZqEuM9A10gX5VwhJq/od+OerLPudokvCyQgDKmzkqkdtVUu6wyHyL3DTpoPRKj9ZlrlJLsLw
RCdBYk2W99f0dsihp/llpZAgUobWlZeEi7aqz6UzvqVBg8HTLjSC8jD61h/TyIJrYWicnGJr2vRB
uApCgfjfsfvHCAxjG3m4iYBdIe8egqtgBnZVHoaG3B+fYCR6ETuOvA5xIq90YPQRg0ck98DnMQ+Q
2yN6XL8TYsMrTPyRvYeJYf/KC6WiDnZeMsdpjk2vymtvmNba5Oeu7qdmnziPmtFzSzHqNgQ83egI
LC7tLJZTUoUbx36ehDY3uN9gVZIZmwG1z7UjES1wF6YdZztb+MEZ56uFmef5NVZOhTAvrelWuuza
Sz1ua+fmOKU87ARbc9hGDbZ0esjApnyNLYVhX2Yx/tVRnx+AjmYDydzgLV23vnqO5S0JAOMfxca4
ZEreXMdKp4uhZ4Ef7AmJSdAnq5Le/up3A1BwWDfbeVa7YuqGHQ6z6HJQIPNGZgP/rD5fK9CMchzU
gykyfVWu0GtQBG91P72/tpM+RK299Il7UMWgrwZZzPC+5mWVD3KVWEm58J1WLqo2a5Bq1cNmBkJC
SGleShVEF2xtl/AU86unOzDE3nsAXRrP+OSdpSqgshQV62H9Myrp7XPkQhe/xrzOr6wrscvWNag8
cRwgv3f1ePLuf5KEtWpvCv1lNnzWJIWB51pZumtjNHuAK/C2+PSUNbG7JPK1CbrpmAz2sGOYgvKp
zQywOQ6Ys5Sndqwv2PxGJ0ifOy2yf32Jn0E01gYT3cq7rXgVKuFNLaNL4OQW+h4xLaIqrq5JUaQP
yYyHV2CW1//kCtE/zAnarVdJcpaz9tRhT9MLnPPoQLBsyCr3Wo6m5lulSxn9s/q4f/SCEBpnxB/f
kUMDQf22CE3hsoF0e019kIPG6EgmMaIELt13X9suZcI50pS6sB2snaCyuZmgvJvR7SkltQk6XnT1
0QghaqrKrehNG1biPiyc+VTlxgk9dLvIp2k4DLhfrRs3+vEyAS0POwT0Eud0tL1rJgMQZ7tB/ZWl
/vV+TdsRngtBs6174Sz8uvnuTG0f7s/q7Lr2mtJNrO6n9u3RLfSWiaRHWQxxvuTz6cP0sR/oUNqq
D3fTbSUoeh6Cnr7yyR3GYhO73ibWCmT1OYcOaVRh9ZlH4m+MuvwrGMMXQgmHH3xZLn0si38uwps2
raJfB7PpaMY6AQIg4x+ngjAq3oNIEcPg2tdamQ2XrXHJFJ9oO0xBmBNCFikwOCQ/JP1bpvI5JM7j
m8UQfZXrfVoDZvnd5FYf7Gf9YnRr8ZbNPYrlKFCvTmTom04o+CONAgslpx2e05GhueQeesJggacs
xYeoUp65nqfBfhj7rN7AFRgu/XjjuxBpco5lGWwDjRIjLOAE2BX8RCOBPkFLpg8hpo1gfW6zj8J+
PEbmPOxqqeeT8IW1bbEQPYspCjaem3kXFzLyBsq68RBTNXDzB+XVG+BXijIcntogr9hEM/+5dlNn
6Q9V+RKWyNHLtLFgEEO1toWZvRuSHQz+ofURgsItlG7Lr36AGYjK6DuKy6tZ6/Hv2ILqmUH523vZ
xmvjBHwrZ/CuCtDmNNjJ0OPvnsxr/ipsRUWEJwFOSKj0SnPtYrv/G1T5wWlG8bev1OPNofgny4w3
nPW6L+9mAVm3/4u9M1luHVm27BfhWqANYFgk2JMiqV6awI469H0TAL7+LSqvvbyV9srKal45kFE6
kpKkgAgP973XFvLNwWHHU4iQpmh0hyWO4Wd66Rm9bIFpDsURf05O+1BoM19Wg3Hf0FEljs5trwDk
2lU3jdkFi2W8xp2h3RnJaANJBR1gY7TeaM2tC21p7VZjMTnAVyh3eBcNhkI5cqk+s7APltkB1rvc
zgHiZvBw2kblbXmaTfRok2Y3d3VU9Ch/+/GcFBw2Iiytl7Qy41WvmeE9/uUBbmFTP7QReKvO0I1H
08y6pTFq8XNew4BpnWh6MS2IXKy30Vt/U09JlJ/vVT1/iAzbbtklj7WJRKtqs1NrldO3Yh5bRRXt
ZRkETACcBO3V9PLX+14tBuoE9KIIpbgeqOqtwh9ZKelvggEeCLr6NkPzFFkxenVDPsZOHX8o7qvE
Sof3SWM0WE/Ke7Vmml6lLrsXKzS0RSq94KmvIIPplTY+qomOeyum/MEYUlynQ+JdDZxkqzzoxaUF
Xbsq4Juce2BL6x6ywp3Ac7BpYa+cRF3F2zIJ4mOdcVQCYRcfWjafHaP6ZI/7197T8s53UxzahxoV
0rbMUVk3daI2NfOgU6PNJhWXGZ89luO1ckV5QfFcr/LKUVdm+oZfTmiCPUVOVzun2SMKu5mpFNBe
ABHJkoaB9mxx6lzUrjm8Gq4G4MkewveJyzp09flPEmYvMEOLT0ebz2ULctGqjR08f/Ej5mIVYPpA
e1bcAExlmTBfXv719nsObafgJobT2e1lJ1GpsTMqM4h/OFYceke1X03nXXHsGx+lFbxJtNd/Gm2M
oVHp6q0xwLgptw3p9qCZwGKunnMPZWOnquQJaAXkAng1DzZaD5/FB/tnE3t+NM7JlW1nXFkKKYJ0
PXafLN0PkRYdhgTSeh8b/35kdx29XTjHy7+/9vvIaQk1WPz93e3tR/7jX/7+9lKbsKb9/Z3/+N+0
NGnWs6Vf//qNf//c7/f9fhrkWoBOekgo7EGj18UUkiIi//1B/vejPMkLB/QRgsmKTXk0y7usp/0E
uORgMls+Z0Jvj6Gy1r+foS92bMaROSH27nyEVNefZyS5d9nEicaT56wvMSskXNt9MslzmMTImSus
u7dOTrj5/aIbH3vwHJepENm+i4KviCpWW9SJlt3VI6xBmtqLohE522pZXTM3NdmWSw7pTbV1TLhg
dqbJq5WFnyMK45XR2WhOOKBFRfUkZOEcVYVR5PdTRITOHeCpx9+eLjkq7ZErO7jL3eYFeIr7lFoS
ds6ovmBgJstBn9tDB/Rz19UKRllTNy9uhXVEoMPu9DTf6WEvXutB+rpl4MhWwtm2ivvKKdJyRdCu
QPRem3u2jpUR2dNPDoiLEXpropCrDMwA+PTmFa76hdNFEikn6zejz9cROXYbMVd3k42sx+bgsCXd
1ZccJTFsDLom7e37y2ZgWiOfUFEBU6B63Oochjg4doehTb5CRAtWjzyXNBoiVnWcJ8QNJ0u39qiC
RyO9ZVLWS73IYwRX2R14H+/Oui37xhQW27JhsaHWDH18pjemdaytYgOCQjnojJ2r1F6WgCY0eFzI
MkDMlDcsHljRZpiSlQEUAgXmjQo6DB3EiRaBfnEXa8CcevtD14a7VIUPYRZB3Z08rJv0wESUh9Cs
UjpX+tWmf3Afy4+COmZVtXyRfp9+HwJrYhYXvsxOUSyZtL+gv4If5NgRN1r5SseJDpoqar8dIXua
lKvxMGFwqop5mzoJ9Ei88HpWlctwgCASxe1x0uWrE7T2pps4chguvSVmJ00h1XHwlFzVqKIXxZjV
EOSqcAVMvtimdGn6KcoPw1znB919qdKk2tuoYIFrAdMbJwgDtdWZnMUH6HnBNG8TG9RnTgu/t7sY
/QnTYmh+VFEtv9O0fEvZaN/SusTtqt6rMcW2WQ+vugr8NH2SsaO+sxkqddSq93Ruu3UImmMZ4dqB
CQ7zLKLfu6A5vZpH9WBWD6LVvTMeknmtbIgGOdxnRwDKLPvcgiWxc8L+vZgVHfTWfMyqnyC23mUH
MMeUs0POVb9He7pK52JX9X35YpnD4OeihJFWT/dIaPQH16hWmtMiV+vTt65pXKzS5JuJvuYygyaQ
k/HC/egpSPB2+dGncm1i1MztOb/nBmn3mnVzaDyKOTBfxiL1FbpQyXDkw3IisXSnMryrIhQ9pmCI
jAKo+TBCbwW4tX3NFLDYoCs2Kjb6rYrRMAYgNYdudt/DGjg3TJnZx12eL4JCiHsHYHvleDsvsbs/
JSjURYWS+GJxkD26BUVDH5DpS7NFX41C24vK0p7MRmgIpYN6rVrksZWzGCl66KwAsRJ9e4aOOOxi
PDZPINjvfv8t1vEbFE1dnQCtFZe+o8FYN49lIrQ3AqzZruRgX80mxRvvdbVvTFDUi7zZpIBqhVVQ
cNnZJwK2+T0zNSrjNGfCErhvs9bvIothWpXG1tPkfIao+DmH2euEvwz+JqoPg2bND1f/gey+4NNF
+9+GWUeBV7MB5IxPbhtuF1XP7uBMn7fipO21ktZg11ykF59nh+rEm9OnsRHpR1jkH17r2u/hSJlv
ZzTAXAu0Ua6Al6Omyfe/j5SN6t11Y0mL/vYvf3/4x/f84+f+40d+f8Xf/6w3abhB8HnqZB1yeIYQ
RzOl3Me3D8rqYeX+/fnvI7MPy/3vI3Bok9GtUhf2hQd4IMc9X097wwwPzgQ8vUYXvh9uNJaUOANf
q7wGjA4ou66vG7Hshg6Okwij5XDfZKY4iADo0mRXsFwymlLTg5XN1NTODNounGI+QvGt91XSfQKQ
7sC+lFBLmhvV1+6bBpbg7WGh6eX+99E//6W37f/h+//jq389NCbtoTL0eh3IYdzPNDD2oSt3teAl
Vb3FOusM1f73UQ8y5K9H//ja359S9q44/tXb6vbetA3svnmq20WfIZ4QA3sFhdEEWs0uAayatw9/
fS480cCFTJq9lqU3aM8EQcYK1QeTvnqvkKVnC/33vfn9QqEbHK/M9TiFxAYVYUc/0Gz3bmJHvkii
nFs63VkKv3mkelwr/PLf/9k8ec0+moGryqCzT7+XR3Xj9/0+KqnZ9uBkYWpUB/4CfjGk5rpFJ+tZ
3CfSTv56l37fKv32VnVXRSOPDalcSk8Pd2D8onTMIbyW836GcIfySoL6kdO0BBDU7d1WUnLA0AHM
5cE/0NRKtul1BH+3lCRsALJg2mYMzN0cZFBbWKmcgursULaGWsWSGVicCG9fyo0rRzqlkQBUBmkJ
pw4ffh91Y8GhMZyg3LPURqHq97ZmWdni9+HvF7twCrZ1eZXlDPPASL6wbmIq7YeP3tbila7VkiKi
B+JR5vnWqCWafLfajpY3/yHb520W+hOYRhRYpYqPk5aSMzYG7dtgyjVhRs4nkNeWmX4y3us34cDo
bEPhOis9SuW1MWl8NSWcbNtkIAgCzbFhauLIQVus+huTKJleTT3bzWOe+9WkiSN8Es7+WkXBa9vQ
5us8OKWcKYggMMPPHoFBF1h/bH10lnQeF6nmhKc+j0E5K2bocTamWzhruJWyiN5JWyw0q/VdO2/e
ahceSaoZ9cnDLnDWQVkuZ/wGoarHt6wKffeXn+kO3hnr4KaJ4QnJOF4h6Guhu6jnNMGRQjTnNpua
U4cQf6lkUn82NpAYxn4e+QzUOwamFMQ8K5ET423ertjfy5Y5/7+DXv8/KuD/EhFEBNb/GRTwv5r8
u/jfQQF8/1+YAMv5F0kkwpBSCjLdhPffwUCW+S+ygKQkjETc4nosfubfmABL/xcqbtdEGapThsOf
/29MgOn+yzUFk2sHqakL58X4f6EEGPyi/0jkkaatG54tsZQIi5ASYfwjGs4dnbY3IytfpbW+TZkn
4Ckon0U5f1XMxdeKpt2yyp3oakebIrPjQzi7m07gK5auhZRcg1FROd2VJbdb6NJbMbFZ9L1gMRsQ
+zUQrlNdEmBg5+r0+yFr1UxtAWwXVf75P972/ynQx3BvkT1/Qw94QRb/YbR2hGOTXOD+I/4FlmDr
6BV2jLi0X7mJX1mS8Jl0PSzO1z5BgEV8KRLWEYiPKuutiZ81MjjHlUazHpV2LjI6ElqPE7PN0eWO
4Uhh77BsxA/Ean2JkUZNDcFLG3tyFHTGGvncPoxRpRbgFHVoAvopNfqeGjt996bpO1XR6PPyI18L
NfNgIPZj3HxqS28EpS4Cv6iS98ggpkHvrn3t5ttSUVMyk/ULdzBvfcSRzAROoFMXn1QZLaOu+7ab
MffZw9empwjtbsIvfYhfwHY2CGlYFORcP7md2KVi78zjFWHCxWrKJw37URz9aG1+hwipK11IyC16
pbbOiyV4pZ2iXVf3ybPd6BTCYjs34dluBGPZ5MIutwz196L1RZ+dyEv6NKLuasTq1aziXaW6ZZRZ
K5wD1/YpyRNOLu02yAZfhMmhMK177No/cWfve7CcswCNHubmyBg2eu8Ny+/L5MHSYScajXEvkHBy
Urk3hdppFEVBimJgwvfRW4epmU4RIH3ut7tqq03VsUqbc2k2Gtr2Ya039kZaCWkJp7ZQm6QIDl0q
7utiPrlt9GgafhrtqKw2rPgHzgPn0UzfcjfE3Knv8qzfudRaXmw9OsZDVrqovOqrmOkhRvYWBq9f
5hkOJNDN8x/G9kvBRJ8w41PcebhKOnSf2dkODr0V7/IeF1UCAKtuNlME8avatZNcejdqg0iru9uL
MWi+l+He6eReehmGoJDWt3as3PLqtu6xmqvT2IwYwysgTXW9c5EFMLxfjRVAvuQ2ig8YVQFjRmwc
N/D9zE8tRlZvz29BPjz0GOwbDrmqmHagFVYYq+56fTh0jnXiGLCGMuBDs9kOte9G82lMjIymqvkn
tPVXMjeAhNvjV2CWYCtEum6qa+pqhzpCUzNre9uIX5yiurhtCuJmdI8RAKYs5PpPg2Nrehcj1T5S
czzWebQqI/nHQEe+MDoU0nOQ+HEcvNWaxL+3zfP8lCMtAueN5xATiTltKz062iwkJDzQzAC5lbq7
MRwuN+5YPj1pgcQzglxdFTigVH8raZuPwhWPHW4Xd6SyZUy9AKxlLAby/Ab0htDXvGs5qKMsqwfd
eJZ9wuyeq795ShQxO4DOPcJQRpf+ox29Wa78DLKEOiRcRb3hY8W/i/P2OcRevgAb+DOiDFpEujyt
vWj863qi8Lt9i2vUqHub/N6D5Nuk4iRC/d6QqCcL65oE5pNXbuvcBq+QbqkBfCea/4D6+RN59kN/
qlvj0RqGrRsMuN71k9d4d3NfnPBD7mIPHkPYHImMzxZFThhIS0kL4O4scg+vGnNmWW2L0ELKVN6H
JY0aM1ffFVVnNasjI0VcYoBMO2ugqTyM3wOrfhBi8u/718rZe9bG6tsvV4yfYcK4vPdQ6w7aeGlK
U/h9YP9Af7iLxK0q5mLpckROOsfHTW2/hGH92nvGC7jmxZikZ2yC331Nv3d0WWyNx8zLbF/F9atb
3ah8xceUTQe9b7YZXtOwzN+Z9T1mhfNSBN1DBEsisA3fBR08cbdMrDnxCCYZFjTzyKuOv740smvl
xY+GIRcBEPRtFiPsSOSq15ucYy+BmLl3jbR5e3sLgyp/N+Z3+p4cKiGPBqSQM9/G++8WrIbxH6/r
HkzTPhrzsKvNeW9i8dLG9M5J8munFStlnpECPted+xgF7muoTfdVgM7WKzZynh7asD9r47y9/SHs
NMWmFJ1YA15a7R5fDRxEXpydnKOqCreoaIYY2UdCsNQibCDUo0NJLGsnFaCuGiu0Z25o7J5EKx8z
EI6COfwyIvNz4SQvUasRmRcdI4lIwwGgBYOnyMZDm2O0srRDXg2HYki2Zcnq0+c4PAg60KvpeFvA
gJluXIUrKz0VsfdjjWSfoe6+a+qNjSlMhN7J64qzDQqwNY27AjXZwmWddANtWxs01tP7PrFekTW/
DO704ZBzDqEgYtwC7zwq7m6gNbQcmCPrUrtmtQvLcucQT+d6xmWkvSqt8Jk++0M5a9uiibdcFr4B
UkyOyX7UH8lbPup30xTsi6F/00rnqtv5IQieYzhBdt9fTD1+smFWTxAcgMU7pLmbaF3L+SkOxNbD
o6EH5rNm61ejtlaI8deVkncN3mSjXLiO/FMCAi1fAy3YJUmy7lx5zIfhtiHaZvbUkL+FT+4k+scM
8JYHhDrNvN0o1VYVPVIrQPyNGV2dEMiIUz+7CateKy1WqGnadJ1Rr3OC75bdSo0wQJQLYJaZ2VWV
8055OejjWOaMeNSLMzULQ9H6UySAI8ysn0H3ccxaG01zZxbpW5DE33CIPwbR31uxBENtD+eCvy2Y
NRyJLGppf8Yyfw9j/d2W1UvtsGUU2Y83RI/2WKJnfVeR8JWZvo8l6g4ktrsyDY8g1zEibDwnORHb
cEaGcj9k1nOZuYdZF/vOvnUcL+gw9mE6fQZVifMMgjvz/AUDqqdJ40bj17ll8ZHfRJogE6gmBMhN
FTxFtTks3SBa0cq6RAXQYg6T/hz319non4ZCfnuyITxnLp7rIt/qGU6YCQ6Eccni6N7L2wfmQfco
l5eRVb98J6xxw19Pngymyl3fbmfsbH4swn0KttXVy03Ob7HZoHUc/PwV5jwFzFhsSlt/dPpCB9uS
n8YiPIxOT09Ne9Oy+akx2pt3fPtoivY9plaxNHtTbkjVJf+mAVHYxZe+bSHixO8JirouDM+FTcFk
ii1QyXdSyeCHyrJeagb1B2YT5ssSiYdQ4UVoTnlGjZw62T7w+unU3QbvBWm8LBfOdymjlWTvvwtx
Hq4qQniWDtbMyFMPGqa3Bb0Kqrxml3fqOukVrE78SadshtxkWntIVtYmYn1NCYHrCl3foRoOurbZ
Si28WBpKSWHd/Ab1cpYkUhjgfLgDKV0F2riNrTnJuRi+FDqwbS2LS4e+8GCW+i4RccLvAAAkovEp
1dERza1GorUbIjVpS/q21QNOyyeOO1R780j8T5BQQqZ/UvLENpNnbjNXm9epFr23nfcC7KLZhLT1
VEqAVWGxC8kpfbXbJl24M8JuAxjVPJNCQUWHd7NMSeqipDp4IYVuHzsrBmmQtJlLspog2x2YxBnG
cxOUXH4iQFIYQQoYo3tr1ssVzKQBMQGDVu7JwMloE8T2PSPbs+eB+hvCz7iqj4hbfJzn2ml0Cfsa
+/mH4uRxbp19GRu39g7PK0HwaOWkkJrd9Bo1J2ekiTnXFnSrSdKmqKKVF7uLwKhm37PgYHlsFfRN
b1fjqs0UkUNxbqxylAVxF7e+Q9MAp/5DO/a2PxikmoF8oUsY/MSZuMvJG9HmqFypnA0vsvHrjMUH
5au55qUf5xGoLo3ZYUtEWUEzNvQW61iM0wJ9Bw6zMH2uCFVY6LHhz4lGt2DuWOmgAHMKW+ZJ8qAK
xsFp0la+oMXQjqOJHBimWzOOuEr2FBrIhbT4Ynmw4muUessIUso6L4a3wePgQkIFbaYFYXoWYyx3
8APLuy/VjIiD5CCjdm4yOkw2ZAWsCFG26XLI5IygYd3Ss9pHE5cUg3R5dkdTngN3YvtP3Y+2Jv/Q
6GvSKd2qWU2ORVqH1H8zc/S1FZHIErT1Cf/rArMHsGuwr6veKcJl0hgV0xgigwL60Eu0KcU26gW1
YQ2IYG7Mn5LUQ58J+a6DtUc81kxGEvDX3A6BnJexvtJQFFoIUp6UBcigmJpL5aBC1Gzx1UJy6RJA
TzYqLZLok2HJfRzl7wSXOsxtE2dlENDZVwF3cb+vuVdc6Gf1JgsqySxR7jTLrAnpIxMFNgyUzl9Q
JDpxJog3feI0AA2bnUfDBvuZMSeWdX032BwiXRuKKMvMImkhm3us7vg3IIH1QXSv56jfnDi7ul2o
v9xS0uoKMZUjzk2YR8sR9XZm2lRT7Z8MefWBqK1lYuqftjbfI8u4D9vOOXT8rzP0NOsYkQvgfbgp
6PySZWXY4kgYQLUyTX5zzjHYbmLzRZQeEq0ZU3cMsEUMQfLoUY4HwJUU+PhwBFveDQ40c4P8KuWy
GyickAPkgqwqsOHYagu+Hy1nu8y6W5N2LEkdHV+MXLOWTJsOWoeG0Y1vwlQdaYh1iWq9WxsOfyhX
ELljd9h7ONuM0IPNyLi6fbQ16G0X2DRXiICKpdcT5kUkCkJFro2y/BPV4FXF7VDbjN9VlgEOgjC8
UI3LOu5m18AlmaT7KYi0IuBy44Y2OAQMkDsSGh5AJy3NoLrYbfGuOcOHZb+Zw6AfndBZshdayy52
87Vdt+PCM9mwC3WsFEJxKNiLaSyKNTNcrrggFbQEXZNV1UP1QxhzoQxfm0ydXSO7K836Qrg4kzFX
1ShkAwlCTweHoqP9jDWOOXaMjTiz1GsSnipNuVRus7MkMcBehOX7mNKlnuA54DCZrOAlLZp2Wx1C
9pClpjPCy2rtz8RhQlmc4MdXp36KUO4fa4JKMFo1fhLIZeUZN0QYA39LNDMGDA8chXNOUghCA/Ni
qsq+822+qXccFP32FmPXszO92iUD7arDa90QpGQYFjwG233Pmu5iuQz7QDzFtUVDAAwzq+EhdioQ
vjnGkRT+ij8Lus76TwIVask07TH05ntvdA9FlHeIsMnomwLrsbtJU4FC43ypJrXQTZ4VWKQHWIbm
Y5O2L8hANmB8F3lKbt5MWEZUMcArIT6qBJZNKb/0xti0WsFJMHB73+FWOjoB81UtAo+VsSk05Ll7
jFdXY9p+W9idtNBYI3r+NiOFoIiJ6WC/Z/nw5Y7aj7qZCD3s6YtKc3EH46vNyc2gbsSBp2sGOlRV
ICRg4lHjEDGs+quV/aWNLQwSwChAj2zFrUTW4POEFToQ3haSZ80KD6CZ7Qd8sdtClpfRy5lbAZAM
lLoEjX2x4H+s3ZYFhxDActGAH1zlNe2s2kmeTdfahU78PRrdAjMG6bMUE+sy57UX6gdAEVxmR3wW
cVMuUCSZpIjQWMfNFYfc+NKbunUwWT9KF2+NlyIlJOTO6xKWn6BdYsm7t0SgYb1BUx1SlnXE0jP7
zjEqcTSQPel9aG+QLbJBRwAUF6JEIFzAMIKnjFBqElGzQVKz6qP0QmTfvVYTx5LkzTkaLPBFvUKb
WLmkHU2dvvQs8yk0+mOY2Efd6uCpK3Dl0QSzxF145XGEIb2oGoA6MkaUDuhPP8l2+FZM0yAVIqGO
G2Nc1bggfHxdSA4kd06I6xbBmlw6GveLHUjlu3p9b3n2vtbxuTgVlWJoUBdnuEhD95x4pL0NIxa1
JLfoILrto25MZLXdpGE0G5KXyUlsTp0xwkw6dINZdsepOcO5Kznx4wgzMszwEgx8xzGO6VzrD621
y6NxN3sKadGU3mvp/DwYPYoU/bZ8Iw5IkuElNMYvSys2Y7zmjoWLyvK2mHvta3TGGInHJBE6KB+M
BkCCEchVJ6K7qgxODKcOJMaPS0zJCOWk3zNZWNoS0KmF9M9xWCkESA+prtA4dqDAa2wEd7ksIoJF
jKslktFniXzkQLopRfaVornmSAcgF0Nqqe2nEVVvhYRoUaC1xp46fOrvWQh/UGXQI9D6Ix9s0T60
Badq1Ykt1I1Nn9IvmbEeLmrEnEvLwqVAzAcRbTFbt9k6Cy0y58dM9esanM1S04KB8YyOpb3vf2qe
mIeGakSImQMbXHiR/TFKnoyCHirH71TPn3ROPPDY4VN68tQYMUR3UivcgEzqKbjo4UDiBsAw1trw
SVbmfWeTChzYJ50sGh9lAZAFryB286kXnF3y+MixaStJy2uLtvBrMRPJNC2KiizLimue5ADphzZl
Q6QdlF0/c1bYJqmxbwfvznTtewLuy7Wt52wFHGOCPn4oQcqXevdgmd99HnjAuykv+t9jI2FfgcOt
CTEjXbFl4nyryvtO0A9swmYlcyIu4hSNly2JBiMTedvNFGO5jHaJqhHHjLiA01bsjwUb7crUibnS
jGry6f68sSNq2A7kEvtKuQb+R1mNlrwlg6iOsU4PHaxaQZkIz9L2k+hWb1AdLFzpaX6Ye8dxJh6u
ooZajoxQ1ySLRMuOiTllWvlsm2I3DspYWegSltF9166Zy+sLHBzRJpqIR9Zie4/0fudiHQH9mTxx
6KAlZhSlT/fmWPSBt2kdeUFVQ1gK0pBYF1ROLS8wNnOWH2JxiqmiR4PDfqMQ8c6OjbazjyymlYRa
8VfehCEZWLe4eyxm8YKzKSFvBeADSm8WMpTEpqPvRzTiCyQXYokK4E/n5faq6rSAQFfIKHP/HQLN
YZRuviT9s+iCvedUl7mpTnqq0X5A94BKKPZTcBErThRU8xqcYNt7bTJhUFF6gV8pCCMAhEY04OHA
ZtV49KKWiEpy3C/Z95SzvjHO27Q9I7pqfnW6vvGHmcMQSSkXmbWfIasAwZr9a1uIhiig4Wu2kAMw
PfUDF44Cz5H0K9P44IDGdRiFrxoK3hwwyAI0Git/M3whe2t95jHQl7W9IVm2OVSvRFJftJ7SXJlR
tUlLo1urPqX6VHgJAhQ6Q02wWUU8B76ZfFEY9BumMH2vTbhSOabkUiKpUu18sToplmNFimI4WxHr
kDjkzOYNLwVKhOp1DJO9jBy5mGqeCE4wYynz7rGWjkCHZgG9CAlpyPO7woy/s1jPnrEdERKlp8bG
KDlSevGSN//b0dDjGUa5jr/InUZKY07A+pX9omXPeNsf9GT+5vijQ/wfHHPXRvpjUMzvBSwAVRhf
VYwxzprVVyrGfcvlRYrgu8wbApE99ZEaRbWSyHdITdBLBJLwPDUXs2T0LdsAFXNtIa3SnUXujn5X
fQGO4WV0qHM8BAcLsAnHRmX3duRtQLatsTQdIoj9zEjoEI0bvcEKMgiiC5MZyyfzfRpwmY3c04RK
NDnoNyyLGPE2wfqQZWsF2yFsBJ7g6Ww7+94M9lmePVRdLxDTIxJspvpHr71rAIykFX289uCEeW4K
nKZvq22HrxvND2ZvvTyZVddRExbBmprkNJbdfkTv78R3mpFd5pAEEQFNYDYYH0W3ZHJ2eXTuvpOZ
kz9avIPknxDyzUywwPWSg7nCjIamba1jRuANMQ/OQKMJpWw2s7CQ6da1qFKGOfSLQlDAmTdfBUJV
x/rBK4hofADQYTkcmuUzRtqRupN3VglO6pqxdinFKr2LX/AAkejUM5ef2rjbgMJsdJK8isC7nyZC
w0pLdiQ8HJxO/2NbIEa6V7cULwCh35zU/JlSJGatwfN2D8h11ZaujbegKI+SgXjATVZWuyR8dcJx
n5srKoyKGdTUixeF0rokQS/omjfF+yiKJVp+jolJt0Gju0Yja5NZ1Rl0EHtd7gQ+1fjW7MxxE8fR
qm2c25KnNQvSit0PHFY9PTwHk26WrGzBwsakztrBJneE7vks7FtwRqs8V8+Cu3ExEWtCpGlyKnSU
aGybck21uukjMGOD/JGgKPxqlGhH+AOJkqAPR09xlKIJNipiJtCv5pZOdweQD+7ipT4WyJnjlH2/
TZbq1hB1x68U7AG3pMyIdh2+jCnaQBVeg23FjKbnfhkQf5fGVDBWtXbyKkYWXkyrUCPXYPC+JXrO
telGK6xq+8El+a3S97pNsNlvXHGS/gktCgeqxr287ffS+wnMuPcNTUT08NtDZdEFbMZqWAbmKyme
cm9c8xaIQdTTvLWk+NMPrH3OvXP1ahSWqsHEVlOMtQOcN+SDj5GhTRtnnnhJuHD9Vq84rYQZUhrN
4T5TifIzt2+XVkagkevB2Ctgc+eNrS/crljDGubgNIm7yENp6aSMonR1MYuxXZq91BcoFTucpr6F
RniTesODUbpvnZNfwzxc0ywAWNOw5HXOzsD+xTPujIVqodQ6emIvW7r8UafQIs8RsJnKOydhfEsB
n0pWTxasTdQx0VHz1sFP5My3EPqYHEXHvrb63B+DmJOua9Zveix2IpUWA+SZDgXWU46+AylShYFK
pdezg1ehMgeQtDVxS3JRkAWPmJOJ2gADDwmLvXQmORzhe322FYEpTcfNrcWCQQhuMaNkBEn7MUdZ
9Ti1Oix4HNedFS6doc83djFtU5GVGyxjgG27UgfIUfnZZL22E7OKmWDMlQJaRCnxjCOJUaO760PA
k21MQOrcQVOYlwPecroI8FOTVc152xlrykWXRTbW0lWY0HRmCP5aIAxG6ubRWcJ9vMQbBh/p0Yjk
88gaGyTRM97tZu129B89w/sv9s5kSXIju6K/0qZ1gwbAHYDDTNIigJgj57FyA8usrMQ8z/gi/Yd+
TAdFSiJpUre0716kFVldxRjg7s/fu/dc4AHyTAyiIs02P1pNdTMyuPWaCCYUKBVakTd8Dqh6ldg2
MV/lIDMgNNxGPdd9njDibtoq0YCSp1stRmLdUN9fRTBIrWYpLgvlJY0lQ1KDmPDoVX6bkpCIBC+9
QxNm73j/wwlIYnUIugTrMm8uTqPQby1T7bjdx8h26QcGaLZ9Kqz7ZBinb/VoepoM5itlcm0q3etW
kO1mzRo29znf6+j/fQr4GkcmDT2nJZOkLBESpShAdlXVFkyybWsPe3Dj/PyWqgQkPtu7DT40W/aq
s0Kagca7K6xsz/uHjJEW42ntFDY8pAclg6/IoUti5RU+a6rcmKFklgq6zDMeMUt75uD5RCr+ZGp2
7OclQX0ZemutxyFkAsjxlyx/Blt/jYIkOIBLCiIiYzsF0oc04k0/TQmx4GFA9UBLYbC/yK41fOS3
ypftdRgTyous+ky/l+q/EPqetOEZEwfXzcIJ8PSZoF+izwA0AEDg7sE0n0o64VGZ3pMiREaaLI8d
YV4K3/JetRhpnPguabtXqw+Tl9qazzKwxy0BWdLHQkATx+5vY1kNrDyNkolFx7k8X4oSNkpcwxrC
EAJP74BFe0MeI4HPVGs7iqPqPOGeoWlP1yLE6IPaeC8r7TXgBnyKk0rs4iHCGBWUvuiIWxx0jVAC
0iSNZcHeNR4bO3jSgK5S72GRZWQriInuEUn7rRPR7tJ8yXz93K+H4CjC3CtMQtRM7HlkVAVb211z
c8WSewoZrSGcr4G+/lWUm2e4k8PFVADPCdqjV5s9pJN2iBJCwYc2BA2jEdSRk2g7CAor66vSdUaT
K/9IqNVjlRbzHhw1O4rg3mLn5TlnYUZj3RNE+rTyrynwLRfMPGxGo46N82ScKRjSjaOr5hyOTbjL
F4uWyhDd1tgcN2LSHoXqrVMq6w/kbkzJJ9shoAOfpBWbj1OCZ1ltsJeeHafBz2bXm8m8qnTkgvmg
kX15EfW8ixja1TRQZrN9sMF8Mg9QN4KBZEUtGYTJtpgGyApYr/X5JOj8TN18r7LumDTZQUoPIuGh
mjBhpvGdoWU3SHRf4YJ7IfFiTvodoxIwgPy2iAfkAO30lYvwWTgQ2krnKs2Md7thDtdkdAZHnG7t
MKGIqEiky4kVhX656Zz00WFuzUCbsLG3wlhezTh/wcHzjWeBycZjlK6JcVSSFQPOyf0kQfWLpMvb
+ptmzhCuaMahieT87rULJtxDDuL6iMfvqtWyp2woPgdyLbMmYQqCi2pcSQ08auTUgc0N8rsi7j4a
GQE81PXIS6biU2f4sxYiwBIYfnA08/ncSNfMz6okLi41+h3kxPsyHNMLGF3l/3UpMg3elBFvg4XD
XPTfYNNDMjAupIR8hyYPRyXPnyELP7TKfsdReZ3hi9CGkS679e2viQ7D1k0Zz0x29pLG2j7UFVJa
q7tzmkT6lW7SXiuXdGuzBm0BIFbhqIjUS2oHnyhTsokw0pi6dCQZazPNeCWrXFZeyPV/EfRmQyf4
0BIyy2hAfhVUbGG1dm/H6GSQs7dNgYjF8tD0Vu/VGRNcJ78r2/pbEoSvf537ZnLMdsi3IpzQHtgW
Ul86J0Zax9zJiUsdEAfNIFZ6i9DFRCj0qy2eA6e5d0Q8epAwmQydQsITPI17ODT9OIOTEBJBgSz+
aDK3D9vxjF4r4LZsd15dptNGU8rZhYxdNoscb3Gh7VIFe+Knqu0fmsu/o7k0BcFJ/7vq8pEt5g/Z
TOv//VfRpfGL0m3M0agrbWkp5780l5r+iyEdwTrRTWE40lQWsU3/Hc5kCAV1yjUYDVEv81u/hTPZ
vxiGpDRXju4AsrTIbfrXfyb2KvxR/iZLbP/0z3/BUHNLr61r/+WfDFfy0n4vUzRdlIoK6aUkn0lJ
Xf+TTJHxp1GJ/Gv27IKZ9+B20f2CsnzUsEdBmNA8PIyl34NT8BugxUeXfhneEAd1slE391HEnXyI
0mEd+KY7N+MRNjRb3hSA8K67lEjUcRA3guQT7BMptm8DD1q5iJdodqx9jG3WRytS+uE86EeD6yRj
B2efBpgCcrDMJ3bCkxT4jcykqneusewaSYJA0/Q+AMf4lCwL7uyMdjP8Gh8dHK4f9KLmjN+8KK3j
MEcXt2yt7VDT7uXI86Y4eYyDePDy4LZvSJTrR+YjGNrebDX87O5UCKbQGjl0wqYqcA+ANY6qcr5y
5OFoC+nwk4C+aTphbfuS6qWAxyakxYVyyhiUZxRspldPKb1fvQBmjecqSWnqQSfBATdAQlWZxz6Q
lQc7jMDyJCCLlnC8r5cbURKNl0Yx6Zh2/Kmp+vxmaelHIkpk8ojRN1nkvAqo/kzRi21Rcoen/Dm1
I6Zj8kgCvCt0qKFUveswn8tebsrQPQ75cjvO9aGPvqLExfMd7yZXf+gN+xnlzOtcAIaZuzMVFj7c
uTpxx203ZYRzKuJGugj1bGmoZeM8vSuqQ9IUT4uWP1HY3pLU5WO/pjEe56NHsB/TrjggwXozu7SV
5uUmmtxDD3HWR3RHDCpvOsKNNqNmNZnBxQpL8UTgKVCfe2K61zDBCs3Rcmsi4LXAkW16Ey9g5QCZ
rwOkjJAsUnp/vjKxCpswPHuc/04tttzevzIoq+DgyuM0Fe/LJZo0el+ruDR1kVRY9JVU/x3d0yZz
ghdD5U+ulixHpcRnNOtXQ67aXQsYdVOZ7rfcgQHbxdExyrXvXQ5SwVEVrb76Jl6TGZNgYtJk0e7L
bmVq3LoE9nl5Z33OCcd9jlM3GjNUOsVXKRKmPoyCvaaOv5pOQ5djI/SznntJochgCtQB8fHv+lTX
PprevTXH92RpFp6WE1CYLPrZFHhDuHY+uAPNx2W4BynLX972H5F5K+ldbVoZACkzMI+hsrgvHTv3
XkwHFa01lye3CUEgjZhUzCg+KxuRIU6FZxmjTJgbBEYT33wYd3d6qMlNYxOYpE3WZlAJMtb5NkYb
5HANuWRghtBvLX5TzEyTAj8SiERCk+4i2BdGen0CBgS1Ruc2voUjgtinbt1OoKBhMj9VlSKf3XgQ
sf3MNCjDYdbuEaS4h9RQ/c5a2mYbkht7cloNwNj6q//+xxLmxd6Y7bNeDsVpXn8g+PvtV5Z10YSx
nDq8biwrOMU6OkqkFxuJqf1krj+QD8k9ooIDEBrrBGac2E0Q6MwAquby80cduvAJAAQwX72usfDq
9beqVrSn1PKUEuyb8I2Aaus1OsdbJDcbdwrPstdGD1SydUCJuLdiqNORnGrwGHSsRcSIp13G+FxO
pgDZ16aIrdDoYESzqL/TjFmtIfd9jjGmMfvkFBiw59zkTLZPev75q5GO92+/IqaytwTYu6IExmm0
r2PKQEd0wwWv3sysw86uYW9FXkmyCNMRaj1c9cx1guiM9RuNqUJEZUL9bOPMPESrKeznj2myP0aa
8KtgHZcS+jEcYIrGQcL3NhkLfQmnIQ6MayYKG3HQsmTxtRLJgKniimiHlB4AIrnyJJ1qnaC7mFPh
6G0LSSBuZEKqxVDcuja1My7IzEQoUGdcGnQUIdpqvKxR3IJgQJNMsOnWLdciOIwRIczbGnaNn02T
tms0wODOWLzEvfpWASHDjRZsEn3adpDUd1X22PIQQVOFER9E8FX65mVMC6QfxAtypvimOaxs/jo5
mU9x3Fq+DUjWm2cDFZpFSYzHk7AWUCf4qXpSchDoJsRpN7ZOIJNy7yzQ1mdE8TfJoOo9nzKAn3Yp
0NTgZA0Haxs0lNnMksdTn4gLkI9ub0FBpW3tUKtDVNYNpz1JoCWFXzTgqdK4ksgUSJnXwdRwLzyG
SIswT9X3YefWhOawlpvO/uAL04iA0/kmZhSbAaYfpMINHRDnbiaddMqmB4xO/WNi39S2BdDbcnZ5
ognfajJ8E6mHp+CdRs7kTxSTzyrXe5RDfLxU9V69THi6e7WxQzXvzFGMhzJFDNrCFFldvPlOWp0J
r5X79ZJxTA1V/YGG4mUhZsazKE83WL0VeC5r2QZ5sJushbekqw+8XWwdpKT7o2ZY8IUhCRVVNl9b
boF8tLuayZTaYkx8HE1gPI6kvbVMt0Jy7QAPhbVsCneISuDj0CSDeK4ttAOt6AqNE0khVc6X2NZv
Cz2mjY3DZNNr4dmwg2lrt8NeN8ZVs0SXbXlKQAjunHBmsFOk4iHGnta4HReGaITOWTkaE+ZViVUT
/e6kPLKq8IljJUveTFJ/6fvhJNxq5Ybp284B4oKVcbrKi5lOkCoHv5MKHzOjvyEvsz0J7DYVjM38
NhpCX4SZ3JBCjAsl10+0FmmMhEZ7G+sZIcOd1e1joBGEF3x2LqH1Ku4QnZfJawX24WxaZkWkS7zN
SZ+6dF1wHMx6OjPm50XkRDWbc9Bc99FnIul25P2CE31NA2YyUq+AZMmYSHtYlr66MzAW3OttegUp
P3nVk9E5GGLAml1lwVVLG3bTRdETBrsYpOUMRK5V/UucOOj8Z4kOjBB5/EB0b8v1TFr1NXBXzp1b
0Y0HGzXAh9k2EbYLt7gqchTRqeznnZW4ajPF4Y1YlZiLcPe2xuOe4trzgc6IaztGMDW01vShB9Fu
qcdur1l9CxWFyGDl4jsAVpJu6iiVUKrHQ9qHNDrzL6nHw0MaVuDO+Rbvq4JHE4o7frQqX7Zd7RIk
lBY6EYbjKe27XTWj4UtT2W2Z73KrjlF9SacsPbfM0M/E3SUWzlOeN/3epetwQSv4VFaBDcnwziBR
msa2QnC3chlrQkLWMTRh9Bgcvbaf4ZjrgG2gRAnOFhqQUVdKv0VNyuynqShcte4MAlrf5O7Y7WY9
/iaiYDlMGVPYCBL+XkSaBJBYMj6yRz9M+CsRO1Z+WWwTepAvXRJ9C+ykvS8LTn3LSY91nSxbvcvM
bV/U7wDaDCSmugfSRN+1Q/aVExqwMXs80wnxZsitNlGHAgpRDayhEn9mDptRiu9GsLNMrSPwQxxJ
zRxp0BRnE4LKhgGY3EJv1DyrK0LMiiYDSiyANFolhxqYu37ynNp12fJaPCLIKG06a0QuD6jQrTtJ
CFOlcrDVUd94zD/bE1aV0rMlviKILfSCgsXZLhHfjJmR4YC7amLlmBTMqeXDJny0y3oXqrC+GQam
aXzI+imZJod2awk7jelCW5mXYl70vdVbry4TmmtF6lNitx0BQUSeJeYOhDIqODFeWfCstwy5u22s
0AxUXWge8jx8ngmXCEl/3Szxt2hQzHvp8aP7TDbFY1Ip41aKlBCdJ3TKHuVncVxKUVyHsNeuaSAt
JzdZ951O+DhDM3zsIArgV+AJBmetBLLJRFQfFUn2qCT4gfz14iIgQ4cxeRqpNlNy5ZJ/Y3ekV7uN
9d1hHn7oCJq5bvDcIM9BRm6maPSbudSZs7a+RQPswFzm3pybaNuZ07dE62/Slu2uTRM2wMK+Nge+
SyXHYQcBjYwRcLMMjg2k7XZdnAdj3Jkq/2jKhFi6avpeShj2ZtFuA6PpvHTtD0M6xyi9ij+XkLKQ
ISrC0Gac6emg1UJE5lvjmJ/mNN8lcfVJY4+5vWa/TqFNLNrExpD3AoZhcpdDtKvT9ktCFzJswXbS
rwDQNrsHyDF6I+vLAwbhDXWPGhQ9qdQRFjDznv3MDg9tPzqoj9B1GGDgGxWfloALQWTzfskGRsGt
D+hpJNbXgj+H/i3xa1JciPKWJ2f9UcULK4Ma0SI3paBN3KhJ0gZynnPa7PDKNEM96Aug/XbRnyN0
SQQtIOJNUYRhjq+yXcPS8KAVAN4dSWusXQoAvPXbxlZn4QQ7wumGQC+ug6C4b3MTrSxSbLfE0KeJ
XRZW9+ZgUdlAhWdLskzE5Y8FVq4EFfeupPzUclLZQ3fyHaf/kdbji6zEa2xDjaab8FRMxit+q1OT
jeg5ML5IYJSeshDyNGXUeqlpSGwk4M97ruwkAnD2Fw/EMikunUxRnnRrabxyauBLMNw5FhljpEVQ
dCXkCsxa8RrAjdjkifljyfrYB3L7QR3T+0VHwiWH8TZywxqhffCYoSAymkTbB64L4JDpHlQxtQuR
u3khu4KzJOj3h2n2BXclZLlvinD1+wZTDdmIZL3P/JWzMVZ+syC16FaO4Dhh3loHfGX71FvVB/DD
+JhcWZBYN26/XqlTDUMDsrP9PPIxxoXzStjGs9aEk1925A1ZWztfF+aoDoUpXwt3PnRz8t0ZY80r
e1JXtPFRoDPUDaTABTfew5zUH4sTPGTIiXJYEbaW31iGlnqyMtE9tu0+m5PrqRU3SAD3LoaCRvsa
8Bt4QceGBSHovYnEZ9dAKipH80nBcPp5PETRe2I1h7yu8XL1/jA60AAz5vvOvE5o5IUKkwIdGcqE
A/1iO9HLlCyXHDaBB9px2qT5cuNE3NpCN3ppqrCkSKPMWomJMjfexFgdjFFjzq2svSICRoQYGufm
NQ+d3Tg45TZrm7cll7CGm7sYCQ+WRl40oTqrvCiOtEv+4jwQ5UBJMhIZk5YT3QhFbWlRIs3MYLHk
Ii5117c87Jw8Fwej5zmtoKoEpX5vlSNBPjOXSKd6Cnhg/BFDlVmG391wTRZlglOsnEmwEb7WVOap
o7KLImNLxBy7TN77CL3g6G2YQOYeHd0AyVjPKibHJFwPpwD5lrYwOoCfsZ3csCFhr30Jssg+Ntcm
k9xtuDD6j3JawP0NZLkbRIEDt+kw31oTtvOFjgpaVwbZbVvukPR/DjaehphNPiB0ZiudSe3yqLiH
YL+PFunPETKWRpyjqP5oIHfYv7aXkVaMEk/olE+7wdYfVB+/KJEfcOPPG8w+iHgECGBojzhAKCcD
X1opM5+6RfOWcrLaYQVInGEWKn1GbDHy5DkjmzbeoRRHy44SQyUl9SuwfbCvPJF65WVUHSmnloo+
nNmMLz0dnqGEKVPQLzgMTngL15E0lOukN0Zf5AwruQBo20aG7dYanxJS1MCUxltGGIlXNwZDDXvc
TAN4vig7suXumA89aIX+oFf2bTfOn6mWUWaH9TFotSNduQpdUvSCZOkVgAaWv4KrXxCxF0yPlFbw
SVFasvKiZ8Yc5GSr+aEMxE7EnyLX30osixu7HPnCVXOD6lEAs9jkJQpXMGYbkdmvc/pNEu9VdMU3
dA1PWpaTOBDX30PTetBjdvJ4HG4JwvnuIDetchICxmryx8ZhfGtegoxie8r1D7nIBiARO2fF823W
aYgVNdu1ehTdEs3mTYX5lLOz7AUk+yWNTuvSaGKgrGkXPCIzOIQhKeVLcytQm2xS14393uSwC4Pg
IwuGO7MfFUAur3UW6zCaxu06Thy0/q0MBRBkS9y6cOnSLH1zRELI0BouHj8t7AdLTUpQlOKdQRe7
IvEfRgoIuixc+PNwnxPQsnFTu/TGLrxdQFt5cEI/QLi9DqH13WJ80NSLvkv6msBWklK345jCL7Ee
gJE9SKxhKJdaPNTiA9fwbeaqq75jdDbHy6eQdFSTjhzdyEieysagueigZe7D0PUC9N3cJB9TV3ta
LMbbfc70xehZJngJxhg1mdC6k87HtksahdUqQA81EKc1dKs0bh1jO3xwcLFSTPRGumUi50c9mKtx
PqhcvXTY8X0rQNPnsNV0FWXCwO2VynVjHYsUF0gNkaw0J19DxEYrLTljSujQM3Eiq31uwjgFbH7V
98bDYkuOpvipmod+o+NIAwcffAZjtQ5W+0Obo1uAFjJ78LovCbcrhKOdHwXpa4y2g6iDwHMjhllU
F/sSFRRYlf6G/sJyEYb0izmevIg8aRzeiHGKPnyyOTALYZrcPKuv3l38rGN9Tuuwz8AO7hs8j8E8
vTtONLIdJLfzXGIlD0GvIYGAj7KW7RsrdGCgrpgnp49sv5LAQBup7yR9jngpmktMZefhf+33OZrN
pmUJ8+lrJoi0Xg8fCE8sG0A6E36IKROk3tObymJ5PZiCsZRBvGXay/uqfq4GLllG33laeuSiuIDu
RYEq54uIwnezHIizn5nlWS4sRkOL/HgkCZa3jfQRGkg6ShK8GYzzwKPJCooGZeIc3pZ29S1l9jXM
4nMtprfF0l70/CqMEBIYzQAPi+6LWhD0ZMluBNs5u9kzqk/w3eFTcJjm+IH1SVhK+hYT1bUZiB0W
Wr+12snYaz192zR7EEFuo4YY7zG+xHsUNEdNsy9hbXCx6V3m5NH6NVGdLcqp/MTUL6g8XtrCejaI
cUJtfRcv9i0XynO9JJ3fpzrXkQDvipw/+HzxGSyM4/KOtj2pbxwONU1224WLy4fJPX/UiANCtici
iZ0d6yvOTRuDjavfYBJggHBKhvZMo1ClHkOLD7fIX/EDvkqCxzeCjGBgdSBeKgVfETG/b0JNPK5I
PTU15iEGuIveu8O1ity3JezAQ5H6PpXON9jXR0dqDatjMZ4RbWwGfIL0xOK3HKcngo1w1fgb82Yk
r5Kuf/Suys71yHb/HHikwVHeFGWIKy59ZsZeYKGxLioWCMLv7MC9C1X1raunYzRasaeFywNZMhwn
94iQMzKvymsb1Qlzc0n8zjj4UqP2ngCJR2HyTuDsCj9gtyjakVYfkE5ydY+hBmM8AApCEz3ssPs1
HLeAGsYk3HftcFWxzC5cjnguuBsjftFJ9dpOUkMgI6rXmTnUpXPH88qINqzgmUb/cbbix6qekTPG
HZFN1N8bR2PQzGzzdT2vl366ZUQOAhCw6WbpLK/LmaJPUt5FcVYfbRV5QYyKZbFFsxF3HXmgNQ/5
VmuK2ht1OkDZqq5hIOcPAy6IyAUZl9ImWri4gKcLEUTaOQbdYTg3obS8CH1ySCwRTVztwM3fQV/H
JsfKNugcIbIrjtIeg71UkeOVbvzS6D34TvJXtOFlsUjBmCLzLsHS03GGdXbRe0tr3BoicfGhtPDM
zfEL1MB+GLKZPgs3yjEUuNdlCHGgtbzZHj4LSBnSRbGHv/6+M9VpNHj0k5wQyBn3b2ywW+Yi8ifC
Lq9YrAnZV1dja6jrUKzFRwzXdiCPHUUpR3AluMyOzbtDXuFVGuqbTutftdzQDguC+62qJxz5QBJb
jdQrMpO3WMc+tAInoobTp4yHRzQ9COqE+L4qdxjiYO4WimaOAUU8ZXPUFfuDjrcmm1Pl22rhZpWU
T8RGPC4FUCWH76xf1NWqWHM0bnAEx+ueFRDKhxzrlE5uSb5TaO2HAM+CXXdACOHiupLbkBmQ9FRV
CO9mRg/jhGwzl65PHiynYu51xFM4dG17nSa4CXNrnyc64ZkLevwpzTnvC+JlklFdLwFbfRb1T5YG
rDZcwFHX67910Mmi0MHWzoYM33erlH0aKnYyDpG3JFyEt+hEMxg/8PcvBVlX4BvvUKMQeVoL9OUm
qcjVexWhkoe5cl9bPKp2qGsbCl84B055aYbeJ7nO2HJbD/wetPnaAEE7YbNlld8HQs2vyrNDpb9F
g9X5kFgv9J2hD5ZctJfGTbbcgBHspf1Xbnfljg3jHUereRAO0zCtirl322u4XVSBN1nBdglOxiKN
LKT8RAgikNkN1swibRH9BmncHZdQd3dN2KJqovONWw9rosNlc2zS3CfVADGVFpzqcmGWW2oQzt1d
IOng4Z8ct3WUG5vIGaK9O/C10zzDrQx0wxin+yFlKWdF/yEq7TrlRpIFpF85ScGjlrA0J8CC26Jb
BO4em7rUIQeh6pFvkmpE27J8EysN2zFw80KV8CYHy0fH1tQSMILP2obCOIQHs+PcKrD0FXPNXao1
KcropCrsxocFBqXZih9iNt7okXGDtDgeefHckKex3GU1NyqRhVz6renVKbgX6NUbILVbxkr+FAFv
n+LCPZdKv2QeWWnBQVbZR6XbV1PtcGDDDq/M9An5W+AB3tmT0HPPne1+apcHEjM9s27vl4AdsCQ7
Id8Tc7j9mdtW4X/39ah9hWR4n1EOA6G1B9wc+mM09WeZt/QUOhyMxDJsdSYrG6xyjQjRzefWgUf+
JDlEtrGYWoAFngGmxLMS1Hy5aZMCVT6tlGcvZ1OkhTNuwqIpMCMFDzmLHqwrOXJjsGkEPxxMKF5s
HRiN3Y0jRs+RTYByq9xVCweghkvblsAy8iL6yslWizAqL18RdFj29A47LTpK2ucIHLZxwa6n5/gI
7C7dS0njd+TGKRw+bclAUS9MniVJqGE30Ll0oWDsZY0cO9X5WGaUy8tIRVnpLCYnOXMuAxgvz1Ru
x6Z25K0s7FMcoQwNNbwhvZa9l8ShempIPxz6+964Osy7HnO5VjVkWS5rm7kmwSTtfjixnHhJ9Ahg
oWBwoi2VMhnyR1swHM01lufsnBC5F7eK6cLGn8D5ftDZusJA9WNKUIbZK500JywJrC76MfSR0yko
sYlWrT2fhdnZd3Td/KHpIIoXlkQyJKOtLepiay7zse+Gxwl5kt3OnmJEukuH9DuqoMdGb5+py5sd
7UgeJxxpXtVSkbo0TDYDrNpt4XAHxxQKdsFFCzYtzF2FmV/RlZ1RDs7H2o0/nRGB4oC4v7DcH6Zr
zFs5t3fEtB3FbFcPJNKm53/IgQoAt/PflQOJvyUHengv//JY5v/+b3/58ZdbQHk4+X/8UR7EH/9V
HuT8Im3hEkdh245E6WMj9Bl/tN2//JPN75iGcvn3hItKaaAc+k910C+OruuCrDUTZJtjWPx1v6mD
UBXpBiEbLv8zBX9SCaH+XwIh/c9cNv5DyPKUNLnSKF1fX2H1/f0+LsJVT/RXoWxQweuokvrHY4p4
EhYx2Qv5K930pFjVrOXhyLCbFTHMt7ZJ+4dm7OOcOHiQwYVSKel3Qo4hdnx7b6JzRY3J0KTB9RJC
IaafPXzHWXSlZVGxbZYaSiwq9j4EONsX6h7h8TX9/2WLtgTEkUskNgO+arIQ4eIHP1ltUBzp/iGG
Wcb7wj1qgzqkw/iWw5L1ia7thnH2i2X1uZJ8RswDuyID3b1O9K+VLDMzd9oadui8ZCDXiCKvNggN
eZkVXf9QS7aaxZjfwSW3U1HzhBpX84gEhaUy+HyHDxVZaZ7QC7qc7nXu2rcwummbV8AwawiJtYTR
NrXpV9/DSFvzEJuCUkybs42aV1k+NRJhWz+4F3Z+g+x16olTguxUb2QDI7gGOlKhCRjhIdgmOLul
vLG5vrgmF9wRkS5qj3erZtCP4hqYQcPboyfeeU6MU7luw5uAXalP62OWouVBH0OpJaBnjzNaCYKJ
fves/w/kO2NFAv5eUcZ41TAtHloeQNptuuLJ/f0TA5cYEACxCHn6PJdYdynUMz/mLrHNM7FrHHOE
8jR/lUmHKmC20bk7iGiCmU8prRiC5B1joll7xtic7IkH3ugZjvOfH2qTmhJbbjpsB4W9xoq020yq
C9UX41qzBt81dE/ZgvxiauNjOTNEZ4g5A2Hq154x4+ntMH8yL35JneqCu1DDRUjVME39oWwNrq58
TwXRsV5Wd4gnBqaGejB7OFkRkEMaYaxpfJMSDlTWuPtkIRDJVK8MTEgto18/zo1f94PpmV2IE2nt
dXbZKV/7JDT3cZ1X1DqJcyaz9kAvLdsE43o1ZUolL3MRSx9X6WXW+7U/40DsmSaYWSMS4DUCKJiC
Hzld89JYDZwFEy++vmPdzsNeM3gE+4m/fWAxBdb0nU7OuSAwMdK7o93Ub1BtKSF4bLq2DTYR4jR4
Is4N87YranooQCrUvEiE79VYEiUVizeRzl9VmEx7p9/ZiylOUc8a7+uWkFF8ObiEZiTu/T1fCSUx
811l1+5WVJ8ABNxznkA+dEvrPQA96XUqhtwk+pkvPKQ4jeMvuWqj1rpsaAc8RY721gCEx37Kk2vi
9iorhNhTOl7zWnvOePrWqTl813WWAT41xTQyynwRMwyxWdpxutSeTlDvz+ekr5uS6QkeChtdQxdn
CLKy6Z5WGd7Ftj5q7XxWedEcQo15mF7kL4lh5wcx0Uabmu6HKbuQynVd19w5bIsAmz7vh72tQ+TQ
K2sjI5I+cIoo32j7+6HTCLKkBAxpzG0Sbb3kROUbRAP86Bqe7iigJY1rxt2q0Hy1x+L0dxad8Yc1
p3THdARKTtsCnsmpodbf//0uPaghC9W3KS8QtyNtVprzImyHxHvhi7kkSSvTHtgoKMKIs/65eP5R
C/zfagEOxL8hDX7nVvsnIqsp+CO/MVl1yKvo7BTbpa0sayWv/nr+m+4vwnQ4ySX0VSFdm2/0t/Of
Q951dUdSBHDZNzDf2Gyx/1kBGMYvjrSoAGCyWjoKY/n/Ov+pJX63mSvD4H7FX2LwaGHls8VKOf3d
g+XqEXTVcZVkcXsyXIfDCGHtUA3ltTYyCKvbzj7oNn21LtffO1CiflES+5oF6U0wUxf912f3P50t
f2Sq/vpqlKnWygbZsiv/BImtwT3UsrSZyVRx6KeIALyQe+d9peExQOr8qKnYunBL3hQq95h3YY5Z
g46mgfiGGZG034/sVqLuYDBj6d//7dcn/iim5vW5poThraMXdRwLm8MfP60KXYeWDADJK9XrW92I
+o0zS3NTCfO1Nst5T3meJ2ini3FVkJRGw2gN2WNJEkcjmS/ac1xvp8iq8Ytk9FdTlxEAk3MCCgyY
4uDMbIhuF2w20SG0+5t6ju5SATgyGYIfZTe4+wGd46Zdp3tmylyMOyNsWCf/O+/U5DH604PBW6U0
VLxbgo5N+adTfgSlKpE3MXVDg/WM7uBqcXN5o68mWzfjHHRxKXiZtYAwq7Xh1qjb+qBCNW25Gz/P
8WgS1Wv8B2XntRu50mbZJyJAb26V3hul7A2hcvQ2gib49LOoM5i/u2bQB3NDSIUyWSlm8DN7r/2j
NMVXN+F+/L5gjChWjc94To+8XcJO0XgKdb85Ry0nc5YkHl2pg2kXzOIyiUpqrpHIDfTDXn1N4F2D
R5enQtQOcbppaJyj1LIXtnjIUDfRUxnOA3rFEeh1fas6J1+hpxivpnB/h8wXuq4722j9jxODoa2o
mLJ1RF9vwZf7h9zMDpUl4n8uccsoMsWltLTbkL1B7a5UN1WrkUzPjRmremFFun4M44Yg6mncEpWp
kGMBk4nD6ldfaD8S/sy7gZEDUfHWm0oXolbLnpcVgEsoNRZ82JbCCo8lWta9lvwuB+ZBYNb9NXqF
4coqB4WCPxioSllSgvcRF8Iap43nNlh9MzT71czlcdhNwcKhtGgiDCPWovGI6Mhdc9pog0cVkJPa
0fXqJsIEAIdyMRs3xbLvbHSsxVIy59o1mfeVT6W/D7twrvA9vK+GPGZ9tY46kqkb5b45o4O+pk1t
Yu8oMxCdGzcFM1eCCjlorquIl7PiDVJx+2xuGQ8BCaENBvXLlAk3ZXrhlEkvdUU2F9Z88mBL+63P
tORYu70417C+9rJBKRoq1gyhnTBN4aXhxjY3aLnIeDWM5FYnry4+LYM8gQeWYGtHyArZkmwRn+Oi
/0ozmgqwNy1bmUzDtRqf0O1vNGj8p9ylJgpz9N/N1GPa6dzFa9pLHMhpS5JNTDtT9yC4UnPTcM9v
bQHWpRSIupvW8s+F4A/IEOWG4bbvGTvps4xaPKcgqij7w4KIT+YhbtkfvQTsbmtLeWAiGLRacfNx
W1HXLtti2bKQ+eio8GDiq1XfNsFmImym9myDyhAphNmmjyAjQNUyymY9es6pRofxiNOkOdtpi/Oi
1vAEdFLsY0P6i84o5cpOhuiYm9wKeveCaf1FtCb8kd5e6iQyrsRscmfc8IgFKs+mDeb5cjvdpev/
CA3vBNDApulL62UQdwn0HOyHTG59jliPYQeF4dLVJ6L/TP1fQNrGf+8mfJ5wdL84aAyMmn5g/V3Z
DA0ZX+BhMg7KPFnEZT7tkbITTE/WaGzcR2uYNlbEC27i0dtqPvsVu57qz0R4q3xNS7kYLZsXHyUO
bn2ZkVsyWNa/NT1/P5hMDkjXdnTTAz8SOM5fj8naRaieV3Bw+aTRcPFM35u9hVxIfxIFyxkyH9Vn
YdRPmus/Rc24BUobbkO0Lwukk8auT8wP3BEhgL305X9+KBlzqfDfnuGmyQLTxICkGw6Ud/+vFj5F
5FpkU4fogxXMhc1c9JQAO3mv5o7a0ZV8NbSBkAVOlIepV2CGDFpvN4FfVoSoacywdfmzfnbU2naL
D+RexLZx9mO/fVHZBrFmcZz67H1MIUKkg612Mx9ET4b8RO76eEj5UIiGwLG0qCTrPyt5IS3lPQx7
lPQZ+lK/NeDOjYRyZ7lId2S3rvmoC6BMdcD0LtG3aTmLtaQxHEeGXouh6Mixrn3r2dOaNyLwjC99
8uYIR8iQqJVRlVRTex9MJA6pJPOhwXB+TyxEWKFHZZ9aweH70hF7fIgI+CQ7GjJc5Ebi5jrPNXKA
a8kv6J5Mb6o2ikXOyfsa9+hsR3y68E9Z7TvugIS2G08IPIA2UwERyGu7n85kkMNAa6WUU55SlTeL
yvwzhrp3H6OMnl9XmE11RtEKlfZK4R860/6hwAvN52lFymt1GGTW/HPpCjwcYG1hDM3/KVNM08qP
8U/qftzni7TWHpNfNXsl0+LCEmrRGN14CSeBmCno+rWdARcrtRpDDwBCDOPk/jrZeGJ7pWNdKhUg
vsQ99cS2kSS/SVtdfDWFe+gKHb5VZfwIgsb77ZbDV5FD9JKZy+YlGO2zMYKnG92+Z9HJW+6MWbRU
TCifQqxfzuQ7r66gcXIcdXNK4rYRKZAapxGfCeXhxu9+6Nj4W/TMKIZEvh7jyDlrcgSthu5i6dUY
9GPCompcsK+Tgc+2ZD0ahFFzFRlGR/npYIFfT4abrFoAjA+HA+0pnzRydi3h7K2ildsyaPvTv3yi
/i6KTdNhvua4OgU6ExL/rzIUAXdsWmGM3I2eFRmHCB6+rK8hUpOdz9NjXQq2g06etxuSGCoUH0Z7
klacPrLh6k3B+7+8HpM24a9PuGvMjQSv5/skmg/R/1Kls34SAc+vmrvP24TF2G4tFeBZ6YzisyYi
SiIgMBm4fWHWXqa6BPfm5GvipRjWFa2xyYVqHrplP1va6K+CPtFXOaLTB3gwHDLwFS5RZ+ATytpz
lLkvgA8kY5tYvowZ5OiK4NQ1ssromDBiYMCRTw/FR4WfAjKBvm7YybvHos0pTAsc9Ty3PkMbLh+5
06NwKtLl0Xw46T2Jy+YRzRcHGcc0Zqyv5+/CUINqUg7vXjBUwLLDLl5gFP4Rhp29t5tEYcgj8pU9
8uH7QtJZfGBS7i78ri82YwEaA1CUvig7o38EBAHIbKQ8YXiKZ9nm08GugC1XMHzCaXpJ4tbckX6J
orNEnunI3DsawHduZl4A566yQ03EMspvcWkcSSFJiTGa5CeM2puHPXzNZIulvDWppa8cXEhxm14K
u79TmMRTsQYhicurQxIwwuZdVGpI9/i2gicE/+UTqE5zPxW4FeOcGSE6xoayxIm3DkfrBVQBeZMl
0qmy48OX+vEBDZcLQCko74bxngs5PgMkGJ8ZLMJStMKSPmlMDsUPAzLoOXOYdmEev0cRxyLzq+kU
DVny0hTr8B2FWfmsJtQftaHp63+5S53/x03qWwGpGBhhLePvZ2Sn7A5llYUuBJP4aKU/nEi5QHaI
13TrqiVuxgWJr748B9WryR3bWDEsJ2/8TJzQxwCn/wRP9S8v6v96NlqWG3g6T6/vh/ffbUzjpW3r
NAgNsMvNTACLiGoGSjsnlNrSAIz/ITqLVFwdcUdhWto2SnIEEn4//n+XEOj6dN9yPJP5qc328r9/
hl2EVNFgeXhoXLoAMexmQducfFedoCWO6wo94sIIBv0MVIRISzYPT1Xv8nhSr7XKvEtk4yN3++A5
jKrlv7xNc4nwnzATqjDCvPAHM02wbZJNvkuM/3LAULSHehCbyAMSf+bXiAdvy8pXahUOQf1D75qN
OwzeG2Gp0aae3zsfOxSB8qwGi8jYNo4H46ok0iBj2UlgfJW9mM20KR02hP/za8Ue/XdvCmMddzTM
S5Mm3LW8v9pw0TY4PStIUYOKdgXb/oteBze0nFDnbDLkDX9do7M6hohzkLE78cpxdw2mhRX5Ws0S
CJYtjGjd6IKwA8MDtmVdDIgdfS2ZGscGMKiEvUbJo86J2D54fostBwHangMXroEBYL5GMVmTGTqw
4ATs7Cy7nrGAOdg/pcUmxYXztqrKEgb206Q5b3W7dcJqryJAHGBmOZbT/mIP4Q9zHJDyqOSME+be
aA05xR3cTD2yX7ucQr+2411OU1I/iRCJtAVOb+X43Z67mP03kpdgCNg7UvVgLnmHkPbc8/y2iegj
irTedSFmZ40RrZeHFp9MrKgVViGd7SYejAb688Bw3kHjwCrEwUYKfcqg0SYxG4hJO+3TYHhBQQRr
bJroYwX7YCbhGWC2LYCSN2Wwnk6zID62Qmsgln30HkwXZ+bz89c08o95tksfxJM1wCdUV8nPG1Bm
xglJaAOKSMbMHoks1wIqxTKKi3SZ9SUShAEBL8InWt/G8sCvR/l5aOK7Ha6Qn48ge8DCsj8YK8Yv
BAyvfKBCBIZgBdhJenY0YBaK+SGvLnk+mfvQ1c6e1BGbcqkS58a0IVmwgc0Co96nUpkwqM19bxMn
HJcJaJ9M/5r0MWPQwTrLGFwgrXIOgBnefJfVUO567SoNYHmkiAqF62hol5igq+ij6wh5l5YADR8k
a2JBy4WsxYsZykeAYzaHXb8ZWdvbLiii2E7zu9XF6oloPFYS7Q9dI/oSMZzYUVkiaENsIcRxpNp5
9vMu3UJXJeM0mlYDWX47ZbP40GM4yLhndiazGByQbrwQQJ6XDSIngN02+LQaSp4fvcshSpZCswmH
zNnDCzxuC9Ax9yIYk5OTas+hR2RpJH4i9/vD6Odn0Ma/07yasEQqljOR52DYTvFioYG3HvzDaJZ0
cwmv+2OWHinzNqZusCwtaPNYEiMBESd9sIKU7Ga8iz0aJoKS+Gh3yKJqH5L8ICHpjhqq00nvn4Wb
H7I2vkaWzz48R8aqpuRiGVF5bOhTYhXjG3bGSwGQhNXm8CihYL3XfWBu+ykmCoMk90yOxyxNGAv9
GdhVLf1SvuLqvBNl0twZv6xNiVC3AcKjux5C2liOexqPbVcSijIFOB+JjFo50TSu49L+05p9A3g2
a5DLom2GZVh46Ijs3ox20oxOJr5SpmBo6DoddqqGrEQDQ7RqKx7RaCUSmEOQ3qIoK47d8GnpEHvV
BPmqwBET0BFig6tf6krTgD5iHp5NsTrcZEdFEMh61OMp8nqduETEt/VnUEleHMX2wON97QH3tqo5
q6acXkGerKw2qFb0yT/QpCGuzrk7Y30isx3xfpkxQEnrw+CE0ZKxD2bgZFEaQfyECTiAZt6hl/F5
QzssDiJGR8UQOF7YnEuLEU9nmX6yB2lnhKfY1OpN4Vgjs5NFmNLnRHusOiWs7dzJ5PvUd9uuRvPj
ddGznuX1AfdoujOaHMZanC49AymP63a/phb6kwa/etliCCU7CSiwjVeYVoRAX8tQz6mtAytyAGaS
WLViYPRqGKCWht5n2mO/gdF+I7gCGly3GqIMTzVa2AAdFQtQh3alniTdUNhickWqPE6FTjuoQBoU
8AiNamCRRc/cIvYpm0LslTuceVgnW1ZBx6iq7F1vgBDtyQ9xEc+0pbSPbuueioLxpd778Ee7Ijor
X8e87EWXKXkNHdkdvCBCUtWtTMd476LBXZWQtyGVD7ukbvunHJyoDHqYorzXVZIAbgrmdysPzuYo
HY5noW8GgX2tHab4UId5tOBGqT6bqL61yGS3sfK97QhGyiI6ADtIvgYgh1hq7lP9VrDbBPK0bnmu
L7zJQxiPKCsw4gq9nSSRsHmQzuv94H3VFmFUV2sHNASTdTUcpUheaiLIRyCNVx1jB4Pm3371Cxt6
fA6bYMSKmdtbnOk9u8tBWyaT8w5BkXtmdgLG8KQT6Qcrp8hxTIRE/YzhdGcwswEAz2TSZ2LgMsPM
CV5ZmuLOCl870QOvMOkNL30HZSRXDh7/khgaOKjJItHZyHkDesgGf/I6VcVr7CBXT90qPzG1eaSJ
ucstHoipdK21bqP/rgzytfLyKnRUvRlGQyzxnEcKJxy7wrs1So7fSYd6hzmUOvFJ6AjYsHZxg/Nm
cjvxWCrHpeH/JkZbW3qw1Kjp0TjXTVM+N3BKRIqGzTKD8sMGqdYx5+ibfkIkpGWHJh1voUKB7FvV
uM8750l3SM5uoYLf0KGtJr8xAYzlH4grjI058QMzMiRUKLL9fV2IgDKl+8158xAQWimml2HoIDgo
pjdc68Ti+oRcGf24aelH7kiomJpl6lXMYQGyLSCzauO4snR6fpcQC9x5GR42fgwe0/CS28CJxKX2
c/zS8yaexf4TD+5ZvVoerL7P1pIl+MpDgA9rdvwtYfCzvCEz0ueJyUa8S2chqHDddZXk9d4YD4Ul
WJBTHu4oxBZmXGrXFFrYJoWwsCBnOtlCMOyhWpjOJtAmkrm63j14QzM95XRNG7/jDlGFOb4LmFFG
R3MDRIJogawbsP2vQS5WabxUbB2+cL7UGKXkvdHxkoCQ2hBT4bJzDjsx49a0layLr7DsoLTZeCZw
U8Iu62SxVo2WPMCGk6LSQhzJY+vQgv3eGIMJ3zmMwlU1SyGbjiZRMw9TaBdb5Q3FqZITaKwQEa9w
+3uRDygA8XPFO52A9Sj0VpE+uO9lL8cVYTchW+0ItlDkkqza7PSXGt14ZMnqUiPXPORViIG833Wt
11xl0yS3fr5MnrOXoxUcdUw4N+U1DHzpkAaJqTWAfmFPZHAxQHqvCi1ba44xbEQZoJOIZ4SjeA6Y
leNg7pas/Smeeg3Dck0aaUCy9DIBx3AoyvBj4iO6n6RtQf/oTdygDua+0UZTqFX8mIfKQRjXAhke
WFstDEUva+e1gFU+iYvTqRu3aHFVkY4Sm8BT9BDJsNE8gHdlUjtLNTFNbydbbCw6qYvdkhCUcFo9
mRgEbonPJoWUt6tKGCzAXm4gXihAihCJgfpF5ontO0sgqb0PZG6dOc/CfYsE/SnWrPKEzyu5IA5A
sJkzgsIAgXQeSEJALb4cyTRY6X1u7YoKibgIc1AjIMAWAY4nJBGZtcoEQuZIBl8OkygT2euNlOPw
7vW6sS5dWAH/fKtr4yUgGiYdQZGia0ZqKd5yTNY3OQ85BiPaNI4d3rLQvpg+kQaGZf9SxPy86iBy
PKpyN4qsBR81q3LEJZtZdNJ7dbPaZ/SWim2uyKdmw5M/Ksh8VMK5fK35NOewEvZ24Q7H1E3H4/dX
/7l8/xq58MRVQacw9fLnhLzyiE3PuCS++NWmKScqd/IaNbg6mGazNQseKaI03sF9BHQjXvwCTRo0
Wu0YeyTmyYuO9iHr8nTrz1QWd77UHflBZRB9Jq3jPqmJxy2E+eKpQCuCd2JKHkZq6StqBGdRasia
44aAckQK/hY9q7bp4VQ/x4GrLRDkURil8b5Wkcm5oUzQCKmO4mksrrH0osdAcCeq3aHYaoJvp714
7fTOuZNKDz0n9sVNNgZGhNFJrtSQ2dKMbCDwCFM6WEB4S8wW7n5SnRiSVcusyI2t6+XdCS+JPFFR
P/ICCuQ0P4omApK02KPncq0Eaj+U4dD1vA855ptRWfJXNTCzzFjJ4wsMp51rFtXZYUn+ZNbkbUXZ
c2M+63UR0XJyCVuAknpjEvgRW5LspAGtnA7gLwZOfi3iIjr6LrULzWH43IDci6yu25dBXT5Citc1
cxHwSrFsj2nHLHzQUMpO4zSshWm8tIOZ3+OCZDTNwtyiO1n/oTe98YQquNlWspfnGsroerAwMlma
44LaQIPWNQFWN6A8CaEEX0WMNxByEdgIYB2M+DoyWXJrIRkFXIRKnYv4JKSTrhnA6CX7vtjNuHdw
Se0SI2DbsibC27pZGbiSMqutXel8oXFFZa8dW+jCW0azz13uhEfXEtpxkF9JQemubEmXMmvFvy/e
VIAEM5rDlEdnIxNkTIkpuKd6X+8GSDIlNFS6qDr8sCZ6Id+R0cUvBWvFlvQtMbCtSDpI2TQy6S2p
wuQmQ79d2pppraT7G390t9JyOeBA0wGKUHn/kUEz0kLSl2eF86uZGvlIzLR8FHcDTkdcDJRJefDA
VW28uFb6BnMj+Mls4ZlRUftKldevi6Ep9qlhs8YlP6fvALIYhhWd+8o0dtNUQtwqSKWblBvv24Qy
ZaohqH6vGVQ/1tvJSTFC9KK+EkdUX62ss58M/qsbJzSzk2v5S2WQmke8VYD2cQSAlvNocLLyxXA7
/eZrz33AP8yT1jsKko9oLA8xc5wDCa4KWhTgfW9a28iBH2zGva3NxHrR++bXQCH43Kv0jrwg+UIl
htQ8cH7z4YPOE+fyLAO3XxLs8+hT6tYgrSoALk4PWCTu2H3W4pZlN1Eb4pC2afJM7FG4nTX9aWpf
8953VkKxfq7A416wnvGsq4duoSltLWZ3kJR2RWxqV8Hu9uidcgDFeT4WC1hn5T2ADAlbCc5xoDAe
W7p7lfPFTsdwi9SbGRmhin0J2o20AvcsfeWe2/lCu9A/DQMxiPlgDYfEwk+aDf4uKFmDjw7COmaK
5ktvskUcguimY2kipIBExCQFWYa7toBJkTo4AwrvOO95SVJz/WMaFsxNS+NMer1/SUzX++cS+wQG
lSz4wjYZSAksc/K9NNDLhCAgyjQWlRDmL3/Cl6Uq55NqUN41bN5PFNjVxYwByEVM4p24yl9hT1gz
fM0+JMGReK1uT8Km/wK9Bw192N5oBC+uPRIUOpbpOUVBnwzpcPz+rq3FtKA2xqZXEEsYNcajweo4
9DxhIIh5d4RGRCtrobr4jWAN717r3CiXVqyaA8C45hAVDLvEqG+dEvHC/ERy5osYO3Gh/lrFPWwt
HdDQsU8j/+iUOer/sd/a+KBXsvGmTxcjpqXa4icZYiy80EJeWM66GKz+xL52azBt9BjKjmySzM3k
wYPqhWnhUCaEsM1N1tVKIOfNZ2KZiIwDh4p+kC0BdB51eNlNtyTV1EFNtnN1WsmFlhStySdGsXbf
W337HkeHCNXPhwJOjaWMCb5dj0iTYshBmWqTg8gYn8rI+cx80qaqgF1YYhnhKSjdHDmpsj9FbP5R
pUvDGbeQ1DIYYP0I/n4uyZyRlFfVldWWlLLsXsJ9OaCa4JmZV/0lNn2XPkd/13V1gEsqnqPWks91
u1PglHQ7dC4aHuvL91cykO9a7rxINyF5vhyTl3Ds43U84t02AJbt4LA0y8GL4FUlXn5ozQQwWgpf
IxpI5iVJt10POpE2pomLUmay3NjMBZZ16Yc0qEa9SFxJExMEZI4AjU+Mk0BpDByggP5X2qdeNRlG
IxesRwHOzWpEguPAa2+lONmLsLfGi8uT+dLVKlgaddkjkoV8Z7KEWHcGHjabWSezS5llKMHQlZYY
gVKj7E9myxmjxjReZ247HJP5ovksoVAsHw12unRZ2bAZXO1TG+pwjfVy3JfDgKG259MLPEvt88kn
COCVOlP7qjTGebGbq6uTDeUxNsm0J50OMVVjxtsweO1Jg/Cl1q8GP8Y7VxKFHaQpRzsUCKq6teaq
8NPVnrLO6T8LC9FVJ2EmUIROu6YbaRtV2+5iNf4pa6f/ClNmnM4Q5dfE98tTE5AakXmsP420O6Zj
NT3HtvVkWmC6BqCaqwJdy1dTfUlMHDycQrmpcl5dTG35UVOUGtgqDdV7L6G0DyQFuaA/3IlbK9BX
Lm/OyvUrAa7fuQbYjKwgcT9HH1t6ndfTBQqEfY5NKBOY6dqTRsu20JX4RaiBxjK5ptGyG7Z1s13X
7lcBmK8fcfZQDrxY2r5gZ/egBmtb7EZbWJ8qlcTFNIba8q4uTeYbrwEmaVDY44cv9TXDv1+qZ58W
lOqorNq4BY7BXK68JPZU/6y1+iapKV/LcEiR1ZQ5BCSlbXSd00zroPWOzd7AaXxmRdhwjIQ3K2y+
aKqyk9ON2QUdcMbEK6l+hDFjvMkxSbbKwMDH9ms+FebOyM2AxD/x7A7+tNSL6RjNS8pYSv0eegR8
UccSAJva8ogSuFvWkP1/5N2Z8PHqC5phu5IcQbjd8x8i/BPVGUG3nKRVxuA39U08t5pHhBHN9FXj
f+bO90ASwrJqQtLoIpN2APeb3302RjOX2m6Bi5rbBsA62sNHlxnJNcYX9jyfDlGdd7fv77o6L5e5
qTP0cmC+9VH6znyVhCA9gVIwbDv2NpiCtGOgk+MUQOB7iBzDnu2Zbza70oXWZNlSM4bnOA+npbST
ZyTIzSXQjsDharyPMluXUAYa8sOImf4NJUQwVn1KzSxmQNJ+qqkh7rHjKWzVeLyU9VuH9dKOZrqC
7FSGU3Ris+EzDZeNu8+gODrz2tXOfLb++O5R3L0rIy92FARwibVyZ6RfuW/8yNPaWUQwto6yJFuv
soDLpwnKpYgxkwwmwoLHIbtOEtxK0bW/Y6SAISXW0rWAzig2w50fETraDqfGNwg+5WlbBODb6uwY
gTNrwFWsCZn60RZYJp6yvNNPRipqhmDG5fu7Om7IzJHxGwasHhzh+K4cr3j0fvTPAYEBbXaTGdeI
Te3u7oUQIjN6jyAl5KYknfkjr11mFy45X5BVtGs5Nb8LSzM/wg6te4WhPBQREqbWfY094s4IodZR
t4lfTNLj81QggifQSq5ykpgLt3TuvbCSu1DOaYCO/WaQTPHUF4nAlZA+c4xTNQbqvfe5ecwh/WMN
dAtwVOO3psCmlo1ziHA2wnqpk2tXm8mNpWC+HDpXbDJJmNBIxehlxP4Z9dkX4SIteBkwbO+B3XVv
HXDCnWmXsI7c7JPQHOMy2WzcsLuLbVg2/gatQMIOI3q0M8Qc+nXnpYSCMp0kz3ppU8MwG+NHCYHs
knLuRDG8e8mTD1Od8xLEsthi4WiWsmJSNUzVm5GhSA2EyIm3scs3YfdHpZnhzRT1xdPnBCqeJHTZ
/k+R8ZEOVDjuW2vqFt/fNv1IbFnaAzwBPsp9J4ePTDbPAqPszg2YswQkpPOT16+h2XerHm0JvB2B
+HSdDmQ/IKOprp7KX+CtjMtJclpnEXRCz2Kr6IAOeJdqXvMo8mctSjtTi8bXKA7XkFPa3WBWzKx6
O70NTv1emy9ChfWj84PfZcfcDBdRA/s+UPfO0S8K/AjpaFa0q0e/eYXTHzw14yQPJXlwTjS+MGNX
KUgn38bkzTI7hS4AarQfdjhi8uU0TelbEPa8riGCE94U6VvhApjzYz7lSQbBowIicPbG6GuKPlDY
BE9yaORBYyl/5Z/8ynL2qI0buOgjmON/fxsViJvc1ntLpiDepmFjndkfvrDzWI2Rk7y5sV2frDnj
8/s2q0rClSwyI9GxWGu3hSfglIPYkwFPwGPEMYqUso7eEm24EwsyXSFzJAetYhHR43jWePX54OJW
CkfwD+Bz4IrfJl1B1Ek8m86Hn3g+WfXWm79FA8iNUwMlnFDTPmlZp50swpFNQCUqQpHT1nSnuH6t
W2x5x8pqkzfkCtMhZopMpZx7h8Tuo0XnhEQFztkskETukkzLqlD6TZvYO0AlgB/ljGeIWFbdMJEV
4C6x79MIlsMli6KHX9naqQoQBtHNWAAfDYNHr0aMKziDteqYB1SJXI8gUmBoZDW3i3uxqEp3RLcN
b3WG16rUvWvDpHFfRPz+nMcez4x9ZrXNKUGh2w6GdTQxzCLI8Lu33s2NdTVbX6qe6poRVcR96b4M
cyRLqO9L2ztqEYNm5Fn6xr+CqRRvqomscxeQlRe5rXibmhqGQ+xQl9jlGi37M5b/9MSmeVECk2Pj
wQtwOBcBLt3Aox7zLDTwrkwIs3T7RUxjfKlnBOT3fSJqwCkea8aFlYJssrnHGSkjest1f5EHpbHn
oEjfHd7SJi+bl9StnfN3MLbOrTB0CvGxt/IHlexHPW+WOtThxzBBlrezYWG2sbfvcCu/SZeDqcwm
igFzeogEwxNtyM4pSJeoGx7j5DHWJCrzO7VJvvlzdktdm/rez1p6b0GkQ8cZYnZueverdnwGNc3S
gcOthpdzKAVL40zE3VsUqWidRUO5qSrxE2x4f51/1sLrw4s1E8YErxJCYrYFHRl0XvzuJB09kT0R
cNIShAFMMF6bbbYN68jdqNRmmp1K/x1n11tfW/e2Dya8TN6J/85WHwNjW/Yv1NAB4CuMSnZok1OS
YBmwtogsBRIfiDLlp/JabV0BlwRwQ4ZWzbLMNX8WCWr7TmvK/aimcp9NCt1qiu9IK8adi8ZqzzvY
7GWQiG1Qhcu819kCaEqHG5IKIAujt+wLk5+tGQ9PUMyADKeqhUneWF9RTvJZN3lXnFUGIpGAusxw
j7X05a4nmtXP9HDtyBcibdRumgmLmmMma9Wqz942wQtL9ZUFkDTysUEECOPdy8KbnVWMHRWjV2+6
6dmcefbLKIwEBjFgZW1GLAfz5fur2MHekc/xidKsERYP7Z59pNCB9UEMhuEq9pErGJrollgmhiWY
HnKZSMD856vvb9N+0sBzr8pWSnbD2f++mEg2oVQFv8rIMLfRZK5hFA37BunIk+6RZTBkzPhD1ax1
10Gaw98popr0uvmrWhLKUujxH8byam8OsQK1FVAteh54lsD6OXQpQzcDSrASEp3FfBn+z1eln3ob
P0029cxVFdUNnaysrR76Axdddf0eTQa7S473Zd06l6ywzU1b5tnCjyqHZteA9sOQYO/Pb9v3txGd
IVSoW1smwVOYmF8hxew44kB3jQHdrecly3/uCZu8B+XBy3/6/v77ohgmW4TAric2OUjKLbKyhSKc
vZkLObsk5FE7KodxUZBExVLT+cm6ORmjunMbxJAtiyACEDmQq0lSarU3yrLe+xMSk+kcFrU42Onw
A9jiEUWSsVSWutHCsxj3E/YHyfeVnfA97tjjaD46tHg2yRKEgUd1vofb+UV/v1LcjfkSGIIFpq2K
D6UHuqRqyP4qhCv335eSGLJ/vrLsWtsUwuYfssp920fgPuavbCFImWG3kG1NVa1TXAd72dVLq09/
l1FgrxiX/MMXtUH/NqKt8DyOu3ZOFwbuqa80fm0PLYM70mRi8J/L968Bg2KdHxmnhJQCklJnZnia
baMMTFVbQFfXsGscLBt8YqP7O7s133wgJMK3xEJMMvlflJ1Xc+xKdqX/Sse8owdIeIWmH8r7Knrz
giDPIeG9S+Svnw/UldR9NTEtRdzLYB0WXRHIzL33Wt9aCyuhbJtw2IdW5Rx+3gQm71V1cN+43UgK
SH/WSC5bQhRwF7Y1/Wogfs3CkUfeIRiMgXo8jI96zuyytcQNyxLhvJ6HvtpWKxWk1WEdVN4enQ8u
Hljgq0irkO80wbAME+SNgZKrWgqo48XFCUmXxGOoMEX67zazTUZO3RkBAZdl6L+lsnq3K1D7WQpE
bmxx5yCiRXvC6Mc9odmprwPWX2mY00UOX+CGKYqQDXPF0O3TKF2XQMOZWaxV1cRM8qxjUZOJpVeE
y0zDZcrUveGUj4WHJcKcsr3TNztOYzQSAgbzsinJT2s56Yd+8SorGOFldC3nHNGSZYMG9R0tJgJ6
UthQJlesEczM4dkbrRVf0ZgvLRa/te4eJpTKaAwKOkElefEib15yq003uvKPNOZ3rD+s0k0MTpz7
p9D7lwI7Nscg8pOseYzkDPvA7McFteawHb3sFgJ47HL7vrVHB2Gsa2yj0n0rPHEBqN5z7Y/EKxUV
c6emRcPbxjukKenSdBBWCebVCycg0duIL7WDUijsYbz4o5C7NLVfct/rjhm0GAQi9l6her6OKtyV
JnGLJiRbZO3lWvftYVPPxE34ycC5DJe/YtupHRbvfC+DxtrEsU9daLm7Cv3mESNVSH2KJNYJzfos
QW/cKGh+D/lz0zuccrXivvemWxHmW8zTezEG3lqOfNlogPdUNhhQJlqr0fTL1gLr7IfjHXk/xiYs
04dIt46lgHWJORjx8tjSRveIVR26tRinJdN+FEzCCdZNGuP3QNa7ai1/A1p5S2FabpuaVd6EUqfk
ZzsE696b2y81GQVlcEh98kg9VBAXXUfYn80Ay8Q8UzQ+ZS1pZFECVLv6IMzs5Gu5WLTIu2ZkBzll
CfIdvN+qVy99ivINK1+qm/sxawmVRJee+glRwVVBtCFJC+Rxvmvpc5hkFF+pK55rN84POf4LsCcp
5A+vqzdKoD8c4rY/ldYHmXLddWxe6KNK+ndrvfS4h/1kmQLi20UptXUcDC9Qm/NliWmHidI1gEsw
icrY06qF6TY6LxIXMf4c+4ilmWkivC4ngYmAitJdA51fxFi9cOv91hB7rdK6B0PYQcTMra05pk8x
/K0FHblXVHs36JSrQvrxHARiLYu83BpeDUWqjSt6jkDArLDM162dPef9woicc0OmHN1ppu/5PHsG
kUPC7Bu+iQc9ZmgUKu5DlCP05HaoMt5Fkz9VFKJ5rFcPmmcyntCRDraztNpOX3tfrofSPDWlPiHl
r78r34vIfKL1WQQf1FykFEQt4gHr1QMutBgE0ZMEwH03wxd09wd34OI1XYg/TG8fzcAyjnXWHCrX
/pIuIqKhTeUV3wW7a4D3gtGEic9hxTnk3ZbqYETI9Rphhiu3mmipR9W6wKUNHpFSJs3Exqw1QtCK
IFr6iUy3DBOwjxSsgcMlcEDIDdkrdx+T+RQmbBAXp4bmEm1B8RDbzAJzBxzQ4HTeya2yFwTe7GMF
/dIyd0lCce27mV3ZOF56K8XKRtJUwEnbl0FAgHENYq+2NWOnB37/4EoTf9nIt248VI/OVBNYmbyP
oFJlAppv6EF7I9RfTpjN9Rn9jlhceZw+qxn+pMQxTtxxJy2Nzbq8cRgMnsrs0JBKtZsk3hau0CVT
gydSs2E9kIdisz/a0BqNPuQZ9qNvVy8Ug0R/E1e8D6BNkiP8FOs13skJ/ZOW+Fd3yu/1ztsOrrAR
lCLLBx5HlUx/ihuahhwQgOLb57S5czqm+nkNX9nyYCdr8j0ZTp6H5ksHRLw0WGKXkxl814GLfI99
OQb265IeEPvyNYEOH3sfQcaN1/bRtcsjh8CyXrsUxLsuyLVpBZvOBCp7dIw7Yb6PEaqU3NbA7Nna
C+sIY/tUMdRwDyORpyXgnKAux0XSIhfiRP4dEvHY8afbaU35mJsJY8Qan1S27ZVJbk9ENNDR7Lj9
zN65tCIB0pmHwTK3PsJRvY260W2axLsbSzjTpFh42+ZkS8xZXdXUD1HffRvZsPGx4D6aorw2e82F
9ix91GaethdT8RoRjnB2CmetxqrHWZHo+Aqqt9Ero3tE9YpsP2Jgqob9SQW9A0cO+0vT3phnnDor
fc+D7MUvUBvYSfnlNRnNu3BLR+3GT3QMqcPp362AlZGh4MCQqifzkhbpobJlcfUo8WMi73XL+1aS
ebZET2hiV+zpps8xJ5iJcExOtBzArk9HnXQYqsuDzsiJ/jsJ85AWLUuhMqgkQg6DPbZMuefLpB+W
NSf7JogJLIyKp9pmxGD1cDUdQ8MQhciavqkNBFHmoMLGguwe/qSOkznL2J9uw4BO0Dm7KBGfTJKP
3aJel7EbrsHc9Bufe75Fq4n3+TURTGddg7qmb3D0AB/Rxwsm3eDBFc2RZi5uQgtCdISuKrGb6+iI
LWRYrHtJ1JFf+NA2ZrzGjPacZwCqtDl2IfkmWxutXhufLX/aJxDUMnpFS3QJuGW7/sk0wMnpb0PW
HmlAxVsknTDKBnFtYoXSOesJXKQnvmp/dZF/5/b5e9Ozu4NaN1rPnZ8AvlilZHA7ycZ0/WGJ2M1Z
MydqVIUqIEALN5jeC0OhZj3RfFtWo5EQx5ymeweG6jLLu0XhjBieSZJkqxrhIZYoh6ymfS9yQmBS
D0FKG8vHquYEO2TZd5xzRZOEcq+16pyzGf/GZQ2QnOxKTzm/RmYudIoVvpYwufNa75yllo4R3EZo
AUg5GBZTMHXkfICa5duJIPz08rEgsMlkxkb/xkdyvhLW+EwQ+rSEig3BZe0Lpg3IdM4w5PCFOG+h
51+sln2MJLxyP1Q0BRAbd0yGGk9Om4loGqsNH4bEkJvJjW/JmG6iuHb26OZq3FAbQI2vGBIPoWKE
TtTWlvMot7bAwYD9PVzojhMuWvrZ0xS9gV1/8n6VFNaEjy0CEhC48FgXrkI0T1XgAQ/DOZSGUbKV
OBC6xiMXwkKgbTWQTUc082V2icaqPTR99p6qsFgFSDgW+RwG38J+D8PkQsPgI3GyJytpT6hi4Rnt
auUf9DH4SolsRW9DEgdMILt/1eHkLBiUfIuE0GTy5m9kTf92teox07KtSeR75SAowfemllnoQGFH
4peEwZ5xtlxn/XiZ0c6uhlu75R+6utulDLv24QxiKweCZYGpxIAE94DDdxBnp41WcGjOZLM0at/d
4ME1Frkg0NyQOpBn4dxnJFwXWNK2xE3X/W9jhjlX7khwcgGzfEpCczOJ4MjG9+RCr1yPlUuTyHnT
tLba1q71DS5qb2uViW5Dkh2WG7RsmHPc5xRqmOX4k8jiPjFnfKJnXclntDZmKgjwdgHIKw/JVajp
L7iul3o3MaDJRqrv4aQTs4BMXSAia1i3dYTnRk3z2dVKfvrGWlHw8VrAOUZTsNNt/dnp6t9dEWDD
jQkASMcdYjWddK762OvGQxXKu95zjnalmKvN0NFC3iDCAmo1CWHIzGSLpeqxb8TGNadnBYL10Bjd
VtijCSCwzzb6yHaT4YNHFrKp7J6bLumOvhlarI/91iuJWLc2qsrSo55wVpDhdNXH8XGAxct5RlrL
yEbOKtG1bRDCHLUZYy6mBAYPqkZV91dI7fyxuvyqeeIZdfW0IHtyW+oD8kyGTVzmmrlQebVtSUtD
aQxcp84XfU80nJt9ZmDoOSKF56AcV3HAmMqdjzFZiE0CB0Tj5ifpmu0iGWwb+esKRP99ZHE2AiPw
VATVfaPAyXn+DijUA3DY1wJV8DZrqrsEqGfr5PBsZPipug+0JRC2XPnSDGa5qCvnGU8b8KdWkQns
kMOeaxoVNpQGp55xWFWULm3FekN+iLOCMcqt5cfy8POeG4XW0mWzWsqwbPC50PuJXQb9u97QQK3W
+BaCqEiOHdfgsYheBiOezogiaeGDWKa6yAUZUC6Xphr3VFz+Q5pG2lZyxS8NDqwPbpxFB+XiqamU
Yr/sh90YgAPNQiq0ys1yNm8L4p6wX8y6ZGTUBdWpBhfE6DkRa5Hb4aFXUAjTvLhM9hSgGerG4iK4
El2i4VaD5eIVcBwTXSHRHrEF4DudimiN9dxZSTWYN4YEJdFbJN3ggfYIKG1fY4SuTADa9FaP9S0p
8/FUuRCkRWOZ1Po4TjowP8csnn6hOgNW5bQNS6YdAhzAutWAQZ3adkPJQ0u3B23V0j85gxomTwBO
EF5J69ia0UtoJM1JMkck+hNbD69SuGaA+zw6JK22vjHe0eOSd1amPzYduR/BMPv3AqEzloD4YStk
CDpgMkCuZ2UTYCEL7k4g3fSudL1jjOWa0SWzbdoehfgiJKi8MgQQmGtIpKL/dc2HVB0Byk7Hn/fi
wAqRvGWvI3r7laYGmCRmWBy9poe729BJIxOsPBmtw60RhYqGn8bkZGpOOvk6FzG/6UBsk92ROqj0
CFRUjjGt0rk/WoVIvBfEzvtsg3rfc7SKf+cixj/O198kmvU60us4eTkpq4vS61aTa5pHKZhf0VZH
MxXEe4RS0Z0e9zPmI1mXXUzicK49Flb86ZQEo4o0CzZ6JcoHo7O0BbrJnHMCv3fOa+MnBenNaE1K
5cdbP4x/gUGt7+BxbVOq3OfCt8a9Xjc6MbOaeB8Vk0dlDcy+sA3RrXIWtLGqXVZPHjPuhjRyVAOl
YSRLVycHTuji3Q67bR8nwxfmuUvuusbarviiNjsZ+gjDuMsCsjNIkW/20q3hoVg1XfqSBEtwwm+o
vWmIp7/aksgKZt0kSuqaj2ZYEoBCIbdqm+baMHD/pXx8ka3rfXfJqB3GrNAOkTTCNZJ9MoVJCOGi
f+1NQ9tPEVeVR4oLCSbiG9T2nWkxNSGQwwN9q9+R/q2+Zz9KVbUx1XRwI+YR6anoFSMdp7ylgmOF
w+bIIQKFm+SuWUaluQVJlbDo6y2lketfobYdbH3YqiIIXjiuJEQHHpKUjgRhpcZz2/baJoBtgYra
+oCBWHI6I6ilLb3hxIswURG0+nMPOmwn0I+szK71bkgvjkSlltckDhmH5AA2yVZbox/YM+8z73Be
i20HEQ9xn2feDdllqk1YBdzPCy1IjGMXGME2oPu3QvbiriCsa9smoYtCLBDhNNOhTxM4cOCtH3mp
AWIMqYboq9iJIbGfMEeNO78gwOHnIbaOaten2afW6O/9LGb1fF4RgceJ4zaEpPvYGZN7h/TDhwQ/
Bd0Uz1hbSGWOAelki0Gv/Tvd4jOGwDs7pfDJ55D+1bfC5c/Hft5oGgIujNb1krH4e9Fm1V2r5jSQ
jDVOYkxNdfWEprXrm+xjLJy7zI+uEejtZUW20E4z8cc7WKXXUcXCUSQNPokImX5q4kXWAu8yGhCr
Q2NEiTidddT7h7LLrTVyIJt5yjhdRO2+Yth+iZmnEj7wBqw9eqhapGrkVEcH14QaAN2SCI0w2hi6
l9z/vAnQ1xT5hx9P9V1YmA5B6wFvbK98Hqb0PMZN8xmjOybyiuQ3MK/U42F8zWqSkRWjxa0iduOo
jw22c8bVid/0N4p5f1mkx5Dy9Wa6BjtFOW2MGS1Q97E6hDkI2SzvKfvDHr+OCzNJq4L0l45GQhZ1
s5q8kol7qzAzQINUppwXaSyMMyQ2mCC5ROmD6yEEwVCXb3thUHVHBMhj8nCOMafTmYG+zhmjLptq
OgX9VN7hCaEV6DFqQPlV9faqi9F0FsioKbQORFAIEu4BpMjMuaCbQl+XxGRIw3HljtvorUC/loN3
7UsIT9oKsidqpnh4HiD0122Rr6087nCXVveSPPGnkmyKkaWDCSq54jTrgfQvy5Iramo80kNAYmlp
uzSRAaBuBu2r2xsdMwruvHtXU1eVWUczqXZpwh0bIpqjQINoI+MdEjj4DXp+8932WbkZA+3Unw9w
7dIaE3/Zl6JYZ8OjrMlaijPjIRhB2wmK4oUzBMMud9Md3qdwmQXIuHi2w4rV1ltr6BgIiK+gTfTL
iFaSmdyHr8MjYWuleFbWrYKkuBvN7C6p299OgqYykFpGrszAQJ3eapJlyF+swoZRvxFw2+4SE9tY
gXlJqV+2O0E2AmKtMZ9aIvxvNpwB1hNfnuBs414lQ7y2bIbQ41Q229lX1PH1JkHWeWOXXLAVyvS4
ocyjd75uOWysBYwEeoUu1GXOfDsrQYIckOlFLlN2K2jFLVy/56wIFhmuIkqlTka7drAuLQ4Hgll5
UU9TVF1YSAgakGukbQBDnWY91EG9IbJJoWSiiZQ3w5ycFBIzwgF7rdJOI2WXiU6nTw8Nmw3c+g/q
s2bZ6RxuQGLSIbJUhDqOnn+FcJDftfZXWZSTjNNU5b5HpX5PpsQtz/MlyHQiN7t0Pt9XwSFHlt9y
dD3PFVvTUsphsCL21VWMRtFTcz/6gSS9o3TYQ3Dk92IdWHtIiYzfheNtgprZ+yRPgZFc7cx+pJln
LsOMQ5tv4hGsvA/GBd4+6MyL8KTYW6V/1bCWVZkHnNNM4Zfl+qcymzde32khGoJ/LRt+ftgR1mvd
TEHUqjYvCb0JRX/coxjBRF2R4STQ5W5JFSAqZJS/BjNp92S7QHYdGT8xUeYO908+pTne6GId+IbB
wJrjf1fgPXZd7VCLBD64qvyV5pp36eTKrU7C9W6Iils0lJB6fNtak7wUJUNNJQixhaosgbSmBjlt
S1ns+mCFeyJohv5OldOHPziEE7k5v/A6qZ4wLPV3fkX8T1T3NZqY0ttNUfTtAawKHcu5DoXM9iHT
4q1RTuUOaj5mxVY8QswBU58uSW3iwK/V2zQh4QY2Kk376l0C1IcfU/3WW9q3wEGTjQUjgv6oXl9Q
L9q6ezOZ7ZM+6PlLOfhUNl1lrFpXIBqp1FH0o9x7XrKnT/8bbBUVtYN2vYvIybU+ZKwVh74fTsrq
F1kxuzfmLvyUHJxZEGLrKUoqqutVEVB+9oqAaH6OGxzJRRxOyQ6JP8MDIqOBN+0EVO4FuQ73WlM3
GyuHfNPQFd8gkF2Kz5GMQhYGD7L/WNNq9KdHarbXAuaU6sr86IGXB7nbPgtmbttszu4tDLBaRAy/
VOzx6zQl16JIccMh2nlHrvE5JeUKptiVkzDKKmFzxtbje48OEDeHdeMUfbNoyWl6bO8lPg1C8RCF
aeF0rEKmPaTiIChuXzu9f41s4LtMyNa67t7zPykaPk3e+quNIAewhhKz1WOI0a0t+DkSGlEj+mn8
W/QSiClw7vkQKrkX/YI+Zkbznls834ucuZ09I2CZOl0iRS1nhUO2653+3oK0Rk9jWGi+LzeWGx8D
2b3JjL4HZhA6J9E26+WXM+Gp0pnLTt0T3ZTf5NF+Gan6qnNAACTBckxn/MHsE6dIt4jvUXAuRKH/
jtL3kf16qSAc+HJWiSq4WNEl4cyXSu3Vkb8hiV2qCtNH13NQDKrmOpUw1fXKRrXh0HXhzk8ctLWO
oqvRJyOdX9KdWZDfDb0l2IHwO9fBYkVG4oeWeOSzmd0qSGhG+GqEhh7SLBQRBYTfHyVo1E3UxSdy
LnIS39ND4qhp7bIKMPXBYGPqwans+81Yemub0PVa4JqPe8p/1LZc8OKT5eN3n6kX3Qzxp7X3JoIG
QzxkdAUwX4ubqStnHfaeWqc67rnJ25HvtVfWzGC2MGbGo//gGBwgnTY8Ogl6pcQeuo3T1yfSVA4d
casUQ+035y5S0ekYD4YERk3EE5lUj0xMrn1YqG0nOTlZYKB6zd1EBJUsJdjKtXSLPYB+h5atHaCo
bPdjhype0aYiniDdo+oLttyXyy4aW1oCzKhsi3EoCC0qGhpjVuO3e0LdWYyEBU4uYMYOjTiskblA
/cvwgzlfLD+r73hEF9JgBEBib63KSLxWQc4pLjw7RvtOp+XCKQAjfrcaQ/0TldIGqQ73U+NyfORv
wEncuqsa86GeyqXu5++JTxgr7DhCHBr5OvJDajoXdVzsHX5thu9quDfCA1lQ3mcUYI5K7aw7jyEF
eEIs4oluZz8M04MWOd6DXZAhaZJitY9iHgZDMO7QCNM5mh9K27PQdWGunR/pkeveh1glYRwtK7vs
nwTX2qOXnytGE8SKTts+FeZjzLd6iggNzQo7efh5hAVkO5plxIZTUdSItLj9vAlFgX4zDY7IN4qb
hWfz1j7IJpxObkFrV9nlxdfS8jIfZg2KWT6glLf4+bcAsDnnyYxzVCzdo2km3vHnvTBRVL5EkrjH
cn7jtoqeTdFQnpgZ56ifJ/185Oc5Pw9djE5OMGESnWloelTpxyjAU5Ln2fnnn37esw2PofjPY280
GKuVEztVYP/xnH/78H9+ju4Bmqssw978PKeGI/rHZxvzdyH/LjlnBDD/+/f4eZYDXvpgBqzl8y+e
hFgAIuxE84N+prnS1rE3mqKf0GmxS6XKjFIbEQXrXA0uwdK3CI3kA4yRXU2I8qvJwXIfGkPDdsyz
LKfUl5ryYlzNfNSFVJpaLn+vMLpwRTTsJ455iCppHoq+kXOsBtuQYW4tlC0y4yjVAudb1v5RR+9Q
hMy0DBFyW6UW5/wu9r4KnRZTXtXjvgcJEkxDsYDpkGyikGDgwc89JAaRdhgSK2CNnsPetS1mQvzn
vsuIFNvLyvbpzIlgWhOYJ0/Ej+Pla3mQz3FvksKjV3RkgP4c2mywD40GhcxPNXAPdAT2KGtKTy59
TW8Ogu0L3+dbmNEJhp29rRnwHX7emASLQOZhGrSL7RGaKR+wiTuiL+hvJWgQBuzx+6DVaBJwgWyt
LNjn3ZcdoMXNIHyw0L52ybPHlAvETLZDPIQEoAGOZwYuKXfgvGDXZhdC2pNt7ag3zSHlmZlTRPlw
ygYNx4EJZwFfEcTK1ArAZvSc63nROjI7QJrMYrrx2/bHzzSlL9Y0a82vD22aPY4J6zK0dUaLhnvs
J1TTds1VjkbvsUrJFzc7jOZDfRhG+1sqcJXSwWKZByt3hn62mPnCEeFhUPWfqcofFda/ZZ/6h6zm
bJb3Z/6YJ5EPvzXNnnnma4adO0XKThH1cIMq/RsoCwaHSNxN/bfKMvIWET6spR5+DjVEM92U96J9
0BqjXkIcQ9trEVM7fdj4BlaadO96x/1mwriw4DMwnOX1xMB6puM+rcdEn4NzxHWksbBqkyRZZlg9
lqocn2B/u3F0Chuy0PQnowyQ3EOsxZcZ7jmrOVgHswIl9XnoeV3cKd478lrX1mc/xCvWnnFvRDSW
c9sHOkEpRev82bDKq8mrtkjIul6nMnhl9AqSqwz2k0YgVZDq3QG47q3mICEDostKpl1tHduHmOQ2
I3HXJvNG/rzGqiZkuIHRlXs9GkDknoj4PGgUNIp7lT6EPns242+oZJXAeJ8jwjNbgiqbXMpVEqXD
hv7xjT9NtxsdDp1pWqwMJJHrOOmIsLLFAbGKRp9bWi+OS6tX68wdIzxrZ/JdiVzdgJxeFcOI2sc3
SCH1b1mJXKiDioCNxGDtlGwfZg0+Vs5XX1v7B09PZjsWQkPExyRcjfkq6OWxIp+0GUnKTHvBxWns
Hd3Q95pPw6tkIyh52UIGL2En8V/psryygdttWdJd9zK8k8YeP8wWviKCvu7q+bN8xvXJzGwWjsy4
q4if30iv/Y4Z7C6rOkL5G0ZPPj0/vytWPmvQilEZfb3PmqKfPgVi0X40vhsYuscsb46sXLAK7EVC
ZQcIc67UQAl0qETcCmYi+dRz5JW9t4fgcVKDfwyta8Vlb5TwX8wJLuoomGhPJHqnfkbmZTH1R9/Z
a3Sndv6YYQHbuiraocg/6YrpJ/c85kZVrhJsJyTUZCtMe9BRyBoPcUApHDIjcIEd56Jy+YPL+t+/
5L+EX+UfUO32b//K41+Enjf0abo/PfzbY5nz37/On/Mfz/nHz/jbOf7VlG353f1/n7X9Ki8f+Vf7
5yf9w1fmu//x060+uo9/eEDaE56yu/6rme6/2j7rfn4Kfo/5mf/dD/7l678FbgcK9h/s8fnL//Fp
88//f/7X6esvi4/oI/9o/yG5hc/5N3C75oq/wp+xrBl+7cJLsiG+jl9zcovm6X+1Zvi3ZXqWywcE
ILw/0O3C/asA1e97tumJOU4FUOMf4HYB1d0wdXvObXEM37CM/wm33fwTohKBkeBHcwDbOWTHeNaf
mK+lEBa7Krq4mC4Tim7PefHF1J1yiteVakgIQ6dNkuG4tOvOOAVVrZaNUzc3pMYZzIbEP3PTJofG
ddYdGtgULYMTB4xqkugZZwMZa7EsN6XTY8Ez8jc9VfpHakX5E5AGKFe2VncrmyCYI9Zhzp0kVprE
RONmx6KGrEcV/wQvOBN2/45QN//CwkfHbHu6QZfAmemDf0eoq0oV1LFfowykBDtyGA8WmqwbgLyp
S4Mz+ieUOUP/f7zCgPp0H3ogAmL9v1B1tdIv0xIpYtpajIQrdyAqpLVWYMDDU14ofyOL/M30mBR0
pNcuIjv68BBBXfCcbWvDIyKy24BYg9FYPIkphe9ovZVVtpZ99igkHvXcMDk/YM1+1vFvT3376Il2
A46zYnbr9ytALwdi1XEy65+Bckf2tJJ6IoFBNbFz2lWBAy2m35e6zLCE8Npnu63yL7gFLIlTW64N
UXkc0xn8aRwwFoPlPAU+lVDubKMEx7M7kXtmM3g1Im+bj9mJ8dCvIOmXE6XVQpt4Xsqw6EH3q+xR
y6NuYQWGf++UGItk3t6xcKEikkiJqk51nE+g2uDT9j4Q3w3rWkO5Ak2K2ECUrBvQm/VJ81nBTfQi
HEuAeDkeVb9bdO1hkM256Mfq0Ih6urdyjYaPsuqP0raTd1FybglSB6tUOMf/0fgUZyIP4cJOGJ3I
oQu2RhAT5xqmNF9bzWPdjUaARmpcl6Lp9nXtpY9eb/irDjXbAdyYARPEGC5lnTL0/ru15I8l9y9M
Mm4kCnTEJP2JaT1fq8yofBiPsB64bv90rdp1Q1IlvZBNqF/pFi5Lmzz13lh5GWmPOT/wmKf7/+G3
dA3DIg7KQV3q2c6fbw+fIUigWXq0MaHj2o73HZNP2qpv1dBy9qiCc/+fUXK9//JrskK6HkuarVvC
NcyZWvt3t6SqJSKyUY83QZx6T2ZVjRuGJvuoaJ8aO9A41CbBjLAvVrZLcQKUBaHeYFhfCJEZ3qaT
DkiXrCerVcGuAER4BSF/1sY+3MRIRldTGp5RZ7esQna/sW2QQOHAhNqbghODQpxAGgEZ0BnL6GRP
7Ush6zezaO7wwP6ebI7X4YQRrsXbTgrGJpCoQsYRmSBa0TtpTRfWeLQEJI96SwNoxMW33Ye2l591
SkyeqDHydpo1LJmwSvKfOITTZWKkPxFtG2YGp/cR3gD4y6tju2+MSK1FGmDuUJMPNdihM4Pfq7cR
GWKPXQzd+CsFqLSJEkGF7CrzEJjaBYgCs9PGPNR5Kh783JweYhlRHel0vs5WCL2/aLEN66nTvoqR
2FuVgS/Tw/5XOeIcCAJl7MnteOuN+kGvAZ+M7sFr6wl++1Q++mQBJEj7GeB7ZwbwJi0uxlkR1JAZ
eodHw4Sgk6NnsejMREhKGb4cXdtEu5FHAPMdqVatpF8oPNvYlibJimT4qb2VJMADAO2sKotbtayr
uQ0lOLXTBD3ktWftCjdOtwNhwYc4L7Wlb47aPvebq8iC+Iwl9y0NM2urh2az7IMwv0frFG4sgj+g
MZnTCvAb/MSitlawl2NaDEzzOofMZN/pVqaiEdZXbkhGU2EzI3SAaIIpotddPEu4d0va0+lbFBG5
ECdKnIACGJc00GK4+820baNyn8YiXydRPG7Kqt6nQfqJyRBWoJaT4mfQYJWD96ZH/jbiGNu0CRVv
n7xWIRTsef1deV6YIWD0rL3bFD0rkfdAKCVwmoT2jla5wb1qIm3n5iBQfaP9jIMGK2/PilR12FG0
PFvOyrbOBf5TmoNxTZj7v2XRWIIt0n+x4g8nO8jkBWIaxkOfyU/XWOW7Vucc6Yu62neDNv4TYC5M
2j9vtAzaXU42umnoaPvEn6KGpEw74jfyajOplGjgLtPCczh5FciMbD/MuAQUWruuYWexHLighmoL
OgnABWmUnxUR2C5kbNKEn3wAqccwafsjdWi0hYvxOdNFUAnq3hUtSYA4LquWgYdWtPKSg+hAIiAW
rheNdLL7FJb+EyTkQiFHHCSjRBVPT9KpqxWYmuGkdexRltf66NGH5OJ5DFHMqi0XdHBd9LZJvopo
FG10WBC7DKPAamDzWxmRaT61aGE3KJmcZcZfB7zuWbpwoFDULpRdbZCI3eFC4L5Ia//MEMFg+NEK
4qdQC20tQyeonq6EblUPxLbdZImzHmG+ZbbvbokFts3HOzfu7mpMcMwrt3pS3LFHv4xkaHgE/+xK
RV9CaK/9EGwiHIKKgojhzT4ybUyw2W2ivpR9c/W7EVu8vQoLWLOMvoE5c48o9FZkPd3LSVuHmf1R
GHq+dTqxS9GptmZ+tEdEaozAGTZftKRaRjA5lm1FeJU2WMdqkJ+uJl6bxOk2fcPEG7Oes7IM0l4m
1OPLtqDpp8iVWmiN8BZVVOqncUAJYzKdypAxbbEtdGDc1CsUl2qeGr15U3FUs3Sx8Mt8AZhFX2A3
/KoJSgMa8TkiFVhQNa+AORxclZwyWu0QdioakG66nlIb8mCl/V/Wzmy5cWPZ2k+ECMzDLQkSpKYe
pVb3DaInY55nPP3/QT5niypyE8ftPxz2hRXBRFVlZVVl5lrruU9GvsTMud7M+ue5jd04zT11GnYw
qLpOakx0sdO/U6bzAtxtctAK9KHk+Y3foBhcmSYC29bScQbV7zYuQwnXqu6sQb4tB+6phNXnNpR+
1Sik7MDUPysTkMY2ueHy7OUTmRFga2RD5fB9Z0Wfehlp5RTEIqGgWrrUazpXTfPGIbGqQoxCtXaf
hPWtUpJe1DSewXQCvgeV+xE6XDcHVttw/uiZ9RiU0CoWMZUDexw/5dN8a/YzqrnOo+rU4BHqQ2r0
n2e6HiYJlvABPAQk3SCgQKUgqNvmS3ttC7pkKSzl4C3hrvjZ1fSim+mPsdI85E1u4XSftn2RHDSk
GAATcdWrmvdFqP+F3Nozs/0OhLU7Ftox7SiM8YhVaWxC1kz2HDj797EMZn5QEPsoyOjBLESb24dE
MaC3qjljI/0XjDVbXbGOEPId69o8TFGYbPSqu4uc5hB3GvBjKdrrcZS4vZQ/BSk9FVF3I2XNbpai
Tw53NA3sUo9S667XJvpBM/8mmNT2EFHccqQRkiFL8SZU7zapGRz1yT+QLh72yFAfwrF+turk3kJS
ezPqNqw3027S85t8BD/VyZ/LSnJVet1CblyAWyNXztP3sdW2ex0FSfA46e8q6m91udpl5EQgJ1Xx
EQVhm5JprelaoKMXdamkVkGKxeaHHggPRznMWQH5ALOFAS8xx2PVoHmrwO+yS+ZhWBLTIyxP8VNu
jI90JVCmb7OPVYdIrm/+zEeK723NDpSSpCEmgHVsTZR64rYovkbUGJ/qYI72Xa/81bdmu0FiQdpM
qD8co6rz5IxG3VJFKHeq5ScuBwtpnAYNZq0k9Orb5T2JmmSXx9NnnjLSNjbUO3XMbxvD+TrFQ7aP
TKCRACLuzEz9FQZFvp0Gmhc0YJVpFf9uM3qHX3BBtk0WZPRJLfplcS9V3KL5TuNQRAVl8jBIPb2a
/krb6jZzZGh+tPuqsj53ffdIW+SwMZSOhA7RwR2jrII1InDnJjwkJa3BEsqQZpV2NE2bdw4yA/zS
UYYzpR6AJw36J1UBzQStyr1BUHhXgbbZGpOTb8Zi+K4P5qcgbDiBRoJDqkT9dkhD6Uef19+qKK3d
pOhhsxvNp2GybbQ7jekjrOX31aTv9THpV45IQYwBaI+GOCuqboqhWSrP0bfX3tCPZVIbJNcVINFK
BYgmilx10t6NFXzWebIixaUIFPZn9khSvLlmG5aDDgL2uhDm+Pp9ssBdgmdkhKhsubEUA2WN7lNa
c+Py2/VXxSXbHEeKAn2UATpKFl4yTmyS4Q0gaIxK7qAAAnj10ZDAdbbwyRAUDjCcaF/T6FApJdw8
7dfrHyAwvTN2zKoan6BSbjt71sxtpegZLZf7wkDNXv+m9R+vG1DPnvmWqZBOUDULygWbVtC3s0sz
pkUtAAyJdJi23Ku2dBvomwKCcbcBo/2+3Zgbmkw38kbdSzf5juT3Tv3WKivpjWUi36Q3ls9wuHLB
LEjbmyrkcwaS3WXta+0+t46a/7WAHm/8cH2ootQSk2kq9PuZ/LxB9kjMGdHaPwdqG/OU+jS6y0BB
2GkuBAou5E9bezMdmzvVLe+7Q/W3kvSbHOTpg1g53zNvTBuCokohxZOeohm6n9/598Yz6HdIxb60
G47bB3nP//6r3WbveMWs7NVz/3lrV9ir6jTz3Frs9urHvoZYT1sxoFxauJNJNYTdaRSpBmQ7Abiz
5/HQfc/dYAdJ8Db5jMjYh+44etDfroQEUZzvZSUdTVXpUrAoolnLdJ++vBPfCsnhdfvwaLnhUdkr
d5BL7CvPoCa1qe6TR2erf6Iq5Ma36U35iKzPiOzJxt+tuNTilqLbnn6IIEyTGGqvG8Uy+lIi/V3T
DQwJWQz+een7+l1NFsKpKCCp6TukXL+10DJvuHb+Lu3sZ2/FyJXSOjstAD+n/UAfAXQ09q/r33hp
gUgcGgRsxHh0W3CB1kpVUmNFB83E81BP7pSWKA4/Xzdyyc9OjQhe0E90bSYB8K2UaoFG51NDj9J1
E8r5w0xVye8s+pMkJQmIbxcdYQ5eLjwU9mVUf9CMdgP8i+7u6VhlE/DQ93nHK6ZraAtW3Oumz3Kv
hGCHs04mHUpW+yUZfeJusAZC1GLAiK3T7WZK6E+3H+HrdYK13XS+VoRijfsjSiSGdZZzpTlJMnUp
yPaFhlhe7vCUe+iicCXWXgiEmmqik6ZxgBMOxfFUGrTKqlEichwV+3AG0Z09Qs7kgmiELW9fOZ87
YwHtLO9dWgDs9FZWindK4G9UGXYCyyLjaHwZxmJF5lfUeXo56lWVrDM3jCWZJ5wCkgP1K6xr5d4o
5JtZhexcLqJDAms55DbVbzWABLKeHunr30D5vW1BcqfgaqlNkTG+C4EZdqazUXtgjkP5cTLhv5P1
dlM2PNtA3ujwW2yqWPYoontV46GyuOIpyuLobwOCppHugtBKtgxFES8MaZ/ZUdfwhHaQ9Oh7dIza
WqXZjyKhTb4u/UDjMaCFiSywWuVHldcHWcGVrzj3Vz7CVGR8Vbcd7mtvdwrIR2r8mQlxLYANZwiw
B6HWUzP9ur4vzk+1t3b0t3aCBl3DFtKpvVM9Q9+8hT/LpP1Qqd6nUBz8c1tcPBW2h+NwfAu7n5KM
r9AWWO4bA6wH+CipIxMahb9bJdlFJASumzOWb3+7kFSpDK5EZJORuxWjjR0b9BRpVUfaXgEFi/p2
NfCwoRkJEfIy/dlJ42dJRbOyVIFy17Kz69UOhJQqP5QyrUsUfdtbcnM/NfiKvCLU9C2dqz2kNEtK
1YEdPkuo08rZTqUhLDSbp6ovvptyfvRluraiPEDxRkbssYrdrI1+l468rfv2N9wH3zWHVrUGgCMN
KbyKJ9+TJxp0EDOoacadv4eWf1/DtUP3HzRV1jsptNU9RXJ/q2n6c4AuhNVXn5SwutNU5/swqbTH
jc1aCek8mDGDvMR0mYI4niAc0nGo0wVuTJyNiApE9DbbTrGVupUb8oUd99aMcAT3pTmA/5a54uyD
Qw9NHN2Pm8Drd8bWrHa8zq2V3fWy9GeucTIwIUppfTmr0IkzsNqANUXT7gNYAodS93oNKoZYzXlF
g0JIJkj4K5CRWV29G4MmW3SvvsxNisZiK3+aZXoEwmx8rzfyfQy56WZog095qj6tuLLgyVQmTIoj
Bil6m4uveAGwDbgyO9g99hKQtvxmoDAACfvKfjm74b5YoSirMDHczMSaD/0UctsVElYO1RNJ0mOy
g+HhIG2Vj+jobCQP+sUvsI8drg/ubPlFu0ssPDmbzV6Vqctht9khVOGmLkycO3rbPLBJh2LF2uJL
b1eeg4l/AEagtn02lQWdVplRkQu22u4GnABPdthfaEz3f9BXsa11ZWVaz/cQBhFj5IpLXZ1g/nZ0
VLQ0NbR9RNtCOmOfVRnMwXR3fQrPIx02KGMZuInBK1DYp7Q109dUwSNbg9IOjB9NKP/JKE4sCFtU
H6ci6KfFwjAiAvjQxN9NLV05IM48kOcdNzSddZEtNN0V4dQbGrpfwMUBzZ/AEKqkH2nCsmCiozcc
Ft5ev8n6CM6/6jOcYO9mwJkBAOFeBq1mOhr0K5W+cLdJn6Yp+nh9is8PSj5Nsy2FA4Wagr0s84mT
GpMtV3MOa4A/ytGN3TVPwF7jTZn1AJYyjZbPmR6pf25T03ggEYE1HEOw2dl9M5bFwlTQ31ZatpOh
L0hhtghnbkmxsWLt4uyfmhP2oaxLMswyfrc3k/bRserDUIZfqJTclxOsJYUZbeqw+RiH9bEKGpcm
k8fckh6MRkMYEfpDdwLmBi+1103Jr+sTcemJqnKwcXnHL+Sz666mRLNahYjuzp+gGtt3D5BBlT+g
b4b2YwuKYgMUzoXN5LrZS2t+anXZdidrPsHigBaZ1O0lpXeLqfei5l7ldWqFtWv5v68bO7/xkcE5
GaKw2ANAKi1rGWIqNxu0fcdpoG299bLkn0ckLFHhsRXT1AFKCxGpU5JRQ/2i308+OnywjNQ/NWXt
NDmPs2+MWEK6BPbJTKXRo99rjtdm8Gv4u5ErtD1xhYYDTo3NteCxfPbbyG6qvI0dA0ZrooghBEEz
tfwesUlQI+DbNraFXp8b78331rY60jJOKQjJMhfxPzd5D5huNaVxHoTf2hdDZNHmZdExrRbdk+3X
Bb933UMWD7g2QGHdfEjec3XEAEKu29y4KZp7Gwae60aUS354Mo2msHDVbEVwYNGOmR6jj/oWfeN3
1IQgKr0Fd0Y6RhpdKjaAAY7XDa8sn6jfqZMqHxGV6fe2jdBr2Hp06H7JuWzKpfNQjBnEAfXnuk8+
Xze7smqm+naPW6kUQXWNWYOjI9Up82Qry3Yh6/HGMUzhVDOcpmpp7cHExvSCQ+O1t5rXHVuvOVwf
i7I2mOXvJwHLHPoUdBqW4mPxwEEdfMg/WQ+VO2+Rf7jtv+UQG65su7VlE8KWLIPt00NMyjfGXjlA
JHJUdvJhdWjLOlxxflM4nMaO3ro0xs6wHXb1e+UQ3Dv3S+RP3OCTvbs+kZcCv27bNh0hmkPOTVix
LMMQr2G2cj1At/OMciasL8bBNo65bq/MoHp5x71aE1Yt6aVS7Yys30vQtWVIN4BMe4JkOIaNKZMo
0MLLNKbpb3jWkDGvaIuu5hBMgHWwS9QtDNDPU/sdFZWnwkA9bMoX6enxkxTJdwGE8DpM71QEpU2r
ONNejTO6uc0P/3zCDJuWC/Je5P8twQvQMhgCoLj9viy1bZl8VcuOFi5wBMhBh83KhjrzchsGDNJ5
hmXbluUYwurAUxHJuaEr3EVpgDZjZENXb6JirF36wkxeCNRuZJxAvIlKU1k6MyjffW3P76A6u3cK
aAWkiQ7uIdDrH0W6cE43lUlb3GzdhPCufU0mIFqSE+nvJVoAeFhwUeqa/fWZFj9suSJT/QBKaigk
/8QwSTnJNqMOZ5lo64+s+ENjKW5c6yvljrM5xoxBVYlUKecpnfNvI0kJgIW2lRIz6adOuwX3t7KI
Z6++ZSCGajIaDDkyzcRvYhU0X1Xf+kP/8upLqQh7ifdSwrmz9+mH1fhx6T5yam6JLyeh0XZkX3VK
zA3b0VW3zQY56KPyI9uh29ds6RV5uRv0MMP5W/Xh+ppdipGntgWH1XI0G1D8JJz02tak+bNSdioh
JayfxrZ0a2lwk3TNUS6u4Mn8ClFFBZpaVCMDljvwguqIJuLn68NasyBs+jgEK5IuK5gk0qNEu4Q5
97+um7hUJnrjJULYV6UOJEUw9nv9g3Nnevl7Zw8qy7gzv6Eh4CqH6H78opGV+eZss6N04/vIz8I3
sJUPaxcj9bx48dZhhftlMUU+FKwMlyTRXZxt058B7LO0KW+rD2gDegNI/y09H2Sy7WcI32Gm3Kwd
TBennPIqJCI0zZ9VFybEBZKwZzriBrYt7WtOB/T1Gb8UX4xXCy+9dSf7pEKT0hrMxYL12xh/Gcq9
jEDDdRsX7ymnRoS9D4sxfPbhxF0PfI6bmRvF5Z65T7yfWr2Hj2yb7NeW7yViixeIU5tCAAADU1eO
hs2XC8TR2Tfb+UB7ywY88Nd69TVw8R5twCoCJBvqPU7htwEnd0a17xUZex/6fbdDWwVOyWRTfk0+
0BT6s0dpcw8B0Bd97b55cQU5vxwgGhzHYhqvqUIkbHoGCtL2txE7ewQXdnnS/15ZxIv74cSOsDWN
AiiTPc/9HoB1tp1H+RGBApLiKgWnXtYhcWzaWzUqaaAdv9Kn2XrXP+DSJc2w6FLnGmCQQBaiah/X
ACxllZxxJv/OLHr0BxnezkqR3mljcogVY8XgxQQJrekciTb5KdKHb5d0WKJ43cNLIN9EB2l2QQ72
71OXVmd2PT2HzxCH743xJiFQefHKprk43BPjwvNyhBWlJFENOh1gKDiSfNPAq36rKgl8bsjUuhka
M7vrU3z5kH69151loPISupucex0Y7R3lDy9INsYO+u0b+GM8ZyXaX0zznFwjxUu+GmqdPE2Yq3a9
69CEul0gH+VOegpQ3XpYkjxpAQnBZq3JYnWgwtIatL6nLQyaLyUI/2lpgNC5EyRfye7t15ofLse/
k2kV1rKt9CLOVBvII8msCd5km+gHunyjbOn/rzagc2HgW3GgC51QHGAnVoU7HS9sJ54NrMo3/dG6
xXk3mlc/yBvEYY//znHE9I/ZdRYcYtiKj/nnJacfftKPI6m67n39uHYqXox4rwOzhOMkRXUXHDCL
lzvoXejZbaaGMEnI7/7loIQjBCpjJ1Pm/xmUvhsPtKhs7OdgW24l98/2++uTSghvJUrEcKJanB1I
MdjlYw0Ous2OfldtrCRaGdrFG+rJDC73jpNTf8jgnxpgyoft/7mpjoBdXB86MwUJLoWbzgSnYqKu
+aP47gVfpMHXRYqRri6D28xbo3lLpwSykYH3d3BJXUTSKjh4uI2j9e1vjKf4xij2o3WXrbxuzjag
aFrYCtKoKrBZh6EHG9wehe69AbvABmCIOx3DG6hXf5budecR3x+CxZck0ckMo34LHc8kBZ6MLKLT
tABjil2gjzvT572uRp22qazy6brRs4D6YpXSAfAZHotnbQRF3oapBeM84/Q9A/jHbtMfWnnbuA/z
Tgq28S72YIxfsbq45ulVS7QqeFNbtagJmMxujuAFiJhUyuHxggK6Tlx78EZ4j2Xt3ra+SAqSsMrG
Qshr5RPEkCB+wvL30+m2C2fSIz6BGHsEF68cQBFlR7brBirxaEu1gqpylK3EPfGQFs0KdyKnliQF
3dHQk+HwLVMorCcY7qNNaX41SnllkGtjFM6svEJgwCpjYCl2Ue2QQzz6tDPFE8rp12dTjA7iqISN
KgMHpk8XQ13j05wOL7RWwPO4UCsVOhorUnkz2mBc8tb867rltfkU9ikczDrdeSBvNFAQI0qVdfxb
qyADbX+X80rr0uXphDVeMW3ikizY6opcMQMIOrzesHcpAhL+oB6UdlxxkRUzYiAw1bIn7RKEXiFJ
nwO18pANPubZtGJm+drzPfif0bxcBk42gM3zY5QT4o0d+/cl2qtmBz5n8CLrrqx+A7SmmLUSVS+G
OO3VpHA89ikc4aNJPA+CxFX6hbcIvQeUtzrpnYnisFF+vO4dawaFI9LSFzwawDtvbg/URpBreEDH
CsqhZyDFG9NYcZC1KRXCmpYNcTc6DlMafigd8JE9QvPDbYtchlZELjm41F7x/7NX699b73VOhTgG
Wb3atwHLiBzHPu0OsPvtwDTs5t2YHUh9u84/bCUQDQoRrEFrPgHxxI6TS0g0zXtJtVbm8ewdJdoQ
ApdSdorCM40OH4Jzob5DtWmnPHQuylea23wdt/CKUXnaOy6Amusuc3bRF20LsQz9H+j1Imyb97Y3
H+eDsYNOn/rIcodbfVaIb+QXa7z9Tc1kG5MFeHsMGXXiTwXnkAeBU7/Je/OQpNOjabS3KN7PIPCk
j1A5es44frYi7fH6WF867s9iwIl1YS1VW599kB2Emsa+hfUh2KB6xX86hOYrJdtRVQdMmo7PDkwe
Vpi9l/Vp14UVmEGn/QRXLUzccGxxCYVnMQg2CsqANM/mj6Mtb2EkdwtHOxRVLrtRYNwXAYHZMetv
cj21O4s2ULoj1qrkl9fvZEyC72Rjk2lawJiWDdHSYOfZEE1vYWna115WrKb9ljk6n0NyKQtTBYUA
YQWLPOYVky8nUGFv5QZoXoCIdG7SR7sSzS5aMkwyC4ZBX7whvGLKwRimbjllaQRE+zCBzoXWUxs+
yjnZXPeMJVKdDerElBCpB7Tq2oIrvyfbzTZw2k1d7f+dBSE0I5gYm5WChcJKPo851FTm4F03cTEc
L8h9i9w68H1hJxs1rEhOUoUeemLHfJ95zf7vlrHrZpYFPpsrE+KOpWsV9LPoABmdgo7CtaCOv9kQ
4lAf6P1f/86GsFFRhp4WDRvCBHS1HUlRqURIDOz6dTNnGYCXcHQyFmHzqAB5YUlnLMtzoLqZDwHC
2iRA6xvpCLHTdWtrEyesDx0mEkQX+PPcf9LsbzRwRcPzvzOxuMjJJSeLC1CsFSaK2LgplS8lUo5y
/u26kYub5XXSxIy4o+QGMHsiQFBrGy2DxUP5ft3Cykw5ws63/NoxVYtl4eTd6BoK7LTpR1+vG1kb
hrDnc8lEdiJirirN39edDfh/5VxfvOfKThETsmFezAZKSqHXBt0tzfwFitDxt5nM6Jx9vD6Yyw/4
k0VZRnuy8noFI7/cLEdbXXyQe/1ugmIb/o6DCu67T7TbPh7fo7O6g9fxrs6hXkTmgLefmXyEKX0l
2GkXj/mTrxFiRD4oKrIQLGCqpvBe5Mk9lO97RUt+1xkEWaoK5axqGYeuN3YlWPk6gZ6Lhr9vjUrT
N1QGyPUWzbbM5me9hIDW9xGR1q1+B0+cm/ow6eqjvkssSD2mfPxRFlKyCTIyQTxmmo0WRbdNjaSv
GWf92n1p8b1riyqEphrKrSDUGNqS8+5Lrp9l/wvCD1e/C28MeGFXFnbNnhCiNBRyS3vG3pIUGo/N
lmaqd8j+3Q4H5Xjd1vLp50Mzl+oMHZZAYd/60FCVnaQO+GuT36IJiDQC/duwXvvaykn1X+LuqyXB
W20zdxplJC0w7pX9m7g7HVA1+5NhObZiAMZZrhJvh9WESl4ODYdJppZ/QeL6C+K+eWMg9QkNgr/i
+v9laK/WhEksS4r7erpMIs3by3qNh2W96ps/Xa9XU8Is6n3ol0mIKSX0QgUFzYWM1R+e56RYa7W7
/O6iC95QEIlY3rRvJ9FIZntA7jr0hq28RQVya4aHcI84y151c5SMDtLKRC4ff+aMrwbFU0ad8j7P
SQV6C1LKHJ5TGDGv+8WlUwY+OMD7JF0d/Sy/Ued5ZkMG79npe1N58uN9Nq6E5RUTYm6jz8O60n38
fE70+zxsvoFO4zRA9vT6UC6+AhSQRMRcC5iU+K5y5h7FiJGxVGq/UaovoYFCpn2v6QvhojcMHyYV
hIb9zNtKkru1mHgpcNB+Az2ewa3wDONW9/6cQS20vEF8jyb0Zhu7ydZxtmiz4fnO0f/uS650XAtY
l3zkxK5YVEGzQIb4ZOAtksXIyzubBcF+fWbXTAhXEV6oRd0bDC2Kx42RtG7U/b5u4WLEOB2FEJ9Q
X9by3sEEErX78QjVMBHe8eZ7eDYOK7aW6CPuqlNbQnQCFAYvcMeM/X2aQKR8q92zSPZt7rlry7M6
smVyTy4lclX3c9BjrdktZxfUwIf54f8WCy/ugIVJEHwgZf4zlKJUQ+Fe2tPig9MuOxQexTxoisHA
a7vpAN3fykxeOpdP7S174mRsdZSoPc+U01VbxvZ/WrXL++t1bMIdAAJItYID9e9V638hhNHTsoVm
n9sfUGxYoEFmv0UEaiWB+V8W8NWw8GQx4KM2VO2Nay6DXLzlX9sSTphGppN7WLbBP7/orI1LjMuw
ysdFVGGLdvz9kvQqJ959yla/+8N334mnvHzMiadwIgO9mjCmSD9KGHCz4j5KVh5+l0e0VA0RpYDH
VMTHTkVlFIE6v46Ilywq3G59EyLBu3JyrloTNjby711hoV/2ByFrcbGziHUyMOEpUbZ+UQUx+8ye
73Po9p36Y64/Zvm3sHwMnTWHvxjuT6wJu9o3AxpozJddDcIF4nMXYI1/7Lf9DlYD8n979P72fxJK
TowK27tUgtgsltn8/+X5eIihwnXLQ0o4zwZEQBvg23/7SUaXhd4dGhcKs8Nw21grI7s8m6/GhJNt
qkBAaQPGkuxLFj3WxcfrM7eEhHPfeP194TRD4diGCJ7fb4pfVvAQaw+a9MPgpt9k72BCHNa6ul+a
ic8N2tx/4ZEF/ybGqFBrrbbnup1WM+yEzvRR850nCM5ulCba5WG0VbT4wL+3iep7UiH/GAdtP86I
OZZBTqOOjYRzvDFfqOHqPQJzR6rurjZA8TUruwgWXjjdbzuKbXbJIyxFHtqJb5So4hGWodciH+pu
kfhudhOqWw3Ehbs4tt53iXTIQudeipx90MW3RRQd6MVzqxQhCjk9gKhzdZjemSwYERB4Dn140pWf
vtLvxyjaK5IOwVz9gNoUOkPdZ1qDv2nGcIc6KnREhXQ7a2heXF+8lyArTiZcU7ZqgeyXz/hxmijq
RliXIi8zUNBFPykfH/L+Fiik57efIPDbWKjJd5DQXjd86VJ+YvcleXESj+dCQUhYSiIvVpIjWAPo
SdEP15WVu9alwHVqRthp0RgHca5iJhyQCZIeYr/Y5P7eUnKX7HLYfb4+qv8Sk//jm+KZNsmwfvXT
shnIZc7H4OblBFC28e10+6cnwKs1YXRkJAxfC9kJ2ahortNFdDBkj9Ps3Fkmkta2/YymPPz91s7O
jbt26NdSCJdWUacw/T9b8eU+eLKKDr7vUHYJvXJ6sL+ZN+DNeY4Gx4ykxdI3Nj5Ebr7VzN31ab5k
1pAX3LJiyM7ZOzgfjdIqCp08WzLBFvupjhFIWPPQS3HTMIBHL7jzBSf99m6ZSOTXG8nACJqT2ymh
v7CBGvf6SC72wtAnCoDXks2Fi0uwArbSDw1rScL4nh1sk5twz2H3aQERxTuEXR+n1erRxZGd2BTO
18rU/d6Jl5E52b40EdPTVzq3Li7QiQVh7vIil+CwMLGQBntYpH/murYwR6/432UzoEEUE2J4W2Qg
kKCzrIiwPDfM4hGXeNZGgje9Rd+vr9LlCXu1o75dpMLScmNAtdfjcb+TRueotdMK6/PaUIRTVDYn
C7o4TDQjnVhIF0mavunblXVZ5l2M9lBm/GfCloGe7NfamcqgDZzQc2TtnWbkD1HeP+cZ8utjp6DS
trZAFyfOUnQTWA07SWRGmzME5AvVRm67j3czRaq2fvyDpbHhmTYMAEi0k70d0ehIhVRADeuNIU0W
uml+Sqb0T5bfNlR2KZR5Z8y9M4zHVlVJvB0gi+19xELos7g+jIvLf2JC8LAuMlprmJj/dL7tMrhX
5DsJDu1/Z0SYqySWcygfWf3ZhoAaNtkQuk+pXFmRJXqc+djJUAQfC+IudzLqDl46hI9DE8BoRQOx
jmj3ooH7JyNCdc9CswEKLeEqWCNMZ/QIfnpNXx3KqP9pDdVBkZSv181cdGP7P2bENGg2FLCQN5BY
qe2TgwTYIK8dNpfuKXRB/+9AxGKb2kZ1QOk78jQ9uaMQs5tRo24KhK8/WdZDGf31BwMCj27TfSlb
NC683TVta7S2UTEgqIF3Op7Qj2td+hc92jGWRLvOw1sEfMzSWMwIuYBAinXEEL8UQ7W1Yan7k4G8
WhGOMtj62qbjEgszrezFTnwMZ/PzdRNrAxHmKummPEKMKvJm3byR4E4LVBPFqzVajYvb5mS+Fg85
Cc1OQRV8UhZ2H2CHg/ogBX8ZzZ3e/bo+mouufGJG2DEVnIp1WMdIGXfR1kl//1G9lf6H/1138WLv
A6AiR804lCDboEXaaXv0mnYdJazpT562BnxzxH6Fx6BY2zXaZKr0idXPg/zB7PonINH76/N1seZi
ygB7FQ2AK1e1t+siZ2UfzvCse7XLY1LfVtvQXdrCJpdsH8IJ7loO7tIKnRoUjgJT8X0LQvDIC2z4
L8JBRzvPXCtVX7oIEGzQmECPFfLSxelPvE3SAkNXpTryirz87UTJO1vOH6MaQTeESH4rbfdpZRqX
aRJPBRM9CzpjVO66L9N8YjBBlMSRmob3Xh09mkr+EA95ulUs5SaoyyOT/DVr83uztp/SYv7S6W2z
+5MvQPxapmtmeTkI+9iyQqWCtBjHnNJga0o8HVTd1/YZCrw7LYuC3dhXKSKmWbCrI8Tz0Mx7mAok
A69/yKV4YoIQB8dPqQhOv7dTXzXJ3EdJwWHSxEdriN+FEOrnSCdfN3PxZQHxLjtj4Rdm1t/acdDu
qYwh52XfdbGbJwtjjx5/iWw0bVpt4f43DrEa3iaww9NAGm7LVPuqjfrWibVdW2kPkzG+X/mmi15w
8k1CuI4RlEakmbG/Vj7+rqOvp7IvxVPT1imGIaO6sGsJw7cQNQIaxzYy6I0CKU5e+33ooFfZr4WI
ZUee+TZMCShaafiVGCLSxg/GKWVUL2wT1U1BiLAe4f1189TNPRR7rk/jGeh36ZiCPPA/BoUQYSm8
r+yA3Wvl3Y0qhT+QXbS+0E+pu3AJIgY+PklyfzsUPeI+Xk13tYEGgqZ3cIFbxTZqIQEF3p2iF7Ob
R8vrMsguc9osr3/nxXLQ6XcKa5BmLX2FIWuwZPiNOzq7kh/ItO1gKgx30KWHK0f1xdB5Mi/L30+C
jFPOip6r2CPVhSDLbzVZuQgup+O1lRb2FCDHxEItPvKMir51Wd2m7V+QPsCm3m1q34DtcJeuherl
N6/ZFPZMRD3BHpKKqyFtZOVHcOeIgP5cWanLu+XVo4SghDavqrQzHgXYispxhbaS7S4EO/1tGO6X
3HSxj/zPjlus+Mja6IRrT5dAqNO2GGZ0Uvo5j5WdrwZrO/Ry3HkdnnDrgSnLkroRxyi76odsJT9G
BTamqnF20uA/dxPCi4WeooYZ7fvWQkub/O/1GV5xTbFKblljg+oXq+gQiurpm6GvnLArE3kGN7TS
rPAlhigV4I1zGXmnLHYQzYHT9vpQLlmygKIAsNE0XsTCrs5GLS2cnKM8leYDVK1buGLcDH6w62Yu
5lK5oXBLof0Ygmbh5tUWRupAFRFRTC79TbkfD/5+SSpm5SbZ/1O05hJST40JIRUBlGYOTNTTW3Pa
VP6dhpZnC4h5ZUyXevIW/mVo82xF4c36NkKNVRNC8IK7l1bmTvNjLf2epg9t/JxrXip7uiNt839K
gf/30P5jU3S9MjQDJGex6ZuwFOqu3oSunVorCaxLDn4yMtH/umSq+6LBSmohf2VqSGv3H1Zmb1kE
MRSe2hAWqdChHiqQu/OoF9TH+Zi69pEEe7vTHa8GKSGvUKRcPMBODQqujkg5JWOdQS0tcj4arnAz
NO7yZt6jw+6icL4ywktxmKY/2OchVIXlZ9l7JyeYpITZXJFi8OKjgRYrV4lka0Zu44aHfFduUy99
tobjOibk4p4+sSscMl019DCJsNfG7rkjea84O39NrODS4Xk6NuGMKQZO5lHHhmTdJ3m9tfxmM+uo
P85fquxdGLyrlZWguzYq4XBJoZuRDQ2L1djeSREU3n7jo5S7xmqztmrirkaJLpTajkPM710jlfbJ
qG4NPdQ3lZGuxcWXVsmzXfC6VmKNCWnq2c8NfMTOzfsAWakAXqdGavdNR51cSbIfzmAfee98KGcN
FO+MDE0UBp4vq9TvkQYyLOXdpI1wfdRenaZHLfI/dlHwEd0Xz+/icMWpV2bnJc6f+HQsRTH6Mcsq
5LdR/NtXnlr5JhxX+rwv4rdO3EusRbVTqzmRM0QvfU79L//7tHAq0f5GdzBBYkEUOOnx//JiX3Gz
s7etTsYRliFSBPCLdN23cR63ffn9emi4PIvOUiKi8sWB+DYyoD7UFk04kevo2g6Jo+C7P2u3czV+
mIb08bqtS9lIC/gK+Uh4ReBOe2srKE209Wymsmu6bTt/0dMfRQQUrfDK6seETM6/Mic6dGg3ZTSU
bJ/GHNxKyRGoetfLj3OX7Cr9zlZXRnfZU16HJzpkpxrx7CwOuZDu9L8CyvBbVDF3ygYaZNulDWnY
y0t6Z7pt1rx0WaazzXtiWzjCJMQyy9BZNsOcb+pjckDYa+dsB/u7DblAamxqb41k6OLJDOE6lAYL
HbOY63GKOShrCjFekSl7mKafikT7eH0F10wIx0c+homZppiYpm9y3m0ccHnXLVzcYyeDEA6PfoFV
TAPuXyrttofOtxn3zvhHV9sTK8KBYZAwCXKUVz2ZPo1Kbb5M5YGuZff6WC474IkZYX8NaKT1UcN0
1S4en/9Ub/StrPHuCnbhFxM2gCz4sXBIDps1/o6VaRT1grpscPw4X6JI+XkK/hrUp8T/ujK6iy6O
q2m8ENCrOKvK9qFk6ePMW9LvZFfSVKBc6lDd1VJz62g8LeEgqF1VMQ51GN2mRXwnlRk0hmVCRSpt
VnJOF+Omgba1rZrU8kWkXEKKiIInc607CPWgtXxoEn3R8rB+yNm8vz72i9NraBBAqRChIef6NnCq
pW74xczQ/x9p39YlJ450+4tYizvilWteqzLr5rJfWGWXDQiEQNz59d+mZp1xFpmnmJ556JfutiMl
QqFQxI69aVsFk/gO1stAqddaBWtW5tN4caGaoC2GfCesDEPi5sm9Kjqwy/3+einzgVoGKjBYobGu
o+htXdXPBkbA2YBXnjJabwKFD0+owylWtX3BK8kRUx5+bfBWDIH+DvJeDW2pq2a+PFkCTNTItY1U
28eNcUfS+vVrEzdTp0sbi+hrzbN/SYdF/Sv6DsgSGk+G9KaT+d0GgqUTprypM2uTcdXj5HnwIdG2
Svt2Y6m6DFlpedZNgFcuXraitdjUUQWPTVneV2X/hN1YcftbJjCvC1JSE4XmKzG9pmVF1Q50nhDu
nSkCfY25MpNv3zhZcHOizRM9s8vPbnrhhkkSSyqNMOpKTL4ndQcJnIoeam0P0WLX0icvMsefaj9u
IGfh5f1whMzvttXbrZEb3IFmzikmd2auAySn7ft88GLUIcFGZ2+gLAkyZ+5q8clSE9eOILI6DNsm
7t0qSza98s7T350VSGrpDQp0CiFlmhHbYXLi0YpAobLcNCZ3ixYnPk7PTM9OZkbDSkw+y34i/a3t
N54Ql2Tl6KQl2uCKZbikBX1Sb2NuE7MTRXlK7WOUUkenh2KEpJoh7UeJQkLJChqzdXI6BE1lOTqU
kSswBE4kviMAb2jkpStyMLHJzqjSAMrvm1keqMVAc962DtOEXzSFSzvoQfbKzkjA9Ql+Qf2NGVFA
ZOa0VICRHFk7zQYPtNf7pJJColQPEk8hB4H9Szt95Xq9kuuDdKum6uiNEBkKdsDvf/6YTMttA+8I
G1RjIOIp/OGgv/R3/XP9DDDgNj1EjxDz9Mvf1C983rncE7/X2eSu8s6PHwG81YdK0xUHvMqLQS3B
fBykcuypzejQnPgUo0dc/BxA8CLFycq6r47JZ4vL2kingBpdIhGWzRLfhtimFLUrj9ArVax/be2/
V3VVGZFyYnY5bEAb6s1IHYhHoUHQOOk2OszkToqvvzYoiCu9u4aPuC5gLNa3DHhaCvrDGLalTblF
CW0fbVrvXwTVubvK5XYVERbWFtcfeB9HCcKyNtgs8Q7GrFONBLcOgW/2tJ39p2LQXHfkJ8mL3K8D
+83PaKBOCJJ9qJpclU20qhFgXYmCqoY4TFtxJ9Omp69tXDfU5tUZOkiBCWbuAZj9fESmxjIS6B5G
oB2cWpecZYCPwzYc9unRPGBScwSjEgbkV1nGby4O2FykMBidBArss127VdqSKRI4ZhHetHYC7cUq
s/SajYWfxD1Ia9gAG4aDLxcYtSu5qTvetyg8laF9mv6LVHTezotlLbbTbKchIxacBePCsjuq5s6E
HLAJ9aoV51DmdHqRyqADaM1SUbYGqa+FJVENBTqfI1BCNnXTnP82RvkI/qaAJ+wBivVuVFigHsnu
aGx77WD5fY/GQFxBJTfv/zCDu3IVnUkr85Ab5bucrOkAXu0+BgYJop5sQsoFmfPyJoX0+ggxaBLY
aYGB3xe53Kz47rzExRYQhQArgQ78XFJfbAFPJF1PBpkE1v0IykywrGziHfGMUPFREEq9tTfnreI9
GPT+BZgDsH2ZHGQKBG2zvgJf1TEKS/BglP4YgEDAKd12bXE38mE8beeJWECaAARcLA6MtjwRg4wg
LtiG1LpwoeXWnGRD0pCDKHdFmRheBuih3urQqOoAk86afTxOf4wOo0DRJKDPnHQrP+vW/P08iglR
J5C2X+dHCnh2ASix7ADS5q+qPx0ExgrZDyWYFUAykL/Fm8SlgeRGG9MRb5orznXikH0VlKE7y5uu
xuer+xXX++UvmuP3RcaGOUAu9SAURXyW7gV3ROpoQYFbQT+lbuNDh7Hayp4KKY115sgbPv7J9uIB
n1YWOGsiJBhtnW90Pb/Pa3kN4HjrYQ1qYw0DuCaCBlniTTPIW+pRSezASkww70IVCTzqisemRnUh
JHauUSR01DgKFVLcdap9SFtQm5S49umZ9dBxjeo9K+wHgI38r0/gzeX//WXLhzetp64skaOiA3Pf
2ihEo5vwtYUbUe5y7Uumnigu1UqKYSE/DFCtJVsos57+AzmPW6HkYo+XwrxAwCmJWiBJm7kX2F13
Sv2ZHBMS2u/Tj8RfiyTXfFG4J0B+h5F3WJ0hFp+dlivczIbkI6mQ7nW3dszd+GK9NtspUMDGIL+B
xtWbEwzZ41vVE28ovvrJpvPHw3DH79c4+2/lOOBdkqH2AMzZVT3BGpRMHXkaBZQ+V/mpH8TetoAn
kovg6+959QCf131haHFYbVZCI2OCocQc3vqqEmjKFH7fpD9T8Ct6SboGNLiGui0sLo6oyUG8VCVI
cLT77GFKnBZkeV5Tu8qdNjrdQxG7yYA31koKfhW9F1bnoHURlNKxF0U2UhDxlHcUtMMsaramnqz0
DtesLEpuSkNKubKwNtZkTk1elHynm/+UkwcrmTWeENYBFbyq/kCfpZjyjGG8qEdludmCb+q/2Cto
BOJJr8z8AsuiDJi4oLArcrwT80dr/FUhBc1SuuJ4H8iwT8nCvI5Z9Qv5NIYFloTXidJTCsWl+ZoQ
h+KJvwxeghQI0uLku3iUfHkLqtRDDL2qLKDPmUedHCzYxe81DcaPOsjVD7l4lC4yXzqmqjQ0uDMs
oIYCAm0FClY+BlhK7GOy/DjsgMfegUA1sEPVA8dOuooL+P+8oP4+jBeZsdHXyqhZCKvx25wZpzvQ
zrn0LXaZt35J3vLSy1f4ItYpY9bJDLon0IHEsGGO8/DDrFZmQK5ZiubPe5F4z1fVxYETqs4h8RtH
uCjsVzX+QLRmbtQgA/gQrfudc/cfl6MWNueFX9rUlK6vJeyikbeenkibzFglwJi/xJW3XKxrETAT
AwOUvfZxMUVhf4cQ6UFl90SCOZ1Ze3HeLphcWFsES1GjWlEV2MXG68bA3Gmv02vy3m1J4oJZPGBo
3Kc4J/kD5lFT1WOqh8KSt15LXP2ci/g5Vi0GIMB8C8kaJTDdFOPEI2SVnNYrkW6ze/o8rFX4r5KZ
xddcBFN7suVCkWFyLp7OPOpQxlV+Emy3FObQgnXab4b39W340QT84ut+YCIvPGiKSBaPEWzqYQ69
lWhb/AGJBXTztP9xdcvqbNpZfZ5QWJqz5GhXBLyCSpWvOxCSPNDdhH8N/a2V18LtWPfXnz5K1xfr
65KmzpsG/qSeMTLsk5DfZRuopU0OO6onJZwP5/SW+8UdhEi8diOtlHPn0/HV/i5CT1/riUx6rHqo
jxIH6gQCzvFBzyt35UOuHNMPcZ2LhU5FBaTVbCiy3JkikYfqVjs2fu8Bi7yqanAzol5s6yLw9FIm
yp4hKNS15veyr2Qk6LXnlTVdPaw+DsRMxoibGaWGRTBIKvQrxhi5mmq55Nh5xVN5oq/ifn7dCV9N
0dF2tNGXPerb3hpJ05Woy0eBESDn/2d9EQHSdJCaiiGDGn6lD92JQqfBhVz6gHk4qEXMRi2KF44z
SE76c2Xlt/f3r+1FKACMDTV0HXmVHs5ZQj+47FhuQJ1uP5uobfIAoP67TtqumF3ZcDLj7C6cqCrM
2gKb5xx9884hf8rA+JZZmJ7Nws4dfMN0MKZVVi4krTbkAY++Ffs3IyDUVj7e9ijJLU6LkutNMUpZ
FBSHKNRdkK96TrmfXx5gfHUL11xDos37eHU8LwwuLu0qBjWrrsJg76o7yDW6+X0CnlknDwigLcVL
+qSjPh9DxesevYX/6sxeWF+cohIUZ3pLYZ1u041WnCFT5o0B0q5hA+LZ/+BSu/l9Lwwu7nLUInOz
YTA41yMnONa4U/DcK7x0Z7utp2pgVYGyMuLgGkrtulo4n+UL04uzPLXAGdQjTA+vStBFTnNK5oIZ
DzMMtlsPM58LhCeex0et8MW6WubtlYO73kITGc3pRc6b6Xk2aSnMZy/W/eCRnXIw9tSbZT2UkG1R
qXoje9lbj5TXxZOPhf+1PAfuizNlVHpmthbOVO+WBykPNNUzgUggoLChqau/GufOJ6nDA3m/9qi+
bswubC/OU5JXuU5yrHrcFdvqIU1d+l3OneYJzbMgCaCz4/cB32a6q/0hmB3AzvcbbaVnevMBDFaB
f+/94pAVLJrktsYO1L6MNXvMHzalb8H7PMNlQfF7rbixanFxsGijZGOZYd16mLzbAfXmUsrkGn8a
V3biVfmW21fFxQoX56qVINlZ/etcmVBAdiFnlHuRN5+p8aCiZHaYcSfrpcebVZzLrV2cKiGxKJPm
OwrSO6fmQHb6yyB7qJ+8xPvMZ4ja6i9ofDuKm28m8JJC/ieKHbojm/pQbw08Ptelh27H1L+fe3Fv
akyzuQFGFjjdODoEuO9yX6ReMqMBMMEDWkVlcuvGL1EorwPgVsBlsRpa137E/N8vTh14lZhm6tgY
CAVtY7TH/OGxeUwh9TQ7Qvpu7IwwPeW+2jhxsFoRvnl9//WH5WQzyQajUOdrxXosgThOoMUSQZu6
DeRgRCEYPn9c8/mVALccdS75VKlKDZNEfwL1vG7clbm8scs4GBtIOXdrh/pmYnuxxEVYYzorlFT7
CGu9nz3QEndm4k1huiXwNtQudvph/Qab/fn6vv63by0rNaDUyXJlDuMGMw4pl/y6NJ0xIb4oq00u
k5Xn0U1zYEOZC9/zROfClftEZEZWoDBkF6DJoq2jsi3GwZxi1D0er0F1bnrNhbWFzypS1VS5AWuq
xIIpAlOR6gBQuZZkzV/mag//mlk++bJcS6iqwozwPtRRwVyI8QLHCjW/CLXt1yndypqWr76oahCH
BxjL8PDK0Jhho4NCydqabh13DRVC8CMC+IPuz+fjPsk84vkACiLDIaGaQ4nEQU9gg0kTbS/HuG4t
Xwuzk9y56WvSQUXafPjn67z4AcvMOdeqdCgpfsDUVl4u6kBmVqB0a5jelXUu0xhjBHV0PfIokMRG
M96SrD13Y78zIutk2syRMozwTCtP2FtJOYBICog6FN2+6vNOXQsWbaNEJXmMwboVu8Xgf715t44Z
RDOgvQ2ynplX6vPXkycQaOmFQLAGq4kHDtbJN/MsBeYfaB9eymHVMb6GH5lzn+UxuDS6cBlRxyxi
oOALpvsGM+htGHmYTrbuZmUBFuS/paevF3nrJFzYMxdvqzZOGqstqihoQbnqsrH9U3CaoG+6psd3
KzJfGlqkuqJQMe6nwVAOcQ9BYnTXtyLKvGlgaw+YtTXNoebilh0KRR9SAlNy2AuHnqC0DAxO5va/
2CsKklDpAOBo5aTddMe/zmIuctqSUVOKRY27FZjXIr1HHF6JJmurmn/BxarUQSFyNltoxUuiPCvl
3o5WFnHzVXD5kebfcGFDlyZoxEmwISmOLPAamx9D/TMPtYdm1wfg0tvUp/b0H7xH5s//hd8v2xBS
P+hSR+H38g7poqsAZzPjFer79br7x1Xyla1FeloyrtF49g+S8VBo5I9ZqQGVhM+LEUe8+I6bwcss
6dEc+0NklT9qKzaoM5ZF72SdYbl8yBt/yCpPiY1AMWpfE6rmtGyctl+fzttehbchKJqgiKwtvkdl
R7kopBaXIvTrEkgIoBXrfW3i5qtEM//aWLwSKIgrzcKAjfn1nW568wMNJPD1/ZnHV+udfk0f+GYs
ACAWHBGARWD87bOb1UoxMmmO3UavgtjR+s2lVHIZhr3dkbK3lQXePDiWrslgj9NB67Q4moYl8by1
YU0/1y+Z+KjfAEMNhpLt5JqBjKelyRz+7WuztzJf8IgAXUkMoP+XOeGktTqaID0qC1LjtU3q9ZLi
8vQ7OnofE4x0JfW9RqDgVa0DfQP4rw18jL2ID2lMxmyckNPkWxIagZa51k/qjS4J67s67PY2ipOK
Pz0nvn4/egIvv+KoopOvueUu9WiY7NaS/5tgyMuftPjOtJDy1tDwk0Ce6ZOX9NweqyMLU1TOAIBx
yzB2p2Pp9j/XSgw3+yTz1qNzioIpMO2fPUztiMaruWkh71BZyE+aB6VtaE4auwFNRIoqVuR//b1v
xs5Lk4tbJy6tjsUzci/fmn9QUcHo91zvLr+1QX3oD/zdHh2AYX7+B2/bWx5+aXrh4WpeaZNqf6Am
yDk5zdK6842X4qFPko9PHXuraNP5L11G0UujC3+LlbijVQSjUyZ+RQmzfEmHwGanlo7eRL0T1wVY
YgPZpBtibDVFqp2UPdl9+Xtl42+dNJ0AMYJxOcD+PqoRF5dWlUc0MXVsvB7qP8SBx8HgyT5Q3WCn
nBsphtvku2rbwN9WPXz+qNeb8G/bSwKkOm/BPmHAdpZYGwaBG8fiyb0uATthdLVXxVDgBIvEQa5V
Xx17p63QgyVt7H69B7fuCai8A6KCjBjKkYuDJqyEanUpI/to+W6g1iZf04y8eZZB/gnqRQCu9GtA
LABYSaJMqJ8A7tu+YQg1lPzpie2gx7k10JFPdsMPwC3WQUE3T9al6YWn4YsL1RrHuf7f+xrqFs1B
Q400w9eFRK+b3xkIJvFq1/ca1oiIeml3savywKEbz2B3qC2vbwB7krlrQ8Ou7f6YCndaRQSdbb+Z
itiU6j8dsV8YX1zLPWuauqQKUM4693NIm5pkDUR2y2ssGawswM6RmcDzc5DsVVNKSwte02bQGAHd
lWWsXEo36+uXJharKMaE1XAbvNJYEjs1aJlR6Uv7QJOMH5aOpiCLKh70GdmCcB+wvUSx3KnIM7/k
Mk5u0lc+JrgGN2Oi8UXblL5CumjXswQ3dquHXx+jW6hviEGbJkhgoZSof3jiRSiJ2tQ22x4jQ+pZ
25Ijfco2xcz4/4B37dkO61MZrt0bN6LXJ5OLV6beadpEOag8jByFiCqCUklX2o/ZAMCkRMgeEyej
U4pobQjkxpv9k93FQ7NhJUfdChNYeogOU9hterR4RLiK172R2F/aWdZ1jBySb2YELpQeiT3IZkKy
zedG5UGEq6L2N17sn2wtbv3BhlSiieFRzPoWW47x7AJwhW2E8YvOlwHl+ZNvxBmwoZXoeys2frK7
uPpBp5qAnBJ2o6M5bfSduVM8vqMe0FP3cpBs2l/Tn+y9CsRxdck3LqBPphdXP62KZtBnSh3zPANC
PoZNNpXHtkM47let3bjzP1lbROIJVAeqVMDaPEw9ebUL+MAd8VDZCtGl+Z2sxMBbOJBP9hYRqrYS
gwGmOzNkpJv22MBJUal25M1adWLNcxZxCi9riZsmFpao3GPd6CV2FvTVY20+yMXKo27+0Z9zhhmz
LKOspOmghrEXi2qHvuojIgCFiM8N5HOGVnOsZK1rfR3cP1tZrMgaDHvKk4qHunIeJdmPjSH4Olre
tmCBYw8zh0C+LyJIRCUdOtKYwSnJz1atIC+39k68vVP/trDMrrpG4Y2QsIZavPeRcAhq3V3x8PUy
5o24/hx/jSyCRqYV1dT0WIahR49Jpp4K/o0n9QOpmpU4ce1k8yf5a2kRJqREpLyoGx4WmnxUktEj
XTm4sqBP0YiphGiITefrta18oiV7E00Ka7QKrK2ufzcVddjw/rWBGw8t1ItQgAUUxrCghbJwglLV
RcVEi927B/9c7tTn9EfkCQw5pE+D6WCsxjrxzddGb63qwuZyjm8ymQBGc95H+3kicAk8Of43Cwuf
EJWkyFTGqjqFe4T/aJr/cd+shS8QYqA8omEN+TbeZBCycKa95OZ70BsFTTj+tL+vlZZv+fmMYlcI
ZMuQx8/eeZHb0HpoUrvuEBDqh8LYmKkM/Ucv4c9fb92tM3tpZpHPoDkV5RKeIeFkzxKimMmwAq1Y
Kf7fOkkYtcGMCWSnlKsRQBZPOu0KrEWdodHoo0IVupI2VIE2ZPzn6wXd9LYLW/O+XuxbPUhJUSRY
EC9/GzWw0e1/ExcuV7P4MpXGbVQ+4QsK2fKIuG3OMWT82FdIyCTl5evlzAdyGe4ujS2+T6ENkW2k
PbZOlx1cRQ4hXdD0v+2+DzOO2Ty9P0rGyve66RS2BW7ouWkpL9ndWsXMa6uecGIl1N3AKDApWmhn
4wrhys21XZhZHqqZkbaLRx5aTfqNFJmnF5gxxxhYi2EKpeK/RvVE07XZ+JvOeGF1kYLpdUWh240d
VfRfg/ieIRqlgDMMsuWqhli5Q26kRKgEy7qmWKis4Rm+cBZdSUHdNSpY4yCB1NP0+2ra4b3+o51A
9jnruFpCPqAUsde1n//cdUACMI9VYvLhWkp+KGV9KDXUzDtMtWHktwcC0pg4qD0mzKoUoZFULreE
97XZW/t7aXZxAEHWi4ZOY+AAartcKK4V64FsvGgZaBym1fnR6/cK9hcBDI1108LwxSL018VQNlYJ
a5+1ASOov/5zfiCgR0G5MdNgYGjwinqJxUlbVrk92+oxqJl7mY669KygZ7j6tzz852KEnw1+ONdF
LBMFK01awmDJP4r9s2zknL4zFWVgEBO7qwWy+eMswg04cpHpooeBVupyWBtd/V5prbgMWe6kpgOB
1vc0cyLPqp3Ozd/Yd+CQZvhT+622Vi7xNdMLv6HDoFexgGmjPpYT3evmLzL27mjH/tcOOofMr9a4
OJJGJ6n2iJG8cOjrP0qe/yRxcQbZvifKchun3XNrrBVWblxK2FaQiZjgnjHNpahYRou0H3mCcgTL
XsAGGfYdq1b276YNTLvgsBMUVpfzlWA0aQbLyvHpZHZoY7JtqlWe7usHJUa1QSki6/MUkrHsBE00
0+QsL8uPBx4CGXeZO7Mpay4YuYCtDdty5WPdXNWFxYVXaMakpIbCS0guww/jl7LvV+LVTQvGPLtv
z9XSpU5FVWZqA+kNHhIp9yyDOHId/nOHmwt2FvjadBk9n88pCe2EMWVShln9ssA/0FqQQK/e3ZPo
tRTCzVdpzC17vjqvfJwg+H9cdOCC/WzSmj7qwogc8Lon2Sgg82BU31ksm5tMkZ4qKbN8oeW7Dlw0
Tq9T1yC114P4kVUqxtxB2ITqPx8extZ4bfQo9fjUjNtB5L8aJgCWgmBwUBYjoORSKbuSor3VKW/d
otD92rLDipWgMhTqDpSgVe6m+hQfbWYTfyh0ZRvLYHqysyjbg3Kce7oS+aMs9pKE6XA+dBtDYndK
VR6ypA6UjD71Zv4c1fk5ScviMbH1AQxVkkBzN7JBNyuNunBaPZI9C0INQYO5O/BMZ+FoyN2h6kf1
AeJvk8umtghqWmuhHFXGCA4hkAvoBH+Vrm0bQ0JITaTUSWxwYTSVn0SgibTqCEQ1kQVkGFPsUFKr
YzoAhST136lZbpjS/6wKZY8n4Y4pg+600vg+KlMOmvbIN5PsQKZOc/p+9A2MHJa5cpCs+k6Y6gu3
UuDDlVY4cSOFnPCfrTkerS5+0WLtXGojyO+qYafKxT2pjFdLmG5hmLEPhuln9FWe69J4pnw8KkI+
Z0oueVWSPdqK5KEHDoR/WQD+BdqLDjpP4NApv8VS/q2JG7+DDodLLfaaZfJLAT351IwAE5DMKZyK
8R4F4F9aNY6B3XVPujQyJ0X6nJbKTo9T4RQD7vJCqvwhUR9VM4akWXY3DFDcUdWGOnEunk1Ry9uc
2t90TWwUaK7BDcS9hLtmZza2Z+ad4qVk+GmOw0aTIdtX5OS563G407g7gKpxN5USSjnt3ZAqQH90
1gN6+L9bVNPhXIVb2+NrY6rkWNZwMcDq0DUbk0M6o84VkOgKbspuRk38TGXLS7vb5yOxQlqgJGWS
Q8fZUa/suwK0ho7RasKRG/FKJOMbm8re61tp33b9O+9Azjml6mtC40M7aECaT4YP2acR4gTaUYmm
Q9JEG7S5WvBQJDvJmp7oVNie1tGQK9Nr25i7dGgfo67GQyTxwUvxPFpTi2y67d1UiLNNe9OZ7HIn
0uouYxa8Nu5VJzZkTPp3kfDwSg/0RD2qTfyUdB2KhFQ+9SaUGcTQqW6W95FPI7ajXTU6LC2x01YR
UM48kQ9z864416VlOnLbc8fQhsGRJG0DDj2vZIblYebvLlbGt0QpXyA5c98mtulZnO3ysfLNoks2
gyK3B4uBZSOWrI0ojBNV9e90ABVcmxnUzQd9K+f61ky7nZ2gFm2oQcTpeWiNeh9T8HUNE9vXlIq9
ag7UqTTAEDmoy7xJeUqaMRAA76o0PotYHOs83vYN9yC6ABXp3p309E4bWgc1/qepnr8Tx/yKaLQD
Jrz/MCnaa4Xm9bNcrJq3rqzWOIbToTKzQ62jajxoP0q13/RJtrOjelPVFFCfXzZ2J5H5JiH5GRoM
YBOTBz8j2kFLuBdR+oR8eSsVUNpoOlcrz7pxyAV1CvI9sjunVR+b5DFvECriF9FHDufpPm0Lt7AL
t+2/qTFUBch3DCj4Uwdd8ei1B2/5fMYt3F31cZqEq+Wq06j3Enu2MC9rtfhqNHfKGqB6JMdpKTud
XLlWVzojiZyxzh1O840qp3eDyfy4MuD43G3IUWgQoYnbfRunPlRZN8b0oKKNmSiARpotZkeB5IP3
noo0eZRHEFyRhlYOndD301OIRxrIIpsYPRvjviqhOcWNPqzbwo8Fx/dBHGWRH4Oz3FEN4L9ZcVKs
yJemNIhj7XG0jF3DScAl5qn8YBfGLjFLFMjuSXHKkneW1ftsekKl5yin0jlhrctE6bfmBoQgbhqn
jlWPToyQ2VGk0Xm/1TQo69VQ1WswSqfe9yrmdWzIMyACuUNy147aSdhg1aserBg7SI5FB4KM9EwL
7utRu4mYdTY7jFxnTybAk5GVA71RORWERIkG6DImA7GpiSNwHZnM3GBAyBumOIwleTdpcg20vfFa
93YwMjnQx8JtahCOKjL3oeKx42UbQZRUnM1BfhksBL5cfbRN7qsY0fYmE8INKEdvDJpCD0r7Luzy
W8MZSG7xYTFcJvbR2LxGKnnXBRCJdZI+R4wGPSY2MvlsTW+4vQ4ma74PqvHKSb+h8oB3oeaNVD7w
xjp2U3VIxJ/GkB07mVxEfKdMWDBOjZeNMd6RqQM4TZhZ/aHQ6dlOxX3WgH+Y3le9tVeqfVkYD609
BvGQnJnQdhoygsZ+YVQ4jKQBJFW8IgHXublJrOaQp695Aqhrb/pd9xAroIEjfNvVwp//uiy/x1W2
S1q2t/C1CP3RGMAHJsKRBDjUKAYFTED0K7odushXOd1Vhu00zS/dhN54/UemD0YMHPsQu3YvYejf
8izAa+mM9ak7XxKq1wscrJSeIsu8Y+jYZux5Uvi3WOEYPlAK3bFbSXK7nHixydya/aJUx90i+erQ
7DC840tQ/e6VJEg7FdmMsie5GcSq5JssxqHrPVAy7zTJdJLGdCnqoFULd5QSf9IgrNC9KtkE9uUD
zQpPTfOzbMRuKUZQLKBxLWm+Ttk2sasgq19q8JwKLUNpJvdGbjkV+CtrddjqpeZO/dEEUplbkWOV
D10F74RP6Q1EIpLW0fDEItmjOoDJjqsna9A8sN+Cb4574CtzpWmvdY1btS9R/Rr36GJPxJNAkxmr
Cggm3nuD7jTG70f6Q85ap+k1XzMAGTIbcKtk20HnHqWPVZSea9wGXT8gX8Oc8zQ6RUu8CPwRE7Md
3j9CXsdNxwjU/XBxtfGnLL0XmF/LIfoK1j+/RXgFZgOojNI1ildzzFyhpX6aloj2Rxv8jBqGRBGh
rf6XIccg0Mu93GgdHYMhpLLdseVzr+GuGFrXYIU79DMJIHRupF9NLTwIpSK+Vl6HCchkRDo2yoe2
fch4FvAi81M9QELpSuJeN9CMZqlDIv3YIm9D8PW6AhdJ4vSlQIg6WbXqdOYDkSLPKM0Z7beNYs0x
xUlHMjdMuadktq8YLIijNBjRcQSHiJtaA/R21L2W4cwVb4SDdRDvzrTpoaqBuJ7/RrxwqljywQwJ
6g0Nkrh6ECOW6OWzjY53h6rclBduiUNra/jfisKnfeINMV7KOX6w3rhawRzDnLxRloPBeK9LGyxo
lp+kmKhRSkRCy026H2YxbSP7u67Ufp6HQuZHA3eUXpK9WrGXQqrvTEt6qADbmHRrYyF1R9YCX66B
zKOuPdATlG7crBY7zg2vwUcr+/K+arg7aY03YhNaLgE537i6ig8Bw1JKnMmMcdlIfkwwnV79Ikhs
2CTNGPTN1HEM2dTOCGercReJUvzA5IQ/Ff29GuNabTBtnSczg2SA7rSTmD/rXnHL9sVgPeQaqJdH
v2v7GeH8gKAURK1yLLn69PX7CoKSN547H3Uu8CjP8u6LJ73GRk7UvijDAiEYrXnrHYxGTzL4Iikm
T+t4L2ThJ3K0TTsZSeOOSW/4IwEQBWGejW6Ec5eBDD7H0uzyKR960I7trdxy5WIHj5qQjtVWvolV
A5nGkz4+sQFwlo74pX1vUbyais04/bDS7322U83KQbrnmPQ9bh/kBuMK1bkRmUvtZ06e5OlcyYYP
/iPU3hAJyKvUPCXGUzf8UqdTaX6r6ztl0Jy0A4WHrO0acL63/W8E8G0GkHKjH/FHGK6jzjQdKidO
JWe4oxEuo40t5U7fPI3aDzPqwXH7f5xd2XKkyJL9ocGMfXllz0WZUmrXC6aqUgFBAMESbF8/h+qZ
WynEiLnX2qz7ocvKM4IIdw93P+dYd1U82sIYxlYWDMJvAeyQLa+dutJtQd7z9D7XRgfMDNBbKcgx
n6dkjNZIffwhXC5jLjE3wZQxe+g+WI+3ELSZh7gEHuulFu67obQHTXOahnvFWNg6UM25dt8UqU3S
ESjfJ1bfDFxw9EHzKOqsMrLAPnlRlRgZjHQjo8XVFnctKPJF7U5Un9WqdgW5sQmy4aw4JdMzNGQd
g78I008avaVmDoFo5tHecJNBw3wKA6vfm6LvZYj/ojfrxOpDnukutLSx6YLbIAdt0l+8q3xuHGuq
BXl3bMTWreNTynLbKs7t+CSQYzn8atJ32bzjGjtO7fOYcHdmREZCYmgfYvksgFpHhEyeArKqUr5Y
hQJ/qNix2gcq+12n2VHKX2mvgiK1Qlryjre1UwhBVD/FCKLjFDmKKbhT9qqkQMjKipv1GDPt0YnX
3jIgBpqycMCPCPAshh2n+74F1S391Y+HvsptIodJBbZU5VlCRkxSZE9i9SrmT6mGrIa8Ng0OanUq
TYCZTHzO0OpKl+ZvvFVcqniUgFlPiF0tOUpW5jX6s9Fzd8iSQ0TPHFywZa65Wqt4HV5BQu8VfYjR
7lBkL7RkdlfXP5ruJNTlZPeQV7Kt7pibfSDGXLuISme4kNca7L5UgyhleOwqglNWoFtM+T5O4ruh
7FMXAnZcOlfpQ4WXizYhHkqA63Hq6SYPtAHiGVZ3qTDzQXlsC+BnlvAATskuqho7y3ExE0CLYsDG
ByV36jRxNDnsOslrVV/hMsgXAX1tx1AfcySXF0N70rTJizuwpQIgmnHBV83HWmrsJkpsRqpAbFDn
aYvBZhaCQPTBpwJaDKU9Fo81w9tJ4D6HzjNgKkP8NHYsjIbKtsA1MerJjiHzJ8XvhH+Q+kOR7swC
ctADRunKyZu45HDlwgDvKrv7YbzXh1dpep0oWHInqI6pP1XhkRsIGMWeRB38LtwzbgESOoKZasGk
zqjENxx9F2Z+9I0GIS5rNxZNoCcIFcmBqkBgKoIUZJhetVsy4cgN1ouiJ88CZQee0p2YKu9p9ZCI
tdPlimcN0j6VB1uZrNtyzCw3rh5GTXUmI90ZkgD/NpxJUexlZTpbSg/NPfygWnhpTYO5kKPGTx2d
HHWLuHwdWkAex3Q/1ZgdlfG2VUBkjMJJ+1hPeGBXjSuCaWxKXkQ9siVNukPAcKVW+LBUdozBPDBV
gk+ixrI7jgR0AC2xaNng3YfFvrXVZkQKCCZ8U6lsLdd9QwdxilhC8YqUZ1k9EgUwWLxh7BbI02Rw
FLHzJsqPUtP4rBKcvpZshR/18lKZig06CTU/AbrssCbzIbd4tswX0XhGhe4m7S030UWoF6lBxg9p
Jv0Ucn3P2M8h0QO9JJ6SAu4pSB7rj3r2aA2/S8PyiIXRJGiMZQIPmxbHvFJAec/PJXIm8FWL5aUf
kJ8XopOMpaNFk1MVP0sJk6QR+IKNfWEdCiTudf9raKRAJa89Pwljgviu7COEKqZyr0TJZVASv8LT
SNYBPkNZqsBW9QzKNhLB7F8tuUxhTTDCace15uV6AbrjhyImTs4nVyxPXOjAYAyEkHSnGR/C2AGK
cBb7S0J+sRo4dfYW68JhGB+NjOwFjDLYWWK+Mit19Up8ikbrR9I+a2kMwXjB2vdg4JMAK9Bp+nvI
kC7p6q1OjTsyyoisdPTFnu4xye+XzbDLJDFIwR/qVyALK7nW2ao41S4p+0NjaL9aRXKNeGAuF9WL
XrbIHXUiOUKXjncYuf0xIHuauLKLIBAIvazuNsZDYjKaYDDKHyMtjlnD5oR0eDWm+sg19VDHcKA0
4fctUkdzmG6mRL5EKEpgxNaDTvydFeVvNNP31KgOiWbiusHZmVV20w7dryyJgKVXIX9pm1Oq+EqZ
lrbYgfOkrS5TH530Nj7FQupMTfGjFuSXBvUPs4Wv6iXA0NtMuNHK4cHKNWeK8ArROGp4PXwT7/Ie
XjA5tRlILXl0l1Z4n0aqee4mlGcxI4nMGltq/hSi7NaMYguv8zQsuikkGLk0BOlmiLOdWCU7Au26
Pk68TlJszK3t9Fb18HOcTi5/QQbpTm3ak0T74lKP7U6Kywr7U6CApUe3XOA/R6VTXRnRT67MKCib
UQ51tDpwh19SFEycVMEnJcMJwyeXaso/0P71OmsQDqiYG3gileAOQQbn9gnf51orgAgz60GG3Zks
yArQeXetESStuh+L1iWRcCvqkHwV1eI0ynggUl14hawtRbXVbFpb1k0UHxqucHvSIHQPQfoJCXnu
VbH1IUnlRWVtdoz75gk0eonba90O0+JOnyV+ZkU7bBtK2AMqGIiMPGI/cLcrO0l1p+7Sk5SSfTfp
ZzUFdDgh6NAJXsTSHbdia1dWOHtqloYqq1VbaJUQFbNTmmM6WZUxF6/Y0Ere4VGChKqY8BCVbFq8
dXgy5aZo18WzRZ6YLNmVlNi0+j0K9CbGIzd5I4piJ7nigK7NGTtiG6DqlLhTKXiu9aJk1xQHlMDZ
9UcLUUAGh3mJCiueJNZ9VDduoQn4Wr3c212m+Q2+dGOMgYpM0YQMBNycoQejmjvSKLhlfZhKIP6y
h4j+TsESijpeImaeaV5Ieew11e/i0pdagH9b5SyislGl064vuhNNLrmcPUXls94dDKt9oslTZTYn
7I8dWQdWqmHWYPJs/Blb1m6KOo8TvJaTk9UrNlFAEavwEBJGoVy4mviK6nPZazjmv5MePzySfRHJ
ddlgYJ6Ceb3C40KQT/8FkScTHFgTCxLETVwzZhMTC/ivNpNzNMxHFoygc59bmto7BZlFA2L2RNpo
waw0edCvnSn9NQOE/UuAiSBGtK0ZfoQuqC+9RS5Fn/vfv0JW+pefTMwtmatmbW7yiOMBB9QC5HhE
PApKsXW4/LOgW9DClTFtaJmKIN4EqaisY0bjsynOKYC2FnYuM4bLQDSAFtRSQ+qPWm1tPMVxjKuh
Ni+9kX2UefWoxNE9JbOqoqA/xGrS2ShG4JDDA6sQ5LUnAyOaVbWx52vDZiB2/tuEmj/K1Y6kNG5b
bkaYXan9GFwhESAuEnGQGqW25MSOhOp/sCXRvEKjoWDSAgMPUNPRYX8xEUBozEe5q1ggkw+eA0kz
IWUv/SRy6bSTyzepfut7kILisYvR3/h11B45P5qg1fq3z8On37E4DyAkL4Bbr1nAeerGCurUqDdx
xYuVrc75/LpdNvsMDXwGmK3SJGV5uBl6ScBW4eQNCfp9qTvB8QnyW8YgkGNunPIV/CG298rYYlkd
1VG6BDFKkGEkoZ5AmDyFcJoeWi5g4fAjZ0uFdAXX8dnispfJSE0xmcYWwsT1vg+3Ds/KHf60uMWJ
jQnpKwU1lUDrPnq8PVKkKKjfG+hwfX84Nhc1VzSu7kaeQveDcGwj8mN/APl0tOtvq910QwNp972t
Fd/3aVHzoq9M6Uwd9Xjevya3nCgx7cHaaNJvrmZRfykNTofJHNgfidpqP4XQ6ZrJmOo9emON+/16
5LWvhFlCEGar83DVsrmtCWJrmB1hgZqNT7ravVFLnQ6RCvVHc9y3RXYY+ujcgWjAGHq3JdZhHKND
xDNfr7KDQiuv0lqIGwlegbs4iKDvLVHBiWLRyzK8Z+UkrABzkYrpIPfqw/e/fuXHw3dDvQe63xii
0BcfPo17KJ8IOGJNFuNZ6hKLz00bf9qarlupiUHG1MREg4pxSPAdfP7shBE1IlBbCSbjccqTw9RZ
56h+/n41K0YMjE1YmGoxDN1Yzgslutz1pQVnq/T1s2TEtsKq5wwSMd+bWfU6GGXQMLQsi+APX/iA
XNVqSN3gDAs8rZCwGpIDrsLeJe2ERLwzf3XFeJGgqz73R4Ka5S+5XD3qllGfLXlLVHxlgAhc/SAi
g9wJgNjLeQ5NnHDaZdxdsYpdJcKYVF66NQnZgFfChNpWzjYGMteCGkbcoEsERTMNDLCLjzkWGCIo
DLyIZiq/xpY5hBNBTt+AX27WpjPDZF90oXr5fttXvu611S/zZ/NMNeiUca07PD76WwMjvNzcJIdd
meH7ZGYRsXUAgbJCgRnCGaZvDCdNXhTlxsTbQDtT8U1Iw6gokVpuHN7V76jNcsmAoaIrtLiK1EhM
pS+xqVRHd5pASiLJHWocLRTYJfMMgqDvt3M1bxOvDC48sdAwBXVxGJyRkVCbyT15r8j2rC2HJ3C2
Q0ELYghIpsFGKYYo7m0x4645amz13yUvHLVUDBnDNBG8j9d7A8Ru4v1wV+1MjEtuhZ0VdmaA269s
LUaXSzyPRdJitWQnOyjq9lCJjo89qKs65hdBvbW7K3Huk73FHZG4WI9l8eeOyI5gC5OLNOjzHVGz
LcjT+tn914ZqC0KWUiuaqCbYUDVQ/DwEnAyvSUS+6DCG1bgR+dbv419ji4uS1nKO3h5WKMeZaymq
UxelU/MtDbs/93qRUF7vpLbI8cohx1RtrIJqbvLU+BylYYbRDRnPcwqVwMIVyiOfNnzNn6j9xSiC
CMgtAItGUPkcr7JBkqtG1eFsBP0nYWIYJeqjFPPa68ZutIeqebSafHIwhfOYi9MPE/qPKm/ONVpw
WYbO+NjGxJ7wKndMg5wnU0KPkfWpg2Acu5h5DtUBQwaQccbFG8VHKQ/jQsAMrQi6IzUPG/x5VFd9
lprhQFDHihVrI4zNt2u5xKuQvETC8NgqCivF90ugRTw0sp8bk1t0HHVptJ/zl+/dzWqmgV4CQpWF
l9By9DzXI10rBsRMbmZPiZLvu7bAjFyEt8GwkdSs+hUwrv7L1uKu11lL6yrCNWDipNmDRJ9IqQfE
AKFvLT8pJnOtguu2bLY7E30YsGsoG9d/7fZf/4LF7RenHmWFCr8gyYQQ03B3DUqq32/o2oPWlFBB
QM6JAXBkcZ+PKFQBORQvcC/EPRg7gP/xI8EeDBuTLeApyv20PRi9veW01279tdXFyqAKTQdW4WJY
4kk1R6dGo7VFU31jcRtmlsFeJiKqoFxDNOROKoInvHImdyZbTG8qVOEau6zdyStBQ7K1wPWD+q9t
/XO4rh4otMSMFViDUTnJjhXBJGB6J8egySPJhv9cOyMAvkGHaCaewJX4/P0EpajLjjMayO0vLqDR
0+WWtrWP8solvzYy/4ir1ZhTJoKntKIBCjJeFPwD8hV3o6/7yd0mxHftq8kgroGkhahLqLV8tjZB
p14tdFgjuxlQjCGzH13YHhgou2WbevkZ3NLSBk3A2ve6srmMefooGZ2ER3nQaz7UyY4dMJ/omU22
htlAZ+NYrvnMa2OLmMcSI09EocF23utBekF59C2eEQmdI/qaU9xpDgQvXLrfghivkAtgyvnvzi6D
YG7GI+mA70dkN9Fgdim6TuHMhZPepg+KI9vjD0wQaw/fr3fjey6jIO8U0MAWnAZmOkADCm3+zs3M
YuOQ/iFyX0YiFEMhafZH7HTJqKgIU4ZuPXaVzAI2CjPtbMryk6zLxg6dgoe+q8/ANP2WeR3hhZy1
dqmqXiS2XgJFHfQd2QVgrXciFJEtMgAv8+RRqttHgQxosbAT2sEncKdCgYBX3caRWL3FV799voBX
F0xWIKY05i1FM5+8T2bhqiy6+/4rrH/8KxsLTzGVViQVqGr8ydR1QH2Sc/YYBw0k9+QQH8cpbpJg
w+ZaKnn9TRaOw6jruC2gNBCYdQLuKaKjX03Re4nruWsttjs5Be1TYmGGFNMCulAHkEIMv/8RW3s7
H8+rvTUKLesyAXurR+AF6p9bdvnewGoMhQ6kAfE18GxChPqzBZBPDlYUYWf/YQ+fyf4wh78rj7MA
3RhuwWilVf8BzDPkBSH9gw7Awl6MochYHWgQPfYe9DDudcE2LsVBvUfH1c5d5mAu45U/xz++X+jq
TkJmD3kCOIW+FKkSTR3KKhFpAHU1r5RPKFRs3AN5Tje+XOIrE4sDw03SiR2H2HMFdRHJ1dDUeYhe
q95rn0HoJP3I3yrMM10oRldeZ8JiCOy6/bNRPaLVXjZOHzL2Tj4k4n2/8jUXNrO3ISIpmgTtxM87
bvIBDU5Vp4EyZqprioYrGfwecXFLIHb1LF1bWmyAoRLKqAxLjTe4WUhdaMrJO0hFzyWRH/F96Zkb
a1s7TUhywUuHBYIpdhGNJijdlxmmNAI9G8MUxM/QUBUbmzElyGVr4wOvHSEFHSvwZM1VpiUnHRPz
pkh0DY4u2aH/btfoZnz/qeTV9VyZWOxgU0KmvAG+JmiMLIzU+iZWJKAMVbyR1D4XfEkEOEnX2l2t
yMdGsB6KHpNIY648cKFBfp/60E52+gmPtDrHACzyYCL9GgQkxSMogDILUklR+5O1GM0EwcaxrLRw
ZPr798tYPQhAZuoy8mQd1ZyFUxljU8gzTOUCmRkFmJe7QQWSnOckAYUyB0rTdHC2SOvWvs61zcVj
gOo8yjgSnqCJ7zg4gQtjk6hmLdFCDUXEQYO3BBj0802K5SaNqjyaU5B2R934rWgReiH+2ruzykB8
b7xGDjlCAPb7/ZyTxqVjuba7WBpGOlpr5HH+B+YnhfofwrD/h57C2hZe21kkr6wEHo0LFiIedFk0
X/XIvXWSLkB97ZOQ7JMPeYuiZPW8/91RdVGuqQ2WC52IlaUtr2xqVqClwiwkAf/bILkZoxuv0rXC
tXm1xKXDiFinxg1Ygv/gk6GR5oLQASN+DowGdUA/tnLz1UrxtcFFdlQlGIDUwLcFTqz62APg5+Dy
3mOayKXvuMuAh4zurGhtbLiS1ZRpxk8isqPv8EULcmx0gaoD7mBK5T06HBjSyyaMqIFEXtKye47J
56rvBAyBgpJNVcoXVEM8YTSepRET8TPq2i0J6zd86OpRBh0rMM0aetnL/QeaASxTsgEHp9WKA0TD
/Lzs9kSGomiX6UEmd6/IZE9xXdQbt2i1AApVzH/ZXnyKVIsysVBhe7z7hxy6FTG9ZufHmeSwDjA5
+/21Xb1OlgI+fQWZ/Rd8OgVPf6H3Ap63JbQ2SW+rhbVVAllLUqEAL+FpJMqANC9cEuYo9GKo4JKy
wuS2IBoYx8VwZTylB55oviDQA8IjBspr+jGZyRMEnjden6tV9OufsPBOGAUkrFRwpRD1S5v+Ej9o
gafZTFOmOKVP30VoI2DW0WcQ+9nk0Vzf5L8bsPBZTZsY6TBgA5Jd9j4dqVs6QKEcx5//+GR6s1lH
37C4ZIWX4zgSU9C0BGJAj52r/1bQ/EkD403aW3vNSfZbHHd/Xn9f/P/fj7wcoVCtCiqmEfxy6+og
glPB8Ax+tAfZKea2k6cfh9+KQ/cydIb4DoXajSRrNYG8Mr+4N8OkFVwbYV7IOhyx90q7dN3u+7vy
f1zOf31Hc5Glsoq1msqxqyOkcov7NhxmTRHnD9HufyCxOCO/UaCBNL2uYjDlcyAfx6RNIQaaB5U6
BmWM7LSRNjoRa6fk2sScS1y93KDAV2oCgQlpqBwL/QFhi8VntS1wbWJx97MqLdFkhwkKejeG9KqF
3kN5m+y39B5Wr/i1pcUVH5IUb4gCljAweafda7dzAmR+ULcNOyQ/1mMbgtHbwwC1GG6l+GtJ17Xt
xQU3ys7SWAfbYvIiaJNvWkAKcuokfbhxBOcjtrxmV5aWdbQMctit3KU5ZkAGd/TSA2YDh9Dw2t94
CwMY5ZobSmUbS1vKUKdJRArJQm5g0alyIsm4r9rhwHT2QIb0Y2N1awfyOj9e7KNJTD4aEVaHb9fZ
8/O0hO4mMGdoA/iYx6pstqlfs7bAvzYtcZHecSCVK1ODzVFFEMjFHdAX+0rqgGTtN/ZyNdG6trV8
CtZSDKQ8zsnMBtOcOIATJoBctg5xb6hEOfm5eFQjtxicTZLOrWUuHGRcDxzKIFjm3EeeQJoJDIR+
yzzLa1CibwPRrW8E4nWvG5903r7lgb1e8sJnqmQExZH4xwG0UIfswlmnB2c13DqoaxFAwzybCjUW
qHksxx2yDvxTSc3habqXCQPRFZD/YLzyNtazdgGvzCxbHjwXk5oJMDOTB2nH5nF4nhX7RL/wikfM
qG5V6+W1DdQtUIFgPhEsMMsXfd3kQqaY+HB9TM60ArpBlugOgoUeqxNAtHvlwxLr2xSDk15HR6/I
YlcUix/pIIfqDN0w9RqQgwb/GsqQcSA1ig5jlEaUtf9JgLz+rfP9vgooA3D7emHk8/2NL4OrhdkN
gIE7vB6C7Yu7WpC+tvYlQo5Af9ewNnPBju/0QQ2wfFd5Nj8qKBzEgXwG7YgLpM2+OCG1O6lH9lY9
bxyINZ9loM8FSn4VYxDLOkLcd2Ikp+W8ZkiOTQ8zPytIj3fkYu2BMIMQyVbva45kyyt1bXER6ZIU
xf2JYN2s145Fe6iMzEnAoNKS1O8lI1SN0t1Y5JbJhWPuap3UnUDnsJO/d8AgvRs+dc2dAlW7R+EN
Cp1AEf4CeKh08IS4fG99/sv/7/WiePf5VFWGYGZSV6C0UAIYYmkeIa+x+QQyFluPVEcF/b8mbY1m
f/9ZlSWfnVkAqgFGAIQFIBQN7V1hqvP9srYsLDxyrYH0Ix9ZHnDANROglHLx5/cW1lzi34OCWtnn
jdMAaJXIhDVUonFiWbOjVhEDNaVvvnC2PtG81quLn0W1WlYZ1tJ44FiQHd3RfgyHaGegyz26oFeH
5CKUCP3mRwHPs3U61x6Y1+tcOAJuiAlG23FAZslswDKDLMggIg+g67ZQ+GoMBwO/bEkmRiS+FOkh
qll0QPDP971/YsfkVnXGCQqDgqd56UOMXPOBnzEstZH5rd7AK7OLHWY8Ay8gh1kZoCo+cWfSaps1
A+QYEHnSjzraaqOuaDwqaPb9XeliW2OOgnYcwbNptuiA2xtlQ24DfR+o3uxfQZZvx4FwAj4YGTa6
/n4RQlT7FjTRSF/GAxqA/8FxnmXWDHDpYXJzkT0VbWbERtMgy7YESOHF/L7A0Lk35FvDTLK2dnMA
+cBM6FyW+lKYMk3eizUfkfVa1RN+ix9DKuxAWWHtjGk8pkmNQsJQGwFGiX9rpDsWdf1e19PPQc0v
ql790qsudtRB3IMH504w6KURk8hB6vwERp/WBmESBoqKH71ohjwrwgz8+Kh6m2gPWJ0PTpHeyUc6
OSBMyXbyIBaOyYTRrRjDpF+Vc89K0E9giWizod2RKIsDVI0Cmls/VcoDHmEkYgBlJRDHpugixyUg
YIiPojVSZ2inIDeHp57mzOsyYBALANp2Q4HZ554dVDH5pUzoT9DKbsi7LjzFADJXvAIU7BWSSTsi
A2DWQ5EQqSoJaogxi6P0khhgtKhkHTiWznibTNXNwF0yavdxqR4mita7tNPFFhQCKsiColJximR6
Ar3KDuNGJyBOKEgLbkp+r7AsrGtQN6HapkW38oSilJKDM0b9GAgoHaKzlmk/I/YoJ0EJosFRvLXy
FzoqO6vu92XdBPlEAImrJ7s2wD9F72l2qHX9WMXmXSOogaU+1n1qAaOaATkLCmhqAHjOlLBk5okW
93nTI44ZZzEGCjsC0x9AlzLERJPRo91DOvMqAslqDJ0zlRkANLqnCYB1j1OYJOMhNcABYTAnlogb
TcwpuxmDVblA0LimBeQ814AKzgAhA60IIjdEn2gLwPJvvdRuFQmP18Z8poZmq4n6oKXqbdqKP3pJ
8jHL60rle1InvpZdRD05FFl2ltGlADrHNsGpMWEARiPG89hHOzVvHztZeM3lLuzU6WS1gyODGWdI
xJ1qlR6TX3r1Ja3xo8HyKWujR5LKbUH9JfbiqSPKjpjpISmUoIUyHhhj3bz9NRXcNgGiJ6TZEeCn
dRg0awGMEq1jAlAp9qMtQfkEzYDDkGdA8aGNKJtOmQ0AMIL2UsB8iw6kP08wB92A21R06jHdxVp/
05rNA23KHWnocdS6fRLTXaeTF6Ev38ymuFej6QU0g67Bo4C1yqEUjDctP/dUx6/kHkgsnptSeNfY
uKeddtEE/ZmQKExT+W5oG9AMoRchZkCtZcVLoSY/C3yPNJ1OTSEHiUXvxxn6IhBhtOu2PBAdp3nU
rG6ngN5pI/CvPcVAkzlHLPQFkTl+DpZQTJ20qNGRWrD3qD1KPAWlw21JNsUp5wximThdG1pkGNak
gglCgCF6nN98ulMG8aMUoADjZ+ctJv+tVS2SjXISMbxBYay2AMi3xOoB4/c2pR+g09gIBGux8Hpd
i1gYt0mjNLGRQ2DwJGppECch2O5sa9qbozVT1W3E3tWODNgYwcVoAK9gLgcQxJYRGuEmg19FPCi5
7kW89apJAsNH+TzS5ocpmMKDIoCELAZFEe918C0nGigH1PHfl49UANAAvSX+AeXqcjihVDE6NZE2
D7InRGKI900H7WLeRzYQ7/f0Ziu1m/dyeYbQGAAcBNKHQC8sCnhxY9URUC7IIRsgJeJ2Cs2RP34f
2Ff7QNdG5g9+lT52vc46uZDmnCral2/pXXEmiIc7dqjcAfODdRYYGAvYuIer9dxrs8tXTQvCLXmC
2cFvj5Mr2VOIsrGD++Fi8GDrJb92Qf5ag2TO50Xm7diqRIc1Dir4yLrEo4j//CiAX/1+O/8cgS/f
DPTyuCNoraEJ/NlSPdIB4IcpR78huqsGV3Lrf8AD/5ABd/sy0N1ZFk4/my/wx9UtyChd4gmutpGa
r56eq1+yuKmQDWgoM5BHyUbhSoPp6uVWd2nNyZmWZOmyhtGRL/IEsiIP6OLhgGr35t2sc9OGau3p
du8iLw7qYmNzVzPDv+aW89ig5e4KU8PeVkVEnc5EPRkz2ie9iDacztqT6mpdxiJKKFnetyPBcSGQ
D5ifNBwyM/8PRZ2tBS2CRCHXnaaATwaFwVkMtHFqLZgZqlU/e6h2UG4KK5DDbOziuke92sbFEcVz
rc3MBl9NOuvwYjP+LwPKFwnbTBW9rQi6ehCv7C0OIngeOyExYQ9am3fSnIQR3doo727t5Pz/r7wY
ZYR1yYCdzGRUvMrhWAB6YOlb83ZbB2P2M1dmRl50scxgBkwsTpwd+vFNlEcknLdiBrWZ20z2vvcn
K+JHCDlXm7eIAQ1NCrmXsHlKjOZe6ZGdukfcQdqK5pQnfIAr0UWP+gy2vW3lpY37bSxig9pArVgb
YDzKQI1hI/vz0X8ANNOOzpMnh1tuevNoLqICoAYaUTrs74x3Agu+m/jyLWhocCPQgL/9j3q1V7u7
7NXiiT3hcGKBnT9PG86VhPhNwMROtmt27I0fxsv333PjLixbtdLUY7ZKh0GtgWp5Vzkqffnewhrc
9vrEmAunkqVcpIWMPfxf2vvyBrBZPGMb3wogo3AC4SPQ/Og47kpP3Pde7AvH9ib25cneas6th/m/
x3fZth1JVnUKCF8Q5id/cjmU0Lg/65PSPRiltjzbfB6/BN8rawtPYwpjSYR5dxtP34MINrpJT3O/
JfGj43BRz+nRhDjrPLcqvX6/6xv+Z8m0PlpCyuc0PChAjzlYu6wmN4KxFQA3t3Phf7Ky/B//kz31
nuFX+JqzngF4lJ3U39zODW9nLnzPWPMpL+dAoVSu6ek3xnn0Eifdd+F0qMN4h+Gkbs+e5rHc1N2s
LG44H3PhfFquQZhiQrQf91GAGYo9uEbccjef3Hg7H12rY157goXniftpEmUQIMMTFA9GGO2gpOKT
i2wzZ+u1tvUVrUU2qucoAaky9rX103foE+3n6RCOGcFZI2KreLn+EYH5RiqIqulyKLFGaTimc+rb
8UNNR8h8mf1rZ1QPExB2LfUVpIVj122pNnwd5AaliSiCqF8EaAG49sWGknEQppYBlw9xnxdZNUH9
3mVuO/LUF9pJ9/Qyfmpl1JZAopQPUeVkSvJbNUYBxHoTsU0LehZWp4FzTq4mjzVADH5/Zb84C0i5
ipi6ArIfM7tf6ox5E6GeocaVb5Tnop+eEu6TGDxm6cmMB7B5baEJv7xBYA8YNFU1UUqCjPTiNnWR
RvB4zKFTqIFQSU9aR2Jj7mloEIDXNdmUsvlyf2APUisz74Kmq/qyKQthJWhEWQ24FPc6nnbZXvAM
EPruTVvy6qDemtz7Grs/21t2ZxuZWtkUt5Xf+eDDnZ2TchnPxl18q/vkLtqE3ihfriwMzjPrUABH
nfjLuK0p16mYIIb6gwRm7NbqfmakPZiTMvhFHJNAoYl1h2JwFk4ig2IQpsD8aYiYYzFddQcZc8Yx
RalwGEBTLIL5io0tdLVAqmyoxWTPapf3NZB0dw21qqAvqY5ErzuC7sqnWZGiFA5uqsGQ4gcjUoUd
i3IQQ3Kld78/p19ShsUyF36wyJpG0xSQLLbIHexekW81awy/t7FyNlUF3XsIhaDBDu2Tz3mtAexD
qpGI+WKDtja7DO1tSlWQ0r98b+dLmJQwF23pGohAUHuTl+lP2sZNJksGqIiTNlTmGj41L2JlfHxv
Zr5Kn/IAmFENGTpsIjiXQEfzeTlZQ+tWqrEcrXzgdMdN2auFI9yBzVBG/d7W2tZd21p8npqNZiKl
FvMn9VcLYgnTjEM1GZ1GSv/9g6BCIUSHICSa3VAZ+7yqIqsUg/ZJ5evxXdrdEPk/+DjXf//sUK4e
N3wkFjiK8fdT7alqIC2I7qslbPEsfY1++DizxtYs1YiTsPRLsd7TKTXwcTj4txkUAAnZ5f1Z638m
Q1iC7XDsj9OoB3OsSrbk5iT9y0wHzAPqAjds6RaUqOYjerVKvYkKzJSzyhdk8zhCl9lWwA3ipRT8
3pyR4RxRJoA6FSptYGq5AX15wKyo2im9+asZEcb+m7YraZLbZpa/iBHclyu33ntWSSNdGFoJ7gR3
8te/xMjW9GDoxnx2vIsPHoerARYKhaqszNayFY+SGmIm8GZg6iJ5DpOZGFuwmDNWLwxSxKB+QnCx
7+c0ziAFMjy11nDspujQqvJOxfiBnYAyUjbGz7ievTSfPmpDfWfN0ZOq9sepaOg+ntCoUob0HKkE
lP5E/Urz+UfSaHdZ2t6asrKn0gTJkfGrOqCQlE2AZadGqwXpZA6BPRo3ca00OcrAWeI1puMZIFWW
2yUDDFeqQ/DWG9soaz5oC4imUbePTrhGtNuqhh6Co4L3TS8a6YD+wUFyaJACqxU4XZMHRI93VpXO
4JhzKHoLsb1tQECwt2hh7QxH+qrKEO6u5uGYLU29M80C5OLgFZXk9qiiyH9bO6W6nQwl30xJ3WCA
H/StS9OAP9GS/SXv5BOUSXV3nqj+dWoKvJPSAvNQQ4PyREVvjMKJz7aSPJA537UoxhoI2W6bOKDe
xugd/hvcrKB796WlhIO1zj3Jx+O4WNuqmm4Le3ksl/bQESl0xuk76Owz1xybO8DbP5R58STnMvFG
CCUAu7NLOhAuk0Invm51sWuMjb2hjSWhUwSGsCYtgooYt3HchpMU7ePUgig96W8bzcCAREMhzyin
WwlTga406jGkK4pNrCUny6bfWssKFI18mpQ0nFXzqWn6OIQcb6h1nbGJHcVDxy60MlJ+NgmoWGcT
0hczmmGYwXjKJF3xUlBK45diwEcjhuKicSuaO12LbZYD4jocVAPjn1zEmVBda4Y8pyEtpJ/oqn2y
5u7UOmYoZ8YkiKMr1xwA/5BqQ9AGkTePtZqjpdOtVKehKmNIBkzQei2J3oesssXdCxAENnH+0cZG
5sBVvuqqW8A8sSAFs+LPHTVOUgP9i4GAmB3dPjuavmSDuskMJxgt9VszznurApraGgWF05VrEL/D
caAxZTg2LqrXMUgeFUzlLgoN9fRnUT9ScmyTx//5WnplggvmCsoaTpnAhOpkv3QK0vxsKM5TrDH+
X2lz3djqekwTYmbo1wMFyN23TmwZPelUpChk2BjFfJdrTZjF0afrZthV+ubzXZjhrtqM2rEVUY2G
xNym5F6LwDRtFhCUYeSu31Khiiz72dfscU+YyKZEHTrYY6Rv7T1YGvH6Be9+UACAUe3Azl7h4Tt+
iyKhst/KyYN/oOOFVpMqo/fz2kO0Jlb7dEbSl7ftTTZWlUuWxYI4E0IJoZ0hOHyrH/DFHF9ZL6A4
1uQJ3gqt+thDk8DEKLEpKjyvrMkEGZgNlWYVcEq+naWXkZYmddyEbSIfMyuBVApKM3SGZo6shNdd
ZWVBr2xxrmKxlGxMYEuny2nKF/D90zCCoMl1M6IlcZ8piknUN6kEAnTzXpkQoKOfAIy4ca2LGMVW
QpeJt5wMajgLk9HPk6EXaUuvgxpOJbCk3gHAsMXFc2pTN/2qeFogb/uDKiior63s0h63gYuDAGJU
sBc7D1kClnfofdj1No/ur+/gWjqIhSFo4AGCBi8f94lCcG+pMJTusjMr84A7OPy7zCOCb65cMq+M
sb9f7GIK8ZRKx5UZzrXjEShkjJlI3Ppt/RWUnniMYrQOzLUOvthrG3iYYKJutrAgZArIm5Zfch45
gW4O6a2jtSDbNqyzkWmpp3bEvlPmCQJ0TTbuln46VbGC7Kq1tIM+ZbcN1c9abE4HRapBb9nFZnrM
TAlabxAB2eTQEzjRBDpbWTUrBxrpkO5LDUHQXXMEEy0+Nhluvn1LWeBjbUDH1oQVJoiKKugayWOJ
FXVEXKVvP46B9zzGER2IOwKcwc70xccpHEiytSZ0XPJ42FgzhHDlJ4GzvT1FzARa6pBUB3013521
AVSMy3KA2AbYrEPVI572TULvK6eYRSt8ce/rLdMS+GsM8Mswb5AxhMctyhq0vOnxbMMdInvdY7+x
d9lxPA6nciOq167u34Up9iUv9q9JwQGtpcUYqjF9LHBYM0UTbSBLG15fia+Xw930tpYR3TaxnBmN
g2FX+tAnrFHSlzbTafymff433+tiSVwUKhPHrKMGS+p8EHSrgbLFaAoQVMEQmGF9UkEHKjD59uJ4
vUAuokuoFfalBIuLWW3VxNqZkvLQmvPu+sreAuhf+wVfLdMWsy5HtjJ9U51T6G/sIBcXVF+6h/6r
8pig/BSiy+iRj0XhRUhzfFSk5Md83x9EMfFtlvNqxTydUx+TFhBI/BJGGgcNmpJMrpwCJ4jZnwL0
Y9cXvlImfG2OediFlxbEbixNgweVR0aNWfp0w0D7SAJ2I4YTdcE99hbfwm00l/NnUgE2cenZYwcf
DFkH4ObHn6DJAtcANhYlu9LNP4i6F6tuhOoCCK1R6X1T5JjKvp/MvhpDw/og00PanqXkQbCTbyMz
dvLFBu9CdUK1mCblGEKbT/XqW/qFogIADsU+bD4CVwmMybY5mZYrCjRrHmOhXOg4qoHZcf75Ulkt
mPBVaI805Z2mf5Hbn7H60EaJp1eLwF3W1ggYjYMmAuTC3yCuOjWNRmg1jLhMwe6/3BcA8JamFcy5
tbm+nWtfzDIwIc3IuVTcd6/9UlWjPqqoDb9MI5RLdird4pXr/TcjnPPrEWaDO2ZkUX7qow0Qauv2
1fa6kdU9A9M8BFtwkQJD/nolioEuSoMJutBsvkWNtrENAgWiA1BR7nVDK7kbI2f7Y0njGlm5MpCq
oc4YArXrS67pgQSLXafOpgxq8bDBatC8tMd/I5IMep5BK0vfLD7x9H1/ToLiVG+Z1w97/XYMIdfg
mhB3J0fMPPjtQTxwyraPvwIvfwT3DWuiLdAmwo8AwPy5d4eNBjpBiIVYPWUXm8sFLlRgJcPoYCfd
mVguhCG84cC4Z22/DxkfhRlmPrhFRZwbz3Hj2gJZnnERoWsNQ1WmDv9Jd1rIOvb5MyRJDPdYdVSU
sk0wRFtv1eubEUwqTodmm2rHd0aBeFw7xAW2HCoX1z11xZKN14xhoB0gM7Da6yUldqwncWQiT9Hj
zy3GKlBRBJ4lha41lT5et6WJjLG/X+xfinZSQyqnD62HOUCJIpQCcO6jebTvtjEueSnQ/eKU4XtW
G8cDNjzMg3ELJn6/3M9b+76+IwE4ZA4MIHEnfLKuxDlshQP4s+Wwvee2wurmZWhl/DpTearBNh6H
efTr+g68ndNBg/PSBrcDPUR5DMhc9SEbCiIgIyAh2DfBpQLxGsyDN67yYfwknAZkB4LzWxs9Z+TY
FnjZ3lT3lrkerMgoB6Ta1ndMJHraFvO9EoZsp0CF3r34iK5k3JD0UNDSwtvIftORAescmD6BPEP8
k71kO9Rgl0D8S55pvjVv2pA9jQQgZJFNLvxkFSGNTGETQ1/hLIc1Rliuf741D7lcFRd4Os2oy2mo
htDRAkV2/C5GqNUz0eWxdkwuzXBhhvQ9Bm+B7A7r3JMoVHYxSaoH8V7/kRMPFS5IzLQ7FsRjX5TA
rL3KXn047hBoUZU0NmgDQgqOgqNzYPdHnfvOJt9CWsX/b/vJnQY7m7Wq6rFQQm80yCvGEGlr8/+V
TwJH7nI32W1yEXSqLqqWqsOKZq10F/QqYn0RJC//sGu6jfK5Am0kHtJRpoaWTwMdgCgod9pxOfzG
kiknMfYIafLb0wzUvw2SMI2B7nlaOuhrLUpZK12YTUmYmcs5k+2D3YA8epy3bWSHpSF/tjKKWiya
MScU7n1VkbdVqv+InOiQZ+o5j+1yG0c2BvUw7ONn0QJJvwQaSLH0kCqO7fYQwMLdhO6MJH9jKl1k
KvdKSQ/GBIWuSOkAC4gaiN8ld1ENecMqsT0UZ3Zobt2lyuwnelv70jDmUEc2MdJSQAe0kZZPspEG
iW3tCdSVoec0bQvomwGHnf5qWzv3k7E6SBhScFvbfByMiUKgvdoYZuJp7UdHSTzDwr8bLPkMpG66
X6zOzztrpyz9HDjVdygi+iMUQqHBfg/wPrSbCr9qodY76QdHpYHRxvvSqkvPMPvtKJWfakW6nygF
vK8AnZLS+hY673ksbUEsnUfIczUdwpGtY7mWTr+O3RPGyA5zBplRdfhUlI6LYo0rwzitKWbbaLzL
8+IkAzVR6ZDtA1BHcaRzFpPT3C6hnEo7ezBSN14gg6z15l1My28TBt509a61ypNdQ8BZ+WVDrACa
3ihh6f3B1B7HQk0gpjlqOw3qq1L9NNPy8yA/OikK77bZ2Z/KEVJplT5Hfm+2W82k5WNl5ADat5C5
raqdUuOmtakUpOVwI5NeO8YtqMrQcNPSLuwMDFzVUgER3fGsWb3mNQo9gRJO9tJWOUMDz7NbbQmH
lpJ7WVGnfZtBaG8ox0MKoTzIcqturI3dSYMq57BM53FWz1mBPicxHN2DHG9gTKb9s2vk5bYpE/0c
xyUGBGv9S1EZBaS55yVAbTA/KnEnAycg/VJBcjV5Ux6p+9ia6rCl413SNnmoGpF9xnj7UVFTV4qz
UFOrGT3jCtDp9ji1wGzb0FCNZ+JrlQp+qhRkWZjwkhCykx40E3V3jHUoP9Z1WfsyBMehzVltoMbb
uoXuoGqYPkW2/NFUu820yKw4+anJpi9jPxY+VPT8ToHunt4q3ysNVA7gjfVaUt90OqoRPcq17qRb
93FPHg0CfWmjRnlGQ/UAcK/TTIpzJUFWrG063Uez/Tyha+F2RFHdhfYd5BtTNcgtJwnqUTsaGd0U
/RBDVAWSy0QOZALgkKbtINnuZVP7Nc7HDnOX6aEeCab25lTaTgW2up43hZkNW2VJoQFOQAIfQYdR
Tc+GQvpNK1XfwES8UyHYmEcLdUfL3puSdrBLaBqW8z6bO8sFtmiTIQN1FwniFVqyU0pCtuiHWq6D
MtMwQ6dxHEovKWxyV3fRfDBNqdjrioYfXUqQTDam3JfRIPTyUfaVVH4onGJnTtUR85mGSyTojILp
/UOuVI4LkuzlBB34aU8MKJPnMo5Hk0Dtux4z5UjqCdWJuCVnomN+dXbQr0aIatTKDlTwh7hpG+8a
234wyrL3rMx8anvU5escg0+THJUbCyV7rzTTz4udpJ49lSbQFZgbQsHlXqvGT40Tn3Rl+D4b0pMW
SYYvj1q1n2jZAgER7aV0CLKa7BvD+LIkUgGskwQ16cF8kIoOoKCqhZpvQ3dJNYLFawHFf1ewfyhQ
ReySqdzowPm7kwZVzKwuU3dwMhXxjClOU+OxlysmFPup65yvcxR/yA19RvGF4q5CEz2zp4DqdIe8
9KDMduY6oNIElgoiYBC/QKdbye8XedhRACGmtsXzUuqgWtxV5m5uU3TEYiRbDSBmmPJ0DQ0c2kgP
z4ui7OR2+ppPOrTKjW7TEei0U9wcFcaNFLDKLUhwcm1TU+uzCU3zUpo+d0txN9gT8Aaa+RGwq6Ns
ayelKTaSJj+VXRRCmvDXEj1levsNs2a/Brizr6gtFDnp/ESYeK497kllQwRUam4H2WLMIFu0Ak5j
osHtHiiEC3Wn8OUlPSS2Hpo6CiezTd3YjL6NTXxIx2lna/I+whykTG4oaKtNaBxKxYDXSo1gRI6y
3nhWkUEkm1RzUNnDzlT6sxW3nyWAamStCaLsq22kHq3MgEBmemkwRUpLT7KgRdgcWtwvI6kxUVof
ZpLt8FzwmjFzyyT2VacJkkiDuguI/yIV+rVSFtEbCB95Rg6NTGlAWTL6XMvWd6vEPWJae8zSYgBZ
Wm7zku66QffkFjJcEJIMxqoFg1C/4JEh+SNNtxFGn0Edkf2EUs8xq290E7iNBhq0UGDtzgONv0Ln
8uws2CNL2ioVhKJQ+Uw0QIwhClvVt3OhnjAmCnZVy7do6oNCaNup7U4GlfU4gX27lcM8AUGGeS7j
wScD/s+WsbUnrdkt0qLtFCvdKAUEB5jKXIyQDElbOfumqWCVAUvJNNwolbyxIe3oNk2yJZEWgPHQ
i+JvVXI7Q/sm6Nv4vqiaE9Wyc5FNOPDpB3yhcKCQoo1rHx4cElyAC4q5Feag0hPYLFwNU8oU7dVM
cmNMXGtTfg8Vpr1Do21Eo3PiTFu7C0kre6r0Y7Ay38yQnBblTi7q1JuqHgAFcMSTPlAGIyBWG9hK
eaqN/imWNbeeTziUHphgZ3+QmsFNSnKqpB+6/MNI7wBUCpsMsz4T3eDHTlDPoyg6D5bj2sqNgXZl
0dKHZdZOcldBAjRPAwRmTzfP47ifFn0PlY0P9Ry7rQMq6+VDBe1Lp4FwSld4bfvDjjqUss5aJp+K
EqfeUSBhnriy1H9RrEOKG1RLM09T+g85RuIS5wtBwDfB8JyoEA8CET2IPJEP7Zqy+CTVkz/hgE6j
8X1ZAI7AaW5zBcwG86Bj5zo7IAbtb0eSPmUj/YRE7xSPjuVr2fwjVWfUIiE0h6aBa8favrSn7UTi
gKpg37Bl7YNT6pHXpdXHros8x6kmDxKf4waqMLiSwaA71k+1DucFO8hnZCgZCEeNhyG1/aHLbirF
+pItlLqVFPmAZ0Ebs+1CTFD6qabnPvLOcVd0ZPIHQ7+p49TcEQtAUT3VA3R0TVAv9ocxncJWGzeE
Gl/QAAB4f86sMLY0TEdU2c2g2Cj0x4qyWcYC7IiZqYd206u+1iXaOZ0ggKBhIBZkncqtPliQ5oCm
lt/12kfIrUt4rzVAuo4QZqdao7utghHxSbU+lU6FqQsrwWkSEdSsPxf/vAp4NHsuL4q11O0Qggzi
CIIBr8JFLBvDz+uvqLekwc8vnBc7XPFvRFJdGzpeHwPUKRskB8+DOst+9pv79iEJgbYSvhPXSgqg
tfr7xeNwj227LpKmghBwSMDkCFUkvPKDyNdOC3oy6exBAkPwVlxrj+Ad92KRe3yrFFSK+dAMKHFq
YRkCI+gYfkIytwl+14nAjeIhARG9xkVfkXuNo4exZDPob59LGdMReilJwCpXDXj7+kcKoS9cs2IW
WraBfM3mcrncQ3w0FbNtFZhtn+ljkFhvna+sJAbX74UzJWwR16xxL3HQhymJEsNVMygt42EX2ffX
nVRkgH+FL0Yy9xh5CrMkcaX61la+XjcgeoM7XEe0amsMpjbYsAk9Qr09dkzdHhe7WoGdpL3vY4Td
fHST8YlIZfAfjXOdhVlGZ14mMD7kIO5mpeH5B6uu0fAdJ4Gt5J8/1puZba1Gd6GEHEXIhFnYhHib
bUgI5g/WD23QrXd2mjuFmjtuheeexZJrtrlYQ+tkwpMWp7CFJEwBeh2l2LGFlijUTqJpY0Fkg14Y
fs1F7WZUkiWbSrglqNu23U3ohAm4AaG66+y/dic7FsY10dZyQSbCMwkAM1SkOieHDrfq6RpAWYhv
oERcIHsr5a3Ida5HUqjcvF5jX/U16CXxNRsU3J6BF8OZhAAlbzTwgp7F82PXjyKQRa8NOnSgs6rC
IOD0Lm0Lb6Kh4DiI1sSFk7E2KjK2MKEBQL3D/d14ytYG3wnGRzWvBh2PsJYouB+AD3y9LMmJ0giw
6r9vJGu4uJEgYP2OcyhaJRdxWjBE4NmJVcbn4aiFGAHGuHjv20jBn4uzooEK4XHgokxWxoqsslLm
M11mAZqNPL9jE+oLxlZnDRRX49YpRR+T+cObIw+GbN0yDdRBeG4Pc1FmsD2yNCZs8ILfOsUpRXHv
N9LTj/CRoSUDSSPhpbTWRcWE1otlzo1iJQEseYblFDy9eISRMENXSPFmTCBDD1t007P/3bWFch6U
JciAZQvm2gBfs3cVY+fUkOI9ScZOYXS2gRJoKNHpgMYRoSLH6rG8WCznTabcNhll2zzHimcqjFfK
u34sn+EH1xbI+c8iwWXxAGWpzMSSNi/PPGv6WOUf5/x2zly0GHzG/q1NwPd7o/w9o/tJDSO8dgU/
RbBYvj9OWh3Ykwy/JJVQrl10FwXhm+urFbjt85Dcxd1RLNOogokTzRoldvP519xhkL2cN9etvKU1
Ycn3y2fTuCsqWkoUqRKsRN+Ut853FR1N5awnG0ndoiQTYIQlID8xknEA+5YPVi48+k/yvfVZPQj7
4qJNZfHqYsXoC0y5VXRDaCbd/aKBNUtL3Z5+sEGhSyCko49otODZaPoFEqGlrT73dfR1jKgg1xPt
PPudF78DI7Rj5KjwZMX4Bt14N0OSbg4iZLbCjuMVb+Zb15m1VC0mcXBgNj0O7Hi/3LCniOmRFJFY
fVxA75jO23cE/pUOjG1AOIBNZDxjWl8vUAcMzkz7ARFxlB8L5Hh9ccpt9aaPtNMgWQcjsfdGv6BS
JojFKwiLV4a5nV16qTIiDYYrGwK/OUr4SuIuVaBaX2byNR+TQ4MS9HUPX42KF4vl0gXFMpesQSE6
nAd5V1bGvmu+yWm20aH3fd3S+hUOgBFGjh0TnTQuPlllt6QopP1+yIKa55Bt5J10IlvZTfzcQ1VY
YHB1bS8GeaBYqnUA3BXYT6itQ7o+fxge0ZQH9qALSpZNG14N+oBBOBGsrrnuhV0ui25AXjjZNRaK
x13lYqINgTf9Cn4WrzmJ2R9W44LjAEeOKRRgnLi4kEDHzpgGxAUr6tDisw8Zbe4FO7lyGE0ML1hA
dkM15c1Qe65JczxobR+OexVym9QzWq/ApJLbfGKUnNVtg2IPkAblBkyhAttr8QYNUXAdgxjTtnnp
yLi0UAZPlx5pkezpH7MvE+aXg+Q5VcB4c4eOhCve1dX4ozBdRUydYmb3DS4OXZehJEb//Dhpwf5g
fSpOGN49tz6jEdE/oe4yQ2NPdHeuOe2lXeZcF+G104eSggOiD6GlcaJTfz9EwBqrDbqN0pyKoGyr
m/sCEOIxc12edl0KrfRwjFu8u3rn89A0KWAIyqPgM64diksoEoeZK2bVWTJQD+Awmvtxg710sx3d
Nd7siiHhqsgadwTB4EmSxoQ1GUc/2zsBOmDgfLI+SZaLrOikhuMjk9Szt/Wp3Cc+SuM/BAteu0Yu
F8x9yLkCIWlm4ScwpHMF8pDsKG30bSn0mDWoL2BHLygvLgLkCUYlbIqPaNxMoNMakW9B88K8Yfx8
JIhBr5H4InqNtahzaZP9/cJNZ7MzIN8EmyZ6pH0fTCgKX9/AtYMAqO2fuMZZMFJbLcsIcU0izUmP
ttN84zTEHWWhYMias1xa4u5AY1SJ3Bm4J9AaALQRUDX7MfkAnQL2uagrlA0R2WMrv9i70SgxZBbh
fkjmZ24p4hfeeDvtp6DzIPIdXN/HVfe4XB738DEqVJCzGFc8Y+RjZR3tUKtQ5omBGH0E8dqZ7NXp
KFzlarHl4vtxLx4JI2L5XMNs59OPwxMt3BnvEissYk+DAgXmnXq/qm+UgBWxhfXktUoWFBkUw2F0
CCbPuDA0Ugmw38QS92E3w1IG/OhvzCE1T6LTsBZGL61xZ31Ej650WliLoTmFZtExLvKHYhCyoq3F
lEs73EkfJzD10nFGcQcVszJMfXSXNu+i6BPtH3f6oLnrVIu+4PRty914jvf2kfFnAfMkLgSwX82n
+per4s6fMpe2rdZYFQFnLKjNh5s0TBVP95nCRZJ+fsd4ksgkdwTrGnTMaYcPxkZcddSSErB+QO2u
PDPmo9ifRWnMWry8XCN3CEFibWlji/1casV1otirJaHPr70fLm1wJw4QD0XtVCyKdYoiE6yKO6IB
vDSHMtp9MwHXKLrygRZM2Q8ZgHFr3lnxwztyJ9Hucpm+UphjKTf4IVMYbdKnYj8cjCDbDB7dQesb
pAobQYhbi6gXK+d7cfIUVTnITvE2Pk0A5GtbkDdgnBJY8YMkriQJvqXDJRdAFOEYVlgeK1wN0BnV
3ehWvq2+R0cITwNJWY+PorRwtQFyuUQuxCxJN0m5gyW+ASGKD6TAkfjZ1KnFiE1t4kJkVHrVL4Zl
lqqtdC4hrKJC0dPaSbdgXvuhus1GeF2JviUXeQaI0lcJ4Ah4PcVbswLwP/IjjNoxYtAcUVx0PQqc
1eGiT26OhjoPsNe1gSShCFqj+wjit96tuucrWdz+EzkQF33sxdRzmiMBiPvJo6BMUSYB04LIAhdu
rFatIG0Mb3EiXYXyOLTc5KSP//fpbANj7X9uWb4r15WZVUhAn4SYX8A8e/TR6lDGZSNmzYI4k/lk
L4xygpvJ4YLLWJfKBDpqfC8w3O+zAwYLGIbZ2qBuLO5Lr2WhLyt8040zl7xXht9v+RlMmWiDN80u
Ggov22ASxs8D1Byl1AKS9leBSoIwsq1lUZf2uVhj5h2ofiTsMNMht0JQFblA86YhUznRvCVz92CV
MjKf2m45bd9xOV/3pDdNukpJSOPo+AEM68+mj8bxJA+fHZASSpCGjSOQiAAHIojoq4XXy3WzU3uR
I6tlbjoDhdk20Pf23RhAIBbsmcRvdtW+8pygPCz7CS6Xo2PQufoNEwKRNpgo+fYfPe5tD29RwUE1
4zCxZr0TpiDJ2zAfTyH+W8ZbwV22Ho80sJhgjJLxRb1eOakbOtIJ1nKQMCfJdkHx4YTq47HejyDT
BiOtWKpt/SP/sclL/I1Dk7ZLhDOllaM7z59oQV3BstZT5BcTvCOrpUQyCctijozuhFvcyXieohUK
jJkrQ54NQntQDxeYFeymwV2bpDKayMqwsgZU06z/Oho+U4ScQ4QnKIUKp9FX21oA7//9/XiynbQq
NKkq5b8XSrz8hvGmzJiWy25E50S0q+zDXhyTEsxKPZgUUeIEW2mRgl/uQ4XppuubuB6DXlbE3ZC1
Lpnq2ChIPSYjsG0Lw0X64KpldEb9aG+pw51MRQq+7IJ6+yZ4scldkZROSzkC2RtK7XwsLQuY7yel
+K7bo9dlP6+vb7UyffnJuNuyxVCE1skwxnxTh5MszUZCiZG9P6ZsAyUc77pF0XnjMvVxkq28HPDZ
HGcjA+ZeaSJSidVZtMs1cWFEdSZwkrGU+PeMlmUsXh6yIUpGK53c5tsKEzm4TZLwX6aqoKYENb6i
gtTqtVNOphbXVMN2MlyHXkOAsca4ua+HRZjPe2ECt54QvJjjNjOKVbWomavoKqjpSgSTfnCz6G5u
nroWdenJa9CCrPPUVwshM/F6fHkxzm3zkMhNXrFoDSzEhGeXhBknEOcDC4Fp3VCK34OFWD/0f2w+
yzdeHHrFnElTgOkqpOVH88OMezk55CESkls9/sh4kefdO4b+BCvlp9+Ndpag78yiwJ5F0tcIDOBZ
/20N52WdXOzWdDvK24adEtQgtGOyn28L8CAPG/Hc1T9E7RdbbPUXe6qOWt7aCmzpm2QbJ/sUNTn5
4VmqG4x6fjME1yPAKtrDhAzpX4fkeeb7wqBeREuSZjDI3sjQyoKGFEAeZwDwvSWIHbysoBSlCbrm
wmVyoTzp036ukNGiLm6EC329zHKjpKJlinyVi+N9NaU6mbBM9lbuDd/+YG8Uv8/P03Y595CBJc7t
vB1SX7C9Im/lYtCSLkaR97DLEKyLPzU3DNUZH9kXLYqbLBTdxP9wibx8UC4MyW2clehg/W0xRTL6
x2Jrbd6BiRIEPr55E8exA/0jxAEVt9b+9zRnS5+nOd+xvvWX0J/18aAO1B9q0yxhrYfSOlCyy02P
Yh2mDJB17KY79hx538YKXIiHelCboMdAYBj0d78fIYnlKm6FHNyE0Nre2UQH8ctPZJULPqm+VKrN
HHdES1Oy9hLGOxQqi/x0PRN42VUu7lRF74DgDvfH1AQ96GB2BqD4IUFht8DQW7YHPucdixNZZX+/
CD52Nua6nKr4lstpwJtdIiLOyfX87WVdbHsvLCREUuKywPaZhLglBiMU6Ea26XEgaDNWxv314y5a
DxdlRlA8V7RjUaY5VaPhjakoYxNFTo0LKFKvaoPNIie7jMYz4P7ecv7rOhJX4AThS+OCCcQcTHXu
4POYQUdzzS8C3Q4Y7KVH91kF682/rXS8fDEukwHVaWYnrOLf+NEGg2zyF3U/npN95mHaXndBuAew
U6tvRb0T0c7qXGe40SJl7Njjk129r+6kAewq77h62dF9+7b4s1JeDK83Uqg4S/AWlp8qZkCR7I96
8HuFKXjodte98x9qty8GuVhSLPrQDgZW+KZ2KxavEFwKOhdQlkihkHT4/7HFhZFWprnWYkAxbDEY
z3wFREVI0Mz31KEEJ0LnAgpqQZi4w/RiWAVLWBahFYJcZNcFVRFiBhh+IsQriXaSCyo1e8jrw9pO
/ufzrnPRZZqnqQP+5beHsJ10lfPxqHjjzTtKeqKFccHFlFJ9siN8tv/dHQWBmS9mmbHRpja7BmLM
x9kWRBr12+uHS2CBL11ZQ94YpMTOTVKDKddPjSKH1y2sEQOhyv3n+BpsPy/uMrmU5W6hMPG7Bpvf
JJvnPsjNf33K8tWqRInMEhqP/+bLiIISX6dqNXtqR/Zp/ncvED12DC5QgAmcKgbo359tdX2gbux9
u4lS3/Yxy4uB7/070mNBmH8WXL74bDFY3NAvh1HpoO8nzV8OC3iLIbWo+hIB5kdYJxaEKIMLGE2U
KkrHKn//empOcJINLmxUmEmPuvhffUNBQmdwQaO0lbZbKkTDLHsYo62p38mTHBbLuSlbQfNK6Jpc
KpIjF0nlmX25P+CD3q/d9xCurNtimriQHWcUqdy9Ug/gVRsTHLk3RQaxg6x65IUtzkGmoV1mNULa
jfGtsAigTZTesfGqel97uacRQWgUro1zDwtS64ktYW1olf1N9/PXA/Ed523VGS9Wx3lIBmWjPIJS
zL/YSbZRbzK4C1Ocg/S1nplJpiEiG4pP5WwLJcIxlXyZ9r4g+Au+GQ8toIUhpy1Q2ZiZD7rjcAM9
rmlPAU2p/KWHbpVoBm/13fmyNB5cUJkVKceC7aL0xY7Dtgxr/fN/XBOXj5YKHjPWiDWxhpYeJKBm
G8EhSICmj30Rs+x6fn+xIi4jnWwjgmgsvD76aW5kcNnisWn7rDxq/RT31tfrMBfmuLumM2PF6Qz2
wZ5nl1/XKd81KSZyES6EqITYVk3wyeSNubGlwPSWbXkodkhNO2yoKDEVOL/DRZG26kESPWE/lxls
2amntx9SEpKhETxbVjOri43kosfoNGkOYTUAy5290TZuOz5d90ORq3MBo7LbJNEpDDjad1JRl2Zy
YFHdvW5FFAV5wACB2IvS2DDzcpv8BWX7l6+vP3tm84LLUF+tzLbW/18iLhh3XyemSUOStLVwT765
u8QrW01uLlbGxYw+lkdZl/46VhgBUC8Kqs74joIq+/r/HOPBUfF6cXFhJwlILcGTZzke6DTabPAi
51iAFMp8WKJGkHRcd0abH9SVopSCuxjmYisEwtIrp8DpW0/gi6sAzotd5EIFKWfMqzmwwnwxOSwH
+6jto8M7GhrXb2Nb5qJEJS9gpUrgif8ivb8eAG1+ODchjgUGNPgGu0/QAdO2DtgnnTnQQ6bwbYpG
HddfZBfbyEUOzGmP1M6xuFnZDwX465aHGrJ2NL4pAM2RIvVskcyrRdiM1Rz4wiyXdlTdZEsW5vPD
/6PtSpbjRpLsF8EMW2xXAAlkJneKm3SBSZQIILDvy9fPA2e6mAIxiSrVTB+6D7SWpwc8PHx9D5Mr
TlzUIxrFzZWWZy9ZGxaYt+zyDYM57+vRgPr9EhQJ9iYyipONZGh3NVBi08LqdeC/A43qvG1uXIB3
N3qSLqlGkBRTBtMcugte/iLNkwyfz4vYCAX4+99PZIQm6H9aAzLK8TBPgxuXqL3ZnX4wjuNhu2ex
pdLCheRpVQ2FCXFt9ZhU0OqY8KfzKm2JWEQbbWYyk2ezJY5fB+OqTB4xv7jxZTZCGv4+4X9ybHgX
e41nsIKxc+aF+9ruSnTya6fLPABYofe6FYWef/v5+3TBiURFzzU5zsaQYPkyB7y6Um5Y9qZSi/Bi
0pJwhsr7V53zDaf4zjp+olbf5SxkCQ7yDx7MDaeoLZwFCXGGGYWzmJ0i/z5DvNRf/xviRcjt3HJD
teVQwGioPOQ1xP0JtOt6QefDEy6HASK/ozhMfDwJDFCs52pWll3NPfPhbu6w/q1+54ZNvu98nXw8
yuMaOI+IdvrmMo3eyjD5l/dMX/gLLGsZWTlnsH9awNlSaeE9ykoNe5NDYKbcddNVBfS/8+5pS8Ai
3ugFicpitooq+g5IOKsI6g0JWz79nRfo5LMERaKHvsCdQui0Z/vgWAK5ae5C0/37JgXjznmdNgJ6
vuSESpqkN8Wc/f8/lDW4vog1siAxeSshbZ5gqEAX4vEMwPA6cjuf/uF488nNWriNgE8smebi/Kds
ZdtnzPZ8JsRetvQB9TgJsBLNPZXR1lxqd80z0FIv0wPYNIPnvzHSs2GPy15+ZWIirZztUbmgXmba
mTNDUDfAvLQzCyyYgFTeKstuBG1LCAelB7hj0uIpM9Rfk0gB7RhYORBEU8BVxvFuwza3FFy4kHCc
0lDOTqpy212YYnMi2jFpd3a3I1iQDrF87m32F7e+4/yjTq7g2Mix00KYaPY6hwfJa4yubWenuhPY
+t9Yr926gUtwhqxLmNrn+IyfkotNI9060EUe04EihWazjQb1Lz0Cder4Lx3Yp85+h6lkNsc67w7M
PyQYv2isQF7OA4sSOw3OeRvZSGyXvf0xBMHFOOJrER0EJeIuKRpb8IvER5hluoDxOC9uI0I1Fg6l
ynsFaMBQT+suuv42l5fD5J0XsRXLLVv4ylBM6ThXcv704dyywGUPX6ESiyAVJP5zN7lhgab+++0K
J1Mj4axcUAKuGSOdNN6K8Fe/kakyEDSDh/wTvoIeJ6kBSvsZ2wX3NQLCokoPSRhvmMKqJh9ilrXs
vKVJzgsCU4jCndm96L7yR5fpRMSiJGUkI2+IDxH+VKvWUCjAdRLsW03Eweexuu9r0juTpPeRGDU3
Kvkj67A+E4+bZ7ql7OKztXgICalxpoT9SPlT2m9wq6zHwCeqLlx94SvRWM4CZr9hBjZ5Hi7gdgkA
MYDNaenA3D5sdYhXH7MTmbPSJ54+HVWFpSlkxmq+Y4MyWCwvqG1OIVC3AaZvZtMWjMqGbS7342SU
tz2obDo3xWg1qytMpQHRPNxyw7Mf/xSLnGi28PNRNWjgG5/F6MF9MrJ9xcbMSbqi2E0k/HneYW0d
4/z3k2PUDEYrkFnivrW9Wyidw83UGc3btqgdNVCc89Le08qlbkyl6HIQQOIDRGUhDgvOcd/jq41o
EADS8UFRnBnntDBQKpuXQ+rxmloolmGWexM6b+0enApf3AMpp67o5ucGxVOdX8m+27rza+HHqYTl
RZiwsPRejTOKmeAdAU91V+pvbHxrarizUB6H6i2fDqr5xLvSjrB5cP6A10z09AcsbkXtFyFTMKsD
DobjaLbgAPmV/QkFJD8VMv+I32wmF7rZQQgz74tDC/Y+AP+P2DorD9iI2V6EXQsTTuUtLgTo3qdm
zOBJcff2Vf6U+eC8KS1dBYGTeqfrzcYhbtnJ4k60k4zaJIY8UoA8rK4d3di64+81j3MXYZFLhWiN
yKaeX4egsf2+um4kMJr5TMDsZ5pFuBlYjFfezOJt50k9eaLsAcdNB2z9xJPdZ9or+PmanWDyWUl8
MKSgMmbRFCuI501qNa09Pf5F2NRok5LIAJ/7P5X6/yZ9ASuKp2wGuVvSli+zUSphU8zdldlDBBfR
kTrDscdINWaatmmANi7sssesVaY/1LNuPbObeaMSEHpO6ACV1HR1tzr+jenStfLUyXGKhRcCNwjr
wg5fXj1G+7pH9bKzQ5SKdoUXP7OttZxVLMRTcQuXFA4aF+YsrnIAJ13ehDMvgX6bxqlTjWDoCz00
sDLM55eO7io8vWyCB7XndsYvZgCIrRnX1bul6ahOYcQES1GLu0W7cEzVQKDuyH7mMYAtdNPbsNd1
EdSg1OSqEMs5FtWvKbB08X6Wxf9U5NIBFTnFHm/m0XwW7bfr66tROPT5S+jCR+UY0pHlOAv9P+KT
OhW2OMS0NZUUBIVoUBQAOjMiywQSoNhEt1211BOdFj5KZVE90Ajf6lNuu1llXw8MTmQtnEyRqwDI
aRkCyG7cT0kCfche9uxeZzd+J+2JKN+FUh78bARhU7MHTJoTNBOaGdUBU5yWmsU2WBFsPOob7dD5
MD956o9ftnRItGV5jt4yDlt+mwpqhcyrtdJKK9B6sN15210L/U4+7NIdldLEJLEGWVzzkhi7D1y9
aUPFmVSywRa2GiicaLXwQhNIrHykI/i2tAYPenQdqJiv19St1GDDhpYAGjg9MvXzd/0/q1Cent/s
Gk4iEzr1gHZQ/1Ta6uNxcoaLOKj0w3GUJe58PGJdRd1hdy0+wp1XQH9WnSj5GyHsljEu3IzfhhWI
miGSiJsyKY6JcWj01J30JzN/OW+LWxaycDJVmrZVE8wW0ridOjmiiHay3MLN2LKPhY9JWaJVYj7D
/xf7WHiZsco7AK1D2h90vc5ppqn4z++2GKRViaHDP/OeW7Lmv5/YfTFkk2gk/yNPvTa48Z87Nuu1
8BzA9yK6kNDrP+Hg3x7cOHe/ZkmL0GXQ4hBjvZD0x/NrW+e48B9qHI4VsIVW7GMz0D0XpczKLZxH
PkV1VhBcrzg8pAEgqkPdOX+Bz8Yks4iFs+iE3lQ1wEP+5P3eOrmFt5BxqpZ+N3uLf8wMuanXwmcE
ZAhy+u6Z/rGsc05wPsKFw1DVyoyNCg5DG1yh/mTasSw2/OxqyfjkQi0nW8qxT4dQ/cvM/4BiZvVj
6YZucFMHseayZ20GcaNHrQKnCxxEzQEaQmkVFw2GlCpv3AJBeG9C/hZAgU2dUUTjVEVG+ukM/TRE
NSjUqJuU7HtTjOkXUSvFQaDCaxMDjHpkuqVlsQuG9trQgFAcVNcK8jJH9NP3cuRv2ZCMNs192ygU
Ww3Dm1gBvVcxJdfhCOcz+d/Tod6zLLhrAeFvJ5xeTWqxP3+bZqP6pAVQjzhAnkD2yxYGblBw8hUd
tGDGTvMnZ4ofBlDaMf9LzCJHy3+cF/fZKuZTYwb46IUwCFtueSWEVTwYDOoOpngoQCvVafFP8Jgd
1SZ4Bqsoakua+uYP8tYI8tuU8qtWAaaL5t+d/yGfbgB+B1q95vuPECgF/v60IPOvTT00KeavQXGn
d/51luavbWJssBp/imxmOQYxKCG6jjxqcdNGQQBzgmK/W6vcCekVmB1tEQRW5v8Egel5nT4XGX4X
xhZvc8H9Kcl0CAOv6oPhgOvBTqzoduYa/oM59oWw+TaePM51ZxKdpRDGs+Ax462ddu01T/UNA/1c
hV/IWTzMqpGOZpxDzrwaDiSFCzCO7oFC9l14jR05/v3WaNT6J+OYtjUFBdz24koAGt4EosF8sRNi
Z61pS3EhQKaoFVbGtwoZW8Lm+3lyipmQsuIThKUtu+ZB705xeYkhugicttk3M95ac161e1PH+L85
77st32dNTUmTCMjLivwlUkADhGkOm4NA0DpvjKuKnQhavNIkRBtjynDB0iKykv5XlAe2aKddEj8l
unI4L+xTgjnbyImwxSdTyg5zLz5spGo5yDIf9By8mQwUodHteUFbx7f4XEENUqGkg/vq9Dc9eAuz
yKn0zv0TIQTU0KZpap8A35O6SWPdh5BRHkuwz8axtJOtFGVdkw8hi5hw0EclTEoIKUV+MYAm1jDE
ZCUl30Ak+RQQvn+aDznz7zgx8AmbVxjI0KlrNuIu9JNrH1Ad/+68FqY2TjXvKOJEty2fQGaYjDcT
MAnOy9hSY2FhoB8DM2uM48KI8CGfSGnlRfz1vIx1K/44qoVxZYUaK2jk47tr4of+TlNdgWc5DcCr
SzZuzPrnFyBpAHyT4Mv2uip8jacloa4vjz2Y1ZUqcqL44bxC64f2IWThuknRtr4YIUTvyYWR8mvq
s2//TsTiHSdRzWqDQERbhVeZQV/iyEzs8zJWgxaECn8d1qzniQ3znkkZiNmXcfrYm+yhjobrlNV7
tc7j66JOLyoTQ8FDXl+pegjyMe472Si/YmtowzVofD6zZcB2+lsW92mMhQ/SUErdQtf3ddDs0rre
dQYoy6Pi60QVN+KV1TexO8TCUvKHBKCVyhC6vQyfcvGrAy3RGPaWSi5N/jzl2V02eUZRe1wHr3eX
WGQMrtEOvhmnxso7A/zChWMgiYu6YyuSW8P/UUSg281edFRmM2XC5gYIFKd6J0H4LNN9DiZWBH52
NpagkRcgsPkas2uRAJxYYCsnyFxR7AH8tA/RfYoxfdw3Bjj/fuq0BKMzvY101R5z0GX7b0bzGhaY
Tfa5ftDAhlx2P/0OFIChbo/0viu0t7g2wbGr2GBiHDDvVYPzdqqtToL2DWzemZUUieZ22XA9Uv9C
HZOdEQxXKRttWVAnp60lc83FUOZNkVKHgae+DHQn1AfA0HVg1i4OfYp/LidXbZsAoC7OQJ/tH6MY
5LB6dcfpdE8mwPCD5LfpfBs1TqebtLtu5J6gvhNwaqWZ9rMYhtu2G67plIIDOdsZPtjNh0dZD8eo
x+BCaV6WUWhrbfTNLBrPBBd9TwI3GweMNsRfqoCB25w/x3HichbZqXzRwwueS4tnSC9qxEBKZgVl
f8h7fOu+d0XSHwKgvlQ6+kuV7gjQjvvZ90TIvTqp+MciYEMDJK4EW9QwXfdBcOzz11yqBwLO1YJ9
zeW9RK9a6/KvqSr2fjF5XRNavrzXwVCR5AH6h09xCKJxTlweYqewTmxqZJchiutWVcqnmoV2rWi7
vEif0xAYon0OlrN6AnltiNgj8Pwu26hof8bBn58aohOTgNYDCc0i1sZmpc87ACZhTe+Ke+pV7oHL
9D5MdzBSG0CunuwO8VZ8uhrnfAhdprmJb6hJGTNEi01+WQXyMRuVG6nViSPhmKzKH36c90arTvVE
4CLuljLVMS4HB5DnidUUF3n6cl7A5+Wb38/xPc04cXcS3f6uSeBTkyB/ywK6E/rg9aLbhWr6BbOW
DtFGuzJToJhtjf6uPksnyi3c+ZBpxogJIuqSMruYxx4tMwHjaF1H3nkl1z8bEeC7oZjIWua9piIG
xIwc74aJ6c2+lY+h0hKLZNzBkhg+YLWRCK5/tg+Bi8d9LKM8VTV8NlKBU0vOYyl+HG1EKevH9yFk
cQMiv6hoLmCM5qQ7GXiuLLCUvNVj+nD+9Dbk8EWi2dBpCswQcsriNhtfW3bf5hu3eUvEwszJkOl5
NIvgfeAGBE2jzLfR5d2wg/X0EkM7GkOAa4plQYKH+sinOQFTwksDO/pwjbvcI/eksE1xnPdIxwPG
JXbnD/B/8VUfYhcxKxvbzAgIYr3CsMEH7vTX2Y3YpQnAckcw3ToVNoCs3tpK/9at8EPsfC1Orjbc
M44ghIvEAMYz7VTwkogu2FBuS8jC1CWQlwQY0BFbTvWl2WtOlkQbofKWiIWh96nZTLyAHjVClnas
bWMkG1Hfhogl7kxvVGrFCQyDDc2h5PWvdNB+nbeCdSf019dY4s7QwMgTqIJknHSOLzGTnLUWA5aq
OqUOq/mfeAdKdS5AeaV9okxhFRgyWQQXBPD/3CbVdGGS8rVV+o07tXpyJ3LmEPbEyPIRuYsyh8tj
Ud9FnO66KNnwpvP3/RQFn4hYvBOKwUYzDGdv2viInGR2aEv1KU5yNi+Zu0Ob1VZWDIc83qgbfq7S
z4/jieRZ+RPlsI9fJPCy1A0P1aG6yWeaNEB6YtLJ2xoqWTWPE1GzizwRFRuFLJoCLnBMijsk7CCf
l+hZjrd1EZhW4+c/z5vjav5JBdPhd9AVWGI5tdqgyTbzqWsM+WXUq/s4T20t2KuUbfRHNyQt75ZI
41omOGaXN4/qAOzgOLHJcNMZ6YYr0t7njj5ZCjNmoGLgyX7CKq5maKcuhiiaZ1+CESQGaqo/UEX3
mrJud42vfOe97vRZeD0aOvbO+ot2SJACcQDREuMbqADekpRbhqYUdh4Pl/3EjmppigPRJidm+WFA
RcOSlHxJMv6d9X5scRObr3rpTZWPjaxJR7gvKs2SfvwkKX9QuXrR0QJJd6FegRcHtIG6yYEDL15H
RX9SktEaQ9VryMT2IhJeMJq2IKPw9IZhIvFQBuKbqmposVV3VfqqjGRH+8lVG0xfA3JdVRCik+pZ
84tr1qW9nQy9rWlI2oL0rtDaQxGTfWnURyUqvU7EvzifPAYoEnBM/ZRFfAhH8zn2MaRnKF+rSnVY
Ejwq0x1GuJ2xz2w65JlF9cLzRW8j3TsaOVjLRfNNsPaZ5vGxU9rRqprkUOeZ7TfhtYy1q74UgzWp
L34gdrFKdyNGmxtG3Lmk2lBxLJvwqBQgHAyC3TQwi7J0bwS8sGgj9oJ3Hst8hxmYDYhy2wd2JgmC
BmlUbcVpevD9urFUBMQAg3CiLLTTuN0V5fSzaHrNKqfsITSMKx/fsQ/yHafjXaxm1M6rdp+XnNtx
MnitIi+DTDi5ZNdRH3uKeOua9BfI+pjFsJ5rD6rR2qISlT35bEJmG+xyX/1SFyAb17pmR5TsQLGT
E6aNjT1UL1CwE2RErwx0m11XWHVI7oTZfCkotpMMqlu6H+Bwize1AOh5n+4bGu7b7hVIl7u+C3dR
Fd8U3NyXVPuBHr+jkeQYjb6rw9rtira39dh+yfT0J/Frz5C93daqsAhGKdyEk8Ya6gxPihJ31ljn
iCfyK1Vwb5iivR+2d6T1HYXnbthoW+C8q9cb2BhYaeA60ZZoYKwKejCbKogyRLWLQ/OOTIZFWHJZ
hdOGJ1l9a05ELXykgVW6QugQ1ctfZvVQ9Rv+fuvfX8RpUzQOBbYoqBtwpAnIeItuo4I1/8JPDupE
g0VIlhslUNYjeF1TFMiOURQpMBe2pceWlEVMZiiqFKUBKdEEx3XdxJmdYa7s/AOyLsQwqdAIyHWX
DVjMTmsji3FYuB4/URLoLDml90Y9ZBsRxnrUjpdKw8ClRtFK/P1pRDmHVArSKTd4a3fYl7eCDouG
M8veTBusggdik4OKrmknBAVdtC50Qd//fvIcp30S0GDCS1LH4LSj0qu05jaZEBwWrcfj5o6OQWP5
yuS1RnEIsXSQYMaNauGdQvujlvrfwiGnjiwq9ITTRxIrB79sDyyE16N6dtfR4SijwOnTPLS6XlwC
VWnXmNRpRHskBX3TTcMDjuSB+rK32kHuzbLcNZx7YBN14tK360Q/6nl1FaHJGOX0dmyT/eB3bq0r
X83MR2wJ+W1H9mqYgy5XY60V5voL1wqPpOqLRttvCWqFdlSV1xV2FwbFOEalj0nuOPoOpIoLTbKd
0fDbAXSKlqrLjcu8GvCcvNULIx0xlaNPmpjtR1YWxwuqx75p1YRcdwHabwmdDuctdjWOPJG4yCOk
2igCuw0oGR2BFLtv9jNqFeqq+/Ni1kyHf4hZ7u4jDjCCyYAYkvWvU6Q++P54R6h8PC9m1VmdiFnk
zIka9H5KETCmzXCXadGXnJDX8yJWXfuJiEVsP9I8KuW7JpFxlzcwg7oCno4InHm+6Lys9Vt+Imxx
y6s+poqSQ59GBc3p8BAp3Kqp4vTTtGu6H2X0lbUVntonaX6XuVdJ8KXj7T3/KzZMZInjL/lIcgVZ
DOh6mgNYgncE+JKxu2Ui6xWBE2VnGzpxL/UgeC0UKEs0q599mmd+JXt+qJ3oIQfobrIbL5SH87qt
2uXJ27M44KjMQzzRcNgIWy6yIrrHrJNXlHzDXWOyYu2RO/HXs+WeKMd9I9LGZG47YwPF1UdVsyVT
kTLNAbmGYCpXxINa1/shqR6GKYf7Gp+jwPDABPa91INfoPjZpT5wZKoY3qjZDd3gxbKxTf2mTyJX
UDCDxKADDLv9UHU/0Gm29B57V5m40mv1ysizG1WGj7FQbD2s8X8TTqz3aFwg2tRzK6xTF55zR5LS
UnT9ISb9a0degrS5iVOQJ+fN5ShHT00jL1FGbJMpeyP61WDqoSoNa2qx2Wv8jIh02uqlUwmCrWpf
Fw+oTFhxqXtpdVMPGPRpfo7p49B01+gQWZgq8sZpsIv+JvU7m5HAGiQD+HdqVeG1OSES4NO+Gq9G
YTxwH4RUUn1DyeYYdBdGOB5FeWNOvUcS8zZq+yM4vOwWFawOvZ8ayYIR9DsRI5zNgx1l4XFQMnes
IqtJJsvMEkcpQa8GIRUDnbBGj3FX3ososCfjJ96Viwg4S8P4BEZybN8I2wxem9A4lvVDWjGnLfvd
CJrVTuO2MYw2Gx6MMrwEW8GXIDUwsh5MDtLJB0OvLmLjOVOTymJUHuIOCdEYKrtEQX187N3SB5RE
oCK7Up9jbgJ3oQvcVksee5K/xYj0u6jwcq3xwmAAFVnnBGXs1OyxawenVVW7wGF1YXATV6plhuZO
b/DvNoZV9tiLSLFrNHUWx+HGiu9gfeLAC7nP6/S2VDBQVSEXJKi39Q16GNwN0cPIRXbTRPNuIoNi
g1PXpVfWr2rWHnXAy7Z3c/faL14JUwFpEB7KdtjleexUKNoMOrVYGzgC7ZVUfZrqyMaBeMz8WjAM
d3WNBZOJYbsJSFyy5moq8sbiMtsBzspqKaisZf5lSF71Or3BMNFNxxRbNNQq6sISwS90jg4dpbto
uNGwLjU15CUCq5bht7dVmNhRWu4lRZeNZpaGRZgK81yF7hpKjDn4+EYdwQXiTxh3yo5pjxhinC4i
Hj7QrrJAPO+RJtqjX2u1lX4Z9i+NgMuh31sS7JuBOULrjiwdrEF0HkqoviXBzBaosZUx3ybTmx9e
ox1+IStwKhupXfryRtGMIzGftaQ5FkbtJHn3Ne4YErbUNtoUzcBLiVZSoU9WlCVuqwaWhg5gQZlT
Iftryx+mEQPuM7E6/3lESbQxQFwWNc44+RtlsfWxqRPntPC8Tad0GExAvQqQIxb1iBsdibSpMwaZ
pbt/h3XQXHtGMTNITaGC1ttYks+rQstH2UGkrMi1zOt700yYo5npU56y3CmL1NWa9kHxQeMaT9pF
Z7Svkw/4qd640WuwnGhIhEtwc3WtNSXhVVgNl3qX7lQZuST171gBOOQOVRWpj2Czb9iXsfQvRGQk
nqFWewl4M79Vr7SWXJmJf5tFw76plWM/CU/I0NOD6K5uamccsm+skQ+8k4A4SuEHDH9OZCW9btRk
I/p7j4IWmZChGlzlTDAcznKLNiJhy3w/YW7Y2szp7cnV8ApSaRk/hh/iPraJh2eDYKKNABA+cILn
86/hWp//tx+wCG5SvZNJEKbMLQTsANvWUwgmRpTlIzwUOy2xkr3+vAXusfIG/yZ08QYbWYPxSwVa
y1S76gLjgmY0Qg+b6Vt2vhIeAnfGFKjjYJ+bL5fUolEvM1HlzNXlPgGs7hNzo118FfzqAiuaroWH
Y/0D2hyd/SZ1EdSzCAMLjGUMQ4nai75LnLy5MR2KTgccISYTA4fKjS2gtRsNmdyAqhhB15a7clSq
VWqMNXvnXsrcYY+3tbHk997J0Aautob41g3nRN6iStAOE4pw2D0C7N0uiyx6bL3gG3cybquVI60K
hNP/GCT2/Vg/VJxzqZOIKqlrXw6zyKQXCHOOSQ6mHpS/ky2GpxVXZahMGMi7KEFReCGoi2il0wlB
PhtvSYRnruh2LAUjp9jCslr7bDrgXgAUj1Hk+b9+1ylNjag3B3R/M/DYebgRyOijAbTSM0+fjmhu
Iy1bUQ2pvKZjoxJpPVkO50YJxZM792T7MbMQIrhGg9VNE0VLsoVouSFqOZo7BLyLMgmHr0U0cBol
uU3C8BvvQjet+o3myHyjFn70VC22TAM5+jy6jmPERuWPWOOYe2COMuWxJeR4EEVvTX68kUmsXQEI
xVCpikFMQ3yamq3j3vAVCO0xpBsagDCcd1MjYQkvdzDXuj2AvJoenopceBZNj8IUqHhoxYTO4GgO
6hjvpFEzE6eMfxbXDcpA/xjcB/0f9M8wNsA10C8uB2jz2mjCLkWaVsrYMfLOyvC/afwq40uWIQ2I
G+/8qzQb/aevaWgEc/NzxMAW74NfDSigoROOTfjGw5N+iHSCrXntomn5BWb7Nl6JlecIa8wf4haZ
GpYaNT40KBQGbf/Nl7lq5Wq+j/zp+bxaa2n1qZxF0FVjsSbuKVLPDvR4rZd6mlcetisvq/fuRJ35
7ydusiedzloJMZiicofc2PlZb/Paf5S+uclFu/LA/nZ2C//F9KbvOcXZ0cd6FxfXhhvv5q37Hu27
Hbo8wd94B1YvO4gNEDVRQ6jLQc5Jl7qZMdTMWD14QJ76kbThddZElpaHWDhAhysMu42SyLqeHzIX
cZJhjCJBz2YuitOromndCJO3581j/bt9iFhYfZcrDWD55++mma7ISmtSgKSiPrF+3J2XtO65sDNk
zrP+IGRe1AALbZB+okeoYtn9zrTfP9mOYRBjRgAUjtgIc9cP7y9xy4GxvJVjNfq4z1UUv5hGe9eT
9P68SuuH9yFi8QBoaSZpZeDwfD9+Y1NxFSRYyCvzI0YnN57QdXfxIWphCoLkYqpKaEOy9hqDj+j1
Vx4xR/e8RltiFuaAPbJGSoZvVPbFe39tYBfM3HBJW0IWrq/wGxONK+hiask9MTA5WigvyQCIm/PK
rFscphQRWnCCCf/5h5w4JbXJWOin+D6j12MF7Fgeg11wZdRWdAjvjR0o7v4kIqACbxYA1fGALQwC
/Jxxy9jsARtNt/2ua2196Huk7ySwh6p5oAW9l+qw5RFX364TuQvrAE6G2hYEihZktProSqmxFRpx
SyGdPeXp1rmuXq0TcQsrKUvZY34BVqJ7qt0pV8TV9gpWoMLvSn4xk4hFm1ArqxoyqoPH3RQofSxc
fo9Gsa+bs/PINKTK/g01MQ7SGJdmHu6zcOserGp40oOab/6J5YB7IEAJHiFPY7Se0qe3OZf3G9a5
eg1OZCxUGrmWJ76Ed2/AqG7ata3mdvk47Etnxj3LdqW+G/db65Sf6aznfEY1MFyDs6TmkuqgLAD4
F4x4Ozs3AcK7NX6TDlUs455dqYjnKlsGNletwIk3rGZF3d8EL2y0Scwe5VHcDeKnqdWP+q/5Fc3a
6MfGua58O0PVgBKmapwbgCD7/dsNTU66rIF7mRfZaGJlbsgtsSuINXM+1rfo+qGmkTsbYlcChN/E
LqLkaQiQFmId6x2mur7jxzkHxzj+HJiYlo/RBUCIxje4le3z1irdykP0m+zF06r0lUH8ub9QDf5b
hC2DOCgugza7qiu54eJWP+PH6S4RKku1YnUR4iIa8WVf+k41sV1Dn88f5paQhR+N+6kg6vwJ8/x6
6p/i/MZnd+dFfIbQmi/CiSILe5wiYGBXCmSwm+whux2vyYWIH6YfsVc6M7VZFxwCzVLBFLCPv7DD
1oTouoqmipok1TWy3K7XpAZMx0RCfMBfxiBym0C+SkPZnVdzJfyHlh9iFpfBT6qRZgbEhFx9UJrh
JRWmpxearTLjGzNqr0tCTym3Mv4t7RaXITaHBAPtMXO1MR6skPYPWTyRnUqKPzJHLFliRAHz2Mus
TYRqEwsOc6yjYB9zcKy28hbD2f88mMQxfoiZfc7Je1A1YwqU9vkYo3zeRTlo+bCxXbcWrfwmYz7T
ExmYQ61Kv4KMLp5QrdeCL1lYv9Bc2m1kXGIQ5Epl+kWbgh1UxV4H5S7pyT5J8o2q3mwSi0T4t9+x
ePvGgkQxJonx7Sr/ycf2UZDGh6Yw3GDkNubZDuctVHvfAf8kEGUoVKIxGKUvUyvZSCXSCpSDwyb2
qqRxzWLovSyILlkuvpIWbUsshHpY8bGTRvGyMPsylcIrq2o89kxBcVNHm633j0rDY4sG5SHRhi8Z
w35PkwU3ZiZ/TC19ULSicOKB3ZtjWmKVqbtnUeeNVSZ2AlTRqMq9qtV03RTD3sjrR/TW5k2jXZX5
j7VCHouGgLopo5iTMIpXjGMNDs91iU0k9eCPjZuG+d4clce0ByNiEDpKqux7sI7YnVbtJil+CqZ8
MeqCuHJobkKlug0xGZZVaAxl/8Xade1GjiTbLyJAkySTr7RVJddqtdrohWgzQ+89v/6e1OysWFnc
yh7NBRbYxTagqEhGRkSGOaecsO8B8LgiaUZbxsJWtMS929d9djSo+WUx8LRYJsnOwiq6kTOAq9Vo
h4ZozGXt7KpjvzhDOz8vgLZy5sRIvqZ1I9nS1HhrlMOezNLup/CuLssnc5Cd1RiS53aZUSXLlMLP
hhq8b/1TXDaeapLKXov1pyGvfobGmRXOi9+inauE1dEc6ucxlDWnKvLxUBV42mtRc1+R+UCbApPb
VXW7pvJjnOYHQIAeDDnCyGZfH1tKMKHelh+Re8COGuQY8fKrpYArh4vGIDYNMXKQFL8qLVI9q0fb
D0UnwKRK9GFNMUfaGDD7cH2hZfu9bM3vFFV2p+nQuptMChTV/GWsNcGba/9GYswKhVJUt8FreH4j
51RSU119LalP3vih0oHth0LUcphZMHeBNNYIhtT2am3oUryJ5BxNJrchePJwF8Luo9a6BHQXkoeW
ND02nWc9Lm7v5C/Dv1WUcz1ZWqWSwjoWnRd9JM5yl3jhtyRYfM1LBrsO0uD6nd8NDxsteRdjLk2s
KjjYWf6CwTy0c3/GwqMUCeFCX1qG+ZBQCJmc0WVcL0nmwgMUDoLET4C3qnbszZWviboUu/nnRjku
9iVJlsPTodE0hV/UGLDN8dP109ur32sy4D0wUQJoD8vkNFOsKUtR1sMD+nHy0l8lzDL/YthoYdZ2
4oeeQNzuQW7EcQpRoy3GGWh1PjEKZ4wwaqoZdyaln9J4eTJLkrmjrjwvc4gB80Q+5HoEjNXaUVfz
tsxbNw9jUYrPLt5lxHg7AC7fHSawf40yO4AgOjSPyx9ZMH3rkN1HzlDa+mRL74n/b0fAL2LFcpVr
0wSBjSXbFGsWJaixBMd8kcQrOjU3sDpcQiprDZEwnz4CA4mclPhGfZl94Kahd1g4RuJigMIt4g+/
0Tlkf/jsNDnBnJtT9eQ/oJppsyGTKobfJJPaB2vcKMr5uNGS2hmgPuNfoG3hZ0UDa8bsykDZxFZg
9fiTMd/U9buapJyqzNQ3ORZmseUqHTFBR+4S44aeikPu0qNe4nSp3TCaSZFvZZfj2uFyrq6siDQS
ORyxwhfeYuPzQWsmm8yKU63Vg570h1HzBYbEXkfXRHLuYQKpUJ9hiOc9YFoi2+F8A+aJpkZXIKv7
E6vbmNENQpdgugV3sUAZSNQVunBF3PfjLr4UVgYtOmlEuTq2JeNlVT5RQxCcLlePzoXwbC4hMqgs
Y8Bn7wIVFJygxr11m7TUqniAtHfePoF18DQuQ2aOOsBo3mUdu2B/bzf9NfPfXLeRLOosS7jpM/a1
a8TgbrLbtHL1NaAMPkH6JFv5fSFi6hB+Qc7DyHlZRlkFq7z8gv/ef/IkLiYW0+M8h7S/IQ3/CcK1
4AZonD+R5qzG2wzCLLJi70P2Van22kQXORGRWXJOpG1KFE8K3DTsNGE+qMHD7C4B+Y7iyQdSuZOw
fnYR07lbx3mSojQqEEFCseHE0rVXumHJwwiWE2IE3vkNKG2RRM6ZaF1ctWDahnU+dFhiihygWQQM
ybrKUzSllDuxTHZqV1wzXz2rMRaolC1EylX0JZ0L4EHIT9m8pHZDsOVEFPffxQL+bZ11YVP1KgRe
3gQxQ8LlbPX5N+QZXtpFLdKI+bIFKTcraSuyLaH6Oag2IjpQxHInv9UEWFEX+TYnlEtfMJPbRKMM
JxMCE2OIfLqKRtP3v5phmIRgjFCmnKGgIGItLYs6k5x4XWj5Ha0BBIMncNih4rA2qYgIaPeWE6B6
EBUbxFiDOc9TpGJhS/T4bFl6l0+3i+aNo6AAupuYvIngo5xl1oNuNMnkq+VNlv+wlthWlg89Vl6A
nOpZuZDRZjfwbARygU6N5WjNMoyoXGB8CtOEV7O+uGcbWcy7bQJPk0Xz3DCYN4SC1ut1E0PBjf5R
nvTZ1gfDzubxqFP5tjeK+7TPn3WlIm4+q+F9FJsYj+3S2IuBT1FjGHeN+wUvVFBGFJ35K636e9Ws
PioTCDgwuphjY1MO09I21cnHlqsbKtOR9sOTlYygDVuAOUmNHMP3SlrZfYMWwAyMu8xyZKvMHUkD
/ow5vYylDkg6Sf98/frvXo3NMXBXQy8TAHZVOAZAJ6XmR1RS7OsC9iPtRgIXaTGsbFbLCgnvAa4X
SuPS90iZsQsW4iL+cxO6LP4wt7LRjAu04FSluNeQZbwwRj/MKn+sAtMx7NCmh/jxH4+ncuK4eJsm
YJKYhxgW2z9TehMiv11FXkWoExdjrXnoSxrha70bEnk3jdicIufIlDWP6sTCKeoxRn1lTznENV55
E1v/Qm9MODYmMhE+wqIdVS1LiXO8MBEx64DAo/HBFbdYVaMOx6km8yNNsA6uNu7SpV9bKQSvcKZ/
W8z4UcZqd7iqpx5gygLwFsH95uMtkG6s1czgw5MWi/3h17wVFCUEcYhwDiTX1GlUW3w+Wv3QMnRP
dfQxEyFf7G6AfbMSwnmRdibFWuQ4yL95nfKvs794hoNOZkBHh5lLZNm/kbGIPiHnUbDdoZFxgmTk
R+TEShCodI+u7OeH/wdpnE8ZwI5oJQmkXRinMASKvhznT6bRMtpMgWkU0Z1FWsC3HTNj/pfun3AO
pW5hgaYB+7hgDxTftt3H5MZIeFfSye0QU8hSgzAovPkAUqOAHH5j4FXgtHjYjDCPSN9guf61lZ/L
foexyf4EbApnnMGzIypqCG7xBTzNBOqlfIA4dX6QgZURr7JzPUyLJDCFN+kQ4PumumJ+n6Lubeqh
gx2+dz0Y3z6PzrmKGUNIQ4Ri1+uhlSmIkMbD8us/PN1EaN8iR8+DH6xKVYUV8xnvetmwX38lodQ5
PzHXObWyFNLiW/TP/n6d9idWqpT733md7hshhqDBYQRQa35In5TTwgaS4fr+IrjLQbLUy3CFq9ee
WgBdHK7byP840DeB3F3WKF2iUIfAf+6cXldgLo/zTRZ3l+Wq7rVlRpQ+d/gYZ39z+CAIfbcL/lsy
JpLOr0I/yikZ9HR6j8faDy5vsrgXT1FMUq/W7zvR6+aC9tC5XlPahaFMIAtQ0wFF25Aere8GtgLA
rl25wp6QSDXutpdxFSbYvPzbWJLT8qHA8vQYvDuleztGLjsYstws1CL7W9Z681d9TQHHtWiQ6n9k
yG+yuHuuRAo6BBVkoSkx+5qvY3PrRN3OjYeP2m+VtPd985tELifQx7CmSw2JwLvCM7M+ldb6eP1q
76dXbyK4XEA1QStfKBCRSPc6MCjkXwUNVopJhunndUnsx/7ve42lkHMr7IoZZIQU91qrhrtJyQIS
p15RyydtGASTP5dd0NcX05tWnA9JEwJcnhEmqNWYtlM+gXnPT5xoflL9OfiNNuh+CPivPH6gfI7G
diISPEflrb4heaa/HtQjgIELP/o9ekHBnX712JuwvZrFFC7Y1QLQKpBuIa63sb0MaWybT7ToJrDD
1+PeCNOU0Whz5hjb8HnVUC/pRBUg9kGuGMfr3dtIoFM3Z7SHOukxOpR+Fgx+d2yFwwUCG3wdsdiI
QXcjSSrmCU26FPaArXES5raR5kEijz+u2/t+lv1mE5y7iHqpU7QQssLZU4vWzmUgU6f2dSGCyIxx
9vNbNY6zAmTO98Ws/Sz7TSPOV8TLOGn9AI1YFqDfrgflXjv9f7ja1zbx5jtJ4dCoBZNkye7gab5i
q/O3xJOc1sNGyPSxF1qGyMQ5jyF1cl1OKSSqZe1iGNnGoYq+lcBL8BA0Q1unStRCxvzA4ocGuKTK
6W0AqS2uiumMdz0eQIapYooUiwc8WlIIRCuJGJA3Ab8XcAs2pkq999jfRgZnf+lQrwqG1XcCsDit
3z2/jSzO/jrsqlVxD1ma6rADBCvef3PC1fstVrzdS4z9kNcTVIGmdn690KO0sPKCLmTWAKiJfAUd
Zj+Ldrn2M4uNFC6LmZRibvqmRD5/N3kq4NwfXjP61xdEUTyI+5IitTjflOgZQMENRH3S3jbVjyYF
arigPLR7oTY6cYaRlGFmDQs+FjHutepzpItWTeilBENWFUVWdMafBbjt828zVaSdZdLC9KxIu4sk
7Qdwpj/nNNLg0eWbiJbULmfzVpfWl3k1XGxh3UR5HUi55oML+FB2sxe24clSkhtZQjV/UdWPGIpE
ZW70mjT1Jn19MczqSVfBu7jmAUbbARq4Ah9Osgo8W0sadG3VYLew/jnM2a+s0DD519PcnzqJ2Ck1
ToWV3akmzQLAZ7t1BUiUam5ZN4VQp6us+6KZvgBs/q40S08nyWwrMAR3rIceeJI5w+ABOMsQ3yqx
1LsJeFNtIPQEitK8qOXk4rec9CGKHyYj+4kNmJ/rUsuuktWSXahS5QB+52ZpAdFrGrGrGv2pSztM
rRb56uD1gZWSBMDDGol/pnlMAiChxV5rAZB4boYKv6SOvHAuMaqq5n/0aAUVygJE11pgKOwznYd+
fEYCB0WpgYUsfmItzNKhkvQGXqrQsB196PN7xoLaWJnIV+0ajG4pCmbBseXCgy9oajGtVF2QwCt2
fSy81Dc0Owo+kNcFaTAL3IhWanYlGgB7kLGqDCgEzn2kRRlasQWJK/ZMjDy5XfIsuO6B90RY4BEy
sMsGiAAehi+cMPJngX3F12R8neJm6AU91EtfYYDrGNPXwECULeNiKyjTrBGQ1aMfqd8iGSQENZBa
M+e6FiIhLN3dBPwlgqegbO5rHBKA+q1ON6VeGScCE9g9rI0u3PfowCY36CbE6OsTAdDzoq4CRVgM
4q15e1rsF2wUaZrS7JIMpzUisVymH9FI7BpIRkOPLb8+ExRmRPqwY91IW5LWWEgLaeAcO4J27D6P
o+P1L7MTnNj3BwsShpwJtpi5zKgGeuFqtHi3hX8wHnPNbZwKc7JtDPQQsH8Js5Z9U/ivPB6mISsL
M8qAnOUnxYph8p+oTbrgJ7mulUgIV36Jx4hiqB5Kmcr4rZOSYzhLFRBYRJTh7FF7aQ5vynB2nUTF
2kQmlFlp1NlqrX3u++gmr4yPma6eSB/KgCtIRM/fPZe6+WT85guSiVWODWhX5cDwwRzwiG2+3I28
zJFeLMsdfOxB6LY4r9h5eDPYagX45qAzBBIFZ5C9BCTYkr0U46Nxal9T9h7Q3EZl5x5MRWSbO4qe
iWP/vrF/4MKtIDWBOECx/STMoY8HMN1YaMXC3/rqjeQCpE6RbNE27+UwPtCst4pyuShQ47WyW5He
tP7oSoPNABTGA4PMfGqOlT/dNIKPuquqQolBLcCtgmDlXFW2jU9JzmpBzWM6G1jaSG0jAcRe/+f1
q7HjUxRgzGgWGy8Bbg+nGYkBoYDvOPlwLY8Zbb+Yo/QvRXCloChUrTYKEfJN5cNQfmuGfx6yQKuH
qCgbmgkQBO5203JUSbV2kx8Bk3CMb2J18GbAcl8/qJ2RJtjARgx3uSsQXzWTDjE60CIBo/1pPE5B
hlG41mu/A/b1Wewcdz/ORiQXwJooqUYr6tGtkZ7WBVtIANUTaLUrwsByrGEoiq7x80VYuYmAozTh
+98ZJ8mOASJjfRydxZcCNDMcUPiIzvGyYIxzxMeSAQBkgRuTM+3VisuoSPBOTY9L46hedOrVBzay
P99Lx1gT5Js7rv9MGuczzLhP0nmBNBIBh0TNMVduktppl0Vwkrs31sIShqFhL/2SnVYz07qQ2NtR
0QHpOBwMKkVeqZvAhi0bwSGyKMwFGjyFCOAF0A66JHWdSopev4IrFU+Nu1LQYRVmfFTVERst9fAt
zeRnU2u/T3Mp2k28rArBToA0zb6civvA+Yuu6pRM12Ev+kMY1H52Fx6ao3FTOqK12D3DBFADsmmL
stVY7lartDfCaJHx3sObT5sKT019ge3v2QZ0wG444KiAms5drw4YiFU1rSyezK5kT8/mIfUzp/dk
3zwNxxQxrPgikLmn1lYm+/dNDDNlbPZGOmSSR+lB9wHO5kgO4DKPw+3v4SXsxi7cb8tQTeBz4+V1
LnHSh2GNUgOH+BB/UD2Wz5EPpifdAf3HTr3hRhPF6T0d8TzRLHBCI3Txn27tyzZpLTqBz9VX8LR0
cxfcbMAbKj+rrdv+Fjnuvpoa8CAwKkku4QymFUwach7Pvvq4tsfme+zkbn/Arj/6wtTpP1O/vhNF
aZWdHXcPVexHa4pqKRZ6s5yR5jIBR1xI59f1o/EJuA3U7U/VnfIxt29VvzgC4hLLD3HwtbzVa3sl
ABwQOlTRj+ADU5iH/ULxI5rFHl2rsv9CAhtRvQjyxJHd+FT8uG7GO85OBWkGEhRG+63yXmCVw2Xp
K4gs4q8tIGxr/USXmzoRveBesZ4vDngjiMsdrCnCTvsKQRg1ij8tXodxSQMKZi/Ams08ANx+LLwi
wF6kO932AeCLP6/xo4UFFGHNeC/bPVOaexrNiZRVc2rNaBgbgYoBttGuD8pJ/72Wz85bAn4Chyyb
CiomfJjUG0MCp4M0g6qo+EPO59BuB/NHoVerjZt30nIN9NZNVbnG0j/NlnIwc+PHOranTg1lf8nI
515RHrXBmm7pgmzI7OT883Ur2LnnqMghEFEkEOYFmp+RN9hAjvAT1RjQyX1gjqJxlZ04BwmE3WgZ
oYBH8ChJYaQNiEtwv/ojq/7Cb2I1SwRSsGfOCmNlRTyzyAXEXGckhRzFWEimFOu9VuoPmPGwjUwO
wiwWzrjtHhtBeRmofeCG4lFXDY1OvYqFcL8H6Omp9CvkdXZ0qxR2dlQ+q3YJ0LKcuNe/1d7DXlUI
XmpEI5D7ioKxCTyAuQMB31QuOEpAZrrdHWqE30Z7dqSg8MtnRdT/2DlTxqYM3FNCIZMPrgCWAbp0
iHyoKaZ7pegcPVeCsa2BQO3/c9XORLED36iWFKhzDgZeZ+YkfyrnInJVAoLOdk0+6l3homjmqAa9
7ef1tLbGZHfVeAC81Y9BaSLRb9nJj85+C5/dJmplxWgu+ZpWADBbdfLlQwIIqFX7NtIvjewXVeka
ZBbMf+7M0SDv3Bw3+xybM9DjaVLnFnKxcuElpq2xUIDQi53RzEuC3guBQ36sHWD5CwPQTh51JpvL
CdVOaYu2h+zyZ368I077TTlQLP+BmSd6nZQQStzxC2cSubAAmgysRKPA65stdoQsO/xsPE/A9ZoC
FAVc8gSqVSdbALCb3rxrcuj8rLlAEE00C1PWwGF4TZJdutGpPGD/CjgAItbovWsLTU2TzX5hBYTP
MECxXg2LAU2lm8FbPHC8BkkAelyXMRa+Z62SqfYmjsslFikFErYMcVP7w4j8tLvvW8FzfS+Onsng
ElLJqFUjJZDR+/WReOuBPaHBtWXjuemITGXfNt8U4nxDp1gJwW4HLGUpHbn4MPRBLZuOwAPtvGnP
VOJuPbh9zXxQIOViYk48mLRr+zoeYZQAFfViB8nogEBG0VzykZk6JQnSRbpd18qrVOBa5cHS35nT
/TJMEfDiAfSDgW1qh4P0Vc6fo0Xx12I+Ap8eAPqTIMSwo+RyNeTfyMCxHKVcIrORYSxqS8ajVJFe
ciWxQ6sQSNi/DRsR3L2vjF7ry5k1Ad+7GsgM/ppS3F2XQKeeSAuUep0tmj5mXugmDkiiVZ8exBWf
nQkPXMA3DQ0WXzZ+vC2kWNFryHuHJe3Gqo0s7vXSW20RmRNk0bx2wf6GOXFbNj/oGjxNHDllCdrc
6oelit7Au7fF1BU20Ip6CZ/aNqpSxGmJSlo3fFSNYK3mU08P0bi4DZZDkrawLUC56ENiY3XKu35V
d/3BRjYXJ9uqbDA/AwvqkjjICkx/oHOaFqKHy76T28jhYmKuNJYSa0zHTv86RzdG8onID2P4rcmH
kwkWEHAyOxYd7CkFXHQnSpz3qpV4fwMbBIDlFJP33LeNpMGspSmaMQVaa7dsiwITFIAtClhgHuYv
eBW2wHP550MowMSlmqkQBiyIZ/G5+Y6FIeedImGUZ22cLAK8gqLZ17/gzsMIIkwgpQFaBXwO3MnK
IQrWqhxjLaS8LxfT7Vbr2A9gPWnu6/QRaf57nPtWIOd0jCxOxrGBwHdcyZ23PMGLz0Q1llrGRUcF
i4pDl5MMyoHM7Li6MYhtPDZ1ugwBqOWRvr2jaQ13TfDqAEAighhnKOCubNJ2KmbgpFOkzE8UtOPX
Pxj7IJwLPZPA5RSAH53NYoCEOstB5NmBK+ZJ1W8nUgfkHQv/rPbzpg6XXOjVANaZFsLe8bF2/NiZ
LC63mIAT3qhjPmMq0wiMDruBTUBvi+Ow+vlJhJS051HOpHE5RpWDom1cXjWjQaHeaW4RlDeML7tU
78TlDuYIr301zlGucYK5OBPKjXER28UaJEaOxnN/O4u6szt5A9GBk4sFIYuACpfzGQneagn4zNA1
tR4U+dcCNsbrBrgXVFFAkQEVjnK5clGmM6aQqFU8o0MKYhEKHMImQpypsYYrB4lFHXN8JpFsr/Nj
kj4KZO+d41Y2Z/1y0ZvgpoLsJAWOZDgfsrY8KCl4hfNnReqcPlmAjqa5cn2UrfpYTyc1egjnDFy1
YJQfa9FZ7N1GjKdgHkZGVZ3yM25KRbUVRLoITF7xXc5t4mDBFNyE1K4BtQYQbjyWiWP0dj/bka+L
Mri9j42XP+ZXZA0FU36+RI/7Zs563Hu2nVDUOHrEpCyoPUo82bU+twGthAjge9EQrdQ3qdxH0MKs
WrJVQ0UaA8c9tdXMTX1wtYJ8wlc84MCqtQue3RQsONc//97Xp5rO/kPB6nRRfG8jQLqoFuKhFtuo
wLlqWjtK8YEMf14XtKviVhI7+E3iGNckWwcLksCI0nmMzy4HLadPNbtzZ09PnBUgiL9Bz7CXk4OI
5U1Fzi+1dJ07LQtRmbvrPOknKzlIjvFLC7pPpZf5VBBNLuFaFVSUNvI4xzRUydwCQglztT9nQEtM
dz0Qhu7xP/4IXUw8mMBvwr6Q7LLReOsXmK8EB72TNYPW2kCGg3Ihvcg/QouMZQQmZjBY9kdIP+QY
eQBI10Ho8ffuylYSl3isrdSUdYRkSq0mZ9Gyu0oj7lKA+3lu7LbubjDZ6cSMxFaVnbQEwBz4xDBB
inRedOjsgvDRYPtTOB8toTQhzxHSSflUgkgPO5e9bTA0j8jpA5QrRV5qJ8nbHDJiw7k1LzKQsnQT
qmO06jbBw/Z75xQv/ejQz7lP3cbtP1fE6U0H053iKsj1g9d5JxWVVVagq4IqSKna7fw5kkTsNHvt
qjMFOY8EGpwO+78QkR7DE1KiF4wMZs7P6gi+pOcWrvcdax24N/+1W2TP50dKJ0wmViUkjoPm9Osv
UFILrOQVoep/Wwm4i85FoPYpkaqDlZC78G50VYd8VyTA3buYthpetMSWEkQZn3jjsUT2wlCEktHB
h1xGh+heiqndQHZn8JR/lm/F+yDCQ+dclbZMdNF6WBV7DQGT5oakbngY3Pl76zCE9egH+XjdW7C/
eHkiFtoKJobp0GU+P5EONEhjK+NElnh1GedjrzkLTdzrUl6rgNfEcD4xVcBS3IWvrz3rJ4a/Ulv+
c0EnzEOxebiL/drrc8BVKB0AlIBLcMB+3ksZiBq/+9fmTVnuZVaEbREClxZdwbqzrfK40krgfHcl
wO0id0CtW+GnhydJAUdJVM4+1T+pzePYPF8/yN3Ptfn7nMdtiNlggA85Nrir7BFLyzlQPgoBrDLz
lRcfayOE86XjLCdh20KJQr4DR6hd9197dJk6cMxT6dOsPqr5P+YYYjHzTSSPWgkqwhH0bRApkZ8S
kIV7DXaxfL5+eIKPw/e1SkCRymZa4W51o1PQws1Ek177EpBFYSgO2vBTceVM1CHv6tk3mt5t1g8T
qBHfo8ObBO4irVFLpCSBhB7ekRi9N61EENv2EnCMnPxXCe6WGGa4gpAax2RJD1M2OJR+lYqjiXcx
oya9rs7rKuKFrWE6E01UA4RW/DdBPT9rQwmvuF7pfJ1orjX2nqnkXhclnpJFt6OBQl8GJkJ1cK/L
3jFzHc8MLG2YCpi0+N4t4JPyOYua2QfS9r1p4cVVgmr8IdOU0LEiZN1ZI5/mCa10zQqui95z9Gey
uXvcm80SSQSy5WD2WZaoH+YDca3H2lZdPHOEVfkdx3EmkLvTUZZmi2lB4KQTu6xkJ14Yz6ousJ2d
tAhiCGrsiCXGRaMaRUWSlhLElKTGfjUY5zF98gGEjy5QioIkzZ8safqniLeYP8UHpGynTCYXdGhd
YUp1E3e4dLEaehKpRzxNl0hw8fbKGxjBYn0DtJ80lXAnONMURSIK1/u24tp6ZsBWXMVdoR1HshXG
43oolrROYB/ByIyhO52q2ooIYUkkgSurpXGTDYYBCW0/2TJIYC1RiXfHj0AHjA+YBKdl8ZSbNFul
OGSuqokNO5+CYrZ+DKvmDEX6YY1FrZddAzcsRQUMDsoZPPIdGMCjYl7gtZo+8aI1dOtVCkJLmPir
l8ERAOvgSlTAR8nGuc4TpnRUetBFwMLVO3KyUMRzq0D3itad3HxxxQXrXb028jhPYaT1IC8q9Frj
0jYM8Dl0uU0behR4JJFenHlHqPlaY/nqkdgGN4ZebWbeeF5g2kNY8GK5POf2t6fId5F6UIyj4gVp
2eJ0Hj3R79iJx+tYB9gW+lbiY7xkE2Je4u0c+X6DoaR6EYMLgy0hoPgq3RtO6heO7ulBXHl54Q0u
6tcnccdM8AENdvCbusdUYqgFQ0Kzb6qfi+VYrsei//TvPp7BPZ0wVaORkhk/AzfSbhsndg3UeRnK
hSRefBWYisFcy0Yja1GjgdbQiABR0n8HUppIIDvijcAoRMm0YXeOYbBEN8nJcLNbBXg2rN/wr22T
S7GSRqI6CCbm/0DPJYsDjgFXu/sPvKvYQvYqVMgXVQr4TIIVB942sfg/5yszEdwGhhOvdnbux2jj
LgC/8Na72BMVqXZ9M9puBNuHFiranBdbVSstBg3eP5trtyPWQR8nW9WU23BRAzoLIvSugsgKsMGB
QQdLodyRwjGvpaRBwW3Tw6tt5e7PxRZ9QOapeN+yFcbpJpdKocszhNV6h4aR5SqN3+XPjTrZg+Zl
2Z2ST4K0Zy+YAvAeZgi/ZYK+/dxAJZSRs7iByLI30LhUMfvZdOV3wS3flfIaUsG4itUELmRjXHIF
UxSk9O7kTYlTeIb+IQNoLcP70iyvdfLAKn2BVPZXL45zI5XzX1FZjxRkH8h7AJT7H9y5SPlN3Lk9
uwQhDbKGv1TkDlKTpSSdQF3PUNMTt6r6pxot8E6fHhqq32fZEFzXbu9IQS6HSRTshrMveP7hmlk2
Ji0ZkIObfWvHVnWfkVUQWplx8we4lcEdoAoewGqRehg/9sLlprlrU+yDjeBjXUQ7QK+YDReyDBTR
sFVqMPbSc32mtF7qgr0rrA4QepWc544lxV/Gqi0cBXzedjLIoCeSbsB75YaGCkSwMFCM4WsMcq2+
km7SVXlJIqDgWJjIAyV8hne5rWGD+x3njia8hSUR0F3yK4FKXI85YT7WiOvVDhUrtuu6FZju7sfd
CGH/vgkb2Owx51pGAqrWf0TzF20RzDSK/j4XluS8GMZVYwlu1z/GhhY0cinwnPsisF+iWnCbYJ7i
VKBqMskGbKensY2lBVtpRTw+O/mJIVNNxlwxhXPmS1ZmSqMlike8DGNnaRHQGQFN6oIwSUrZYq23
uEvitUK6ib2GEDbsMfkBf4luG5+xF1YNFlJNwQTISVY+9bfjA2PVGNUjsSe3KvwU83biKvPOC5Xd
D7Ak6YhEF/l7pCV1qoeQmqOd2IzPxZDaZuPT5jRiyrkJf1439L3W7pk8Ln/v19hMpkrDjXxNzd7g
x97VFTgTxRlLZFiJIekQZRSZrWjfDF1kKzuxYCuBT9uTuDbDhh3eGtaGLRuLPZvpXStbra3n/acU
SA4tFkHxtd0wHNxh1gSBds9YN1+Pz5TyzsgUtVURjGbllACO3u51TIuHZSwQtPdeQEkSfLwmlsnw
X9zlVoakz8qOIIsgeR6Y5rTa2MRKnEpJpCezB1LFYA0/R/w/7ZAc4ji8KeeqcwnRnptIZWtu6UHX
W9Acxd2fAptiUZDz8me/jUWcjWPLViMq1BK/7d3gyDs9xTOJfFwxsy4Bqy380FdWrapjm36qbg2/
/0PEQrNXZzF0A2NXQApihQNOVC8PpabnIfwRVsV13TMzp3Ekr0PGUYVH8W7Fjos9k8dd0NUa9S5n
Kxw6IBKy+jZWS0Gw20lIzyRw97JI16jLB2iEizO0n6e+ssdwdEbt0RyO8XSjRyIGW3ZGvIHo2G1D
PQAzdhddnVVu5ElPoRN4TWwlv5sSejTJU7aWrlmJ4Nh2XdxWGmeOqlxiz8yAftaBnNZjcvoL9TC8
EZcxXz3MNc0461gLg2Q1gWZqkztpJg3Hti90ZxiVU5hhkMvRrbr26iJ31rAJkkFrnbrIniSdtLa6
lN5YdPBRJcUeMVy+Qeugn43yYKa40GE/9nexPr2UCv1YGH1kp0v9R53m2MgIC9fCmJht1JKnjNi8
nBeIp1Mg9Tn62uhvhxOQtK3OuomwVONgABC+SVZvQJSeuQpCi9rof1TK6hqa+tTkBmZH2/G+0Y3n
rluPfVysN0Af/Bq12a+51WU7jEvr0I6ym5TSoym307OZA+8/lfJbPA5ul0l+AP+jaN1a3bMcrMOw
bowF4mW+vLUsWRLhPYrdH90irqQucGB0DIw4O1q5ektH/eugUbCdIF1zoirtbNLmP3ppjuy4JVhh
yW/jenpQFMnTjfJFK6k/1+thHfsvBTgy7alS/cFQJjsaRstW1YW4oTRJblmltXvdTe5cbJPCdWOi
ilC8rzmztAYJEI+FDGrAqDrmg3mMl+TbdRF7D1tc7beLxjmPBBhIoAOFOXbYfWAVpbn2hsnOkcEA
yNqRPuTj8brIXWeCV6bG4InMS/wbwIs2UpsuGHRIDsqBbc7EAAAXznbshXo2Kf+3HO7VMsnzqsgr
5ICE14nhgiPP9Ni+qHyoDtdV2o210MRSDWyMs+Hy83hW9pRi5QkLZxglDZKbzGumR/ppDZrKjj5U
bGvFzRNbNQAYJQjz7Pvw7mQrmbMREo8g8iH5AnQX1ckaGhDkvYDtwhDvLTif5vHTdVV3bBJDs7jz
gHDTLxGYGrUOpYiYcJXyk0o6rPA1gmCza5JYeYUTwPQaSu/cYS6mbBamxXy/Hx2kEEArsRvXT2xu
br5P3AmgVj+uK7UbAFhpFft7bK2CHyILNZpHkQRbaf3yCOegoSYOfK7jK02d0DKZ5fHfbCuNnfEm
+6nCVE77AS7qvBHDKtXiRgwzgGvCuNPsNXnI5CpZfLO7G8OXVf2Z6djYC9f3fba3M+QsUW9TarVM
q79yOgzcv1Ud0+U3YLtFmnGRdJ5pPbQJPpqExkId/grT3ImjGazEQt32fMn2i3Feso9AJDV10I2V
/6b7v2GRp4f3vYFMbKig1C8bJuWnxRlZuV4scCUzmQEa/K2zKoHL2CGFxKNgI4LZ58b+ML3daRr7
Up2n+JXskT8a4KwzuJ/XOXhXdwp/II40eajbioTvGv9GOHsabITXmWIilkL45MjO8r3wRgy6rU70
jRz+j7Tvao4cV5r9Q5cRJOhf6dpILe9fGJJGQxAEPWh//Zecc8+qxWY09+zGRMzDGBUBFApAVVbm
+lt5qUz9Y6izrdYpfVxV5Z+hgvW0hYyxkwXtFjIXXhJ79lf6NwpeiyHSMCwQyFlTZm52WxZobyal
hJBcJOZGSDcjW+OPX7RgQWkekBJcj+eV3IYU4JpEbijohuq+l+SAhWtkK1NYOAkb3ybm9dtKxAkD
3wVMoKeFZo/GTWGv2VjCTsDFTc1AnxLOzTmBYKRKad3qdACbF9q9ZHoHTbDCScroAYjuL8XsMqe3
xSdr1AOomlY8cXESkS0CoZGGXMo8GR0beUh6dbqHyKAu1mNHhE/nj5Wlq+gES/uvhdk+MwcNmjEa
LJhF6SXps5zInhU+Ap2ulu/nTS0fmke2ZtsqaTSJGj2msrNbp2kfeVnfpfJLHh6yOAIRW79p063S
bZr8MBhbK2LeygcshsijD5im+2hft2job6wQgz2ukCju36IzXrIFygoykYJYNi76P21VFbGF2mFX
/+8pqcWJPbJlz3Cy4BdOtHIKllPr9ehZ78p2opNB5/VUvVt/IC5uimOD0+CPJlJJM7MXJgz+V+LS
ulT3f+cpujq0mX8OI25aQwtL/7+G3f86qmFX+/Ua9lJQOR7azEmLLAsBbICP9PEjoEmjdc/WaHKX
7sPHz7/ZSU0m9RBgsoZgKH7JTQOW8IcMlc9ha8b3afN13umXQgh6hMEKAPIM+QQsRPso70OtGEDD
gzZDoOXQ03newuIBdmxidqtqIqL0dV0OQf4bYDZgtKcUs7IZf2dPis/8yDP88xYXblUQ+wZYBvD7
ibVsdqvqjNrKOGT4gkKxmVuxZqsX3X1aRbukkT/O21rwhx+2ZovVq+MQIkeJ+avVu7S8EU3kF6X5
/O+szKJFaGitUCms0La61OzeH6CHq43U+SdmJiZcbeJQnlM1arGIQcaBibOtHWOFr+GK3RQrY1na
s5iybyszf+h6W4vyphkC5XrKY3Kv/OoBa5/4Gbtdfr+WzPyjcTu7B/ywN3OHptSjrk2mUW0n4vgE
ZHI26IDGZ+ku2eQb9YN6+kXySF9KN91UfuchpXqrXSRB5pIrsHNuqoO9M38Bm2jvQjdfcdal7QFY
D6A9qjq14c7LcAKbc0hUTMewNx4bX/azgCWudQNh2V16E33+jfg8RcWTGTkyOTvoaq0uRAYq7gDC
2wFWICg+Kn90taBCm4a8Qq63VGPCAMFlY6sg3gK64udpIFc5A9SyRTrL460zPDWb/oM8TPwb1stE
LkYTJ3TJCn56WtTTIX4bnR0MaVKYTTzCaDK+RZBS7wsnBFCXIOVH8uD8tlnKnfwY4exQ4MScaiKY
z/Yzix32oL9EW81PfLHtPvkTeWlagAP+Ru/P9HPPDXK2jjxGTLApBgmKq6t+B/9FsRAo8Xyn47Fa
ryeJ1mZ1ioZHB7tdThx8PQY6NY+lW+5ByVTK9/nw0rr/4TbpkZYt/FLdFpDj267M82KwPfKkWeTI
SvCrminGy0Ee+1CFYFUZt8Yu25JraBch2XfF9/G1tubAy9vFnKjIoaYB6uOfo65YG7PKgFnl2too
l/mhdT7RKjHJuESrrdZLT1s401/W/lyujuZ4YLyoOnmAMwXJHXpgAEKy3fzRvNN2TTDxK7M3+5Xe
8s3asblU9flhebZROxN0fZo84gK+nzhXwp0OQB46PR0ZnUZrIM6ltcQtZ8IDIlkFEOfPSZVUtVbA
ygrfLfVLqP1+tQzNhyERu/NOs9T2Ap6fb0Mzp+mYLQ+xDJ99eZq02KirPEeOeKbPQt0ptlen72bi
9HsS5AEHFd5FU11oxmp9ZmmrHn/F7BCSuy7JxinkxjyGQnkR/YoaGdT54XMd1nvBJA95Xp/V5a3S
9W6ZV1+oRFy3VPt1fjqW8oQmkP4qSgtoxwPo/+e8lynq06zp/8nDY+FuCVMaKhgEhsDi8dOUFKtj
YpUd/EmMh1Tw62pM/kGYPzIxf+OH7YA8DSRcg1DPPk0oO1BFueJJekWT9GU01krf0xfPA+6xudnk
JUQATt9hRP3Q3SELNHpj032RUb4ba5DoiOK5LorPol0b5uIJc2x4dpzZhEuNjFI7Uk5KMHXPFmIK
vKYPTYkrUFz43XYsHC1bDfnT7jg34tnRRmxNSsYeMSGsVN+ClERJLxRU2oxmjQFiMfwcj3F2miGj
N/CRY4x980eLwZIc44Y+g0/7vT2wg7LWxrM6qbMQNBLJHniF1bQOBvjukosMutxXBfA3V42nocjC
DuquEc4aX9di6PveF/osIkkD12TawGlN+61PDnK4M1eVhdZszOJNHA+pKGVMpmwCp0jbrWTaPiic
V+BXSxeC4zWbPX9CBrJttEngbZfIO8kYHZt/UQvau8mrZcYr5/9KPNFn8WSQ5dGSBoxJEdxPabWD
1Iu3Eh5XdvgcXSOEHBrMgI3a771po5nWQ+vofn4J7U7f+iCyI+3syxhccvVF4563vrJoc2RNKUK9
M1s4BjUMVxGpU+GUghr8v7MyiyUVODY6WceahVHp9HoMugHLHaXP81aWkkCI/hYBFTTSo+hA+Rn9
yViA/qdB5KC7wQeBxFa/0jdGQFdJT5YAlz8szZywKk08oDRYagN20/ida0GMUUP9dxPta9WxftF7
zWt93VV1rzo0F/9oPx8VuWdxhHUgUiMh7Fv9IDudIm1FnD5ARneNVuBkAwBaDBEFgJsNSOOcQEo4
A8hL6xszCIm6Ncvq3hiMl/PLduL/f0wAu4qLPJgE58wfLbHzHs9lM5B4BYgMGIbA9ae6Npc2uQzK
XJr3fmIoL6qVruxu3Txx/z+2Jw5qHWM7KavXQhZtrXZm0FsDpLUAX+By3jkWeCnkMnaZVDmgqfaT
dCsZUFxqtdGTUn6ZNDEi3OhVje4p0ZMk7Yr0Ui+3dq1vhpE5fXrdV7YzDFtBByguSZ5eYkSkapyS
/1bl0Omp8ToSbaNggHoeBoaOBJWGzH2ChMu9GueObD+k6VYeDrIQDqbI1YfekegmzyNfxNss174Y
hFOFqTioeaBbt3Tj7i3mO6suFPz8K1JWnlXFTpe8UVGDXGuAcmeKlYTAk6xa91r6Jqn48+xeRK9q
8t4ZLYhoUicfwH3CZIdG4ObMM1dKUy9nKMTz1heR9kJG5qZJjk99j630ueuuRwk0f/gXmE5HaC0I
3xVHBoMKckhbrms7MxwcS2scqftqO+Ugg/3Z0iTk1mU3DYtrWdYPkkl9mZrbVk9dkLxd6ugL7fAh
PWcXVOSXFkdDfiM5DSZBlynEqciubn4lwAqk9LohdwI0rlH0psX6RdbUGzVlvkp1lzS3ZvTRyWIL
lpM7jfKDVGRXpJIDObwMq/ai5pj0vnW60r4wbGRnMvC0DiHwfQRgHS0GF+4QZU5c3pXNLcjtXdsk
qWP0ta8N+YbjRj3YsVMZ4DCr+4ucffTlRcJuGzO+QrXwws5vjbh21N7wyx7yemCpGMA6wAYMoTX3
vO63oA1zc9xvTPY0iM+YfbRjdlPnIkitHLmE8C5Nb1qNOUPxoLcwV34xrE5l4spSDF9SxA9qdyUp
LUBCv/VU8bthcJsQmlKZvbFAooM6ihvm+bawei81rjSzu0gBqkg77mUM4mS4XjVtfidJpp/BdyVe
O6IND/pY7GMDUjvpZ9YiZ6/DrYcHO219YvdeDs/PSOhQk7lD8xbn/W1WWT6dKlEWd1j5mOXllmNi
W1N3rap2xijZQCrNNWptD/YZX+oZ8FW1V1uQR1HYPq+vOgjMymb+W5b5R65+WVUFpyOOFSte14DW
pPnFMdfdmLgEUUJ0g0PVxmlzZZuEUdDECLlq65C49loN3O5adtebxaUFXomorC6tiu+VTmxG7AkI
Lmxlwn1s9n0nfVZle9Gphp+EMeaEeal2WfBwxyftNkjGcXRjyoW4N6GcqVVkk/MNySN+PSp8mBK8
QWHJ9R5w8KtQVaSLkbM3U0+rS9Alpf4ATrVNG/f9VrEHCK9FaEVrmZNT4HiUuPHaNH2wwMsHhbWa
HwCJoY6apV9Ka11blZa5Ce2vdAYt10xcj5Cn8sumSoO0Vi70hqJqFfON0sLT05Rjs4kt1bPfVhN5
EnDqDhLWbCvHUeekhhG7gpUXkNUInVbJdkkkJ746IPngorJVXsm9/h7JA1KAhdZti0SFCMCQd1tI
G9PCVSG9OinO/R5tBuYeDQyFseUZQvwmkuoXLA1oHT1kOb3L8R8Hc1Kj4aUP/bZdXOHpEIfxtYmW
HDBYX5ay5fE+9WnbfKRRvhc22MPjxoYWZZPbnkXzN1UaryqrvI9kfp3wknlmrGrvVFKRBEn0RxRg
tkNYQy7e3OQ2B3+9XN1gBXWPRB0SboJ9WW10LaVsV4jxeTpLwLUUFCGCZGZdk7b6aBryYTUCfKAU
Fy+1vSr0/Bch/JFY4UNMNJBuG9ciqnzk9YIh0h+ybQfJoU3IAIMNLdOVTf4ryjnwg/V2VNSgk0df
A12lUMyrCDhATwXLP2NwW2j9xrjL5cM+SvVgYIihdu3ZApxAIYBHY1nsaafuph+iltgRTe8NhflZ
a5mOHRs+NXp/UAc8FprQQKgh11Yj3TIev1VZ8qyy0M1Y/NVU2lbvsachGghEP+Y/A69GWVFvBBN7
XYuPMG4bF1mB6zQGQhvn105pROMANbqhETiJa5CfVOxNKloKgZDKcmIl9CvZSlzFrjxeRDuQnD7I
EG5wyoJsSwOGRwSapgmx64vhkEK6L6V2IOn2QYsYuMKy7HrM5CtZ1B+MaZukq2/A2P5c6+juCSED
LrHWN1N1ZytSYLBYv8QPT7ZRIrZtkwgkK6rfZV+abmeY4J5hTeSqrQoSqRCiuU0LNrCyyq80NZFc
KWMSOL3JR9eC3Xo0R3x+mCK8Q7tQNOVDVqk54IahFMh5xi7tSmk3KjFNh/bhF5f4RiLEjUxlF3ZG
5pWxTN3E1q7UKEkuqjC8EiK7tsfhQUti01XT+i3r+V2XaQctzg2nqzP5IZHBaEJydVNEsuXXA/i7
Osq2IGDBzul1UIfKwACrbW5iI7EyGCoLctBtdY8LyPMgqb2j9QCQyN2d3lKvGOh9geY1qmyN/Bb6
XE5axeAHh5YDIrpv9GLXGq906B6VNP81SlXr1pVkuJBduf1/EFDr6jw3zKCbGm0K6GkIy+u7+NAl
hZuXd3bYlq4q0dYrGFjXq8hTiPoukvzAcwSTOmqvaUO9nmoBRHBLn/eli5eCM9Sl12SZ5lSavTt/
Dzx52KGLDv0ZyBARdKYY2vyRoBZg7GojM8jU8nXs8/2olBkY0JTnJCkDCMrXK6+SNYMniYYiTwSl
ZlAb7Z7LUKhQovQW7Vo3SRc+ZGG8hmFbuG3+GOEs3dBLtSgrdIYEYmQPRhS/Cm7d15rin5/IhQs1
zOjQTiLQyjuR/LFLVZJUOTYh2K52jiCYRSbZ2LQNDzQqb4qaX6dRcg0czOa85eUB/mV5nkiuu9yg
YSoZgVHlbjuGTlSprqGvsVQtPEqOB/gn4XiUr0Z8GuWRwgzTicPTLxDonx/HaWLojy9+D2TmizFg
bYQZk2v8DjfYH71r7SodqgR0G36EqaP/75mhmcWZM9JSHmiRY9GMQ/7U7Kd+LHAMlI6cATfRgoPQ
+hh24NZYyT6srdjMJYUo9ThuMNABBB2DnV32kbbR5O7+/IQub7Xv+Zw+42jF5Jq3WmRPowN+v2Ch
kyammwA9bhHU48o1yu/Tgu9sNmf5rsHsO2qUsDfsZVdzW+rgvg3dmfDzP7Io5O78+FYdZpqAowGa
yNIq6EQwUd8sdtkreWTeBHiBtm/qVqvCIKcV3Nn4ZvmHEunt1sixA6a+8QF1uNyNviC5heZ4SETL
imuMwE+vOctpYWNmdoo8R6PE64/VoQVvGTvpMERgk9UKBrKoyIuEdaUIY2OLcT90Ifh8jCte1Juh
t3Y6JIrtRH4v8/S61fsdMWM/S6grGfRdVfNNotYrR8ligPhTOtIJeonmWa1KE42Ba5sRoBNwK1fW
pzHyauX0WNw5gFqjbAZttROFOr3G9JexgSUwai8GOGIcHzgSCOcda9GKhoKGBVQJ2ntnGweqdJJa
FaEBrejQTWT7MsrrB6bxlYB3knOfFvbIzGy/JGGIFOpkhoEji5jUE3XvmKwJwDq2sjan1caZrdlW
Ce0+VdUevitl9XVX62hyLd5CMX62dtw4pKFvkpJoThy3gd20z6lt3FcF8StdfU+bat/T8Yrm4a1R
EV8totXG9ynQ/ig/zD7vZGvJI0k1TIXFfeFNcJHhiwal6Ud4Ngbcbw13DS+yNvuzbWXFqW5bI0zW
pXBa6XUglt8W78harfjsiqH5+axbYGNtBaa+oZ1bcdWLkUHqoOOphGzFcU8xGH9ixfd1bla4UuQh
LEx1us5p5Q2R+aFXiqt+7B7NutmnmXVfsfJmIPSDDvQOkpLXQybvFQkV2abGg9/Q6hXt0tPiy58v
+usQ+pPUPYpeqVpQS5quX52bW0i5bDJxmPRoq63wxzoYjcD+rRhOcbveTzA5zYlTfV/J/gTWY9NI
8nfWNBnEKhxT2yZxtm0hy8aN0gkN0y3BbXw+cCwuNeir0RMCRctTQXNeGlZZIG9gIsvWkPwhNsgL
QuFVMZDP86YWo+2RqdmOyXlRgPoWZ18UNdcjiZE3EMgxnDeyfKQDGI76sUUAF5tFQq6VdVK1GJDu
TGzJLEKlxPKmuxHNPLKVmLOGul+8tBxZnAXFFAQpqFxgXPIgiNMZ9Kro67cEuk5O3vf7oU//Z9jH
5KFIgSMTjgwsSHx/nq8yFyysZIxxSOld0tcXUmtdNprtj6a9LzVk4A11B/VJzRlJ6KqxtpUk8X5+
ohcd5/sb5vVtnheqGtX4hiJ+BIMLshGopQy919p05e65uCmOLM0jRKWmI4CtZtAk2WcP3n3H5AMo
w7T7ONTuRAawYWTylfL9orMeGSU/pziuhqxMIxhF2Txoyfgga/HKMi6bAMgaXJBgOZgzoGUQ8C4i
kcNTW/tNI91nZMYrU7e8G1DpIgD3L3SUZeBVGJIGNsDA7ILQdqL4f81MR3NAkOQP22otni8O6sjg
9PdHESyDG9QNelHBD49Kid2xyGVCXxPRWLzuWMAFQ17VJuo8ThKVgbmHZWZQNtI+VzpPTrPnjKYr
h9PyYGzNhoixKkPM+udgZDDUGTJDXi+iyT7NQWiV0WGtyXAxfOBqaJgQpT3tyFNB72+lAHehLnij
p8Kvi4tKfqgYc2xprZK17A9HxmaxaowgXpxkFo6wai/AcJxcTNGRGLvRhVoOkKVruYylKUSqbmpm
XOomKCgHrXyFyllZ08ZJCC28liKhfD4YAQOMpZifnMBxogAJEUT1RMxx1EdqNx2Wqq9zzS9k5Spj
8o3Jwiept34NEdu0en6t8yLQy/6Ccr2a0lwXiSl9UFUyESiz2om7gW6iuPsN6pyt0UGRaoxs32C0
cluFfgHQH6iVlLh1PiB53POnMQxBS1+VyN6XGdiy8N4vscSOVJmHGPclUqbuyDR/iEixV2oDDVIm
kCqZXKHxHqqD4LxkT0kmbZOSSi6A8Fe9nNyQGtz+EaF+U4hdxQ1PVOg2F2idbIjh12W6J9boKlaL
LHn0wdryueDRPhmSa9bZ+yZSwGuuWyAn7Q5Gyl/QCHSfF+GeKhYywPZNZpQPSancgBM/GKzst9QN
dzFtb1TkTIMQHojSFfLJ/S3QNE9QWXpNsrhwsj5C0VO8x6PYMqqZ6CRiW6aFXmXxh0bNLvNc3ptp
9FgI/aCDH6hr7Hstq1F2TszYMRPp1o40aI628Q4cDr9JUn2tOMGiD2CnTOixhY6BRLcjlnOB7ToA
pqN6be02r7UHfskp1GXd2lVjKQrh2oQ2NAg6QUl2eiIcxTo1UuyyLmoc/G+yAmDi1NiaR9vso3XF
by3ofil/Q1R96TQkxABlHxqidTQ5/TSKqkwiDQ0GaQ852qoy7o2FdaVy4F1z6Kg6Oup/JBFS8E8m
99vuyZuAdgqWHuV3TtInEql31Cyg0WaPKPyCSypHWnysjafc0p+lEa2OEn1Y+YLFkUN3AzREMn6f
UxFJoVyORT4gLQrdQs3NUBkNyi9sFXQdpLuYQZhZelVuxCdlPntcQ4UuPgvIkfnZ9ZWwEeQ1YsTJ
BkreYkdBfWBApEK6q1/NjeL3/U4c9utdltN6ngQ2qFFBLQ9KpHiV/Fxvoal5lFIEUFWLtnVSxs5A
+1syjC/cRLl0kO17VC4DixSv5+ebTFecc5ZnR7kgdVP16JYKtJy/lYBnOrkddpBql68LFfU0Fl9X
YYOU//iQjeOroslv+BoHEM/GLZAVd4DBcgfZ4D7oK0K/RAUZldweUIJI93IDpO7QYV55ziwdN8D1
APw3aWuBwunnbIGoo1Czrsdd0ZJRpqGPeijfnZ+XpYvvsYnZzVDjKipnAzZCTsDfzY3xgijdrzrW
M8ey+dpNZ3H5wQ+HAIOm/RO13cJMO1yBYG3Q++uGa4Pf2ZoFCAV5IHAXT8Q1GrMteXRUWazdfxYD
HNgIQMEGWnxkyH7Opt0D9tgwzKas5k8yZIadgkZPHVvDdy9O6bed+VuiqihLUopBysnwCG465qm6
5umi/6xSeXd++ZYndLonoHMUZJqztBJtbaXNFOwnpCU5f7EZHkmV4oTdQ59BY46nEHyQV4Ln8jx+
25yFDiUMLYHT1QxYgQo1BUSQszspJB/nh7Y8jd9mZss1ZgCmNALLNQAK7Mh6wVEWiB7UWtoPtF4j
6VuxNk+T5KToMyVGOAbNjtfyZJeBrcJSIjBIrLXMLCaJyESd+Z9Fm9/3c7xvkghF/IBs5H161b1r
PvLBbrTjT52X3YHc4bCWBlq6lh+bnG3zrNazhseYzEJnWykh2zb/UrkJmAwFwKV1zi/d8ggnVQiC
XgZyojfNokponQRzkTE8SFr9HOZS6day3k9AyJeRAUkloFPfdPod49AAsTJ904EOr8qNJ7MyMket
We//y6+aHQFWJfqSopEVZx4naFCQHOViImLmzgCIgMe3ldtdrEn6Le5Q9GMBagcCyBPN4Jxaca5D
khZqD+nBaLgLKpTNENMXM8cXSOJVskVAm+jm/GBPu/GQVQGl0V92ZysOfRnSaYOCwTKj8fSCXFlh
fhtbVuSNBk6/TBMeyu8MKedsKxHtiTBASEEv1fcRiN9kwEi4p/F+mypsk1Ucjfco72sqDomqPABO
Z7tCFMzhWeHFaRJ6uW5l7tAjJUXRrdskdeuknRW6eh8zP8Xzw6VJ5RFbRsYsyh3JklfWdzEuHY14
drfA5c2ioyBmkCb0weztG7vhD0pc3p+f2cVI8X0oz5/RcaPEil4jUjDtk4jPPNS9JNIAIOy2/8rQ
vJ08zqtYLQkMSYrimmHjKDJE0jrQSRXlykVjMTxMHKoyAK/IMs6OkbEs61IFSiHIQShvhTok58JN
XnI/t/ZlZ69YW57Bb2uzAySXMpxaEgY20ndj2OOZh1QwepLYGj/Q8v3p29DsCLFys23MEsPqJeGo
Cnd5vdZwtGxi4k6ES+howfl5qWBNCxalP4tkAEJbAMhYWtLKfC2GECC7/2tjms+jl5lcWEouBsQt
CZINDjPC2h0Ncah1ayNFCm6mI4P8BIoZITAvm3/ihN+2Z54xEJYIeQpf3Vj6iQANDO1frE7dxxwI
oPO2FucSbMjoXQXyGpQlP8epFcJKwwjLZXWPXQwsbrMmWTR51skj4MjC7ATIwja3qD35uUEOeQSW
8xRl48aCUncu8BhAqt01QcG+MrDF6h9BI5iC/nx7UuT+ObIMupNk0lBDGr/1Js5ZWmwnlrGucwXw
FRJ1EaLR5lhCZ8tNmuD8vJ72ok1nwZH52VlgkroeAEkGChrMnmUUOXXxu49qtHf6cnYRtp3b1Kg9
ssIpsrWLlb4457ib4jogA1tmzDbhmCmjoL0BDxqsel+QqnSzBkpLCks9jUEZMaTo9u7RGm6Lh9KC
MBmr6y2X2ZvchZ9Kn+/GFJTJXIvf5eYdWD2A1yBfo/JbJtIbmxWg0MU/orUwgJrPOheYMurSPo+9
0WzB3BoOu8KKfRr1+67j17kJKW3FGjQIW2ubQafAd5efpKptTwgdLP+tiZcdgGhOJdsv6Dn4BMP6
bR6PTzobnEgLr0wZyn+QpXCkqLjQa4RLhYBtMp6QvJKhXXeganIbw35GLuGTRNJaWFuM1jbeg1Pe
AC2Gsz0popBCSshE0sT8Ugrhkuid2jdAHwuAX8+7zuKZemRqFqpLXtUhJRY2TPEpZS+SfdMb9+dN
LPkHcGw6MVSwFJ+QIdh8sAQuZdgbMb2gY5z4tVoMjqkBiQ91R6Ra8WYflK/zVpfm8NjqLKaaWUKg
CASvTJOdAn8yjM7r5XoXSbGb6KvplqUQfmxutmS4JA1WbmEH9orT/B7+aGRquDS4O8mtvUkkE50M
de4MXuqtyzwsHbgqYLqqhlYT5F1nW9AE814X6dQK6uS+hpaLaTtaCNVV9FKen9XFtfw2NE+r1ZCc
G1QzsgKkVV4oyCHbjEFLHqRrYch/5cPog/tnLagvj27Kk2JsSF7O5rYkhtRZU1K+L9NfISgXNoMx
3BZKjP0RmSsk5Ys1B5Qq/7I22xEg286twcTrdyIlM7gz6Uy3tqc55MWA0nQc8LUi1OKkIjuK3isk
Tk46iaG+mop6uskDsBu7dZw8IyjqW1onSMDrVucVFYucntnb84t5Ku6KYwO8YaB3wS/jpK+YyZbI
oA6F9FMm9b5RyoVjlMoFGZUHvYtSFzWIm0S3Lqlhvtq6AMahuxnrEY0iLP1tARWJRwbfl3H32Foc
j3ZyCSJkf+Ujp0vB/EhXp752WVF0kFjPVh/tA2Y6Kjha20APMuKqtVtcaM7UhjZCE+Yr28Qf500u
+tuRxZkHhJ1UUV5jWmSLHvIO4qeNinaDLnFbzp7O21oMU6qBfDxqm6g5za6XOUXWqmVT3OBQahsM
CmLLGp0Q+chzlxQVOiXYmj7h0jUMoRhbyYZEKfzu52VFzUqZZOiOC+Iukpze0IOmxmqfH9hiQIQW
nYY786SfNhuYImjR6x0Olp4k13HZbKwkVF1dIiCTJVHuqrRFl4R4A3qYrJhezH2rR7anBT66T9e8
aiW4J15wENJyuyrt0ExGKq9NJGjZavZTyupbKervGvDnOEnb4nP6ogwoQxNIGoXCyZvsyzTp6HZE
Eyuft+heR183m/5C0RixIsxMVwjFV63kxi7lm0IW4LlP+hX/Wg5nf/pGwbaln/Qh6gqvx64IAVi6
7HzFU7fpY/RousIngdh0H8gPnF/3RRAngCx4zvzH4OwK3motFzUq1IF2OzX+2pqb+CgFBtZnKXyO
ypa+k1YwUKeNq1MgO7I5czZSWnmvGBhkimZVMP+oXgGfc1CkbLdxHnwaOHdzryjRVeVmJdLRDjus
HRyTjZM4dfQNM6fT9QLIX45xN+iG4/behm5Owt//5ezOnMcE/049qhhp5YEy0ye+/QwWJhcJNgdn
BPPXdWYXI9TRuGbR0GJ6k5c4lYNY3aP9r2Kmh6qw27WZmw3xbmV8y5vj23tmN5l46FIoBMLaYLrV
S3JF3O5qOLQX/XQCN55pucUdHo6+spJOWw5Xf9nVZtR+vYTmF7XEvBooHTmynAVdS6+6xHqVdHIt
yvFX1aJxL+7jlRVdDMbf0zsnddKtGAjWHoZrM/4MSXYrU3XlnF8zMXsdUjCHtiSGiT6Nf5MaDaCE
pJt/t3DadIwfxVylI5IhQMcD7LYakK/mUUqd6FG9qnwtSIPI69ERlrvSbg29veIw2izcNHg6jvZk
V2FoAWKfIZXRbf3e2mscoSv7e47UG9QcpexEmsr1duS0SGQ7o1GAP6mq1jbBmqlZKMkkYeTagAXT
NuF+BEg4BhsvGqR7JLF1Nwn4F3qLmYt63soirnnKLLpIHO2smYLJVAG+2gNIm6BF2BmYDxypqyKh
gRQG31DNO293CiEnoROCYwB0QkTJNmebD119LUAreFVEY99ALT1/UAosZouGVA29wXqTXki1trLj
FycZYEQIx0118vkju7YzM8cex5tJljZdBjmC1FLu28wYV8775dEhMQSYjwFVoulDjnZGCqnVqBhi
K9DzNpBCtsMz50aWkqDP5A8z57c0y36dn9DFaAak5X9NzhxINbJ+5E1ioaOhjW9TSGjguV3c1FFx
ibQCALPg4FNk4xBSe2UpFy0DJAj+Mrzp5TnIRJEUrWHStJRohXNlgvsVpHqRdFGad5am1/poXKJb
65qrol/x3kXnPTI9/f3RPHcQ7gBXNua5sVt3yKPNyP8BbwTUJGwd1xfwMJ1AaBqt4Z3SYH/QBnS2
FXX7tF7pWVg4boGawIFg2jbaL8g0wUejSFiZIBtL9YBnr7r0aNqvMuq9sp06Ilrxkj8h6+e+A+YY
KQPgNFCWAYn/T1skTmIqYx8EYY9uNo0SUBNn/0faeSy5jixN+olgBi22EJTFIoulawMrdSATSGjx
9POxV3O77/xtM7PqRR8jC2BmCA8Pd0tGpSWcbTeWr03fYcmeWZhVdnEbmnPF2HT8LKbZDSj0lCjt
5RKuvbAh8uB12hm/Rt0Hiozvu1Xd6ZPly6n+nLR1vrmgb/XWLXxDtts0dvee3W/qZLgvrPqtSuzn
EuHqMl9Xn3tR+YVQGVP19fdgNFsLVmvtYHkYi02Xps+p7cmIsPHRlvqx0vV/wwD+eZR4MWwnEB48
wOq/Ny/1Yll514A4tKHxBpyqPmNCZfAT+OwBhSrLJDvW5czr/3xr/+u3OjfriFsQ/AcpcEpi2apm
S9g3XN8mycTL4//XN/w90BZ1vjjrxDfo/IqeMJ6a/N8CwD+jHa/OYUkTKWZe4d/D6iJMmY0rNJzS
/bTTh3gYApOqvDUOesydqezwf36k/9Lg3L7QUXF5sekC/h5ek6nPke8Gr1Ef1g3qA0clMK43G0kt
MjHt+b+nz//n1/0ttK4Joj+jh3SM1k1I1JihsBB/Xtj3U0998W9mo/+MBnwbxJib7Jum/yPgKAvU
T82+HcRcida+uJu7ZR939kMn3X2q/Rvw/F8GCf/5fbcj+r9FH7URk214fF9cPLLxt0k39BbrZY6a
zb9LQP+X9cL//La/xZ9kRWoix7AeaCfZFZZ/s/r1gqHd1fuKTqap/qUQ/j88noG5OtUGbo1/G9No
re01olwA1nfuFu+G3XIxDq0/bv8fzwkitKgychP+QXxsVxe2qQqo59jrdkgfx3LlpYY2cY8lh3+5
A7cK/j8C+V9EP8fy6BW4edbfnqujr2k6U403ZSZi5qwD2/T9ZowbjmXbXOuRfG803p3ZmV9WzhjW
M6dHb/5396xblf+3PwShaF2FDHGzI/y7eYqw22qG7p5up8MYqii3oj2nXW+uPvkhfV52/2b9y2f/
o+K4zbQhbJOYVSxr/x5w6s6c4jkT6Vayb7ZZxnbZNv1wUxrZWqZc7rRkdYMpWaMsjuct2sF1hKDE
dFHsKTA9qZ/0TI5RXiZNNPe6eGgXJFzGWftMWpTYWFRWKJLcbvleHR1fLIRQtIuTfAvjrTR+Gkjc
PgiL9AdHRROpiY/DIJ8dqw+yBdutDNi4WNtdp1hvHcPVRbdztBBiJ5yV1WTJMr04afxUC+UzRXem
HKi7RUtJml7KRgbmTWDiW1P6t9U4ObG86mUX1sC0Zo3Y0pyHmhwDy00fmtH7VMu2CPqqURj25Y/W
bISFuvjqOpxzBLSGLPXZEAjM3N66yXTqSvHhzv27GFfflgKJ6vonKxTWiWfnnLjVbrW/MszEV9dk
YZHkTlhYohG2KzohSWrTfVi1vy7Oea7nz2Y0Xo258eEYvmLW+iIyCECx3UVeUpyWEhlQYCF/Nvuj
LD4ZF9412rhDx/OQCS0sJ7krNOCSMkb3t24WKCX2ZZnGY5J023itIhRi/NFtv2cvj9zBelLrIWz0
r77Jy92aa6/N4ty11RpVnXy1ViUO53Z9TTtto5YySCsTISH9UHSUKt1XWnd7WdTbzLOjZK6vjA7D
2fmjdC6dh41wFDU6oihLHbbIiOjKGNVZHwi3OukL2FLyPVT1ZkK2Ia+/6r45wHTo8ZnRfHcqDty2
qF3iO6sWj6OoNs6QbjJ+VCrizndgR4229yJ742BiVa2b5XXOz619Nzr5R6EhYFWVx6LosXKrT0br
YbpWI11bDYfBzTbrbB047LulFVs1N04AtztrZaBdGahSzQwsgzYp9/Dcggr2eJKRdjPL29XyWZX6
IzzMTTZj2eY8qTEyIioriYXL86ahWmTPpoXT11DgfDZ1KMpg1ba8GtOLnb97xXKuO82vpnxvLNN2
lRT2modciLcVi4MXb6yHVls5Ya9U+zwGlc/M7i4Z4Saa9kbP7uUk90MyBI4+H2TmHSa9RL3ERY8j
2WOlfayW5lRDT148Y7vW69ZOxj3nLpKrtY+zn0RHqLg1EQfxzsLh00cAPCy9nhI0xYabewueP/Z7
W2lbqbv71WJzecrDcYiDOXMeQHQO9sLvVSA5uC5vdZvvl5ilV0/bVJMezRobRv3Cn9O8KLZ2s6/b
Fk63Le05QLDDnzjjQ/3R9NZTGmtXvJe3zU39yp26l9zwtnHS/3hGdVaW9dkoNHhvdTCvZ81twrJr
oibdVPHXjJCYMURjYwbEKt6UGprrGqVavS+0dNvq+9iYtgKWTGswTcv550hO+Ej9IAbTPMInO0lu
iJqyhN6n/iIu/fSdGpekRLJHqU6Lrtz6ZL8VbdSWFqzrU+u+D27tW5i2TM2dsyIAptWRtM96fdIB
wk0Up+r6KJYHbbKQJ2JdSHnK+fBMEwHbXkcOedAk/XYu3rEF9Zf6z7y8xMnn4t7paONoKFXx+v0G
U+u4xFg51yDc3jdux7ic28MvNnHl3Cbb5cqTWPelfW7lNi3R0awly4BPs5wYa6l7S/1EsxSGVet7
SAj1gxE2bGLZxVu7sidgaJHFFvH4aOafTHXv6/oFBm5kaQ9yRqSMg6ulSdhLx2e15yyd/hib+Z1s
ch9S2qbTL7ml+isuRi6VjIaMVq5GjPwhJ4ogxq0hXdCeG82gN2J2alBKErvZgixofxbxTg4itGrq
EndibZxNE68KSvqahiyaAbkOy5shVO52SbyDUiC2nnqdvM9YvNjxteaP0NTal/POdD91Wols/kxS
onz6MIlr1760seKPmRdlOYCn3oB6iMAZmjB1HD/r8UisTT8e+X1/k1WERvGNIZQ/q2/Csn2H09nK
zlenV2XcixVhJze0VriO4sGATD5g5hi/ZDaUlOVjgQ1j0lSwhxZU1kHt0LwdvnT5aCBJlIitk3+6
xoXkHXS9gClzx2+VI5FWtcVDZ5s7V8Z8rrpN1tsXan6BZo7nPSGV5uvT1XXvbueh7bFwz58S9oEr
kKNaKj7rHqO1i5eTk5CrTNUX5bHj/yv9Xlc3GRY1qYMQm3vuVS/UURxYFBfGU3dXu/e5dj9TQZTK
0zojQNaEKhaW7hpN60dfI2LYG9tFxUC+cMN0haanvpn6RzePgVvo5HCMBkolqGw3KrWULavvQfzG
3GoyA46Z0HDX7xW9uAw6+pR6AeNlvyGpoVFItxw0oxYULRZwX2K+ZrbBiPte5qOP/pnvkINHZqb5
gHohYljOxamQQ8rldlo05Jncl8riSM6/zWjhnCk3sfGp8+umPFP/OqqvufVd51owqbBznNDiDE+z
2GWoFpUrIlBTfT9Yc9C1H5khg24cIr3+FsmjrT3aIyDK+ypDd/w0gAC5vNs8drbVfPTcP1RCfkdu
UYR3EE7s54iE6BBxvCSjsP72ELZaVBg4UDkT7cMdRx8Ni+tcv6UTbzfbjgqkUBT6xjrfJ2Plr6YS
pESlAbjTFQjfGROwINXHNH+lFiWFbu9afTNZdlBx2VrcX1XzJTb2inzxrEvh7mO+LhanUlBn9Isv
1mSflWkgcvlsdUVQ2HxZjxi73v+lz9ird5WwjyZenbItfZ2dC2V5RQ0x7072jCKXPoT9+LkOFyu+
2BZHSjnMQ+r3+bUpLql+yeYtkm16xQj73eFYi42b3mflUfGevfXa5kj7N58zN6zuP9ThYShEMLD3
Frf3UNwJgcom0z881lvXDwQE/UK5WP3RZIOMkFqX96I6d2IIbP1BM54rG0/xZTevd6r3KcTVtJ+S
5XlEGevmK5JVv5Yt/Mrd2XZULq/oXCzxBYmTIE81P1kBxBykhHVcmI6qsgSNduCfMEXX7fs5PnW5
wvnbmAXFnNe+lsotN6PeuRhhXzihUyYs2ezSzNoCGWGFq0QUU9HoGR/2rIeFXsJ/KsKpa0OLlaME
fUzHnMPMMaIV2c7S6gJLYxAWa4caJUujS/xJWFuE/3YGdteJQZbpj7WgyJsG3FMzk00lAvPQ+kLH
cRZeIsROnw29dGWZ0LIAds7mbTehe6zxkkOB0iUoJsNPldaIeC7o8Y2HNntIJHdGP3aCWqSzw7T+
JML/cVhfHAvkHsclwgkMrswu1+pQZNuJYDFbr7rCbA+pMPexUc62kvmpe2lxiXA4pW78o+l62Dlj
tBpU6kpzjtHR0xN7Z1Xj0+ytOF+PjHqztYhmItIcD0GeP3bQHJe12Sid6FBPNL57CB+W+Vbo+5EM
UHSHFWBsVjFujmVYLsc6yR4VwtVYvdf6p9Vy7pJlq1ZQ0Upus4a8/2gFlbJfoUk3ecyf8FVCxi7k
de1/W/en9s5Vl8KssFBrYLdogjU9JvsxhUpDbBzb7JKl2Vbrr4vxKFnydBQ9QPjHd6iXTEq8yRbh
Yl+m2EDiYudqEL1lEahzvp3JGLGFnU31YBCMnNi7xJ7YNVlKiagaz7UG2e1eMZ6n8mOx79LlJU8/
56qPchfSegqBtlijkTtQMpFHUlMfnlBWRdSYw2R+O/rv2onAMn70+V7G25LA0nhJKFm2nHLrbLcf
Xf0+oiA43Kynh3GLChk4EzGPWWtSBoP2XrYOEZNRMIIvZntw8lf9ZkfcX6TN2ueL7p3oUd34pDkn
iJq+3j6XdA1sTwcVBUOGHLbJdmTdv+PE5TfwMbriszB/quqGlaWfjT1SDuhomkjz4GAsUdXKptXi
jaHd90p/odLJ5mZjpTmZfIxi9c1YnTDNKWWVp8x5qexPNjKjeX2WS7IXmu4PDV9/O6MW++fCCB1x
nHAOJL77Rv88QyHUlke1SMJqeNRJhDJ5X5anwtZ9MzF4PePdUDErGi4LIrheyeY/0rvFRHHkcitN
FYZHcZmhYHc7PfmRsj9VPDelWORMqFvmWRvNzFs1ecmo6GOogJo9oLhb+JN81/N3HnILgcBfnTe9
eHDsb9V6EcNFKp+WeK05Z4Z8KOxvt02u1DDQ9SeMutHnEI+28Ohb2WAaKN/XTevJjb6iLlpLX9jc
RKvbWFW2K4zGr9DgY5EPGcY/WGqx6buP51eWnWKGXxVLnVn2qxn4RZo/alzQ6eAyn2lBN+VRo/wo
HPJVLDdp2UCbZNjTGdsUuGlr+7nzUddeIFf6p5Zczw+GFKm6amFPNZhzJdXFDW90jFx5L5CrZbGQ
KVTkNAaXxfSl2QRmdplMSlaPYkT7qpZHfSi3I2lRkd+Nvm9kxYcMrPSxumD9GNXb0uW+8ORbo8Eh
ks9alj3Wqnga7ZakqOGOt0aWV56t+Z5GjNP00rWvY/zWz+puKl7t9Tcbhe+WX5l2LqYm8GAVe/xE
bUelItD5WRxfyGKTjTWbyzGKl9rVSIwzyzJHJF53ff7I6NDPbg/HbTaTV5GhkVlXUZK0QWuP+6zC
HtgaMAvp+t3cvSo9Jt35m+HQaWJUYJ3V5ZIwTUVUsPZ19+Q0+v1Nd1kghumjRk7ZfOrnvWrZ0UAT
K/T1yD52WGu0Fqrj437gO50MMYevrNuq9y+qHEHaPHpuuk3lyA5562sjfuToEq/T0XQHv9OUOztO
qSIKcHDTiRtf6epPo+D3bBJkH/9U82NefOUJZ9X0Nran4AyOaKfd7dHTRAqUkb0VR0VdHJ3soUUy
2DXLu0VMQW6Qkup1l1IpumV7VWqohMgzd0jgzwWBNsGHTlyNXm48gkjmAI6wr+I55cYol8eVzCZR
BZMNFTTLphrBaiBozcsa9OZ76qRILFr3OqPnqcsCOvDQmuqz3VgMMoaz1vMisvXidsfF9aJ+WY6q
ngRle9SGa+3BFJVVaNtfTQJ1SeUPX/aeyO+KnGG25/I868as2tApeGeYo2xkF2/V+cdDCs6YDXjO
id+2fzz+A384qIuVPgEx6eFO95IoQ+Wpg1YMepT7iZEhs9k9unO+q+ip9RUBDFbz9QyBvqnqLaSR
k97XU/qUecLx3dWmqGSDJysPomijMrv2pnMduh+jvK4ADuMcOSlW185KifUtzNeErm6qPjPrJyN9
pBjKyhkq1uwbhv1ma+wqWUMgMlQjPHzbWeBscyrBto9mYYHjqZW+WdYekRitI7wZ3m/v5D01tKYi
7ys2Vs8+ndktO6nmZ42176c4qZPvPpN1HFlpT0eoqAh8t+N3JzBoQWT4VKyVMH1VDDcr9q15qyFa
DM/81WWNY+4FRHJ6+YQjMbr1FT2KQNrdW2HNv6OlRJD9MWxPzPncKvkfY0k+9Vp9UTODICnv7HF6
VMfhYCTWRmhGiB1BGKv1PXcBL+Ks+obRfigrh06gnCmjsNb6sWsxRdUyT6E5ec2hkvJcIqEe5jej
91QUW4j/dL90kdzze73PxlC7GZOOCxFpKBpjX055u1O8NDLYs0mERGCnYtiZ9jvba2ErCppY+2uw
y12VVTduperHlVVHWlX8qXO4UlJtCH3FUKGfnr8MsiuoU5srrGmEVuskFFr9gNzmw+o2D2U2Vtve
6Ue/rbC7mXmXrHO0G1dDbVuYW0T03QAHv7u01hO/VlA/iL0Yzd0OFM6JrOxeZFRaRql8ypygkmRH
t0TrXx2fMk8n66w7r0GqbKJyqmX26yjmC7LUYT02bBaku95rtrGaUiO74ty02j6jTCsFFqpp154k
3lVqesrpGbQc7ezhI68pxyZ7J+IyKMyXbAIiFI+K+65xvBXiZIZXiMcSncXxNi9YskYa76uQ217/
GNGwilOTLtH13Rzo0nwfJDDSWvpjQ06hTW9qj0bkeZ4e8kw9zvEfkwvQEe8acqlbayhBdjttUYM6
FpHMFPAoDtyqbCtQFsQYfCMhmINsrd4jIjAwtmXQFveL+aMZH43uhMgDVxOorPWnR+/Ebg+LswSp
+cZeqT+P6mbSAA8wudAMQGO5Gwa8E5Zi3iD3ckqrz1y3uLIJbMs6yglgOYCp1Ahk1lUb1QdsCE9o
hPvueJmUT9cq7gwLLcl8fTOsjW1/WAhiJLdOKeYLL/1NSWB4clX0xsG9OWuB2fCYffWplT1tj85j
J+Abz4JYlz2Xk0pOTvdIcft5z5BgKfGhf2u7a+fJnZRbBbXyWHfO1Wzci+a9Gn87BDbKVfEzeQes
ZnjpFnEeloLVjcfeccPag4lwdR6jvzoZXFpiq9E+r7way/5lnBX2gp7cQ6mlGzd2WXAExd3Efkes
nxs7lMpAOflG0RwYI0181km/518vMUWAXPdmup5zGJIDH1wVjj+pGvVxf9eWa9Ca8fW2ZOiArTjJ
coY1NqO62Q5BmsqvwipSyuBqD2piWJ+NNhzdBAVJrm6kINDsMQ5ZaaPczoqqLCPHKX6veKBt57J4
yeYe+oC+61HjyHDvWjDNsapnKyuD3qnCPAEtQiKkTsZQUbI/a26/Orn60i4QSB39UcAxXLppM7SM
BhCQxGRlvDqTu7fd8kFZplAb3E2adv7s2XuXVFcnxc6YH/JJ2wp65bad0GF/67weS6JV7Bdt3U6I
0dAHbifv1Kno0C4ZCLDcd0LZ9NrCblh+zswsbGwnaomYFsheaYDGOWqkZvRCSnkq0azVxvnYJ5+G
e1009scxZkwpq4v55wZ5jsUQtbN1mmDLss0RxECZmorcuzdzC/S9HJagda2wm9yDu/bfqkrGFr0v
c4tF0TcFrpBb92Fi0seP1b3DarVJKFhYOhroY+qq3fTJQKXGXYeCNoCgSsMLBGiP1LUgKVeEtNOL
maTRFH/1Vv48J/Zdn8b3SvNGmNkiPxVZRnlnzyj9de8p31/3f7r+ZEFlxsB2p6XOMRmTwzp0d2WP
mQC9/iqHnacUd4OSbE0QKXfk0rGb/Qbj3cf59Fj02cZx0SZvq+S7QChHyLOl1l+Mt6I2Z+bfjfpj
gmL9eLM0W4qD5RbHnHG2Lb1jXAAqmlm0lNlF1V2ye1wFc6LsNbJlCWixmOZvW30Y5YcY8b4E24OY
vU1uyFLynqA/zmZabBbgWi7cgtn46h258ySzM0SoTCPeC2E4NBDmjvAdaLWI6t54kKLESoHao6s3
St77aY5O57LP1sZXBxrmAnYGeWDQLwtGkYO3QRB+w2HZzoCJ3fjpkEgU/clSXlLJ1mn5uipGWJJz
ElU9YAEQ9uVP1gIhFlFstoRK8Iz2STV471MVALbS9jiBxxLUEtcAFMzWsh+9Q2So4bFZJabADnBa
3yoKxl7eBY+TwG343fMnm7dbgn27uG5473GLPx5NW0M5bCIaOAMNJPDMcnYRk/K5Vb8MsmZP7ree
adFDBXqYyx6XgbrPlKth4SBGzqBrQRd+cueDiqFE1RwdjK9EbFMoPazWht0Bv53eMgOVeYZgo5qE
LcGgY35PBjlgJhfUKoLma+YnDObKAmMF5dImeuAYLbnmOJG+3FqNYu+wpiBQnGrHw7UCNPaY69iK
dKtfEUfpFyZunTUepgSIg7KlMI61IUJXfrqTTTH51eE5UKe/S/6lwGgdnX0lYZW42D9o7+jQRjok
8Fk8QMT7yxE5fXD1Fxd5/0IHq88udYb1bvedt/mmsw5Z0frG+l5j6LUUPbYt4KZawan9EC5/Ub7T
kcqf9Z3K+qjbbTs6bHBbtFeDJj1nN2F4rGmFsc3ds5jOXVfw0iZkYmo/abZze2/Hd6v5q83XsQGX
QQrLGrc1pnt2xUXUXxVqR6V/bIm1arzVVeZHxkmZzpoHnFpaxLvJ150fg5RW5u8lA7j518NEa7Tu
V3uBLLTt3DzE/jlTJFqOgj7iQW3Pnv2duu6pGPODM7zKnPJifeiKt7SIg0wzg1Y+2JXwx/7UxI8p
K1Vlx65h8aGb8cFTnw33Y8jm0FspXBlreCQVg3LLcLVA1Mv9RB9tVT9IFuxzg/mQ60RSsnSYbtrY
oC7MwmHWfCPG6D451a2xs9uJbQAXP4G3znV/Ojqvonljzu0PbXrxAAlicw4Kusm83zdVEmoAX2J0
dhQ8lVKy200NIlp4UMbGdH8rfClWazm4+UBLtp5HVd0tyf1kuhGDzDAbwIUWNsWYz8R9TEp/SK3T
IFffsn6TghJFNSLTmrfaMB6t9lIkS1QaR2lznqkEhPKDsM46u75ufS36UVkUmmbreeiV3ym909b2
kQPL9cSWDb+WRn+vVJZ4urfSNfx5Tak1s3CpC9aAUvBc96EEho21+KoqXeAtOJOUE5fwdWAclPSt
79C+N/UUxg5dvjvuqGwYd956rDPMrkBTeTPen0x2kd1/N9q7l+mhV9cA9QlmDm/awtAktjEIeMTR
INTEd2P/JNofNjk3pQHjKh0ib7ob5lNj/UhaOgSNAhayIaVW2BAd25Hhn4nctpJFCmtJtfegtHeW
J48pM3xLfyumYZO2z3Kyw8y+fd5Ojp9tefFuQGg+BTLjj9SQZbUVkOYBzEwe1MLZNv3rX0OhGzqS
PjgZklxruvPak42xhbFAFc3XSO/oPWV3UOMxSJkK5a27U9Vk4/FwKwfJEOlGwwbGHOEljTJci9Jf
CZIFXQmkVH+gEospW4wspnyNI9cSL4VXBkmmBjFASJHAoC6eHKILq5IgDQ6CaoAqOrBwwjHpPOC+
335+s3gFK68b0eoMHwRtekCCMExpFzXBzGZs2cFRDnn2h+l9YAnlEAu5U3uP0El8QKCymbqzHNQ7
dUShx8XytmDxxQB2YfXWmct9zhTPxeAIoJTg4C0J0ymFOcJlznazrlPJMHJumkim9a7v3UOCI0pj
9ZHtGqFXrlGe26EXy8Cr/hSgdsISoZOzk9Ey2mKyXzpOhGBmYKXag53Y4ZgRvcYZRwaxVTDBrTQR
WTh+tkDXE0+dTRACs6BK32JmJbXaM7h/xqME75J3NWUsRL8yaV8TD6877Z7VaarP8aUcwZkgfYxL
AuLfB7dBZcnvU1KNJPm4y40+TOOPFRzPkCxXAJTJVGwWDKcE+iGJ+dE2q58ycF/GrzqnVxNMa5Cu
yTgQsQcKvZaBdhs8NQ3mFvqPnpGpeuuQKt+JsuJORXCQVSDKP3NxlV22dZ3HRTbB7M03aAYA9wNG
ua+jB5dyLQVoctJSfNHF9TfHgfzJKeAIKLcLs4ai2slbqAGZk4P06zyJFspwrV8CZ5YfufXqGn9y
/bgIY1NxJFvu5cigJJ+UYMpem0rea/GwrThazURb38j7Eb7H0DFfAePUih4p1h91bGRYu+/u0IUT
/YRDga5V4MWN5redscmrvaPemUW5E9lvrAz8DYRpamv2CsO2/JW3Fqhzr7JuglGxo3W0IkN3X/ub
KR8aVDqrJFSTYdzpjLjuYrelmFSYNzEqTbw3S0OUYG7Zylajcf2livMLUqi9vBfZd2c9GrEFpqpc
NE/cYDjiln3sy/po20ZoCWxHsgwoBWy/MC44zG8ryT66DoVzqcCHPm5D1tj8Y+In5cXvarXi4/TR
6so2Tx90hQdvGn/lei4rNue8qDWpN7oDRegpTedoNLC5BNPEXyN0bg1NhflICdajEUi5fan0mE7Q
VniGX1QmaeCsIfbWF17Axh9x9bdTKp7F8B0UVLR1IIFawdg/5sDNLVM5ijOrhcAwXXWsUzC6hNgB
PGxnD2VfbTyGhhWigSlwnG5/1xZjXPt7UJAcwK9qUX4NkrOzHycGxTF7k+sup+aebnAxDDQ1k34n
ANvcZ0/OACtKoNHdTG0WeCQ3VTszEy7V7q+hTGxhiLZtYIU4lPla+iw79QHJl02lbEUj9rJDdGZ8
Evaz8E618dzlD6lzdXitMWTp0d7Zxa8uNCgE3/V4HcBtSoZbaOYFU6xF2KYEIGeRqPrAlTvLmHeL
TfewkrLtbRV/5E4fqTEyAPUXAw0KBMX91SXDiIQCtePDpHmNnZ5+bjus25mfoL5Ja5rJhmSitO22
YuiYT6xjZ0+m95WzRTq4U6DjUjdnZBTqO8/eTs1bjn2OlX4UoI0N45rUJie5/lrS6VjkoIrlU2wQ
abeN8dQmOUX4yS3rszEM0dAi72fv+sYLbvfCKbhKarJP1mQHE+S9mJ8176qgWh0DTCN8WIIqOphw
xW8xxJ9xPrnjjxW/tk2gps1Gm8TOnp5ta1/H8t4jEBpocVlaHi3qc7sAScVl2IA6KVgGiQQ/MuqS
VjBLL9SwNt5jJ7tJLoRlWaEeIDbG0G6cEqdmaui0DGES+jDlArEwGk0+RFzcqeBujuioB+ONdAii
6OHKytlm3LCcibeGvZ9BqS7ID0l7xEAgihNgYZOB05BHE+hfg41ZM+QHy3ADp6uORkcUzSULJDLZ
xeo9SHWQ4WveECuRkhgZxzFPnNatCaKoimZTOCo4HcZjyvqxrOOLNtFqr/KpSurnFfnGIaF6rpOr
W6FaVHWR4fSsx8aQFazdNDUAq4Lr6oSxduoG1pcNfOWcH83rjsxcdqPNyCofv0zz1bHHR8kwccnp
M2bxnTVzMGRqBJ/saGbDvtGqwJnMy2xdVuaI2UD9gDEazr2t2LUG2H1261p7jhujGAU0pT4k5rKR
mDT1zAcE8P2omNRe9bUYlTDJ32NwQmtYGWoxnv11YHgrphkWmoO9GUt71bwvvT/LAs2K2M0goioo
Ovr/RdqVLceNK8svYgT35ZVrN7tbrV22XhiWZHHfd379Tcjn2hTE0zjjeZsJRbgaYKFQqMrKzL0m
8acqteOi9wyJt5JUcrgyORYSB6ZS5FXpgKo2kG+pZAfRXQ/InSpiwhF92BpJQiAHYNEYHLlW7mPJ
QK4RO0YDAQCSIiJxX2ZSCXtDxxqoxN5sULSvOtFL1NgGgYo8XkcACsSA4/eT7LURoCdJKtTm2GR4
E0t7vkbPAP0aGQiDMbrHewKdjecc9K9Vdg2iWm/oKyD3UFpBodkyjMkbEXL6sN5H6j0o/CBNx4Gz
JzoJugT1RcFsF+EVcqcosaHZANmJRVXOQXbCXOyBI84QI8wjOqnQ50vw+uHEEu/ZHB1IAaJ2mVhB
wg2HukjLo1A+NElm89A3mKHIUGjzkxbXP2vc+ngALOaioHOVqG6OrmsCgBc4dwDOcrhcPYb8hELc
bA1TcGzjaCcXwMNAcU5IENDA7Q8cA/BEaHm1KAaWurEr5Bk4gdYChZAplNdtC8aHCLgPXTaLDMGe
eyzFDmA47DVO19D2twunmAIqYYKKzClDohbITj5ktxL6bVOtAycjoGOCPEVVdjVu9ASd+jwq0DzU
hH05Lm4eqW/yMh3RlYHHQEICkxalaIfo6IJmM1bROornXQKwSxhhNLTIDyKXomAk3LWNditBpwYI
XquXNU/Oot3S1mdpClzojthRWu0rHM4KEK8gQyIOGXU00DtTr3s7yYuXepo9MeDNdlT3w6AduAHT
oDw02PsRdSzeHyFLNy2S34/tIVaBeTOaHTjggPIabgIF5dgkru547A/GES21mN/RKM4I0g1uFDlt
ex1KyF65xk6qEujOtxzXxNAYO2X+ppbVM5SRMLPxCDQfuBJQ+bKlEH1hJEQK0K2dccyC+ltaVpao
CFfyOEv+otXHGlqHMYoLJQAvWd9Zcnea0NvVKskt0ZjCV7YNtLbiEHnhnAmgqVm8BPlDNQZmHQEG
102+UHd2Ahup9o7I4oQGnn7o9NjSqH9XSNUptpX2sKAsWE83HR5So5behdO9vHToYwClAKZPFE2Q
ogk8D7Y13LYhtrBB8qyg71Yg/TT4EUyt+LcX4axAIk+JpVPSaXiTvklcixdH52joDo54tqRA3LXo
/wzo8kbQHRYRbDFMCh5Fzl740R25/F4hECK+P8pleg86OCtELYZDWwfdBquVGiiuGI2ZhdheSXuf
MZ6RNYKtyemPirz1mjp4S4A+CkOkOA1na3wNdcTqmM97Uap+8LhP1XqP9gVqk91iRyCJTsa7fJw8
jGlYTaQ7ZQrURFNwP6Hr44dhkAPSD/XAcs53wJhNXtMEJzGSwD+s6i89Fu8McZ/YAdKJ3ZSrvFkp
qBiOoLkGtKJ/VOPoJod8gDql6l7IRR+0ZpI9DXGGPkF4L9fLbavM4+MUt6VXc/NbXBZ45Eb9myTw
V8WAlLPOMsEVu7nzR0NAi7DjQ1NJkFHH3AhhKj667arGLTBhbYVQww17+Qigy42eiPsxb+7xYjkF
pJtQD1UMJoFq2E3ScqpkFQX9FiexGyFdO+PvQZN4KJhJVgEIMEazNfS5uH4PQdM3pIm12WPQAs29
BbWuUEksPhOOUqH54STWJ6HlUY6tRA4gXkkZD20MICZjYoBMBNBAfVmXoKQB+Lws0EB9bcHhmmUl
8jTO71twfOuVJ2SgwkY1OFK/DSEP8V0lPojALIP2yr1s/stYCzFqaFAmFjECAQoK/LrVmIk0YGRi
CCD7q+Au5WYDUBaQn+DxICU3qjqfL1sjIzlf1rqyRo3sSPm4dPoUxl4e3RfkyWv0ZyP3Y155uWxI
IL/7kiVqflaMMcizoI/m/RI9B5rzZ/oQeq2NhM0snnHQbePtsk2WSTKPtdrKFJT/cmVgK4fgoZL3
SXkQ4++XTYgb4yWfPhc1k1jGxVJMOZY1uYHXWu0J91/ygnhZQRXTEvf58UPK7ZCiKpNYeJZgSt8T
K+dv5lzWP4SeX+sKXsujFD+ECISNXnYHQcknweM8+WAA/7y/vO6trUVTTRTA9yWj70yGXVZbqwwT
V6od0FgF0jJFvpWF91SPzMtGvvJl4CysrVAjVxgmnyBMDCvh+2gBiCfYgKjxJvCmuHffgTBuvLEz
//HYPGWVOoEJgKtSrhCkGXKadrlfyp+6cSvUD4zVfRkHpOxQZ49DTx+ihknsJf38XInKUct4B0Oe
TiBUziKjAluDnlwNb2TUVaJ+cUG4uA873NYpWuP9HdQA0Cp/L/nxjvHLtuaG1vtOndWyRzsIGxB7
4OFHEMLbsTEgY10CkFxLT6TK0vLkdpFBG4bOZysg24Qya+B3PLjm0OxZ1Ge9mbwlyg4TVEQYfrEV
tBRR4REJDUyg0pRec1u3GEAC/DGEgulQTe/D1AHEpRpI98dHxl4QH6Pj1sqYQA3gT2JUZBwEzD2i
QZS50ZnndoD/gGvaUjH4J3dX2nfWYd48XX8WKFAza9Dl1fkyIzahn1ccsqyB5nDEmKZmLYxEttUR
jvu6RbUJRpCtOS06nFpR/5UjrRZChQlBWyCqysHFq+mul05tmbo6sr0Zmfms/BjQDp8BZhql0s86
eS/gfdLhVa6iDtNGrxMPhK/4EEd4kwVoLP3LD0sFl7wLwNpYY/3JvtsL6CF5CWYVHoRbJGuTUzjz
Qcd4CovQbGPXofgkq8jDDYweCtTRGoZEV3sFvtuj1zTqD1r1wlgX+W6Uw8KCLmB6XcW4I02b1agy
ntplEXvAVmG6p1zQBQGMwciqxlqi+ZwpACmI/V3bx4+xsQcw/2Xk0SP75z+D8C9jLhcLVTBJ/9m9
ZH6apEJCJZfc90TjAcmrDbCwhxbHHWvW8euks8R/skZd9VWj94U4NQDpu7ODdqIPbgwVtDicV7oo
Wkc+65L4SqRFWaQu/qzWmqroYDF9HGwIE+6Ww/QCGNQeryFLsTJf+47ZK5bZr3ROn81KVDjiImTo
eASgk20JLvg4KnfaRS/RubrrnqrdZCl+aSMDSfH0AuDFLCzWkPfXyWTqF1DBKUPKzSvkF8zgb5fs
0M8OsxuYipU4oa0w3GjjJgLZgwJH1nBcwPf52YtKuYXU+FT/ympaj3MkT3ZBFOv9c2+FHbQkkXLr
Mqj0KDug/oEEDAACYW0tmLjGbKUNqrPSjG55O/GZ/rp1SNf2yN9XwVfnBV3T5Y6cjsALE0s6YDjP
H+3xrUGb32bdmOSw0TFhbY7axhl4WQxI45spr3OunONKdOUOaHrRCcafl7dyK8CtTZG/r1bWl6lY
ARoZe9LcOU2Lt/JSWZdNbFyPOkSuQeurIgP4Irc2R6NYA9aAWwXgOEEEIkRQ0a5qGb63kWZ8MkPl
ZwKGnTEBMcD3gFctq/YGZR9rqjDTENUMU1/pJnGo1kuiomUzFFqBfhlsIa1+U6AW72lz3QOqP+ZO
yk878OGaHOK6OQDcpGJaewnVfZx7al7zD1yBETdOBHQ/vs8mMcEgq+rD4D+VuSM/EgynqoIeEXRE
KC8aUGwVJn6JvQiNMGFsbMjXXP6yG84DRgeZh0gb2Ickmi+Z76daBpSS4HSegua56Bg5t7yRc68N
0K+kCTDJkFNgQMKwjxtOk+YFfe5AtaXxM/QGMa0MZhwuCwtbGObHQs/OYHG00w5diRiFH7HOfG7W
XwtRukqz5TkojbtQ6DxUtT0oeh874D2taORQYQYxhBTvoyE7iShs8UN9mooEoxC8GwkAxnDGAf7t
CGJ0GkT+Z60C56MLstsas9MvCOqxYUaCZi0d+PnU4FpJynuuF1zwX/GQMdScXGneL+8+83KhopIR
V5wWYYDEI7pMaOiieOiDsdtMfVlygSNwWntymsXEXLxYACQNsrnAufwbWDc5TYReL7EkVy0ifmP3
DqELXw7DDoRFlmDpu3HHsfhstk75Kk+RqHg1tXJYl8XHhSr61b3oKLjJicwooA77ZFe7aJTsWDI5
Wy/bdb4ikRC3ipJRKiltgv40XusfOz0coU15QKQcHMHCKAsw+TuJ8WbfuEs/2aTiGZRwR3g3vq7s
NfvWG3aN0+47plQ5ywwVyjq1y8VJI6lYlWCQ8mYEYdpinMLiNk1LKw+NWwPkAZe95kM2hrrgPq2N
yv8UDTNgAkQjkMxj0hKtiIfSAz/ibWJHNobmz5LFQ1TMAHLku3qIz8aemRax/Ihsy+qLCq0hSGOI
e08xi73qyw4q6lZsyeb3J84DM50d2kybWxfhyndlKhnMIdanVB18V8L8nmqqfvVG8mxCqw1+VnCI
93tIdjmsJJRllkqWomoZhVaoEKXj0My1Y4JBlwBQtsvf9OMpdOGbylQ0qrQiiEA9GXvB8/wItUeM
/rvhqXd5V3A68oy45m1MR7sGIyRsXULrXaWuuUBPEs0QcTar8pnLvmVoiTNWRv6FSyujYk7elVCo
auCtmF9xMFbZn/Rr9W60JeTQGFs4aYyTzwqqNEFjnRlyNWHK51dgb01EVVO+lm6K28xJ7zKL5SGM
wyBToaZfOrVXdXhIyzmVxL/IGJ2YpVsCAb68lSJrK6lo02vCf4Ia1DlczPRYEO87KmfgeqAoCDSn
LWB+11IPCvghAxMdrF12YpVrPuoxl74nFX2Eepj5qiYhzyUUuxByfOH3vFva4ku7u7xglnNSYaap
eiHNJuysUZ0KTkAnrnEvW9gqaa9jKa3hBgy+kvAqVjOifXYdH+rn7rgc9R/CjrsCemZ0gWkWzNLu
HoFdT67IIeTsnqVcv+2zBi/wUMfUpS8ikVUxhkVlwGerV+XOeI0s2PRA4zTahgcKIZfls+JWbohX
0G+D1FecWzULB/JI6uzFba/6h+kpfBD3yk3oxT7nAKFotW55GnY1siBAr73mFJ4xPbRcJ8f8qS/t
y99h86G9SoY1KswqihKD8B65amcDiSP74OvwgvvJH5yYsOyxPGsz3q7tUfEWRFJRWxQKsSd8q38s
R0h6AKKGG8UFGOl1IhnY4LV7ccd8fm9t/do0OeWryzMWjVgWAyw12qN1aY94g09HaQeOakvyZyRj
xs0vdQjWFbp1nNaGqUg89ks5DxHWPOmAShqAmLFY7DdTvbUJKtXL+3TCDCtM8D53xky66Cw7MIGY
gLuKuMmKv7yg0UX8IP1CHVCjg2IflDwEhmGy7y1ODcFMgSorOjWXPXRz81TUKQiVPeR9KAedFLEs
G8GAmekUSQCja8W/tEC5pFjN8xCLOmJAUTnJ/ADJB8YFQraCDt1Ek/P/10B5nmwsYYSB79jDwwe0
B5gRAobMLjEMoFadc3m/Nk+YCLSYALFKaHDSBKaNGqatHMFYB4Zy0cItvCOnS9pNh9qeXXB87tTD
jLkbxjZuFitXhumqIR6lBch5OOyjbZxr1LdjM7Iyu7SgU5cBQGC3x8BEGN+DuZyx5q1UYG2acpJB
lLRUX/AJM9BFORgcOSzH3CnujKsBVzLfOZ1VwTArmm/eyWu7lOtUHT+PwLCSxuwAg8Nu8DEbZ4pm
bEcnxhq3DsLaFuVEjQbcWFdje3kvfyz25HXFOdpDuNduCMO3fsV8P24FTBHVSkUUZBUVduqEp9ow
RJIAi/1syo1VOqqnufUDZnwwITjsoqfgXN0WPjBcNpu/cTOkwbYCEVuAFL5gFIY8q4EgDfCSfM5/
AG7t5LvUB92L00cOJo/w1GGJCG09OdYWqYQyDiJowCk4OVIAXrzrZnkWQlaSvBUKRMEAxTRqizxP
VwJirWs1QBQSL37M9rMDhgefT2z+bT5LtwEQil78VvncvoDuCIt9c3t5f0xTd0QQYzybi2FaQT7B
pbfdXNjyNNgMP932mj9mqF1UNNBeFn2UoAIguVVl8j8T3YTmdy+DW1RF1wv5seiU4E8KzfkQ+X9X
3FEUUJkr0NZBmY+6541gmKYJPbfWaQVv7joz8FsPnG9mLjtD81qoUN5gvX62Vq2oooqjAuitTleU
0BADELpDyiwkOCOTAMqcUrzO0kkBTg+vSogjnutc+uftVTQtCEu1hL7CF7LfVluMsipTxL0w3i+Y
yxVLptQsiSv05YXGCIqyEnqJoPj9vJ2DquZVp6LVR7oIkh25wT2/H13BgqCHp9nL22X/2Qpza3OU
lxZ5sNRzAHPRhEnRFnQITSExbGxmvWsjlI8u5aDUfA8jINlCGwY0SyCCwpsf2N59i97W8+U1Me1R
LlkXcT5lAVxy9usfkOXcjd8nC4QCVn3H2ayX4uYO6hLuPEnkAZ2hLsO41nsB0wVwxSp/7WTo/S29
9sRYEan6fPGKP51XGh6haCEgmjzeb7zfgad42BGsAigJmJW+rat9VSihoRFiPaqZgX4gBiJPivIM
fMgu6w3QhWUuY0nksr6wJBoQISqDmnakdPmrKIyxwZNux5aAC44/sPSiN6+39bqo1EENZh2YaKzL
2IGgwHGFXWQH7uJL1h2I7OyElSJtHuM/H+zjJbx6/WQQ+k45GQUnDGBBFiiz85/YU2RHoVX4/U5k
tHGY6yNeurKH+aI6HiTiIF58NTvkZZ3Yza5/HfCsJRWomiFCtO32v7EAH9jAlcFgyIywIhUFAv6o
utc2YcAYSdXjkn9QQaPTpaQG2wxx+RTXtrzP95IT+awnsrjp8asSAVV9ybK5SSFoGnvqqXd0FHlB
WZOeOCv0Rw/9EdR7EeTJSzVCL1zaizZ5NJf4P+1aYAXKTa/581t0qvgrDWXcJEDiIlDGO+4lcsFw
7Mx2uu/3ACYD3c96RGwlKav6CN0jz/tILBRSkCkFrwfh3I/me41jiLGZGVMP9pSZCDIWu9zMqgTp
1HkU41muOdIsBy5I9zCIgActxOmBVrXKvYDvjBcuuMEYMWfTaVf7S/Z/5bSYqa9TpPWI1WeiWwuN
Uz89yWfNA4Abq8ysyLtskbW/1LFsWxCwg0859mKAGhXpQcp3WiXal42wVkXd4bkyF4M+kL1U7gv9
XtVjRjRjGaCOYiwpYsItMIABUauqQR+cMvaJ6Q/UlZ0EM6jQyRp4LwKljIsZBAvwCQ8EfzzOXuwy
IzTxsC/xZeULJMVc+QIofeOZT8iunQo0mISd5vBnvF5hDQO/jPVt17RX1qgoU061oOU6rA1us09R
Luru5kcBSBvwASBNJw3CyOHeU0w72OQ/oSBVmdrbZUfZrBmsjjstwb4EogAiOBz3KvBln+CMysTs
NFP+rr4FbucsTg6uPid5yBm3xRZUHIOCvwuxBpUlGWnKTTopxLYOh2M2mLofWeWHAIIAMWIzvp5+
NF6/u7xgRmw3qCgjg9NayzLsOsbkBpPXwWjZQQxXrwZQkbFk4DdLQes1UtElkopuqQ1YI1KqmHdA
RUZ0Qj84gn+Ud0PURManyQMrN7tryLg4DHKCV84cZVqoxjxM9z4K+3thF9gpNLinR9EmFwerN/uR
Bl44PAYVcuIGogug2wBWPMRYd7RTIW0uRi9CCj4P8SEQroMZ4OF0ZARwRjg1qEBUd0o0TMSLIu5F
TUCLWL6D/9m+7DTbudTKV6lYVA2pEQVgNPPkGwVyLhB0TB+wmy53A+WsPWY3mboOrHVRsUhpq4LP
SHTIQZQaglNxwbRhbbiXF0Z+96WPRsWgSI1DaWlhJVL6o5pJbgC6C/AcuWXE7TgWFvnymoCE+uyS
QzdIQkn6k2IneOAUnsGbHGaMJJHhiHg1f7YCSA4QR8QRk/10JAAIwI0BgRAhu3l58y7fgTpPhZIh
4Dl8HGxe3b9KzevYszJ4svv//evoPBU9DDVE8V2FAd7DMCYE5cn0SXjoztIxdcoHA0AdEGoWUIdA
kP7XIUTnqRDScnMsSeSSH630qtsrB/BHNLmpoKS8V5AexXcgir+8p4yTBhTX56+XAm4rRyQLnH0U
WKE8Xd1xt/oRrTC3dPuX7JlV1mV9RSqAZIYKulFyIQBeZ2Lg3ezGe8aaLodinaeiB2YsC0CB4JH5
42ST7nUN/hSrM2eUO5r0f3lrshZFRY9m6cUlIrc66ZfXvvwDXTancSB2cVRdTK7GzOftR930krNS
oQRaOEPZjNjH1ukfdWQSYPN8Kg75jXCAarWdYsn+fJW54HWRbcULrxE3D8FV4oOYxQFnzDEDn63V
n7lr5PklK9lgfAK6iIHpyP8Euuyo4whV58TWbo3n6kcIyFD/sny//MkZkY6uZMR4ev/KJBUo/w3t
nVK+yyqjH8GyQYUfKWjB0AW6Ik8XwDF5BCtaIrEiEImVFz4qXbMQwcHINeT12X0DgO0qA+xIfpNI
Ap66rDm+bUTC70sWKMjPRz8CBxHHEUzxB7of/FNE4Ve0wOG86zE8+qM/RS4mxRsHKjAY7n8D/Xvn
gXXIuvzttmuFq99BhaA8BUOiAsI4XPbNMUV1MvzJn7kTiD5c7bt0zbDG8kwq/ijjUvTiTKx54NyS
bFCO4qSW+/GIWXe78FjL23YbSZEVsOeiWE6tblKhbZjyJd73NSQA+mRJbEOrwLujMUrjW4ZUHtVP
TdAhJEgXEjjoqCWpinpXZPhdRPSeoBwhSH+R/62tUKcgzBd14DjUWuMeA/o9WBHAhKsysGIf55U+
ByqviTrgfdAl/MjzV8k0BnxyFUy8GBy4mo69F+wHK9/DIezYZtUlN+G5a1tU7NbUBOqBJEsCvUMT
emQ0z9Qf4xuwvTTWa28vzuTNA2gmLGgYOPzhf8jliYlLy6VieV6BpJiP4JOzr/r6Sbie/fYHWsku
SAIcHUw3Xm/jXXwUD0yMCHH3C6Y/dme100KWl5JK3uCCYC6vgotY7U4vgGFbINF7F97lY+WB1p91
5red9fcH/kCersxCxANtRxWb/u2xhVbjvbTDINPbT1KexfDhA5BPDL/djHaqjPFGGRqbXyfAdT3i
l3lBMROcWyCCSffRd+0c71orsZHwvUa381E9Fo/lXgIiej4mO/Y8zAcg4Mtmr34DFXuEmlMrkFOQ
gvvotLeQi+mvyhvDrT2c1YyzU6/zJ2RewUE8ZjeowYN/267vMZYAOcTmZAB3WlmsRt5m/MXoAg/W
IwHTHzSupdTmbIlJYT7ZB17uJOcFlcCb2QUzhy98n1gBeOvTQ6NQkXWEQ/ItPl87eacOoPYmcA3X
uBuOBDQZPxhgpLB+zX4GVuOy8hGWTeqMt9kkJGpBbGbPjXqS+JOa/U3WuV4XdYjTOk/1uYIN3p8A
AHGm3WBC3Q0U8ZaITGs+sMAYH8N+tDtpqOko+GZQPqYnRxaunGShiX9lnfEBLKp7aae5ozXZwbt2
IFFzcAZS0P0oqrkfWE3g7zM0I1jw3k0v0qDAaihglMfIF/kEqxPdDGDpU1QMpTa24MpW7yXn0Mv3
wEqcM+aluhm019aok1T3ijqPKfrAYWaC88kBlYZXnPsr0nNB4wC3eedIVnuGNIofu6xaInOxlA8r
cT83PGlDyx5ZLFQcnNSTvOoK4n8OK0Z/pAhfvrMBBWhJBcBJpLcWItogsuPQvB0tcPRbul/6+Q6s
Ik7idjus266Ow762SMGpcXIvBx36GaoodnFVuqDHvwK/oqc7ht154yEwc9SjQH2GGmd63VmAfNa7
v0ixMPf3+/dSHyfNhFmAphwJKJK7tHYGWsF4BzKlXXmU3S5743esV+VmXXVtk/oiYTpB15Xskfw8
e6oHMr/2FtzFKEeodu/GilPeE4XX/OnyWjcDy2qpVGDhjUTR0gjZXdUZwLcBWCn6AutBu2VEF1Rd
RxYpqCBv+Hy0jEAPQI6GzK5YxtciBqVHNxzmJLz752vRwZ4ggi1HBZSE2kIurXoFMq0wE4P5bhyg
XYi+osKS/N1czcoMtWUtriK9IQOAyfKUpgdwQjiYGWf44NaDfL0WKhjHIJpsIwlrUSDiJCzfFdZM
HfmV9JlcGfgyJIKi5wg9CET7urfE4l2tj6p0JymqzSnfM7jf5W/DMkcV2UI8F7QaqrNe3z00AwjF
S9mGpAtaB6X+sOT8TWYoj5dNbm6hogtAw4ma+mV411CjOctEJCsphLwIOyZEyhmrIl/hyyauTFCP
iQFCS9AjgQlV4S0JFHgG2LykBCWvSABnsOpDz9juSvfywkj4+WIVJCsqYVlReIXyc14cG70kL0BR
iM98Ju1BGXjdcsJdAE7tvzGFKVLCqSFguPPzyc2hCzT3Cd7zJX8W01cNjMJtdJXyi3PZzmZzR0ci
AJi9ZOgKjYGVVW02ZjIehrY1mM0Bgi09aH9FAHu3QPbn0HK9YT9cNnfyj1UaAAu966JNPqb8gtrh
F/1dzMpTyS0PZS6wnoRb7/bVCiXqBAggEOyHCFkqme4hE4xy6YKJEZHKlpx5p7zJLPjg5i2/Nkm5
p5jkQs4RgEXrYKAIyN6iRRVxssisPKSXWHiOzVevoQkKL0oqaCboez7DgUujXiQfcTiWPgRlTXD0
W/l15rNyis2q/doW+bSrdK2HeAvPVbDF68NdUDa2OgNLfLWAxw78QHYcFwAfFTanMb7jVlRZ26UO
n5GEQ1nWsCuD2DnX9kvIuJE3U0MDWEgJmESdN2iiMbETtXIwZIBaz8X9dDc+QOA1huScOT5EyJBA
b/xYXzfP3U8IlgNw8MAEAm3F6vUPIFuw2lp0x8A3KGKJ0TF9BFup8S36jvcd+BXtHP4ai3hdjWgM
NiBzZoJpto7k2jgVcSA9XgQ8mYuYdQmzohO0i3W3X5ZrThUZn3Iz51rbonyoFINR4TPYAiHlfkHv
p7TkawyjWtMNQeig1HsAzSeroPZfXPfPB6ZcqI9CYzDIMZE93Zd2JPHmvAa9XSYwiTTI6JtivUDy
pVdfMoeETQMxbQSA2Qw84Zq/qfAdbbCsnSpSGEVg9cjYEoZwA3PwQmaVfytXWv8AKo1pxb7myhY7
vCi3mXaqpydDZmR9H7W0/7pIEEFSXULwrQ4o6mGRHfi/Ib1T21UzXAMd/yql3B2kGU1oRX4LoGka
FeA2FcXs3FXcjWYU50WTrsZohpSKeDcKEu9dvtXEzWCB20xGLDTASEV96ZBLUaGWZgQpT4LMJ8C4
iZ2e0NEASYOluNC6+EnqVGC/cTETeOitxZEe0jProb35FVY/g3KDCpy1saSDoQEPX5DlA5EFwvSe
b1hFsc2zu7JDfW1uLrII+NZfiMXo+wBezdbSgMIyuYcFwqYYTwuRkd+AITpk8jNeXiT84LOvT0k2
94UE44072LIPzV0nP4Wn1+AsoegUIlQy6VrI5/vieb/XK9Cd476a5alssa+tE+5UT3WK468hD9ke
3elGv0Of1c1+soaTWCulrnXQPsR9lQjIpau3OTwTGnTQe1523U00FUnEfrmuQPeS5zqejLDE2j4Y
hZA7QPCB5A6kGJQ99ztWhYtpkLp16iiBbhKY4jxor+37TDMNPneMHKJDcZg+jYNmJXF+qpP4eQQt
MRjn5goihlJh9Uu7MDx56w7GPAQQ+hJA+rJOo376NuYMvY8TrzimV5FoIpt3emg43jY7UssWXeMW
w4+2aPO7GDR3Njj+L+8/8xeQdHIVuoeqXbIsTRKvhszmHgTDpJZugdTZghR0ekRpf/GhiojCnH5l
HIOHJLEv/4KtD/JpD6gPAjHPbhEV7MFoxVfQX0cfurSKJ6hamxDKYeOrN9z6kz3y99WKy67nxwy8
/kiQBzvcQVyIQJ9ku3hsHLLVzYnbs+r4LJtUBrDk0DGqyS6r1WsM0RRtnzYMfMlGNvVpWdQd0OGh
XUQ9TBg1D5pK8po/gipmkD0ZIhTdwAyEW4/S9cml9lEehwE6pbgPQXCNCe0cgnPX7XsyWFDRttV9
9pjwu3YfWvH9jIoaqxq/saPo3v2JG9SONkEfCJmKuBHFP+YagmN8Y4618BcH9JMZeleLXKqEADdr
9031W7O2uqfldoRSkTP1LjSAHdFMXQmKyLfRQwdexhOzXryZW60WSl2qRQHqud5AFM6CZSenmPtO
lFutg0qGARHBBVr2cvlTaKubEnpkl4/mJq/JepOpi7buYj0RRmwyUfUCtUB4BUFXd7pPfTTDFVM+
FxHKpxJCdeKHrv7C7VnLZ1x9ND5iKLVALTusvhmgalTWIFHoMEwcgc1RqHlralP38poZfkUjJEIj
G7U+wfWgCd03nuN3jTHtgzH656eVNJ9V9HYkSZbpUqXUNobeDVgXv0C3QtMOJaRhF6iwFXit1905
SDPn8sI2G3trk9SJifgwWoIcJpU7iLMDVKR94x3uKfdLi8NzPd3X3wRrepRfSZe/vc7Phh2/XP4N
m0RjpMID7l7StaaH4aYpqbFCibzcGwwHpc/1rbaDELnbHIr35iB5s42rBtw1aGBPk3fZ+kaE/Cgv
/b9x6qJpImEJ+RzGgwLSHJoBZZ4fy3gjS9eNfP930+PrtVLxMU66OVJTmItijHN2HISuGAsiX4zK
CwEHEcFWxiu89GWeS5Y5ORIqDBnz4IiC1lktjJB0SMDQ+xdoVlwuxARqEkDAUGuBBlI8pgpGbnPU
OAPoEcY5xIjit8sfaOuh/MkM5aKChEnGekBrcHDzKzKKBHRW+lz+7A6tXQASBU2pwYU4BuvhsuEZ
n+xSUR5k9W3axFhemo/uMF/NkB/XZeg7QAY2gnZg2DMOI3OlVFSvASgSlRkjtxCzsDEXiqll53Xf
vmqgFLRIAyb4abxJ3xn7Sz7TF4dZfUYqnmOkukVBC3PbZNSLFD+Lch9hki1a9gTYX2DIMQNVTclA
3GwV7Nb7S3O6cHoahxyhahiB2+i90iP1HdUE/oaJo98KMZ9sUfVPJUoWcdRgK33v/R6XFiCpstmc
E7e0DKv/Ft6TuYnoZjpx1yw/2kKJfjJOPZnEheeWqsIGQ0vhsQjOZIaUICqhC9P96O+7ExsWthkE
/nxTurmdzFJTc+SbzoNyM+jVTVIufjcVe2MWGPFmI+P7tDoqgBpjzTUTh2MiDI0/CLdi4PP9AY9T
u9EUaMgVZgTdFYbPbp/N30+kL3AtCXmtQp5IECJ2ZPJAHG84uM8CmJHigcHEJy/u5ptaY+b4sm3W
44ge/QoEIa4HyCaDfVtygeO3MhQnOYu80DBs1x5rd8LkwkOQm+/TFXRxbNYvIIHn64H9s3jqdcaX
XZkKIpnMh+yxmsCP5cZrtcdJI4rLrNld5nqpD1zEVRDWNfZ6wFDPN+4MHsr+eXFB0GHFvuGA0Bea
9UehcIbZXJwGdUtmvX0D2Qkf+7Ni6qYRl7HWYvIazFApRYbgyWfdBODMgu4RA0W6fXL+mKJum2oW
h6Y3YCoiHzSvTUnWoQEJAemAcXC22k6fVkVdMKpYLEHR4TuCcBGvfNxsCeYlQZicXI050mdCWpEf
WAsUWGeHumUqyCcbGSKiJ7xC6HRqMEiY8g6gXBCHAHIViOjWFiXrI+my2KGJ6U/UfROPwlhJIc4P
d1hcgpgtT9le9AqMjNYe0hbDBPEMhKLuUb5C7ZJF37w1MLvednqITOqyMK1UfGECNxfOwvXgomWz
499JHNG/pxb30B7TI3BcDWZXydhTeEfmK/8HrAc5OhdOMj1VtoB1T4bsXuJJkQhRsd4JFvG4aPC4
KsieRFlzoEVxr2aLLQiGnU3LvSDnLiRyTuXSMKkbyD106ddQjhEMuZZ2KTaGNAlBBWQuL6FneATJ
lnksSOF21vH7nBmUF+CVM6ojOWcGuNA15Vmfn6CBeTlUX7Zh0FXZTlX/4+k195Spz23wQxV/XDax
fZokPNcMwLckMChhU1eFI0jktkYUId3uGxNiaPv+ZvxpQNfOA8nfhJI6KQWU9rzD48Vl1WI33eeP
bTqDKjq9iRWI23sCN9i69iPrXi+vjmWASpsqIcoLjbwlEm2fiJByNRb731mgciNVz9pg7kEL1tcY
MOGmh1jm/iaiA/xFCAQ/aK4+f6F66sum/yCyAaOKrU2RYEVCfuCD+qVOhr9gBQJi4Y816hAVAAfx
WY7MayqgCZmV/0fadSzJjSzJL4IZZAK4Qld1VWuy2bzAKKG1xtevZ8/sEJWFrXw770KjsWkdSBUZ
GeHhbg89CACm2bo9b3uFpws7zL7LJBLLdY7LA6KKk90eZvQfzUF9V7u0f0xzVTC5Veiz4pX19rfE
P+P78O6b/S5qbSujsI/3sqk9tFHzXR7B6X97cLsBzp85vMI3F2JmjipskB5CviKU0kxwu2QnYn7N
RV6ye3dAwGxpOp6wAIkx0VQBpkcjyuGI5tUEPLASE0uTFF61d9e3bqzQr9hMm1SlQhpN8PT/G7DG
TguCtQZkxxEXsEvX/sqRb4wx4VIkkAKCnh+cSpARCfDwQEjM7/rcf1Vt7DCxUiRFESlGTF3l4sV6
Su7xZrUhA9s1qNaDL8CX7AS6ZH56Hs81l+plD2FiihvzTPw0z6QdNQXDFIL6QGlyMlvydZ9mBPgQ
+H1Hv7HGHGzJ1CRtJjhwfxPlASs7f9eC5Cu6OU5lMCJWaO3lrVqdlcf7sHuPbUwzZ10V03AmFY2Y
xF9q9zPSF0uPOLnHfYfyxwhhSpjg6q+0CIUwjG90BHDxAQt8r3V2/T1Dgz+0alHJ9NNP82QX328f
d95CEuaaaRVhFRUF+0iWIepbm/ervqAionyr5/gQmpBQRE4rGKrCVUQBTOTleNarjHNN7D/TNxNA
j/DmiNa5JC5VjAmgTGudLbzMyMFUfhtQwAlES8Eicrg9cLplbpxTwrieWk5j9IPTDZwUll79KJLz
iLpte05VESKNGSfjsh95qzpQbjqyzDrrV01DEvs+gr0WS1zkgQgtZpCR62gPCr8ADilAHxW1GdES
34Y7tMuctdd/M+A/H8BMsZCMq7zQhe5RerKGLr0f1PY8tNJnnKyDgN5Tq+8yHmv3/vH5Y5WZ5mmR
pVSE/jOuSlwjw1eiTbYxcZXhdh+pQESiCQSIC9FgTmk4ZaXYrxneVan02nbtOdbUs9yEv7Iucxpo
IOdN5vVV6E4GenQi4t2e2/2S6R/77LtG1kJACgvYb/FOh15MnNudj6cyOOc91StrO/N4D/Pdx/LG
JHNwofvQL1oKkwNRIdb5KMoAmkAyWIOc8+3R7a7hxhKzc6BBvbRlSCe3M+y86u1G+6xxY4EPJ3d1
IjXFRDQAtU+0AV/6gMIcIlluYUbJCLEmFdL2yRAd5cUYrKYZDxAoA7FJ7epzc8i69otaf07z/IA2
sEMXgtu+y+7lGUKkOXgropH+F/R+aiSymllxuhoeZa3u8qk5itJ8RJH9NBkS1L6jY1ZB+1UAQKro
5qe1LO/DUHakcbbiJFcg997/BFsq2BGJYkWj6WZLUBLJL/AIjNTU1XsVCvSmi+imsDMJonCJDNqs
rqjsbIYynpxmVigrk7U2UqCGaMgja+plEphq1vx5IrItT6a3JCavk3mnTmlKGoUK43rEH8yZMEUo
Qpd6h7f2GtfYIXrQVpot1+1BTia7XodfQltAGZeoUOFu58m9vWv2ylumuFlP5tIu+3lYx7qgKZZ0
9eIDpK1p9tV0Q2cFmBHLOziCL5z1363VfwqRckm45Ca70ezmG5g5iEcjjWrU+f1FXeFas9YeM6Ww
qhJUXHNEBYU5vdb0F97YxOxNXkvLVAC/QRN26GbpjOq9VLOToY3QL1+8OO/dtAegRjfKinNKP0C2
16ah9YY+WuhFffx8c4cKYjNWWV0iIoyG79qyPkOpE1KqbeajgewObAmWomV20+KimXCGFWuQJ7co
xtQb5NRTVTAapFp3TqL8Hp0ck9M1NYSq609Dtr7Nef8sLXVlhWqH/DKvT2R/1v58OhPMVj1wfEOG
T2+yGLrnkLXM0DcKJYRibpyqBe5EPqTmr9sbdN9pExFk8tD4Eq+EfSGdJgyCRvGDXp1YPVh6aWWg
qFAIWd3UBTGwf9vi3nNHkqkMnwxM4ZXY35CXydzRK7ha5gfQKd2trfR828TerbA1wRw6QE1WBSlq
hDXp175/SVo00IknI46d/84Oc7D0Vm5bEKXiwtPS8zT2RzM3HSOUn4ao5Mza7jptxsQ+e0fDzMpe
x5jw1j6J6JiLHZzhBPhJSvUhPPKqcnv33dYec7NKYjT0ugR7OLHjsH4uB93VNJkXM3CW6sN/bs6r
0lR5uiyYws7NX6G+vaCYotGuuNr9KKOAD+Ie9NT8zNWeU5RkArpoyQDBDasIKUtzY8YVHHOYasd2
Vp4VYxS9cO1fI8N4k0nsLpF+aELDS5JWtKJ5RCG7fo/k8i4ZAV0yVzTtZeZjhNqHVQtqgFbOQM0r
J69af4x1O1sSO1JNuygEt89KN4+Wh0idgwREFBZJoWg1A4tgTaXWOnmanMO6PavtGoAk1ymSuHDm
RMTN2YJ6VY4kV9BnSI8LybGCuPegohlU7qEfn3hT3agcL7r7HgL4D6JmIqAghH0PQfu6WsSlT32E
wiE6FCM3O5dBGJiA6k5vvIzO/t7emGNiqzhSs1kMcUlLL4NLERgQ1UItYD3KHmWN5GUt94DJFNv4
z/CYeDyeJkHpaFCg+uDpCQRUQv3Ip68skEe5Jm3DBGNPjeJOamcfJDSlP/8qeFmm3frL9juYnExk
Atnfq/gO47z8No7A4MO87jan5LAkAAzjOR/w6KZ39/0mIKI/3xy4VFMLQZehNt8p0XMvE3esZksd
5iAzTVtal2+3XeRu1mIbgDG+WGrgs2oNWymuLPCyJwTxz1dKd9NbySF6zCDD/aT9Bt+933znmL6+
adC4hQYxqD4AIwL2gMuhKonS5UlNig8QL62tRJEdgUMW+Gt7PWfOECyci2fn4MAk0TVEW2jsBg3C
pclUiCQDBCXUpOFLAGFTCgj1gZKh5OizuD3A64Dh0hgbMIBwOk1zGKsKAyXf0pbV3Gmk0lJLgO3r
F7VtvAQ8pP+dVWYDQX9Fb/AKKPzw3KJhvb8bPPOocpVXeINj9o0uiPW45jATH4wjKq5nxe8OfILD
nTN4OYnMHS4qldzqBuyQzKp0Z3aK5+oYewtEA/CM1Kz+23oGeeaZV3766Om7jFQvDLOqi+0IFfOo
x+qhblND1o8+C1BdBuNV6tSSrQ6WesgO6mFFE6DwWfNp67eQom2tK6zsu4rc+sTlJODtX1ZeR+6E
BKrS+KgQbTEH1Y1fDEd8mFuQb6ke//m+Azi6nATW80856dsM9vrBqiM3RyvBsw5VRbyPQLtvWvLP
cYHooITMHw/EwF0A5haoZqHXZhMr3/8wnoYjokPimi+USxcvU5AQSMeW6mM8o4/C7934Wfjcux+e
Cv33MuTIak40ueuu/vgOlrg+W1DnQshcIJocH+K4csKE1zvLXV/GP4VSJHdToRb+PN2B+sDFxW6n
v/vlA2KeeLzLhru+jItaki5ZygbrG00OYhYKe4o94mixPT1KzwVl12gtUEzY+s/bXuo6fL3cWIyX
UsuqkCHlXvg6NKjKEByUWnFOeT0wu0umqyr6mwAcFdkWmFpcJFWptMJX5FMrJY6UzZxQbEeACwPZ
mGBOiJnmY1ebWLEihmz19ARc3hcBWnXIC99RlgjxZYS7+gGMKliYY6hCESsEUHUJBrt3iMj5nI/G
+Cuvtfkc5tDUMUqP4oDP+UtTfA3Iu+oILtTAzpFbQFqu/iwCOnxowIYzA9k2eZic+8nLHnPXPKjn
5Wg89+/CCTq5594zfHQ2nvT3kcdzxZ02unKbMAdSLNoirfhOERJh1bE7N0fqSM1PCbigDtq98Dz4
sac6up+leF6EbusnTtQjLWUNxyYYPV6vxf7R28wcc/TiYs5akmCv0AttgGKaahWnv0BEsSvzagm7
+x9KNCaqzqqhK8z+X8RWIVJsYvIfiDt7SVC/QATHvO+8+DN9MFL99yfecb9+zGGvbowyd3aUiVJa
rEYBTvLYQuOfVQg/BPG8jhUnBuEZYi5tOYvq2iwxuiJ+GZXErnWPmI9msXLs7M+iqqMVWYZClcis
GcnlMkXOBLtdKOJgqsTYXluU9iKZm7zfjXdM8INAlpUokN663LDJgqQsKmylX2UqcUNwU1j5Eh/b
qZjsaGx7m+B92BLjTDL9bRrKoO8aT0jrwVrnsPfB9XBUC9U8xXn+qI7xT7x5H8s+BzP0bce6U8PB
Im8+lHFICahFhn7Eh5KvItRBJGfwpdfcGd/UQ3ig/ZwA4/0k3npeDErU7HLMUwdz5YA25hkHBJXv
chwhOOAruV0fJj+cLMNpHGCx34Vncnh8XG3xRMm/Qts8aE7cWOY7L3Sgh+fWNzDOpcDbsY8STMHS
n7rxVdOCrjuOqF/VEw8csO82NuNltiDMmIKQYrzhGc0RlGYdbb61OzhxIH3iR0W8oTEX9pjLYZfN
Senr0XOeAiOgiFabu7n02yx5p2t/y2uU8xCkCTKrydIUExpzM5yu8kRlHA2o9Pwniiw76QW6Y/+x
w3brAHSzRHELO+KxfIQIsk2VBqFEeqJ95+jS5VXLdwq5CrBeEnIMBP7XZB+eVZyZwrwIBfpJoiBz
IUEGrfOH0SUe7W7u33Pua2KneA6TGpAipgwd3qsWllWJQ2KWNdbtZXI1L/cG4deYfgCSKftoVx/F
O4jaoQ4kcYVtd6KgC9vMcRDzRC/EtCqhbvAMeI5F1P+/HtHl6JhD0I1mVvdZWyJhI/6m4uuJW7+t
x9Vd/gM9op2+gEtrzBlYpLQfqwbWWhktZOpJihWHpAAJdkfFqL0WRRS1Veyk7ywtIc5tB7e/eTYr
ydzc8WLos5DCeudWgtv8zYkGacyT1FrGF4TLHg8GcH2dUmk3WRc10CuaqDpe3j0moB3RImG/Tl04
uIo0fofSz0GoUTYuuvaVM8DrkhysaYAqSriDTKRKLq2NpZBLRQ6PNi61CwyXWZ31FXVIyCYA7bHI
dhkCb0EeOWbpvXTptKlZvK8oeyTOCHPBpnJOUQlw2vGpPCin5Lg80mZe6CAH/0bT6tIYc0muajr3
mYIxltknSVIspRI49zBdk6vhEFqwIagWg2r1chYrlKqidoGFSfoCLLGdKS4QV/btSdszIikApmnI
oYEGidkYHchvu6oqS1+sK7uGwm5Xa5bR8ZQbrx0IKk+gzEGqTkLdjl2auui6Qhaomer72ryENeGM
4/qmoQZAQSGjbxTxMDNZZWvqWRP2WHtduu8m/aQr4+qFmYILtAwDedVeocakPSCK4pRCd2cQw1JV
MN6rV+Rvq6KQAfJ+yB+3X4bVX9f3mLzdXqQd34/R6YoGqnQAP1S2fTGPSVQ0LWyQZPL0WXbJEj43
ACt1M7igCUA2DRFPMQkflWlwVLFxYrO6S2bwm6ejNQxFMI4/lyTknLj9of/5LOZakIakWxe0/PiK
0TxBWbCyKsFw11Lj3A67iwsGTTCCaWBBZR/hUS+mrangYFPNJwo2nDziASnmc6aZZ4c507G6VJMy
IjSi6iQIWKBPPz32dybYT3uX8k9TMoLizjg3b+vLbds7MAK6xH/GyPjMTi56bapgm7YMZHcVbgU0
fd9RtVjtvnwZA1oc8okn3wmvYlD1Vvp15SznTi4H32Ao4KZGVAO6UuZiqmRFXXOUb1EppgQjlQ/C
+iB8zEBRloGdMXmo3sQn5XB75DuXMbUKaUCQoElIszAuaJw6oxEgwY1Zp41WnR0/9MfmUHmRx7O1
Ax64tMVc/EWlj/Oaw9Zi5wchyO6Xb5SRlCiWbtNsS1u70HrX/OUUH01nOJqnBs3lQCBjvnm7be+6
2o6bme1azok0j/iWzp1pUyRyO6Y7Hk0feF3H5N3JPGvMy70FF9SszH/PMqVnQ2LQ7zxa74PyHadu
sfOmuZxnxh0DFqD3KzBG/2CRIV5GCZk+yiRnbr8RPRzsVYnGbujXAgJEcN1eXpV1Xhl5pjZgzQVh
MQ2oaPSYo7U8+4nJ5PIN7Q5va49xfOk86kg/fQwPQjRI6EdfUWIDz1HpQhPy3xwQENMj7QKyGhmM
zJej6/V+1GbjI16UPIKNMr6FHwsXP2k8F0BjpKuZ/GOL7ffoCxUHpO3oYaQj6yyAuQ5/pee5RWGe
LSZea6aui5tiwGHUO5ck3WdSpr1tpqUXpuZR6EuQ63WN26T4S5lEr6B5feL4nr0bbDO1GuPxkabJ
tFnBJ4SZtdhZflTwTJ2tzJYVd7ZDdOc5/XkKeKlCerRvzTKzX425bKoxhtkK+CTSLlaU/zCrz9MM
qlXJvT1Gni1mr1ZyrdZyg8gog8g62IYkMUYDHJorieGCFJdjbe+hIaNd3gS9BI4iG4d1NSBIhgpr
stEDa5FUTiTPoZPM6IKZJmnmmNs/iVBOQjEWfWpXSbVyygZxBBEi8MYzig80S0VFRLUjEDMH+fn2
VO6UulVR3lhjtotKekUpQFT+cUkXQe4Zh7QEOdVjHTo6Mjaqp6MvIXMy0IKNrlg5vJri7n7dfACz
cRIzD9O+xQcsxfpj0fRHQ8kDs5Z4boC6lKsNurHDbBrFLMACuX4MdHay7+lBtsVvBAxJAlIr4Eg9
hTGygODXsdMj72LctY2uC7xGoA57lVuRFk2c1nTEGI+hrwVjMHj6v2vYx2Ju7DCxQCfqIQQ5YIfo
9vw42cJDFqQP4btxql1IwoKZoKcsM7StRX/k4gjoDF7N8MY6c/uLS9mLAoELqH8s4EdXHOSQQIct
fDZMlMyoeCo0zjjbd9cVbGwyMUDRgKg+6THizsX59/QHCgYMHfV1dCW3OCGv6rR+6Eq8C2x3127s
MhdYVgMeQgSMlXYm6V7ugDNP/RCJFcHQBNpb6O8JHmewu7fLH6PsTTaTBjQoLYxShSOUJY/6M23e
h0hHwMuu7HuhjS3mJlsUszO7cEIghYmVUQKNXFpVN30SgNKch3jmjYzxQm1dxNUKMkAs4+KOP9dA
fNR8UJYF2Qt3ZJzDyKZy1Fyt8iLHE4+KFtDgfEaUDN72c2YjV3BQMZeg10YDKl3F2yu4U76/OKAa
44SkrhrlvMV2zYEarO30EJ/M0/wlBoU8HrfoBCtfaLlLOiamRV4p06fmT475BIao5kR9Ex9UuJNp
vvwmutU3VUchwkt/BhENviE/6F8o5qjw8ztg91d39HF9cy64/SMLqlxg2ZBSYyPbeChKCPLC3igL
0AQFE6CqTgDtxtXbJIyNo+YiT2h2p/5Dx0ilMgwFzUos84UsJFldNSt9blO9kfih+1Z76UMqWiN8
/4dAgV8f58+ULCm3ScdzU3T/XrvGP/aZ/b1UtRkNEtadssV0zx9kDHiTxQGIH7gopJ1s7OVomSsV
3FRV20UYbf4F9JaQpofmMYUIAhJTfRE9qDB4vOrS7gwroqgDmQr4pchG9NJkCKI4w19UEzyi5Gh3
Ovgg79LU+0uUFCSUJ8DSqVRF/Ql/yTxelW1vXyFAUzVk5BSgehmPFZvmHEUTznW+KsepkA5xF7+J
CxRvVEV6alaeDsMOCgsX+sYgs6h5XZdSWWCaG7yWvpdopgQZxH3mC79Qr6dcxH+BMW+7kN3jurXK
LG4/T7PQ9AsehjHi++kzFRukoRra0KieMGQ3OE5rdzttLTJOa5FzvH1DjFN5ANre/EKDpgztm/Xk
GJbqiUFuZ2+cUe4dmK1NxilFpDYq2cRizl8+ID/H1V88ShHYglyD93bZi/C3xpiwyVhBEwfwMJ5M
TXpYRjW2whG2Qs0KdV64y10/uo037jYuGqEWY8zm/IOSykMV+g4M4cfslXbg8hWv9wKV7diYAKnN
KmWdaoytRcO5UB9WUB1GnX97uXhHj4mGSqUXs45gteIekl5rc2oy4ZAuqSOB0KgbeaH8XqC5GROr
AWBEYgW0KMyp/uLW6DadHrV780xZt8DK71B2ktvj+z8WDWVR5Gt1BPHMAIsJ/zwpWDRyXmyaQ8AJ
+CThav472rNu29sdIGBzEMHQ0M/ANtQ1XRQm64xFi8TW0zPDW3gSdB+RBnsjwUsSZCmp3gCbGI2U
xFBLxaARV3/CifZpvxC6lAfHbF5QtbR6JVBSWwdnENWzUSGSLiNxEBMbb+1AA/7obbqDNl1QwbMH
iScXFnmegdZJLeU9fRre0K7q6ej6jqwiBkzyKD7L5/grdEBfpJ/DHZgk8OstHoRK2wvutsNitnuR
iNNcER1b40wZaelbANCD9V7v7qvmayzr1iJ56HFwM+0xk7wB/e9d6lC9ChIkL/QbBzdzoPEAzT3l
HXfIJ/E5/lV9r531R/sJGqav4le9tMXaB0Hg+qBP1vKsUMIuKz/k5y6ogvRgPub4zVDQ/VdOEV2y
WC5Fl4nOuH6g0hWz7uPqo2iAl/q7/K7c0xcA8UA2w8Nd7k7lxhrj9qM+SaI2DuEVhdgbE4VYMlov
Y3OwWzTxNAvIUybyUGhl5dze/fsX68Yy4/z7VBszOcI4VR/JK1v5Hn1KH2IHGD0VxU+CG8eYT1yO
/91bYGOVuQXMOi9zqaJWz71DScEjzUkqm/xsXdrSkTj6AZ3Qzcpl3OcZZm6EpDLqNmqjym/ELxWo
1lPxkKg69mXJu8nFnTBU2QyROR3LWCVhNWGItBo0HtIHmghV3P+AvW/vQbe1xDjMVjNB9zvD0l+s
SKWTHENPBysSGC04j8fdG85QgMdB6ClfiZCGSKEvPe5vX+8a0J2O5S/ACNG3kYC//vbGpNPD+kwV
mFmZIC8L5k5moboqA1t+VyDvaKR2VB5NEwTrTW8B5mGJ8dsy894Ne/cABRqBJwkNXxAlvYwVVDJW
YBRH6tqQIcU4kUO1Cj9vj2lv86mAMelovQcPE6vikyaZmRYxXiYSOZixM6Uoy+V3gsFrO9wLEVRZ
RTUZGTAoOTBzJ4VSQRYBeJswfBRadLP272L23Ga/9Tb3bw9pb0Oosm6oKCygwMr2s8h1jFLxSEsn
XftZSIuzmIgBsrgc7g+eGcZfSGpKwjzF4qhJHkiq6S9oQFe12rs9mt09sBkNM3F51ze1SEslVY6O
ikLyhw4ka7dt8IbC+AWtTnV9FTFjxarf96Xuq7XwUBHp120z+3vtz8IwTkEJZwTZBGYiAsrkNMcl
3Ltgr1Lixr1tae/u2mwBtk+lSmdhSBogyxA/9Z1kG9GzprW+rPwA6stp1s6CIgPH5u5CKeAQhgui
0CTmdlYXssatgNF1eICigTxJLHgmngvnWaE/3zwfhjU3s55gO4AFwR3BU2TqVi1aP5SnwVlO2OdC
wHuy7C7bZmB092xMdmOchP2KyVygI9Sqw2RJZH6eQA1QCQnPGG98zKnSlUXTRrBW+GUsu3rU+prJ
49Cl33vlxhVQBKq6gc3IYi9CYgz1qsBEXRe/VoMkVpILiVOEPCTS/lj+GKKP3M3ERXpWh8oCD5Fp
TSArI6Io+fPtjb57JSkGBLx0grcJYY7UtJgScuAYi2AsgElC0FY6z1lklfpjJc/WMvCupF1sg6pK
lBYOgTa0si8HlVaqvGioZPoTceqDeP4QP5UQQOcBv9dq9xxvjDGOKRPTehQNGEPLqQutia+5Mb5p
xeTX8uLGmfAsZ/N9LVWco7yb8kAiSYFmJNr9gcG6HGQUh3nRZ3hhip32LezKH4kO2o9xJMhYGnrs
pIAA1sr0PMOLELV0li7TQalPjsoir16aKSXHQ+/GxKpmAAdI0BZ6pZic5UlFmgH3dEnmo9L1v0Ri
PhWT9CkU8vm+GuLO6or8s2gMn+R1/C5p00mTkkMnFc4gaW+jKbzf3nm7XmHzQczSqMLcjqqBhN+c
yoiGInAjNYpsN10PEuw0aziOj26rq0O7McesCKQGs0XNkTUWJtQjW2j9hgIW5FkqVScPTef24DjW
DBpIb05uOywa6Jkx28DNAsAqZJq7mKFbNdVkoVlBtuZZ4oSxuxUXqBegQI/kpaKzeXG1EvswLvHo
n1byXBhVbUmKao9G4Y2rfhil8TiX5C6rp4euaF/zfHmWa52D/Ns/3ZuPYK4XmUy9vqr4CBGKtmoH
bMYaGKfi0BQen2B8dwvpsoYeFWiAgejmcpbRdSOFvSwiUDNBDCS3taNPau6qhYhndMdDNe6P7Y85
tnxWNWXTGoL04bnU41+eaySO6C0H1EM5O2jX92+MMaF7ZQhF16xy6SfIEfS6h5Q550TwLDC3y6gu
samVsKAY0PyuIlslCcfE/p7UoWuIyF2HXAFz9fd4RA3FgO1A5fYo/jizw0BHW+/oC1yG7v3t8McY
/fnm0KERvI8MSNz6IB+trdpAZagclgxnLf6Bz3u+fcT3PepmbMxFtqiZVBg1zEFp5mX4rNIWZshl
KQcTJaEYcklIaS3IrHM2xu4o0ZkFZIcsaVdI8iTTCClrbPqQRL4QQr1bu++7n+Zw4IxvNzQw8NpX
0devXGHH5abUqoXWvKRCW9D+Zb4XZfYUN3jvlxOyYqvTN8poqWZidSNS0bViAlsbPgEy7cJHfeoz
WXfLon5D41rsRVr472bizwcyGxiq01GTNpgJJTUnG6qDaBXqKsMZBeWlVDveDbJ7XkzEsaAow73O
vt71sIukasF5mcnPRZ6sou85x2UvsIR6iKoAFo7sAPtc10chB/DTxDNqlm291S2xfgi57GB749ha
YaYNUYkaFwqsQL/j3rSWMzIf990PrfuQekN/3XsTe5y9tJfO2dpULo9mD/0VWRqRC9Q6dXZTeak7
UE7R6kgUzuZpqPo4CGd5yi0ix+8VFEAOcj5C5Q6t2y+3v2Xvagay39AhogJwFJuwiKRJBE0Xgmqx
ySx1Cm1J/CZLrWvI39Z8+ReHdWOMrTR0YkmKuoexMIfgRa5Yo9RbgCrYIPHjzPH+sv4zLoW5MEwp
nTRpouMq0fAUlnbd8tovdssY0HOXIQqgg4yYDWvlNh6kaMSJ69zQ71o798YADCp4hPsCmO/cIRh0
zpnYvULwNIH4NV5a0hUWWuhNiP31Km1hIT5YglzaxFIcFJteIbxKHtcac4egD0lK6kihuByoEmle
cjQcKIhqT4ZF+RjEwrq9G7kGmVukntUGpxFeRX1CxzBtCQTvN6Q6ndVFzviF5zN36+zb6WTC7iQW
qklMMcDJrsDyA/1X1FmSZ1TBAGRLThX6WZNTcwLxBSXl472L9vzA1joTsa2ykWtah9FSbGIHrvs7
49V4oQKT5LvEbUmknoyN+TfW2B5IrYdq8zzBGkVNlI8DpG/JC13I1o5dnhS2vOdYttaYAziU8lrn
PWbW+AoGKbQyo6gzm5ZxL3jTMX6UQdLsSCBdIg5K7VFlGZG73qu5rbnGg+wp+Kj/fj9/bL9NTDSi
p++vKdAeaB288sUPeSHaUEeJnjibmS7frQln3byx4uWaYwooDGtaLchowqVTPl8qQmtlCmhNZOwr
6Fscoy/ZwxDc/oAPjMbVB8joQIU0AKCSKnO3JfoQLdOg4ZUX9E6q2cQHObav6Cj8gNHNHnVrojU7
FLxoxI5lcXkHbNdHks0nMHNQ9mmYDzI+4S8F9sSVJ8S8VJpPcVN0UJQ8QTCuRXozbNYYl9xsFBTw
q/rtgZZikYZ/H7yacsg5uR99vz3JXHtMUN9IJgiFW9hbnnpHqizVppRPiZ0agL/mLj+w51pkvHIv
9YhEBdwB6UmpLDBTRwEV0da+EsWm/cwAA/G28t51ul1Gxi8jmSfP2YhBikcTtNzFeoxcqm0fZ8GE
tVzP6XFUeAQWdG9cbV8V0SV6RCXjqq2h09tirSRUn9cXyiVcQrabUrr37YfED58Ubn9i/xhkn7SQ
QgEBgwKDXe6AOeWYfmlQ20ZFqvUgKoTjwQPv7WbGCEGhiIaDuM2ZeUUjXqU3UV75CjlQAKVsC/DI
cIuJPYaPpt8e+f39u2uJ6pQkgxuVXDHWkGEpsiRsKr9Pv7bSt3nmuJ3dLjGyMcC6HTHVq9KsK0pz
AsXv/CF5IgehsNqAkkADL4farwA49evtk7j3XtiaZVxNVkbYLWJb+XP9lMzvg/krG3g56F2Xvhka
41wyBCc9XlkUMxCh0bDHiCRXDniRwd4SIWWF+itBge+KFkHTak0ABqjyB6l0hF61xfT99mTtRlob
E2w0kK5dN6PrlqICYlAjBXMA0sPfGTSgPrDlPc8vc4b0kU7auOVeLMskL2GPJC2EGuFFUh6saN+E
Cd4FBB7yVV+A0Ap9PZEZVXKIwCGiml8au7An5X780IINoaHFZR/fy3uAv1FR0FdmGEDuMbtuBV6+
NnS18nM00pL8qKLNe6qhw7tkDtJ0Vgd6gDF0heb3UKEzwpTA5fusz+d0Xnjh5E7IdfEpzOasgEGS
mpxUflb9IOapbChJjCNHxDEl8JWNja1OhpV0pWt2yks0BFL8qVp/RFHsNMsvc+AxX+95t4sPYq5G
vKwhODJjbnAxevI3yZLuoq/kUbfBpHaUrWV1yPP/f1tfmGTuxlmAsJgw6/A92rPRfp2kr3pXQUo7
P+oLBLz13G1nzY771dZJ50D6jHNT7jghScUXoJwDLDbyUpfRB5KtSVv1sN+2QZHfl7JilYR3HX8U
P5mb8cIK42EFoQKurjYxSik7RWpimypegQI4opvQhWi6HaoL2KwRDDTJsQC8QgEb00gGN57ROTvG
IOjovuTJz7qT0QtfOZkJcI5cu/X0o58BqVbloKEctAPeeHp/KhJHLbqTGauHQqJwxG9ty+ngJnRh
roYki8Cxg70ElxJzE5qK3KxxIuDwRrUtNE/LgOiisMPyMYksiI8JIvRG7tAlqn+S0F7Q2Plgk8Iy
3poYUAELJD/y1yzx8NaYuyBvgzm501+a9FX8bKZ2l1kTHpO6nZeWUVsJKFbBsZfa4mSF0yEckLeT
fkqpHQ/WIr/EuTUVz0UYdAVEtLLfq/FuJG5/b0LEFtkoAO2i+q0APjL/HiaptxjHObsbFCeF8qJk
K6+3t/RO4hHECH8mhnmiShACBKoxqn2oD1ga+RZHA7iDx/uklCyl/UVwem8b3HGjMIh6vyZroJFh
s9RJI3VNmSW1XzfBWpR2GRscC3uXz4UJ5pSmAzp/UWSr8RSVvBgtEuFjG0DxzytAY11xSkE7R1KD
e6YwP2groRPw8kiCA7ZaiiFF61T5MMSJk+i/5OLL7TlTdiYNgCIZPQmKBhU2ndm+ZK2T2IzyGiyW
7WKTlAitNeYFEFpml92104Td3Mrf5EwPsrAiFpLGD1VCfibGktlagU0syPXJnBcUQefIbkQ1KOau
RnQPeWaR2KMJXmmoATvS2pdnIalUu49LOYhBrWSRMgmSKQT9QD2EFrDX4AszxfZY9qHp5rmqOmER
vtwe8d6sEiRmwdWBAttVtUkuahBoJCUA8kNxGIfxVcXZMMbx9baZvTKTBuIRJPdRldeu8u5xP5TK
RJraJ/FhIYtdtKDzKkE6KP+KRfmha9O7OpsPSqd6cT9xNuoe6YIGBmxUEAFUk0RWS0Cbykkqm5pu
VGi6926Vg568cZP74hn8i7YBrCulaZ7s7CAB0flFcitvCRIuTfROpujiO5gDs2Z6Ooo6vmP0FG8F
IWy9OKoFBvD/Ie26divHle0XCVAOr0o7O7vd7heh3UGZyolffxc994zVtGbz3LlAA/1gYJeKLBaL
FdY6LfvmX6Rp0cmMUQzT1tBdxvckSNIotwxrYueoxZcuNs9On56dLPJtoxe8FTataCWKc26mZmSa
mkFU1mjelO6BwufOiyDW3bhaMMSiyjBXC0PAPLZRahSo2S8UQrQK9wed7yRwewJH5V5dpu8Ce93S
aC2M2ymtWaim5BC2HPtDAhdtPJtA1d47AUzFH5V9TY5ajWk4IeaYSE3eBU1IDJhAKNk15JektW7R
97sekNO2JDgVW75urSK3aU4pdbVVQEWDRCezlUFPQfKf19dxI5b9Y884p43WHFXOY8TyTffQyQCE
GsgxLSe/iU13SUS0owJp/MM/VpSy11MsXTs2JwLWVw0FLad3rT4OlkUE9ChYP4OLEcHvQVrSYf16
HQXg+Qk4K//3KHS9ejxqAVVjiTjMCA0gROptGS70xiaNe32PRHpwT59oQUtyPWKPRks7qbp0AaTX
4boIwWl6n7tYvRrlmKZpXmJjetp9axbiaWWJ2pQsoEYU7T/7jJWYEbsR5zPcUNq/WQbKbgTQ2/no
kuqRdv8CAeGPzeE8RGMpQ5Nh6GZXlkA7bPBEtM3QLtCK37xcX71tj2CAFtZ8b3rmNkguqmmpUwVv
fJygPB6Pqp26Qw+eN1n4+GS/xcXv0IpBx5mIgT49fPIUxFGOgZ2KChLWuePn5YOpmaETz1+jAigW
y9LfFXJ6kyNqcUbUcibMi+bobxJY5bbSHx/CvY0qWjFSXyxv7vQvy5Cd01a/7W3NUydDlKEUyeIW
OKuLttcmyKoMt3Vc+Tdgmd32MQ70wzC40uIZ92wUBsPrT9d3lrnYa6vNjubKYKM5t0E9ryKmlfvD
wi7PDGDyblnqxCUdmhdH0Ch7qR31wXXB22f+Y3W5k9JLsZ2oNTSOZ+rO449UdBQ3BSjo2JKBbKcg
NfqnZro1xqmSIWeAni036wA7X4qKEhsiAAEEqlXWcAnUbm7XpCax0EuUI6hDOWa0bb9SlfD/vEx/
iOD2BwTu8QhWOiRvJfWuMsufuTwLXsxb1Z0/ZHBbYSqtbCQLZKS/85v+oN/I9/qxBHK98RCFSxgf
Jc+wQKY47mgApoB9+vb/05EdjpUNKkk6qyBxQkyq+XoW+12UC4xtg9wVYE0ANUICzUSPLP90S2yi
1ZGMR8ZfCFgAb+m8dPbazivAFd+76lN+sEEP1O5kbR93SHvsekHwuPUAWX8DnyjVBzWVF6dCJoSY
3+paO5K8nAKTGvl9m86mhzf0LZJOlqvGMwhrovTUCe+nrcqEif5EQNhi0h/1EM5kq6wdlMLCQowo
hMTGO2UmoMgAVg7up36n1kdFkE3VNnwbkATx/kdHIeZZ+NJEBdhpQF/reNFiAp0VteLZA4itdcJ9
784PTucZy3nOPAlT/l7/O29cDZWSx8y32WAZBe24pLuOtKfajTG78l5NwgiEL36q7ZH8F4MCbFxA
f3wvF5VmRt9V8qKypxpwHcG8guTvhaJTYfFLfzmJ5qQ2twQUZo6DRxLe/fxcDCgm9cQ2TCZvZMAX
bn6svNFt0AGp+vmjqCSwlUzFA+ZDHnfcZBD1yApdyUvvu0sEtP/qkJwwx72rBOdbqCGLmlYHvNcB
oW+1kNgjmc6gPYqagWz7M3JhSNRMGFq97lE2TW6lIreF9mz3MgqbWNK08DS7BcBCDXpLIKdJk6gd
YusSQN8ag4SzdPSxcSeqjCl6aGUHk6f586i3Xt3E/nVtmP/l7mgTv8tazDHj9gnDQW50vZXAp7mr
6KHvkxcVmQRX7jNNIGcrmwZ+LhBQGHCTnwFGG7PWCe2zBqWcdN/FHsYsWTaNQell+Q4AHCK3vKXZ
WiBnin1Zx7GCMth/TB+9nlaEhhn1kQFQLvv5NdFdQ6Tm1o6ZigMQSGA+fQb5XLI8ym21auADZ1/x
kTQ8oHkEPhB+CYnD4iKERNx4FmBhPyRyoWSTRUQGcgJaCA7tYSTAgdQN8Fug1vOSAnaTqWr9bH3U
MTTRrbO9xB+iOfOMzERLiqhkyjL8j8JXs5MDmM0FKZ/+Ij1Vp+QoCio3XcxaX7YDqwNfK50+5ib0
pYhlPVQFg/mNvMxH5cjwN3Kf/BIBM27hbf6xxGwdViIzw55UZGPYEgNe7yFBpiS5NWJ3eDXQh6k+
MZwkmPIFXETBtEcmP4haD6SRsQuE0+vndQu87Y9v4cxayrqhGZiBsX4+4meh7U93zcV8NQ+sggiv
7juHCMUVbxRi/G8k+P6QzflaAJxWSzpAtn4/Ay6y2dl36HQIzLAHzZBAT2a2vGNabzPnZmuL1g3j
5Hm/2Zlt6RIADWePgajFviVCERCdWy6in/pe6hILqtWy441K61FzFqT434OwKyrxQVqSyHm0ZJBh
wHDBynhp0VfPyOJF1/7Gw2u9T+/R4spe1bkElRHAj3ZR1aO6Nh2kmch3dU0T17LiJgAQ58FGG4LI
NgV79n4HrORWY5XYMzsnxQHqeVXjprv4zGDZUNN+zoVnQSSP8z86wY4lKmzkP5i7I8Cd4Gmdnb6P
kEQVOPetm39lku+eaaXeAPj5aMpqeJ7yyVY73xokoMUcMW4oyPQwY7tmKJy/UapxAaoo1pGRAnW7
ft8HeqjuRRCF/3An/+2/33tkVgqNulFWeQKF6uXXbOdBmxoerbQQL3c/X+7qKXIj7Qkt3mfSgvdM
aU2BxWw+D9dLynkUGRazAOueebMlMBG/D9Jva/xFgLXpLaHsoz8ZMwsxsu4gOsqsgIIAnLjlmzBa
2DQljPDaGhKZyqf6GyAxK22KG2ZKrMEJD7cE7maEKQH7E8dGYEqbO/whjncFo9apkWy1zW42Ulce
S0+1kpNSHqrqsmDoQknLYJrKp+s+Vd004JVULqfbRi1KGSb229mru9FfgnxvvLW3Q+PGRwutT6d6
r+3Mr73XInReTsPeDOJbjB0f01B/uP4tm3E74sD/LDjvKyIw89SKjm9RfowMgg59rkbg3KN26JU/
/ou2OZHunK9ILW1orAgb3PuU9emFXQXaW+wxe5wCPfoCpikGfZeIxus2ADjQPPehKLt5VocsSsGy
0g5QNINTJMA06d8R0LN70XHeDlNWkji3URh51FgyJAGC571xeUargacARasIgYhQ4x1OESK1XvwI
bkZWLJTx1AUEX++KHoIi++ailFLXs8JOsdoMzkUD+qm208N2J4oS2Np9cpQrjTn3oXVaqSmAFtxJ
WuXLPXgYayGACjOMazK4QKSaNU1ScqjSBcmTAvCuGQkNDGru2NPFjoFgL4SUFqnFBSNNZlJVnd5X
jzy1d7gB5nOP+YLIxdHcoYskTdxU8QQnUrBn72MIK0MdATLXLw7Mh/U7KH73PIflDVCswZEHFGBg
quaH9qYF2bADAsrrsgUKv18TK9HSQkHXhaL5jtq7ZpA9tc4F2okkMP+/kjBliTZGMpY0StjamS4B
h+d1JbZfJh/WqHIuRtEpG9OAjPKL6jGMvuxW2Uf+D9NVvCx2k6MQHUqkFfv7SistU5u06rBu8r0M
+N35wGgA7DswoOO4jd/+Cze6+dpc6cj5GElLWjQOvvsYhuKehfUbFpQoXn0ydhp8C/oHm8qv8f6w
BFGRSFnOp+Dh0ZGW3Rg6PTrdb1trBTYiupNUzp1Y3ZwPTo8NZPEke3PML9ZNGzDuT3Lv+CI0SZFC
nGdpYPAlpdi9QZL8sgJjFMlFEdb2e3G1YZwvMRPmh9md3/v2rvvNsJLznXIvH9q99LwgC1gj+VIF
ybMuqjsJQip+kC6SSlKMzItlB0SxXgGIRX94Zd3VQGWJPFHqZdt9mSBq0m0MLvMNFEW9zIrVD+zK
mc9MSXr8b66c7aAZcAz/kcOZYS9Jndq3kNOHNNS9aTe/MYpw40iOkrhVlPmMz7fPhzTOJJ0yr8dI
6lmKRcMwUH6M/OjpLwYK645cRMN0W7NmiFY+5HE2GQE5x+5ryGOXgA6Se4acG+3LewYmq+0UzzmS
b3qYIc8RPQtjpW2T+ZDOGWtBgO3toHmdwY4e9O8M5ZS9+dGzCHBmX0gTsR0T/i2O76joljjqrQHi
GPIBeGjPrDBFbuMgRSalK70M0KNx+G9Grhi1FxtKRrvPp5ERQqhdL+2EiKIcL+kEFL8qxuziaN1U
Sx4YRXmXdvHZVgA1OemBY2aPMqUPmPq4o10UOBXFSy3vnp1i8vS6fojlWdQ0sZ2q+PhEfmXUUpck
Us84TEQBsG4e6kXsF9KdhKcXGYM0f+26G5KO++tX6JZHZHV5HGGkvR2+rrpoHcBfTBkPlOFxsEBm
0avudQnvMFD8gVqJ4DUjmGSM5kzBm9dsPfTnB2aduwXQyYYM7dZNkKSo/Gdo1K3v6PKzMNIjSTL0
sh4WdEmndurNhuNqk/5QG1/iEjDS6uAlTh32uYG23J9mjPRU/pyo6JXUH/roZzUCpWXRd059bxBs
6ptsxOHSym69HIu58nU7bPAUqUvHJZg2k452a4SJiW7M7tDNMEK5r0JTal4VqwYbZJQcKBYFUCWB
AQiUGB+fSugsTr6QKqiG75J6mVNMoXdntd2R5iC3s19nldvS0WuX3pPiX2UlGjh5vxivLSr3sCSF
pFOpoCwOMXeMxzjzwVLuW5mHWPmRhAnwNwd//j4dALmJ+DF31V1680V9qC+iV9DWYA/62v+2Ib6t
CEPJyjzk+JYuYIM9eFZigE92JdSby0MLN4J5h/INgTvI6K7b1ubVsBbNBYA0Sypi2AtL8I0+I9RR
XvLd/xLqPIsIdVTBYeHbjpJJHVuNKRp9+wv3NPH1A1AbLjoIRPoXhGUsF48WE688ax6jtW7VcK6E
/kz0HVxICDhBjc4ZvmPMHd1DGfKhlZK360urbd0M66Xlbt0OGJajyZZW3Smh5tM9easDxoUw+Zk/
nuIj+nR6FoWyYLvys/v0NvtlB8PJql15V59rb9i3YfMmijo2Y8b1h3EXNDZh7EsFH8be02zPEeeU
no639nDWQDYmZMwWrQR3Q1tUo8sU/a9AZKpcijcGugD/AtoUOOStG3KtHXchq6pS202Pva0G8wZs
ykFEpMUtxiKGK5q+Xt9kgTCTQ2BaKtyHSgPvL7fAP3owgXY+x4+NJBDD7PGKs+IhOyJ5UpaZYgFJ
pOyc5ZIVFrDTRAMK28pgwgtFQP0z5UEum4NRxlCGGL/KLArjZNdqmV8Nj9cX7XPrBzDg4NSAD4bh
LuChcgaY1AUw53JlCbuovVgtmuj6OpqDNEreEmU4213kJU2uB3aC2ypaVMMrpKIJBV/xySq5r+Cs
UiY9TYYBX6Hd2hjgpqf0kr0o9wB9AD53JQpTP20hJ40zy2qK7CVi0qYRk5TyTR21B0l4tNnK/WEo
f0pxOHtsR6manYRJ8eoEBdQ9Ko7mkWVEYDG64quVOyUAfXhPqYkn8wVL6nCXaqoVY+bMED/+QI70
XB7L3XyP6ccn1UcqQXDQP/sxTln2NatUQqb3ZVMYdAnz3+l382js2Xj49JX8XvzKF8+HC3bQ4a5K
yY4du1chTuraY9UcqLbsM1Es8OkMcjqxm2ulU2WPMZnhnEPZuZHVr7kzu2N5nCJVcPGLlGF/X8nB
4IOUGHApoZoqu7aq3FrCY80iB8EhY4vy2SDRDwhEIxVIjNyioT+URouiYWoOjfORWzlejdCqPQF2
NLf36pm9ylB0vi51W7kPodwiGo3p5MUMofZg+5i4CCrNjxHUXpfyOXZ636sPMdwaNmoXYf5HXcLF
8t55NXzJwzFzLhQMECjACNbyU9DCiWOms9qy2Cq0NJdgGphrTwClNt5JvfVyXadt8/tQifPMnVNn
NJugUhQh/YGRRWnJvGUObfrluqDtxdMMYHTKOqDf+DY41HXyAlwFS9i+E7EAh95rX+qgOeAx8iji
pNpcupUwztWbS0Xt2YEw0PwG06i+1GYmWLnPaQi2PSsZnIOX+1p3xgEyMkDeSi4BaFGGkaLMf6c9
ecZ4ha+CxzYO9RfnQF8Fy7m5cUAdYOzm7B9ni2WlK21RYTq1AooDUuGFH99rp+a59ECo4ylec5cP
qJyIiiafny5M65Vczijxxh6KDFCMobwbAjlAi7rsJmDmA1oTw9sZd9Utw5sZBfpubuhKLG+nuTkW
aocTPvePif2qZCL/+DkzzinGmUzVpamcT1AsYz071NcBPiJ55jm+oMJ6z6gMHEGy+PNQHBOJ8Avo
8CCKR9fhnwd8kOy+gwtdQotx5gC5aJ+lLgAN2dPhpQ/Kp+zR9ksg/gQWlpcC6QVTglTk1TaXdvUV
3K2aJ1puyRa+gtGWJJ5xQgeq4xm7AkAvshv7ZuwKq0ebt8RKJndL6PEUgwHJQkCIDiEGCAz+Dtzl
aQmoF9UtvqUooItaMTYviZVMtg4rd5ovZanmuQl3ap3qMt8tzjdiiICw2aH/dP2thHDH0pYXkGE4
EKLu7KO2tw9T6BxbMYG2aAG5YzhXoE7REsjpAv1I7vKg8vS72Zt/I58MwKf8TeBumBF80gtMZbaN
jBsMljPVprDrIUtZmILsCYPJ6fegbv3BWoLF8FKbO7USxlmkFY9yRFnoPBeYvUXbKknanSnC29ZM
5jSuKcVZIdrAZ6VdcPkZ5iD7dpNczFLFmHAZ3cwz8CdJviBBZZWFR4cBT4QeDUKtE8Z0Gs91CkTO
wviO0AOo6lKSo6oU7zDd/yUhluzZpD2AR/5mirqXKa4yV07TPc3V2p9VRA/lUh5BpmPs+tr6aVZg
AS+j7wkZTyBfD8Ap4aYzORXDcJxH+krzFgD+8kMqaX0wpsk5S5LnOaseiqa+SA3YvdrkRc+jh7QA
+0na1QhKysEdRrXyKFmimxiAAK+VGT1nSTr6mIOPznQwnS/zwrRUQfLhmqN0GxntjVH3mSvpGSZi
JeOc9e2jWbW9W2VD7CrN8FqO04FE+W1nFOEQDYGRU7+QG8/SpK9mUvmdgjkkkiGRRoFIlarTLa5I
zbUBwuiVEvp2lc4EeobpGzG9zW2wmaBR0iU2upTQqgpYheLSxO0DeNI8Z6AvVO8fsPn7NtVdrQY/
myZHBGQn8ITJAPJX64K+5CBrXruoxNzCszyaX+No9DQEuCQfdkA0fRlSbZcONpAP4iIOZql4sSKM
pNVJoSPJqdyoqn6jjsvNbIGAmER3cWfda82wk4vkVwc0tbaoTwBW8u0OF4M+HdQIs18NAI26GrON
wy4usie2PEYBDiZSeWmEqSH9sVWeZpN6E7F3BMjMJMGk7Jy7SqycFaNyq9gCysk5yYHaraNHtHAO
zWKaoW6CH8QZun1aVZ680CCtbhNkUQE+f6gxoayYE+AVynJvRuYveUG5pY/fWk09yhHqtwrF+Btx
+nCM0TXS6edGmm/bpPYb23LRhx5MpA8ylLFdJ8K4KRoIg5Jqz+mS7vFXt06dF9qRuz5pj1GknFQK
Nzb2j8SgoBVSEWqMara3ihIQbP2jbjZuaVC/rhP0PQHv3/gNRqrUq0AEEQ/d904GRNmIsZI2DkoL
9JEx3Eddh8SKba837NuyQezS16ESjYfYuSR0fjCX7CiP0alV2lOLQ2LPJTifwH9Wq+B1I238kpnm
veFMIdA+/XyOf4C0DFYx7ro5OppScptlJX7M8SeGY9t/V00MEwDooh70sxEZSVCqzSFCJUwGUseg
dH6TSmkAxBcfSD5v2dy+LhbM07bKyZ0t8sWalNrvqLy4uqmFKeq6bQr6YTICfhuw4r3pWoDEJuN3
oN2/5cR5G6gluTrVXbxUj8CIuV1sUN1TgG9k0nirjc6ptLQ4NKP5d2vakd/l1PIUG/js6Ek/ZEX9
uzG6r4Okt+6M+Y6iKdCApYRL2Z3ivoHpDbZ0Z2SNZ8ZT4tVY16mdURJKtekgy6QJuggxtdlEYUXU
nUnH+87oUSyWijN1uqCo0e/bzZripVI277pMPzYJkDj0oguNyvlWG8rXTE3bE2nQr6KVA3UtYKy6
Bh33dmV6Vappnp7PtbtM6e0IzMGsjX/UEeZTxnSnT/JPEHYcAObzuzL0PdUlzDTZWu4CuvzclhMJ
Oge99f10pyrW2VJ7NFLkVtC3VdBP9T5NnbPsOI+LSR6KFClxQAn4peW8RYX6OqnmvVx030e5l8Jl
KAZXdhZ6MPvsIdGBkjxYN/Iohfni0FsQ4QJ2RTd+Wg25s8oqUPs0JPEQ2pJ+r7MdVlHD82LDzF1j
mHeSJP2yI8CbNHS0D5U5R4JS81aUBbwry8KsJuZc+Lo9ISZQ4jVEPAACPs4YWJ3ap+t39OaDBAMY
JtZTAQAtnzQcslrTOiNaQnrbLK7U76rFnYLs1TilQb6Tb8FoOnjRY+XgxVrc0C9lKAJK3HzkrT+B
u7klmpMyrfAJS/G7Bzvsoh6a7sUw3/rktey7IIu6gFg9ro5DZ95f1/8fhNuGCngJIIe8p49WAd5C
yjYC4SeEY5CovWMPMt2tzt2h3RUXUXekUBoXThYIIbOxh7TJ69GmCO69y4iYqDxk++UkSgV8bpHA
U8HRFccAeCB40fnnHmmjvtEaLGx0YX07RZj/asmhGy/WgwGutTGIXCAyPS/0YZx3pahqtGm8yBA7
KsAfTJ3nkJmsWLMnGbqWY+HG870Zizis/kHBDxHccjpzBPqAAQq2vnU77Z09S9Fmfgkc0wEssfEz
m8C092hE/zdZRWCc/a0cF7LXhkb0LINkvYbdMBbF4hFU3e6iMZZuUBuLVnMzj7mWyAXvaKdR09ph
pqPXvjFn+6Rt76jtIG7LdqqjHfpFu0MNFmGMNgCwifxMZIxBt7W0u35kNpMIq0CbW3RZyUFdFuPN
SxOUTwB7VcidJ3eZL8ZqYM9nPtYGHJWl6gYbPOLL5lGajh1YkJFMXRBe1J4247Y6NkZ6on3+jBve
va7apsl+yONr6BZNNINKUM3Me3/U0HSvHQUSBCrx8BOznC6FPEBE3CVfRyt1e/WxNAs3K7P7tspP
JSA28sTyaSWjEj+daiDHFqntRq36zXEScHQqNsJFFeGire1o8dZ2ixulNXDvyYujD9/zsXjVR+vR
VFK0AqTuhPixWGw/j79VlXQcyH1soo9OLcJoKNw+wgBjRu7qFtgvVfE1j/OjbN1EYJVK2vgZU+4/
yzkJs0Q9qhLmexMjvL4g79BiV/aYL2tbRS61FsEes055wHiFEoqMAE3IXAQpvgJWTsxXDJiwFDnj
rVf3yrj4pDPw4/Kmj9mre0736JdBmGK3k9voS+aWdRGaY3XOo/j3GGFQXaA0e/l+VlpXkIqDc/yE
t6Yki2ynKrMCp5w8ImV7eMdDGTnhUEW/NVS+kN3QAIVhNyiTgMHOVftBONayvQIfX8Flr+yowYsx
RxKH3Ub9uX5avtMDgQNVyME81MEYqL6SBzh4eSgdJEEma/OwrYIbzoV29TTF1ERwg8wvnpJ7VMEF
yyySwLnM2ZxMHcEhS71jlSVSngltfgu2cvNAr24CLslYo43NNFj0khykRwM94ZLXvVbjvpddLfKd
oA/aG3Ovdx5GdqMbsxOEiP9wB9rvLByyDtcLU1sFMF3RablcJTRsgvwG/kR5J0jXX0fAXyigg2e1
ExKoJ0lYyNvKuDjA3URiB6VgW+YyIZ3TT3aHJ3moUMVP5AgUI3J/ciISCfbxM8zneyDzIYm7cppk
zszFho54o4Zsngb58gkj30ggo0+CBoheEjd5vr6zm9azUo+zT7zyDWmwJPgHqbufZ+MOAMWCybnt
6Hslg7PQXjI6Va1TCrXiPUAMdjRM7hBNQMH0Uj5L3hTGpVff5H57IRfR/Oc/xBQf68rZrmEmCYkk
7OByZGjd068RCQ+43xmlX3ALSoAvFW0lM8dPnm+lMe9zADwz2TJWtf0aXVp4GylQD+S3syNBGora
7987069JYx5wdTj0HqMafQ7DsR5H38C4SP8GOLD7X92v6BW4CcF0bu+dI5sWsQMJdMfSz1mA5LCV
LnQwhM66JfC/zuVA5b4wrIjpO6qgWqbDqS1OkQTEfQvJV5Ez2DTZlTDOF1jyvKRjD3UrCpCM5VQg
Ort+KLav65UI7tBPfZXMLRPBLHZOzpjU9dGZBS7j/FW5aI2LCmqN+Lc71QLRm+5mJZkpv9pLOsjA
mCCQvDQq0hwdy1qim1WvRbSNm50n6z3jTr4McM5o1iAJAc8BnDRejnPoHMdL7Itkbd4eK6U4B5CT
QbMBT0BDIEWh45FissGsHqxc36tZfVYSdHnRfhbBQX+eqGIOdSWWO/hSEQMlj2moRcMzicbvJFNu
CqTZrGp8KlTkM3P6mMvDDWnQWq8tRyPKXlKpUFy7qQPFdPwmQwbcyY/agmhUrwJltB+SJn0dE+0+
qvXQMCxMhlTk9br9idaLcx9pbRZdnOHDS/nQj6OPSZFd13R+jARFrcBrIVtxXeL25bNaK86HWPlA
lFGFSENB0TTeV8fy2diXu+YHimteth9nV9xGshmaoVEYJMNoiPg0ttk6LaD3KS4Goo+vqaQfIkvT
MaE1HmS12pOxgim2GAZoOgGw0Wat1vmQzE9w0l6qey0DIWrGOG5KvG6nL6zbNGf4B/Bb6Ares8FJ
0QN321evBHOe0pancorLAs4rnnbaklFX7+X9nOkAYTBRBXGtmlYhlbtwmBTZpUOOa8psgfVFAB1c
HY1SP8SwRiNTjkkyqAEAS+8Gw7zpauNs2v2+zRP0qfWyEFD30yQkO00oc1kOuIiA2MmdJsXS5bSP
sFkl3TsDGpiH09yaoSKjzhUjz0uAW9osQWQqX6/b5qa/XwnmTsMS1VXuJCx86M1Qk2s3MoSVXubQ
P12hKxmc+TdON7RqAnswL/WhRgNc5De+dd8c3mnkfSFdqUAeT1c5xzrONPLb4V/Dnp3XXModYmrG
yhpImXBiefNa+dCPL1KWxtSqs4Xj/f7oyu80uNxx2l/fqM9YWn+aiM3dzHMnpU5RQqsF7dtayG7N
FOOOplcD3ONXu1cfR8BN1AA2OBoSeHqErR+bcddKTe7eNifNNJoGpoKBDLe+Wy6MQmQEjor89G8G
8Dl1ubvaqNOlAQjeX4Elcqqn9IwUhouGpwAkQ4LAgN2RVyyUh8zua7VKdQkWakfqYXYUVGvOcpej
zEEFwdymV14tIndbW2o+GWrPfCPDgbikO2SKQvkk7JfZDBpXcjiHItdpqsg5NqsLZC99IEhLZ77+
WgfmLfnO8ouSnyA9LaKN+gcrNTXAdVvA6ONHzewmA50OxnigX7zPvqaWN1XA8TKQCQBOAwFbVfkI
74+OEr10yU4UDG32toDN7W/53PoCXhQTrGNJkZCQPSOUfoAK7JeZucbNcgvvZoCss/eWEznGjxGy
Ju6wB5ud6L7f9uYfH8EtvrMUBEzR+IjibB/zY3vKz4zXJ/VFCZDtasBKXc59A6UwlWOmbovRfXRj
hZGvPLA5QlZkKQVvze04ZiWNc+RFNRua2mNzuwDjz68zQ1RyAKjEerAMr3oE0m4qZAjdTk98SOVT
qkURZ4To8ARIwBRecjd1bvmQB2zqzrhkX1AaUDGrOT7338RB1Odpr3c39PdW8snWpEaDety8C8c5
2uf36a48AEnoVkQltH1gPwRx7t2msaZGzN8Nyze9v02dr5r91NrE74WQ7NuO/EMU58gVS5KznJ3R
/uvsA/EUQOjxL1TlveSk7v9dbW61fbwjV0s7LSIEZcuRjU3O+x6XBpiRMG5EMAp9/ZbcduQfqnHv
roXmOZixIay0bmhvHdoKwx85CEOU5Md1SduO/EMS72gmG6BtCk6efEzBJNTuDUyZyGIgmm2NHAsg
jmi2UT5VF0vVQocgNEpSt/rSH/pH7RRPKKzGZ1TldTDtTbknn6xXYWpHJJnbuJSCGFtlG9dh1pX4
9CTdpLkLoJnjdC7D9pijcTD+Yj5cX9d/cDIfCnNbOKu5M9QjxLJJc2aduEDaxJWC0WPIjLRxs9wl
F+HjYcNp22gdZ7i1gCsFI8KfyYGaZnixN4jiFky8Un96UL/55CC5MnWB1+TFYKRBNQHofF+NZzGp
15Ynh3gMqiCbj1o8D5Vaz2qvNSoSaTq4Tjzz6JxYH2g6IL4Cx2AoKl1sZSjW8vhHWinFihNbkNcd
yWG6SY/0AQ0sHhtCFMrasKQ/ZHHvsklN5pTqWFr7ApIlEN+lDrDpqovpA/sEbQG7qQzNyu0xbi8K
CLb6a/+QzfnVhqbsYEH2GKIdqn9iiVH2FuhSN3lgqAziPkLh2nIOFsBbTu2wte1Dc2dLqElVO3Iq
D44U6HthIZkZJhe8/qEhZ7hzVSmLQiFNvZi7GmOG4LxjY3bokSGu7CuX/8J6Nq6QP2Ryh1SaVTO3
dMi0GFWX6qkdCm4gIKOX5sCI9kTjKltBwB8COXcrA5mqbSMInNCT7AMe9qn4Whwo2qVZD2ruxWD7
AWKmDHY6MUfYtmv4+2y+ZzRXeUNFQ9oKyNm4m3FWjDPdKzfaka2ryAltewENYL2ohRjyJxoah+qa
RHBYQklxR0A1sO7k+Wjfgr7wv+kI2DSdlTgufJTSuNZIxV4jqWsvnv3+Psec7I5GgfyVBhkuaZG9
bjqDlUwuiFQ7x1rQ6UlDCpjIqdKPmfNomnGoasK826aVfojiEwFgH7dBjY3VROih4TXA8OKGr1P1
DikM2LTg+tXFjP7TQQRwAaid34H0uUNhAVK4cAxoBlzB2qsl82s7yt8TTUSsub1rH3K4swDIEoMA
3Q/uJRruxjk7Lun365r8gx1+iOBeMDH4j5SUPVPHBpcghhb36mupINDXQTWLvmTBq3jr0rdx94KG
yLFV61MP1TjYLaUZLn1LcbsvEgJsXA+YqQoa3Suf2i8t4CbEF9P2Qn5I5TznWEqLUlWQOiP/2xg3
hSX7goVkrv6zTXyI4GwikQYz7TECzvzWDJySOPNykHCj/9DYyT5gksXuavuAfYjkzCNJTIPaLbRK
1AIDcFV0cWLQO5H0rs20TIDhJlpCzlAasEKQOMWzxXD2DmZGjEjEtsJ80LUV5HwUoUMG+LYK6iim
m03tQwoIc+1RqspzOjSh9Pv6jm0f4o/V49wTHc0p7dFeHtplup/iUKY5mNsEq7YdlXzY+3tVd3Wj
FF0Tl4oNKSwNlBYn5Eg85ZsctsqBgHLY8NGSoxiCx5HolPFYYiUFtYTFThlDsKmREkJYouDyNFEC
l/35ubgYkyu80zZetsCgB62IgxlsYANx0ZBkk0wqBkh19iywjr78D2nXtSQ3jmy/iBEkQftKW6ad
2sjMC0Mjjei9A/n196C0q2ajOQVd7WxodyNmppIAMhOJNOeohc/YeX8mEPP2yC7uhnWICKMGFli+
052NaM7AES/0STVDNLu4yc16Vu4YCAKubnGQu6s4G1mcpaMtOpvy+JIcmdVTIPvKoXS/dSX6CFHk
0RLnTx8NG5mcqcd1m7YgKr24adOhnn2+BLctMt3W4TeisF1r38jjrD2NlTgrOqwx/w+KhxUDViN1
ZevIUrOYOvSy6XjdIEXqw9k/keo6qnTILInpR+0cdKB1loO+V5xuTv3rwvYPkTW6QmXNd2x1arTA
mdUsNZKB9U872HV2lKPgupD92xV0GP+Vwr1J0mQmXZdDSnIDHJZfaglWz4P4NSJaEmd+Sjm1BGxF
MD/0AI4oswKFY1FFF/i+ZrwuibO0IpPWBqgOzLVMXpWEKuCiSvTWjPN5hG/pTvIhakLBPu7kYHBM
r0I5k0smK7HLuoFqZCcTxH7RR+OFvZ3nMAsMT3taXUyFVPeMhhuc6gJVEa2Ys71In+pC07GvKG6D
pTif/6azJer13PVfrwvk7K0xMEyUqCyRnIQzpU6dKo5gD3dj5M0ecua1looiDRJESIfqmB/Wg+mT
cPZ+Blx/kJ57c2Dc5drEuh7VI4St5nAuFOSSdNClk0CWBQGsQOl5gL3FrGlqlS2IROruaQHNpTPo
sRdX+Z8cEKht0H+J8UrV4hbURuMKakIowap/lLVHo/t0/XiYEr27wF5/n8fZKOTIBkM1+/0Wz0Dy
aVENJKSQO+1FtrQbqG4kcTmaOCqRgCIXn8S60TMpLNBYFd+wDoXeDOWDKCu0az8bgZwTnGfTrIcC
S8sxllbMN7klCLJ2A8eNAM7xyV06m8kE75COPYb/W+0uZW3fM4YIRhDLZ4COAZMwOVw/sX3njkZz
FPHRUPEOcGBEL+ewdj1COxT03Qjkr5iAk29ye7adNsWAIyl/ZFrnYYryKJH0OMbGHQDtBOe5v/jX
r+DM2qzH1FaaDgaQ6OeomE9JBsZl49hiw6tEd+ZRBLq164xN9HGijwFpapvzVauMORhgziANFXZH
NFaGP3GNRTHdrmVvxHALK9EoW8gNxMzri5GGOXkoYoFR74sAKa7OcPZMfqCpjuzRLCw4jwGTYIUx
Osl4A2IJgecVSeH0P+2TIcc8GwoIbe1S7aUbRwBkCbsl2ba/8yCggv7vYjgrAIABps0rJubDcNPG
znBMz7nPYLFGD+3hxV1yWI5gAxJCNuza90YwHxHYZk/mCgeloCUe7R9ubvzROQGGQjEARYHRMyx9
84gaZ6PTcwJLG5Jztnxb8sdm/HLdmvfa3JCQ+CWDv0iGaDViK4cdMdy6/DE3vPYOExJ3yCXHqyN/
ZSw2GppZ9OLUfNVNT3e7f6oPc4WGLmGn375r2XwM56MVpUrxFz6GZRIqDwxxj/geT/rAoGotIebv
7utpI47TULpOSTmztWOSxZuBd81surqLXfkggjfdN4bXbea0tAGH8FgtMLlVl1zb+qsEa1WR/QEU
w5vD5FQSrMjdEA9QmH56jNh1gP7C6vG6xuy1t74Rwpa60coIDWRoJWHeAyV5GcgW5JznTnS0XfSB
e8kdxrtQJR//VkSjR0L14CJSQzZHVOdxXuQec8PMCZcIgEvgcwEuQfziFZ0Z5/CjRi6zQoVnIc1n
mmM0QbtRchET7iUn8d5/vWoG5+8pHTAJPmE7i9FVT+VdetC+kgP99JM4CrAdnnVODtRff6CTEi9Q
Uf163429yuecTJHHaMkG32RQFTczNNJC6CDQGGZHV5aosfLDRmMsiuZuYkItZfTQr155ysBNwBqr
lmcxhIfg1Phu8hkg7ADVwKlFM2gtSmAHJGOgTyJGZpEYzndYlR0rEnNVSxlG9NaOHixDEN+JRHA+
I5eHLkkinEwe3YGQFkHdyYgF/l9kU3xV2GqsBczjWIcFhJMjOU9nDOk/xc/JIx61f4SvsnUefPtU
S7QoAyICmzboMVp3xMDtrYlUcXbXHvXfyJAJtFvjXUZRj0gJQh66s51Mlhx9+SzQ7l0RDFoW05cq
4mLOTYz1ahdNDO1mmYHpefzAUlTxERAVuCyVf+aDJbCn91wuioGJoleJnMvQ1MkoU/siETweH6en
ETCE9bF9YWyL5DQedeomPjlW2FBWL/zxA6MGYXsPFyb4lL3xGHyKjqSnwQbk+fnpOgct2GSNbPFA
HMAENQhlWFqEkVtlgEAVeatdm9jI485T09TConiUBnpCgyh7KPKnLK4FhrefvbYs27J1WybqhXp0
47DGqm1LO8MGDx5aekBNhC5UBkYuhdPtDMKU8ZNoI5mXfeciNxI5JTKMRVcxyYt1WX3QVLpnz7NT
y5XbKZnbArMiBpoTOGQFurvrmTdiOU0y+0gbWglis2P1PIYgNXank3762YYq7HzZtRSANai6jimf
d7hc6lQqjY72STTcKEGCbWUYZ08oAGMGD/R999KDeIxDJJPz09K6DCmpKFNQRu5UedYMfLwEnYR4
/n9ioHIyIL5vBp+4IFjRcME2sWt/AfgQFdLJ7CrvZv2cQzdqANsV0sxibdmtHlgfA1iB0WS83lGX
MRGh8Qddo9fPeG9owAK01K9dZzu0Uea0HOx17iG19lm8lvvA/FG/UId8GjH2HJT/MM2mfnae4Su8
8ayjR7502rMIO3DfqjYfwrZn8yGLOSTDauH4GWGvCqBq+rcOig3qd07pJX77dytSb9Hhc97CUjDt
lctYugZsLcAu3ZsHerCeJ2y2FUSys4ghM/cv1M0qOUs2M6OrzBEyWXuX8XG+zUMW6kx3/b0tfjHt
r1C3kAYiLEPHRW+tqSXlMuN+A/UwBuTboF9mh1TR/SyNupNkyBXX6ZdK0TUQi62eKQ+rU9hLOGnG
nUQVUTTBNPidG7N/fc4FgX9zxMoyWLOUw58kNwzrbwXFO3uKn1iSDRUwcYVIsH6TezF27WBbDVt/
Vkw3KwUTTac8XjcgkQjOg1QUL3A7Ys+ASHKzGgBaiqhlZP8a3ewb5xnwyyntWDSZ3LBuI0W97Bu5
XeEZgeos3rf9d79tq6wPUbEwkfPWGOd5tmK1HH4aI0PXLN3y8xFUf8VnigkuzWfYNqMZstbnwdXz
c+zlnzovDszn69vLbPC9yrx+CHcFTdFip9qEDyn7AWAC5pmsxVm326AllmAQXCSKMxYDrBmVXSF4
KIvFGZPemdJHOuk+RX3j+qL2K9Gv28s/eUpaWEWxQlQB0ChkFzQ3KVyGzTo5/+nk+q2CMDu1K5vJ
P34w6tTToYMe5R0aESVi5w6Jk8JpyuKOROSTlomAGQV7qnHWEcPXRXhh4fnYfFCX0tGBC4ZONi8X
pmv2b89fiqJxNrKWBKkHCt9C8y8m+RzhEZmJqkUiGcwXbPyX1scRnXXImNum9MaBPAE7aAGq+iRI
7f2Lxb+uhrsMjQVeu79k0cnjgtg5PbNyRFs8UheM8IBWEuWVhRK5y7CcMtpbGa7fnz6mh0z45p8+
Bmoh9jEi1eBcTB/NgLJWYNnEoN4yoUSBKT+JdoFOyuC6vYnOjXMiZCgttFRjbaX2OdKz42igA2TO
/0cpnP8gemyh1x7WpWHQZyZA/PpaqZPIdTA95m2YYICaEGD6G6bMaUabZVJeLkwHmVocigoRhJZ6
bOglWdzMtz01Fz14RDI53WhlOuQzu7eBVdu6qr8CosMswgIz68SlIfDZaXj9xHajwe0yOe0w+4lW
E3vEsq7ebEJXb+ozYIUeQDbo6u0wP/snFbmtSE5LVFmqq3KGyEn+ZMnBvPxzfU17kcL29zn96AvE
t/IAha9tOWilKqCGqA1BcFB8V7tSStPQGFiCMoBq3DrVsVN4SQBeUUyfBeuftkJvVnVpBt/4RGte
zLRiPpHNDcTn9GR49DR7P1vLhc1Ue5a8lcbdJzWp5Rgka3gjzZNyHgYljKvogzTaQdran+uhPMlG
DEhPdMfMpWE7ZtZIgaxquSuZ/e0aA5CniEVzYUzoFZO8uNbNFvQWIFwHio8yjaMdZZ8JjcKhnD2z
Pdj2X0mRewn6SZ22kn0ifZMH0TuGJUivyeeupVoqpE61cASshwEl3rN1Q07R+Tf6s0X6xTkffZmm
MUqZCvuMJNhwqY1raQ1lzOHEc1C5ogPfzX+D8AuACJpu67LJvmizt0lOiixhrnsJUR3xlOfqm3rS
3KJiJJqggAP6a8juxNhtzVDcQrc3UAlcRyJr6Gq+lF3fyo8XI1qLeWGujwRN0N6uCdrvAQWIgSAD
yR7PZCBPqQN6E79xJYAL+OLhnN2iyuYreLuu1qxVVh1fwVIjGmute8nDFJ3/KV6PC6ZyDMD4fEpu
RbnEfTf8unzeulWJRHZCIHgKrJB6+k2LTs3URWfRd1ZtqNzCve4kdx/IDE0T3QN4gCs8FIBmr20L
dC/WLskGc1oglBs3bDRnCv+shrMVxrl8uRwThXYygp7oLy35FoNpraH/64o4v09GqzKX8rIi7ZSf
2fgE68IEqm8obnf7lxP7tX98038L7GRZZycWf5Xu03P/z/Sp+zv7UX3UguqUJw5AZ/Xvf3JmGB2z
CVCbZcLPj2erMvcGK18WmHqeJNc6kluWDrUOuRd7U+Zdl7d7CWzEceEI6uqysiTsGdNmX1BncbtW
OcjLx+tS2K+886obKVwEktQJ4HxlSIlV46h1iz+O/pCGsYjbSrQaTgfTEgjbeY3Na1bipWsYrRS9
z1+uL2Z3JgvP+F9HxCnhSuJeKnR2RIypyEReMXfXBom94TdC+93HBCZBdBUI3aZl8j3Pg2S2AEv4
Hx4TQoncHdhVGNVUh4tEllr61b+FhiOnb/+0GXi7Ru4unNemUhIWzkXm6Cvjh3Qt0cv3NZWJZzZP
XRWY86doPtR4a8yJ5RYN5jqeBKe6qzubfeYsQVbQA1Kj34rlERjSgeSwAQvcC5OTlL/fWM5U/51p
bMRypkETINi3Ol7145CbHrXkbwDXflQne3HwAgqiST1eX+j+Oolt6IqJ//Cd+2q7ohEwQoST9K1T
jX5JEXqISF9FQrjYclpamg6snybNngbDn+pPaM3839bBRTPzMBddVOC89PiFmo9NRR2r+nxdxv7h
ADFHUTTGRMxZuqaOE3K5KGmsMphDCQXKxCLd2mmBhPaqO2k6htcFsh98rw2/BPJNmpo5ZOiDQkq7
XA5jib4OrcbYbit/HNXRa43+wzKR+5HYf5CuI9qrWC63m8aoS2sZ1jnU3UPW14dmmgOF9p5uiAB7
9zXjVRSnGVmb9vGSY4VqJycO8KAbIFRqdBFRcguOjqc+04Albq465MRl7Ix4x2Q3tHpuxkACKvH1
Q/sXh/m6Js5hrkpqFPMMh6ndspxyb27yPerv5JSFEtkub0L5rNXrKipwYD+z/+bEnvT+z+w/BlfF
GSbRdvLecRy0SO0hMGIZx24EqYPsdBEQglfHmFfRju4+wzYKyT5ns76JVKD7LLGjtjn5FtAJpEVz
ZRo7NPrULvmtHL2smeYNxiiIh/Z3VteQFLrc75ds/kZygtpPUbFr4D/5mTa0PCMKfuZnrMNv5GeY
dryz+Y1EbmvNtLSTOMZam65h3ctdKbDu/XfARgK3m33SDYvE9JMNkWt9YLigZ8IQud4HQyh+aO4H
SAbzmTIoT97D+E+A5aYak9cCyXczSVQcxM3fuw7F0HT2wtHAosr56FHWp9WcoZmFJN0kxQumEO4K
0ZQdO4N3Z/QqhO/drNa+Ne2L11plr+8e+lZ2yfBooKIt8CV7nZJkI4lzxUCq0jCLhHgAXNitq/l1
2CagRVJceicdE9H87+W1+35hloykAIiRQG/61tCirFrseVyR6s/sl3Xqj+B4eC4LvDmMJHJyDX/s
2Iu0+D6zCv/6WvdP7lU2F61LNAct/ICTGwH/g4y5qxPZZXCa18Wwn7m2RE5BphREvsOIV1zWJqVT
Jv1zni6n0Vr+XlSrdohekEBXVxFcxL7K/Hd1psy14k0ZsRbVxur6kThj/h3cSL6SoQMgE76KWajz
7ys0eRa20la7NKpwiMYtmvC8y22wqTeIx9N3wxSAGOBRgmr3Oy6HJokzTauwpWoYhQ2oWpWQsSAK
OSN2jWEjh3ONoIVJpkKDnP//0OWuMm5EcYZQTXpSZApELdX3unpqetPpRZMxu55+I4NT+LIxabS2
kBFLxqEcTC81Pl7X9X17NgFpbNngaHnHczHamdEUqwIRpAaxU5o921mcgjCpd3r1bhrto6ZY8zmX
AZ6qzMF16ft7+Cqci4PsckXTkQY9VBfqzvTrmuYe0T5cF7JrV5sVso/YXNBRKc9kzggOCiV0fXpA
/xNmmCQA0z9eF7R/Wq+r4ZRPWstKjiYktKasdLumcKVJUAxiOvXObsHAqWq2wjCZOV8/tHOF0Rrc
k7EJBiFbH45KW2luV2bfZ6P2EJUL4qr9Jb0K5ILvqSclNVMExQqmh/T6+5x//YM9Y7PZBlj2kKvg
rEgf2kFGSQ3XydI7S5YHBjEFSP27578RwRmRoScL6KXgV+VO+VH0UUhSy23rvnNtQ/avL2cPEt0C
rYqMoRD5EkC9Vba4aqUoSqBsjA+iBskZSLESJ/eHxMm+SX/XoeGxmVR615gueSFfu+ZG5AR3jWrz
CZxRYRw+zotChZLkiQuMe28BxOwwDPfXl7p7S27EcGaVF5IcFxRiWlsOO9RZBqsLJ2XxOqt+lFQz
BOj8n2jjRiRnYMCyiNUKeEMI8hOnjE+tRQRX/x5+MM5PRxxqYgQbruDt+WkFmgBVA+c3o6+z8s1g
jt31PDjAwE2d9Dn5CsZXT9EY5PofLe5VMmdqltyp3cjcVNJqAazca8vP109sP6zfLI6FBRtPmFpK
bncUIn62vfRudOwOFIB4hV+FtaAyt+s6NsI4NWwwH5WVEvRDRXuB3CNN19kHwYL2dJDhFpvIrYIB
iw/l8eobUfeH99DQUDe6zc0QOYbb30YPIJM9aa1noEYOaLzEuUxFiQpke5a2Ec8H+aWUS4SmEI+M
uGNGxJezzDcGEQn3XvAEqhcdHSmE4J3J+Ug6anoTj9hJAjJJYlROM2XnKv+cdhiHsk5Gl5xWoxTs
7Z7XtGUTBHzwZDbeSW91pQC3QlNL0BWqUs/UgFhWJocmr57kWdTZs6uXtoX+fIDQIWnNLxCUo3RJ
LItFh2y6rHfXv82XCoi7xmE+9wK93I14ttKYUm2sQE9Ktcf8LJ7PyRQ0BcqYhXqYey3AsJ9rDhgI
HjJ/zb43leCu200V2DhDDCOohmXwe1paNkAbe4kV9GafIaaCZvQnAgqg3++BiCs4Q6FAzgbHprSt
eYZANv8wfo0B0ZF4K0bsV1//mPiiJo4de4CegnRWVUDIhz18u7OYjFja1M7QvlGfNUBd9Ubs2Kng
/HaFKLhcNRn3M2jc3wopNKtplSiWAysHZAUA3dv4r6kWtd3sSgEalMry3sCw56QM0wgA+6mSA9u+
NXPFM+cXuRrc6/5rJ5yDiUGEYqho9eT1vl2SpS+1Tg4S2qDhXjtWxaNmSKgNrU7S/wkPzRtxnOK3
lVIr1Ohl9LjPPsr5QNDNaxfEHhoweBg28fCPiUjhy/VFXvqcuaAVtUkCcktTAV8UH7Raeq3N1ER+
WM7k7GjFVXEGjfxfalGg4dKadUcdZ/k0UoIxKrvPvKyOOjdrYhTjQKPbSWRE9zTAAZrJRiTVTpWT
RN3fSzHGPsjj9I/tDKrUTHmxU4zIZWtyWzbKOaqBRiijk8nVVuMGXTIHUuovdmwBuGk89Kn0XJWa
+VXTcuNIkrSEaFB/5PHyTFrzhpTkuU/n3EksGZyokzG6ZdQtH2y9V3y83BtXn2cf1zWcxZpJp1Jq
D2tXf5DohFEba+69iaLAp0tAEBumB9vMPaNAxX6oI0fPGpDzJkCd62ew7a754lX1XPrg8VV/lGlb
3RkpPZC5qQNS9vjp7Nv1A1Hf38yg5DTR0AG0USAjmZweEDC+ElmKZLDSPvbpR31NHRkHDw7iUnpR
q0cLBKGVsji98kOq10MUBXN5M3UgCh0iNy+T21YD5nGLacEKLW8VmG+nPnFzi34p+/L5+se+v4be
fiuXi7FBXauDUVUOJEzYgdIOyRg5qYMBWG3XBe2gh8NhKbLGoKJkDE5xkjKzNxcjSTH9Yk2+npgO
UDTB/fs85pWnjo27Fo2TFPG93Y0PcvKhmAynmU0nGj/09lE2S2iCCRYDhPxgahA4ir0TQ+2NMKgP
fB2fY14VNaJRWwA4C8yJAAYDCoGg6XVXgooWH2yCSghf/ZBrjLlTuVQC/Jc3FJh2oUC/Ee0x85pv
XQGCahM3BCrTCGR4dIN47Ajaw0b1MmbCugqT4lae0UNE/TpAuRbkJJXgDnzvyN+K5MLquh2KWMsn
NUACyjX1xmvAKgSIdMEJ7YqxNNxLGNeV0bT/9lYCT3oDgnNZRav86q6YFDKX2B+UVrSD7P3xbgdt
hs5pKbqJ/OtbOUmpNWnTUywHbLKO9Hd0ZBMscHMZniTCvuQdrUDQ+UsaPzOi21WR1TWktT+0HxYF
MmLkAVXfgxubUgTWDMFWFFRfJviuLJGfGwEnZxnRFULjRjnUke7KuR3i3eIPautbxcc2Qv9ZHa6g
8ZGTKljSxO1k4DS3ijPY4dIcEwXc42QF03Hp5Kvk2A3xSpk663w32BUBKTuCoJwcjPmrqVSnsW8W
Z0iNIClbpJX14rFphy9rGnl6Cdj8qRGoyk64axqGIttguFaBEMq/WuJGW2UConScYXpQC7RZDYcy
D3ovOZQBiVMhSchOHAiJCDyhMzYiJt7u1rnrCiohDvxZb0yXTb3xt6p/O51QbyVyZjfLMWl7AxJ7
PwqB0Jv700H6aIFjlrUtx98IyMdF+7pjg29WydngTGiiyjZbJUbK1FsGNJhgPOa+DDG1EuLibm/E
dU5mcJy2It41TU0hBLC5fMJAUrRCUZsa4SgKArZ6TuZTXX6Z0wXk8QBA0PBnXL3rd5Vqsu3jpJoo
laEx0tZVBKicG5hMPa5XGZFjvWqLK7XZXdUPyT3p8jQkg1UdY2tY/HWmd0sBAkw87xyVUoSxtoVx
xjUvnSHTO98AabxVIzIbqeqWzG2RdfprtWM/inFsRLolvXagkn4jrfRrYvSdU7VZ5K+t8rEeOgvd
Bt3iGLkaP/SSQj2lW1ZvWmvFb6LuoEV15owqcJyy6Fvc6E+lBnyeBEMGufFJapMfkdLgZW6YwdSn
n+MUg55ZcbKi8tAjJHRh5zaCr9W2wIgsDx+w/y91K8EHmU3mZr3UhA3AvKuxBMHZWve+PVWF26Hb
WqkpiDZAf+5hyk5xxkizjnKjNwHRM+OGTAbyN1qBeLRr8UiJ1DuFTIeVzK1Lpf6JzPahTGbJAbV9
eg+tykon6sdWcgYAT/eOGtPk2NgyWJns/A7pquxBy+Tcp5lqBGOZmDdVM4KTfdI1R8twiaINxHQs
aaHegK6Ms2nlN7KUR267GCC+LdPSb6uxupuByochDHXMPRoPt6k6HOc8BWckUhCOAV5XD/RShm+b
RX2QclU6YC75SVIrxdNaYG6Y+YJZ/ahJA7kww0QD25Wal+1pVobykMVJXDljNes3uj7i39LcjI5e
olSyZylkfJibym+1eL6tUF6+LaKx9dY1v82p/ChROVjs6TDPy+Ia0Zh4sVHeN/LsR12EZwTq+2Mj
kVNX5aWbF23QRdLkNjQ6Skvs6RPQRWMFZMSqnr9ko/k9IXXi1BNx63LonhpUSv0+H4kXjQq90RTU
HfRWuY3zTAZjFzAQjXmht3O2EIQL6yqFfRZXn5fIyEcn7XtyJ5nmKVm1MC/7EHmi1O3XRXaVEbHp
1J1NSl+AQBhOSXeXTYtvj/p4SFXrRVKTpwX70CU5ovX80A/o+1hS+T6qrcQDmJQ7SAU92NmMOT8r
6m6lqLPCJBpPM50POaWlW2kYnjHak1x0ABHNTkVce3UyPYE3AbdJ3UmBZZVFSLukdpuix/yGgo0B
tbE3VlPjAUZSDjMaKV6HyQrDWFu3y4YvcjQPXg/orqTEP2MMsQs7uOvI9IScJZKQy+gO9jTdVnEE
xMvyECeyM4AOz5Ol4kGV9CDNp3vdALBrgsndmhYuXeIkzHJgpCymVyTqowqI17mWPqV4PsV99jlW
CLhfi9Q4ZYpJJ3c0rcVXaRF7aV3fSFH8GE3R/aogIVrnB/iFUwvMZLam/Njr8smO7buexE9JVBdu
pJb3IEEDQnS8fDLmSv6njvvpg5qp5yWVcFE30QFdZocEVSfMHEmZ10dL6SNnAhNG1skBanURKG1j
i4IndgG88Zqob6HChSCXNWgRm4U7m8xPHo/g91ORP7Y64P4BE0F5Vhx6ADpyaQVS2AaJL8LlfhdB
cSLZnbURCcdWNHqG3N0kxYey/qSbIvgikQQuKQ607HbsZyxKM6dDEdl+agveBu8DFm4RXF7HyuZB
S1jePcGoMFjUaldycXYF2BNoCM5H//r19r4dhJPHPVClSZ1Vpbykjj0NbBQZY01gwLK/0w7yPh94
kcaeV9CL95BrgwroXARkPxuo+xBAHaBqUvzsJAyn3zUpcZK4oCgiRmwSluIf5kR1tWb5aGvZPaze
yAF0uOheZnZ3TY1c9bQYgnfQ+zEGTjgXHTXgwTC6UmOlcTbMMT823yj+l3h9iEYwGRyhKDv8Dib4
XvQJZhNFJjKSDsh6cuozAgpciytZRlw2gghxlR/iA8gfQ3QLTrHP6AXErfjq+9waigIboZwOqXEx
DnYDodkxeWhqJ3su75QlGPNDdIvS2AE4Tjdy4QCL0ctD89YeHomFmMGJYj8DGoUD9D3hfMVOrPjm
m7iorZfR/zQu+CbdNsDqvXhaQZ1J+ZLhZY+WE/RKZ746aaK4eC+HstkKfuA5iSdjsluIHRcnNb3u
qAHgIfKKTytGyAkC1YJBfGBYQNTRslNNe3MIfHCcDpUpKcVFsp+S57z9LvtFwIglstKzUWGbQkMq
8CD4HYaJHXSNt9I5c9PweE0RIwPZ/HNbegQT8ri/7rubKKSpQztvAH/zcNDuW09Z/PYmiu5LelZ8
IHMGouLeexeK7Of2DDjrAywQ5vSYOiL1/7EJ2Fhg7+UPsctwq4X7vpMlMDExhQcf3JqCtMTbW6cu
zMnomxUnzmOPC2lDdpXLROShGehJwPvqrShq4XbIq0UOUkUHTPaZ0KecDGdVE/ivnccdlvRLzsWL
by5So1oQ9WuQM5aZs6bVg6Sqz5UlTAO+ixHYQW3kcFvXJQ2uOglyiArShPggYYQBvuo/DrJqgN4k
uhfe3eAsM06IgmQskOoB2/p2C7MFUbZWKzJ69023tx9LQ8RjsLd5WwlcjJBWTW90PbRPNTBBhgBy
XNujuYTX7+1LvfNNfMUthHP0OZrCzTpV8VwAgtDX7ggDO+IZnrnf9cqVDvo3ZJpX0MOz+ZfiR5s5
6lMUMzakLyDS6+4Yv6Yo/hKtnLsGIqutMrpgb43ye6RUTt1qzgK8sesr37tstvvLGQFB2r61wKIe
JPIaWgUlTppox8kqvCadD0avZv51gTsgFm90hs/MgddOigcLErXbsXPsb5rbu0mAyAWJ6gtiUeHH
T8LAjHnMKwfMp+bKNumWjmkq/WygGe3QgtoWL5rSWz/iBhFzKOxdmJt9vaRBNkZfz7SMUcVgkYN9
bzudZ3QwyYrdIKESktkDn0JITmyQSjySvlsR2ErnfPY6ZLXVShfpEOrFH9QvXeFVn7LK6dn0pxmi
TpeBMmOogVjkA7tBpFc7UDDsmA1DxV9o+OLTys1g9X2HvxO0ndOia+kjpm8xU86KxgvQ5p/V5+Wb
HMQu7ixvPICmTz+eCqCkdqHw7Pcc4/ZTuMeTauNNlUrMSwEJKzROJVgw0Zz6OH5GIQn9I8Li9b5R
va6dc4ul3scNHDGipSdDd8ASxZ4eSdCco++tp37OvhZ3gCX07KOojP0vxvUqmXOXqiJZs4LbDmXz
Cv3NbvbMtj32MXu7ABDxwt0mBgHZN65XqZz3rJumVzQWInTe8iPGJLntpsf6OB5/JzgSrpFzjBSl
9USaIG0K4tRdwKTWPOQnjDQDfb9wsjv7VPhFqP7/JwveKjTnKZscHUiFArGDB+S86bgeLG9EDv8S
A6Jv3L3uJ3djwI3W8rHvkORNN7NNXe+Lm7FwEPnBh+D/GHowxGEGpLfWjRCQpnHYJ565OLXq6PVD
+lA/ZB+EYFL7V/2vM+YDs77Jx3yh+Bzzyf42fu2Rh7c8Cpqp4iuKYogtRLq8e/+BEwzTDjbrS+TC
GZJUKQpGuJIJhh3K3g4qHah2eOpc3+cdjjyc60YOF2sPulJbKFPKgRxaoWo4Y4hkROegYiv58j11
Vx9s8p7+pU8cBSV+kfi9KFRBcscGdiHaSPmy2NhNBLcsxGdHijfcigDHAdoRBWau13vUbx80TDwV
7pQ7uRC7ZG+Pt/V0znCrWpmTTEE9HdxrR9IYjoVik54cBVu8E9S/KcZxW5xWC13GCXUxhl4nf62C
MgT7TTA/D6EIynPvyf5GFrsMNhevlU5zX7UXWWALSx3gpYA7d3Xpx98r+gkFcrdLo4JpBOUKNViw
ODKBaAKjLPSQupNfGcH0KL7ed9AlUBm2NRRuTAYmyqclDLVsY5UsKvytEsi3JOhST6NuBpC+yJlf
KMBSNSw5f0Dlw7wreic6W7LzG9NP79JCqOpvP4RzxToe55Uy4UO0sHgwz9aRiW0ffoPYfl+FXpfM
eV+MbXZ2k0ES6wdTwPE4HfJjcgAjufgNunN9b1fFe15ipIveRZDFOqHtgJ5pkB7K03BgiaYhlI5m
aAXiY917ab+Ry3m8CcUfmsuQiwr5HTDBs8B22TCefNMDuk/4/t2rdL6Rx5ml1WkjsMkgj0Fn6pNj
nhlsKKvKF4fxmYHSii61vbv7jUjOOvtykrWsv2ytEijPkuosucOSsp1vn+anpHPb+z+iln+jpzwe
td6psaS3EBvfRWF7io5jEH1mSCSiDva9yNsmMutwMCz4dD6poA2lXa+ZzvSUghBGcSKgQ5fOeiz/
anBnuiMaGJUXlMufTNOvz6huXve1O9f0Vj6fbEBnGi3lDvLBr+TUWRfIEhGMcjCj5p5Sb0RwaprJ
UWECu0gNdOO+Uh8mg7YO2Lb9fowPdaU7Gor01xe1axmbXb38/Y1TrxaJrhjNYpp64ZP/6ycatBVk
J1sYeb1P4sOrbaVxSprPNbXJDGnVDaMDYBmvzk8Oxek3DIL91rXN5G4PvbKyWkfz4cWvaUAStuWf
dR1gm9JbDZjXf3IZE3AvYZ6NqAYG295ekP/H2nU1y20zy1/EKubwSnLznpz1wpKsIyYwE0y//jZW
tg4Plt9Clm+5XH6QS7MAB4PBTE93E6kJwCcWi249dBboZjqoO20PHqKNiD5k0RlnprjXSJ2MlMa1
qa5Jej9ZxjdnVIVKLQspjDNfDpfCDEavZWF3Wg66+D74f8t9WfoScALuAJIjYEOpL/V3otLXUsno
k2Hu7sOcw9/7yHySFTHiwc0fompVPUWSn1au7kee4iqN56wYETNZ1U/hQ+D1XuHL1UpK3OjJlg70
RZTRLmSUDjSUVFRPQT51huswIfxgR0qprUda7lFrlN0ifbEzQ/ar/lZwMJeu5bkt7goJw8KMpLTQ
2PizvpevWL9r6tDvAoePUDtu8WDOrXEHMzcKkww6VsaKw/31P8KU/Y2Y4mkxrQM0BtMZmr2ACNfV
RNKhGqMB2c94pRmrpTS5LL8xIeZr3gvFfJcOy9wg50+ppQRRXsAgo2Prrx8nFywfR0b59OfrA6LK
sTH9jxlKLooP41gVOuC0JyhXYu8ZVy/GohF2QNuJZHFDy5XAWZZiHYiBf5nknMXK80bXa5jEDBTT
NK3fFDBCdl6mgvePPbKEjyv2N/LRdW6Rd5gJI/s2a5kzLFdbAstFjCsWF1geF+kPojfr0tVoq5gv
Px3AMyFyNKuKHNIFWKFyD8uQsbcwAm3kN6S8DzFmCzjny+VNXbSoWcBCmwb0CPnPWKla1xkJGGfK
9ioqgq1RPyX6raxc0WYjO4N32RrLsvn9xGH4ZY3/gkqWS4EJa0VsujG9BkOqK0st6OvedXV0U/o1
sN8umzQXV2gA3qwYmDQ4E8JVDcwqYwpBw9QEBOmsNnhS9dyXtP6qkGy4L7Av9jGV/NjYknF4wRT3
W5knu7pvV3HF3uzfojJF2y5PH2gy7NTQ8awG1SKrdvUaD0Q5Qxs7iH2gnlZtDTDJUAL8ZHloCGPK
hQLhNKWu1NvJikR9tmvl8l6jWulSIz2aWrQvMauysvrs3SCl5lFMrXh9okSbaMj0v8DtYblVUtxV
ChBhYQpQndoUtTuF7XZyoq1V2psxMfzaUu/sPjwSJXkpSyAU1KDaKUXtG3m/ilN72yWqX7WWpxD8
kCzWVz0tr4LBrRP57vKGL0ZZUL+zkoSlmmdSfKj0tGVdahpSEtnrdq0KAKRyxy4wggeu4AZZur7n
xrioh877KFUdjEnDO6ab/FiP98GAcvDlRS3diXMz3PNR0WJi0FqH/heGdVUb9Rzi6/baHkZRerUU
xmeWTPZknqWqSs7EE4EDwu4xlQ/UvP0p8DAc4jiHCvWcYp1vdKjj/cv1nSASH/ggLtCZ+VTSVMcA
txETOBN1lUl30TmHDoUg+z/bSWYJPAigjMF83Zl8nE5UPTBaA/BY4AMj+aEDuNoZMWbqmIKtPMno
fIo2n03xQ4qD2kQptYH7KCSMzjhEXUVWu0rjbGe1W2dKtlKd+KNzm1jQYiLxFiiyh4xmPsY+WnmF
8+lq6lVKC9du15UJ2dTQcGucLcwHgE382hkgn4m/ISq/5cHLhBH7TF/r45ucQrNNeSzNHwXUhPJM
Azg78WIZpLgapmbCJ4zLr0iXMcCjq1fb1DA9gq2+/EXPjyG3eu6CbibSZm0IyE1FPjPL/FlqxVnj
InsQxjTMGgbw+UjklM6X178FXDpLG5k1E0TdGJ9f0AnoooDEuQ4cOd3bm5/soPax2EFhXFzlENni
IkyVDIrSTxiaZFUOMOZjdJgcnA1r/GgCj11GKs3WxYWZxHLCKJfhsYzVGK//R/LK/suoV21fhRLK
TmO1XDEz0Hm6+nlHz2pWuZS1wEiCF+XOXA3r6ppVyJS7/Hn0C2RWokRn2Ts/Vsq3AwZAiyMAk//M
O7WzoHpaHRNJRfZ4TucL1rGkbjIH/tL0x06XrsrgKEO8LHEaV8m+EnQ+yrH1rORe0r5GaCOTO7V8
1qPCN5PSLUniWyFIDSrkYkq7NdTC01P1Gehk3y5vHPWGBsGLoY8vUyhfpzgEKVO7LTKgnDBl3peu
1umCgM08gY9thg5OQh3MEefsEWGlxQ2Gthgo5F2KNpYUrFBxOJbypjB/kAoMHGXxr/Nv7OLcJncS
giCN+4jCJuZOmGhP4+lA/QM0WAPK1ter35AHWDp8IAYw2LgrJjh42nkdcr2DYcMke9R8aLYrV3/o
knNbXLWBYnndGMAWQti/puJaPACGpUCfDXsKAjDuxm1RIh6VLP0ToJLQFjses5wibMfENCmmk89A
UeKDzX73mWNatowxaFlVUcP8bCvJemUEayEAIX8oGnOWATKv/DBocAlTR23bshu2kdZDIa+65LUP
1pfvUpEJ7ipF+38giQETU3VlGE+ZtG5TUYb5Pz7Sr40zuBuUyEarU0AG8aCWf7KZ1Srahz/ZzMZI
wGFyXhJV0QwBaA2ob1Zp5scewd9q1vpIgTG4Se8Zd9ppHD8GHrL0ME8nePgt7OAna5wHBlEqT3rV
ofubfinD45gcLSJ4CZxDLrkVsd8w83IS2XVp5VhRcpRuRnmr2Dtj3UA8Lvby0SWVp/yg7QqgSzH7
1sL98ml5XOhAczLSWhPLC/rJBY+464Si1EC0g1ydMm2TqY8DrE7aWg+dL70a23DfueXWfoBO/NHc
ihtKZy9nbkO5eC9hlK0dbKzKCTEBJKduJz132jZPTFdOb+Tmx+VTtgRH/7SLXOiIxzrKNbaLpjp4
tH+x9YekeqXhOpWgb0Ve5KLwx0ywsRc/nSHz3HNlmiStobFP19a+o33JQH8jWBc7uVxI/FgXTHDh
w8IBDCQTn07fFNfDd6Yoot6AvPJO3YoLj8vr0TVQdugYZ+YHHrtWNSToLeEWM5HflA9t+0WwHPYZ
zpfzYYELVDJKRhSVEnjioSUentrBFwVw+u42v4nW5FuwNiyghVwFrce1eqAHUSz5Hwf94wdwV6ft
SGGHkQ8ZVbn2mLymq8R2g+/OVwyd/eXsVbd9Z4Srkpv9W/6N03n4sMsFMYQwokV1D6THeJOYmLJt
bsLsXzM9cka4KOZo0RTbEXY3bogXhqpnVLcNEU5Ti9yEi1g6CYIhpzCj3kk37a2yDa+MFc41EHXd
hgnTi1q37C889xp2T6PapqAE+Dk6l6hmqTQEujjt5GPfqkdVzw6dol6Rrhc1dZYD1y9b/MNfUlHc
MgPYMlDXy80I82y9q+dfdQePe9KuJhIL7jfB6jTuiAdGaRckgsWSal6a3yjyfTY+KHXuXz58y2fv
Y2Xc2dN1SCz0Bj4bqOlWFtnL/VViX1sW4K/OKkEVVaQzeA4jO/njh0XusI1pCNUDDSv7R0u3R7f2
Jca4HMRns529Nt3+FiCrFaPOlO+t2xgNq1vRmV92149fwR09XU5jjajMXdXcr5wO47exYNZLZII7
eBJNh6KwsFAbLTdb7d18Einbikxwhy5pCSbuS5gYW0z/dMou1un6soOcIyTY99LwLpTResK/XJ6g
hCYF/RwGIJwU8xZM9xk17dGX3tsfw6q8n97jtZFApUhwyS0egJlZLlewSrm01QjwPjo9DfVRISsl
3WT65vLq2I8/CyIzK1wQkYfcUCSCDcy7ZDWEhduHpZfZGGcEAFkhIhDy4vf6ZQ7YzM8xKwwJRmMn
7CWR9TXmGd0/4Df59LnAy/zZRDRaZt7nMNFroZcAnRmMkyA2CVwCoyqfbZgxTYIWQ/PIP2zMrFde
sW8GV2u8dMMQSWqKmSS30NxSDJ1ejFezHeSih2HRsCEK88YHyQHVhDu9GTc/BynbbZ1hDMKEUksE
rBso5DBu7zqPlz1mOVmY/QL2jWevgnQiQQLJSxa/HOJlz/BNMLph9o3Jknc/IEswrdCZuBL190W+
w4WTPDTMDJYRGcf6SZ+0GzAC/kk+MlsaF04MMPk04B1gjyoIbwThejQVP+nvLu/guRYW56JcRGlz
za5IipVYIYY63Fp10/shcC0MEuI5fK9AHDK5LhtXp9CFBcy0e0bbYCtE4Ys2lIswOs2GXrVPH9Le
gP41ADQz21Q+jV2QsmR+7DffRNfO4qNrtsNcvDFIZ1W1zO6EVDPcqoJ2cgkxi6Gq/lNgU3jYVdYb
et6ZWByd2s0g44pNj2DrxLRFtq3qVBARBMs6lSJmZ6JMhqrp2FBU1WvXRdVhnsTyRhHppsgKF3Zo
0QFNxgDopHpTmsOJ8aIQXNpLdevZdXdWRlPbxK5bDDGvHXDgFG79mPuM6Y98izEo0k4rdStECF++
hEDd/zmi0F4pe8KGeoOrWvWdm35080cWUSJf3WXoFt0MP0a6YRmRLSLEvHzNoiT62XZpaW2YswzC
AAFD0eZ+jV6UbCOuggf08rlfrhB9OP8pss68RA2CxijY7RftgLpe5Rh+z7zmL2dTrJ2dqPUhON2n
zsjMWFUqeTh2MKbJD6MNTKf69fJyRF+NCx+V0RdVwG4iq8ivNWnY59V0S9Jwm8rmAyHK7r+Z4yJH
BrjoECI/W2eR7lHMAwRq5UaT6SMzEjVvBXt3Ymae7Z1k1CB51rA0EqFpiyblNAnugP+RQuimZcqm
Zp8NaoIZGOTKBCUMBkvtdvE+fqeJb0PXbZ+vsofQB6Dpe92LXJClB+f53odZ7oYDUibUYwsv7t7T
99Irw8UzQuL2WcIzX1zwOp/lOF11toLCqAYALj90lqZBE6qoe6GyMEAdu9+QdfBWPmDkDVObpquv
601gueOBAsB12V+Wv+GHZS6o5K0ZRrGDmobUDIXb6dp1RBRRkr4ckT+McNEjGXNdBp0RgmVXuQS4
FdXJ3FGUpC/HqA8r/EezIik3LVihFuhWHfocUmvfB9MBgnOCoarlQ/1hiv35zPPTCmAbs4Kp1viu
FvdN+kSa0AUrYQRWx8sfaNGUrgPuBh5C7WzOph77xCAVJuPClgnD2BtSojHaQgCTlKsx6gSuv+gP
H+b4KddqmoaIVuzybCN/bJrtiKGeyyta9IaZCe7poVuF/XOQNgMWoYgtL0iPef922chy/j2zon7+
RJEUNmnP5jjr17z2tbXiTzuIinvJC+jeoHhvRGDTKzcp2MUFR2r5ApuZZtFl5h2DboZJzBIQ4yZ5
tNbTgSk5gxwKEMVV7glb2qL95I5wRtF7aFN4iPLQ/yiRiDQbe9duO8xgwGjwCmKurYhqXGSTO9FB
07YZ8ELYXe12HK7r6pCoD4IvyL7QWRA2wLSmOCD3P+NuNmhDA7CX/Iz9kOzyqvcUG8kYcPIrQ3Bv
Li5oZozbxFQfFTXGNB94zXVfUWnrhmA7M7tBmN6wr39pWdzWUQe6lACzI0wBQ6KzWchdsKZgA/49
ZorFqDhbGBcVG12VIzD74ECrtatKlVtT3VP0x6D/cfl7LRoCmNNxQOXKSE0/ez2YldUq6DQk90F4
Z5LvlhLule4lsOvtZUNLHUsMHX5Y4lIq1ZjSKoaKLyDO6g/WQnS8unatDWaT1/If3V0zY1xCZU7B
YKUajElg9Qv1vZo1vt0JeojLb90PK7yMbd3rcl5TWFFuwq/RrQ3N5zH09K/1IyMAjT1t00d+NLlx
4AIy4tFDkQsnLBaPgKUC3AEC4HOa7zLSgzoFj9e67vb1OLqBsR3DUnC/LAfHmRXuoFXUVroKA0jr
ca8C1FR9Ycsrjv2u3qBCKDjVy8+0mTXusOVWlPVdaLDESjtpqsWA0OyMDTtt9ZOkuYXIOReP98wi
d95IrxqDE2N90F26y28br/AwEPsKbrhjtE32AFNfPg3M/87Cycwed+zsPsADo8AK60S6GiMkVnWW
je5QBv2qseTIK/LpedCy3aQOo3/Z9vnUGMtbZ8a5kxgMMagSCIwnR8gNbpWtCTbzwFOHjfrW9+47
JIZ81R+31g6Vi7b32kH0Dmfucmn53PFUWtluKhvbTY72Rr4ia2c1XWtX3YodFPlb4IUvl9csOCX8
oyfOAtmmBgxqYbTKkI81A1jka5HwiuicnCLGLImIM10ydISFkxQ5COA22r3+mB6HVb7qt2Bb/G+r
YnfxzNqUmIGSJsxaEB6gLezXQ3BPVUGYEy6KHZ6ZmWREqalmQ+MyEK07RoNmH6UnsCqj9UeEeiii
T8WFGquPjLYtsCgrf8u0ypWAUc9F94MoxPBM4dLU60oywUp43X9NT8x55QrFixAOGPu/Mby8+CL4
OHQqF2Gy3K6LYcQmggUUkMmM7AdMbDVXGNfaO5Z/tB0XkkAYvBW1Us8Hbz8f9xMD3OzzEcnBiGaK
496tARV9Vo4nuXrffCh2hld+EYMKFnMKC/g7kF0tDPtMyG3jGMQZ615Nrwya36i2fATIa5MTRRBJ
lgPJhynuBPRaTaOBrU0CF7unNQleqiApFUTrZZf8sMIdgIJ2DS0HOIs8fbEDxQudvR6Lmuws6p7F
RBsMyQ7EIg00vT+fMkmJxrwFqf0aN0IWBm6QO1c1WjzV+D40xSEcv10OHsvHemaQuwakRi6SJLZZ
oyfeTtVpJqt4ZbTTRQUQb92tBAZZA+zSCrmorzV9bk+Qf1+THXgFDx0klbqVjqnaStDqWPQKsIQp
hskgvDb7njOPl0wJ1DS5w8q834LhFghDQeAVGeAOc4VSZ0ciqC3ExbMJlvRS+7OMa7YGzh3gAVpd
M7IMRtJdVhDBQaTIVr3PSIsCDJMIvs6ij8/scd4AdPKgqTY+TmEUbmqTvRIFa8cUlGBEVjgXQAcB
lAMISNBIN647s/5ht8ZbVILM9rKvCT4QL/cdR1ISpAp8G8nxqo6hrjz8CQQTko6/vMzhKiK9WslF
TbCW2RDD3+yr5UbEzyZaEBfopqECJyoUqNZxSLx+fJBAKn55yxZT0tlyuCA3aJak6x18ekh19Ahx
8Q6Ja9mHePpG5W90PJTSH6GXZibZomfn1CJpmThsBxVr20qWV0avFLQil9e1eBuxCXvLREkCkkuf
jRh2CDUSgiotuj/HsLb8wAnX+QBuc+gaixTLFz/TTyUkME9g3vOzsX7AV0qbEZ8pDlZmfy836u7y
cpYzlw8TvGtHXadKEcMAhD/ITl6NX9hYawPhJYy1/g5D7GLiMrPH7V+aZdA3i2CvCOgK/PLuMNwO
RrUi6Tc7EkhQimxxXo7vQcyO2aqb0vCykel2IvDVylZW8oONnP0/bibn9HIYjWkKGvR1iMLiPnZe
0RBcT/fZLi9DCD3JbigENy/7owMmHcM0Ld3gAruh5bU+sHZqV951FRQQ3u22d5PkX3NZsrTP+bDD
BfQIrIpUtbCXQ/Rk2rmv4J5FO+nyBi4GjZkRzt87pQ8qp8Bi5D30QrfSStlIm9/oorLvcJY6fNjh
5xxJ09c0D1C6d7b6Pj2Ad8Edb9m0eg3tu9+Y7li6p9DVYQqXOjjB+OdBkFRVlzJclLTtUIZuNpGv
gH7trd0T4qprJsKDx2Pl+Je3c8k35ma5vIJMkQUJQ5iFLgp1p9L0gkRp3L4qtyZ0IS4bW0o458Y4
RxyUtgtk1pk2p+iLBKmJRNqkT1mgJS6EpB4T8dzoskV0yhRDYc7JnTZDKyr0C1HzTgCN8vH/+VOj
u3Jh4NGPlGagJXB0LbATlxe6FJSZ0uw/ZrlrJuxUWqMnicd/rMXgsHfA04W6scDKYu9ibob51Ow2
G2QrUStIFayhbPKM2V8/pr6eew64L5+1CNJNTD20sqAusZXWl1e4+Mab2+YcZ8r6aBoJlth7dOUA
sRTvLUhu7CYcR4LSg1msBlGPS7StnP/kKNMlRgObgxW4U/oaxF8vr0pkgItgxCrMrJpgAFiXDbxp
W4skjxcv0/m+cfELMwtDHVcwod6NXovaRuZZq/EGH26drEJf/4P098Mc+lifXYTEFSY2Qca+lpsU
QyapdAtMM4X4kvZ+eeuW49c/Ln9GZ4g52KGvQHOwJnj8uFp0KGrwj9rd/WUzl7+QymMF8zrCLCM7
0GPzJTJVryJ0c9nC0pArmh0fK+FiBqVVIzcsSiV4lz7L3uSnhhvXaCyFK9Mf11YFIOQRj6LfkNgS
LY/9+exESw3t7TKG7ZYqR1WJvnStlnmXFyj6UlzUIHg+QuMGW2gpYIkF9VobrjMIDF22snRPz3eR
iw+KYZOf9J6Y5NqkEdDYmF8Jo31RqQi7FibKAxex6z+ujYsQ8HVrzBP27erG18C/HDnXk276l9fG
/hY+N5ivjQsTRUiKADI5mLcLwbOQtcNTK6OWTluAVHG5jz6UiYhgP0WewcWNvNPAm8HoQm2QyJUp
yD1A2Hl5WYL7ROVRfugBNggY2D3D7fzKdMmts+4e4lUGEhtro6/DxMXQjo4yvcAwO1IXNpQH/AVk
tMuwh0u2kN9lQgTZJjji4gSPTbYO/ezlsj3BCTjVqWanLJO1PEcjFydgeLCN20R7E8d59ki5tCQu
ihhUD9Q0h49gBqneMUpm4xpqdnjU+LkQx7y4IACnkd3bSB35oao8IwbJeny4GjJEE5O87mII6327
vG3LdxdkC6DPozHNa+50tV1iUINhhoN3spt88le6T3/yG514roXcBovL0sG8b0GVGfz73EMwII1c
QrIZl1dgP4B5cN/29t7qRSXdxbok3i6/7Kifo+7UEgeySCiEljJUkOwYxMcy5vB7ACU0Y2uXY+OV
jkz9MOk2eL6N4LA1/DgWxszFMz77HZzP5E3fYbwKvyM0wBxLjPUgEcF7V2SC/fnM9WMIKk+U9TrI
8BK0f2l56gucZKnmOt9M7nrBt8xtjfU5TAmJKPhdfaedblDNnnwjrSDzogL91FzTOldXgwVoqMD+
stPYwAEi29HB4/J5hX2uB6D9QlkRsNAf1mt8oE/FE1SRNuXXOPZZrwUdpO1/M8pHTiNN7IEOMArh
yPvxGbyfGVg4w028ix/z6/au3UDAUgThXz6P+q+l8mHTloqKSjmsSlvGd6Bti41Sggt98Jod2QeB
96/ZjPBh1ZlB7qCEXU17c4CDGsaxhVIEKvZNL7oNWGZwFjnxXHMcxYLmLw8QmbrA+nsv6/G1KrTc
G6LhDg+OYyRsSYhscTd5GleBNpXYwbR9joGVsKt9Jl/pvfBqXUyHDN3RsDDI9vGslJktW0SKUXis
lHa8ya3MhtgprTyjxzEgTEzP0BJzFQ3WPYg5njUHCYSVFZi5CavKDftE90K5CHcVSEm8RGojN4rC
PRRZN8VQiWrZy4mAAXQOkKYQBD453ixK9HFUdxCRZA28cdU0LkilUuJjMHjV+OragsTBgwMVvk25
ETVSlvfpwzIXn4ykTqKONVJ0zFBoB5CZQPCL7EV074thcLZALkhlTRzkegozBua4a5ngGlO074Kg
sOxcH2vhUmC97JQuYGvRbqzXYVfflA+J3x6mezbVZFRu/iUCvbOIHnMRbAEF6F8fj7ulkyEjXR7A
p0dUyLJVvDe98Rl6St/Ccp0f4hhd3xYikB7RXRVz67fRRrDuxWxu9gO4Q1WUo+KYmJVEaYAxEmWr
jDF2g+p1o/qD/js83SKLXMzXs5LQKUfrSrkxAYlC8ezGAlgoPwnXQOlSdMcJ3IcHd+hOPDlBAnvd
2tyUj0wswLrXb3DnbAnGKkJfyG3DPtp5UPz1UfmeQmFNliOz1ikA7tSLt/Qq2EFvA3I2UExFwEcN
9GAlG/NFDCQQLZYL+ph8cIyhZmdletCQ87SDUHd58c7+8JjTkO8s3hSkRhA24bKs9Zi0Xv0W37WH
1o0fof64C19xecY3ohiwnPaZ6MlBe3SBWzLWHKeDlImyruQcSjGO6+TQ6k4Aikpzj0IELY0OFV7J
DVS8B79snwXnZHFjZ/a5jXXCDiDJEvbDeMemlyc/tlzFjUCLnhS3zqbei0WRF/1oZpNLMetsKKug
jZW1ZEi5LxfZusDnXWHwc2+DQhAXYCQATCxGdIbLdWSQotk8yqAOnFQ2dFi0uk3rvNdq54ekc4Os
dQHYmKocH1xAHsMCzNlhsVXokjogt8WY4ecUMI3SpDSLRFmnTbzqk+kAPdf7UanfpDouXSNwDqUC
VeLLn3PRh20D/zgKo5XkjE7ZCJKNIFLWoya/2k50XyeoqKc0agUZrsr84nx5vyzxrYkwNc2WaFhe
Dp1IINYf7WhNIRvAcJJmusHcC5Q1VAi1YsSsgwIUZBzFvHOLjvSxXP7JmaQGrYwKP6JL09TFyN7V
GMdPcICN3CZrlM/+6FaZGeRPSz2FmqTD4E/ipgZE6SAq0a5MwEf+UCmdZbszi9xZkUF1qQcmLEpb
e5Nup621gjqNewJEnLQBRa+IxWvMUS20jk3WCuIMVhKBAP0EycmfS/wsBs8kEoQzASKLLETNAi8J
EyO2Fy1qXgQt+v9ukcu8mmIsRgvzbGs8o/UNiLUVqPhJyA5yBZPO9OY3RGtFi+TyMBDQd3Ji4zsa
mA5Y1Tv7a7qKfGg4jWtIjPxGkD09985O6OxDssMz29YMLDdWo7BFthLYyadN0E7eODopqmqR5kZx
DHZ0akHHtDR9VZsEEWL5ZpvZ5zKwqdVbU0pS5kj5Lj3E+3nrUgj3W4x8M2tc5EPjsnBIgtUyBsoa
GtWbcC951lXxaF31fo3ZZ/lFEwlBLL5RoD8BwmQHspBn1HtVLLU0Zl/1J42vpOP1u/nLdANr+xP8
HvqkWwnn9ZfqenOznDOl+iRLtgKzZ1x1wvLX4vseEwy6aoBFVDf5+lduD9I0qviMtiP7mVXildJr
P0BR7bWT6lah89pVeuqGKopUNv1Oum5rRKAsUKv7y3fbUqaio2YCEDcUFc5I82wVSgtZWChAZKzC
9kmVRHjHRY+dWeBZ8lRMrFl9CgvMh1oIRUDWKNiy2K4HIH4QgZsW79C5Pa60WBgByawI9rK86KCA
O/hJMOh7q6G36mAkntM1UB0rNlYYfI1azMcO0ngwUxVcPTU5JCGd/FDPfoRj+KOqCxBpEpAf9xYY
P4Z6Y1QYGQsz6l3+CgsDLTZSKNxKgBWpMuhCP4eVMkyDPCtq53SsjWO8n66zXegxPILwUJ8HzU+2
+IpWHtNBVozKOfUCmDRoa17ZPihzGceruZW3E337b8vjy1lDlOqNqsHkT8jFP8vrNr8BtzjPoT4v
j8smymJM0kyBLQpUtOpJtssUEGqgHXsQ9q9FNS3Rp+MrKkFJi5BW+HRIf/U9g76ehNNRh4WQxB8U
Bj+vjrvW9RoU5+MIa1O1NYG1jfo1k4SEcgX1Rx9Msr9BhSpyGO5iryWtDFICm2Btlw6/xDI2Md5V
0JP6DU7g86j0eZVcKFYnJ0sJPfmL7Fluf11596FrHtmZ6DAlJGLbWAhSnw1y17rDhMunFEtksd84
Tlvl+gMRJDyBIhflLvFKLzHcBrDTWmshdqn4NEkg2UcOFipihvny/3DmufgyVXFVZhYsmlcjXqMW
hPlwKFiKPfoyXhdCfWXRseALKU000a4K/95Rxp/Lvh5DWP33r8eXUALqyC21T+7CBEhOMwm/7yuL
xwHCjpDKkpkSEXfBRIGFue9Ac5CedL4trdhoTmJBmkPxgDOUAXcXOcx5GsYEcfBiQXcOrB88gqzU
wwZjKwoE3ZIYwLsApeN601Wq4BY6f1zDDGSVIAFiqNCk4pzEsiaNoBGIzrAR5T5x1GOVR9eNVITr
YQJgE6PhN5ioFuJczx+csIuJUbyi0YE4Y6nMU8UYpc7BccCg5UoFy5bbjvlLbaIyXQZJ6MZTf4wD
zXPCHj2etLsvKkAcB6LehU1AMVOmf1GyunFztdxpcbwhkVMdnEE5WhngkIb6GuO9XuMax+zrULuG
hNcCGe4yZ3wpA/MKBFhvXVgVHpUDqDuO464pu00w9B2W/ANCGO+KUn2nAfmiSeFD2RhfQ3N46oEu
c8fS/K526Yiib76tzV705dUFzAo2R8f4rgLGZuSKnLc5OtXaEo64plqc7LpaeSF9N3lJ4+xpT+7T
tMNMaEJ7tzODunIz5Osbs006t03qZ8noen/UILyhdkXp9iXFSCAxj2EM7C0JhldsuK9Z45OSgqSq
q/a6kb61+vgI4uaX1tJfjKy8jVV7labhI5Kl1gtp1Ph9xXamOEx9trehH5AlZutbSv9Yh8Ghruid
NNF6VRjOX04vveWgbDVlyadN3HsEnT03GOiTXETUrWrlBwD7iZe3zvekZPOBtbwba7t0m0qrMYMG
QhZqSu9Spt9HYCgesuxHJlfBWjZBom6U9D7U5VutLg6JcWtmsZu6Wa0/K1IneXFF3NSR3ibLXEd6
tSvksvJ6I38qTXtTad16UJn2uxWDg6CCpHSSFC50E/Z2XOzjLDxKKQotmfUwWfQuDJQHajqBK3X1
jVSoYFZp7U2vBQDPkzWAq5mXJST0jDb4LgXd2nDi9wjqPXI33YaQ8EDrHsSk4JC70WPb9uJaqT1H
67ygmhKvqqrpmJo5ZkObYTvYxb6Uu2dDGfaWSUdfBfuVUhKwneZkPzrNAxCReCNgCnHTQxqmR/UV
XyTpfMMqsLegU6B27ZZZgMlLI3TWoSzlEGZ1HlPS435JewerSFZdm66lkN4Hen4tdRXS5Fz/qw/b
r9CYA+qlvUaV69ZMk5c27rpDaZggWpWc0B0nc0VV8AsR0h8aABXd3q7eYrV66EhwZasO9GOUbdE5
76WVVW6vNQ/TkCHV18k20qBoFpa3VWysgkh7b0t12/TKFsz5ATD1wcF0mBpfPXjmYKGxmr5PSbfH
9XhUmmA9YEbHBZnTLpRHL43NndbmDUq66XeIFzw7cf6mh+FRCWrTDavYb7tpaxTyhmRQUyvLxzCT
v7B9ctvSaVZmbIAdvygeGrg3qc3IJQXoNaj52GngKOm7/j400ge5cmq/rINXpym/20pJt22Ltlk8
JSCblaWtMWKYnhJok3fjwPRt8mwVVJh2+IMM2tQU9L7xVkMDiMuIgI2WrJjqyDJlY98R6jBtgJU0
Fes6H71BooNryeSK0nSb58mN1XcCuOHCkxUPVQioOKzDgzcKF4hIqahW1eAXgLGL1VoqqIpAFr11
DRD5rYODuKK9mJXNTfKpPIjJKhxnB2U6FDtOZTqMwYMoIQXnmijULl2yc2Ps2p9VdgJTolac4/Yj
WedJ9WNsdX5SfLv8HZcS27kRLn2nTpq0YERHKt0cJwg8dM37ZQNoOON3fq5Q4cJA4cTEfIpundEw
YzI0rVgLfl0M5T114tpvitbwA70Y3DKQIOPZ1sWmjgvDNxUo7Oq5fAyM8DaXzCOaNVcZiTbToL3Y
Zq5AcAaP5FRFaaB8UEMNt2v/JmXDnoYERX6JAjBTlTc6cNCuVFamV9qO6dV29d6U5BrccvuimDI3
KVDCAF+xE433Msm+jq1uuW1XHgcj3Kup8xRo0jvtLB8S8M+Brb1AfGUf9QRUr/2xitt3TLDttd7S
oUM1jKtoQtu4pKrbFWRXkHQ7xNU2jv6PtSvtrVNZtr8ICWigm6/AZg/2djwnzheUnOQwzzO//q12
7j3Gbe7unOgpkqXISoqeqqurVq3FvuDdz1yA3Ftn0UPDH3DZe+VAb4Kw3Gch2HdD/UtlJaclDvzS
SK+bKn2ZygVqdeNwsFmewmcUN2mbfetitTpUdhY5eqX5+jh8ATXeOZqHR60jX5QQYCIlpj/swu7c
vCkelHH4lDXwcgadLX8u+qdqpHcsIapDx+mr0pU/0iG+nqxxl9EheFJqFEnQZ/qNhn3olpaV+lUK
maCC2OdloLXT6+XosIj9sFPyOBvmnkTtwVDobVmw0q2L3pkKyH2lKRQ4rBqTBdZpE34X2SJ/SNhj
xubzkNvfVGB3XbMix2gOnujYHUjY3oWW+ljiZpi6MnFpVSwgdKvA6JbSyinmgHjETgffTtSjbHNu
7M319hdekgtUx1S7wIFud1x5EgniEakHPF556qE6/U7q4SNo6b3bEhznRHgLFbVsn9XA63WUPauh
dtsz82lgDFmopiydTssUxwKPpRtagXd5zFvBLZw24CGIqFWczPduZZzLvF0MyoNq4Ehr3wbAI1TN
Ha3jXRipsnti6/SvzInZtrwy6GQHMNfP/6k8AuL8q/JYLqg8siu5uiWfQtHjrG0KN0NcBiNQdVjV
aPpMQuI0LZSYc+IC6yZ5oWxZAo29YVtQKjQ/UHmj/qbYpEUzKcmLm2S66Xo8AzrqlObkX142vizi
mLhcD8qbQA9+oJ0bsqUoogSWJu1vzfoRW4NbQUOrTq/0MHeq5VuTyJi8t55fJkGABDgk2t1FdFRu
lXHam1Xgc0dUIYSortRPBoMSELmOokFSvN18WOBZoRKLqJBDEjemUWW10keVDRIBxH6IhWIH6mu6
AhaPes88+rUyfbCWt8YrHH55kczv1rmE7iP6GnXoCH3oqy7yurSasMW5CJsnSAnjGRdH30HUnnrg
2ymu04gYoAa2qofRHgrPSML2ulLKHSXztDOTsDjpGV5rsWF9KUntq3a5CxXAinrjNkFIh6A6OhA6
PhjF+KC39FNbtNlNovY3SqHdTAvZF9P4VQ3jJ4jA7zKlegZbrjuBZzW2q4e2aM4BMU5V2KKvqMaj
fslN7djEDYi8tOozC5W/rFw19zqaPx3bLp7sNFDcYFRjD4+CyMmTFjM69TvcgbkT5+ltpBZ/Zdpw
zGh4zKfgNsjblzJqTvmivvS99d0cgzvLqHXHnFVcI7pxBm/yPqYQUmX6PboH7kFO8ClQk9sc1Oto
yEB1qXjMaXdbt8lxDpVzSKLSLYa2OGYLcgTl0lC3idCOX1TUU6JYP1gDRK4LC+FtnUfHsmbnCCKK
Tlj0sg7w15TEh/ODf8yQztagxij4BGrFQdq1A6KpzI3j44A91rxABNMB6gyMV5EXjNBO56K0UIve
059ods5mQNG5RJwsabrlgk1qm2AmtyFOIRZfR4gggTp1RMK7spDub8errGqvaKM/dxRkNYUkUt50
UitzQoxHwqEmWQFzSadDyK/iVcHuUHfMNZZ/jfllaPp8G5lwn8ZRuAyEYpYn8ye6W5w6k2gmbobg
6Fm0LRVYGusD/nwadBroUBVHsmvcFYNLvOlQHBbwLeMtloJ4/7Jb2KivYkQre0LIn864pYcc9rCz
qF8kOgLLMmk/K+MU+NFYh15T6niiL4nX4MG9h2qY9K21leBbf4PwEujUiEHlFLOKbgKkMay52Rml
fj+oEBYhQwaymqL5NFZd7pBa2dPaekBIcV3rdLxvZya70jd3L7MIlgCJIGDz3wcQCHgNNQowI7bZ
PqSF+mBF7aemQS9eUINvdfpLsgJbEYT5Zk+UsLALbWFBB3shS617GjTFqQ3ZBN0DNGQxNR+PYdyY
DgknBDBh1TpdA8ops6GZp9eKBoVwYMKhUCr5rM0LGcrDwH5Dd/FDh4KWjQG6x2fbLxR6bmhTfcoi
7aVj7SGn/dUYWtB9QcakgWBuWdAXK+rQx5UED2NTuaSvPrU5uevyKXdsK5hu4kn/atFCxg+weYVD
2AqQKFvXABV6v1bJMihW2yBR2zEL1PYlWm79qTw3E3VatBFZ1eHyrPD/74OXXdnjrmj1ZmXGPE2g
Xodng/AT8jpcOxU0TpKgcnNHrKzwHbqy0swdK/oCVvK0vqZt+X1uZWLQWyYAjDHB9KMRcP0Km7xP
kNAlBD4zQnuh9gD1PckYNh0ZuiENg3KNWwj7vR9EXub9FNTIo3Ig4ogmKMQ4fYuqYOPoh0SXXjqb
I1olbAQnEmWLYrYJXvrV/HMMvqpN7l1e+/+RkHlLCfEvWC2L1iTUqIE1+k9NR8QUyWs6WxfbOgcl
TKFSDpadlojzQQ0/aScDlQAI6qLLWhIbbu3q9XtCuAPwBo+aHJwHfoTsfYOedTU4qQiv/mT+QOGO
ZBpA1R/gi4udVTOysTwC3aXfFo/zt0Nhm31Oj7pvgL09CiTHdXvJVia5/1gtmWr3hLQ6XmfzXed1
R07d3h2MB8vhSL5oJwOBbV0dloGaCo4VsP5MWLChjPU44yNUT/b8UJo3gXJXL8+aJQlDtg/XypDg
h6ocrOPTAENmddccg2eeGIzRWfWg+xVQWDIgvGxcgkNi3TwOOp/GLDKPha0f9LB9AWgDZANR6tlg
ePyjrfI2kcK65TVtyiKGQeQ+O685Qu8lfgWa6Qpyn8v5j6BtHBf0ZlLwiEWO8sGIVLxfealjnDgm
pHMC/7+oENlWkS3hByoYvARx6rCEHFhGYI0DyziB1+9gULYu89XgRLqjNESKQulgjDvjdv8fNRip
csemw3qbQ1twJFMKPK85Yg6D0LztM/5SnB7irvcBaP73Xbzv1kt8ZERlFuR2jSGN7Te6FM4sJR+S
LpHg8Jd6gK5LhOHYQK1Ox3pPwff3C7OqSKllNu+v1dwJviOO7CVCoxCcfVri0Zj0nzLUFS6fq1ei
QjF+sUwN4RLidIKQ6b0/XBIF2VoVkXbDOnJQR+1rTJLkqCNvm4/VjVky4N+o/rRopuI04HI80EQd
PaMijRsoEygHA+UqryNUg7KjXqRXKI/tSb8cGd7tOkSVrXC4XXK2eMnSnOs4u067QXYP8130cRBc
JRhFWgjPCifVyJGCJuWCQdDw0KBCXJrtdWSqoYeOxS9sMP5mjXEqtDLfs8wyPRUVZieGjK3MS21/
CDN5h52Jx5rgFs1wLtSajog+AcXlku8HYNlTxyL1UV0gmrwYJ7yEG1Q727/Y0AUQlcquGrXM7i8v
6+YjDqwyNqOGhQyPiFewg6gJ+gwBI8KDb9OI8mdhxd/6pf8M9EDpTBEt3Y6gIN3lpuoAlXd7+QM2
pONwGC0TMpQAFmBjCcFX3/ZqMTA8FtQJhcYF+8SaBycLm6uRoEZfGUACUFK/tAHNfCsxbq2i15y4
bwvXmHqQSY+j187ZjyBimmPGeu4MtnLsOvbVSmqPsVR1ykUBjU/QSnbTZuyDpmgb4FeAMj+89uLY
tJNIR1BnXKkKSqp/B9b+8uxITIgPPEBAgjrmhTxA0j01bp02HD3FKJzLZjZTQBY1KUFEj3zVh57y
pKmXmr6mhRWU+oFUa8z5axiRE4FCW1EaO7XUUOxXnImCJLK2b1CK+ZpjSR2zUDNnGFjizJl9tuZ0
V1bGVTAxNO8kO1up2a5k9t/msHSgTQxHaI/IaHA2r6jV1wtXvpaEYdLwu2PJKydKSuOZaTGwI0Mx
utFi70MKHagljzpPHdKHy1O3CZ6CU4RjJIShZUBwvrbdddWI/k08HuqXwqDHoKxjPLlRNBpD068J
qMAn9VHVqAs6OgSwTPYFm76E6bxZQdNsyLm+98yWVlhGgWqUH1uo9LFx+ivOoS4MKNKuDgrP1CHG
olWd08cAzsILABmiGWBIlL1yNq+h1Xfw368i5kUbzNAK8R2EJhC3Jz9625ap2GyGCSsbwmzjwYh0
Ja9K2cuPCDQLavM1RhkzUSTh/+bBQwIHrbeEGIQI/rkdc6XSGwurOma7NJkPalQdQrpIMvtkc+0Q
8IOkCgIlKGK8nzMc5yoKRlSAh9o8sjhhblRWOwUZK3duLRtpiMkrCh2idwbamLqF7nJqf64TsOJE
WfVUKuUpAqzGtZK+dHBbWbuqIU82QD5IsaA53AwT28lV4ynRrXu8c3dTNCOTGzbPKq13rVVcUbUE
ymo5mvrSeXGpjxIvuXU4kY4EXb4GHtEPcOm4sJmVlJjJtk6+q1N2tvvmaKrRrs6GgxLVj2aQfjeV
4Nvlc7m1gCuzr/feajMiYCV53+FhOtknc7li7d6qJSHRpgnNAq5QNVVsFWHtAiUOxyJXsEfiwmmj
YwWQ2fDvG/cYUvIEiDvsEtsSSz9dxpIuilAEbwGT6YGNi3IUCZHPbIb7IrldZlQKZCg/7i/FKGll
UyxMZlnc1cuAglqWqfdFqn/P0tHPExy6vv40l0glD6nkott0o2ubQnhJzZ6GGrTL/dJWAGnLVTcH
UUTZZX/pdXkNkolDy4anpJk89EDs0ziXiabJBs1P6mrDGNMS0rjEB+QRRTCm7lM0AThju+ytQt1B
qgiSQakucTMbBG58efEHGqzogRX7MpcC4mlEgdX5ztqrC3oHEz9HrYXObuGglHWOpcTg2wN9M8l/
vxpoyvoSjaYw2VXsjNDL1fpyX9FrPVPdtP3UxV/+4CSuhijE3GwYktyIksBP6k9D8dxC8o5ITqJs
GkUEc5bmHKkDG42nutrgANgFDjy8iQNn/BHtMlfCNL2ZHVqtm/gaQhAVRZ0Gg7+6JKCW6q67u6RP
fr79Px7JfxbttZNmtWgBFEcUyhftD7oyuN+6ZEvwa1YEaYERRUHsSTpesROkmDx2BPJjchmqkT5Y
cSTHgN+mlywKkYNSKKqelJhNpVLQKsz1U5ZdZdd7TTH9cpHR/21eSW87UnzzhF1kTlkOc9Fcei1k
sVl2283fTfYpRlOy+QXJAdl+2bwrCK/L2YYJskv++9X60c7USZRlcOPgMPXx9uydzI8gpgJkaODc
LGcXKLnd5YO3+bZDG+s/RoVUX1Pak8VaGB3SbB+kw/e4Z/6iEWek03EIzBPUmB+pMjxU4SQ7kZub
CDBxcMdotkFNYRNN4xTyVCNAkHsAvb3lKj63Pvwa2ibAY+5OL5fH+nrgPmyhlT1hC5FxMu1hxp2V
ZgC5Qn8wDB1Q8biD6mhXyq5D9XpCCyRgw485YP/q/fBTTtKwIQ0Id07wFGGIL6CKKdxiiaJ1BVqk
+TFle901nqq/9JMC0BLH9Xjmrp59XsVAtV8OwdwKjde2hQtsafNMIyF3EUGmAXKa9nj4NndaCo4/
ZZQW+fiEfpzwt6EKC9x1KUtsA0NVIQ2EvD+IudDcZMSegd7sxmGH6KQVkuT15tUFxA26Hy2KH8JV
UrY6uoi5Fyy72I/Z4CQ6c6gOHcbq2Zjv7Vxib9MvvdkTE61lM+XpwKeUxcPstmp0H2f599EcM7cq
lJtUC75f3sabeUOKuhcD+MFg0Mt87yeGqtDtmMJiNKjPbGjw5rY8u9EfMrO5xai/22m/06HanrZd
swNW8aXODRnz0GY6YP0VguPQFzVcJh0OkgzJGZEtbamXRce6p46ddq6tJVdLkPxoip/ZAHC8VjlT
UvJFcVKoBMZ14Zr6zVJ+RYavC64znMEgOIe5Bmh94WCX+pdnbXMrriZNeKyFoUYik/vzBiLIQ/23
KatybR6tlQEhZCJxkdZpl/JVmfwUYGM1KV104FwpLZM5zq0X4XruhT1uxmU5zwMG8+umXw5g6ThQ
XBK/04G5OTBTI6jAYMuZYvKtsYZSa9Qc0LmBnNAoA+k0Nx33KaQNLi/R5v23MiS456mL9Q49QoFv
xq3LiF/V32MrdC4b2dwHKyPC4UFSOYAACEajIW3pBnlws/R4G182sv1SWVkRDodBe0wP3wxJ/pjY
35X8U2Zea/WXKnsK6tGhHTsp9Q3JJA9a2eCETT5UUZMUgC0jRrpbwqeU/Hu9b9xdJjBXHIlOANt4
73o0NsQqy4BptM36VDbhvg2afWGx4+X52x7HP2bElGYYWZlBW5iJtBs9QNicWbIV4lfPh6vpbSRE
uIWbLKj0LocJlAA5N0tWgIwq3U/UHf1lV1RQHpTh1rZfICubwu2rZXWuAOWNDe6oLueAUQIUVvvh
iquqaecZigKsf748lduH6m0qhSu46YaozyLYnNnDYJvI1aJvTG8k0ylbMP77VegaDuWcVhWsaJbi
Qgfb1WW1pQ3haGw9CrQfsEyahWfwexN5GypU0V6DRTDPqp/ItXYIjshY+uyvBY7JL07joZY8OraX
DHcsEMMmQTO/4C6MJjf1Fuk3PBpHl+2bW451HJy9tqf78ZO893VzIm0d0gIGHLwqEgfoIYuyeoK9
EJqbrC2u1Ozp8obYtgAAAbAz0B8WYcm4oswuTRA9JOzbgj5DkIDvLlvYioiQfrUR10OzExUjYaU6
lppFV2Kb5wMgTCGYFnytRl2ieJnZy2VbW9t7ZUuMvlBVHEOEPYFvRZVv16ljNj+60ZaMaPMpvzYj
bL62ZKQIAwzJOnP2pn+PzdnceCCR03XMIceECuc2LTvQHvDOyM7TfOub+tzvhwPZk7+Na1DhuJVb
S8LKrX2xNigc4TEgelzVMBiQdJfGo0chO/cHi8XfeapqWioTK0hKrEDqbkbnH9MLFJBitw+/tsPf
l41sjmNlRIjDBqZUWqRgHMgRgmcZyjSSUWwawOsNKHcuqyo6It2aS9Z0HTxqM94pJLob0bUj8adb
jxjg2nitE9VfIuLnsmQcBorGIrRQ+8kIYp7h7yy/zqy7BGRMgIRL3NzmKXozJ2qEKx3KqYEJc31w
Q4MF8ACwp2R/ssFWRoQzZIbGAvQGjMxz5gT1YyZ7328QDTGDURDWawAR8BDlveOJ0y6oh4yH4MWn
rr3ry1Op7hi48pT0q7HcNWOP2ui1ln6J5zNhD7n5rMznaZGpZW0+0NbfIRwlJUOXksLfGpwatU09
HNwzJ35sTqkHFIGs03FzQ66GzVd3dflmOtQ96ARzDJE51b5FrYzIbtOjrywI4WwLVdgunzGxY5k6
afMzpOU1aZ+NcXHp9PgH53dlS4hhu9yK56WBrd5C0m35ktal5AD/j30CYDq6c1RLFy/ZaET7eWHi
oWGhxLlvXvCSmUCfC51100v3IJEEBn2G4KYcwbe9VP9YFitOzZgFRogfPopZjkLHXaUl3uX542sh
Braoof13cK9Pk9VumPOxLlgNE3lNnH5+oupdvOwTEAJctrM5i8jbWQCooHQHzOX7badUlmaN+oyF
OgHPFu+qv2YEteipB1rQM7zIRBprto6/EUfzcywOETVspM6Ap0PNSzjnyYTKXVaogU8jx9pzevtf
OmeEcgXE3xD72PKPa4N8WVdzqvTQmgk7De5YDYFuOGtoJJXiODbdxtqKMKH9pELfli5wkPviOB2X
g+X9Ph6MB2GX5lA40h1yZDQOdeRCix8gOmqe6ummbXY9hdr7mT5L9gr37ZesCYcaEPqYJmA6+QM+
rK39v55F4f5HY8E0dxFMteWNld1O6NfpQHPQZ5IkzNYVvbYjRLlgRlSroMAELuysDt9nZRdOh6X8
eyZIKuv+5Qnc8hv/GEPHJO++W23AnuboFmsxKHNpoGL7rIcSiNVmhLu2INzOds8BnAyb748hsZsT
CNZ/DY861DZFJpRuibuoYgQPke48zl8YvcmNu65Gizf7mitfLk/g5gleGdPfT6DdZVHcQHDAr/QE
J9ivLBAC3F22sbnzVjYEt5RVSdMnfEeQuT7NagVUTbsr8nRXoCB22dTmfliZEhwSQ0MOkJV8OEoH
5tja1QAlumxi685Hj9I/yyN4I3Uhy8QqjMZuvszql0B5KI3aC3PTA3HhZVOyxeETu9rdqTZH4HnH
TuhB1F2jkB5A9A2t7JetbCbl1iMSnBC6KENwqGJEr8xu6jmEXE6oeWiiRpOirGNy+0Ct5k/wQ1Yb
achjYVCkPY1N7FSd6lgdCAn/6qAPrYx+X/ip+WyUzLUKR0My8vJwZbtR8E/9HA7hNPEtshi7JIx9
EIadFBhNzEzSIbl9c72NVQSDtAoLR0QIv9z7v2Ux3by5VsYET9WWU9KwBcbCxq+LU57cQsHKUc3P
bf4pNUMHKk+SoyBbS1PwHmNU9GnKz0K7C/bp1XKo49ShUKjmHFYuVwI1k++Xl297TsFJhnQ6+qg+
9HMHptrYegxMlA1x2n2lxF9rFj/0Zr+3Sus5TY3ca/rg0BnxS5QGp05vrvqykXzFpp9hDGRl6NT7
qJbdRNXc0wCocTB27Bgy17X5UzJO7hU/hAYrE8LhH6w5B0f2a+8AwYFA9Bh4nUOK2wmtxKU3HuxI
dtfx5bpkUnAERasmRWDDJK/ApgcNdNHgdYdGLuehkbmdzSkEdBrYX8wish7vnRva3illJTJ6PX8w
PXTB8+UJ3Dznb/+/mAHrprnMNI4OCopG94hi7TSr86HN8qPTFsl22HKhiD543I0nxkeBWnvI8zHV
Yez/B2LyzpbgQDPDGpUxwMTVAzkOM+idpl69V23yYzLLwBsmdfambtxFmnnI4+R7x5TbMUPBKDaI
DPy8IdXB8DGvZK466H3FJ0ccDbkBGjrb94yz6Uze/Bzbn7kQQMlpk7jcYB5A/ti19wEYOWQoja1i
q6mC1MFE4hv4e0vweaA6o2plYt6bfJndvLcCd04KaJWWQ7AzW7xKgiKqdkVitE6Vlg92FVybCQSd
7PFuLKJH9DQ89pCnSTTlE6vMM9ouBrCLgtO67MfUSwaCsDKJbk2APxrb3i2atGFz45LHENB2in1D
P0qStZFpWyBOwD79Ou7YibMGUOgoAwiAZs0DdE6AbpGdPZlNYQt1Ucu6MIZNbbkxK9tBy8TOBM3O
5RMosyKccF3p1SjkyKS5S16MfN5raD9w8qiXIA02Th+nDqToBEHvOFpeBb9VgUapC5MJVMg9VASs
XR0bnrlc68NLot1NXe+YySEmaEu5vzzATcNoqeRlEE0lH0J1LZ4BWLfBG87pVMeb5eoXnSoKIJ4M
xfZxMjHElSnuu1exYEkoemAb0D0vgf0wRsbPnDX7BeQO/3rR3tvh19LKjmItBRodYCdufBBlz5Nv
h58l0/bxantvQ4jSWzvMJpXbGEF6Gx9ATKe4JrhPHA18C+xKPUjBLxuRCkyiWwii7CgafCCdMVsy
jKUFjiuBGJYzPCRcJkDmmviee3+XvjcoHDHYM1IFT3u/wrMgV8p7WkbA9uRM94cCdD7g0m9kJBbc
212yKRw4ZuQ9SygGCSf2D33xgED+tyiaP17gEPrTTFzgBm6AD8w2eRqq/VB2mo/9uFuuOUgrd5cb
CKpdm6gSQ0JIAgTcOgLotsIlS6ASSURYHEIxNBJNI44AZjJNE2eJ8z06JyQPhI2KKh/Ymx1he5Ji
ybVAGTREtSOUy3f1HjygDPWmr7MfOMVO/d5+TlsXbXmSc8HPsLh+a8N8AlZnT08TOx5BXskN7yyu
DnKvQWpL2+W+DdUXT2Lu44Ph/TiFCHNMC2YvQ8/NER9coPjZusuBHGqXebVH9wXeR+6ysw7jQXYD
bQQO740LPtse264EKZyGspr6E3vJmxLtvKTMzRIDtJTW4udBdVdr0xU18sexsK9r0NbTrLlrI8ur
ckcvcsuNavOw5OnfmRaEvmR6eO7o0moIJ9gwElalPb6QyzPEB6iD70CE5KW+TMZp8yChBQkcVQCt
IZh6v+xkqvLCUnB9LTZan5nXNTIYwvaWXpkQ4qQoH/sqW2DC6gHjGCyfADDQNg3QrSH4hMvquKjx
fQTEngPo/qEbl6tyil3095wRb+7bcpHNLp89cXZRxTNURMtoTxYbr+x+DEldYXb70+IvnvaoftUh
fIZuYo4HD/evafLGAXOR3De/lhM+GAcVM7QIgNWxxFJlZxZ1bxMYL6lZnQdV7/zWKCIXdK/1vlHD
4QQu4kNjhm4/V5912364vLdeBY4+fACAE4BCcUSDCJ8Y+tAsQCYH7SHgmTWn/JrvzRvDa7/E/Ojt
56fSrb6jN/2JUzUAU+GCruwOXIz3ig0mhejz5IxnJGpOyuIsQFyQnXLbPlR7I3Ahb1aXnu2h8eRn
fQC7mu3FPsh64k/BPbsvr8od+UsFiNh+kR3pjW5UDGU1KMGfgMiyHiiySX6QOtqXcUe89gkKXc/c
k3VX4b5H4SNwphttF99Oz5zCP3C14+WZ3boj1t8guJWuq9W0SmesbKrtZ3tBTxiEuxhtZaPdPFJr
S4J70JDn7sF5+ap99ovmMUzczCvd1A2DQ+sp+zj7DbDU5rlZTbJwx49lPcyzhQECZeqOQ+SkRuXO
Ez1V07zv1MSthrvLU7rlnihYHRnFGwWIeB7NrW+lAXgWvdcgC5bvY3ChTGiUvGxhA9TBd86bCeHG
BfVUOBULjoNmHVXgz+cbLtmddTexC9UhL2Cg4JKhzrZ3yptN4bKt26Jv6xA2eXcSaa8J8akuiXRl
UyeciKEcQzA0Y+rKTHet7pHKwLUyA8J2X0KIZrcdBjGBswy0P65Bc9nibEWVFGym0MsGv8qHJkSk
MPUuw9vfJ9axuUZDi8+8vD+S0/wbNczN7f1mTCwEm0vX9Vmha34GjY+OUQfMY43ZOCpa0ZU4dafx
5fLe29wGK4PCzdh1gB4iiIVEGvlZjmiB7vyCSLbB5utjNYWvOc3VEVIHq5/CgEAbiKtt5j4XU9eP
3Y6iOPaHhVkcqNWohDNrAXJIKlDt+4vRuVHKnmwW3hBVxgMmmzzh3IZaWnQt0mL+qIPbvr/tAkxg
M3uXl4hv4g+X5Wowwkldon5KQBgO9bN6hggCuvts3jMKvrNFdydN8srYPFIW0HngUYT2hYgDHMeO
pszALdYZ0Jds+mzcRzV6Xy6PaSONzVfozYxwfZh6VLUjtBsg8q2fUkSXtmsg5DaAYZNr1m2uE/pb
0Phhg4ngdX+u9l9Ay9ZgDdYpWB4x5oMZhnjayFhrN2duZUXYDVNeGlWVYdMN+TUBDVzVyRBE3F9+
2AkrC8JOQCC1IGcMC2r0pShAjtDsdBSN8qaRLc+m01tZEjx3B4kBRYn4jTQ+NPRvEiVOioq5XqGz
tEhBPheiXbnxIqi9FDKcqGweBaeea1O+9BFGqdPKYdpnac/Htj9ajU7YfEpX5GYG/+CTX3qCrxz3
gYeWd85x/1uCgrpk6YS4JdIAPkCHPKKIvbUPIej3C8RBfsv9bSbmgPUBIRhYHQBFFKYQpC+RHYcm
TpdlfWfj8rMtkmOjJKD8DsKTqTJoV+f9jyIMH9Gb/Uh0KqmlbK7h6gOEGU60mHUZwn/fSHOUxpbu
nJMp2v2JE1lZESa1zIqhTnpczSomFfeKhed7cZUfzRaNpr/RorfpR97sia3CCzHmYiwxqvnE9oY7
njPmZN/Tc7Vrj81+usm+Zvvqjy4ZWwVukcOpEHK/jz+RwB9GPWc8xnnJWvU8aaqvxM9/MpUrK4Lz
Gow2LWpiI5sFDQZBW0mazN0+gCtroiPLWLmwDta4gCjXTL56fTW8tf8RQ7Iht2PslUnBowVKp+hp
iGmsKzR2LF7kFvScIGU33fUo8dEYiniypPXrOfvgsFdGhXNIVR1M88Cl+kvRHYsoel5adswiaAgV
cKSVWe+GnIB7Nm3uayO5WUb9oBg6FMIj867v8mMBevcgzV9mao+Sw7MZVaw+TTihUxgPOW3xaZlq
7ML4c1CpIDrSXdUsvUSRlcq3Tg7Tgb9VwVYCcKWw4GVqzllNYK0bP1fg7iJf1Pbz5S38evrEyYZW
NAUVFDrSPnSClLGawvGFuj+rJ+rwnMoZGIqv1bHyE9/yNKwzdRd2w3W55e+pzQ22Ns9vgFWQEY52
0eB9iPw2chrQGIhPr3uaN76HXPQAaIAhluzq7Wl9G7LgG2otT4GLjWAzo8t+CrTnnOqHEuk09/Lk
bhoyoG7ALPARfeg/yaCGFsEOnt11fsLD3w2L6AcBDdmfBB7MBKkjL1fgihZOTF8prYGq5n/VWePT
eEv3XA1QLre2GYOubQlHoDPTplp62Ap+gkBjpx0iBemn0Td8+lOO8dW37sS1OeG2mhp4cT2COUD1
vTbmCqlXaehGL9EImknFtSHS4pTHYhcDNuIw6FVwwb5zRvzClXmmzfV8m2Ym5FyhZNQpS4Gbc8z3
g4WGVP2U1TIVY5kR4W3Z1xRaSymuyzTYxc01mc9q8eXyvty8SVaTyoRTV+rQ6Gs6TGq7QzjnJSDN
Gh3L45WKzlUPM+udPyDg4y1S/+xRJpw6NZrnSa8xrtVJj+IjyAO86SY6Se+uzXkECxKBbq+mfhDv
TY3E0qsJnkVX98SYdlXfOtB/k/BJbW7PNysiWAt9nW0YWAG2RKs4C/VRoPMki7UVBLOVCWFDVMnQ
D00Od6WeTCibQkM1d9UHrg1Q1l6x15KdxCBfiQ9XwsqgsDtiFUn2JIJB3nFRJX7p5i594mVWpFdU
xz4OsqI/9xmXLAp7oyg0c6K5gsgGOkUKSoJFcUj7EymUqzp+TKc/uQAouCugFsbQgcu3zurSoeUU
lHmc6r5l70Kku/sDm6W1iq1lA0gJZGa8RPOhP6srUY3sCcizGViOnBCCkYWenLUKFHWQ3rglCaQo
+hyCoxFUPYaq2+cgIXMam0guoa3n7/o7BH9tdH2dQvtJ90vTvKfaeMZfISeH3FXCJPO66VdsLs+C
xxNKvGLAUpS0Iz1Y7/wm9Npdd+yq/5CuZFzl/rdk0LYO4NqkGKGWIGIbS0zzAtk3QO8inxTkpDSo
gFTpjhFlRtFP9eNEecnCwEWoNXgjRKzsfjhXmozFbmsjr79GuIiHxChV0uNr8DJwWkCMYvNx0Bpv
qXSv76ZdUt3/wWHlpHmQqeFABbEkFlQFVewAexmvcs5zE2VovYZeLkQAIRuFaoI8QN+c8pVJ/vvV
8RnHOO9JDZNV99gqkTsmlcwF8ZtUdAjrUQkn1GLGSLQFJt4kh8lJAzeXtCKzlbNB1R78Ub8EVgXv
iu6XxJqRPH5lVYm4+gqiXiiK7aKTrHiweRLBOcY5+dB3LfYh2mo9MjXIYaqIwCg37BT1JQm+IDCX
HPnNoAlKSYCuqJAl1MRKYdeWdlkyDEqhhpsvxQ8WQrotVPZ6iLpFkyn+FOaHsipUCOX0hRsV7U3Z
mjfzZOwHkhwgzLOfBvWQmPN5Lo0fCbG8pKtPmYInQEgeCO32YxN0e8lm3txZq+8WDjNjcFQKwXfr
Z2ufDGjqz/zU7Zy2fyVna07yLOdG5xUXDnmbK+HIKlPIAdewaX1FpdvNQ7c+TYWT79XbLnNm3fk/
0q5kSW4cWX4RzUgQ3K5cc8+svaQLTSpJ3PedX/+c1TNTWShOol/PQbpIlkEAgUAg4OFO7DgxhQMI
SHi9hqsOcWWaCc1gTfA7OSiIW82bIvrj9+iJb0Cnm9QuZ2JX4xIYL3ENWcSZ2faQpkDuJY/YT7Xd
OXLoDGhigxT7eD9aAcXBLkKVyRXsZi/95u+xZbN+2cxXxpl8YmyzmMQUxoFSMQN5NgNNsCr6/1fi
wEJCDBivc+9cUEwS0beD2nV5i9nskks3Q99eD3hxaTVaXNlgQl9FWqp0SgOQ5WHBq0pmbGsn2Qs3
kMngbIbVWbsyxYTADu8/hibUxAV86ZD0hUkS/zIK29uesbrjrqwwO26UqsCPRVipGrTXALkETkb7
tolVL78ywWwwMEgt+w9zNklnvJtZTamYQ/xt6jqOl79z8n1xNMDCIYLzTmvBxPJcTuI6UHriJqoC
sRThqOupHft5YEKu0QIsaLBTdErhL+0QamSr6vUGfcyV2RjELLQGMQ4yZ5q2L7NpVwCqFcqxgzaX
oxZM225uZk6cXrlLQ+UN7O6ogOBdTWMrzlGlREMxUhm8BINDrQSyCeW+Aoa3cLs9j35jBfcMa/rC
JKGgTPCF+LtERtr3fUTd5JngKoE0wQp/KveIcxs0ImW/FUfeiTZeUFH4Nqd9gDae8hXQkGLPA1ws
l/bPC/X5S5htJOSNkeiiIMProHUaI0ts/pRJbo7qDux5ViE8Zjxui3Uv/PANJgiBkaEBD+7iGxQi
x6KbkYchflIDDqx4fdd+mGGCkGRA7bjrO5wmAAcoBSS1fxEuJ/MqFMm4cnRm/rRcMFJVhBUiNndz
CZQ8Du7QTy1tGCxFjN7akj4bSfgdMYP3CLkeMT5GyMSlEUpEjSBiIoP5rPWxGajfb8eLVQN4R5UX
VggkMEzFJ07HOtELDK6liZ0KIPPLU85z7crGw1nxYYO9ticFpOHVDDYQihw8ZwFsNJo5WL9yZ+Ly
3qwevnB4DaVaFCLYXd61w2R0GWYsn/6IeOiu9NYTSX3oGsnSkwS8Wdz+gK+XT0VG5gf8BRDmX2+4
TQeNXnkusMnRY2W4KNIBEja94aFu0+wFjs+vxN3P1phDJAsCefIzWKucfNucQMXUWNlT9b04ClaD
B8LeqrbyU/IAnYrirFggqd/y8viv++7zJzCHTEIgVlAJ+IS8cYhambp40XmOuYLe+myEydeUqTAm
v4aRRe8vu082qooLpZ2eEy/Zdo9Bv8+/T3zU69cNoaCMAO4SwJffo/fn+1ZqSH0i6uNSj4G+s1U+
6IIJ4kfzL+D70qI/C+btPbhMFxOgP5lkVnQusrQN0TzjLjIDfgz2TGMvqm8KgSp3zXugX6ES/TxA
ZvH0Mu3TCBmqK94NDqSaN/G58QYvAqdwuYkgvXq3EEgQ0ez28bbDkxMv1+INl1lY3DggVAK1TldN
VBDdK28GORPB8GQwpxM92tye3JUyyefxMhEObecBGWaY+4vJszIOiQceT2hwO+KCcEwtknBg/iv7
A7hVKGdgWaEPyLZckWye66EiqEZJm7R6CbNL4POC6tosousdYQdX96/9jZXWdRkkX2V3CC2U8oBr
DG31MUvMwNEs3Co1DxmVE1IoRtgGb06/nu9LGvlhnPHYVKwKiAQr8nvRcv414Auak7yRig2w0SEQ
gbKVjtt/0mLz2S7ju6FulL26pHCiDNLbbLaFju5p/HrbZVZCwKJcg2ckiqklOpPZ+uo4CvEAj5lT
aMHOkSXnP25bWJEbUj6ZYBIk3TdaSKrDQ9Bgn0NcGNoEQenMyrARarA++M2+l41TH9DnMBMfpboa
odNTBEg5KsdoEoT2OrXFnHhR62+lXnbmULNnSbcTbQ4sRcmwg+mQmJkaS6aPt9O2lDjF+BUn/zQE
JvnSydjkAQpX7lRq35SktSuZHrSxcG9P1fpi6GgZA6209EUhIFSbWZJ8BdlXfYqMpzLmlFHVldMb
BHkgqNYI9usX1t25BANuhTuJW4jGT7EzjnVclpsGlzVrkAEA7ECumMSB5/d1vBk6DbgUpWx+ZWpd
2XihwlvZSGurzyB2SdvSTZLiBDikI6hU21DQX9i6UF/KedGVkVrTyAPNCmtkQcp4VPXxUSg7wSIp
uObmufk1SMJJ6uZDqIahFUxoiRVpQz0yaYde6QdzAAmj2bXzltbDj6aTL7k0FdsCVsoIANax639X
U/Zb15tvsRi+9Q1YsXT1CNW4wKR1iYuXKJ60hthjjUpUPaoHBfcUu+lRrR3GpIDDCNJREFLIcXQ1
x+tXPeZjptkuiroijT8bOnEb40UdH5PmVQ44N+yVZB0b68oGs3fFQgb/WAIbM0k8UQlkK5dFqMYk
zgAO2KIL7gYl3eWBUWBbhDyyk5WeGZREAMB+pwWBihgToFpfioS5rmVgBn0vt7vfFYR63Z/aHlTd
mwraX9bBfx0eW0+7KL9ub5QVRNVn28y52s0AB0tq9VdQFp+WJFQ1/bPq1kd6z7G1/BaTsqCVF08P
IKFS0aHBTDNwKuIsNM1iK9oAlvFenUEtt7MLxdGWEo0ZOoYtm+OryH2AXwsJCM4QcwKHHfnC0mg0
Sl1S1Kz/lW+n6IwqvHpfgmRQ8FAr9W0uJcbKgadcmWRdFzWbTh0LmGzt+LGFYkDoJnftRrlbkBOJ
DakadNPx0uy1i/u1UWaSDbkGjb8Bo8tbZLKLvMFVXX4+toJKgeN8zCcrTtjoQySj+VKGzrJVoi2x
dP0dSjnwH9+GuKS7dIdnPhLD+L5FvwRatjnetDa715UZ5ihpm1EHu7YGFMFbuv3+HY8cv5FHmOo5
eVzQh/wi6VpS+KkWtLjY1auK3ohFi0wbtA2S7CQCBMC6sjmSKnW0EnlUOr0mNbRDjALUJ0XeHvtW
8PSuPBZVxTl/1pz5euxL0Lz6knpWh6kkSKU0EqDZ1pAfMrV8vj3Ba4H32sYy/1c2gqGTZyGGjTmE
CGE0n0WZHo3a4KS9a1e2TzUvZiw0KLvACALq0iMK3668MTo3eTKs1hHtzA53QW4OJk6x26NbgTV9
LnAxw0O4D+o2hln1qXrWd3jHsIsnwH/1B80Due6dcPn/Y1M+W2TCfErHIa98WITi90OojbaodN/1
QeHhtdcu+59mlInpxpSmidGiikjGcqcU2UvWN3t1am00Nhl2CU1BA1LjMV6dbazx4wwArzPQ4EWs
UzAU9P5hbprL1A6D2VXRnVpFJ6NSvUQZfqezcZ/rlLcWy1ZlD4brsidz2+pjORpbFTPz7yLruFG/
LQEEFSbPD0ye9Mhq6PhPmRVtzp9dm5ZTLkQj7KXRPY3ac1iEZl79KPWBl1mQmyOjbEdiRvVwKhss
BUjTLGpJm3GTWCmEN4Yt4erFru7Yq2EtH3O1Ywcx7mMxhbG+PAf0pI/7Zr6/vW14Jpigi8anMGoy
zJxSFnYeo6O4wCUDeP3bZlZTog+PACjg81DiUDVIVofgqzyiP+SyEAqMdmN2Txn68FpH8ILj4C7e
wYfPrcbWq1lk4lElKz2IDDCLAd4hlLi3I5kntsubRSb2FJ0+6EAlIeSFxzna6nGLfijeE/PKsyni
Dbi1NdBeQ62PJVGZhQ6bSsdA5DNUKNQ/2ia4A5m3ZipO5xZb2alCsDII2+zl9uKtNIx+Nsz4YdDl
XRRDlhSp1vIEF1rRXeRoe6Ki3dXfLKjk2op3eLexksuutrLzAroxb3/Eeny/Gj3jqXE0KX0b4yMo
HqrB8ngE/Fi8ZAfJImYNt0m9iZtjLhH8Sxy7ssl4rUCHXBHC990OPYzn3K4KS0Hv96XfNZE5pmby
1nqRm4II2pR5I1712yvjrN/qcxMrEQYcKn9oAYrB59szupZYXrsT47Q6Tae4oxhcum230ibyFOgW
8RPL9a1/NQ7mmARQVg+UCXba1PLvxOfhNB0X+XADcBmKw3lwdTz4Vw/tbPIFg/6L76J1HHV5DVzk
jNukgz5AJiGhbrxVd5It7SWgm83JaaB1r91TO9mWP4YD/TW42q730qdmE/wsft6e6ZW3j2UDfXwE
40eBnxSxqqcUVWxBf5cYF9BFRg2zgPCJSTc8poL3G+ZXx/0wyPiOXPtxkQ7vO5bs8IgqOpDk2jQo
LAPkigvhYCtWkZuq4vEpI9bTlavRMo4VNHj4Q8pC3fkcnabdMNnpVsODSNLZoJ1LHzKrNcXX8Uf+
rAGiVt/XVnAuNpwpXw3JVx/BeJ2hgn65HLHuf6UguMm4gvWG64Rp4HYY2CGa2jkm1zfsx6QzaZqY
6xFJO0x6flAnU3GX+2FQmcsFXLKUZ70Fsp5H5s51LSbVCoWh8aFVtMTmwam/LQX8yAtPvqlYmW7+
g6o92otViFgQPJ1DmvnzMd4EbVmPFEs7tndC/B3v7Bsyn7REsxIgxG/P59p0QmAMD3iA0OAJj1lB
yFNSuY9KTOdYWX37pyu/3TawWia6tsAsWKaHkZJqGZK5rAOnV9j3ZpQUm6mb0GJShN4gl0eSRY2Z
TFls1rX6+D9+ALN4LaVpEoU5PkAPLEjS5FZvpC9KIj5MAnH6brTEZMZjTDl5vTY8cawv+5ANElfD
Z7H1Am69lZZggoeduivu+sOC/cLzoRufhKPhZfZkpnjWc26bXUHKAQvxsa5sYV3olUGGLgmyWpfW
qIs1nm+Lv+r90iDqxGhaByikQUElAtd89jIeS0+x84N/4hVWyNrpfv0hTFoTjWlXg3wQzgwW9WRD
fgeOkiGZIk7+QJ+g8e0t4oXZYXTQ4LAjL9UD4pQDSkfBGjYh59q8dhpffwxzTk1iQJRexMfE22gj
7/86jZFUebdnf7U+eG2HOYqqqlDzbIQdxQSD3o9kR7eDa+zKO37lahX9cm2LOYVyYQa9ugRbPdjp
p1P5azl0hcAUJKujJspKluiKh9jJj/rLcEZcRpFHBWPQi7Hlxcl1XwcNKXibZJT4mU+ZoiEaGr3C
XV1ObQrZGHW8kNIOGw6r9urJa+AV4d+GmMNPTyvQS2YwJIRmdJJdMH8oDcq+6IB2yet72/gFLR9e
7rUxL0VefOTrhv6wzUTMJhvaqoUyvdu+lodg00BxBa1d2/CEU/ZvgJJXS4bXY2XiZyBFs0EWe73b
H2Z7wVKRC16vpRdtL70s3FSSVZvqXjqifDcdeAfu+pb5GC4TPfsga3QqwPy7TAXErxQP8+vxtgxv
mCxyReoETQ/mZVptccK1dSkt9S+Ar2xRFwV6bN5JDphXH6bDgDV3/0mZ6WqWFfbMHQPw4Q0wH8rh
j16DtDmeHDaFVrqc0LAs1w33YVmCa60QdV2GoRjEnFukjC7YjgArsXpUbnQkFNFFckoL0FzofHFO
BZ5tJvzF5SDoyQjbhr9LABqU/YPc3g1kMNu2caKUW5BYzy7+4zwKEwcNQ4jxSFfDYewSETd3pdLW
vy3UDoKnoFD1U9vyIMG8MTIxCGoFRM8IxgghdFP3RXMII5fETgNQUkmRktZcTpjlCLu1pEw0EltK
xkIo6L+g9vKLgNxbP8tWbIp7g5fO8OaUiT8kFkujazDA5Wwp7uWNvi2d1lmud7U1oYuJR43HiQAK
E4DEWgjluoJB6tXbbNfi7QfX2R33OrUyjQvfH/gGUH1BJsoMrBYkhLng/SDLH0tsC+yInYF2z9IS
uLiqlaPqkzFmUNIQp/kMOXG3B0xWE6GWHgw4QyKr7DiH1cr0fbLEBNAm14ouXHIBicyu0iHL8V98
4T5ooO/nP/pibY48zMOKi1ybZHPOrCzmSM+Q8WY6QKfjqYNUze0wxhkUm15K0wSJLhXTBya9Y5vc
T2HhRsUxGLYT+RMAlByX/4AQEu+gH/7BNnd2NEyFOsdEDjvwVLnBbrwbLTBBAntj2DynX7vyfbLG
xEo65xF6MDFCesxxzIOG3xO36nkCjhgUctb/Np1MnPTFTCvLpXQB/Kslpf4Z2JxHPJr90v0sMCej
uvSldKe1gWrfNrxW8Ps0TCZc9pOutCHBMHN0md0Nf2Y7B2sbOihqq3ZAXZ8ii+Kd9TznYeLlKKe4
ZwWwGW/9nbSpN0tKIfLrM5w9rjMBpZOpgYoYqhPqUXvLL6El77MnqLxAzia0J3t5N9dPOTXVe86k
ciKZzgSXMoxIJA8YYOMswMZs5+OBN/yx5E2GLXJ0FZZRMKePSogBAQDjvWTArGAYkH6YlvNghAC8
fojlc6q6Rbwbys0/GNa1JWbdWkEcSGosWTc4bilubolV2eE9Lu1WYPPyzjXw5KdxMavnt+gRAZ/5
4iUktPrDwsaK6+Ipc/TBzKwS2IfKJfvCBXpoWcrA5V1n1sLo9XiZZeympCaCgvEq6u9KqoEd48zo
sjS3lo45GvpxqgAfWia02VVDYyXtpgp4Fe61Asz1RLI6uWIqBDH6GpHaogTdeIBTQL0Wz5x73r5e
DSZXE8bK5aq6lpBeerfUOaKTOD0A6JZ6xkEE1gJlmx95S8SZQXnZiVePdzVIKqq5QoI50tAsu4d4
+EEIZzuvVbdVAtYj2TAW/A2LMQ2gL6ak6JCCLlVRWbm/VFAe5Jdos9y02w2eKqBHjmaz1Mk9pbLo
ge4ju9sILmf/rfrj1XewpwTwilW7DHbYGWd8BrUqLwNeeqIOis/g4jUuPJur83tlkgkuedOkeNqG
Sd14aDvBnXzBTQZeg5O07KQvG+HKDBNZxqRf2KxhJkrN8LE4RZkpPmN2XWhuAHN0EF3dFS7ZuUdN
mRtovvbkApJzZZwJNCRvWz3yEWjSrQIKYKsE/e1egq6a4pWoTNnBQ2sFj5MtHqI38jNE8zXn9OdN
MhNnACeJx2JZV7mv7EYdkcpDrSIQQx6dPdeTmYADopwuHgRsUBUKWl3tfxfi8BuKR4k7D3JtRl02
m7Ef/cLd6dswGp4qj5VZDP59qIFRswvspKpcMSt3Rjlf0rzxphokhzT0H7UIfNTlcCyb1OO4/dox
/rE+hMUdoPkhiQQd2w/8SIASehLwUji/L/3GsDp7BuoP9+XAjX5y7K6d4td2mZJAohmVQOd3uwSP
Wrntx2YKFe6li024cJOG27ubiEwoqyo9ESYJXqDetVuKLojDX2Xa8D77lTqALhtc11+ro125Pvgc
PodPAKPp2A2wieZcu91m3yMwK9d77aifiy2xoT3wC+TIl5CzpOsOD1Aj2j5A98y+sSdqmlFtMTtq
ECmGWqgxfcNrGmdb/Zeo8mGGmdGonQoxiBvc8V6DP8mzAoDqJXfnfb2XvA5CMTt07zwPvVngbZlX
916DvWFqP4wzU0urSJz1JXJOO3E3OZkzb7R7+Vhs4/fDQdne9tZ17zFUSdIX+SDC7OwZjBt5nA8I
Ympi01Gwk1Ax/ycTbB6h0bhu/BgmQGVpdRUAZqHIMfFfHPI/w2AzCPTsd3raYskWmnmCPvnK8rfy
Jijf6QtmFMfEQ77LE1v4dXtwa4A6rNeHZcZZek3PpUTvl5xdfq234mjGbuDFzwvqFIVVW/nNB82s
XjKvjTJO0o55FUs9husfl4on+DQhWYQ64GRrz6XH7WdbItbXY/ZjjEwCUVM9GwwfYwSnnE0tdYdE
ZumW34hPC8U03fZQK1OsfsR4h31y5iWIy0n6xT6FNAyA8BTiy8xJKxilFAVjh1KIoHl+BcTikAGs
qMXf8JZlo2P4gbOoq0fHlUHmZMV6gsowfx8wnh5TMz/35wDkWuUf3VyEvJCvUVPgool5ZpnNSLsY
Omktdgqw2w80j75lUHgAWEm8zyOB1/68Hub+M0jIpn8O4nmN7V4XmFX0q5zD7eBItryJXRESljgh
F5WG1iuhOMXvEVoDIahoaP3XgsosUK83CiU2YsxvvAUGNbLBMmKXm34TwY8kB096EySS0QlxHvbV
nuy6HW75nO6s9bk2oDGsL9orLPREgKAZ1IAmsLQp2dEX/V0INxppHJrNmLscf1qNstAS/rcxZgMJ
URhKvYCFXfAOf71QoDkKcIclStB9tzc4Lajrx8iVRSYBrwIZ/Lc6LNb2hE761M6Okddbo7UUE5an
29sjXL91X9lbpvvqQkXA0KrP0jJCt0PxIodqmQxGzp/Kz/lFvxQtdImWlrMFKT7j5rFJlOPEA6nz
ZpkJE2NK5hhNN8szYnOXThOw+Apt7NsjXb8WA+OnAOoHJ2Z9l1RT00qyhBNT758F05jR7qPJ88+e
ItXNFVA9mdPc7iMCLdjbplfHd2WZOWpSdNIVszrjPqllHlUNS+4eb1tYe4CG1vbH4JiDRYrkMVU7
mBB30UZ5WfCfGoBnxcPfAMes3p+ubC3DvXIZqO8Bjp3AVtnRP4EYHSoioH0uCDbKrNw3Y4ymrnQv
QZym7dM/twf6dSqhuEeIthwnEhjEme0RGb2eVT5U1ZS+y9x+ji+J0PFyq5XZ/GyF2RQpaI/mOYZC
XG/g/tHhEVS6b+zosig78c7IlZzgszHG+/M6yZReWIy56IGRQDSWRmdqdvaCG+yGZ26m+nX9Phtk
Dkls9zyKAmjBd+AxjvbzXj/IO3//N9KdZZ4+n/+fLTHnolSTIopHDK1J49bJmv4UhC1qzMMpoeFD
g5chr1CGLSXdPWhbINRS/gD954nWyTPtJatpDLeSJk7mvJJzLl+l4mKpGugoY0+QqYiTjPj4KmGz
6MSPD+XbQgm8sAvo9jvfmGjn5d9Y6lXnhXKr9t7XpbG8WXQC+9mcFdCojWVkXaV8kiacW7d3yMoJ
guHJAHLpuIygk4vxJ2FqhCzzsbwiBOMlBVJahff/kltYH9aHQcafZDnJqlSBQeS1YNQwB3T33B4T
zwLjR0EbGFFhYNcnwaOS/84o58lu9ffRUI66HgIL+C0+RzRliJpmIrnvgkrU1tDeofHlzb7m4liW
KxvLN1xFTdChd+UYYZb8Y75FAW8znbPtctXIPR62YQUM9tkWGyWpH8ZzAVtDPcdOTJWLMSaSqQXa
hXRdu+lytQZ9kWqYYYaUDULU923dvtWdMVq5aGQP+TRAR1JxcFTuSNidSr1GP79qPNVGddfPwVNT
6U5NAS5Lgp7nwMtx+CVqYIcqREGGB03nzzMFmA+p6qlc5GR1b9xWnuaMO+k9CeGn7l9LE5iqD2Pv
WcPVsrRFPeV4sUUwnCGpUXWWFNZWUYYcD+aZYWpLXS2ME2kxJl2/xKO27TQ8uhnEub1P1vf+1WiY
TIO2NMsVHaNZWkGiTZoflxeGd1JjUJ4mqHtwCRmWcHJjtd4/6WoCfVKovTxXUBQHEZqRbRT/Z0Tf
fMhwKcIbZ3ire+hqeMweytMK4MIWwwsP+XZBu8+nZQ+pG/7ZxVuw5d+vhqU0Mcm7rPYhxOf4aAER
xj91Mtq3B8QzwuQZclOrAAvAK+ZItOQULxpmYXC4BJboe2t9mONAIpAELgrYyIrELqrJptVxaFVT
TA8Jih5F23D27+qhf7VIzHFgzKRWix4O0TfhRqyobE5KdNIi4ZzRzLs9gUso+Do4WYVSOHJ6KJt+
XiVdBcWSYDRIB/NjRg6N+jLS2cxnr9VHUyg8v/t12+B6aqh8WGRGJxjjOILTALK+Ht0ph3nzl+gt
Gvu5OgnrE/lhiomDSRPkatPDBVXIyRei04o/8yEz64Fz+nEm8Qt6JCvD0iewI/ipmUovQuoIw7bK
zlq3L6BFKPEy0HW3/8/AWDDJNGmgLaYtVs34EfSPhQBm8M3/tk4seIQEBl4IK3jhEOl2OWTojBMn
x1DBDekDaxS4tAJMGt0DHfKW5JVjfUkYvvrlIg6L80sCe9Vnv2wMFcyjPqa0Se3WrrfS4wLjTCzc
PmdHhxY478j/L375YZEJJcLcpzSN4ZekB/ROhLaFYEmL+q2+AY08Z9utL+CHMWbbRSMkqUC8jhQz
f4Zkp/o3VHpWnV9FPrbkTIbGHitCHmt+rvUw0UKF6Lkroa2VmXHH88WVsgASgCtDzJnSqbCiGgPi
Y+qbhvQzG88juUTgetDEUyg1QK8PbqHP/yQhuDLLeAit+wDSazA7qaVZTiDiIoeS8p7L1y+XOigZ
VdyZDUBYPzvi8i+0n8a/TkwZJ+Z0WYpX8t86M1fX7MoYk32gqQKcYjOMtUP0pPcGZChBfz7q22Cg
nOlbwuyXDQaVD/ouP66youckTzU5IxKyaalDodWrwsmk+rHKJeDgH/TskbOhVzOPRRSZohS4HG6f
5zGopEYvFh5sY0N3CQSc/so8FmEK3lZe3VxXppidHHVCLbUiTKmkABFTfkKr7QZInO3tIS1+zc4g
WPxUlYqqpupsJcVoZojuqgjC2Vh4dAQHW8+LgjwTzEiKwte1rliiYGktpAWSmYzvgWm8653a1JVN
AmrO28NaO8yuh8WEpnJSxkwREQfTUrBz1VGUwemyXdA2VlU7EP0wG5/jHJCuW371y2QSRacgIwXq
heWpniNEkQw9Y24tq/tOgNisDn7qTI93Rp0cRrUFUf28FZL0dxwIDu7L35OgBB3zfERv21ZtVRtE
ap4odnhb1x6JVoBov0Nbp5Gdi3LaZVq9k5P2SIzwHEhofKDKNmrlU6EK3iQUoE1K5juFJttU8fei
oqARRLXzKDjKBJIA8cMot1tROw1Tvy+yKvJQxt82c4v/p0eRlehxaqVKd8pEz0jQA00lO9UgNAiM
Jw0lKyz1zehPbhwrzqjm1hjHploCr96GLz59wtXyWamjb2WhPlTocS9xnTRB3WrW5eD1PnGmiezT
4ZtOph364WMzn0pXXaJENpjjENpyXDiVAM1vsXOpP5ghOamF7KANAjwLaP0w03kwS8PfVmKwIzoI
U1LFbOI79NSZlRprz0HXf++a9mlBUqhzvE0DcadmzbPSlrbSx29+pI5mNav7QOiAyxN6M06n+xG6
lFYgRPjTO207WkXxQ4kjGa9yxbdhKjIzqJKLauDxv5mccZ6c3tDuQmK4Y0m2ih5saBw/+F3itEJ2
UQnQ/Hl4IXm4MWTBG5N6R7QaHYuKbI9KfR9rKigaxGkyNTK9Zn3mkKHc9+C3UqctzUBJNahIzDMP
DPn72hBNMKMB+D2aUlzY1fRktBQSPyddL1Ark1C+lrZ5hN62pM9MLdSsVAsTS8SNHNI6nqBLjyFq
GFM3Q0IAfVjlTy2ESKo66QQ0iOANygO9MREDvhfxnTaKvZmFdEMWqeTxXKJtSFRNVHPtXn8ZS8ke
AlyMCTAKfb8wD2/ykVh45t/NE9Rs5NRCQevRl1FHl05G/wu16HspNjZyruxF6Nr4jReXuknpH22e
LQmu1cSZpXQR5DIPcfSUic8xXq+TenhE+4kZiy24dAcnF9t7VTyAoc2doHdJ8P+7ZksLaHcb6Ewf
XZQX3R77TCMZ9k2595sfctyZQZ84VfdLKMF6riZOJ+ZmpClmqtbQTVE8MX1OpKeuw71keBzKxhx0
PFzRJwUunQIuJ+KwVBZKL+oo4X0D1gFBkqwils5kTA4APVeVarcQDQT0xczGb4kO0nMJciJy4krN
9zZqAtCQC5Yy/Zw7ycq6b63c20IKVTpsqDpCETnIvBI67xrNbDkpLa2Q7tvwR63SbYfVHJvR1LTR
lKPXZT1VTXd9Vd/RSnH6tgaDzq9W2mVVAQZC1emkwRbb/gS831YMXnMimhVwRFLw3OsQjB1Bxpw/
17FojuGpz6JDDnJdMcbzVfo2GfJBrxCUe/HJKIglCYOd6COSY8lKhOZODP+kjWyhWgwN4ghcgCrk
H1S3nRRHhzpMqYmWUR5QrkGTJ9rNAvREK7Ejq16Bp5yO5idDHreJ39h1KJk1Cp36rL3iPALzpuH2
Cp5CBDTGa4lZt8dIzN0+irYDFq2a9kXzHZmhXTWVOdNfuhJvE+2tkX1gsdPcw6ufWU+zlU2/yhrL
E2t2CBWlzI83QCTaeM3ytCQwk+yUhu2lQm+c2r1mPnSOyhlix4pN0P45Et3S2n4/UpTci9zr+9lu
6s7qEjSQ08qVg9iL/HujBgjBEIBPq8UKigNPlQ+KeaHBTwJIgmqxIkHPFgE0osTsc5D8wt1iUfJA
QGcZ4TEV5kOct+Dfr084nJwB0PyygSCYPtv+eElDwxbEyplrPNiASBzL4od3rZZbFX47KC4CQCQg
JwzqZjvp0jkfXklfOKpyDof5HsUrC06FfQv2O7ggDXDYYVy5+EwHMCjXeeZq2o+ufuoUkIhXpT1E
ql2inFH6f3rc68Zg2Ndpakb6aCeQz4aYi9X7mT2L8Tk3viPgfVMi/RQT4unpeJB74YyyXQBkLAQX
5j+NfgLTm5MlaITrH7WyMoNZtZKqgWzHi4pV10li6inAiop2KkXVaqEyVWT7HLtUy2sTlTCoidBt
iTkTezxBdPKGpGfaJTYhl7IRdrm8T8fonADCtshn1mXvDfF4kjMFwPVEvJf8dicNtauCbZuM4Pum
ewN5fFkbpipfIJ2DcI/Lc1DtFIKDJI/ucv2bH+N0MR4i7TyUwJI1vVVrz2KUvkKWsLf0zN+mcQEN
ehUyYKqb1YEjJZjgId4k2XiXgDsW4dtswOoFDoYdFnaAPp9Kjm00mX1fOhHdj9VbG+IogWpqNh3D
4W2MlRe1eqywQwTjeyR8p+W+qdSzPzRPaYxPNFpTw8EqQfUUHat2k4h2LWb2SDbRUFvyAHnSBHru
VYjf3mr58FzN4HURlHl593b0RNrQOnzV4saZERJJoJtVIOymSDfrLrMzhdhpLNoqci7jvszAY9ri
bSt+TnDwQo/RnAfdy2c0yBrjZpS6TZc8lrBXDp3Z+4aZQAJ2HkZTAfGlQn+TbhsRjJkKMXxBspNO
XGK/nBs/kyZ9CxCcGkV1VaF1aXqecowDPAUk+eUX+V6QfDMc7qb2LTOmF6wCLnvfxaaxG8TH0G8s
UQX7z/+xdGVLcuJa8IuIALG/shTUXr131wvh7raRQGIVEuLrb9bEfZiYGI/brgLpLHnyZNKghMXN
3akKLc2RmCAJJoQ4a3lb5puLEZloTpwhiC8fvmvnuCpx8y/un+BCgvQe5magieo/pARxHcG6G57n
SveJMuFBcvwZa97Fw31hYl+ZMA1Je9KQI5UBnlXs/QmmX0//i9lyXtw7nDn39WYnzuIDB/yOzZRs
Fccjmp+quk23PorhjRtAx8TZj+oKgQSEuClvw7UEHJvjAO+tyqBeupE52k3NeuQQXA4WaPazwp2s
q9vSXbfIu9ZXSkgC8dtM9XHWTTiEEg5EDE64fE78uMta5IuGncJmzUZ2j4IOIxc/cfHGZCSSbT4p
MDhd+49ez6HtHlT3KtyP0bOwaA+i09Ydwx5hnItiWu17G107KRILRgaTnrJ6jg9VUFbczUaIs8X6
n8+nhNN6D5+8nafp5VEervEribEDAJomfvKtqlQ+RO8G70/pLfWAP9TEwsN+sl0KeJEkix5Tv2n3
sW0y5ct8HNoLD69cQCLOVTvWNc8CgbOlY6YmmlfDZ7d+mvYhxvk3ihfUm2CqVi8egjb1BIxN6lRo
NzPapCF9h2l73vZ3X7ggpzYpk1/u+jQ6T5ue894Z9pE62Q2SChrEzRelS+NP3YXFGs1p7yJuye4W
9xNMlj4rHR4cbp2tyUfwa/8F24dHo4QhlkSyPkFp6WXFdrMRC27ph6vdPDAwG6mvFe49Q4XENEq8
DrdVdCUhrBDcTsMNg89oS+Lxl9duEnR+wtxoz7jIF4kv0+30ECEFUusoPA/ZZMtbPeVmFZCMd4ZU
dqi+AH441UlWHe40ROx8fCpIYaaVgQkF81UGI8isaptsHcoQ8YOQcedXbjFDS2iA5Qx8VBLbngpo
bxf2Woa+vauroRiCJkNBkVp82s02Skqrzun4TJv5ONlbspDm6Dl34+ksXL1rXb9oWSWVIRl26d5V
D2QkOmqpit7W4AqPKGtq3AWOtO++YKCdVT40cKLuNMSwd5v6bACf27i/dfPs1PF+8z8bfa1EkC4r
GENwEtLBe2TJ1BEcyZY/6wCszfq6Vs8V1jm1hLxJ+yncNgnHOB/rKwnW98p2ryCWZuEyXunAMmLs
321GCwEhxUH4xdYiokb/RhEktQep860uYo8lDv7GKexwJ+x8CuBOPGxZFAxZbF3g2pbqcMrgwXoK
9MXHRsOsTEFbdt2MhzJOp6x/C+b1GC+lE6zpaqArHKdNd6KzxCH+Wpw62+h1lSTH0DJvN/8orb++
vnidSRrXStxlr+sm3bZfAQDe5zclrjgiuVB1CZnyQg86A4etdK0hcxmqFq9JIM6MOB+Wi1cXlv1P
qyAd7SfTnTekN8+/K6yNhc2vB49nCoMfBiH1zV8yjWjSi+rJgSNPyOKzYZ/+1qZNLNMOtxzmryfb
eHMytc9k0QcdqsSr7BzeRc9UsMOj8elhnEfGF77IW41abcN1WlAN4fRb1obiH/sPUZx3kNPdSFkh
PrR2saxr1hP12Q9x2tVe0nT4KA29661PFgUL6qpgHN6M7vDp11OpVfsW1V4O3s6PT72/nAQHwv7U
eCtrbSPR/lTuseuePf5BmjiD1N6u7j+6zkZD0G8pAHFS0ZsdY05YoV2Nx5J1czIMPXxB/BfpjT+j
Js9zKL+H8NZMeLm8Saywg1uefN9MnNQWT/x+z9vpCZoGxUhuYvpGa3BcVlwL6qFA3KDrAyOnpTn7
kDbf8OR9JYBhoKz3LZ6OHa7kuHyIEXe8jjOIJmbM1qda+seOVJklnNxUMzqXJVk9c4k7F6u7Uz0l
cgh/mIcaLCRhVvsNFgJUEc43b0LTytC7ibo/1luXB9TLNmMdjYXURf2bv8HaZJkwmjK/dL3PAUqU
Mco6Me9HL8L4thwC91XNU+JDE9mMu177uR1viU+7yyhfzQjLEitCLXln1Xyj6ASMCy/S8Vcs7Q5M
5zK02REWR5joL7gRj3fLG+csMVeZ2NCjTu+val0W1PZTQlunwdmpbr6LnmWIYGnqktKAxl4PP3hb
1DQJifVUdiPujUYP54jENE8zv/WjBYW8ToKYuhWitbA0jqfgQVtJXDqIKTX19hSyad8PKvcceV5J
+zn5p06qbIufWMNf/Zj+IdtwcB14LIv1B5H2rzvhy6gWcs6h/GsJKxPyeWs/Y8TGbkC3IBsArzM0
dnB0r/VQZ2vwFaAL2qDqHYxjbo37uaKZDOKvSsm9as4GGs5SKfSL/isTURo5zwS5QK1v0t1PtQXW
QJu0xD4LisyIDy8Rf9uuzb2gOtTB/G67YWZPnwY2BNIRZ4kee4CEPEwxL9P8wwSqWfgXdU3aLf7H
6l+CDsF5wiZCwFKzQpRuC55i9iFYX0Rjv/PtsajVud6qe10HqTGfdU2SodPJFL2tAxQiMOCfpiVr
EUTC5W1FdoKvS2LVY7ot5WzzCw2hFIY0YFw/o/65RuHRWwby56t96qU6OEjflvPeLLQMxXZTY1to
iyRsCPJZDzmUbVGsLKk1qHRDMl3RvamKZ1zUWRzCkR1PS9Fvj8Dn1jkSKGUZcdTVIyN92oAQSM1e
Zje4RFToFKPQBH4pA5Ca/ndrln9BLQ/BMly4aq+ejsIn5ocjzuJTHYQ5MJ8D+kz0UEImfW+OXdSU
DD3QEofIahCzq2L0P6h5Yndv9cEproPdYtG93wLtGVlKm2Y3bwL1wXhXdTRkAF5p0nJnP0gLxUVd
1ugtfTa8jjaqOuBW0N9Ce9Wou6y/5whUYuTexLMBWIyfxpWJh08nuyDlU5ABaPmZRz8CMocOPh5/
DNoPLzwrNb2QYAuyalv/VlrlIX2LvS7FxniywZRuQ1HVW/q0mmjXVH9FR66Pmsgldw9FDDMf8CxO
QsUyDwRjHUtYXcHyTA9j5o8ykyY4E6zwbjYAvUFm9eQ9O2M0AJtY92FNsykyR4dUKrE7BsnQy+CF
YIWsCamsHxXgzU3BKwHAAiQN5WWchhxY3Dyfhf0pbZMGrYvTc+0eV32Okmhu8mhBNVb56Pxa68th
+9aHIqlzkXBemp0+0Qy33e53Q1Thl6Ms1Hai4lu9uqkt9qsW18liuWxfwgU+3bYu2zYqo+UTNwGg
05QhSyHF/ZvsGpL8XtLNOn/UYD4vVmAr/wFLSPGS7f0gOMcEm6P8xMyt6wnik9djXW8kfirRxJM2
Os8Is5SHFwmAS/0KPryw5XNS7OgG58ft2By2op6+bITkcNdOXMPLuVelqVD4D0EZiDXMQ6t6otC2
YHMaxVArRMjfKfywseW7O9CvBkk/ICzxYZOKBlAnHA1zreBEpYshfBlck9HIpBMCXL+YZLJNEQB9
4sVmn/zga1TYgUNrs+46JO+l//bYt3CwhRQd3E2mfRDteA+D4+mkR46EuyUrjNVju0e99eaEb14Q
5KM/JMx5BgadOnI3uwvIZrAuoBawJT8hsjrH6P7CXiceQnC/YRn1E8+yl0uOs/prvAHl04KAJtqU
LVHKRHvsBEsbWe/HzTp2iyrGRebU2bKF8r1Xe2kHVMGg03G0D6AHh4L75cr/VAgRgOwyEQFY9hkG
NVYW4IPYCESxPC719ISvLm1xE+Zz3mLEr5KvA6YRGl2NegkgmbBsiQYxy19KRSB60ciUQAquUUi7
PccNBPBSwS5V6p1Lf5wIt2gE9x2JqUObPtltPpPL1F+78N720JxGRzhWp0W/kOnQM5pFI91tsMDW
Ni+AtSRycVNEtjT0j374G8bLVREvNdNJDaWHOcKCdnJhr3N3cE1TWo5XVszZ/wd6rWja5hftRrkF
TlzGrOaohX/CrQLCsmsdcaJaIhhKiMHgN6C0e7OmSzu/c6SMbT2vcbsHogIKg9umcfu5tX8adECS
nCi9uh56SPWEwTZeHcuAFOSqRVoXM6b2OrO02lntD/bfEwUMSIt7rSCy9ljuwAyksREv+p9WwnrZ
E/sFgOqAo0S8p60TJ2t7JgrQNJF90lhrnKBc0ASc6Irlvvttj9vZBhFmnsVJ1RcP3pIuv4bdmq0d
PgSesoyxZlHfq0Cmiumk2v6t+JVlhK2CcZGEXFS+3gUsV7ggvPnB/CTdYlusN2DwGUX7KXA5ow8W
4Nqs7GyqKLVa7yXYhhflg7QUqWQkaPIHkqxDhH2nx3wEgEKM7wmszF7/BN5WOAbTB8fPgrrbBwK2
pP0zByo3yPbKaoTfGlFyUXbSAO5jzEXsanaSLXnnuse+XVI42sOAAtbQzW0A4rc9CE0eejFb/tZ2
n7P238j2YM/mrfn6P26Jb1REbM2ahe9pM6QzUnY8o5xZ9SEkVhajIDemS3wbG1p2wQGfNArs7HU9
euvbSuaMBs3Rhadk1c1pyOBEP4OBb21YTJ0OczW+Bqgk0M8M6KH1WlirjZi/vcxBpbIGmoT28qNw
6tYYT76eAex2DEBQAzhTvjQ1SF9TGOVO1P3bItTETtDfY3cowdlKRP3hwYDJiaZdhMIlbBVEJZEK
APEz6xw88k0EjcA6OtRIlx6HrIg7v+pgv4h5x0cv3QLgEm0nvrDUA+AVC02dV/YeLBg8jViK9mPw
x3zZvr0NuI5VX+AtcBRBlG1aJlr8pd3byqbd0qDaM//WdT5w/h6MUOP3m7SCT4gtyxr1ySQvSvoX
3xq/WpCYIO8JsSY4Mo92+2oH6hCv4UvgV1D20zn8+G7+ZJakH/xPX1dftgBQomSLUpdCShzM6rre
M5DkklY3f4wrfmphTlPTBwlV9oflejkJO6ydspvZoOwJ3MaqIa5GsT9oVYlGLiPM/PKtf4kJZLHa
D0DnmTuzmxDeshMU7Q1eW50Arfbg9zq/O117CvutXPzo6toHT37YOFzUNyIRaKgwZUkNog0VGE31
5OZBdaDtrWMcvk6Nd5Zo05ByheWmlvxLpyYR7qfrYYLm7pqozaQ49Y14caWVzKQUC8Ds8GQQR/vN
SxvndUVq5uyNoEKrYRyvoEoBHOUBm8cOjGCnLxveuZ15c4ks7U3HidtEKYHLBrS/s6kbigi3AFtM
JyYA4wqMFTcH0EQb5GTc0lhcIq/Pai0AzAOkUB9hxA6Bs0LcEdte1tt/OBIGXF3XlzS8LvZTC0Xa
WC0JtF1yd0E3bUUJ9yBQ4NfZZN2tACm6+h3wLwKYwwgPxxxDD2KlS4UW++K70Ao0kDRQfqr1W0wb
DCZJoWmcwLku6Umb2QAj4MWVjhS2JOs1EM1hDfXOePEJzTge+qV2ou+ZYjQwlFjMSEhozuEQHyID
2NcQNFGATtew+WiNtXusokSLf6TxOyEQ248HN4VDBsKp1f9h/Z/O1RlYkNliVEm0naITyjbm432v
CJyqjIIpUTPcO/rbFofHzqsS4jd/rEkhrl+iGD0G0ICY3XnrHmzRXEOMN+Xo3PpHEUFhP9Pi3UN7
fWkudoQWrukK12MpmG4sISu5dD6MIwYbw7Qa0DMmAltV1ogm3AWyTHfKsnYCcJx01FFyeE/LBYdn
QQkIZsGaLxgLDvEADP46gzTXd/be7ccjVTQHJJnb1nCYAHKT6gLDo7d5OFvD+NnSFSWr89UuN8Yh
xFq9a1rBmLT+dWh0qgJ913Vcql5Dnpij5UPw5PTqVP1TFEcgJskwGRnBgnW4A+Z/AXB+neLbujSv
ceufSI8vYgVnSa3Sm+2/Oq4zj+t/zGUn32pPMO+5gKYLZW5Yzow6f8xCoeKd8mVGiY+5rfO2LvcV
WOFi/nn6AUvASNxeDxMashnpSfnvbURze2P51qvcNiyPBNiCs94HY33iwXAcGBSAelPMvN+JDaxJ
2AwlM12CVDMMMYWrIKxM6qMi2wvwqT5zJmRF5tC9LVm+DFLDITgql0o/+Qv5JnASjCC5I9depXwM
c2+opjyYgZZZulx9rjNJ6wsW75CvMN5MN1a92/F4Z9xxcT7rJxY14yHAPMGhpDrMpj9Uc5+jnX0Z
vQWaUpYP6rLYTwRMUoBR0yAOACE+YgFQYjA7s6guR5tz9ZmdbC2KhHkCxlEzO4tdA8oTUBsDskCg
TpNnf7gsfAsBDsw9RPLBsEyYHIFwdMsd4kF/ibdeoG+/JEOA9oc2/AOZet815Dos5NV9DFXryvok
3DAM6u2bG9JcEX1WsSo91Z7nGa0vhgd3g6l82kCGFrvTX5tHV0xipS6rFVBnEKMrmAGXtELmXjt/
0GC5jhiJCDEXkGtCjIa1UwaZHDg+9VUaWdsZgOzedNW+HzEilI9Zm+rkJ+nGd28lmUWcC+S5wFeD
8GzMNcsgZswSNY4vUajujUWvSi1XV/nXcK53UzgfI+4+BaGh30YBZkY3g7kVKjUvBNxlB4XQ/G/s
BaXwo5O3BCcbn3mp1oPt/1VNu7O64diznqZ9K0pjR0elMBUl5P0B81oUPlSweHaSrvJTm8wEmxPo
xYBrfeBp7xY7DICQrccJUw6w+3ZbOL3JucX40UTJwFQGr+IXB1PrFqyGtiI/gSdObbsCGgQmzmiD
em4KfzEZTtcOTATMIOBGBV2WcDywIPTzetLfw7jkkW9lCrBBNa8Ha8BAOAQVmQccN6Qh6BUJCE8u
1O1C+x9v8ffBAvTAgQzYYTykMaaW3PqGnhXkdTGNcif/bdjqq72KHEOBPa/WMKknNBMj/gzl1y8O
tf8RTiFMu5kRru7Dl27sHcUMbVbkxMFwQPbuCsodeaTDhtXL6MHSmOjHzDF0DcmIuoz9uJsPtsK4
nCstL2PA7qqCeYc9qCFVmw89+4Zbe+AHL7aE1M489FUZN6BROcx7Imh9GocAWoQqYR8HBTRr372x
BRVCflbkM4zGYt2aks4msx6gqNgKH7mXKy8PtipfBUiVmEZvg52va31qx+jcMXJpgRQJbkoJ8HfV
7j5wDZQ2giSssMWAM8PILyCOxNEiH21+cJBu3HjbjyH90zheuvjg8sysPjoafR1Ygbt+E2DrYBy6
eqcRYbBagjxGW2tWB4N4L/MJVITQ3/WWlTZbCINoiXk2U2M6TM3Jiu4Km0Y+AWFh694WTCQbre08
GK186QGCQuJ63zr4h0/vGL9n4ajLcBT7kX1vld7bHvoJGV6Fu71vcntdBlg9AjuenWgXyvojJE0m
IH4OQ42/K9ALTwAE4pV6MtQ+OjTYr0oUY1sXZkXCR2jBndlPEVwVRQRg2VyZu6F36Ky9MihOqf8e
grqD6gOluL3zvOrYjPj+LvSDDQwXQ130o0ooXS8waUU/GQUHqaxi8yH1qGqwu6Z0BAzoA60cTJ83
8BjE/8/CBuUQ37La81H5KNSy9c5SzyFvn10XvNIJsVoNx2Dxf0LLyQmEUEIAVfCDyQNAdkPbZwY4
9Fq74HXBkNuHexGH+UrtFUDPT8Qb89Uihy7SqcEYyFRBYuQA5odbKsSrBeWxhNANvO8w64eID76f
CNEWK57LAVu+IUxCGyvD/byC+oV7AcxWCDdZcPbRypVODKMopS8OTqOPfFTPMl3t+tx01qVpHVDD
IIbkUVgpCVKARXUjW5g1HVAlq8tIh5f+MFuMnQv+yZfWBi0I+kzkvtR2Hmv4gwSYFmDVV4EqMDYp
IJzcIst/P6UNGNKL+8XUkLW19V2tDAGuLcJ+3dmmungqfm9MfIxlB4BMz2WAfaJa/qPMFJW3lEPI
oHS6Njvjh1iq03eLg82zwm65YeKOWvcmOVl3PO4LnwZ/W0H/dI7+7oK+3DasQI4IVdF4qTogEg16
iCyMMRyukQYwDkGUUi6oLeO0Ic1Pp2UaSj3WPyzC7zb8rantE3VFvjIPs7liVQsgChP+LEE5Ckzt
g7IL61RqnjnOHlN0KMt0J9/dUGoBF1wtJC/Nng2Wdh4r0XE+mdtC7ytweHfcPXAWf0IGBmgwHlXV
QbLlrzfCtwMFpb0gfoli7VhaIYoHY9nHr1rQF4Sn9DFGceh6WuO45I/SBrZYZCxFw/fVBEM90Cii
oMUInwMtmVNpLXhLAJW9K0YaGBu9ceeripvSdYHM1+9Qqfelf2ix9C9+etiE8G4X8mLg0JfgLGEC
Gv18OJuGZyYsfLIklXLRjCLSLDd4xyj5zgGdRn/hwej5f9rua6qba2MXm4HroXuurRUQSRn7OunX
IBPrXkmaz0Idga8dO2cfRu+bwkbYljF6nZy9aQ89BPdAAsIBFytBGKpTezqMMVgHSB+k/jcFeO5O
v9OwhgDsgMPk17tZVwBn9r250R6GRo+pCvfTWWBAHX67/t7VPxiNBBusrjm4Q+hiGgBa6LK2uc9I
A/zKnFvcM92cvb7KvPm+hUEWTTwfY/BpQD+J1eCh54HPsGvyaMC4DsRL10nc7YO1MfZNiwbKoHCl
pDNO1fbbUczCpisHZuBPf8j8PLHS7llSdSeBbND0W0LdV6u/WwhjFLK6qNZ2qz2kPbx27ZmBW0Ix
Rke5+Ghf6vdHVNAMdxXaNw9iUR2fmRJZhUFwa/0Z7Bmo+meHshpfrEfKfHBCsYa/OQCnkTsJRq4T
Qhd7ZxFPNXeSZhbZ7P6IHjA3+GCibCp8MeBlih6H6GVyLu0k0n78GnnRBt+bA0bZ8+MJhgKfxNxE
HwIsKhVA3AlGikAmNrRWFsAnvp1VsyaPpw+B75Q41YPBiMr5W4SQ65oTGk8ITLiVzkcfXYL1c6qv
jXt3vDfC9ljkLwUYCwtaGSdeC2SfHQFdhsIyU1787jh2qAoqg50g4p3DhYMReJ8ZLEyw3BWRk3Y2
eBbvIXSORgQYKeaGilwfXwKwobGmDKh9Mroo78SPR+9+Bf9HgQKWJpUku2aCrKuL/4S2V4OvgnZi
a9iu7ew+XcNf0j9Lgi/A/jFVARh7DUbAz1jTGAoCdL0Jm1T1Z8FgFm3/pfMPvpUw50nfAXpsCRcf
D8TYZ58teFmDe4ypPD3G0pbX51sA8HHd4zZLuh1x7WWH2V83gqOmXptAP1mOxNTRTrngt3b+kjYy
yIogD9uUmVkAtOHeMgJjXF2EdL/9wjW7aP5uHtQBdzeCyhHOmVd5OajvfbVi+BTlAzBM5o0va+zm
xrL+WXhPvV8B9nvHEk9QX5YR42/5opx/9nSZXLSEG5AoNCO8oDFNnOn18a4m8yZ794UOYdLGMCw0
ICYCJSaNTms5Jd62n7BQYjyM6eAk8Dj/NSiYKyK7laiwWNDh8OVrxCGupvcZmB5eOJ8vBDXg0v/E
lkS9h3AIFqcQhwFpARReL857g3pE7iJAe0wPu9XC9Br0tQVkxxW5UaIe8REyw/3M6YGbp4Hg+YLR
ql7XBrh6sxzx3mZQzsDCOLXWd0DjnY6/F6p23H4HMzsNYtAzaHWrgu1U+VVGIZPiA/b2/UwCAAvB
4KX62rD5Zounjd2RTcbmhuQLTtopXg98rFE2QTZ0QiHbgq9RTPPvpJejRFywPczV6BNsH0rIoz24
oFxL4EGgOc9RVoUyjSt00lKW2liJx7uTZGUToQnroZnfx30mvQrdIMYD/J2hfo6D58lAJnXDarzY
bzHmJpVVVCBSsTM0X+R0E+yjVc+8VWgrQDFrdxMHM3cpu/aV+jgSupg6AFm/bfexzl+N/MQkLwvB
NJmWD4ZvpugLA8U2rncR0DTXDVK3FmlYhYVUgMUQaRrvhnmnth4aPQpD3zKc/jncPxiO3CtKDRZ6
fdv6dzno3HauIw4bIJRsdXdW/4oQbvDUSURR9pfG8B3tTthDSUlVp5F9grBDsrnQ+kApL/Gq2qyN
gTy2CVtvvo4yu4fMaLcb6iAB3IJKPJ3dNYGrc7rEJo0tkzqIzrbecXJbV1pO7XuMItemRYNCTgmo
KdUKEJZOm7VLBwIJmhFWJ/Qm9TcolDmTCkOGaGdHLHtQK3y5Y9F1BLhuNd2vmOZyUzKrKtSL/ckD
DGM7uwV8LRY+harA0x0mIAQxxv0/DvtXO7i15A+vr64u+PhshhVDL4Kdxz/Iar29A+JqeNE7ADnB
hLCAzItgK0LvYxIf2nyCGJBId8oaBCoyfa70ZauO7vRu2A3sWPzwRiqcQ0RekHO6JxuMausnqnGi
0ec5eMZ+/NyKl2YsVGfSx4QIkWBoT9y8409xu+rq9gWX/LkNxwxhDAVHOooXyzzYqqgGgdhWY7IA
eIcBzbHpT3jxKArQFc7o8Biqq/8nW288aqvAMocCn3OYUR10YN1+IouDlOiga5nAcfWQRjAyEmVH
+IGOeyQw7NAmk3v3Of/igfvY1YE0C6jxdr5FDujycmcFhQJPe16b1DICnTAwWpW0zcmebwE9ocqu
4n1c8ZO74ZIUBi7PSGxh+Lmg1ZGWTl3PBbShkshTOy12beSmTJncjz/UvO/pIYjxid0iqLBCAN5K
t97GodDdk4+Bb6Ra1BGXZX4M9k4uuuDIQj3aBjfXn1HW9ukirj7m2toA8UZrD0ktQPh1EcbRsRpg
cKKQWbvUm1xUSW+Ydebo1zNngO/X1IGJ+0djQGl5QL3N+1R/9ZZdmODL4lES2/HROBghb0XVTvsB
yoq9BOugtfZ0PKEOIy4uIIhgXsCfCDbUR5B1nSq1CM5BQ26TX1/0pjLf/+piD5OPuhDwGWz1LYJb
r/pujHNyKEBJmBTH0/sQwjDZWfbWYO/XQOQMX4TCdsB0TwuIkQS66HX12sV/4zZ+TO6a5b7Vz7Nc
37x1SBCiG5wgYpt9jbkuuCfIdafQiXfGyT1PfCOJqhmzafoGWAAvcSpi88Q5eH1+l24wJ5mrIMdK
JuIdTT0Lg3yMoRxs2dHLI5Cz0AOa1CNvmqQKY9AvAO1wwAM1+JTeGS0U9AqSkLtAs2/L9HiDmCQB
a0lH4NDTDA/wEHU7amHUqZs5G1vvUQxjVTdjAerKYDkHEqmTgFPUa5AeoJ2PmzUzesQ7euABsjZF
iAlFUO3GVScow5wJVt1ohlCYJB2YQBR4qLYxmHOmzELNUptf45O0i31kvymfGgUkFBzd+TEXWB/M
bNRZcxbDGKVVd6wZXKMa8meIP6FYgb+7+xWWokPR+u9B5aUzvYBsBfbkM7Tp8lCiLkVsNkPhxCJx
HguQ9C7/x9p5NLltRO36v9w9qpDD4m5IkAQ55GSNwgaliJwzfv19MP7soSB+hCzflV1lS4eN7j7d
fc4bdEdR9S1Nm40n2VZ75DyGU8DHEGhQqI8VfoXSMz0bobjTS8wXMEVoS+NgVgL3pnbtG48td4nC
BD1IgJ6mLfenwnrWFSQ2eSKU3INbDjsAIpKbOv7IwcrlJpfgBo+W7njk1iG69zILeJx2qKthVRnD
qhHfqwUvEkr0VCOgUWSlBV6F+zHsAan0DiPzGlvqqmzfSRipBtHI4eeEXrAqAefJ5GHf3aYxKUfC
LqjkWS5oN4GorOgAwcjjgvPMlJsYrAI/kiAB5K4B0BFNajm1+2YizpOSQWRVRbbKvY+itI9UJjVT
N9P/IQGm6iTWv/fsy8fMaNddehsGGDYwSV4nbQd+cijZwvBgiO1rxaTIlQdMLbeiQfGJDMddSrJA
/xif8RDcydHHWtg1ar4JrWiTRy+daIDW2ysJgBGFVUpbN3UatLKsGv8SYJ6FuebBtDYMZVMqnpOo
9xVAE5NOCzAShcKuAMDKGugCUQmry/6HFFl3kUiVmFyZKvusHo4TngpnsvUo8lpnoCUF1ul6nlL5
5nfcd+GHSqpWtOGNXniWVOlOC186V31keo+6NDoY5tHJToGlijuvflfzZgF+m3H9g2kTca5HybYw
d5wHTkAHnuI+LbVPTK0/gKHtaZLJ5pNQU1EcXtzs0/QkCHD+s8JPiu6vxKrclm19lNlxcenS33EU
HX9cWvGCxvSI4HUi4IeB/70R8wNEr0hiIeq7qU0LYEErCx4FU4sLffrXN2kavjdLrnCACsLR2/ZU
QKoczpKxljJzJcmOqj6bYEqa4WY6q8hSloQ7sfA1iXexpnBv8pza6lfTBZf78NhA8UrI9A/9RFJj
1RXcLcTyLsr0PWAUs0P+d7CgwXwu4I0PeP8G3ScxytZp6u9NeReOwZ0+ZLYebk2a2kbtUPZd6aQz
NsYq8/CHC8r1yDrWa/U4ygnALZP8SHFEAGzSbjoeMEnU8BODXTw+DRZYct7/DcVJL2DXjJuCm3mQ
A8/o7yw+ni+B9tLk3XShzccEnI8z1HBSeKXw/arii5oqq2gMbU1/8QqZOHRIi6euTe3S7QHQpLai
+JvOL7nfxNhr5nR+lFUWTlBx6CE1RAFdX/WDuK/qaM0pfBpS1TalcuurX7My2sqoom8VSfUOHtkA
El4DgsNIbFkBcVdygoRKdCdG0uMQJHeBXJxc+iJl5X2oDOn9wC0g6dQblS6ULHcyGJupSVw+SvBA
XMXaBXp74urB4qEK1QmjQ6eFd0PyQbLcHdCZXZnD0hGi4jNt0CYGXVQdg/TFpMcHpkyqMCQu6YZG
GiXAcZWIvEJigKGt5H+own6rivc1Ehe17O3bYO/71B3c1vF9YFogJBOJDqpMW/VHLHBf9o6pheF0
+5JWLyWX7+B7H7Z7fbJ31L4qMuLzGl8xOQb5F417pZU9q5L2IspOPpw6/SHnHW5Q2AlDp/F5vZcZ
NUMev+rzYPU0QPQH7th9kZ2EVLYznRc4QBpokjtFPPbm018P5BFEYJZnN1qabkoReoC1S5rBNt2D
yDrx9YM43pDfvPKbVdQ3MnhCJcu/mPSqWw71mjp/Hhp7hSbf4N0DLvG0F0uMaV0ZLodItlWaZp0n
7/mYLZwKBNBXFv7XiVhSDAm3PXfW+qHtIqcEgWxZ71229SBYIG6KE1syc8u1SX1keCcOXGQkinua
f1Qk/D/l7KlzuSZPu0PxNjgUUC1IjjmkrFqyE95KcsPrjKKaMZ6a9LMhGnueF7bLSlM09BwtGq8S
QM2B+rkMEEh3opqycG99kgpHjfKHRskf3Oam7Z9Mq/oGnEKp0l0iKR+LELhXG0EVDbLBbnJzL5n0
fkaK5Gak36WxcFsrfrs2hnx6tcp7XliPEuCEKbFN91POT1F5DioNNcl9L3BU5Sl3RjpJmDbeWaV5
CzruoHWhwpxRtQXmFOkfdJCRBr/9oIj5fQpWfjrGOqi3Zdg4MptN03dSj/MRJ1Z961XfTBBMbrkb
R0eE+1CI26wAlxGuE8gTLJoQZFtG/zJtwetUlkMD8cjtk0q7HWYAnvAnTkyeKZy5ubjj0E4LhKqV
ZO2q/V8V50EiqRj7Fuh8YEwAGM6piT/ilADCqdZvorCnl0yJBAif6WakCArx3Zegn35V/G0s+ptA
T9YxyLEQhpriSwfDQiuq3zbJsaFq0oYwPiEFCRVtMKk8eBmXbbBd06tKlnh3ATAKwwcT5loA5Az+
oNxBRJT68nsxCNg4eCWQAalc5UV417rhk+YbVCJ4RQT0NCjph64dtlm+EfIA3HUgHQO92piCCRtK
fGmTmPXi3gtTGUEUAdRI3gGR8895UqJqIOSP/jC9iWTzhxzEiGYmvNlbiCerpjfzvS64931U/QBn
dhvLsCfkqezdqRErDeSrbG68FElzKdr3kuvoIFvH7J2ZGeuqdCa4Vytw5GbZ+3wQHFEMKUQapdOm
1PzjwLqRqCGF8QSMThMK6qUJ3NFVYBso0UA10bsD535sRi6IiXvAPftDYTKKoMsOBhorK1U3v4ul
4W1kqYnWUQBaoSq4C6wBsNOxNZ2yp5ClAfh8pJoxcooCUvAUYEcWLbzOGG5dSeXZQEmhIoWWVO7o
K99FLWw6/n74GQIsu+Qb6JO9WO3EtqNY7+hRck/qLsENyJDk+lK9G5PofkSwt60OFrBFMWuOoohs
iVrzGm9O5tB8dEdlpXjDe4BFsa2jtyNS40pEOFFuflME9F7L6J7XsEUTSQrFPX/+mTo687IOSvF9
GzR7RdnqI68rd9tr465qfVvvQOhC5Y0h2MVW/y0cHlrla00u4vHu0R4bS5Hz6ms6bRxfOnqFz4Px
YYK1lPEuENVV0cKkoyXLn+QdowQClJfIKfrwBruuneA9yZZ66IOURqIPgFR/HzfiwUgxRwNdbvyI
VcCpEhTH6t6oM17LzVqG6MoD1BjqoxR8o3EQxdljVn9IYirsAlXlELqayRqi807qbXRl7UbHqZAK
iGBD5U7RPyrqjxqgf9bfp/k3aNpHodrlvDDIc353SIO70By4cTlaXB/i/J3mn/roQ5YJEAVBaD2C
X+i4pkdCvx5B2AG/LR4buUVUI7L72smyA/327Vgq0Ns5JyC91qeO2nap8UZQPll68VHyYgClty3U
MNd8qhvrFoDsPmzHvQd2r/O6k9dTJ8hWXMC/DdU3y7ijc/yuALKhpj/CKNuOGosnEegn6LnkxO1E
4dMbgKujtc6M4cYKtZ0utQM8A2CuRVaA2pQ9p+RIAWeE9FwCvE6DkteLnV1aQJ7UTtsbg/XgVuOd
pYZ26MI6g5vbmOZ3XtHf2jIDy9nF9/hpv97UGtIyj2IaSfI7Xe9PvOjSuNq7EwZSswyTcikg8q78
PKoip0GXfpGpP0lJXtmpkG7w59yPBvcMd+gA9Z4CmoJx9qVxqxvARkeTVRSFOe3rO62peQ6EN5Fa
r9LilOvpTgr7l2hiaw4jUITySRPc90GQ3Oi1qW7KyMUShBxrYMVTlcdhau6XGAHB3Yjzj5i8RI16
l2rNpoiqd7Xn74Ks3cIbkvXgB/0+TnUKF7Gs3Uh1kIJ3EG4CtURhIHnh4Bu97IfmqvnKS9xT6FWf
656bg659pHyq0XcPOGLq42A1B+oobgyPyiihYDfac9Efmq5xEjl58UeaHknL1TTR8D2L1OmtXDf3
RvNcFS1SwxV3pHKAclkL6NLBD84fa+1LlKnPYoYweRRtRGOkLtyCroq5axRALA3g8FkUf8xHvUGP
gOK8mb4f82kD9/ZIlQYhhfvIgsgX/RAV7zlVhCWVp0tSgbJoIqmpiKalzbUuTRQYZLkhs0yCcJMs
y3A/2UJjj/kbknDSJVWn82iTKM2ZJpwSh26s1kRrDuleeRXTGbabSX/OSddLbgavVjYQxr0s3X/7
v//HBOnDtV7SJO49mo58z/RrzqLJXqeEljSi6BSnTtkMIDqeG9O3pQhe5VgNRwXkqODTYZK1/qZH
OmLlUiXCBXjdSe2jREEzZ2JGrbKTGG1nOru03G1aDDtXbu9oUOxGVbgthZ6p1/svoyQfuDXTAEki
J9fqG41uV0iyXdCHky5O2tnAJtmYs4GNYUwHmQzy+hm720lDXD+SP5k0CNf2dT2YxWgz5Z4qb9Oc
VYIgzB4Eu4zwJkx7Hoe4tavHwanUBW2sS1Iw59M2E70JmjLCj5Jp8zjGgBEdKcbIBVW3rRKbC8pt
l1fk2aecqd0kWhQnMERd9NhHG8V56/iP3qM/rEN88qJ+SaF8afrmuyCNZCs0iTlJIY37tz33O2JI
lySEzr/mXAOvkWifWgQT6hiavjaVzPp+QUzqf1kj6OVqMtr2ujpTyYoUMXSTkCh/lEYuf8C3aNN/
P1v/gugKJbry04oELTQewNCsjXewWaAy2IJdtguSSNIl8SpZegs4yySmV8tZXxAQbrZ6EE8e3g+0
8rK96eSL4rOLH3O2vVsvQjym+9OPeTEnn41ttr2DblQQoCGaeuptmUeEE2N27h0n0XofufpFganF
8c02eFdnFcgrIlpOun9LX9663S07LizO3WyHRwFqLnJGNHGnA/DYKna2S29AaCVb1VnS9btgijKd
OW8rZba3hzhpsmbaCHCSkMaWnsO95yiOALrSVtCTb1A1WP6iF9cn2GnkflH7E+eCv6FfcWMwSNGv
69O6mbQL6WtM2oXL0abp+eVYfQv2qgd4tvs6T/E6jlukuqYnBw9GyAadznFZrBZOnoVhvU7tWSTw
TNT9WuSE/r1mnHRJ9kw+G9Uspxi1GsTiqE6xzJ28VsHF4zYtr+lgFJjWgWCkzb/FAZoGHf6pSwtn
2mXXPuosw0BsyivDYN3o1aMfbel89tLCWbcUYpZWFKt2DVxjeEQG7zrjvgiPQ/wfQ8xyCfCy3PNE
lkZAmTH0TqgzliBcri+LpXHM0keaAKeLZGbKsD5l472iHtL24XqIi4fm2WKY5YxM40ksRoTwDHEn
+OY2GON310MsrbdZogBG0eECwWwIvpqtqgo/mDGnO9kdO9nfmuhBSQUdhyjdX4+79PVm94FQdAe0
DZgiUUNbSuW1rwin0pC318MsfEF5ZrGj95Zch9O9akghP+/7WllYBZcDaKqJ8bWJRv9siroyhXsV
atwBpn6AX68gnl4fwuVzSsYaTOGCaBlzDdouLqNcmC6i02vl7Zz6L9fss2izZR3mGX3F6bXyR1eo
i6f+WbTZ5/NaqwyGaX5og9loPKHbc6LD3trRHkTMQXRk8+P1z3l54b19zdmCt0TQyaU+ZTiVzjeI
wh9y+uF6iMUZmy1uww+LvmqIoe7qPQ/x1tGP/bralwcc0W1p0WD78gH1z5i02SoXB10sTVC8Z+/Z
SU693f3pM+xtxrTpt5wdhnqG0ksIc+V1ffz1dv59IdrLt6azaLPjcExEsOHVPyMbb/5W6f6NG9r0
d/169r19xdnZlzQ68jLjn9YgLpm3yGcjmx2DXWYmEzkAXetDbwOuOAQnbQcIatG0e2k1atOOOJux
BiKgpFd/uqOXvuIsfySm1gv5yNr/o/yxsJvn8sEo2JgwPomm0fbFGw+gM8JDK28D7qjYgynZw5z9
Da+fhbylzbJIalquaAWslc5Y91vPARFX7YRNa7w6NHdTzCVBXGn6ctfW5yyrNMCMAtdEb7X0bHo3
pEs1cP4aK3FRLcXKrDB2/320+iy/JFYd5kPKCvLi71Pk6CbeChtR/D7t/Pg31uzlU/WfrTj3GR3l
svHCaSuOGsJDOUTDSF8ofyysHH2WWXpVCftQJ8QAalP8UCFgAfxg4SBYSMz6LKWEsVzpHSqXryZw
xjZAOz79AqZrl+Dyt14IdnHnKbKCNysKxhgG/bzPp3v7EMPv5BSY7KDe6jkq5bglJ5/LFStFMyxN
tCxdNWfnQBtKlQVNZTrjPIf+PCpsaw+o9u2wLVfSyT9I6v31AV5cFGcRZzMWQReKi5GraoBMke6j
ivN0PcDl0+YswuwLplRwcUB5/YJTFXp0xltjh6TjdtmWZPH7zfJ/oDeSNIqMht08ZRBw/FMGUeXX
DIJtlegsllAvrvmz8c1OAiu1Uik1GV+/Re1AYc58XuiE5FFJ1YoOs7jytkWxW/iuS3FnZ0IoZhKF
JOK223JPsq7WU4L+n7gIyPC8xQc6XXrMLi2Y2eXSiAYPUAFhlfRkGLcCIkbXB7YUYHYKSJGUumM8
rcgComww0Z//Y4RZzg/GQmj0qY6TKDA0gekMSzXT6SP8cqq8rQlrlts1OmFCM62JHDlBW7XAH/UV
LUU6vPKQANTTF/LUwkezZolDCUY3bHMCem1706TSu1Jfev8vhZhlCn8op+s3IUTVBcwU3QJ2WHAv
XVjS1ixVhGGqK3pAiDg4uuaNELzPA+f66prm9teZmZ59dMUwLJjN/dDJKqxCXv++Eaw86kA6x7xs
bQxNd4zgRXV3Y5La12P+Lynwn6Dzp0TbahlYD5b0H9S6pm90ZYDzp8SopjGUcN7OFQfW9JQAAONM
V4rXEux26YC8vCrehjZbFabvl4M6PdXr+FOq5msJrsb1r7cUYbYoWiOXsxEayBbyDEwqbReL3eZ6
iMvr7m0Q0084u8xn7RAAF2cQviuc5Gi8Lcx426XyH521b2Gmn3EWxnO7oRChg2wtdFOQTnPT0/Vx
XDRvxEH779Wtzc4ETAQq02V/giVZw9LYSc/5V31X3scY17YrhHqny/vrRfqPjgVV1oHbqoYiv/6y
s7H1vdEjzwQ6vEwyiKIZ0qyfFwZ38d53FmJ2MDRiNORGy+CQsX+Km9GDpBY8Flbv0tpDiyfK46Pc
xu+GrrkvoMSuBbFZSLMX8/rZT5hlj0bTBRHGFXm9M2zww5lh2EX5MCmbh+GH6+O9+DJ5izWvso0i
xjwCTLVtoEXvRCm/Ey1p6w/5ex84yvVQF9f/WajZ6TFkOTYnMZOXw4kYp7wLlPx6iMsP5rMYs0SR
SUVfxyXDgcaZ2OIGOtiu1u3GhjazQyVnCSFwMW2cxZuljShsI32siOe3B0AwSHAGC4thaYJmWSPx
+jyQR75a4ELFqFH7R3AcBZv4Jmqzp4XPN/3cX9L62XBmuWOsgQapBsOR7rBLWMFkCjaujfwfV0ya
2ctNi9dWz7WIs1zSC6Gn9wLDC7twE3NSVpOTCfJX2osCUDw9pspzHn65Ps5pD18LOrtd9mxZMYaS
giMM3LMSfw/lSxK8mB2y3WnJ+lzsQ03r7lrEWVZxjVBFhoCIir4fKHaAk9kImzQ8KIf+d579l1eN
LomKKEuSZs4nMpeqVpjipe1Ta/d2+VF/h0L0ztoCBkMTGa4GJc3fqDdcTp9vgWfz2SLgRzWOwFMN
6d/ZQ16+8KhvsWbTKHbDIKWt8dqzzP+t39rlnf4WbDaDaYKcZlYysDyFl4v+hhLY11fl5Xfl2Xhm
ed8qclUJFEJE4dO0SLhXsUgwuJkKRL81WxeXpYZpo2rh38iB+vNdYezTpsjh5IHdXzUbbVvt3NA2
7coebOQblgua8uWAoDtEa0oz5myIQhYoWpFxugLX3Iz7CXZRfaRBqr+bHtL5NrajnRA40w+o13p9
49nsUCVfXf/SFw9Y7Z9fMX84eQJEYz/gVyQB2D515RsKwozIRRTQnvyX68EuHntnwWbfWHYzTaym
C0VaPQhoKvWhD1r74/UgF/f7WZDpu59djFRP76L09bt2N1D4TfOUGY96ufByWvpus9Mu6Gsp0AZe
GJIlO2j7rCgxrVoh3PXa06gsOukuLBZrdvS5WmhVpc+Xm3LJ9MiIeGQYO/e3kIWXviAEGlOWVYCq
1rxVF1qF3LTSlDHV7+ggQhDCyKpDYOXLv5+p8zizBBkqvRuESEdua+W7YT3IU+9Rvk+Tx+thLq26
8zCz3ChJQpMo1hSm3pUTRX0SAVIW7iYXM5YJBRahFVkzcIn8edl5elAJ1dQKBssaA38DNuwI68pG
sQeUAw2zpfvWhVnSRdE0qS9LMmSU2Way0PSsLAVQQCr+SNE+SHSk4XwEovwl99IL+f6nSPMdNSIC
Dq51Mi9VYWXtTCndXZ+ivz7P7FagKzKOdbjZWdRoZqe0oCLq4HbUmAPxNMaNrXnpSRA+GeB5Y0io
SLYkeArUUBTDcdshtVXr9SbMn8UKowE7rw+5Kjvxx8h6gm/qryO9OkRNAOJcW8dy6eSVI6CbqCNm
jiEaYsaajGQIJNfIETC1m1SrYwszPr/fSGp056svbmWs8ih3SlWHbO2kTX8IW4ww4OzCTh5xhqhK
MVh31YjsVyWeBNPd5G73yMP5Xu+VauMjRaI38ichgTSWNeOu0Giiag1Ud7OFgphI2KfV+FBlMtLv
IRD+rV8gzBiqvmjHWQ15N9lIVazZYy8/5IjfN4rouCqyNLIxGTRH/t7SxzsxhaiJktgRJN/WmiyH
2liGwcehoQy3ca+8x7/PcQeYAYm4tZTnwfxuacOdmqY3spt8ViiUocrziPg+NDwoo9zbexlBRqs5
uiN01zD9pHaoiE2lAJ9jcuWl6HrmmnsSsIgwQx1wCu4o8Tb1+Toq4H9kqMUUxnki7QQsAvzkm1kn
DtIaVGgLpPuRp7S8BlLCOBmKjQmaz6CCM/EmqxFsaPpTHdbvRLfewKkAuNp9S2t3rRjaKatDJ1VS
p5ZgzvWTgAkOThKE2sQDUC6mG0RINhi8rERJ+iaXlS3XCOnmaFojzXCCB7ALY8nWmxpuBmxobfyc
mOlnDSMsKSg2LhX5qtu1YvqQm97NmPX7OvU2pZA6+tjcItyy9XLtBPp9U4fiEXF1PEBKp9TEnSGM
+3TgIulqttU/YzKaui/NkGEehF2Zn9wqfg79BucR46iPvrsSrH0KNVRAYS8UWx7VKG9JXvTMPeR7
1kISU6QXWD/PqI3r0q3Uw7o7UgdGXqe2I9yPItxgYx3+TvulmQSScRlAoquHkjI2Ryn1awQlwqcY
cc5EtHbxIJzCLLZHwf0SIrCMaSS01GB8QTjrpLfN1teztSX3+LBJG5yiUHexTikPOb8eIPt+zb1v
vmS7sBcDP7IrMbVzl75Co/HvnElsJBhWYYRjl7sP+n0ivK/v6xB24UNhHsW7OIe59BipGGCgfSGa
7rr75EX8KjwM0TI7lMK9iSBGuBdwQiijJ7zOBuUpTfG2g1deIyuKLkB/zKTDIO97812r3aeTAstJ
R0NZLJBAm7Qm3qNmHPTP6HH3ydpHhKb+7iGXFtMKgBJc7Uo+pfgOuWB0BpDeDlYIYAbIPbW5uS5e
ZX22Lp1PLOvg4OnIWlutbZJwhPADqp4QPF00RbVV+hH6QTSiq/CpzrYF+gDZd838jMRcixBejVhI
tlLRcQz6Wy1xJ6nlVZV+TMv7AQdQqNSCQ70riT6qk6jEplU+u3BeNZ6UiowrNC4YvvrJh+6noEqb
ZrfWCC8KYZmHsju54b6rvmTFJAUDCa9y10j7OplmICijblyUQXyv3KIpoH2u4m2MOGj/xf+gNx/p
GQhB6+TRblBPaQUfxZuIqbfunSj7KJlt4ZfAfyyUF9Pc6uaqMRwh9eCTfWmswygHCMw9KP0RkwWo
9889LOkeXHANVRQTmUkStJQeGv9eV+/L8THq4c3Zmr+RGDa6eBpMz9RBvtCq7hvrJOlrtT50NTKD
5TocdqJyyqR3Q+HtVXTYxgZt7dyO/WSTlTutvQsSTBvYaMYd6QtFBeSgVguHDyfztaNndg0pvSLP
kwmPLKl41GnkN3d/PcKlpvdPp9vsCtJYpoewLVulpdHYYoLz4jmSU9+oz97eeOg3woGz+8m8vR72
tWL1y8gU/MZ03FpUWZ2F9ZVC0vGaoTp5592O5l4cnXIPXXaL4PWHEgnAF+tdhafICiI3FkRr1tTS
tejC5UtXFJPohijJ+uvD9ew2XqlJ15YN92QNis+GtmBxY6EV4uOyuCJ1bkY0Y9HTf/qz3u5PoWfX
lqStG8TxCN1uEadGg3tn4k+61lfCLt6YuAay7RYm+tJNic61QpVBVbnNzJaS7w2e1fUWRVkcwbyo
+gpF/en6pF669p2HmM1pNBRC5nomlzFEgxQBnbrKCDc4vzg5b/E/eIfr59FmT30lKP2uNLg7o4O5
Rrb0e7KuV/4tmkyrwO5uioVX1SXE90/xZo/iVvR60aek/j9IOtREsbQaj+j02gX8gEFYmwEWbaul
avolxDKtLn0iXFiSpb9WU8/WKQ8Cida8JwDcbzYZXrTrcUUfG6UZpLPey/faTllndrRN3yntxj/l
Cx/64sI5Cz97PWgI9EApEZhVMT8W+JGslNj7cH3lXNyKps6q5JViGXM4SovUte7LgbDlHEegub/n
CfsEOHexwrcUaLbxOj1Wh0Yj0HgX7mEdokN3sOjOD3a3Tw8o8XzUb5c+oDx9oV9ynWVIGl7OADn0
2QNi0EEFKCZBkx/ZSy7bEJDW2Q5Tamx81t5D/kW6ifgNaEjsq+d4g2EWuP7nwvn335iKDrLhoFxN
RZntTqmPghA6BuiV5MbDuKjg5sN16nqQi8fJeZTZrgyRrXSxfeLmtTcPyC7azQ6tSLu8iW+6Leel
bA+O+KikC8n80rwCD7YYl6zDPJy9OMvCUL2oaIRtEXrbWIJGr/UvdWJsrg9v2uOzmTQQRCB/ygos
yvlT0PUDD+M0ME0KdxOlzw6pVe6bMT4mLow5X33mmQUjVFj4qhe2IPpQWNCrvKcNc05wFAQjVIyK
awCOGI4ofArzaGGTX8puP4WYfsJZkpG9SrUQPJ5aMu7OhV6+M/fQgW+lYUNTZh1wZV3JXxZz24Wt
8VPY2dZoZT/xCiTICSsh2rjD29hBPok7+6os1+lDul469pe+5ewcxHHDTHKcwLZR1+Fqnol32uTE
dH2dXOpw/TSu2WZLWhNruOx1XBgDZpuGDlezLT97awuXme0S8Gj6635Zl2cLZLbrcomit68STkZI
ylBuRXk4iZPrjYJCeFYv7IILm82QeaaiP6iolKVng4tdQdWSCQdnemgFKxLq6S3ayYWSf/2DzyjL
mkwfW6NBok3L52xVSkmjWWJC7yC0vmjWvYBtBQT2XaklyPLmq9F8Mk3pGMbWOuCmP8bD7voPuHRN
5X5KUjE0EwrCfMM3Eht+1GKBQ19cQ/NabRG7NIZjthvaDepSa8wobVFatw0Kiaun8ERF6PpPuLRe
z3/BbL0KnR8HqYDXn5sMh4Bv3ajlfwwxm0/dFZHrKwjRaniVRJjbKUtghKVRzBZoh/qDJQuhwD7H
DJl+ZWYek+/eDq8RO96gW4U6ydKmuHAdhRmucGmjO66Yc7JcLONsgqMzviQYp00GewK6iWr5norB
9Smafvx89ykK/HPWKCZ5yuzwCS3BHwtkKBCbk793XXybpx76GBVLpau1vRDVh9rQP14PemkTnged
3WTiVBiR8EkFlL4eOiRd3G5r1Uv42otBVLiGhqhLuqjP7ryCnonADgiS5Gg5R7dJuRfkD9cHcjFX
kkf+DmLMAHLoqpdhYhBkYuT1e/T/N/1BgpU6lab/JP0rkJc1lbuChK/jzxllRJE4MCMWRVIH68T/
qoePC8OZfu4vq+Etwnw4xRgMcZMynHCvbZNDtFMnAv0WcVVnIdI0xdcizdad3AudK01jQXxYR8N8
3+x821rn497a1Tvk0peGthRw+u9n6TiLqAHhjiJsu7W4nh5d6ZOwxiDyltLnTllY4JcATMbZVM1v
PUi6YZGjT8OjC4nkyVqKT23mWBvs9PCV26pbSgPiCplPNHKWnpeXEhavS1nWLTQzrHniT5O8CBr8
FrbJIG5NCxkaa+EUvQSqMBSD81M0qT4oxmwp9pZYDwmWrlsJKnv2Ts1Rbalf8vY5yFRcSurTiHNJ
rA///qpMWF2l8mJZv7LdtCYMVCMsBWT5pI2lxk5Syrg35Esp/+JiOYszO7gwiFQbVOCELWKo7i7f
unvlZJyy42AjBr5Mpr90k+QbmlRzDOVXcH5buHlClXzKIuoB/oSN0Nf9m8TJ0uEyTc5871FIMXQu
JnSF5neg3jICqVZkAQ1dxGNFqfMPHi47Tiy2Xyl1izh1IR7WZ359kwuWu1A+uwSqMM7Dz87TOnHd
znIJ//8HRWpomkQjXtU1XXttL57t+lIbymGUUU/9ix45On+jSH+PIHnpNNWpC+qmyalNl/fnJBNi
rYf+GhMZWqcWfUJBx5MCi+YCnw1kkQrr0/U0uhRvtg1FjEgGGRj41rWQA37oMHNVU/OuLDDcet9p
8ep6uEvVAONsfOb8uMtyRdRqxodYXbc+If2OxdJeecr3huNvrbX5JK098PvWGqk/3A5vAvtpafVe
ym66wjtdxZAD7PN07p9NqS+r/mgKjNnCQzlDobbo0n+PI2SYbyFm2z9v1VrxVEL0WK2oyOxEYbgZ
sXu//jmVSxsRbxlN5dEvacZ8daq9nmZhPn1Ov/qMTfw3qfW3RVfFG8OShE0XJNI6rlvN1lT9g5kP
eyGV7CZAmM+N6CoNhdRuK6krV7HZyXar4HxiiP4Hyu4IREuhUxuG06XlBxwN9uMgfgirymnzAP0M
DWnHIH3AICKyTVQsm0HUVnFkNmhtal+yDk8wVQ1Whhq+FxNZ22gNGT7rqoX1e/GcPP8C02SfTWbo
lZlnJXzp5jBuR7t7lD/1/NPaThyyN7rLb8DILm4dFbt43aCq/EvVxaQNN7gp374tkEtxX7CSQguD
WixyV+tJSWEwd50t4odj/wYocSn67DYiNaIeK1k9jXsK2z8pymbCJ0XMwhavQGyh7vSVCu8CsqC7
cHpfenFzhv4z9NnLtJek/zluooCup3Avtnex0qJRuJs8Na+v8Ys35PNgsxk2XCE0q7Sasv1fBHXM
bW4TCNy/IyR08V5yHm2WHBLTr5IKGWxsQG6F2Nh6nUWH+71o0qZ3pZOHEKaGY5qZP//HYc5SBv3o
HGAny0lseW3La/E06Zv8vv7OpSvD+UBn797GFU3Bb4n396qxXfur2d9iSmVjnemE7cP1ES4tmtnR
1suWbwYxAeFLjeloD8hd4iW+llu8+qTi3xMwp+vXP0t0drANeB2pmOURDblq/PYOiJ0hlKv9x9U5
x+mJeuGqWcKoqg3PQ/iqto+Y1ofKltaICWLosHSETgtwfvc6G9ic4FRV4NuoggjbwIDFB+5QBpXc
Cy/XJ0u6eEi+fT9rll+8Ti7qYDqop9fOlNZiY8K2gYDhQVeuTMc/mMbSHpjebNfGNssrcR1aSW0x
aX9TdkBYHKaL1m/w8RfW/xy5N0hWGAwiA3y9ibTH9m4iO1u4I2/kbXnwN0tJ81J34HxJWrPU4g+W
m1gCERXODFvUISqyxcV1SyXNW8urdG3ZeXOUnca5PpkXbwlnczlLLYUrhk3V8llLQattzWxwMhnv
Cw98VhLu+Q4nTfa2nZnvrsddSt3WLMdErovo4nREDjv1kMinFGi3fpzeJVl1qndLNQF1WpT/j7br
2pEcV7JfJECiHPUqk8rM8r6qX4RqJ++9vn4Pq/dOq5jaZN8e7MtggAI6klQwGIw4cc6p/2ga+gR4
vWr8TJtlEAzss4WGBhQuJPRkXaVt3+NRfSmbbK8U5o847q86c1zQZYZouKFckLl86dXuuTQySGzp
+XXd0yutjR4kKJMp8eAVlf5QVZlXaYq/dI0X9QFu9zJ7Q0ls13fVVVBBBiqcbmNL2Y8DhRJIEdup
SvaFlVzGan5RNeMumakGWU1I9BbmS4issB4Bi7GK4uv5Pd/OC/7ZAn7CjlHX5VE14ggNqTenkA8P
ndT6wfSB+9gBHvFw3h7znTNbrnNlGIsEkml26D1VMpBL2XVYXszku1WK+JD+D1/6vTAuIE1tWUTj
goQHOi8+NCmyHYpLGO7yQGa7B8G/CFy5BRzFcf1tkAtG6DZ1Q5FhZeVSuOjONGD1ZWoek99DqmWU
vsn0CxRUYiXzoLNmZ5lgZ7dXDLIzcHyi+KjwAxJ44FpJNbLTc9d76m64WfagEY6d8lC6FYSVBVFi
82IBt6GFHiIKCTzuvY0xbRzJODzFYEHyLoOuQR4jhSwM77zLbCYCvw3xV2Yethj7BYPsTkX/OYe2
5FAzCvKkuG3U3XlT2x/R0GVCDRnlLJ5JAznGNJvTjNsSgn3e5OYe2LunvfkEzVyAnP62FmOsTHKZ
h2zi6UfSAReL8azGT3H6M9UKaJEX0PQD/jKt3RFyjeB816E8nUP5Blq9L+eXvfkpWQtORqXXQlUe
h3b1KArixsoKuiDgF3d5i/vb8mRJc/+dEZZBrIzUA8MGp7IEMje8NvQDQWuKCJ53mwsB3l3GGVAQ
z7kLJMzKyoLyNXySPNfBZR/fGuTb+WVsH7OVDS4vlSGQrpn1hJeU+ZChas0ejovxyCaF54P43bi1
JBP+SDRg33Gy2d9X26aZgJYaFsxJKFzPwU8QwLsZAFCCVbFPzMfltRn+zq9LuWih7rKDfpLTm/1D
o0uHoIbMU654Wavuixno0tzcFWqku5KS+VJrglkR4gH/8pdw37AoU4hyDXBGPGyQfUSe5oCd300d
KHQsXnDxB1w2W10IQNYNC0kAiNP45hdGc60xqOh/inaQFQLTBiTtXVEpaTO+rCx9PCdXXzNrKhqP
ifnL0n+GzKEf5PxZeXArdK7NcbctsaBIWoUWzJWLI4Ng1EFr72fXYy6pAwa0U+vKE3y+rZx8bZK7
dyHNaU1zBpNg3fzPBFtf/ykr7NazY22Ni1xZnU5lohlY4AzGJfbyQEEDRCK72EnKW8tfrsTV860T
ubbJBbJhKXKlnPENQ/qa4yYvJi+aX89vo2hd3KkPtZCQeIKNKnvLQ4iliqarNh9s61VwB16vZnke
clgYP8ibMB3UfSkdCAvdkB2xu+EG1HCiPtHWw2JtkzvahlIPoxbhnEWgKG79DignVG3FfLNbwWxt
hwvR9bhAmy/G2n4V/GuQAf2nvVEc/+BUM5/mg+faHneFh0tlzHoLe7MBLiziWBeMC5kpqflsFFb4
MhTY+wBirKKIJs+NZA2w9zesZgJX5AcqwzyRSZ7ho6XmrQYlLcbFct7ZN6/U1f59jFiu1jOr2WwG
BUygNDrjDP/aP9SyGFevuBjKPv+Zz/XRdFiZa3PFzBMNIUrLXmQJ/cSs3anxC9H36Int9WZ0/+X6
uIgRDLoRWxWiVD47GPtzCxliZH4IdvrSbbsXMcRJdM8QLn50M2QRF7aj0eXgEkcBhfU/U+8gOBIH
RZGXcOFEyq3ETNjFJunvE8T+JjP6t7vIRQ85JHgKqNjF/w+v50LIGJaL0ShYTwXp7kS7CfVWkOgI
rhHCBQ0zr1t10WEhjfcjVHWsaZ9h/vS86226OiqXsqlgcAH8Jp+zx6K3mgFIT7ydQghpaMBgEmge
1aUeXWQyNOqSLCZ3+ZgIGk1bQ9HocpgaklbVxLwA539tPuXUUmHXvKHH7NDu52N53fvDXrlLnbK2
4SAO69xB9OpJ8oktdsjtI2DIFJ0rjGaju/Z56emi9OaUxaEv+9CX9gq3xxy2B/1jHLrR2onBkpsf
dGWQWzNYajON5mEI2dUjmHNtuXySm8Y7/0HZOTqJXSsj/DlTQwtvRWwssLQKE0EbIfsi22Y17M8b
Eu4fd9ymqKk7KEqGfo2RQT/eE7ILvZQxqPcYZceAlHiWfvsiWK2OO3WhUQ2QooXNCaMedWinHj1A
Ke7XqEcPCS9fsMjNm3RlkDuEWa3ni8pEBFmV6KMX9k+VqDn+QZVI4CMa18+GhqAK6Bjs9fObZj5h
3LfUBG/gTRgmyhf/cXxedqJq8ignETbR0Cu7sUCpt2Q2jQ6Dcuw66JXKPojOMwwsWlD2iUs7B+9w
81UyXzqKIih04zT9MjVTu25Fu715Sax+Gfsaq4tXBxBWiVQcyV/T74kL5WXATt48FWI34slqkTku
+AFwYsS0jmBuhu5lSgMbiHMRmQ07BmcOpMaFGZVqYz2W+KJMporS2clmNAZo4JcWstu+F+2hwGN5
NEIXBl0VVVgUY3OO6DE4mE+ji6WZjmwX/pIIAs5Hfne6QARyHVUVKsvcG1IbIK1QTjA4OqOnXM61
XR6jCjPxsQMpQDyVx53q0F2+YyOgdlLbmHQWZbyb15jx+zdwjlPRFkIEUYIB7OymGI9dlt9BDsuH
On1Q34StaHppO8j+Nsc5DoQIFYi2wU87VwGV+rdil/vyoTzMwxEVXaYBghvLMRNfxKorMsw5U9Dk
JommNPTTEpKryWMDDPcEsbyqld3zkW/bbX8vkb+soFM2Qokp9NvgYdah8Dn8jDHHy0R8h+D+vK3N
JjnmMf5xIe7SWkAZLzcqPp+MtZhoz2nzVRx8yzC0uzS5XUk+jSMMvHw/b3fzubkyy/ZgFW5w+Hqr
nNluFto77dGHTH7UEOSwygdI9Rax6ukGEYHN2Cc6d1y4K8yUpwXFvI/jouwgB+u2M6ZDanfyMHZG
7eEJA+5fz6/z/7g2f+8vd4sZUKLC5D0+5t9K/7ADcLJIcECqsoURG8IXzEifQ2Eek20+a7yO179R
bn/Glbg5cEN/2+PLZooeRe3cwx64WfCciRyaPg8X4SVjigURCDArbq9fieDP2/u6MsuFPhLWNFQW
OFACzROoQi5o1hvSt8GRd9pldEzNvwKvrBfKBToZkn5qaGChDD6oX9bOZDPwCqsOSsJq5GYMsNDh
+7CITP3z+RhqOZlJyM4HGInCNLXzGhm59Dy3l5CjFPjo1rmwGHMXAMKmjOnMz8YaOkd6pMMYeCP8
AHQRtd1h/nNnuKy/q112i19dCeutW9XIlVW+vQlRojSCGvOvy2u6LHbTfnCQv152vnk4v8KtaLM2
xTkLRA8GK5/w6WLUxOlY7CwoZs5ZcJMy6g8p8o2+gDpupr+ct7uJkVwb5nwm7YNoSJlhzcf8md1+
ySGamtvkuf2SuOkTSEkYYkB2TcPJ3zCq780vgWyPL6ngh2y+GNY/hPMnosgTRCNBkwLZFoS++Bi5
KrhekL4Dfb4DZ4uIOmcTIrG2yJxuFeGlrB47OsAim4gznGQXIiLkdu0ujqd4sQvglaeO9vJ2fsu3
snig3AGCNIFHR8vgs1lr1rNSA7GCr1bRc9pgLr3+JoVEBArfirIWY7rTDLzcoaD12UxbpBNRupal
IYxfv2VRD5xH7jxdqA4U5Xd59np+YZuHlBATPGaoGQBo/9li3iWYtJexnzF5VIfn2hCcka2Ig36x
YjAMPwXB0ud/H7M/VheXHTYueNcoZGPDGBLy1i7UQ1v/qxfs2hqXdswAqvaZVIc+uWLcc6bshsde
c2PH9Eu3r/+kEry9gb8XyHmGNsZLV5Am9CUA6wnGtxQ39dizufGaGvWOyIuezn+y7VO32lMu4QhI
rhYypjRx/EGP8KrsQSPSSrbqz+CCSECC9zUO3PM2yVY+vt5ZFgtX5y4fpbLIcVvg3E2QGLc7Yg+H
1qn93In9YE8f0x/1E1AvwH5hMgl0LoVtJTZm165zN95RJ7kS3ZyCjVe5h7WZS+FCRuxCqeVeay2A
4gjHtVkg5bMeSzVYExZkHBhG+bzqpSO6FtY93pOhxyCX/d20b8rjL4TF1LuiG2XrNbCyx68JZfd5
mLoBp0V+zpULS7u0khej2p//mJs793tV/EBeo7UpqlZYla6Cjqi9jZRQ4C6bedR6IdwNVYygBu9m
LIQx/Zt76NTn7ywjZnB9yAYr7+dXtBllVivi7qHW7CYzJ4gyC/xOkS9V+tDKuyF+XEYR576yeRJW
ttjurk5CtqSWAlpllrAZPjRQnorXAZwFqBkXH4Dc6a7HEZighr77q+LVelu5aNrIBSgSVXY/lG8g
v3Gn+TZsC3dZ/KRBKy8e7Fk6GNUByLVEfzi/x5tX4GrdXGyNpwV6Gzr2uIba93SQmmvNEBSyRCa4
WBrNQWyUI0x0+uUyX42qFxh351ex+bBYbyEXPKOE0kZqYQO837oNfWnX+CVEYXqR/iFsGAGhKxQ2
ZJHiTCT5mNNYeU0jRROwq/Aa0td7M4ju2rT5OuiLsivlCTRKybGvzWkXdySxBStmV/gZ03wFkqRl
X4RsV9sjG/1iuixMneuPMLOCgMlXIqGxq46UBTCa3zKozFhh1MByhvSBjeqIa/6CUPaB91xtq7mk
mq7G2Nahb1+SeLjPArqINnAzKwPxIXiYoBCOKa/PJ14jwxjHAYzwEDHGKP1HELGP+biTb7YyyR02
xUQpo5LwzTSCYfBR9/q+uCQluhgElGl2KXW1V1fG6Fid8UKDw0TUF7UDtbap+XpWewRS7ox6D5f2
0YiG3TCUldPT5RgYSmInen/ZNfFtLmteMYJWjfRt5OhBdTk3w76VFZfQ5ikYqtFW9SS2J7WW/YWG
Tz2lup3qUJlfSI7hGdXXRhBPg/4sj+qLEACTQFme9bEAtHYw7TrXLoLQ+glNLleaSGznje60ZbIb
IGcv6cNVFcuHbtG/yGVwSBeMJca57GR0vmQjRNkUGCBo7DHDKknHXJIey2aW7DmXu32LIGfMmIBI
Rq8xC0xBhI8RRXc1XRp7Ko2fRprtrNi6IVkqyGi3Iwh7CFBNxxQezxcaDFkoFdGMy6a+A5EF5qGU
XZCGXtR0TtUNbq0PbpiFNklSL55uwkzzmmJyiHnf66FgiGGz7Watfgx3G0l60oZxKrNckCHGbZBq
fkUx/868GDpbcsgjGPTqR1CgQw9sIbv5IcUr4m/egRToSeCpQCiBpiOXJ41BVBgDVUMfFKps2Cj7
9g+FavhHc+obN8XaIJ8oTWDwlcYEBtVpp/QPunKMTUFHcyO0fDLBvYzKsKBlTtjOdrvZKt1M0rzz
kXkj2/tkgUuS1K6EnEAGCzKZ7vW48MzRvAmiCrgLVdRLF62Gy5B0NTVjEmHDdOMmCV6qIv+LKAnN
Z8iDUpkR1/EvPQkJH4kVrAaSdK1Hj/T915jZx5gmlCfFM80bF9sni1yQjDV97IwJFlfAs/+FkPwB
ZHDjavtkjUtOimjJrQCpMmod8R5tGEb7bT2x1gDO/B+0YbZy6E8GuUxlaYH4thYsb/aLw3QAm6Q7
HUeMh/8J8cNWxZ7qqgbIgEUxdM8XAlCLGNtYgzXF6A7gAXNl0tg1+UG0r+boV91VCuFwIuJX3DrH
a6vcEYhmFWJqDaxaQWtL5KtheJgo3Z0/Z1u+vzbC+X4BHE4aNwRGksu8Wmyo4wicX2SB/X2VhuRQ
6yizEsvooq96egVNWYEB0T6xv68MRDHCa02wBLO705e3pLnsptfzu7TxhvrkANxp0pTJGGoWjdIJ
sy/xzxjInuXRkPxkFuTgJy8okJDJH2QEGihGTqT7lJH2BSh4I7/PBsmTliT2zX68twI1xITxgPpw
CO5fQ9EKQcA92UVmGOzoqK2BhuZEUMKKNL1XBjXyR7mwQUpjN/W32iL/7bdiVj4YAQiVT/UIJr0P
ilnXIz8ax8cpzp7ToPdRJRfcT6cP0Q876Psj1oK7nB/HCIYc80QFysyjA/qZNLP1b80h98B2C5yv
rfvtYTlmKLV7xBZ32k+8hRkHlZxqQEQWTG9cNJTioKZktCK/sdCVrcbeHZvgZxMnFKTNyluIJO+8
e56mXZxFLhz2oEEz8wYWGQVbbTqh5TJhnAk9aRCCFBbCIunsAvI1/nnLH+Mmn5JxZhkkJDoBqEo/
gTaVBjZfMrDR0jDFfl8bNhgvdlX0XQYDEWiCcxBNxvM1OPFf4lS6TuX6Ro7LPeS+HN3K72SJPsR0
3lvGdBNY82VkZheN1uzMCrEITBmJUwfJHtLnj9VifdVSUEgOVfUSzuMbTXIHvNd2bjXoPxcY4JZI
7xpK7uql/IOmP6LR/J7L4PYK6L7rZlcxS88KVdVRGvORmD1y1Et1iEBpLLn1UB+UUDmaieSDkMwe
UTrPrPpSyjEpZdwXfeVEw7DH6/gO7Gap1zVp7xZpeFuF8h3RA9CAJ0eoLCm2nBBbV6bbicq7MImd
Wn5oysCdVNBBmMHkLPNyMDMTjMldazcZCLb1cqfI3YVSYA6+AWcLRLCcfoFMRz7suhJCaJjvvZ6q
wdH1d5rIjh6JuC23zr5iUJxLVO81nJfPEXRZBnlWqzL2KVhJl7oBEK50DLU7nncWcnIVwFnWdriD
seQZWA+iKkZCPuIoZnZ7b75I14AHIyfCeOOD8fZNg3ANfQV3eMSKpMOVZNjlzX9dS+R+CHdeFCDy
lirBD6mTYyxdg5vRUdrGiWYRC5ZoxVzyX0pWTrQMOzskeJ4uszP2hiCkbsa61a7yrFFBmqRthEeh
P7X6oU1BRJ2BnrCcdBmunw42QCzNlUZCUDwt8k3cmK8kCJ/1rvJIVlyPeQYO43T2wq7ftfngl/1/
jVfBblsysD/gD0XW9rGA1QWthkvZxlYQ+ympjrR4acLvJL1twtE2y+zKLEWcl1vuvLbHbXqhqWPf
JrA3Ne37GJW3oTzu80UWAGM2zYBYEFoiiIEgRvp8aipz6fumgDKqUT6b4y5FSEsnUYXqFL/GNm9l
hXPVblxmRY5gJX6Obqtd8aDu1V0EJEXua2+I6c9sQAE85oizoS3GTm85MIhfdaLJ0Hw5wTvleTYv
qZLGviLljd2F1QHrFKBEtjYS0AlLB6mUiluT+1494oKkprAh1d2rFZHLoAUpYiZZAjubawH2FYZw
K518sBpN6aiFEAQy9njed2UYg2QPdPPno9y2FUYRZ2m4E/kRtanpzDkacOTnsLFLQHtSkQXmWPyd
q4CDC0cKJRZ0XDnHa+qplU0a+VqCWzJQW+hfDI9NmN3FuvwdZeKH8ys6pYlh4XJlkHw2KKk9sSYV
BuVjcTtA8HQP1sW98gKOGBCuGgT/UR0Utv5mmIQzzb1PwAARZ4sC09Nr4EcO5BmvWAsdDL2+GLO8
edjWC2XfdhWpKgOHYJpgLTk0BwAEvuT77rGC7k16DFzLA609BuGQuH5BzVZIyrd1DMCMivwBM3cI
KuzvK+NBp9MI46jIjZXeglbK8tLN3WgHBhWli5sOtLLE3fcTGUdofMISE2M4EOi/ODJaJE/GAYX+
d/O4XCXH+q3DyN8wim4r9sFOnBeMjRpqhKqJKc7Pq1TSxCAzOt2+JU3XoFG5WagxeKhiqt7QI5bm
UH1PwaSvqfTRSPsLENRO0KOQDrFi7s/79SmYkzkXGFKBP8cPOUHhKJXVq7kexR9+XQOYFtsMqpF+
iW7Me/LWeJOX473g03tQGFu3yZ2wabUVLFa/gEfkgF5ryo0Cv4D4xhF0tIBUMfcuDwteJhWkC0Sd
4U0n+71knYsdk2plxtLgVRkN0gMeYbg7ivRHkMuhIAyye+n0O/+ztzoXM9Jo7K1BivEmmIgzoLCu
BdF+So8T+B9Af233Ueue/5yipXGhgpbabIQNLJrahJFqkM1PT2EgEvETWeH817KappVMfLFYLd+V
OYO2huUZff747xbDBQNZW8o+UbAYy9jT1G+6wF4ikQ7tKRcgOwC/E3+T8walTbuyAFGBr901B3Wf
XsXARkl+cRQ73mk1ntmyLA1Ut2BbP6E9TJVojM2+jX31pvcWkLsPF7VjHHs/OASRjbcVTlvo0NfG
TkGgpKh2v9cFHsLiGu+TRCYYgQEhNFX4CJsasSplEt6pKVX3cWvrNRAhhgGVGFWk+bAVYtem+BBb
ga0GNdjYz+PXngAjWXxTrYcuuAyMTBDGNlelQNvRkkHIB3W7zxEV+vFGajG/l1L5YpHK3m7r+G2c
9dDVF7P5G2tIBC1FhimL59VAqSU0RwgC+FX8lKWZa5nHLGdyX6Kq/NZBA3fBP4a4HQzMxux7lnla
WuUrEVSom+w2Fp5ndl5PfAJkrRqQLPopCWCBlk0TpxoicEILiPsUu5m2g8DxttaigosEShx4AUHa
7vMnCudqiSjczzfVH1JU2XPxNqWm6Go9GdzHCVtb4UKuosfJaOU6dizLQq9Mu8otosLrdYL3Fk6d
qfhtMUAdLvDHPBGNM5+KjTDzGhocMibMsFY+ZFVqPcRIqv3htXwnx3DfAgCFlsCzdNeCbqazeze+
ZeRoyDpET8ytr7i2zTlLVWl9RVPYbkjkNM1Fqv08H49PgWXc6rjXXlRUzTT3sBBchaBwBGxHCW2M
7R3T7x0A15lw+uG068Ason6omKCKVQydu89KqQqnIUVwbnXt+1SCEC1SPUOanuWGHCcoFhIju4yN
PoEwgNIJru9NjwUSGsguDSMtPKgzo+oYmQqMx9AdlI2XMHrvo6/n9/QDXcGfPU3WodyCNAwHg9vT
MKHVqJpshT8Hxc1BHqC4aKkPb+QL8VVcrfSg5UiNikskRy4TNgYNZrUPoT9PHtTA0wH/pDfRvWaj
k6s9gNAoVp20cbUb+bU9/NEc5dYZAxkYKIX0D1IczsmzDANblo7XHXshlJg36nfVtbYX35dbH2Bt
iPNoJaNJMsio6nT6z6Ayrg0o+KaW9nL+E2xZ0SFRYCD8gaSXJ8puq2RYcE/hCzQQPX4ztdwOLFHK
tHU4dWiRqoaOttzJfESpZ7mmtmbsF/WVGVGnQHXx/DLYZvCOBKZtDUha5BaoxXyOr1mhGSM1Z2yW
1CNTN4lbpgqwz5jqkybBBbi1mrUt9vf1M82qormXYatue1vRHnsR7Hjz4GMsgKmuoihyQsAihai5
ZJESgzBNd3vpvpFGuw0sN5/fUxSil+WmUBKHaJ1gZXRzF/+x+/G7VivLot7q0QnHd1K/h3W6t+IR
XNQXmabbbpungm9Gtz4a06RWVUij6rjoP29k24Q5pFfhFlNFp69Wpc4Qqugg9rnU+2ECp3E7eK1a
VTaVSI7qfY2RO8boLGVZ6uhFBVhxlbQeHjTE1iS5O4zNMGByY1HfpbCsgPxrUaaYZhAnVGCjM6JK
vqO5rgKbY1VvaBn2ttYki23l8uvUtpcyCV2MLLROPwQ3ZCG913WYc59Cw86aZp/35WU7zfdFihZp
EofXUlzh9RQXjt4oaCZ00Zdcm/GQrr9NavLS95Ef9PGuk7R9qcQ3E8lulnK0y1R+NCqIrZrlPeA6
jyVqtUWp3IcpyFPaUUEGR/0kMK4sDKrbYAounHhsdkmb7ZPavAdpv1eT+XrspwtpHEO7Hvs7TB81
jjlpV0kwvvTZ+Abqs+MQ6KnT16VblunF0HePeTv2u0GL3mojDQBCjh/PH8KtWLL6nrz7lKUBMU7V
wmu6nZ40M4rsaVmu045Yu39niMumJr01ynKAIUrjh6AFBbWaXKmRaJZ1cz2WgacK1Fsw7MmZwYeZ
gDuME18Ox2OrlC8DSXeyjvHh88vZOnYgG9MwA4DeC6rkn89B3rZtFJgUAWXuv8sWuBe7LtuRnqLV
Q8tvpiTn6CjRu/NWt8LYukjO3b0WqNQ6Bir1IdNxkUKtVgGb9V+YWJWuuYXNXdMM48JK12b40knB
tVFikPq8jc1guaqP8whOvU3nZaxgxHwYLtV988JKkuQyFwOMt/wB4ZgS3GUWnj/s76vwCEh9F+Rx
nXyM1yhu95CgNeegq+ejGolZhgTDjKIR2A9kEH+zrY2yILoyajZZlvVNlfhh9jHsp7rTXt/X4I5Y
rtWL4DDfLEcZI8fxK4b+9spN4OS7EBPHpeBu2Mx/1z+E85daJ/PclvghjFgqxi8wbpV7zcW87Afh
cWAJrofNttbaIDs2q5UzNciB0jLx85/hu4yJFeIpdhGxOTmwxfg5Qmi2a1q73PV748soxGxtHpDV
5+a8N7ayKlE12A+uhsjVdwy1V+31K6i27qJ98BJ5//18HjJ+0KyiToLKqHmSjdWURktTw8OYZBSb
sZxedE/eMSrkRDROtbm8lS3299X2mnGZL8XUMG+WbqCpexVi4tEpv7VQ4LVzNzpaLmlE35SFTM6b
TejI47pXCGNC4UIqaLqHaQk7HFbra7eAGAQo1lDOfGvMbGlAjz2FZSh11xYGy9GeOR8rNhKOT9bJ
5yVTJWnrPsKSpeGVNCO6njFkm1lwVQULFVlSP1sCq+lCe4J1DnkLRW8gTroe9M+t3YkS+K3492lR
3HfUgPBu+xmmGqSkbUYK4JPocxoW6VElUEw3C78j+ZcEU0o21YBdO7+nW8f0k30uKrbAM4wKbVlc
wBHFWB6bskTiDeXt++BymjH0FO0bZ4SgFUDPoqHkDS/+ZJ0Lj1kEDXB1hnUlvI+C2Mb/ChYossDF
vSBMsjRSYYFiRneor2vrTbCDzO3OHQo+0FWhREvr49SPH/SOkmkPKC0wJaboi3p73tzGLfZpx7iw
ppYpCJ1j+AskaR2pkxy1BjNH9/O8la3K8toMD0IG3VaeGiy8gHjYHhrDTrTFo3N80OhRyzovb6/y
BQPA2gXyEMHp27qrMLSpKLik8bTQePRXVchLAQ2mXzc1o19X96VjXg8YdSw87ash6CufsgfiBb2y
x3PyTr02S4Y6sDPAxp1aoF5vKTSLJqc9gBoo8Sw3Gg7nd3gzxBgU8nSyBpXDj8RhFb/TxTRrao24
Hqv5KSVMN2PpUPrNzPeApsQ/b+0UcMuWCBZZy0ILVIYY9OeI1kZjEqqZnIBUob0eryJ3sMcdI+ps
H/5Cae3DGNqDYKoyUNLmfLSiYZIXGoyhX+DLUf4QRsGLYEHsB5+cOuBRUMlBCQpd188LSkgRxiX6
Uqii1bkdx4O174Zmp+R4SRnSRZ4YzyTIIHov67VbaXiFaWVlJ7TPUVfQBcNdp6PbbMWrX8NdTW2d
AA82aolfZY587C6rXfwF9GC5DU15t7FZKat//APuRNEucJ81UOukzHvYHR3NV3aaV14ZrmbrR8VL
3cIRZjgieyzarry27utkGSXsOop0qBCr+9xPndaNriUfI9yuIgh2m24LvL2GKW4KTTY+Z4/CqFHz
Skdf+YrRoaLF9aTZ0pXkdxAItEQDJ1t3xdoadxuBhjkdcoyd+Cq0ECI7vzChpAfZzZ/6Q1fagQ8m
dEdyZqhOaJ7xoOa+Xjk5sRn1W+UUYkKArZtl/Xu4u6uUlKELDPyeOQAuNPdKXzsEe8UfMsiUaEIA
w2YuAgUqqlMTbHfoMn/+unk7xDSgBuKuVUMB2Ewv9RD0Fhl1lGLe4XT6UaRfDApdHHPJBBc1Wwx/
oA0NxUqAnxmvBme8S82gUdIRSKXCgrqSeqhaerEAlVKG/aGazIfzAWTrHoWmmcpwzPSUJbkHfTDB
VCIa6bVuL8ptoo1uqr3/hRHwg4CNHDAfBIjPG9rFPahbMUbvL0p5g6l2zW7U9qKxekH82VzMyg4X
fmjRSVHEGqNS9bg0LwGG27JA1NDbahBB7un3avgvVCgdiTKsZnrNbtvn5lF7B/+QDOIDt3hJL0d3
BKU78BZfisnOjpIrAitvXZlr+1zwSWQ9mqYCaXLT+1nyJqU1xipeYyIq6GyEARRt8YjDCQCQ5yM9
WQc5qmf6qOKprIJvDQPd6v0EzP55z9i6MT4Z4RZD2kGiQ4rnaTfEP+UZVSNdxdN4wBz0VVBYBZSB
5HtpHG6I2i62ms2BXbRVbqchvUiV0vTKpHkbQ/k9CmUhJHXjLH76cdyjwMyH2coj/LgapA/hHnGP
odFfUlRLygNxgbQ9Ui8SyvZuJWIU+C0NCpWIAiddK9JRJc9GJOsDxLz6ya6rXWk4xlsFJfJ8V+ZX
Q23PL8JbbWu5a7NcBo/qcKf2yccbiNVGSOo1WCq11ZfArV15V++61Fd+EExr3uuCPFC4Zi5ZKoqy
X3ogGT4KMwyZp4PxG7Qehr147U31lO9ESjEb0YKyCgX2mSAT5NOzsSuXeBnZk7MJ/AWvWqX6Vpki
Ae2tUwSOfwxOMlMy307GaGhhxjOS6rZariu5coDv9wSHiO0Nd2cAp4lFWIAZGHgsfI6vRAWlzBiC
uk4+Bkc0rZ3Rb58C13wCyZTXXhbMbVxQfx+yJxEWZctn1qY5n1GiKUbzjeKBpFS1TcOwdIAUJU6D
6V3Qxe7MsRHNVG59t7VJzlOscuk1C0qnvjZUF5FFfS3K/LaPBc+hjTCLrg5BG05WYI7PrE3J6gIF
Y0p+334z8cAkYeW0hWInQS0IglsusrbEXVs6FBfb0ZBQHE36p06vX0t1Es1GiGxwl1batpWWJLAh
Y/7DhF4wHrSCI7zphQw7QSyKvjKPf5aKKoF8UpKip8xAE92eEcH/AZ/sRu8aE9kACoGqTsO7kYvK
yRihGZdGqV8BmOdrWX8fqzQGXc1ybAPtKoiTfWnNDxgmQM2mMF4Fh23T40GkRDEYTvBq5ZKZPNIl
iBbHALO57U/lNdEcxY096soPwQMabrtfYkTNlRBkKTLMuUkzaqVqaVg3U4OesMcGcMTRzrz+lh+S
feXryL7jGxEk5ZSJDLkhhkbxOKcsJ+X7mwbNIVcW4xxA5fFa9kCCAnTnTXBX3PY+UyesXUQXKDFm
XnGd7YFnvhJ1D+j2yv/5CXxLzsi7Yg5jbLlqZjuaRCl0rBbAVUjppTNwrR3wb/mo7/MYCK6I1YMW
OxzQNuwiJw+XY92+GGZlo0zk9W1royQO7bFrsPLtJKUKUdEz3NLMj9oY7EgwXJl0ekewPVigROjk
5D5cTFsK6heaG64JpL2rNQaee6RUnMDIRzeeXgYZ00YDZBMz7ahBorueOxfVYLcsAP8oZrvLagcA
psLpZcJ0O2q7BatEIDWF3Sj6faBgoE+3yl1XUIghgie0It0xi7+RJLQtPXZJRVDHlq9Kq4CCg4V/
RnNnPdnhJDhKVNjA9EBVSHcStTz0VuAAn2x3IMpJk9IFj9xBjYN9XdUIy81OK8MfctRfIO9v7GHM
rs1s1O1KC7CjQnDyZhT97T0fBbZVEvk/pF1Xc9w4s/1FrGIOr2CaoJFG0eGF5cicM3/9PZDvrigM
v4Htrdral3Gp2UCj0ehwTtLVvdwbsJ5IDwCj4Eg65styp87+ohCwNtPXJ/RKUGs1RYBUHJCegywm
PWJEZ6xFR57FgxnMuxKV8bDUYyJX0Ye2MmdS6OXtLAd+PNV7zMXsrruJTb3x2sF/oObFtPX7Kzkp
JkvrzQZeQndnbbjJ+oA0fW/ngfzzuqRNz76SxNzAi9yUZqJAkoWeMVULXsKpfbwuYjM4w9w4XsTg
swMjNaNNFillL/UV9XmAXPMKRxGJ9jDY9Z6e9+YU3vEy4lvJT8oeIVvo50ETCdvkWk9ipZUdAk6K
RtY+ZF75TMNBFAndtiDzjidwaxnX8uiGruxHHdJMVSbAyTfZl3n4UFrcp85GGoPCiSBGAyURakfM
FbwkWV+k6ZAiqkeKyjaOyxFXsZ3vJz9LCW82cNNvr8VRhVcKFVXaJIYBhTQyurSiMcsotHa7Ejnk
B8Vf3NxJK0e4KR1xF4Jfe971x/iR57u3gjU6MKdKYEg20Ibw/isQWfVSWImpH5b9nVWMpAbycjdy
YrWtN/nrXN7/i2GHB5NBDgODiqm+oUSVPOW3QuSoL+ZBeb2bw711Hz3EN3Cuabf/DXKardgHeTkL
bbaGrFwk6Moe3EGjVaZ++ZOWjzIHtJreshv9Epmy1hkd64Wi5mX3occbo9pKDqIZ9002Y7lpOmuY
pMLh1EiB65G2ojvy3qrs7guAJPy/ikPW8hhnoOHdVMoadFV989Cdm8fsrj9RciaK+frKCbuTfsw7
3vN0q/P+nZ6Mo5Mn0IRMVf4rEOlvA18HR/xwA4RQMInVzgDAecxqo9xkJ/ednzrt0eI49c0ztVad
seYgVU1hSooUj9TRTTHBiDphQbTjsrPc4TD9xD4fAIboBHb8MmKODJ1Ydzwg861gaPUNbDCkKlWR
KRO+QQ61+1rvDzhjXl4qgHmKT03Na+PbOsBrcUy4C0xRjDr3dNWN+rZLhBu1kj1jaDhTqDwrZu/v
Ii1zK2uglrBbPMOr/WoHksRXKJTY4ZETyVtviLVWjC+29MVqcrDS+ZgG1SQS3L9uJaLZytXv0JoL
pqcoI7QtVvCRwzsrn67fqLxVZZyzEpRjCLxNPC6bb2CGtUG9pwsl+RshqoLKIVowL/LYU7gAdciA
EB39xrWCYiy6/IqJlyfcNsg3MYwuNSY6akOD/yk73M2m4MwAM5uL8Kmb8s9zlXnXtaLujE12aNab
OOb5R4v/4zxDnNzFqV1X7U4u2oYogob0VMMJK7eigrUw1rfC8inZDu7sBhPoaUF68eG6Ov/Drb3p
w7jTJcusSpOgz+AVT0VJJpnUL8V5/Fz7lpvvjc8AdPKDOzpJV0akDgh16rxr+rVl5dqqMs7VUErd
SFvYCn1cdufWDs6mox0zwLyBm1r6KblofjjGHhpbXNPtP/AGjejfZ+VjLJWyfGI49KKLVpsxr5qh
Cw6Tky0Jqq+9copHEb1ROklN64ApUPf6um/t7Eog60atagIKBkgMfHQPncWuvx2XiVNI2zrkaxGM
60QflGFME3RaJMm2YESy+pCYPOgjnhQmLZCi4UiaRkgxrC+T8JQv52jg1FV4a8V4S2MRRG2gm6MV
H9PgOew49c3NM7BeKcaFmHWrDoICAaNt+sbdBKhVirJc3KS31VMEmjMaREW3wTcQ4AAl2zMSwguj
ttzK+hMYt5KGA7ivFGxSa57l8rtS7QrVRDFisP+b3TEeRWja0mxmqBqVJRnMx6XiOBTeZjH+JEfJ
orcmPJxMjLwodWS3w8S5WDYv6/ViMd6ibYulbWscHvVe9+llrd3SwpcGAPNxx7ust5pwTNRhRbRR
ykjEsm/pGNXYJRHpkt2YPmBjdxLYEygpxW/0Lm5dZmtZjGZ6FJR5RS1x9inKofTUfJs82VYwOg+K
XgCfIKdZoMPP5YXVW9sGZD1NkQxLwwgIYxfWMNVtSbctCr+UWW93Km9m+n+s45sIxjJMJGfNUMeL
cBQ7H8QFNprCPmva8KyZXYSEWaa5U6EdxyL6qcnmY6PN1V8Y/1pJZnWFslObIJ2oJxxwZY/qY6sK
Dcc6t1fStADfiRTtBXhnbbZmLqcjDoBuuKIZOmE9cBwWTwT9ffW2xmBuM/UN9Bik2xCgp8EYcJTY
PGIGIrd/tGD8UTxImpFSLbLmNNL8AE1aJiOmAvGwWA6V9Tj0Z3XUnDYdXYBlcHZq60G7Fs+Yo9Qo
jSAaED949S2lSpoOgq8eeTW4LUwOnO03NRmbFHIKG0PVTH9ShDML3cIxgu9vdYvKLuncxU1c0Wl8
y2l4+DpbOE7vZDPWiOIOOvoz7GLnZfv5XsVTWXoEniy+gSI/tp+aY/2sOzGgOjrXOky3/W+kDqgQ
NvBZLwDzpETFpNW7GB8R94bdhZqtTd8i4V5CmG4AWsiKJM7ObsULyEhiwpX2tlzUtdJWb2RBw4oL
wUHPY7tVSqeuPly/5TbNZyVEfn9AgiWd8n6aU1QkFa/38c7BQ4pPz7JtPhiCx+wVRksvak5Fm4dp
aWD1Gmf+GYCIVUWHEKrlPyxMAHrjxyCz44BYh+aB33W26QTeZLM5pwozuloZQPYyjYT2KefcqRC6
TBfGsRLBRJApAPiGSIMIJZq+9hiQJ60CMMPKKjOyFMLXKTF6G6zS+9mID3oSnlq0URB15k0xXBop
Cl1oQ0X5GgUv9CW9386pm7S6krLcL8Xye7aoL+Ig4JgYFh4DWncC0uMeRUz16boRXVoqinsKZfpE
mZ4Wn95LFZRELQMjzv2gwvBZ0xOj/RrFnXtdykUuAGEd/jhNyyKk0S4GYpalnswxCys0102O6FJM
oOlxful98MM9hmh4e1S9zJWB4feYfM583rXMBp6seMbT6hlgDhJVKDG7ah5jk3I3Aj8qXbJPHXD3
ruvKmiwri/G2Q9YhDZBA1TkE50zb74Se82De0MbClJmK+q8BZCeRkSCZox6WGqAOwlH9AN7J0Fb6
EqjHYKaMmojL1LCh0DtxjAvPujHLkkSu/O4b0DhiEiUgipdEIiykAQmNA5zTxC2egy/X15FqsT6X
WMd3YhmnHVXQsRi1CjF2mxF9rH4asa4Ss1M/h9niF1HN4ylhz8IviYYFJlFQNqKb+P1ZGLsI5AyF
gf7Z9BBbN/p4NEzOc3V7695E0LVeBTWmHknZHEFEK35WDYkAf6BoYpIN4p9bIVbvTRDVdSWo6bIJ
wyR65U9y82AN8otgCc71DdpcLrSs6YYug9pFZQ6VFIIHDc0D0KX4ngn3fZLYqcF5FfNkMKZeVaMR
IfdeAQ27QpLiLOWLPeYf/5sijIGHcjnDdUGRLJkWfxYBmDv36osyixUn4uSpw9h0k7cYn2xMSNIi
YgYAD9V2U/H8n9RhgaIMa06n1oKNLZY/CqjWg2dQ8K/L2Dycb3vPYkPNY9eLkYIlS81HSw9JuXwc
rMHWzQfQeXFMmbNoLDyUrOZ1DChKamePxih5gnGezdi9rtCmk1spxJz9zhIDqwPIhJ9K+WMEN0Ba
ORo5J4YnhP6+OpSzUs2o3sFxp/pjYGHCeor319XgrRX9fSVBMpZmzsAG7Rdd5ITCj1oo0d3587qQ
bTVAaYs2eRMc6YwVS9oo6clkVSA7K49zAIDrmVeq2PST1r8i2Mxhv1jISCJp6zdAoTHUDmlZk4TS
LTAaOEeSowwbdslqKw9FB0llm302SxO94BbHv1yU9l8vlpU2TKQ+qilgJlvI0AiIPyZQ0mWyLYPA
CWTuVkMijYgoZMm8uVTeIjI23bRFJBULxIqdQnLjQxk9i2hpTTvOEm4b3dtmMWYtW8lQJDPkqOFp
1M9xu1NSTjLgIq/yawnRDGZpKP5eQIJlilILsQHDVu70g7EzzxgSxHPnt9h3tkxCEmHZBrrfkN1g
YmIRgFxKrEe1v3yTbdUeRGf4YDr5DS17AvG8uI9Ryv/zI7UWyViIrrZZHYlJ7RvjuW0lImq81ogt
j42cCcBGKc3JBfSXAKZEs02xSXr/LOqPy6j6pfA5Sn/mysi5HC4wxulmrWSxN5Ca1Fk3jAFkPU/e
7CoB0UwSOQbltDTvBrco0RghfuW1Y2zZ4Voss2/9GE2CQu3dwvhV1Lim+GPKOIa4aRuSpgKxVZXw
XGJihakru2GOBVyuPXJE+lc55eDR8wQwztWw1FjJCqydZT5XCcA9AVL0F7aGMUDcdialx2RUEPNB
N0IthHkH0wn3xHnpTY4FbHke1Jn+FcEo0SAuBBADTlColm6lG5ifToCvYpBM/tMa06utvYnSxfc3
XhDWlhD2MWrZ0wc9kEm+8DIEHGXYJ/KACi/GhSAh7b6UnacM3+foYdT/4lGH9nJMTqKLXTTYefd5
luU0lOEBVLlwNBDCl8MntS58uRE48dT28cTeAEwLCMooBr5fshzo7oMAh/Nah8Rd5Iyp21jAXVt8
mkACfM8y7i2H18Z+0W72a6v+lcvOvupl0Wd5CbmUekBQaWetI92CVNjRB+CioZGD0/CwuXMK7dlX
MOWlsqBhkRhZUq6mtT9qRwsAaINIwhiIcl3IuQF5gpgjhSzuUAsGBPVp5OOmDZcGJF2DLaQcjbb3
bqUSs3dzu5hGCQZRX/2MKjLgnL2+pgP09qABXUTAZCQ6lKOU8EonmzEMxpT+WUv2nLWRJFgpVbFS
7NmNMW76CN4BzcaLPAN/WxSS/jFy45ZjrJs+fSWW8elKoc946cNmlOmY5ae4upNKzpt82y5XMpjL
F33OEQbdodpiEdEWyLJPHCWhjU5QdU9Ds5wH9s8xGJ0JzUJBSESDqqWWja0qwMPOOg9wFmQyX657
+4six+up05HhB+gZbmUWez7PLLVF2zNE+d3eoLuGlM0D7ZRL+z34zHqPI5B+O5u4kVYCmcMgWl1a
GHNFj7nkteL/H3PQWbg45hSo2OBtIDWCaxKZQ9EH44K+fbqaIPIGreahwswq5laT43wUeNjBmxf0
m3osihAwmDI173ECi/QzWhWJqvM4WngSGJsfpCkohhE7lii9Nyq38czji9o0P0MBDSMSsugZZc1P
DrM6T5van8asdyw1BNNhndqh2Id2IqFseN0kNg8xgk6smgG2G3aco5jrus7AtQhWifkmB+QA3qTF
OS/SheMtto8yQjOAY2GeUmRD92JZOrSd4a5Gu5fXElQpKFRNCjQHyQ1AgWBzm3q2NgsY5cCOANkX
4MGZ+GPphyXSjeLX8WpEZ9lpnvVBGbz8ROf5Cjd87E4yehRDJ7HDO+swY8KYzEfeC+Kib5Ke8/WH
MFYDsGwDmHP4kMHTD8LHfFdPtmF5pV947bNgU0xV0VGP+Bw7PZeYUNiPILTxeD3eW6Yla7SnXEFl
GIzP74MLjOdFixANuAql3SwZnl72riaXRFer739uVWtJ9EtWuQ6rmPupEkccRONhqTpbNR8U829M
F5iXqMvIANtHyPxeyBAvYmHkc+3X1U/LWoi0LCQLebxkm0a0kkJ/X6migOa51MGk5ZtaA5IjvI+y
Tpo4jnlzZ5C0UfFqQZzJng3TiuW8q0T45TaJwEhqPWB2YrazapKQWuUheW6deQQLWDIUQoHZyNhB
GGbComVh48fLcycqz2azOF0i8eKhrZUDf5YmGhpeFAYLPhtpRZEFStzgwAf3lPZBOk67b5M9uZiL
w2A4r4VpSy1AM8O6Uc5SLxyMMCkVHsx54/cFeuBnTEkoObFmXtFl67Wu4ymAPhXMhKDU894g0rDJ
q8rM0IQopF+GKX3U64/gin3UUutxiXkvnE2lFCgDsC3gF14sotEtCYaDG3AcgZV+6QAdcBJSg+ec
aRzFXtN42/wrhg0Mur6rLAtr17rdza8OgMjRb2aMm6SPfxWwrqUxSzirWTokc9Ug6TY45gE9WimZ
jjFSbqMzPADv36l31x3SBcAVdcErka9V0NUx7sDgJNVp0QC9di8fZBcM2M4QkvRH8djsOjf+FD4J
PkrLvwHgcXm4VVRXRRG8XJgduoANj8BfThmqGx/MZOYSOHHXgRIbXI198e26lpfGQqvUSMJJSB1c
MlwaEZ0CQXMO0vEx0YRPaQ0sw2Zyrkuhu7O2FSBC6UBPVHCmAYUO5Jz3B2AckyRRBFH1VF/xgMXi
/96g62VXJCOHuUSUWTcbMV9UT76v9vV9ikEe3c4ku3xWnd7BwCDa7WJP2Ydedr9MyP1VvnyMOG//
i8cVqy11ByvDUbu5HKJf2uo/w9nJPMqXg8xPnNvNw+CHHlgxKh5h1MXTgBXLHEhTrbooQEzhUaBG
sI1NCAFdmpSe3Eb8jbEW1qux8pgjaTS9mLTofvC6qHdMiTbgnWRoNoGsUpn21y2It6hsDUFTraKN
FWwthmprG8MHfve1+KoBtMnuHTo13Q9e+vU/CmWiMLOPzEFuIDQcHdPvDYe25pQnsMZLjvhNOwB4
7jfGhTin5XWjV/bTVFU9haX0ayPRUUleu3lt46vgonSyx4gmQboV/8d4Pc/psTcws6lshJQGONaD
NKueCdwkDGqT4rFExI2SPUl2C4iBeL2qrANiBTLB0oJorO4aWNFUYaoEA8BRJdvgteNdV5uKIYDF
Ta9pIK1ntlJOJyvAwDssxfmoYsht2Z1j9KZSn9DYlsPrUbkcD6CuaCWPSUOYiQocPBPyhKUCcqgI
9ttU1J9SGa0C4nhQ53BfSqlOuiZsiTihspeXi4fpiZ2Z106J1JqNvMJtooD0LVa+DZHiZK26mwNA
3eImuG7ovMVh4mLM4tXSJFCLq41dilgVMRhnAza9BWBx0HUGqllAbrx3iiGgAcTcklVPVHK7qHeW
9mUaHtK0JKPJc8Ds9flqU2+yWF/Rq8ZUajPUGTwKrJi6heyCUTSl83YZpkHA2qCSsCP5He8BuXl0
V5JZK2tlq84BS+Yle80rvGGn+LiMdtxwiA2+WA0Z60pSK9CkQsGp+UjxcZcdfD04ykJgCvBR+bZv
lpVWjHlkkpGAsxXSxAPGYkn+GUjVpLxJdpFrnf/y5PxrKa83wcr9abM643UDj6DcqQi7Wt+6jb4G
5/QelHquvm+dydVeGkxqIvvkLWe54PlAukkX0cpKXSZaKaCv1LXYRNUXX8RnOpBKw8z+u7zj2Qt3
aZmIBdk1CX3KWFo6uQEUPqDiGSfR0+zU+42N3HS2K82YyETWIhE4IDgY6ufepf4d05igW7VxCuko
KgCa/MxWH/7cuZjoKwAyG8B/L1CDMLkBFkF4ZG/ODtrUElPmPbg3V9HUQUMMAmt4eDYrGieLMg6L
Rp375AikcISQtJ5JAqLuipPgXVfosocWvn0tjom0jBZzF0oAjWiktWD0pvRBd3ai0Va8RwuAjNFw
9VY98QZZL7G/GMGME5UGUwUGx6vg+qXbA+/Jy7zACUH4PDudHQOfGi+k/XV1XwGX2POwUpfNkbZG
IBf5BKlJWFgkVxcfMBz3eZa6ulISlPLtxVRviwZjeMt8ktR4cMTB3MVgrrdeihJPph5x9qw95T2m
lITusZ7FmzpO3ck0UUP8JlFoTVRyksBwhEl/CWWdDENpl6Ny0DvTVYrR7mpQHoxRewyMFlw/407t
ejJarS0nBtEm2R3DhGhDiKkx/ZgWmlNaKelV+WbqHtp6eZoNyUumwVZzC1AaidcWxg/AP++QAHDE
JN4nwjfZ7HZhV9tdl3uAuSKR/CgHT6l1SiceIPXWfbteUeaaQBFSmYdYhQGVCmnEz4HESwJsXYFr
CcwFUdUCCNdD+BVDT0jS3IFTi4TA/Bm5kjYj87Uo5nbolbACkQEOn+rTNAAGK0SgQPs6XlyylxwV
YM/84F6AW+HEWigTNqraDOgkpI49CnYx4CRIu/q+9Zej7kwoYI134jHsQfH+pwlRevGaQJsEoQ1q
rhewBSbYE5IZ/8BrlWI3Jrkjj9HNYIC8movPshVLrEUxV8NQLtWYRAbiB5+CCxdOeQI8jl0AKSG1
VUfxh5faEz5pTnjHLe5uXYGAa0J/joSW5ItBaEustUAwIDu8VTzKdqT4xgH9Mr+xohdF0F9L+iaL
2UqrMMWk7CFrtPuf6EiuzslZtuv7ZYdRCwfsHgqQN4D1f92r/Y87400sc8vPyTwrChUL6uEZqIGA
+XdrJ2xf31dIgnDi34tiBqsms51116JLuYO8bF/t8wfVnQBlAgiGjMiU+JA7nrl9Qt70Y+76XDda
vW4hTylaP+oWpxqnw7KUbj2YAH8z/rCVhlWPuRMXa8qHJoS4NgNkSNXamcKBLNkKXtY2yVx+g2Ua
TROaIPSZUPgApoIKAM+55cF38TbKZGpAfT2maoIj7TUloWWn+RQeKFaxGOMJLOME8Io9F+1wzNqx
uXzASllJ/+sEmL50U9wNu9eA88wPOC8KS6+yDAnohyKG/XT2HZwCMbTO4wCreErOQLAVD4Mn/0Sm
nYQuaApP4dNymwG7vweMOX1QpIBB5Cq89XwxVx/B3E6RkIziVAo0mfOKfO/pAl4UKmn3+jH0QHvD
OeubZ2Elj7mi2qidLWGE0vJ9oJH2Jfo+gTDqGGNCtXPDswlcNh3BIoV85D1ntq/HlWzGvbVtYCpR
aeHcR2VL5G7eh40l3HXZ6PVG9zEDR2haRf5SBrfdbH0RFOOo1xpITtTqsc557UKbh2j1NYzXC1QJ
vMM9VsKyTp22MwBLVY688Gbz5loJYVxdVIjDHNTYXvGgedldDDgGyRV3vHCYpwvj4cJk0qI+gENo
NLczQk9pSttMF49jPNQ4LsJfzFGjvw79lmg8ep+5MFOUpIIh1BBqDEAqGv1l1+FqAnSdg1DT4+E6
bBvMSh6zenWeJ1FPD4f0+Ct/IYGqmQQ3ig90xmOJBDb3PG6u5Eoks5KjZRWDZUTYrJvFk93aFxFM
/3NB2fB5IGy4FTjVPnojXFtX5sbo9DhsZEwEeqMUOoWlVGQyItWOiromUzQ8VKJ6DwgdXmyzGXuv
dGWukWyK5WIasLxWPx6bqCVqWrnXTWazDoGE1j8mw7bMZi1oDFA6h2pAZRBIZFd3wR7R6T51ozsd
wEuqF902t4AxA7xV5IMZ9dP1L+AZETvSIYTi1CcxvqBzJE88SUDcF+wYnROyMz2nYIri2RDHhNi5
jhhX/jKlEKjPOdFrvDbUl2UyeZ6cs3ssJJyJTQtlM6aHccbKlve1X/oDTUftSwfw4YXNi/i3A8XV
ZjIOHClxuc2AX+8JO9OnubYGlNW/cJb474tX+o4rp0JjvE2XhN04mfA2UUyMO8wU2RTAP3TVT41I
6s/Grj7Fvo6awBNQbZAAm0CwjpEzt5Xsv4D4o6+dleqMKxIw32SAXw9WtLwInSeoI2c/L0ZJaTgC
anDwNIDvlpbI3zvXfCqTeglwGimDSv2QP/Q+9vaewsOC6Eu4pyipckeeVY8GIlxfu+WD1uIZHzRF
opTrBfYWfiazBxmIsBkeWbWxnwrd1YboRtH1Z7FrT0qlPAxJcapT/bZLhfMwjrGjAENZ0IKUmNXk
giGEE1NflKCxOgZoy01KrIDqKYsFiGx8uQRJr3lzBDMovNA1XEqcUSDpY9ggWPYzN6uJuAtcrtlv
PAHXstlh7S6QAwDIQXaypymuFmY3exMwlVKPWzGl8R5j9O9kMfkQNQ8rPc8hq0VWcnFSF5jYJ9Wx
/NKbj8qe4xt50ujvqwSzOZlWmYQzlSZ5dUgyJ9jrEcFDzCs9S+W6xg2f9U47JvqUwcvV6tOIlYyO
lbQAfpY37/Za0WAW8N0xYi61WdcDtK7hGGX7bp/BTuhm6Z545E1lbL5VMLWDwPCVW4V9P4R9F3SC
Bpcw2gaZ3ZbUJ3U/uJDFpRXZPJwrUcw+WUoWp3WawPtI5zAEq2jQItWH9I76EkkVUUMeUcXWHQb6
BrS7ovMDfUjMKsqlaCnanGpeFQWHMK5+om0nJwjCF06AoGyYIAj//pXEVqikWct7Zcg1D+yOwYmC
m8booreQnwvt6Cw5tNdEuVXxDhMOwZ1kd3Z3shLkCXrKhe32wPmLdtUBmR/O4biE+KAOefVlzFGc
AmssOh2L3oLdxJPAaZV4GuYXwJa3i936nia58Rb2yqfmUN4ZB80eTuBpeuSFaZcApcyHMLsPDl+Q
+Cj4ECzR5OBD/PA5cSyPPlQtFGTaG8DIAL/Z7Y/GWeds0NaDcb0KzJGN5nIRijbToHpxBIj4TZ3k
ZJYtu5JBYyZwyfQ4lvcazq1cUlO3i6IGUHYC0u0I0IpT+SztAmewy72+iw5KaY87Hi3KZpi61pJ+
1UqqAGjQdGlghTRMDXfxrv1ixET8SavjBgDBb9BZERPMT+8KJP9kLzrGdzx+UZ7mTIiRqeXcywq+
IU8+zPRVHtw1xdc/9/jvjJqJMgDQ0XRqCyGtW+3jXf7Z3HeEOsgqJXwG9w1//04aE1QU1RzW4ghp
aMQji/bRCHmoFJvh/XrnGE8F+GrZalJ4quDz6wCqE36O3e41Li3P3Uk4c48jzXpd3DBvfoHthpOy
sUTuGydCPMSvudKOKAcZSMi8vjuOQbCjU7kh5WnQQjWUEndtKfZEHpb7YBB5XQI8QYyDqXANxwUo
3by08frgJohva7EFyTqYSYvAa/LnfjqUBahRK4s0wMs3Sp1gmtPOJx50FbXxy7VFMy/GOcEFwWYY
qryYNYz44/m94HmvHpZC94IotOfkiXMQtnV+k8ScNsmIAKYWlzDNSLvJMaNKZrVQXPCCu5km7OH4
7wSjXkhRFY+YNkvswSpPxgyws3KyLIJZ1AYgNsXiXP+uzROD7mJdxtgseJaZ85lkuTmIAz5rzIXj
NBRO1/0xkBoNpUFRpqD7EPUbi37Cytdl6qyJbY81DmV/LBdSmRK5rsR2tC4CqVxEzQTDeIxBoQVu
LIeq0zzk2HO3iVxatIkoLtY3zVedeB8/KX581n+D4kPZjtZBzINVtLQLjKpZCJNCDgeo92W66W6W
m2QgiyOephukErVv0XcZvQWC3bjNC/KO4P5A2rO+iZHXIfVTf0dhw/q7mBv6bpXKEfu+fRezJu2I
pqtieI3s4y+oQSCiSN3gk3bbOpKt3iR44NGs6582dv96OL2JZe5vLRfbBIwSeDjJyl6Ko+dCEPdJ
w22X28gNvgvtGatCYgBnI4R6lO+KEoBKHQHNGCiEFBTLemD+c07KRmDyTiA94Cszzq04K5oaAs30
MY9vsxyEbWZPpCR1JfnxukFvOIt3shhnEam1GWcR3i2o9g/yYieYJdWXhZMG3LrL3olhDj/IEyWt
DmC60Z62/FePFd4vgp0dKWlrcdK5k+XyxsPinUTmgs6yPO7mHhKTff5lfGk+teiAsRsUAJd7yw33
UW0vGWJLOsWqOb0tfZTuTDtwq/vI7fzA5W3qVl/Huw9irnNNlrplFPFBvb14otvaSGTvl6+WrQKd
vfSqU+DOR15FkrO9F3UuEMlmUQ9TakZpP+gfLfAQFenuug298v0yd9taNba2FWiFmIgJVDMeJRz+
3q9By4bq9QfhQXMjZzman5Zj/EwLMRSouTvNu/RjdK+ckxtlH31uRSJxsiobt+27L2Jckol6s1RW
+CK5/T7MYOmcLSKJERF48FBbr/J3khgvJGlhJiUNJBXlXac1ZJxAJCt+GDCGOu1GNKiYaPmMDR6C
x9bT6Z1cxivpQx1MoQq5qTntcXIPuSGIdlZbaGoJm+7YaGlFEKM+NJOyG0MzIouufUxD69OSB7dp
n+ykxPqSteI+7XsnEtqv01DKHE+2VWd995WMK2uMvJmsDF/ZuvqBJn0AW/cE5Gy0b+hHNPj8efkY
8GqUBYt6FEBmv/ecahaUkiJOcNUgMMrSEdSIPxeVB2CweajepLC9UoW8jDLFuPL0Jt7VXU5U5dss
yJxTtZWFgTI62FaRnUW0wXgwY+rwwKBi2spWD/WBOkyNthPIv1Me2rx0VtKYpcOoEjyUiaWb/d5V
POlpvv9Fdx0lXrAXHxd0nyUzCLV4RYXtkOpNMpsniZolnaUUkhMUpsYWlZTQbb5abnYs98lxgrGg
BcbBqOC54pnn9k7+u8SvW7C6aaeqNOq8WHB4b4yPklPf13bwKbWHA60UL1+ApZwS+a9s9E0m45oC
uSyQ8cK2ZjFis0M9Ppq6f90hb3o/ALzpGpLuQD5h8jtDooeqFEl4x8ntscy6J62rzlVROH2yPFwX
tdVrACS5N1msOh1g3JNF1DwJXaWH3E3u5Of0UGOg4IcUkuhldGSnQtki90QRRxIkmYVLR8r/pgb/
7kMYR1y0UdGUGvbytSDtCYG9qDZlfekICvNofMWwjJMknMiGutmLq2+lPuOGk0kKKSMi0ol9bcva
9xZPuusrjGrMhgxA0mrIWUoUC5sJnrI8jQedtrqLprjYSqIHrjkbxY06TdFjDIovL0O7I7CQUZGD
Q3fDMOnsqldGJysT0PCNwWkJArcBLBsYq6tzJJgKWQQNRm5Kh2AG4lwTwGGGU470Y9vd43nlduV8
aHvNXfJqF42lg6ZCk8h6kpChM75LguJgCNLOpnYisSJlIITOJbeS2sBWusHEyIMFEjx9kvw5GYsv
qA4ph15Bc4Q6Gj+aAYNoQy99kaQFVG9jepelgaeHuSOJVXg/13LijEYZAnEr/N4mxYMlgGKysdKc
LEl0NuP2YPWKNwbt4pZB+xL2Cdp42ignQime5DK/i1vM8llxS7JJfAIT5wyquu5eCsrbRqu+qRq6
JIsFo2NJhUScKhaHIh3vcal4YPXt7DyL/CSVDuWAo6MKho1JY30XRM0E8IXO8ts4mAAEqTi1kHh1
2t63SJfblbZ09hhph1qaD3EjF/jD8ycpMABPXS4N6UJ1pwvCPsnUHghikkj0Nh6IrnSZXcbZDzlK
wE6U52jVDqTv0YQ1Soe5OiwYwSRj3Im3bTRbt8IMEtFxHoaDBGK3xypGk0koZIUtFMgelyPQZ5RM
9vu5cKdUmr2q1fK9qnU/gMsx7opUDO2yB3RAuUS1q45meidIxuRpS/1DnszebTPxPpqqg1x1T1ZZ
vAyGgbxJKTr5PCd3ktovN5gBPAuxtOvbyQ+jwEGHxs0wJzXpi0EhSjqPx2JI9oBd6pyhl18MmLBv
NoH0cQL7lhebC5DjQcJC9N4UnoRFnG7aWZROSa1G+zjW5iMGVdDe3Y1tuzfFPrBBwLsc4rocXKkZ
voRjk7hdkQIYI+lTR5dT0a2LRjqrUybjRYbyTlfueitBlqX92afZPXDyd6Y0fx+H4bkxpf8j7cp2
I8eV5RcJ0C7xVVvtZZd394vgbndr33d9/Q36AGOZ1inO6TsNzMMM0FlJkclkZkaEZ+TkUNbdwZ/a
Px3JHlTR34fieK7F+VTVuG+K+AZker/GVLvt9EC0Nal6T5N2E/jhXkzQwIxK8JmlpWYXuYa1mdXc
CUg8upAGMm3SB5NnarQ0mPgHTUlnSL9It0lojLbpl8chlu1RTu6rqBEs4KQLG0SWZ6jzuVGYeZnS
b0gT7ZQZPYAxc9Ev3jQjWHcS6YL6yg91Em5GpbYL3TzpZRZag48OlzEol3rArzJDVB+k4bYkwzNR
wMZXycYEye/q3Q9SpyzGXVyV20EevDqCenQ5aJgtT/Q7qfBDb8rit1po3UIRIeWdlNpmlJp9FWuP
te63jj5Xt5NEBlvXoIJcxXW1K1vwBciBYd5BQDXEAUnQSahwTCOib+rYlOy6MQZLmyLlpFd5sEFv
/5JWTXhoVVC20MHvLulUUNKK+ZMi5XRn+rWFlOBNJX7nkiKM7rOuCmuLZJW+ISqBcE9Tk9lNSF7c
hsqgAGnZgkungFIlSXZZL7yV/ixbWqRu8FfcQ0PlMdfC1z4JfmhzJ1mD0u4b/RKQ81AlEpBb420Z
aopFovEQCprXA2R6D0kn5RCGbeH4gvAiBm3/mAh+aEl9U1n4VZWVT8Uvpc7uNFGsbCRruz4PRdvs
27Moz4jMwp0SZLOF2fPEFcFKgLFMMDg0igYlzliVsZsGEcgTFTQCTR/KqCNjpjLXCgCKqvIFAGF8
TDFut1WuQM+rMr15Kg9SZmD4OrwE0fgCYc2bOVZ+V3L1Y9DVnQhgvReRCKczfpMxpd0b/mbMouZe
7I2QQu9+iyRLLSkI/hiDXljdYN5LONG4A57rOj1jouTF1yUvTNsb0HQdMlKiUFgov0Yt2KtSDs6G
FFOtc7LTBxXs1lHmhiS+BSpewv0zydsiaIAFkERiFRp5D1oEIMMHPEsyLuBBQn/FVyqrSog3j8WD
2WIUWNFAaZ+q/R7bHl6GPsiKDfGYhMSwfegZ6wYx8V+CGTW2zu9uZ7FurFYoumc/LaeXWZeFTWXE
5l2Ql/VR8kXIzedy7RnInW0ILVfOqA2iC5oR6JVW/TEvZmgjVc8Vxv/nSnABGoQWZaPYEjHAIhSV
P8BGUtmDrL7VeSi7YlH99GXzNNd+ZmtBFrvIeC4AxRvWPAm5CzjyYCeQHLWw/QNHSARbEHNEGHWr
GB1wE1G76crsXakMdzYxymHm0qmc2jsVaz1IhWrlUgyxhJq0Tt4VntmAZbiVwTAkDynotSfzNlSH
V72q76ZePLQV2dVz2Dil0GV2pI/OMEUudnfsgbMbr9w62KqzHli6pr9mtXZWjWn0QJAI5vyc6DtN
krp9U5E9zumhUZtnXIN4rme1DeamYqdI/UOoCneTaWzInB0EsZJuIkM7miI0Ln0MjBXjAX2Po56M
Dhgj3GZObxXSb/IO33KWFC/ThLsyQuqVkq2viaDVqlpXhtKqnCiQD0PJMkIzGdSZZSALNvH12s5I
vytE45gY0nwIBP0lz9vam33tT2wmu6CXN0RoL3EQpRvNVE0nFqfRMqsQRYVIw3somysXvCJuL8w/
wGN07NTgCCa+1wGh3e7n6KYRQ9S0dfks5MgYwnoLoaM9oAUojMqtq5foPQjRuEnkQXgISrO1dLDd
yCVu90msfEcppftKT50uAus5MSNggvXa6er6VfYTRwVHNDgYiD0EokW6GtUkMUHvUtWcUp06Z9Qj
r6h70w5G6a2Hzo2VRsGFiIjqmBltPbAX35oCKgRpM74qxfggqpiTq4BzaQbxXdOyN1jicBauvRCW
KSXztmyVRAG5OlJKCIWRFgqp6lPXv0u8Hvhadrw0wzwqpQ7AsJBi0cAvZc0YYUG2eD07XhsuAh0S
6FEoAT8orZkKg2jEvR8EFZ5Tu/GoJo4EwFuEKR/HQLxAoXE85Fv1F0YAY0h1RbjXEI69fzFeSd85
7ENg+TuYQmqfGCSF6BR+xzF/mEOLikCnfyg8rbzEP3jYmLWH69Ia8ySgyaEctWimzHl6U5dmbZfE
cHGn88YcV+tbRBHB0imChAbswfB78UTGsGyJXpCChkcKI34u2pB7fC8yTDdrMgSnMCpVh6Mraql4
UPo54T3R6bONXVcAiqGfTgnLVVZwfsJ5CjH2Qr8vRR5JAqoDuoMBG7ve16Bl4ipqrh2NpUHmQWtg
+CuqZhjUu8GFAPUM8SH0UELl+frOXTsbkIAFcb0uA9bI8mUERK0Ks5NR5U/vCw3JxMxTOlyxYCJW
UKFZDcUbmTl9fgEtg1hApUEN7xNjN6sV5/CtFSEB0IINdDVNGVqzXzeHIs2NLE4J8k1gMtEyJc/V
I/TQXCjx4FPtux2Y+Q/za+XGG6gE8g7BWu1haZ4dwQVtUghJ6Vj3KvC/WqWWPqpGqLthE8xnLdOe
5S7o9ygJvBlaehNrxhPek3u5Tu7zTNsLybgdsRMtAOPvurbxBj0Ubou8+iWIOoEiNgCESZ/anY/M
7PqnXyt5ffnhTIEmwCOqi1r88NbLnrI3f597wlk7x8/lTyDOPHDRbAWMhT6DsoVTr1jrxAARYoLp
FRRPlHnm6ycTRMiG9HGhoy8ieYojbUlg5YdgN9uoL2yFo3/HHcCkfyVzhE2dVi+wC4FcZUP0IOtG
lBsV+t2l7f+QfiledKAot2jj9zY5qS/FQ3gAPOrAKwevjfV+scwE5SotZpDRw1k6edo+JPt224NK
pNkhlJ1423F9aRd+MksbdgmoUgtYq53Zm50Ms1SmM0IEt3N8q7+UJ+7KrlSGvvjHXOO+GQmYaYVF
1ApGZz5mT5MLDKHtO+gFYKzNBB9m9qofUBiI+RDptfiia6BQMlRc8iIbmgtf7EoDkhWedh+cmzcq
OdweDDfa9X+GY+oGnsChjVy59cDtDfw3JatD/socmzpRqi4uR91LfNOWtL3W/ZIi7tzNyo3zxQpz
AXRqqPSROenoVer7QLOiwJK2Jsa0tH3Xb2pbcLT36/Fg1S8QEko6mhdgjqALvbhjSaVKWSOouqdL
+zS5CYTWCoLX6zbWEiUTXZF/jDAXeTpkgwo9Fh2QEyVwqycBmjDFZr7T7sjZf5fv6SYtXiuM2CcO
cdDFum5/basuzTNHcfCzbDYzDUcRBQuih3ZWPZjDgyYcRWi45T6P4Hc1xi4NsqcR1bpEGKhBOxFc
Ud6Px+zSb1VnqoCrFYHrAZq8Opbn4Qacqpyi7WosWFpnTmYwThOKbLDevpQ74TnZorPglC7KKU/p
tt3wE9DV70sUBRznkIUCKpo5HDLmXX0zR3lNOLTO5AaH6QeV4J4PYJIEwfCb31kzOilImHbKO2p1
XFGBtXAAlj3wjCmiqGrshBPwYLEyaonhZeFL371XqKdc30JrKGJ4hlEBzN9ghuqj27g4J8OUNfHY
ZYbnP8YP8W10MJ5zZNiv/lG/GZ9Q3RZpPsjbuSsJ4YcSH46OROktmIU10zYKu7o0vFBsHsQ5OMdd
vJs0kGVC+PW6hys3JZE1GZJbGBAz9I9OwMLBrPIrqBmZaMIJ53o6d+VjJliZPKIQ/Pu6pRWnvlhi
MjfR6NKoRLbvAe/gluR5VmMn8s/9zPHoY3WYy39piIUYYFCLaJ0KQ7Xnn6o34G0NFMbRKALSHTMg
yjnsPdrURMUvt6pbKDn/HdsWfgSd+AaeH0GWiX3tWPmBlKCwB86p6E3y2vdZsIvfM4WEltsZ3Wio
Km6kp9YeKyu1eWiElfiOk2maOnAeEgC5jHlBiqsijgbkXMO9Uoh2XAduoPIe22ubR8G2UWSwXYK1
ldmnRWAM+SjidgzA2JE0wbOgvBQDeTSy/VhzVJ7WbKnAvsmAxiigQWWCa5ULUOFrRSACaox7xV44
vOdCZWllaOUDb6xvbflUSHzh4jchsco6pmZDpUTolHtp+9IXOx88WgrJeRH7u0tYMho3IVWCpybr
UhykIXoaswGKi8kN7e70EO1HAOp6O0cWhaaQE++Hg8npBq9MSFCzKGAohoa5SPbIG4GSDGjaGeh+
J2+U8i5Rz61FubczYJTc9MQlvKP74OuJ/GqROfoxmowl1AwMj9JsUlHpaK/uNIAG6xOP+oj+VVdM
sYc/qaJZa0fq3K7fgYj+QJlDyw1vyH0lz//iksFsfVIKMNPCJYr2oVKF2UlzU8xVgRrIFjjZ2uon
k2XIlONGQHfdYDa/WLT5pEMZ3lMv2RsmQDaZ3VrJTn6RgFSIuHOOKzc7AsfCHpNLgDQgmXAEDW/a
m5fsLLoUOyXY2cU4qzd0CjF1QzfBUAhE/WzelOXasVgaZ3ZLmkJqcwBfNkS8triA7b4ovFgpD4Yv
Yrpm4Mxtra8tIhgKPpA6+ZZEaGU1jEniY21P0VO5K73QM9wutqIjBW4Jt7wn1PfYgu2OV7BBkE6A
W4o+BhY3rl+2hhpjl3q6qV7UJNmOaom+lnf9tv2eGn21wiT46EWFYSdTKxhVrYfpl0+ky3UTK+NC
X20wl0ypTI3YDKj20BFLBe9Of0s2NeBE/FmLNXdAsaigLIfOzje2L8PomyCtUboq0VhvAtOaOs4+
4Fj4mDhcfBbwWoRxALFnL2wkII1TJxierq/X2odf+PAxbL2wkE5+PMSQPfXSnlgVnjt9n0HVkUcL
veoIhJoolxBocVne/iTK8EbPNIxGpkW37zO0daom9p3rzvCs0P+/cEZPdcxDQCTGExplLyjkFEa/
rltYGfLWJUMVdfzBVftNbl4PY2moCtSBa8ffyODdGj8wWjo0TKJbOkZLdvGlhQQ8b/56zbelYSb6
5XqkDZFMtwLR3anq7SF55fhGX/TMNfXFNybGkc6YiyKDbxPKRDLYl8C1uKFwc8WNPI2ztdc23qc/
UA/++q2o9IASVDDWz7cG2ZoGhpODlJN2f0/vl18LpfuvRsCek7dFreKEljdhN2wF4UnP3iWMrVxf
uusfB5T7X+3ISao1UD7WvGhqZTcT1K0caBonNeOtGBOj40YwJTWGEQCG5Pam9tG3znSOkZXHJV0y
FUrOuA0gR8HEz1YXJjMYddrA6Z1gi3EOTCFGx/gcYMo/8qotnwhgpX5ObeIPWOMRH9jbp1Zb6CAR
2KR5C2UAiB4D1RozdI8yuwKHRGD3m/Ix3igWGqYjN+dd/3yf9pm4keh6EOZYCjyo1b3h5Tehl9jS
RtpjIt2JUcHjTcGvf8pPg8wi18pcyDHmFr06f01FYivTY8MDQK06pYm4z5FASN9gMoIyYdxoJBgE
JPdQb7XaNOXs+rUsRQKzEqDCUHcDSpo5XkkUY6ZHgAlKDgm6VFtrLTpoONvdkSa4hFeDWN+dC4vM
QasrY/L9Fhbj3eCCPPlA+aIj1LIlGzWmDxQDb6JyhaYCuxPVFhmc8ThhLFTaVONQKRu8mutfKZhL
G0uyxq28y5/BUlEfaIMzOrZ/KHy18jDZGTjkvfXMS/GThx9dv3w+fwk7IqwbfT0Fmg9IG5hOUGd+
j19SCiu4pSDhyak8FBLBmrfhvV/WHhbLJWAnadsySaaoDnQc0PA2f432+XOKqnr3UNzzO4+rG3fh
JfONJzHLq6aEMUMdbC2SLDPjPNtXj9/CAhNJ5VZsULzDFw2kU9MXVi3tdMK5TT+C1rfbdGGECSpC
2mRB3MGNys2P2RkVn9GhbzJ1lzpIHLBx3c4LKvC5hOdmR+zWVTCcS/NUso0c3es3GaqUlAOJ1z9Y
j7eLn8aEH3MEEbmSwf9wR9tfuj0fMnf8qUCBRAWnpGSXdyleUrVqpRveQ4p3nD4AQoskrSuGrqsk
bGKhcupdDp2f3kr/hNCWjdysAhJbu2j78S0GvSuV8qNb3bdL5FW8ZeDtAub9OpZtYkwBVsH3A3vE
BFqiHouOU9hYzUAMcAKDSFlD9GCWGq23wTQjtDiHdC/0v3vK46fd+Dq3XUNj7fft9mmI/pDFsmqD
KgUY10R16Ii52NO4bfe0oDeeAq5S0n+JQ5+2mJUzZ5JqpUqdqq1yR0Fc45aS81LSpc4rMeyeOaGb
bsjD9TRrZQqDhuJPw0wSPIng0Ndpw9iY5q0yoi0dY0bXTZT8YA5harVR+YSB5gczToHtSXiLvL5j
Ps2zCXKgK2Eqw/wsVraBIfRKx7Qixryvu7keAP8xw/bzizoQlYH282WI9o7JSVM5j2SOHyxj1hQo
0FHtItyYGNUGB/BdBJ7qqO2d6378l2vj0xEmksd+NUlyBkfCo75BVeoEtce9hqbTv2FaXHEK3Vf6
gBFxVyN5+noATINkcSyhCdwrszMQSG+D8eFHopecxVvz6osh5qQFQzjlaQHceutE5w+Mr2M+NNB0
xoDjgfdMWsuxYE2DGBXgznTE5KtbVSf4qTCW+kc9VkeRcjxAVGCrWwLuh+Cm+Mn5Zitx5Is95toK
Ub/WID5E+4X0EQhy05tyC3JqQJ54zCPySnCELYyAILmXzW8V7UyIgbci8K3bqxfJE16IB8WEBA+A
3hJ+J8cStUuQ/VdHqgMS4WaM982BEv0MBx4HFD26TPj88lOYrRpOquqLw8cyB9tuk2wUSMqClGF7
fXnXN+mnx8zXbMFdlCUyZkACI3XEOT7iIL6pasCZEFi74ZHxy0AkoQUCHQomUo243kthwFeUN/pG
xDCEv0uRqgINAoEetPA3JeaUQXfSbYeLxMl81kpwS+NsuTsrMO4tNw26Ivv/lKExXQyTkgsSnd31
9Vy7ir7Yott5ce0VSjigNovhC+QJkycggcLu0XcYvgBv5Yhhnt6tbjVwu3q8pHilIvzFMrNjWjIU
iUKwxDHwKno6WmUaALPwmJZ/jPDpupsrMG5wNH1+T7Z+Fslp2TUDljRLu0ctIFtMozliof5qm/at
FYyjPsue1ufHKpmLrT+bN60hADijFQQaVz44hNHlN3IfNDtidRMp8Q2mt+9MATPbUhAB694HmL02
xfdKHS0UuvdNFm6LJPHyMOFJyK6egYUvTITJoOw5A64FXyCuHmNczsgxexX8ub5ka7nClyVj7oOA
QJKm6rAz1I25Rz8JVAWSDSLBDXfgiX7pb7Fj4RBzIWQiage1TA/bRd8DAYhu2XTj39Brzj/znqO8
1WNyrx4UCL1E3cpkpOdJ6GDYO+TeArzNzSRagT/NU6XCJf9H9yfYNsAP5tvpgyl13/6h6qD5pn01
dlxFXN5aMoFLboUg6mO4R6eOZDfY95a0aY5UAeVfEJWvXkBgSyEgiUbKwBYwpmRWzDLAjJOIMKna
w7lDT+lH6KlWOKOgYB5Cd3hWCz5Kk2eYCR55Nqn9nKMVPnqTW79WdnXqn9PDvJc9wGFA5R9hdPrC
u33Wo+XCX+b6gTbdXPkd/EXiPrmZm1yq5FDkUNsyIJ2GZBZSs2Ly0ANkBZIArqIA3TXfDsrCPHPy
x9SMk3KA11r/TPTIKQCY1BXsYNkuxxLvLx4bNv0LrxlkYkCSQYlyCGcYzHsrE36o6cP1KEO34zUD
zNE3U7nL1AAG0h0VQWq3YL8B5w3vw631PmVxsXLMqQeCoCiIjqGGaQ9QTvxqHIQb2QbqCIXK6mVw
5qcG6lIOFe1t7iPuh1uZIsP9s7DPxINhVjK9ARwMM46TDYq6I20OAOXsDHe0ANbbAOSKADcLt8b7
9RXmfUImIBBD7YEthuU+iu0S0BKfcGmvV3NeTORihsMgIGZlVrcGBWQtFD2uihPlaM/29U9lMx3T
PZ9id/Xg0wF+A9B38duoeBclMbQuMDGSz7rdkN4Sg/tZJVuS8GRR1i/AT1PsMzIUMzSrDOxNWW/2
ia4GliBl9bafpW2eo5ecxOKdnJN9q5KTWGQczrGViSdKK4kWJcQwVaiL0g+7yMyaWPAlYqrwtMSk
ipYCgyRksYP+2QbiPm4kFi4gua4ek9NY3APNbdeYgKxzyBRnowe4mwuqnMucpWez66AOmhSulOUe
Zt2tv9hhi3ViUshQ8lWwEdB1SjAwXL+DlsC+bmH1Nl1YYKI9yVtfH9BS9IZWfRvL8FZUYlcUCg/A
pxugiP93ck8s/cIeE+alykRZq4ZHJDMtowff64AWnmxwFo7nFvOFp6ibNQC4da8oG8vwa0fAGGKY
nGKgj1s54Wyo1cRHU2QDb0XZwAjU1/00t52RqDP2U4qMNOhOdUasGXiqv/hUCytMQAcyUhOmXsGu
LV79RrRKSJSpBEJeGETq/ia0LWwxYaeqzE4DNheD8vGPTiGWOv667swK6yU2wsICE7brNpKbuoEF
CQpSk0XptcdtB2x6YPmecgn29YEOHVI5iOEgPyfP4ja1Z46bK0PA+BU6RHehNa/KusmEcDnXDK2q
sP07e0KjSLWrH4AD2FD1ccOtaIV74eG63+slmk+LrLZ93GSd6is4AOomAc02xIytDoTOtZXv+WMg
XGtMAMkkse/GHP6BY+uce+OhcoyNb0G69F/kUKsXiKnKGJE3DfkbcGUqUP8itYxPaio3eqdtheoY
BlApBK/J36ziwhSze4zYUENRgynlnl6LQIHfE5cS9bZ3/BTnY9LkWyq1sMbskiwAZRR09WiPCfpl
r3DsTr3NLiPFEALFDJktqs2qvswu5cFNUZEqdsh3bvRzgTpYbB/CXfV8fQU4vwkq1V9jzogmalPR
FUhSASQaIbKCBmrLYrM3zexXhMEtC3WjQxcVZ0EN9lEHLEHeH+e8fJZAfVBE4oPa63f9AHCvjAKW
RrbynLp+FR4TIdmB28jyg/iIpwDUfWQraCBH6iPvl5s7SLS5dW5ernu0Xk78Z5UJOxGRNlIPln/E
7FCOO2uaAPwKzMHxNToCHEDkVzOLvRK2f0IRHaoRobZposiCTkdrgUlix/k56lr+bBoYSVZQBfyG
iar0aSoJnWnVT90fySu9QT0Tl+peksrGoJujvKJEcd3o6kWysMmE+CDJ+0n1gQCRhdi09FR2UjK5
Spv8vm5nvQ62MMTE99qcZ59MAD+om34X/wooDArNNe2pfeQ9EFZfVgtTzFH1S8o7kiDQg06j87Qk
uxVj8A6lYvQ7HPXOGufhWMTKH46HNHH5fmY/Px97ZgGdrnsg3jANBS7nM+0B6QAhhHgJdNv59bq1
1ci3SCiZrKYC35kCVlNsXdFT6xsZ21Kq8UzVa04OsH5IFpaYVENJu1GVQ6xm61COfihQXEDah0Go
HINQ/Jbo+rN8YY/ZkaTHNzJVeEa2+mZ21Mf0hdYFVAjCJpt0gnbz7EapLXJBvqvHj2B4AzcJkDFs
mRg3zARNQ4IMLkEBIN0VLRfjuZokfppgi8HFJInCGJnomRHLeMlcMBscxFPs0DkR8z66rffG3njK
bv6iu4vnxz+usbPQATgPpAEnxoPwzrZsMmdGhJO4elsr4FvK5KuaEpHBhItJya9XRNDJvir2WEJ1
o3jGVvwdlJ4IEU+LiiaZHjidNrSrTxxph77Fc+6ipsoVbllb5OWPYDbQILVgrAaexpMKeKqE4k9f
gJrKmICKF3OdvhHy7pG1ILq0yMS2zGgBHsgF2iYC4cQOcBHI4GAWp3EmJwFM3FIP/ExrLQIsjTJR
DiIC2RSpgeG1nWYNAIpLJaiejHelfLsealakAb5+VSawmXEeCOZELTnBHSXkh2aqC90CJ7+fD+SO
2BVYPtD/vUVfDCxuitW48WP4yMPPrSbw4ImWARnGeJXK1v19xSwSocLv6L3mTbsH8MLtIfTdP4iJ
NTwWJ6hjWlDhnRSQWUG3mWridj8DLsvmWpxf/gwaRxZveTIBQyj4+NqUIJBKN2t4TiIRBKfdJrZ5
alnre+vTafZI6VpMuhZOK+K5KO5S4b4fHjgfmF4W7M219Ig5MVI6B6YMyVEvrR39T+llpxwnWN/X
pZV6lDKf9o4wRLwp94oN8p9m158zj3dtr1DG0n326SpzjNoc+ritD1erP/5GdaMfxIu9ZLZDxdKJ
3VxA7XUjAMIx20NvTQ/tY32J78hlcuQtyKR0QDtSjGtfuIqh9MlybXmYkzY1vVrFBL/LhGIHVUmb
brOdhJkgfhGeHqVrppijFqRKkpQRTFG2fQpNl/Z4FW55ah8cMywF8Bx2FVjZYEbdBFAIizaDJ7l/
2QxafFGWBDiUGzEX4sj4CIzNXe4Ba0sRp7cUg8PrWq8+PZfW6MFdHMzEz1O57mBNvERniFqcMhsP
+oni3fGpeACjD4DglW9lMimYJk653E0fUV+0o9mi8EXMI98BRI1MRToqkOzCxe4A2Aj2s0fiDh5k
mSv07n3Mt0W3KO41R8kNWju4kQ/gANxcP9arKfdyPZhA1ctyTNoMxzo/+pthE3tgn8Exye9abk1+
/c795+iy9SiwgEVGXmDpSz06gXQDiAbN/F1O+c8sE5zCL9zrvq32AJa+MSGrqXNRFHTs4MbF3JwT
Q8h3+EHXvD2oFqiEX4YdmD1Ha3ZTpKncrcaJyiYTqoxQjKGzi2+vbsqHHkKJBcTnIdbmiL+gJJ6f
qWRy+ZvXZefucCYSRRQIldVYZtz4LsaYaQWLJldSav0bFv/1FOPzqzLRyCBDBaYwLHLWBA+ZIf6J
FO2pkJKDNIcc8qmPCjh7mlQRtBEmoey0HxX0xeEt9BL8hAM269CY+6AvfpdibTdZdQSYYI/ayzMQ
n3+E+lQAtGWhLArGAt/fpgOSH+IrTpfNl54o70jFHmdivmsEL6E0H3ZGUXuanJ37bEAZE/Si4rjv
i8xJyjqy6hFsaqUMyT2hTWa3iY35tm6Q9we1PjnTVPFmtj/4dRg3VTwwUIhE0QqoX2bjlASadzPk
oEGpTKdNJYh6P4Re3YDN0uqf/Xeoto+x7W+NjUZl/qB8B+YxwdHvgmfcPrfvESjguLQIK6dXBbco
/gEUWTTYtL2M66kx044eJnPTvdW3uHzdj+CJMdxpZ/yRLdAxcAO2vHKKVOgMYiZHwz+mSi/exTdP
AyPs60ag15C5+cDZuNneBPulOyLxwF2xG22yEY9QYKagtWFbOtprB0L+8X/H33z5IczNQXykHVqH
H6LEj/0cYMi6c+KCM4fE85a5L0Q9oZME1NskBDXebwFsZEp5dz0wrjxiVZ0gjTIwoo/CKHNkBy2f
J1xKOEYdOudtYaslr4GzFoVAuCBTUgcDxCQfL/jFZxsAval6zF5gu/SYVG6sAHrKPcZdaUWAl6qs
aCTolLddIyjdg3KMVf4sMZsu+zqsUc1oMBdjpMnEvzGhjHSfDkOIVv74d2diaZa5PDEYMEW68uGk
4qUS2gUo+gIChlT4ZfDCbeyS2/73YP3N1fLFX7qNFqubCG3eJllm4lAILzqwvSNQ0iZ4QoyLaRUP
2hO/3PxfvujnGjO3qRq3mI+jzko3FOdEh3b0o7ZRgF3O8ab537focmWZEBjJJkgN6QfN8nY7yb9F
kyd2zfWHuSdlMRPB9AkT6VHfU1UzEDF6EI6zaEjl+bNWIfvyxZgzF6pqKeYNvljjGiCyMjxqzzgV
uwkWwz03C1jL3tEwlwi4AQDKJ0wgKcyxJiQE1HYAu3po7rrMQd7pmjvpIpy0vQm1jdcRsm2ZU+V/
JXMGcrqFeeZkgFN2ruUU5tUBFaz0t9byuvUrkRKdMbTJAH+jkG9mQYmeTiQFnYzXQ5XQEutu28XS
Sas4UX/l2gNOC7x+uIo1QLaYk6ZqPug82xJlmzlSbD3ModlkNKGlC6LhZGoKtVUVr93ru3+tiqGq
KJFhEsCEYpTJ3DUlRmSaIEIO19UWnQiN3KTCi6Ha1zs057z8sOmc2cWaUpWkEEyR/2LH0lbNtywE
XG8yHUcAjos5grLSojE54DfEmNTRDqHzC+S9XrznPUHWRjVVdWGIOYhaFQBGnYKASNxTVokUEHRt
G9+EL8WpB/SH1j1RPPoQHPQywGpp/Ui+E7flGW8UkAnsri/+6lFd/h5mZ0WdNEwgaKe/p/QtsT+m
Xobp5sS3mtJSnoQIs7G8RViNRgujH2+ZRUSfCjP0E0pyPt80tO9MCQx0p4BSFEXp8VXd6aJe+bps
Kg2BmbpNFdijN2Z2Nz4kbuwBO7ppt61r7CW38qr7wBEPvvv/W96Pvb/wNFW6OYwa0D3VsDw/SNa8
bbcjpum6W8pFwY2Ea9nOcmXZSGh0mGKS4akCwnoM6I8QW89s8wHP6weaNJ7/8q5c2mTCn6TmnUrw
UoCPvUPhPpXdg0+W6pBPB55C8to7d3mAPlLoxYpCD3EgeQVrxo2/QWBPzzGokbJdeaehBZI0DjQG
cGY6uwdfWXDPE2JZicRfzDOJQd6VydzpeJVFwSmNRQ/a8rto/M3ZNisFti9WmHAEzQrVb7WPJZW8
GojKelscBegvgHeJNzK88qaFLYxaQfTH1EBf+zW96iAv64tKjkqFppT2oEEgYghB89xG3mgqnFRn
bdrjizVm/cgYpLrWF6isogSDvmdnFR0V+L3XX8QjcGGXARq/A+eK+S9R7tNHZj2laGimVIJV/ZGy
+QgJYCS+kwACYJh2d8tHqa6Vmr74ycR5UQuUacoz+AkdavIzdIg9ed1O/zlYPMzkSvbzxRQTwqde
xxCkjA/4n9plu4Wu4U7ccmMLvYe/R9F/FpEdm9EmPZPImNJH8QDupxQ1Jt3pUQQH0sgrOBSsq07p
6MDRxpmISZavuzKdMsnUY/DJxVi//yBuyP7vCrKgMfjHDutUoIs51Ehgp4Egbntr/OwP9EtJrgH2
IG5m/KF69W0NF+aYB36BUd1Oz2BuRH0O0ijoHytO6oVOdMhp7Lz0txjg9ZQt1ADcaq9siw35wK8P
u+GGHn93um8roLuCj5eIjEaafESXZcMJQKthbvE7mZxML5IhHkP8TnHfnJXnKLMM/BRaFkeFtgH7
XPv7Xxya1SxsYZW5vYSZMor6H1b9fXei89KiA4wqd8J+NSFYGGKuLDERRK0DLyuoYKbZmtNO3AAQ
0kOmIzo1Qu1EpHAxNMFL49fj0MIuE2ujAty3Ulj9JxHRn+i+VkGvqSLtkbeELzq6emQX9phom5p1
q3ct4t5H+uHQ6qhxBp3wpoKUIu/IrtEvfDlLTJQl9awowwDv1Eu+U8EQIz3jLfZiQs0QwgL7f9Pa
Xo+zCw+ZOJuHPjpREr4kHcaob2mjQUGBTD38i+rc6q28sMXEpL5XjXrM4J9yjzsEteY0tEInaKAv
G9p44rry/eAo9vw7PWGFX/n0pWujIIsVRmD8GhXDJvGHMMEvADAL41DlbX1Dpxej3ehqYBWaMOJf
oy7JeyWsP9H+8RxE91/t5lPSZYKOVVY3lQ7tuWTvpygmW/5FdDUgBzO73GZHshlnS/YCWzqNj2pr
ceF8a8d2USjRGfcLMcrUWUIVg6JPi7OMXLM4/WeAMzsqeD0CwUWnKgvR4olxrx7dpW1mCcKyi4Iq
/6hCQTQH8i7oMyibQoZRysKQcvvcq8XgpUUmBtcpqkKzCm8bt8NoI8C2egqhvc6liM3xWTnEuSW4
2onyV0OYrLTJrjzH5+Ydenlbzn1AIy97by1/CxOZVWFK/o+1L9uSGme6fSKv5dnyrcfMrKyRKii4
8QK62/M8++n/raK7car0pTj0uYELWBmWFBEKxbD3MmVYvQWMR/SQBADQDuPbWXPB9SMHaIEUvxJ5
5raXyThpbZBrwI9h/a847vMYluEZuORn9SCsZ4tWx7jlXFkksOFAEiBrfToRS3FTQHuE8mT+KuaC
5tY89itj3PI4F5WO5kp6skDRPErPatgccfMf0OAJhKMkaA5rIMOwaR4ZjWz2UwdQ5PxB8+Ub6fk3
Q7v9BzGeuyssKy+ocgN5PsAIRe8mnuGPo5s9UR5N7Y//qE6M146TaewVmtKN0EBA8x6luzwtAKTA
KK5X3YoebVRTrmkv47gJylskIdhvycjv67zGZID9OxHTbgvZTjZwmxUzoRnj1ge7VUjQNUJR7XVH
+6vGpYAuL2Fegxcj70UyLilvaoB+UbWdggHv/B/jZb+gHQJDtBhHlA92b610+/RwOGo3NIExe4oP
wC9P5Gh4DXOoBtro6lV1xcRM2eVN06oKHmpWTE2xO6OEfdd8iABwiRFTgOAsbv48B+id90qka9QD
1RYxFQN3W3efwCjnELcAwRwSgth3OKanNKTD6eK8ica9zcCQCwQuIKRirZdLtVsJ9aoK26p8p11k
OV5V/Z0ZRifzNATG6+A1x/qj9Ir+a/MvE4Quth99qDGoeCwHPz/Wx/g5f9bc7qPmai/ZnX1Svd9q
Y0Bb2c9vZDzVlhVp3jf4xqE/LqnhZbF+yjbiGaDCmiLVv+4XuHYKRALk0mmSm83j50BOXAhVtMXE
rFAZ6WCrL37jYYk5gX9lMLfKlNeDNbVv93h3LP3pgAFiMImIXlB8Rd7JYU63No2/jYain1lI6S5e
kzrFA9z9fXwD8F0U69rzFtapU9svaJ4KwCfw0AnRuUR7ypxgXNZ/V7JiEgVDFwem9nL91P6HIv/c
UsZmJ1WS8pJuafw1+nM+ySfV7YL6Ix643ymZSaidDdxq0dHyB2f4yw6/b64FbTXvLd94RPbHlW7l
ewv7QdFradOgyP9rdJHvLgBdBgMpBcjGMMGlqck12F6BNUMv3CVFs4Qj4b2gqiddvu2zI6Z/m9ox
T2NIa6hjYJ5L1YsTf6HtKxgj+6t/th/n1xUd5T4SqWBjGdA2lGKER3xcXOez+1LG1/bT1isr/VKk
L0F4Mx00qOdv5j0AhvPvjjABXUGakgBehcpJgLGACl3uzoFBe8NoG58oyUi1/d0BmBjvAkyeDcNm
VASvwqjTxg5Z2yV3Syk9kay7HZNa1LnB1XYTWSM0zYBuia1gKa2sovMXjRtlsx4myfKJOnjX1Z2H
S6NjPvdfGYxFFbGqSqPa08fQch59w0s/QoNkDMyvbv4EpHB46vgYHeNjfTZOtL0v+qD8hbbnX6Bd
4L4I9x/DbOyagKDeGPAxU7AWToTaLvJy3kTRGJpDgdC88qXZ6W6LkzBq5iUX9qKZe1JJRx08jujc
mVHKQo8KImb1npLWd2CyFuX9+V0Pu11nYri+aaylanGyquFY5yVQ7FDDTOm9gvRZHlZgqLJzNLch
F+kJBwbpJr7X3n9P/G2WeldzQNaTMnZipSCBzsLRNR/rAx10z5ETqz4hQE9WZ4Xn+oVHEC8lttvk
t/zHTnQpk20p6fkmx+ZYHuJT4w8fafeR8DhFkhjPk8S1StIIG5zadxo6+NrG9AryJQcnmYrBrxLE
ctro9KqwfZwbB/082beX926JuRlLk5Rid2l1DmzZwajf9aar+vlJcnXPvt184wUdzeAykZ1Z5DHe
in/XDpcJCJJCLtfCxA6vbg9EKcDi4Kqya6R3fmDbTmj5Gu+LJ/VQvLQPFD1edD2JPMpbYm23A7Eh
p8uiYevnE2WlqTxEgMg9g3/8FWQH6LJZDumthPj3lNytQM/LMbP9svg07yD6Fm4Sb69wjHezlq0y
TRPfMngk7B4M2SlDCqGK1hdHO2kA0R+/iTKH3Ko4kQ0dhFUmZR5hbqNIRlXPyqcfQmlL0/BpcCqH
BsXLN7A10w4nBL0P6CF1yVMOG1fvLKBT0n6c9F5Y6eDdIvvPYVRC3WYlH0EGjBeAhcfiscZzeHCU
kxLWRzSyHlJhWZEHoaHvRTLhYmtKsaYOEFmVfZhu5Ps2AfMEDaDGo1lOkzfq8pM9ZeEaqYnb5Omh
NPrviT1+LYdoDYvF+ERA+9zq9t0ilaDCsRX3+rXHdcD7L2QUY00WVa8VuimYKAE62EMPKjPTk77g
fRKkqJnQyKG5FZbQea/PvVzmhlsko87LBHLXE+0UiI7pmZY/3gDfBGvkeaK9KOZGAw9rhAACosDl
61vW49r/mcQluM1O0qK6tbUIGiC5Kb69QOZS69JkU9dmpuWg8q4J0Mp30F9SP73NTzaGAyh88eDQ
Cfz4tQTByoMO7lz0wYr7Uv7H6RKQmGLaljZRXUbIcdkNUjetNLM8+0ZgB8tZQmIZVVIKXbx9zEqn
e/wFd8MLItD6Q9B5QwEA2Pe+tcRmQnoVWhXKJwolhQJMYISU2AXDJP51HeaeLx3FI6DFAxcnY2RJ
C6LRdIQwKT8vy3aolQos7E/6IDvAPnEXzRYcMC9weJv9+1sgYzNL27WY4obAZvlgx5rbyhGS08lZ
BqLmKCwvcd3WbnmMpZRKXijRpEGb9D7x5Ar5u3S1Be9nVbQmxkisDYmLkWBN9Q/ICIrwAxZFpEtv
61vtgOAzdhYD8RAJyg9DWH6o3PzbejKeO68+2EdR9Zs3jPdjvvLvPWZsSBnNbFQqumrY0HoHXLvU
X240WIov3UaH5Al/3o/HCrxEPaCTcWmizlZ3jvl0Xbm4FYLdYbN0HFFNGrCXKDQUz9+QPxPP8tf7
zQVU5E0RloKDEJz2GzrBLmjAI2ucR3SyYagbveBZCf/0KFgR79W2XxETEiqrnQO0GEdNI7PoY/IH
TcJTFp8VtyIsFAVpAAgKjFS4j0wwYGrERsc2DpTOdEioNrUoeCM7kD+jndobb0SzwPzo46fdsFhE
YAWR5hRELhiwHrwFHapu9cG+GVJnONaP07cR4K2Ukmn21rN+IK+mo4IIls5QpUH5KQ5Ec1TcNx24
Z01LN8C2866dtdAxt6W0xg9fbH6k09D5I6VPooTOdFz4DfA0EFE2UWfEBsJ7sUzUI5lLGicpxKoz
pmeW1Zu6D904eNomahAWSWL88NjWcgGWTfhhddIOUzz6mZaF8aBUbop4xhGoMdft7/aT8cJqXXZt
isEdwJ3OPoYpcc+Ufnr6MXrXPCVPyKKG0Z240MM10Z1gxiGDn7HsshLrnGWUJfXPswjymluY3Z8Z
44yNaJFmScOZ0fHI+pEcaQceLu/EMT4BKxd9cdmhlXGVFm8Ebc0pOQlfDKJVMg44i+V2sHp8A/US
YKzwEq+7AR4IngzdI9KaR5H6XBcIYN7LWGUD9+yazRCIFnNv2iyAvn0WqAz1Me9tAaAjMjgyQL/I
hEOp1SxA8YbnW5byYGZA401vWmI4m/Q1U/wxWp1uuF/bZzxKS/verDfvP34A43rbwUzzmYYqtNmq
v1ue+1vrSQuTw5QDmDfxhafIvdbBsf7Pihmvq7X1HHcSBObac24+50ow1onTQl/W8mDjTgdptVeg
VLHMCJZ6xxwGX4rV+0h9IenXdRZETjwXYQMkQFV0EOYAuPvyjBeyTRqqdoj6bdlTxtTJ5vuuL9xC
CGTE8w57SYwJ4VkzgDjDgndQGq+Vem/ONQf09g5SsW6GtvO+E0Fb8xR4L5KxmGGt29KWIDLWDV+J
Zk8vBVc3N6WwE8G2WA/tqNdyj/1Lk2VyLGtr/HIenyW9vdO37LXShy2YKhAnlGCyWa3HSkZrEMEj
o5hbZxprJ9ZjTyPDqc8UkH8aVljOA+A/bWu6LWcNRDyV7pdGdkhS8qEeo8hZy9ffsAEALhKwdQIl
Hn9f6gCGZBO71aIfgYDqKk4V0GCzBeWP5ne3QtZ3atSs0e/lMfeEMalahkQ1BhFO1VE7bzfKHSZJ
0c3yC/OyXFloOwRsM0C4scTLtQE2SZXiLkdhrcU8NIU8kdxt8uyQHMRg1Lw4Do+6f4UxKi7ro9XH
ekYCLQcT8HwssgOJRECJPAeyF8IoddpEJOoKCIks7TwvQW4ah6YMiwQNIr2AN4MXIr0Na4Cr1gbT
MZvnL/rIskYZ27cCmhcYPM8UE2fz7IAimOsqShk6kCVdcSmJY7oXghkd0eVZro0Zgi1UKJfowUJe
/7raczwfYk0V4zcAxsTYIuOITTXqiaTqJEiRuNesLZBMcrZ7UCTY6/N1UTwQ0AtZdLW7N4Sml1rb
SRq28aShn2w5NL6MPI64jsx7pYGQGgdFcMOAs5nRDjlbhtpcLRsgl+Sk6H5V6F3QlFv1BTCH1l1p
Yah6TLI/bLWBH1LuYmv4uo5b6m5jdVpIfqzi6nNZ17Kvl3bhxGBnb0r10ZASyZlmlOb6oVWUI6Ai
0DeTbu71jeKdOgpKimyDVBuIbownSufFTLvKtgNV7gJFGnxtHAVnwTEfTHSaSIEAdk0DOuHlURhz
WbeFGWGDpNkHDU4o17lnNUoov1aFLLIfjvsBRSFAQLEqQ7YI4xF6lOH0bCF2EN/RRkLKg1nd0bLC
L8xWcbzPhSzm6MtNqcpChqwKPQ20yhqh4T86nEdPDQrQp/0hokDnRcXwdeD5AGspPS+6+p1ay9GW
1sj/2IH5mBzV0i9NtGgWqIr1Abnf/CgAgrWHxjXtlLrJHWCTgWs5fL6uMryMLhhpMdGGbhG84UzG
jlUVLG5mDp0Zvg+f51PygEbqQEOxGwWGMowCG+OXIx50v4L8wfEhF7IZu7YLJdWHFrJHjHQARuah
WWMvLzGyYgi8FW+W60IUo7d1TSSr6yEqAyQ71SQa+RunXxuQp6rC3NCgU1VMiomACUW2QWRbo82W
2yRC6ZXmCieMOlBQI2HzBlX/a3KY/Vu7dpKbDnLsD0PtZH/0mEeks921LyegslPO3XnxKCZA86nF
nb0eNeIqd2vQjv+fFs7scqkl62j/WDjBVEAezkhKFMLxRN69erHBzPVGlmkhEpVDn8r5QblpzuRU
ov5Em10VC2aDrIdnZ2iguG4uHCcBIhL4CULZ50GHdWmyi2RvSdY0UZCkX3NSOL3mW+PjdRlc7QGW
HaE57vdBQ77lpjomcLHyGw8D7ZcDtr9wUIZzWVjKTgyzh60i92YbwSIMaztIaXk0lvD6QnjZejT+
yaCZBUo4iDgZdbDNfpxrzG3BDjTFWV21BegA7aI0j81f6Rm35V2HMpmwCM+5NiDXBJsx8AbpzO7l
KUl6VlTREEfBPH/tzDPRHnv9drAPG8DC4+kJfOmK0zR3kiLIdXIXjIe+BqBDDU5VZ+4QLTem2ZbT
6G2QIf64us0ztQLtS/UR/ToORdWPve1BsM08hdlJZTHSF9luVpJhucqH7tzfZUf1NB0xrhukIbmX
wWRuhMVXGRygsxCQileHtfayma3OmtbQpgKyo9vurAUpuCwTT/fQeTRhfDRGt3/0JAKU42nuXiaT
dKi1Ml5GA7tcR72bGyjBVIJnPdfB7EUwt+KS2Ns02hBBFqDiLeAc2o4tyquTAxjLMLvbTqs3uOIH
l2hpjEdXE62Iqgly23I4VDbIEMpP17WFF3VcnBhjlFuVa3m00t37K/66xH75UbrvjolrHOpbgqMD
DalvP6ZnkIeATkd6RAftQcTULlom43vyQd/UiW7vLG/OQhpnlp+uL1NkiuzL1ZiSATE+RGSgUJfg
dRTPuInB4aSD5Vo+V6fsV1C0Od0p2FyNyG/kw3Akl54ninS9jOnFNG2bl1lSMJVP6gICGGAQj3Pq
Vsoa6saEVgGUp6+vmHc17UUzsfI4VmMaSRDdKttXJHSPm9F0TiJLAjn0bNigQ0cjMIVgAFAN61xJ
P8gRUJ+iQIqlQ5pUQWHLj72WOHYmcKc8LdlLYuy8AhF7Y6VtFKxJjnokZuBlgQTenC+upZ+LYey8
i7bCbto6Qv4yCkEhekjMUx+sQeeozvqpRjjROCLQIu6y8KRBtkgxrHeTzOATjNes6HBQg/04xgC6
k3JLZOVcIXhTYGl4pb8bTNWWctyyBkK2WU1A0FYnoZrU2WlM5eTVtBu0UCpow/BSA+jDMTE+WlM0
OcaW+2tU2a3TVEPxAW+D4tbIpD9mK8NQpUV6b+im+7axe6eVcYmCATVxBnnUXWXV8XKZa5EZ87Qa
ryNFIfQ6ld/KvLs3UmT0Uku6CT3BQXWkGI6pdCCf0ze8f0zrfVkjF5wgoswn13vsxTLGBKqLqiPr
jMgFbFigibnJb+JT9Afe+aioRTdD2N1an0U1Yt4jBThqPxfLhA/TPESNPkGq4UweUtygprHRjGyF
xWEV+mBermMvjS0EAwC+jLUcW2soDuWw1SVnRtdYDPYLF1D1A7jnapAW0lYyEzyoVeyun5KXtMNk
+AoI1+vei6uvP5fOlonVqU1VzRihr/2hJZiNSyqBBL6tEwCW6bSJA2Dtl74ZCRwzSxSsd3bteyXQ
/eQ+B9SvhS4OOqERB6JuYv6afgqk/77TXQ2IeJibgMAxyz1zBI5jKeKG4quMrdKWZUr9pTE+sqim
qkupylQonR11cI11wPjOvNbDw8vPkYYWuExesKnvBDK7WChSnUoLtYwwBeBUhxEwBSzpIlBZnhhD
B9oe2HVooolZVzJvamOuQ/T2CALnKkZJVK8LhbOavKcC1QgQJuGlDuKkyzMqx1RdVBt6tzSz08vu
2hrlndoWR6kan4tcw7O6zL5qcgGYmXnBfRBvW3hd9bkxtGFYFqoSYKFXLMbZINdmmKu9wBA/bAGg
GO6BQI2+6G+0kr56nSt/UmbnN/oyrL1QxtfIajTmyQqhTXOMZCS/SyHeHM9370SwaLWSsVaZ3kIE
JcOo0C5J/ihDC5MJk696wIF/Hm9EI8A8ztD9stjoZEafVjMbkNm9og6aYHwFCAV0XkJ5zM0DgLa+
xn9PIZuxM6F9VRQecd3MftWM5o4ticy+wxfU/pjQsRIP4FDf4FAbHxG1a/3ZhKJWjLdMIRuT7WUy
RhmTJK+liR7ma/kRxCP0uU1CPFoOkm96LVjbQdSu/qF8WVxAVIXjN9FAHNcP7b+A8XWExJNR13Tf
0RmM7mivfEHiwl9cmvgyKve6yeh0Qe8WbAIPBq1wqK2wT94tLQY9szfw/xS9p67EKeo6kOOodQtJ
fa667Aav9Hs7zV/w3wACuIyvo9wdknHxOiNxSV550lQ6emSggojBkra/jVLpEUwXppNai+UAdhON
Cd0QO52uoRGLTK80Zspy0xsq6zhOSZBuXdhJqzMMll+jyyxehhMQ5RLg0gASZwSIbVNIIHkYnHmO
z9rceMVUeNc3gq9tJliHwV8BTDKd0bbOIlqm19iI7rsOfX+gL50YJmY92pQNkb5RRTV4rlnvRDLK
Vg5t3UgqRCbN8BplWjj2412+ivphuDfATgyjUVVXDlvSQgwIiUB/ROG+6mddSGbM9747OXS5u1ta
qlJT7TXI6f3hrJxNN/9CjqlrYihF+dpg/4oXUWeIaAeZ529J9KGQLYjUteU+nVMpbMFo6WLsV5TI
oJv03k5+qgdzvUn6HI1GD0n59HUpnjtJBIzLN3zEkUh1W8SQDWb7DKNVxtpQ8eINlEAD2I7+2fK1
x9nT/PVQCb0r1ed3CwL+kw3iQXCky8xdmQ0g+SGmjveA13+kgGy52/mYtkdNqHJFATl392wEVjaw
f6EizO7FJdqqC8lAcJV6g01OTZkKEk0iCcxy9HFWy9KChFx2+zw9T80qYJx7LwHPP12mT3Uc0juM
4HoohmFcBoBOGsZtnmHEO9O8607ovTpTEXCDaI9WrXelYEuBB4rjxQiGSnZB7esqFMM2+35dCue9
Qh+yyKkgVEPJ+e0S3BkqgdkkWbtBDLCxBoCHk9nB7EUQFJ50F5/mF4Kod/H7B0BBYvTE+AzMZZHv
4+7m7hsYd1sCpxdg1/iGEZhjY/TNBm+FYJnvNfztvQ6YTEBpgiGQUTqjL8u20t6WSdsA0acWROfp
W/UhP9CKXOeXR/JKQaarW8lw65vfAY/DFyDEf7tcdZXtP8cM1GxigtoI0vzYTutt3lZIBTb+9YVy
qvqXYhgvuCqz3K2VQeFQJ5Cx9ggYymNxKB5FdTLuoe3Ww+xoVHUocEL9g0rWnnJ7OBmr0A1ybWAn
gzFku5jntW7eFkPRjgsPr2maMKYcHNkT4CK98YC+UcEWvs/FAcwZSRHqfNGfwwKuSt2K+AhIdW8R
tuQYB+NT5ll3rQeqDS+6kUCX/tZUKRDL29CdWDZzMKDyYiRA6YMlzv56Z3yjPZy0Byl/wEpBFiQK
cDn4SVioquFBSLGx0QxyeUmberoOVmobmH6bPFokl9Dph5JmHaSBiDCP09l9KYw5SxJFCNxiCBtP
mJtFrw45ak9buIFMpQvrT4bAfXJiOCoPNSNFA4nVuy4hK4k1fUokagiyCwZN8McCsGkAhEJyGIBI
ZR9FmQmuSB2ZTwLGLNsCksXlfha9jfG5NP3BfETD9Wh20i/E6z0KTtQDMulJ+SzQmvdPbbQL/ZTJ
ao1ib8OiSAnol9EwH9/kX2ivOO1Yr76IsgecoO5SFlOWAsR6FWcEsrJjfIOI+FF/UO6kJzqlpPkN
nRBqHBFFKFWLy9AEMglq/iYqw0BAZuLidp5IvEgFCNfQtNYU+XnrAXmn5IeyUA+rfLeU3wQ7+r7a
cCmR2unuRsyjLB46paKE2lRt+tvuZkVHWXf7Ox50vzQmyLPixZK0pjaDWAFlyjo7jSkqYvIc6F4E
cxsMNnqJBwMiEtRrku+miYfMBhAXtO+Gw8f+jyl2i3ANr+8gz5HthTJupVQSM7VybGAryWgjHZ1W
E2aY6LGzaoFsP9rf4RV1wFZfHpK+ovlLG8EdZ95S2lgFOHOYl6PYNMbHX6E5p7/3Tp5hImYlRFOA
9X8pz8iXfioGUJwM+XJI+gqHZbS+mSatu0wrqAus+eX/dRcJMTQ0VttYpY2p3EuJvdql40zUGCAh
AGZIHiPyfF0Ap0npUgLjkdesMQD0qMThgAsALS2uuj5TpBnTKe2QDpskfuFOlUtaX/odeMJL6Yyz
BDaySqoJ66Mpz3Y7AXLTtV9oJWCYvCrcMv/6ct/f6hfyWIwmMH0s69bLcZjWYP1BrFLhcbiUumsV
qSCCeO+zLkUxfjLvktnYTGxs3NzM/d3UgpV66xy5vd/W87qlguD2vb1diqOx785htUq8qf2MnUxi
MIEBkK0Vzv++v2WoCMsyaZsiUdibbTXaZGnRFR6qE5CJfnQsj61XH8lB3GbLiUsupLF3Wr/E2bC1
/0izgTEouQqGW4Jf6Y/m796/S2NrJDUei3U3GHEox0GmWY5cmQJ14MQFl+thDqgDzi2qJFoc0jt6
83q30wsH4c/tgvHAzkIYa6pfRY8qTg7hUirjspI5kSdJglRahSV/9i45Sn8WgI8t/HET2jPfvH5u
I93mnRLK82LkMdD8w3kIFvmxXmSHKJiUab78jhn/lMNcmn016I05QQ5K5o4x30Xds0Smu64hAg4m
kV4wV6dtgNnF6iDI6FYX9RR0Fou6vd/fzpcnxLh4aY0zAwYHBxxXTr8c1BzJ0/7T9Q0TrYPx8uVm
dSTNsI4y7R9LHWhU3ZJk3nUhQmVjvHlbZWo3ECibBdZWZwGkcRuCYC07aSdqtKLQ6f11fLFzb1DL
O22z1VQG9it2rtUmp1VvbaP6Mq3jMcGcEnBoBQ5WtDqWmmlRMhUdaNhD+1Ad5zv6BAVOFBAoplB8
M3K1AngQGHxBnvldqLHO2kCkjcShlsLDpuHSBkQWARlxzXUnhDFXzJ/OZkNVb9Xt12EjSGurPe7F
1j6TbhTk4/gOcCeNMdp0qjPLHrEkyoQbZyAJyADAHitnyk4HYC4C3NYmFfS5i5bIGHBsr0mzaRAq
Rx+04VZfn9tMRkmjEGgHVxd3i2OsuK9StZs6yMmMzZP1V0SPDjrU3VF6LBVfYGdca94JY6y5MM1c
RlIVd/2Zjimlp/XBdCgIrHmgwF2H6+JE0hirriWplrII0rqUODko4NGZe10C37R+Loi1ZAyYrRgW
giJSnnBAjZsjnXhGcyXq3+h8BDvkbwg06SyHolMTYzOBFcaB1xrU1mCciw+GDAQpyiqPzCCoRaGG
ozAjx9OPvUDmyOR2whDySE0tRLONq7803+m4kgbqYCCA/xhXmpHhERKC8AxgL5g5PQnUz1U/Q7BW
1IBxel3kr6nSORmu5v+2pyw286CXJrLU8I9UK/ObH1qpuMBZgFaKTpDDAgKWvJ8nyM7nmkqj1nOP
dY2nDRsJoMjv9P0iOcsAnGTaTjpZSJzRunCy/sJEHc8q9vKZcK7q0H+iaFhth/4FNdPR6VUJdlS4
RiZ4Wwe1bgYqQ3rjfU+d9W5F4REjNNZBASpTNtw1PsVbS5fgRTwEwTXL/RqZ+yEq9VZeaVSsh2vr
gqwApGtWERZgdl7ukhM4QgQqJNpU5ooYt3UbdXqjZ8c8dX8Au9m33fhggx5W8XsFGLp2L4jxuBfT
fpnMHQGewwVdBdjmtryZQJkDj0pRb6xnAD2GtUfA6i0kehTuLXNhqNuUp9YAD1RmJ6q4K1hsQDHX
ncCRdvy9WAmINwAC0PBye1d4IHalqkVvIXgpXxrJDPVUBQ19oIyaN6TrSXCOVPkvEyUwzp00ZkdX
W8mVYcOOLsHq46pX0Knfe7nh60EJqntTFvhzrnfdyWM2025IumkS5CXQU91Y/S5RnT5F25H9lSyJ
QBr/7HbiGGc+m2Xfm0Cte/N0KyJBkOrelcfOaU5iT0d/7P1emqhBaGANM9jeulxVVxu9N3GoZG1g
Fvld0/TusHZBu+hAnwca4DoKnlfUzK6JZOw+llYd06kQORjnFZA+wB02H6+rCPdaUn6uirF0NAZP
U94gqIg7tMuumKK937ocM/5CcEG+bvyUxOhilG5GjjaWfy6K+enHzWsHygE9+f8OCotNju9Xdmtk
tHJVjVYe6J0/rkdaf9hgAW/A6iaYVB/UILoRp01E2sKopqonha6lsHPNfEkTEFNImRfnQW58WdS/
7ERwiiJFYYKLfIglKaOXsJG+1Ouj1Z+r+be887+7iPmwy5zC0OuRNSxYUd+4NGQCvOqCYXngxb8h
B+NyF+/i9XUhTr+Umdh6OVYtDEDtztV0o0XnxBI8TPhOREVZH8VFtHiwAYxaLmqUaDY/iBeFS5zC
GzzyThoTrpAIT69tgzQZ8WdZfdDA3mABsm9bXlSHhryiRhxOnehSIhO84AEUbZMCiRS/RJXvKeeo
5WrGjRUONNsFrorvTShaKDeC2K2TcV2l2fSNlkJqtRW+MpSOVFmCsIybmdzvJeO77L4ojFinzy8F
yA0/MpOT+R8yk3thjPtaJBLDGWNBsfqcWigl1qXoOqMn8c7d7/aM8VOp1semqWA99kE/5TetW7v0
QflP6C7KSYqOiHFRMskJxocgriw6px1Co/wNlqVL3WP8EsWDW0oLm2be0oAuxXg3UCGMWwAxA6n3
F1JRXLeraqZp0OL9u24BqzDLdl3pKUmfmuxjZqMB9qZA3EpA1hVcvzr/h+ewFIocQns02fMiiQGS
xwjXM17LlC0VifGn/KhjklU614f/KI05LvSggb6gjBPs5fgxP7S3FrCtyXeD9vV7ImprzggdPbmf
a2NOrl2MrZ0trI1O6FrgsR4d7VN8Mh+2UA5m8AOuNxR3Lb63z2gcc/WbNDAFnpnr/P/9BPDRXjr/
WDN7ObEkXNvxa6Z+7aVbMiUCH8K1ATrEDgxxzvgu6fKpkqIkCcFK6JRN44CAVSCC76ZMFMtVG+zE
ytuVsEuPbl2cyGNVJSEt+1Lir+hAp/JT7xcYuvnr+SmLcbuRnqu5UZRJWLR/hzoScRQnCWy33h6A
aXPzm5mN3foYN2yuUkekGTLr4mCnz0M5uY0+Hvu08wUmwHWQO0mMD84sg6hrC0nJmboTBR4FD0QN
7kRDcuEXkjZUy995ZIyYYQ4Q2Ffvhp3bzszKMsfRdaNxsHTprhoxcU+y9Kz1aNEzJj+W5z+XTtTR
KJDL9n7PRjvaxMBCVXtyt751zRhsDOVHOd8cQwuMvvDyXOTOeGVFkGf/s1iDCbbUekDNscdif1w/
6Ym+peJfyqrzXedOFhMGqYadKnIDWcqH2aXsH0lQfOt8O6wwaCO66ITSmBCIZHLbwwSTUJbf3vhI
igHG+pff+Fwj3C2OMcIxs+QkWiCOxEi6JXfpJHjXcz3jTgBjcZ0c242uY94xSyYnyQzHSDtvmASP
Cv67CdNktNNHsdCSdumAx7bPsj7rkpDSCqBS+mX7NkRub2CiTANrSHIyQN2hhwIj517hO6nM7vUk
llp5buGSfSQUz/NteWuDkCV2rC+0s0n/RNE+TV891ci5Ha8Lpw6EtXcEPYCIQR8eRsCYWy/dzDW2
Sxt2Z9ROZRyRZJNBYTf9TjVkJ4etqQ/VSLaiIUmY5h+WtXdSUGHXG3zY5F5fEGfKEyBGRDNsC9Gp
iTmzyzMsyqxMSadiShsZoOYzMHnprNBwg5YLsN4cbQoem+LRMXciyVQ7LvfyUjJj4kVTlUm1vUme
VQQRRRB539fYHwGaquW/QML13irQV2hh7FHH0PF74OwsrWQMs62IZ+XGMUCL1z22hWjiiysE+MYA
LgEy1DuU7MjMwUFB0LiCiTpQ7w7ZKVpWwda99x8UneunDCbSQyEyynR9QxBrUO+fOakqKpO9V/RL
EYyir00VgScNIkjzl1U/6mR1Z03z1lHQ8/bemC/ksLUIc9noRCfkbHnh1cMajtHgr9XqjQnKL6gA
2nHpC1SeKhareLvtYx/0faptyZDjiOJ6ODTT5kTGp3o0/AFF/S4D6zOxfGnoDpkK2sZIXc9tKTpB
zjPflk00LOO5BtjMdwPwjSalpgE/DScmN38MR0osjCnn8mb0Nn+SwTElKsLzlGYvkYmNpjnrslSB
9ht67vXtPWryokCWt7F7Ecx7R9JAgrlkOExKjkiKt06gqUNuvvL74lmMV0Z/jz3IvTzGDrJI7oyO
2tow2w7Z0mNUvmz6A5nu53XyrmuNaPsYg5ClOZ6GFdun1cRJyZHYojlmgQSW33qp56EZVOyeaYFU
sgVHbqt9+E+LsBln39hZnU0FtTa9d2ylcJNURNLCiaUuNNtm3HrUmnVcj5BBK7ZpG9D2C/lohapH
ulBcIRbtGr1ldo8noObrWpdCHJyVP+YBWt9+w9vutMymX7CTYFfFQMYKElatBCXbdym1BVGFaA1M
uNYATMuoV0jotr/MOSRE1OJIlfOKodiM7QNCtpitAcorrR/S6qGNMm8dcHUsi6sa8mGq7AOgYv6j
O2DTH3GaKNqgUB8XLz7axR1bq/zJBJdD6kbtUQeErdyAN7w9kCw5qGlwXdk5wzXQRLyn0dxPEJ2y
4emUlFNumNjWeHhZ89bJ+/U0owjc1YUrk6dlsp12uqmFdycvBNjLZRRmQAZ3xiQd3KB9H7VdqFpH
AGIdrq+OqzO7xTE6Mxv6lC05ulZ7MAmDKU/+jUbVy+1jlMbKh7LeLCwDPv3YVYozrIYASEG0U8yF
oVaNAbI5nJBG7nNtfM7zL9u0Pv23nWJuiS0CjmmrouEWSGhRi76DshB4CE4G53KrmMuhWgpMVKs4
DEr2vRwxbH1c7+1wu50PtuDcBVvGBkyVovVoHIYow0ycJv+QJI+6ELOXe5H/VC42QlpmTDl2ytt6
gKSIZnO/DlHZV07lcb7HME7qXz8i/qWxE8hcGkuxlFqdQiAdnVdB6kzhCrRHjD2EtieaeBAdF4v3
OeHtna/l39J+HJcJ/r9fOS5OdeVCNUzWGUwKHd5/a5yP/4+1K2uOG+e1v0hVlCiJ0quk3r07m/Oi
yjba912//h46ybRMa5qJvzuVmhdXNQQSAEEQOActo45dAkQt2JhX6GLahNo+z9C4H3jBR8mKcu98
FfIXKyrEh6hR9bbVufeiia8xnxoItSBUwfHyoHfoDAnAyJWiDU7mDKtZ2UKyEDe0pqqMng8q8E7m
vNtzlgEued5M1FM+gLhtV23jje0ZkSdRWma3QjxpsoiOgAbmuUe0j6Ijf31k73nDXZ5iSkGVTSnw
0HFpkYXQkoRI7eMCm2vpn+YUFGzJtd7u5wSEbNVDOKkS35carhhnSjtChfPZL3/HGXoNzqc/iDMy
lxQnMLogUse+gW4gcNxaLViQgD8QXPFSqp504FOVXVCkEoXsNAtBqsZmaBcfyuQ92D92+qHdVMl7
4j1DE0kMdT2SPoODmaheibPUzWACc4zPfTB7V1emU9BNZ8paw/7D/89ShMgGnHpDT7lSnK2LTxkm
wWPofcMswbyfQHE07CdMxsleV9e9/yyVvsxZ/WwskN5DKtgFvN4K3AGDXYH9vQm3l11u3QMA0wo0
fsN8hbE2D3owm9xK2jR3TCXaJu22nb72veZ0eC1p58K5LHDdByygutkmpvlfDbcEFnBaR94LzVtQ
RwTTcc/PWv8kP2tlssQy3IRuLHs2Iev/6Vw/qyUOtpBQ1+pUh6iUJu6kBo4yPBi5ZLdWMD1xGuHh
DuVTBogIMSXvJ3tuqI5+iUbdExBvqaCQCNoGEH+FQ7W9Pf9T1cyr9a9GWbsaANr9KPAIoO7mgLkd
iOutH2/azvMXCSEUDd7N3Ie8hQlz1OOhcXnqVB0sbKeseLtWdNEAXGxT4AoAaEqs3qI32k9GFd1n
+m6owFrK2ySraKc/t2SPu/DYSYvVPGYJJ8RSpGhBmEEsSdJBvZ/Wes4Mc7yiSJZyJaC9kCXEz6FS
pzopYEKIn9mzeopb5G4dOJhfwhk47oCgDO482WDMmpu8ECzEOFBJ9CHKfPzEH72fe0ivjeP/xx6K
o51hHox+PUMWz2tiQLWjvKDe8Owi1275S/ffEwPaL5QTErhoyNRhVLGDmfY5jD936iemAwK3L51Q
lbmnzFrEpI2EcU4byBq3eAneA8hu8kYOPH+lHELZUInMXPgZsqhr+KYKBKcCwgL9nhYfqY7nGgnw
ykrdAbMpKiCZAOmovxoHRxleMzoebn6CwP/EQq+lQHkrd+EXYoQtijs/mQDkEex6W3H94WPky2pz
K8fcCwnCxlgkpHk/Q0JFbpUJDNZgAkqI4cTavUJPoNPYSHx5JZN9IVDYnLyvwjKZfq0c2xdu5g72
kUOXZdt0p/gHibw1y7OoqWK4Edb+6mAojGoYEg0PyvwC9pdXojVZePrRDQ0h2EBvxUvDSwM2Aip1
eMupuhqaFrLEomphFSYKAJBVj9an3ogeil6/xuzjYxm3V6NJT1EyHVUz+1wZAEaO/PktLr38ACEo
g/c+yicLH8C768ZD6vF0pTrUxz8439aMxiaYQtNN4Fm86h0fKdPn1EA5pbQMBOImOQyjfUiD/qSG
43emN5Yb1R3AFCdta4BeCn2vV2XQam9I0cAfc/4OwXipXdpF7L/Y4Pmm+qNrCv8p8XxdihJufPD8
LtMsVDY1w79S+3xjlYBrHYtvczhJilUrz92cFueslpCqACGtTmxerVJvxy1gFTmvhe9FLg1d8ukn
3YKsM2EtRi9FCq4yBr6Vzvypqkirq3bsD/ncERejhlIAllVJKiD08CwFYjmxez0dB4ZWKkji78AK
v6g4hWtejS6Onxgg/oAWk8FvrqBZYUEXMoW4nbKeGGEGmcDtfgcIHy8b840JJOqg1708bg/KXD4g
u7hN0uSun7VNoGnXWqF+ii36USfju7KNtkFa3fSG7+I3TnMcHRkpTlY/bVmTnsBUIelyli0T//vi
0BxYWLUdtwHf3DYguANMbzAl3hui8XJhBAdSfFAdasDIfsO9Y60BAJsANDnTxBH9qr05qRRN0XzM
t/AEfChPOhrQIjezdjYG3n2HRB5/iyzAYi4JE+tLeRbMo9liKXO9TiIghqB4Yt4Q67odNyz7cnkh
1/KPpW7CNVilFYnGCLopSr8Zh8LLUPkKTeWUhp+q7Na0vpXht8si10+cxXoKRh0P+RTNKYz654VG
dcbTn15o+E+9Cn4LUYIxmiBEHFiE+0yTAeutOhn57rIyK6W8F7Yh2GEOJq+S8unLBOMe+saYDn1+
6oK7uJIMsqxvlGVSNHahQUO8mWlWNLQxbr07Fr4vLYZBk8qpqvYA9dwEnJr+VSB7Flg3v39Fijez
vC79oOOIJnE3OFOeogvgyjdkdGSrd05bPYsRzn8tn0zS1xDzjPAGNIksQRswr8Nm3xIv3fk/Lm+Z
TC3Bq6hZNOpkYCVrBHFf+9QDezXCZeWylFXL04AKiYlcoGGIdQRizXbdM1heqQN4Jv9ev6F3GmfD
QoJw2DZ63/InvZ/3PDK6/b5A0WzwUKxoUXoEl9z/ppFw0oZhlJrBBHk1uzUGUIpKa3LrkfZflV71
K9dkin9Oouo7DBa7+S0DTDlwdMrJSzH/Sl0LpOdgQjBlA/08zL2KEwvBgg0C3Mm3Cz43yWuQ6k8b
5LDvym7+zG2weUsTAHYPY3CcWEJHSvEytuNG3Qwpf3odytqb+/w6GH8AXXzwaqbum0TZayhEWEF5
H8Z2tglUJIdg77q8oypZt1LL5hjqBINwQvhPq6Qw4xm+V5to0gOwyz9lF+zDUnNQ08M0eXf00+FU
sjI9NLT/FOv+3h/N2yILPzSNfW81yqc6zUBm2sfXddsAqjY6onM5cjEL5xlJeZeBgVTv8js62+6U
tPdVoIROOJRgYwhRCxkbkBiAp9ZlofW+t61NEAYbQw13c6F7LIsA4zfnd8asHeuBukWZ3Y5TcleB
lilHounMth9fNab+IQ7oFzRgXhmx9mOegg+MJkdbTw9+Y3wbp+4+S5IHM9U/0KqaHVaCxKKm1UMR
px8BT3zwNZCBYZIzS5MfrOk3JeoW9piFQHQodzS3cs8ezAG8B1Gx0ToN73xB8oT+RgJWGnZXlpVT
B9qW+eUpVrvTWCu3dtbeEnPemkmz1/30C0BiQSRtVh+CQW2dag4SV2PsczYOxoEE2ZU9+f9YeZI6
6RwzL64AjtgDCbrAzSNOse/FnG8x2Tu7PV7OXSD83E5KOHtBWcpm31evC6hS/7YI4XBuu6RI2h6H
cxg+2BqqLHG/RenCUcMPl41v9UBbCBIcIGJot+j54znDLLQG3Co9Y24Y32Oil2ScWvO6lIXM1cMa
CCQM13edAO/4pc+ljMS5WfLDusa0CRp88mrrd+8Bz41xRklhZ+2ths/D/StMOGZiADb3mY5jptnU
h0Y7BEc93rBnVHsjfFQOUhpM/oOvYthCoODLTcQipaywoPxV0W4Ax2B5RXegOx4242NYvr+8gWul
8hcaCqYyqGpi2AE0LOsDAZNgAxyUUN8rbg8tw9qNM2DZg5rgOJ0mspEIX43YC20F8+n0QQ2bgZ9G
HpibdC4aVU7OhUnaP7qLrTrGQqCQ6XXZVPjtjOXFlMPHBqBrbl8EoGjqjQ3oeVyJequBeSFNuLWz
oO/mhCdFBKCNoGns8N6vuEHr/S7Fk72ZSEyWL9klAxISCt2urCFvsKRzc6/4zOXwTW2nSzrvpY4h
5BFd3YGqJ4cYTvhgb6NNhpc+tFIDznRP9qrstV2i1XMP1OISZaV6XqcK9m1Mb5toZ86nyJCoJDGN
5wvPQkSR+J1f8t6MgoBEwe432Qg00cG40iLJ5Xo9WT7bxfPiLkTFNYfxIs9RRd2CiYRPOP40exMz
QyhBMElqJFs+IaoouHX0M+9V0EABZQ27zMQYgfYoMXeJNz8XlhZqBVnl9wnPLXnsQmMn74hYqKV4
ssrK+lEAZgheCbRR1H15FETMLGig4pHEnjDIXsL6zHdT8aGsr3oZKMe6K/8rSmwTCJrUBk4wdENu
s2UpKMMKGbb6+pWanmUIJ5ve07ysdcjo0Vc8H+Y9IgW/C9TH8Gjm3uXdWjeJszDhZNODXiOpiWS5
su7C6XFS/yFIAS/LkC2aYHa1alUYHcP+ZOAPGr9Wg6wVW6YE/4CFxXWFGQHTHwJy4p9IwjZx1h7H
Ot1d1uM/HPa8WPw7FnJYjBbLErb2bNno9eGtTdYVOvi9OdvXoKiWOex/xNezROGgyjK/yPXxl8Tx
O8dJBEEJh2bMtnnnyTi5pBoKR5WqDEU+85V8dRL/YUiSWrtwUKXjOGYZB5z5/RTDXwz+rMlnPbSf
F1OIE8Gslhg0gajS3o/jDWlzp7AmB+xCEoNf68UF4DQH+Maj32tC32CgVRq3DBZvovMs9B07nYBl
TLadaeROrfUHYKegOFIPT20vM9NVd1sIF2zGGEluGyMG2Ut9YzVgIcpNiX6rAVc3VU4+CTWZ4NAN
UqcpHyBhptWhIaONO1N1bw/kECvFccr7aSPxvHWdzhIFDycNUUrW2igzGn3skiC4jZh9parqYe6Q
cBRpFzu2n9zPBjuxKT+EfbNRpnIzDWD2iapecnSvWtJiAYRAMPdGMoQ8otklHZy+1h/Trt7nxLwN
a/aGGSsY01l3YT+znrbNgKN6V7Rt5U5s1JxUt3Z0nmVPWbJ9Fby/T/LMt7jZqmUIIoH8ytSfwkFx
o0wBckAgmzaXraLg+m0TpniV56++xgmJiTfEvePPkxuxN5W7FksoeD4wHtVoNCFJKXtXD2/a7ttl
A+U/8Crd1lGi43NwGoa4Xp4MZZBS6nM0H4qLYcI+Ad3PNeh12bUe7Q55m3ixtH2CL88lmcLRHVpT
41sVZA7A6aqbEhg+0cZUtygc+k6ABDKznMH8zgcaOylfpkxhIQRYmd6rVQpABH+KP0TDUSW7DlOo
8dPAtmZcnVJpWY8v4SV1hRDQDFODKQNI/N12ww+K/6Htxl5sp+DfndJlaJjG0vLO2uInrg95fJ6r
11C19N1Y1lS/HuDOBiQ4OcoLTdlw7TLFf8Ck6BPrS1lbx3o2sVBL8O80DaqsUCGEq4XGu2BjA5Ye
2cv8TKYkw+iQ6ST495BqRt5WCCcp+1KH2zqjknNIZoSCWyt6VikgWORV8/6gnmowU9INkTKV8t2+
YHki/ABVBqtMSogZxn0zgyxDuZ+aRqKLZLFEuIF5ittaTyCkCsAhmN4MdeNdjlHrqdZ5+w0hYKRK
nvi0wPbPrTE7TR8BDDmwO4cAaTT0FU8P0CBopQ89ab8UETuOVJeF/PUEExyfNrCDAadChC2za5Bi
0oQ/4m2mTfuu/84vvdZ3TilqlV64kbUUrKdiZ4FiyUBNeitteQbNm7K6Xb+3r8N9DGQpKSHiaoAy
TJ3DA6DrkonepQ24n05ICn72vvx+Cn1778tCluBajVLbts5Bi/kdm98L+tP0HeNt23Y3yPHT/2PX
zqoJu4YKWTcS3obId+25XYJ3SwD3wK2JCwIB6cXH4rb4yufOCopMon1DaV3oiB1VEXys8noLlP/j
TIs9q8i2iAa3mTmzEy7JAN9PabinrZ47aAg6ofXdKyj5rrbjqQNdQ6T3bjhGAOzB7ri5D6TgtAOx
42To7pAD4iYFXBZ4v4EZt2niANyS+iZL/Yd5iLZG1t2N8+gGBDABCliRu+GIXNMhdfYO1X9HwQsH
SlLuiBy01Or7OWtBip7c0XGsHNqgMa9KySE3q3eB0nyK4/yYVuNt3ps3Rjt/ao3aUdPqA8hnvSYe
PdXS9zNLjzTXPAVTe7S2AFyjbfRJPQx6ujXVh1httv5cPoWa6ZiRtgEwBN5rzHdqFDp9OD+MuYke
J/WoV81nALS81ztWecSyN8Qvd5fDyWpUxOs1HpsYnr3EQVFSoYcuLYBHhKcUt6fUsfurfrA3l6U8
d4K/MoSFGOEorlRWm+UAMZXh38ykvo2DcXQMo39o6uaJtuPgkID2gGiMN0MDHqxQTZxQwfMLHnWO
wdjsMiOdnERr9tS0PCXJHvogvasTa2NW/a5JzW/USK5Ab3UK9eRj48cPedfelmoYOlqNFsQJ6BCR
IovFMvsWEkaFDHk4d7Dv+NAe5upYoSLMMwwfjQB/Mrsjc+Fnh1vULhrQELeMIAX+1fF0rrHjZo9n
UWm/0/pxs3BhIUWsKSFAH4dEQpuNlnFWWmBlFXDXBsWLGf4wxkc0rz5QkGWXCmA2L5vOerqz+AB+
5C5URr6BtzneKMsDcpYdy222i9x6AItYOmEURfZqs+oR6OjgcVJn4L16Kc/sQq3OI0RJFSMEvmWh
h9V0/bB/kOi1ftCc5Yi5oj3Yfc4BPFsPY/N3+bbdD9vuYJ7kfJjr70ILnYRDre4qJZ2HX2vYf08/
pRwmfKPiZSgx3J8PGGiYUw5vGl9AlxYDEzhaPDH78nI1E7AudiFgBnc0AQVQGZxMVJIVt3Xq6ZZ4
bQ18K9lM1uoGLkRyp10azJDSEmgjeFNUp29Fp33su3RXjFTSWikTIzhG2JE2ik1oNk7+ARMZlpZ4
LaWuxEz4z7yKnAttBPNPWexHFkWI+TmL9asXZ3Srw//Qi7OQJ5i/AZCPPuJXmLwoHdYfA+Dyt+Ph
slb8oy8pJdh+CdZnU01x7k/padbQLmUHm8sS1uPWQg/B5Lu+8zvqQw8+c/G3YwkyfYRELh/rRClq
HG/t9MMe4MqpKrG2VQkMdNG8JeY1aJtZ13Hu5wBKnMoZb/Pv40giYD3OniWI9yOb5IE9413kGVa7
CACpZB2m7ynwlLItstE3eSnCArFUvI6BHfall6ZzGFZ6DHEhG45EG96jLedRSXSJWuvrdhYj7Awl
rTFNKHrtAtQWtfaToj++xdAWighZddhUSNGKCBCWE6aWDGB17qe0PTWDtVdAVZNnZKewqHEykp0C
So+Yuv92+RO4Dq+86fwFz0j/i4BHW18tRwVLWU799y73Dbfq4y16+GenSwGxYBbdbTkmEiRLycqK
o6gktEHTjvbrXTK/pwwEMrIRrdUAi4skr75TG+BHLy0kqwoz1+IUwIjttV+8UwEUXkmsQyZCiENt
XyrtqMA6CHg0S9t0hvSLXduSGL6+UmdFBFMPbD2JNQI8TgZud514RiiD45TpIVi5WdUUNVHokYWH
spkOY/mQZLJC0HryudgQwdKzKPGthiWAzgOZq4bWMiAsaHzaed5yolzbK73Lhi2TKE7C9CBhHP0A
EvkFuQF1MpIkJCwtoP6VCFAA3Z5qks36jzj4726JeEN1odasjLBb/OE2OY37MgUM7jMglI/+ru0g
rWtzK3vlvxYGgznm7mtIQvBMlZ094jS0xuu+udLKqxb4aDZ6PS4vJ9+fS3K4nS7iRMiq3p/QQbyb
c2071aCxZ2R0ckXf6lq6JXX4GPokd5AuSR5aVh1goaDgybU+VkOqc8Ej5yj8MSvD5rJqMgmCI9Pa
DsKKp5lMwXiQMtzkPlS7LGPdMhZqCH7c0pKkhYZ90nf1Ybrm7T88dc4fAGYnBSvmP/Z6s84XcwEo
uPGjbOomrJmdhbesKd00SnQnDcmdn7M7eQhZN8KzPCFRrwI7MEiIcO4T4sb6zrLxhFPkh9L+IFlG
KtFMyM8pxXQAIQhWv6Zhz1gbmIbl7++a5KRaoSFFX/ai+sC/aGH4UVepyNSxcUblTQ/6kXrRJnnf
lpvhKf+n/6cAIGyGm6R/o1xJ24pl6ypYZlxMcYyH8XDnp6mrZvZToPobEtT7oagkoUsmSrBPLdEL
LeogKkqz3RChiJ7dZmbqMqCdvmUPbcIsuIONeUDhwIkq0yfA5gtxeVW3IE3Y0PqR0+jMmwZYVbvU
rfy3HNULicLhYxWq5Wc+0iw9f6zL2SuT2h3U9xK9uO298rqzFBGpiPkx+Nw06MWLDdSLtw0Iy00P
LxLPNdK9T2QSV71hIVHwu5AVNM7855X0dyYec1TggfOlJF7m1eUVSjr5/rKWq6FlIVJwwN4vg4wV
EBkE78y0cxM0TWpR7uTNB3NuDpeF8dj+ekV1TdOJRlVd439f+F6IxK71Leyb3YCWnfnvlDoFgBDb
/G9iBDeb0K4QpjxZLGnlsrhFx3jjlEEncbEV1iyEEnRL/FZH8DGW+7pWzshI2sY6+Hrt0hagT122
iVPEliJxE7PaWHr+tUZyuUnKDg3kmX4fTcZm0oYvutJ9JWX1CHhbgGHNtZOSEP/rfVm31vrg5+JD
BQ8dSDWbbMQmo53fK3uYVrwdndbJc3CNw5qPZC9Fjlg9hRcyBR+lZT2QdkLqZCnTKZrLXVr7klgu
ESFOQMUtmEUHDeYUkP0UR4+9ZjxctiSZBMEho6jVdCODBDWr9yMtHdOUWdG6T3CqYxsY/SBfeukT
pI86TefGmptfiDk5Wnil4j3ish7rozug9f4thSu68DxihiGaoiCFn7OhsmvwRver3veMVXIin3XQ
OxxkjZxr8EHwkbNgweXZMABWwXrO2um2/97fPeNp/tsKnoDxTNZit3r0LUQK7m/h2b1rGKwdcP3g
xnZ0MI30p1iT9YStG8dZNcH97aDDDH6DNZ3LaTMZfFRENoWxHp3PIgTHNViHiveA1QuC66iNHDrf
qXVw0prZqw3ZDWtFHxTwdYOqtq6beGB9aSNtOVsTCQG6nucxiCl1RyeSbuWVnYEEZvOeXguzusKK
aVFcpgFvYS/QZ2szQNh0nw3zqW6H7WV7X1m3F4KEdcvrGUGVj5K0/ozxH1t5aKKwckbAWnozG71i
YpLu/DVDfyFSWL0KA2NxxrF5OFAOXPmzdiQNGnjQPo9Jtdx/5MD/0jnGtWr+QqwtcoiMAMM1GW/N
5ghPXGx6UBxOOYa6OvlVzcfIxXRq/r6r/oVgITSiSUMbugojEEWYFV4YxZ9Q+XKtZnwM2k7W7bV2
3aJEBYcq2hPxeCDO48WlP8B0UfnmUwlp7HAy08ZrM08HEl+wLWX1Jr5bQqbyQp4QQ7QSWMkNcMd2
GnoM8m2/pztlp+1l3bkrwf+FGMEhwskoTSXlV1UbLs6cdNx0vnSOcCWRfSFF8IakZLZd5Hjx4SSJ
v6q56Dk2AWT43FwgK+dKd0vwBaye1vq8TYjnG4Df5Ixcz/CbbNfdhUet+PuEb6mg2MPf0T6oaIJl
DOmHQc82mIpzEiD/Xw4qq/HxbINMsPhYAYP2Mz9ciNHBvI9OCnbssoi1l4oXmvCtXJzTijIrPfOx
chxAadjNe7MFtyzH2ct3iZQ5TaaRkHtYUV0ECW+K4+Ut6wMgJ8E2U2VPHKbHOpUuuuLsh8saykTy
vy8UbAN/zPSam0YRHpTsGCaGJPbLJAgZR4npntIuIaEY3qs0c/VW1vK0eowtDEEIDkNtjuVIIEEv
NQwHMzdnV1Vz38SyS7wkPIj9R3pHlD7nfd+K+a3T1XdzCj67KDy8ZUuQhuH9GQBK4pQxaRjmUzjv
oTnQTVQoExqDK1lj3+qJrJ6FCPteEt0PzYmvWZps57mMHNbWt+Am/F751rvMloGeq+sR3NJAmaQT
/Cd4a4Z7gV9zVkCbdwMl9k6xE+CqoHY2fVRsQLBkoLvvMtcGGfaAGd4wCLfUaHD/0lyAjduurlz1
CuLIMKJRJZAY6X84+vnzBEcPeGugxUtsv1vL/AOHGLJOQHmV7K9UluDmeWri6b3CUnA3Xzx/xqfp
JB0/+o/gf9ZM2Om2aDojiSGNt6Ta7SPHsB3uOnSWJd2h3NXF/7qUgsPnY2D16nMz51+DV6/HlrNu
gudbUd+ocYBdU2LAJwEftPEl2sgkCBmB0oWzbvKnUDtB7qjOXmRIoEpkEoRsAHeWPptz7E89V1sF
c/Vq/OMtAeW8SsLxn5VBBOofbgHJU2qWh9iXoRjJTFrsAQ0nkvVmjor4GZbyJ0KXHJZyrV8NZ/K/
6jx/y+LICuocYGUZZA2tumdK8r037RDdacVdZWinYAy3auA3zhS2Lp4uv/pZc6DgBdjbnX3wy9br
pnjc6LVynzaq6bK2eQqa8ouq9rsBI4dKk9wrafhDVbonvZoyRxvJDUwaUz5xfUqmNnYxABm70yQD
N5QYwrMjL/TKrJmECWdANKnuMP8TkV331p7sXqycEHiCiZkJ62EI/MmO9ej2WYzD/snVXxZ8xElV
vx76EQASXCLd/kp17S+cCCrbKvqbputeaCjEnmFidRVn0LDfBnukg6oTbNj0Fe2Tm9rheKVzJUNk
Xk8KzuYoxCCiBzSeDSQFSXbTZA9Jfi91L231tEYfBoh9VApYRdGDbSUOgfqOV0hG7v0JeKEFEMr6
qNiFgBzMFQPD7lr4Xs0yrzf6jzllodOWOtq62vF9lwBqy0JC7hYUuBqloZ+SQYsdYttPfLxs7ALq
xhWev7PxQSvHd6yJNlPoo4VvekskOushXgzqsEn8nr+mGtXoZGwXdu8uhzq+2K/uiQsBQpYRxhmJ
kcCglzUHWBuyhyJ2QvZYZpK0WbIhTEgXymRgpcIb/f2SbkkQ/7Ap9qOjuyJW7iM/lT0PrwdYzVDR
9WgxtOwJ51A5oDG613AO/T0K2LrTLmQJJ1KVJX2vo/Xi2YmqI8cKbcYbfgkp0BA4y+KeVDfBuhOU
wvOBdzexJLVd4NQRTwWVlRNS5YZpU+L0aoLEMDK2Rj49ZIl93QJf9rLhrHrxWWddfNLNJq3pNLzP
DYO5y3oL0SLTQFrXf78sZ21aAkzB/26kOMdW9YldGrxZzE90t23VaG8UytfCCL25DBQniY3rKEnc
1GTv6niWIWXI1BTsNopZO9cGljoJTUdpDyQsXWnOJDMgXThn7DHuc8OAjs9TUPOVdUD+XqMxBI3Q
/AFS7STVPm6Rr93+vKj8aF0cnf4YdrjMQK1B3c946DHbbTju+uQ2BsmhHsb7y5u4Ls7CJDPw/PEg
zld5Ic4iU8kUtK/visa/GjX2WVGZp2r5fsq1m0qtbvFC9e2yyPWNO4sUTpkhSFKildCwA6ecMrqm
/h1buLksZIWEGQ/G2lmKEGUoBdzb0GLjgiq918mkekrcMwf0LRWI87rssSr9rwSP85ql3bVlDEwg
rdqnunqrFv5BUdPryMaoE4mzp0IdP9m0OzFa/OPHkXlrz8b7Vsnp7vI3v474loZCD2UaHrxtXcw8
jcIAYWE2ATcLGJ3+aIAYqrjJjG8mlWz6Sph6KUk4W3qGI3iwVLbtjvmBXkXH6S57pquVz1S9TgUB
bw3YZFyTLYZ/ggOldmcmVk/YNh2Lz4MeHoyRSvZ6VR1MziOpQHMTs8Q5MTaWmB3LW+tZneFmPqk3
nPp9uI082YjYa+O1AOqnmQQd+5gRZtyfFv5i4G49h2BB3OZEcyiwgEKVuHLia5kY4RyJ9bEJ9dBk
26k8hcMMCJvIy+jfM1m+UObV3FQxDRo4Odm2TB70LHWKKtspdXylxPX2smmvbxEIBnTK5x1A/vly
3fxaAWIbBjC3Wu/px/42APjPaGK4wtrLSYvXVg809iaKTnj3fNX0S/0cDwjDZAGVznDN2fpGp/Zq
SBOJv648zFhABD/LEYwh8xNAWOJta8vbUwKyGXbkA228dGt54zG/6UCkdp270toqP9leHhEvxQrG
obMxiP2Aq3etH4H3NZ/GwmMuwTwrC4/RViqQh4NXAjFeARhBbN+r5zsfL1zRDAwHvnnlgVzHGK3A
JB3fPDkl+lrAMM/CxKd36neB1Va9tfVZBQDpoXzohuz+Dea4FCIEwMEC69w8dj8jBr36HTHUa/nq
rRrjQh8hTzGSBpM9MRZvAF9xdjUMHwNLkjOsicA4Fl4+KchLXpVZbT1Xs0bn8c8A//jwZCbEIbmM
OGflzo2r4UKMkJpYc9XXEWu43Y0e2ZQmvNg0XJxTu2KrDE9yFlOZYvzvi2gboBextysoNtng6ZkJ
0CUBldC8v2wNa+fuUi8hIcEofYY7CYwhLG9tXCA1sg11xanK2rksaCWbxAqqBOTHwPE1X1WOWZar
DcY9ra29/3nuJu68yw6104P+U3ZU0bU4sZQmWB4xaJnbFNIA4Ut2NPQ/RFGwKbR4byS4JtPhMVOK
xyhLH3Oa/UBn5kcFaIgdaGO9tlI1p9LSXYWr7VjHW7ultxT1bKMO/kki9q00rK8GRvOKgJ36NPDU
OJ22saKWW7OiD62pf0F3FHEn63FET4hkGdfi0VIxIaeorTKkZQ/FmqN+BCH9c/pSO+VRvohr0Wgp
SrT5oGn1iO+YCbbepj5gClNiFDIJgo0XRUzNzIL1KRH6IgA3Ukt4pFedSKXMBmsR1V9VXIbcrtIy
QgDS/buAnhLrNmwlhd/V452dZYjVEIw9s4LwEyK8yg8GEsr5hieU5l4B/sXl3V/11oUoIXT7mhpq
k43zwQBJaVoOjk1KT4tOUfHpsiDJuomFkbEdMG9jQBAJr2OVOa29MbU3VEN4SPh3d8T8WOnrMWYF
Vu7vU3GZQoItJxnBo18BhZJ02E2Aew/G0inIfLi8btr6DmGEzMScAQCfhKuXn4Nb0Z7gM0NHn1hc
mp5iF4aHdsYv2diCDRAADv70Lk5yNyL2fY5FbQ3t/Qh83TFRfgxaeNBT/S5lpWeXPfM6H0DI5ahi
/jf6YNmpW4Dj3akw6B5h4B2zwJLjdP2g4zNwvxQQ8jqAjGEamfDAySdQAG/amteKO/decqBuiZbG
uXu6vGb/cTKcRQo5HXhYpzy0kEpyB/oZ0vgVpnb+xIVk0l6ViABB5BsdFORGN9zw8W7zip9D5l5+
A1xpJIKJY57QBO0KULbEGgPLitSya8KlzVsgNz3M9ab1zGN7G+IBzzQPvdsc8vIPZnRXWvJfihaO
9gBnMUY04F3xbIOUwnCKCWANsfohjdC31LPcSergYQr1Ta+Df8ZqbhgLAse3jWOi+Dd1l77L7fSq
iX10246by5vOzUhMq5frIviJQRTT7ijWxRw60M0Fjh4jE1CRwpHEGZtjKiNGXg0Ai40Q7HqGN/Wa
j23X6qu8PzF7A3TsyzqtNAS/XHHBkE0/iHK/hVKDS9w83PEhCMX91g2nzgNn3gk8a38PLvFCpFg3
0ZtxThDcLDyWZY7R/6PQpyiXHAZ8L17vlU5s0G4AQ1oM02oWxyjYqLjq2cGPPGaGS0vqgRQmdpHs
oeO5CmZJYrDupaiv/ZYpxGs2+OasTZDJYwKv0vROvlePgdvv5F66wjjDV/EsjRvPItfOFKR2aBiG
q9A4AtRFOW4rK2rcRsuSu4FhTIzUBsOlHSWzQadOqtJN1kTdY6GFEVp76sKL4vYDmaJim4OxfE7G
Q6QAjT3hLzpFvoUbTq5u+6XbZzR0uiqSJDrctC7tkejsWTrBwmEHtjp6AMlzKY2cYbZctb6Zgu/D
DMI/mUut2zsFZSIfmjY1sfaUW8oYpgp8CrNTI6IbplR+QoCN97wxIZz+oL6xfkCdhYoWP5i5OmkZ
KgB14I14HsxQ+t4pG11zh/9j7cq668SZ7S9iLRAgwasYzuBzPM8vrMRxmGfE9OvvxknaJ4Q27nz3
KavjjgtJpapSDXu7mgtTKm/XXhOLYeqJyFnY1arDWLFxsh1lzGUvsCLpdcV0LIb1JyJm75VaCtKq
AhjljxyReTalGQDSAgAOwEOvrWehbx36fiJt9ohQg5JVqgFp2tHY+LkDVoLJO9GeTx2uGm/oI+YX
0BW1ihyxGB+dSJ7da9nIwCcH5jO3JeCtK9qQp4byApaHbbtKI7+qKrNrPWaANqrBAei2JUiMci4f
b0Ggagm0KO0+k3tbTIoxVQOzhQJ+C53NHMAgoW5JJQjs3WpHQbCNeQAUzb19uBtcYBgdg710yPuV
/u9/uYfM0AiQRgGBOVunqoukrcfJQNvCGQ9AHTkzr2Or/e5x3Qoc6VJ9+lhd3ybP/zA3GmZpkXDW
FPVt508MptRrYSEjJwNPp7ixz43vPSpf6D5zxy2GdRLHPIa3PiaWo2tik9FWwCdrGyuvoeXg6uQr
ZsoESxyzsMNX/AiulNvkcTJDppu4pwZhXYunDf1o+fMNpxg4iiePqNKv1N8hw0DLlYHe1cXNLLqm
YUIZvdvYYmYB19om6SXw1Z0R6X2PA4ROeZ6CZEKs9Rzy8pP2ZGPn0dmYxYGYZCe+MyU9p4y1r/xM
enrOx8q0tpmzyCzrOwV0o3C+/VDtSdq6eXBeemv9HYtBDMBxdDS0Aw5Dm11NtW+Rvpg0dshziwmd
DyTgCepNwfPQbD9e0aIzfpc1x/lIUJ3zp69wycbbTPzoyqbcNav8potLApkOUUyUzNgcvQFN/UDD
hI93AzFYcuRz8LVxIT8kGoAx1+oli8KojtydCdA+1Oh+D5E8kRbAQNAN16i+j+rRLLZVhulJzwSg
g+R+vH8L/lZVdZPpqgp8KNA5/S4LqMVgn5M9BLU95bIwbZKn9sciFhpZwTtLVcUwgSAPJta5T8do
hayjgdU1iZXtNGfqpwzV81Li3oE5qMzicmEAYw++J3bbhpuPxS/o/G/SZ+5eNBkCqhrSyyFDAf+x
T9HIE335WMiCrwV2pArWVgLcA3Qr/L6NpAUZl5lASMNGFOvPqxizfIL3XrRyg5f83m+S5rYKDKpg
wYUk+arAoAzYui9NB+wvaBHmPdpNum2bWavTJG+h3swMQ0NUY+JxUoD7PNPJxIzw8vAL003L5o74
bEuB1KlXqWP6petr5UuUUB7F/UW82gi9dIBUB9088lcaHrIz9dHktAHeFzgpo/g5CkdgJiI1Q9YG
WZYCNSQtKS63AfRA1Fx/P0LAIbSkL2Ik/JAetbxN4YY9lztLwtCTlXwJ30CL5cDt0dKz4l2XtOdU
9Mwsh3UpjFoOEVREkV1W0UvDyLgV+WAZmrfWn7tgXabSPwaYcRlBETY7ya6LMlK3KK/IwDuRQK2V
uSRR9qCa57q5hjKxZF5wLSBuMmcoYv6+qRjtiutkKpmTBuiuRrMpxRr9xYIHmG7ePyJmF6JWvC5O
p6pUpRw6/6Gptv7IOF7/tQnqrmxH46eP7/pSrPubxJmm4LmsVJmPVDomkiruidgZNHbd1eKQR9Qy
zRj48/B6SQf0zxonqurFq9dlmp20w1rosrbBM9WhXU1GOcJpFkXKjmMRX4yldsgl+KUeY3Qxyu0S
9c61IXhqk+w8rMZLLaJ2DBbJPsnvV3Zm6aoiEYtKhg5iQnk+iFF0si/1ZCqkbeimGs5Og8QisTu3
l87Jdm1aa+n6nEqd9ugkQlYjSXiaAalFY+Lgr0NG3czouVasBBuLV+dkeTNt1kaNaaVXwTEb46FL
6ytRJJdJHNihJKG/WV2dPZ5809zqnq5sptvGKKmlhqStS36V4LUGJXi2yRyh79bLUEvRKFT7/QBn
qh3VeS9pNdTpvxdYzDds549WN9PdRA2DPiLYTsk4Kg1NeRqgC1eVr3pTOchZ8bVJTLvuEDJkyZF0
LbiwGi4iAgZKdAwrPNG1TR3EGe/6JuZdA9DfmnG1aa81/ds4xK5SIDPCLsoIvHZyanu1shHpl1y5
iNSS59UL615J02zljDlDQd2wljY09QlvGhn3uv5SZqDH62Wwkys2AHksTX9slWvM2lxnIAe2xq7b
DfpNFeBMVEykp+eyJtmJT85oc0vSDt8kJ7rLsmiHjiLXT2Pux/22xIe2yUUlGBf9sM+7l0r9Gkjh
vvISHirMGnxzO8rpHmzhvCorx089rmDARyQNV1nyHVbdAmnzUenOo8rfgXdwGyRHZSztgIqKC9Zb
wQjwYMz6ca9JXFF2TqXCaVLQXDbxU1XEeBmTBzmQLW80Ot6g+zZQdKdkmTO0Us+lKN4BTtwSA0bP
DEzF9kA57vToKlNCPgz4tepVnvuOwPxq1k4MjHTbUelBA4GhVzWeVQ/f9Ag5j7IBRjFOtwe9Yd+p
Ch+rc6UzLYrxKVky7c4br8H3w5NQAJF92GRNtSmw1BBzTFGRbvRCvCQB4Wj4smQvtlE13uS0fZLk
1jIlg/td4ZhNZPdA7TLEvUlVewBoa9n1PFIOaddd6Sp4pSaCaE9iZ3E7Htuq43k/nsugKkdo3Zfq
XR6QG5Xql3gAuJ7uWyBGtjra2iz4zrqMN8rAfY3ckiSwvcKzVf+bhAneRiOgkqzdEN/RsJjHzORw
UxapC0CBmpygABWoz7H62AM4mebRpuhqUJGdDzG6yLWjZ2oHiaVcoLG0rakluoeo1XhkFjwygBtd
j05SUrv30fsQdWcaS3HqJfcSmSfqV0nRXMN/boF8neZ3if7SdbqbgMct1TqXKRfMMAHNRncYuj8z
InLwkti3ciM6RPpL210mhfEiaw0avx4Vs3T1Tt0OknKd+fkZq/2XUCJPOQbLnHakEyrAQz+iSUxt
t0UBnuMiw0EWutuQwUqCK48VbjYcAUztBEEOzgXlTI9DHjZAxMaFHFrhUC+69wNqDcFlmJnbthKA
ZCxwydh1mJdfsyI+b5raaVQ07sXxRsjFgaIaVslIqZr5ORPjlV4bNtjfn+IuB6TMCDrkhsGl+t02
G9K9GYkNCTpLTVVb18creQzPaqWyApNsdNO7DGX/wus7FPlUKN59WhsXYzYepFbwtgx2UQHkq/5a
Db6VWWQp8WNaYrzYbKxR7p1qiB80eh8ZvuAYbcqAMps+eHgI1r18Deg1K5Nex3xwSFtyxkDB2Jm2
QR5BjQ6AkrS7KEnIi7rgfZTstd6wTSGjN9THFE7DvfY50J7EmAtrAAtyBhZkBo7TpnqqZY+DimSX
kmDfe4kFAh8nYYkV1Ngq3+oNYjFMOoYjuc/M3vbEc1H69oTCQnQZ5S6N0/5rQ32u9jIvRrJJwnMP
cHOh6SGEVq9aQMsUpRTxUjBLMhn6MGqHBrElhzoXylU1fDeLjAOm02VVdZc38jNu9t5Ie6eOjb3U
VN+MAfMwVL5lo/TStskBqruLKSYRI5iNBBlxVufZvkpJ/lVrzIRHrdI5oC6o7YFm92qCcHPixoy6
uOV96PduRIti7yvjqx7hQnXVACIbCjok3yumyQSjxYdpr0FbxXanic7WQxj+eNB2XdPZZVlsk7pw
jJ59oTq23RdnURmjdKuZBy/0OOhp9zrxzL0iwVzCNiDo3nUhsc1UPDQkxYVRJB4U5VExYmi0cau1
/VEyvEcNEFHATk/OY/G9whbpIbEqQHD64CwwoeoeKtwdiN6K+qIuJYf1z0pS2FFxBTJbPsT5xFuT
QhOVfOCKAkypQXWJnvKwuCqN/uCH90Lv3bCSeOgds6Sy4yCxaQO2dCPhMVAYmJTz2kyhQlf9GDyj
/cKK8AQy9P5c7SpbC9XHQRhbTaIO4JHPRy+yImbs015BBAp7URV2no5cKUG2WkArycQPm7tjoThm
bDp9Ol4NqgGM8vR+KCPNilncc1OSuSTu8yTcZczDgns7SzMXJWu7qDATXwA+sDBf9TK0x5rumFE5
PYzqoJZuiZIIsM4fjeBZ7r63mXSu6MBr0Yt9HbTW6PXbHkVIWR/hLjJYfMG7IrIZEiuqF9ikip1a
9JtaRX61eEi9ZMsq3/HYUSpvjT7CIAy8NYDj1Da9mNZqDp2V65JtlEAmbWU+sgl9VXKyInsqcXQJ
utRQytjozUMwAHVfbXZtovDCINzLFa5ll5OtkzvyZWIy6g3PMuVrjdZOAa0tg1u8z66ywbvsu3br
GdWuwsx36D0K/NECZ9NDea5O0a6vSJYeM5u0zbaABw7y9kqqgfoOj1zUgC4Tt2b+0oXhlhDCY/0m
hgXQ8Zwthm5TEIp8Adu2GDBo6mwrJ8qm7l8pie/aFiCoUbuRsvQbTTvQfYMigGL3lQgjNLqVyr7t
aaUV5925rwRO27wmamupmWJFwfc26rZAGtr1g3ZdVwZW/zUw2MY304Om4YnpA63e0J26yK0yHG0P
bxrfvCQeaAq8w4ivSfLSTuthW0X+MeiArAKucUBzjmaL6frioDA0smEXJM8/JAYiJe0liHreygHC
htgyfTw7NB+lu9xpAtMqtNLJ87siqeBDVIysPOZ5a/lZa2PqQCaZo2eRygEQvImlO7BeblinACeY
7FKY9MR/8eqHKpZh6KYB7JHL6a3oI9frwr0OOrOSWIZ5mXQ1V9LuvEDPjlCCbT5KXGvKXZRi4jXq
ACJkNme+/D1T6K5EBU8y5W1RoQ2joHepkltN0l8Ls3AATgIsuNKp8AloK+ZSKW5rxb8JCzztMDN5
IVSU4pJs20XsLPDzDLP6kkMy2Z7mG3T8d4Noow9ru0gjEDNi2r6nT2FXWZj3Pvg+zHg7ukXu8UyM
jiKDE0B/VYrY0cfOLZleOSJBdCREcC8hzSiZvluCTR5TtRsWPUrheWWYOxbSjdohPUJ7y8ipw+Aa
NU/fs/I7UZIvSplfVqo/WdrzwBNuJWGtQjkk6q2aVketxtBn2jpyNbFNa5Y+elYf+Y8NqTmwcM3E
sHRR3IQJ2xtttNcDBLH0u+bVR+qFqLyHViOl58iPPqlGdSHq2zavHTCDOUro8zwkvBMPLc6rUkYe
lc8SHB0CABYwq8AgGJNSuxwAWJh0jtR7MCp6ztuIbatRAqZgd1+K+6w6aOhcoC3sn9/mZ1Go2hWh
ltyWTj1EMKqwyYgNPDPiHUkso23hwft9XF1Hhc4bD14sKr6mWQ6QEnwbwGTQ18yNSHCiSRZpI3ig
Z29EXF2mcFuyhTDaKaLQoql3qOAfEu+RxqNbIsXVIYrMqZRaqnYnVf0mwouFaMWtKrS7OEmfRDk8
FkQ4afPABLgYzZin6lc6JltpMm7MO1eDG1E998APSnN4mqrYmQOxM+FdMEyHoMS7KXzklvHEkb8T
PTnQzDjmdXtpKr5lCMnpabjLo/wacfW+igFtmes3TK6OhSE2fVmAVfdbMwX8kWF3Y3LdlR6uOjCk
ygr85oVNpe4eRM4IOxEJUVh4krAnX4xWrT+OU9Cjdsc4AFYsuR1GAe1PLQCc45+i2VzG9kj9ZqD3
gsjnhFxmoXYolUcPFzBPMt7DFfBO8Q91MmyD0L+utcFBDAevVh8zBjfYtvcwf0cwltehZhWGZPWN
Acf8NW5Al1GN0NDsi9QIywOxec7M86TLN2b0Xde+p3WHl5GKSmbzXEmGE4jS8SPVzkOA9TYvrBLO
AAT+Hm55+lhtGM9Ss33tRYowMyLXYa9EXJfyrRJVjwacHou7Tag8dFLstBhH4NGg7utGdrzO3Abp
StPAUo1JBScJOr7xxwTf+XuSIgJQDlC93hrwfnQnkee/K6AtgPxh6upE8iw9gucnLdnUjhMoNqqW
4kAAsYS+auCYtVuEjL3VO3pvh+DRcX30na03fSwmaE6+YJY3iRqM7FCKLyhjbwDWZWBHJt0Wfl1x
XUX3/UoWaqHAjzEzHaUaYjKk5GdJDEzw6MGQozTsj9oXpZYVnjd4G+UicIQIrcLTzqIofRgyDLQj
3qw0Ntgff8Ligk++YJbZ8BQF0LoFWkTULrZQvrTLetswqyMrCallrUJOnMmA8ZsGk37XqjiOg6It
E6S+DFhjNco0HivNBYFpVWl4XcklbKWkmJYnDUcCPhkR05D3DcWbOPFu2laCfRrSSxRFqp1eSmuw
V5P8P1I8GAJjBg6YYtTr9+9rQ/B+huD9dv3khuZfcnXlWk0b+cfvP8lXzZLZpqEntQnwSrcW4DDt
in3OOt6BaCeAkwn90UnHZuVs/yX9+0+ObN7V6Oe1irgaSbngMLVtAhVgAh1SjxPKkUys0F3rIVnc
xAlPG10H4PGaN7oKZgogoECgMuF11DlSUzcf6+ti3vZEwkxfq74yc2MagEBABJ86HIWORwdp8SD5
WNBygvFE0uzAmqRM2liHpLcBrR/lbsz4fK5JZFE73oXNT0pD0WrUR3QiU5aUu0oOGxtN0oi2hzOt
a+0siZC5SczHlTUuZm1PxM4KVmnaKS2qAUh/AarSPPN2aanx2iauAZ7GBE+LNRzHZZU8kTircSat
KA1DTBpyk+36bwoPbOTYeIpWAquyJHutYLUqcObNBKCIskrDzk74aNVt6uzSzbjB1nLxd9OQKjtZ
3szKDeo4lGOF5RnxDbp8eamBI95fuQPLa8JEtI6mIoLmhZmXCoUUK/U0EdZQD4NuIgMwYGmL0j8U
MbJ8MnHaOkEcrj3kubfJpMHtAuJqA9t+rD+LzuPEZs4uIybu/DHzkRYf/eu4Q+5GL7jWf9PUlWmK
xWrGiZzZVTRDJcpQnoPSpOLG6NWdptPridyBI/XxpISl8/G6Fo3Mu7y3OOWkTIPHserXU7pfUcSB
yflNXzNrzKO1ktii+zdBdA02FkP5o91ADoei0xSsq3cVl21LPJtRG+/szAnduFhZ1MIAOKKrE2mz
q5dFQ5eVKnQzkkgJ7EPlGfnyczMvz6b0pA84Tb2tWk6L7tKUyYUR6Tt0eKJHy8gtuSofjC5TUanK
cq7pzfTCzCWuR4puy15yFScaXvp+vEaWvXgUJx89u76ZIYDdNW1RnQLHnfQIxoJxE+TqmmVaEoT+
R2CyYpZUp/PavTIEcVVPsyC0E5Zgl/H0EEXC7L9r1qmU2RmMslGZQQspcoj+X7yzpDDZhsPaCNVS
pzTw0t9XM9u2Et3fatNAzrDR9ik5pk66MQ5v7Sv1cb3paFG3TuXN7F4YxWCL8xE355r0mrfZNsXL
kUUjoLj17rJEPcupmPI9aMK3nKulN8D1grE8zxsMYJW142fDxdjESMZ66s4n6nUv9S5YfHfEQPHS
KFcQVddOe/r5yQ3PurwiTYL9UXo3yW41by/RFcTsNRGziqgCyggST9NSko/3921sNhzJkI/VackA
n277LGgFpqk6uXB0FMi5PSZwcWbn9OFjr3QrirsUoBgquFLQJierQM/+fcO8sFbMdJpni9s7TU0d
zb/PlF3MnBKc4LFk/E3oeiJvPj8nBbKftlPTrHQmnN6maOcON+Ri6iBP7fUw4a3taR6en8qbRUKe
Vseh30CeWYQbeN3rRhdInqPTUc7sWgPPpJG6RhK6BgBOMIiwGwPNkpRy0/Tk3EySLZyUbUb4n5PI
zHkReDGSqYqFfEIDUkoF+a7gkfnxa5avAacvX/b3s/ljLi9TOr2eOtEnINPMDVw/vESCG7CiqEfY
+hqtx1KQf7pVM9ui+Dluu4at0uLuOBTFTcaCFdKJfzkOFQgWYIKcyI5/VzfUhopK9aBuoeRbcsJC
QErkKLQhaU/N6mEU/XneA7ikirS7VihAdpO35RDvDBnVE6EW8d7r/XOp1K+SJsJMcd8OFsbwKFpj
hdjJcpmjVhp+rWjgmCD6m2qeK0tYmrRCG9r7EmbBUZtSMysYTqWyQUZAnHGrAiA9Hx9ZbvdX5rF3
up28JahmKdYQ3Tbe9bA2B/QvmgFymbeglM0DxdEcDT+fBs2GveLW5+VRva5fMGzoyFvpm7nScb6s
F+/CZgavyRtm5FMqQY6IlZZXbSKvWIU1CTOtQDFBCDYtZ6xQr7oM1x6Xi4E1gqR/9mt2ZqhfDbjj
EMCINboMeaf+Ie8w+zC1V7fX6NRa05K1Jc3sKrALKkoHSNQVDJE4dM/AfDWoyI3YPtIfVvoteTbt
dg0idkXsfF6mH/Kfk3ZJ0N1JcX3WqO2Kb1rbzLcH9omPZWqvaDLyBG7rqx3Ar6QzarZHhXYXdVOc
kSY4NCN1TZY6lae0uAMj6vbepUCa/2MvuXYN3n5+8iVpkKWqFGOTJ2xE8FPvI9uzyUVy3m/QMr+G
Z76YOTjRoreNOREngdQOM5Zowa794s40VI45rEM9GvteqW05NbfElA5FL27Rn4ImymzlWbF2ttPP
T8T7GKdhQQnxrJcOcRaCLmUVUncx8Hi/KG+9vycyZMkLfGWa1JyGGtvbWOfhFco9oTVUW/howO9H
R9Qcwpu1DNN0H/700//c0Lfe2BPBft7nZT7dUG3T7pSzagtSFUc+W+2xnQLxP+Ro4JvRqakzUCH+
voldO45lQdHZjk6fXb8bt8wJd539uSTFYqh4Imz2KmgbZJwzIGG5cbhlpLJLlMhAtLxyCya//NGS
Zn47DNtsoi/AC+c4ZQPH5mc2cKLNDgaMBK11Oy5bgJN1zTRxAOF4mwI02h0vtI38ZRp8Mmxyo29U
yzhbT94v3/MTebOofqw80cQgPnK7q8audlMolDxgOtOd+CDWNHF1dTN/J/WSgrwApOmYiHeMvfEl
cQN7KpO7xB0BnLMmcVlNGAVwOJTyD1Qvpe0ztDxAoBhv6/DMpDeVvOKPJg/6p478I2LuF1pSeIDO
gc1Wa0z6DVr4qtUoTqbim+8FhyBTVt5hi88K7V3e7Jr1PYARgljDOwwl7u6c5UeCphOR3NXopaF0
xSUtWsYTabN75nmJQMsOpGUdKv4MzWdi7ZKtiZhdsqyp41xBhhCGEbheVo0GPyAleMDA4qP1AyuB
DY8f3+w1mdPPT2yiBDYZM2wgMzZkTo3jKh7QiuLNrX1v5ASdFbAcbZ4EfNB6u2/STdQodx8v5O0X
faR+sysFqKsxYwXUL3kUTga6UUBNBDimO4BmAlc4cYh87durjE3Lxv5dC2dxJTUkVgQlxJbDlm7C
bUucwG04U/aDjSzx6kVejhBOFHEWZ0phrEaIkhEqo/u8SF3UhjfZWborU1dbbTpfU495iKnIogSZ
IN5SRcyHbqehNvPxua1ImOdLgZJHYegnu5u+NuMNuhhXIrg1ATMzoYbGoHs19iuXLtmoocd1DXZm
RcXfElwnd6iRRZWieQkS0FwUlQYXzWAVYljZqWWnAVhRcGYBOg7P29/vqhqSNJMH3FWAWgCpqYRL
HC7fgU3WXMbixp2ImylaXES6pFQQByAALufHIl3Jci2r8omEmXahs0RFW7Pxs0z2Y0YdZTLZ/dSM
+mIM8y5tDtBIB8AYdj79UdFEDyK6el2gKRymGOZTFU2yJnGmehoaq9Joiimk0u4P6TlzQ8y9jhu6
y4hj2LU7uNhdngD6j2zlh+jsr6tYxsm6Z54rxkAzUO5+rptYCoq3qOTKF59e9+J9OBE482OhRFnR
EygOpY9ZfKH1N4B5/dhqrKmOMSnvyZ0LJPTUNwlk/Kyw/kRR/FyFdVXatOITaXLceWCFhKKKvbH5
BfHDNp/BRF2c0Ds9rpkfa1oNDxUPxyWAx6aHTvFC3mDZWg4GG4pIwLfUEFCRqxH34rvs5Nhm5qXL
w1ZqUghuAG5g9TZmPzRrAsqPreGl1OzCKXeewT8heU1hZpZGVYnQ0imSm97YqgeUgwBoFQkATkDV
/IYbIfNsk62ueO1+zuyPLzqMD2bTioHm0F7KsRPYmLi48jjhArAOX1crytMe/hGkvO/xnBwdDYSe
b4aQODlvTAbfy8/CIZY8jeJj6PJqyhUFNbqK/86Tn0ie2SIPQNgx2vcQLQMZL0pfR9X9366kObMz
rSJ3E6Dmj2evJznU+icwaTarZzf9to92cmZkOrnr/Smv7SagryHh98gO7O4SHZ52nl8N2175X5c3
szgtJZI3prABP7zvL1Q+9Cuvgk2u2RtzZm+MAUDIaG5divGajdiuHNzKNTBnFif1vTztpscoujyT
3WgbrxNoS22rDBWTyMnAL7Yice3w5qamNBviaVCVaQAPGNPb1Gr2n4ZMW5M2My9eOqEatGw6uVOA
tgn6aR2hdjmRcHLRZkYFCJ0e+DQg7a/g4D4+OzLnlfTlIEDLCM7uR5vWf3fuALFavHlgBzXRYwhM
ltnNm2agI0lCQA32kW2dVI/KqIR20/oRN6mvHjFMBQjC2K1NzGMRlPuGyErDZOebtwSDBsbwNAKS
vRklOxZiG9WlVQ3CIimzvN7kca9bsvmaNkd4BJskF2V6EZmh1evCAayH1TLMkbXpsUmfND2x1CCy
R3DieIdopPu8NC1Za62gAVNOhnwRDQB12756ReUamE9iGP820Y4PWlVMLZrbphu4LnsbT5M2fvGl
9XoMrITnqrjV/NrOgaWYlMW90ce8ApRR5zeXuhcegVrO5fKbX9yCwo4TtB2rBNMm0UGYwE3FAwZE
XnacI2hW801nePsG/aBwNMeIJS9eXgE4C3/PlG2M7n4fg6CjslPy+yy+TtKbkY7oYpY2bV86mUes
ODUwUaRxNPba/viqgfqhRYd6mhm81L/WceCM4xNTPT6Si7FtdkqJfmxQYjSxwMBOZ5nofjf1obGM
SHJ18dWMnml1h/F4C+0DVt6OfARnckxiV3Sg4qEY5hY1oCNzDiYyTIthdB6Nl57fW3EN7hQMoEVA
rqXiK4urXTLUG12JMJd2jwyT0/vaVpIkJ9QqJ5HBsBB3GEhEB0ihWEE18B45ysQMuQHwsK4Ikdr4
IqONP8JcUUyemza8MFAxiSm5S8F7GUzzXxgGxXTcGLGrvrpoNDRXV+LKjw4ULE4lJgcyJs5oUFtJ
9KphznHaPRlNmBgIZ2lsh6m8g3/nI0Uc05dWWKVgyAk5MCweuoZszAqt4N0g7qnXl3Yz+B4GC7Mj
qfLbnsrPVG6fAqpFgIOQ2u0oad6EfPGsAlMbxX/l24AxR0Gky1jLkUj2JKsU4zW4Sp5SOUX/fLZl
JVjp8WQGgRxWSPiYFGc6WAhTH+X2GGTnGCINvMdWz1EQjc/zonMxQWFVyuBKabIlkbHzme8Msm7H
wHtr/IsQv0WLARiGYkdrYHAvrLg5gNe4KY6Ujre9/lU3fcNqxgITft7am3D5DcrQg6tqBp1wqX6P
hLt+rGOQV//ygv/1DbpsTU/kzTxFUkJDwbKFxqNds5NiEKLj3WQHI0hDUtu0+2zNNU1x0B9xxYnA
mbOoAMOV0RZQMVP3i34Ytz/oD5TjJ9z8omM6kTVzFZnChgxwnm8RN+MIA9/A4IEm9rkX8OKD/l3c
PEE7KjRNk2ZCwekwtGiiN8K4/xvHfiJiFmUmjRyiXRAi8mgvHJPrBzzMnCzaq/sJ3n41Clw5rXl1
TsFsqJeCMPP/LShjaJ0E2qEMvsqZ3+tiRnzYwh9By3+DZV4OAE9kzYLNkObwd97PIOIXp8gnEWWX
tfB9XbNgU01lDFRnb4Htj/Aot34ATv99eHSyspkBMTqK7uh6Fh5RvPM+9ZheDo/eY5XZPpae1CUw
Y5P58PaFdBu4gJZAnyKX3dw2hm+hjSbblTuwqJOA6vsVH832s0crgwfb+SsAfKdD+ETVak3WbDfb
kGUy+q6XMmifuG2LmnKyspkx7vtaNsepWPD/GNq+7+PMEpdVFbFsWtvfpTuXQA9V42R1M2vc0tLM
gxCh9HBFN4heqOUDbBe1A2EZXLanqtzaQ2g58fHPEufJb9VnNcZakF5Xyqs4KzcBRk4ptT9WyMWc
A/RNU3QQItE5UF3CdC/SBW4c+sqlEsrfCtvEVIwC2Nh2rV9iUrg/3CdFXyGuOEEn7ExFDOCjtH2A
Teyq0GH6lyBHtxTtHAqYp4+XtWwjT0TN9AO9vXRsQIv3po2/0Y6sP8gXNf9E1kw3FI+QyP9bG7my
h3OtIK1iFLGJ17GXPGD0GxRPGcLhMShXLNWi9r0visycNaYABaiEsIG0MewhuJEMIEfQ3coxTVvz
gUb8UR3J1YiakwkeNi1SplNi0fL8t8SiaQ31Hsgvd0i6bRKnjK1PEPysyZ+5bb/zFT0csMqIbmu0
gwJJJHGQbUO1vbeUCVr0gJnjDV5IgZNY31ZWv7bHMwekFV3SC3TxY/XC6VJ7tBH1K9fxBpx+bDPB
5VylE/ndamS0orFvXZInKWsdPUJ9OGnsL7zrqVQ0ZVM/hYG/6GdPVGnmh0rhm+ZYQNrPFFLyAqxq
pG/fUkhTVWPNci5b6xOJM0NDiyau1QAb27rD994WQM4AmOl0psk1EVYDqNjyYeUwF1f5T3QLZ/H7
4wdo5TpNC0S3YfLa2LIVn024sEHyOqXlq/0nPO6ifz+RONvXQIDDIdMg8QehxXss8YnE1Zqs2Y6a
itYR0SGW/iEr3HeXwE9AkuwTp7eonSfrmtnuMmzlBDNpfxlJrK1sZr3HIYvGmv3dK2FlZfMMf8FA
G1NND+Tp3v1n7okVjTRnJjxqzazSQ0gjxx6k8e3FiISa9QM7jdafMadr65t+fmJXktCkYZn91Mhf
pbBPp24nnfvDebzriTkz3nVn6BVAbRBOMEvn9P9ou67luJFl+UWIgDevcGNIudVKR6sXxB4dLbz3
+PqbNTQDNrHTw5FuhEIvjGCxG1XZ1dVVmcfgK+QuWg9c2BNIQXNwVjYdGqT94O6KJi3eUhnsrkfM
FM8tQG0C+baBCUdJRO0OLWHmHU04xjkveeJUO6BC/nJzkyjpg7D//3IeBlxAr9D2cwprafJ5xrmM
e6YneOXwmQ6K+XAFnPF2lIEYs1FBjhTicz5V4n/DVfOpVoUqwMvdVCcDkxkKvh+92kLT6PjULUEX
Wy53OC8UGZBRhUVIQIhGLZKzs7hoL3gYmH58Zr+iRXIzT3wODoiCvlwf6NOGvl2wm+A08FKwHXyn
+zspW+ClWLUl9DWE/eGK3OIynqrsvFteKq3a5oQ6JGGo3dM96aQtQGfgbe20q2UyiLNYIcjRibz5
/wFRVZFBnCKt1SKmk+nGW+flkEBT+8uPOIR5KS0UhCfyy/6Yo31MdVXJHd0Ju8ttPb2MqCo71hEa
uSBkGoKiiTTHiL4rsafk/yvF2jEWToPmvxSLz5UlJtwncHDOAVWxbn2c2r4TrqpLTMgbwM9xIAB9
+yPtZma/MsXEex400LOGngEouj6m+XupxsjhHzclnM8bqDMRbolq01UlPlbw8/wwC8orepi9ZpTt
X/YP74XQ2VElib0SFmmQoiYtPOWAq3yTe6fe3r+zKSassyQD33UdWn4x+UL1QVC/tYnP2b9toDrb
YIK5UnqlbYVH6PgtJduzLSaQIfQTdEp9OtsedBSfiqj8hwP6Va+zorMpNk0Q5EgX0Ujit7Jgm3pq
V/Ngc7aOZ4NNDoq+rnPauudqWIxGIDS2zk6Bahi1tvLudJs3dagOPDkfAxdgUMlBawrnU8X6n9gC
RUfhSOa3ZUnvyhDiYlP/Dme6e3mhp2rKpc1kICMUM7GTJ2ymgP7dxS3c5YAcU92F+w7ku6eufMuE
RobqJ1A8c6/IirYzh/O6GSTRxTFN0F1yGgYgMg3KbXcC9rqQdot3VRPx5hv+eatZXWA8lSqxGD3G
efcxhMSksYOajMfbXo4bKcwFRZ/LosPLKB6ERNQDYxAYzj9/7QMqDJCEnZyWZYoPSHTcUIb5kzrm
BBsEf/8lihDVFS1QtIEaobExl8A/UTlAxtKBKzrkxeUisnzd8rRRs2sUdEQp5QUk75PRTq8uXrIR
qkmRPH6yh4dJ5XiNxjLvEFAYeImMLjPGEJYo4XojatLHeRV9CHjNUMCbhPL7y1UZkwIajv40kxXu
wVZT70zUcjz6WOiBk/kvhjyDTLhrXR+HwYAJt1veMDYz9NXqmMhutbSEWicND4p/Eknt0I4Y6K6c
GjSWl6Ng++p4NsWmCovW98m40OCgJ/n5PvHnaQcecReki16zU4v9L9pjAlsBr7kxnIbeT01VaIf7
46EVvbhCOJi7OibG26Wve82YSYwAKK35YIUNXLBu0pTF8q7a8Y6i7RiwZMg54J+qsYWHJcqlqtVI
sGjUIKgiaffgDWm92qy/0oS/FZifytb4CdXT46QI7yyMB/G+6CauYIAQGjkiyUowO9zjAO6HhgYX
ovx7tmhfjCqovBDUX9HQKU6BiWZ7qpRPRtsPTq+Zg2d2RYF5db13lt78rojap6IbbmraX/1ZzKfI
tUyYpxo781QmnD+SOvE1MorbF4iVLSZ/a4ymW2IL8RP+Q/lv9oMaE0/5L8g0XdDBcvact+UMxlL9
pclnbDle0X4kQaaALDT5oprcXtlNFLIsyLzgpUzC130Je1kZlBH6cW8rhGyv6tkYe9inhWUkc4IX
mCb5PjZ/K11uL+j9ugwIm8nbeUXsQd+FUHEooAHopyooVuPMU4xdq96FgroDka4R1h40wOzLNrd7
5VdGGV+cS3EyjBHf6yRpJqJfPRR3qVc64COUHRDF2qFTG7sbczYwGekQmdFEPPUz55bSt+Cxy7Dc
yl18XflT9qR9te+8Pv2i4OlB4A+abd1l1haZg6tIpSqeqIH7hlN569xa22LcM4e3oCYBW73xmeZ9
m7+KbyPUgvI9eEqdGK2N1k69v0JHcivJORs22JJW1ILhaIyxrX0Q/Ayi+H0o5B8B0bsEjYlROH7L
pmw/yiE68rgskwQmbCqyts3gbS5brR7RJ31ug46PpF3ZRh5mEK54w9qKy7VBxnvB6pNM8kIGiz9L
EVy235psx4mQy16Dx4eXQKMvJmjeKCxBi0rCe2+bk+FtIYOfcgre+RrVJSQheXYEG6kfYHhVhIQG
5IqREkcerzpIXn/po9Eer7JiMdOjskbfg59n2se+msB6AU7tRhc8XKneZXh5Bc11xNE037rUrD8c
czdurbpXQhI7Mc3WsUDFG5ccC5sn39oEgy/ZmJnxQod/dE8P5l29p9o8DaudZHCvKLPyPIXBF90Y
mkyi+dkbzvWt42+9OgZfDHSxLklIG4jBl4MGgn04CsaMxs+gyr/jL47zwdjORyRSYVrksJeIX5vx
65TLnNNvk7FntaJTPrnyw2WcjD6o4Ic4iUZHP87fs2/EI6C4tZNgad18aF1hd50wO+fTsV2QapJK
/UgtFjccDdu2dNFQoN1tiqzWmQTWojKZHkc33ng53P5sZ1tMnJV1FkKEDLbk74N8P3rZ4Ah45o98
w2na/1q75R3fVf4l8s5GmcgLh3g0I/13F60t8WyRiTxTEWRjqGGROLjG3bKX87+Jg6s5zvtU+vvy
ibANmGdjTOiVGUY6LJpJ7QYIlKANsvB7zDOo+v/Q3Wfry4/L5rYziWdzLBdbmA6h3NDwqZZGftdX
oFhv8cRouIERcjikNi+Jq300yHVXMVgbraoJ9NxAxDJotEHgBYdwZ0FHLPL0Py4vbNuaRJdDMFkS
bStjTWmWrNEQdKi/Lr6I/C8SQFGi7EDhEdlXDP5vgubKIJMuhLgK9RKNf0PNh97C62PkQ1EGSq0+
6Fj4RAM8e0zqoGmCouV0yg3WcXAFu4OohG85zfKuPDRH3Lm9yzu66Sq4ceO6aykW+IFfbqiop5Je
xrA3WrNvQBNKqMrjZKnH0gp4I/ubNwe63j8ZY6ClmEpZhADtQ7lEM/7IveCAeQ2wg0KMwqE3286p
nGTmvr/xVsnAS9w1kaqCSNRvzNyWRigmFL3dxfsOulKX93Mz0ldLZGAFJYlMNxVYivM9BJjAHRWC
4M40qUJpfZl0wb1sb7Nmst5TBlryuJs0DH/9vgzivDj2RNeURAOjH2wh+vSd5La7IHHfEH3y5lm0
MsiEu5HKbVFL2E0LBShL+5/oEZlIf+zccI83Azsg9p5PkgNZGQ/TagFSXlX40O2Mw027DJp5QJ2B
RlsmLDNIU3XoZXrYZdSB7/QTNytVgnk9DZu+CoeAKhzaTU32kptg/C9pysby1fzzEMs7WVSh9YaJ
umnh5E8U26/S+JUlxlcFWcXXTGCpFQ27LBVIqv0ptRnHQzetWBLkizVDhB4ygzBz3Umd2QFhVP19
a/2soAiRLfYt32dlhEEW9A5A6y3HKURdJ8p9jVl2/Z64AvjMo9sRt7LFgEk6QEVNhwTWYzH7/FzL
f8jh7R3zhRYdx928wJRh/BTjXZ3+3cccUgf6a185wWo1DH5EuiyBao9MTL6mddBW+lvoY98yw31r
cWjBN+mCoDz+5AtsYqJ2RQ+tFQDIo4hr9YOEShQASbqDXMjoD8L77Mhty6XovLBGNkeZ+qkNJkpp
O39wJ9jr053gLbvyULoj3sIdLuUAzyKTNhSDrI4ZdZM/tERk7mQ/9UFRKzDvwW87f15tLINP+GLj
HJJP3thAQ8B7aUcJuFdZXy6muh4RbUV0/9TlZYAk7qq2VZ4tBkB6A1ptVoi1DbWrHp+rKRYIXK7o
79pMwFY7ySDJEiyFZFIChlPm3sz/c6LnvZ+Irkb7esXJwvMUBk0SGfrJYYeThXqb8ZBqm+nXBBIL
k6PpdzKk68XwLw5Ybtb7VktkUKWVNHUxenw8jGnZfaruQymzGwxtJ0LuZ4Y/pKpjNT+GhFc6pl98
yWtYrJGzKUerF+5c1lGeYg8PDXYtY0R53uuTXwh7zkI535IlH5qrRi37Ep6zzlcsb/R/6bZw3lmT
yVeSXDeaucbOEqeK+bN1zIPwk4jQclAA8qOeExkmgzIJBnEMiXK/U0tgekctgdDCvpKPZ3s3TROJ
MsrsInv3mseoyyvKgQa/O4ggBdhnd5Mj7NB/iFehYXQ4X287Ms72mNXFZicrBQ0tqif6y0fqKP1U
jYPQGr+nYPt2iRU8rZBBUVkRlighpHnolH3b8+pmbrsyxkDoOCqzCRYQnIWWaPdqDLXPH5wd3PaP
83oY5BxaFeqbMb4YnQrnstHNj8XosH/eOwY3ZVPTwF9AXwvNNKCXzfx0h+egzptdItoqlduC+2yQ
AU5IEWpzRCNGbRe7RYPmaUjppuCwIHlqkAmFX1uzgGKjP2iiDd0T+/Lm8j4fA6LTELRTrqLpsdQb
X8w/pJbECwDe52PgsguEQQSL/ym8VwffleHNCTf2cme0ch5b1Fp5c98oB1DY8q0kyrEZ04TITT3G
nN1k67VVsaj1XGB9LJ0Yf9JmO6d+ds1TtrbKjvSiGAU8/aLcUP8JeWRb0SHmod2jlQjMEukvuslp
aGtlLV1mUZZp+OWGN4TNy+k5ylli0blJErUh0GrBju+bP7Nv1CKAri9lb4LFS26/ia4VOvwKMSfc
WBrpSdKNIiSCtqb9Vkh/xKiLXY7nf7nWnT8agyfSMqhQRMVHu4XcjrePDHpYgd4nJe0jWtGh8d14
ufQts5Ld0vKI4//lanBeF4MiiSR2+ZzBFIpsntqCurTeyYfOK3NIMkKFmf9ozolrdpS27MDFPdLi
nhwSeg67h2klfqydhptfJ5XP62O7p2tBU8KgoXPAWxq82qkYAYnc2Kknl0R0DEeKHO2YTj7fKXkJ
AztmW+lVrXXBjQjGCYET8eUqzsVYUKV+gbFB+jGJrSdokc+JAc4ZcKrHrUzkXSaiMxcxQGeAYK+I
rRpiHL9iBzmozE7MNrEeLroOX7kl6ng7yOQouTgoVhPDVZJQc5rgr9QSeGDM830GRWKl0gw8SmI9
79Sj1brL3VTiNlceZLfXDlcMkPIMMkhSNX0UG8Qvc9MhyrPGgEkZmtJcqKdgmz0LzKqGemp4VDD7
2+y6gZfkcdyD7aLqSgyRN9NjgJ0z2KvGqTnewTZTjcJoiaMOWxB0fJiYF0zMO0au7iblx195+Dwf
qGwfdaOooZzTVNdvLdw8oyXbN90oUxWnhFgP2HwuXl7hmhw0UWjDV2giJh10y6HfigsctVPE85vb
KXifkLnw5GkFurAIwfA8P0FX4jexiWw3Iay+IAMqrSHLg3KyCeEJ1Zk+z9PmIAPYjm8uV52/J4M3
czsJLUr4D/6zHNbjljeXGc/WGLCZlqWcMYaMgsrTlfyN45bbBfCzQQZvmsjS0Q0Bg8XyP7n5VtV+
3/3kHHobmIZqhiybomrJssIqpVl1K8kLRqx/G4KurbEl8L5si6Um8iw9g3hQ/2naN+XRABUHqJEw
CMMvRXOWxxa/E/COKQmlDb9r/BejqTI+iQo1YZV9KMvHoGiW4XEzHzi03sCAseEeL6wxCNMsotJI
Haz16PTxRDSqlJWDApgz2Gl9mJz6AIYRfiMqzyz9fAVsIFuLNZAA4okO+odxrthWDqpBg/Mys8W2
gdUR8ZmiS6osMs6f53E9BRZGQsQjBEtsYcHCBGcZ0N1Hoxoofx+l4oZ+jrVRtgwQ5mKsaA2Mgu4R
mmwudf4QN55QeLJdOVwe3O29fF4kWwSYS/QRRkS2kdr0OvNMld7Zrf84xX1FpW/j/vVilRQ0qy+o
D6o+FjFWmc5e+U9deY07gCYGB37i625QH8BdKvoTmpi5TzUbKc0L03RqrkyPQw2iyhKTU3QCz6Dh
fXgYoqdKnq2N4/CFKSY8oBStCvKEvRWsxQd55dgrvHyXtxomFBRBmcaqPY0tVWDeWDM38uYEtm7o
L5bDnLTBmI95LJ1s/Y4RqRe2mHNVWLox6Tp8pdZT/DpEA9ywF36q4CzCE0nvcp8oN1H6HOunLGPl
FYUU541AI3u/K41/sToWWWpJCOXw5IPmblHvaf7dPGkyzOo9nwadh2RsRUAtY/T3ga7odAZFTron
CtPxNMKSuwlqEDzP36oKrFfIVgXGMjA7KYfr90eaT1S/ZN/oqdlCd7TgoS5Nb0Cg1E19XkMVz0vZ
mkA4W3oQ0mTkqwybv0qO17AlATXop8SkE+LpbMdl5f5hMOiKfJ5njYGTsUX/fyid9pTi7ynWiSGT
X9ehAGPKOi8+IAMsaZZb2dBhaU0BVg35Q2y8D6c7Mfw+aw0PxDYuKi9sMcBiFsgiNAmfjCHSSgrv
Ov04rpMw8AIZ8SKpRqzuqUT2hnku3mdjkvZYKWMTPZpUIHu4s4/Q+Xvstrvmzs45ddgxqyqJH6lD
sJuDO3utHQAwwf0mfqYDvTIQddx453zCV4WCyAzlOsInRB3pneS/tUuAc+yxtYIOOrLjSITFNzR/
c74fWyKQm6YRhxDZZgLRhciEFmbuGF+IaEYV3WK3JB7nQsRbHO316iyS6rLKguGEKm8lVeCdDGyN
YLLmHKzisCV9lpfD6AmouKjzDvTb/6N7QyW/+/Xj6NWsdZwUc2jCaKEublqbrtiKjiFCwC5p7Dz+
IgRgrB93cufHAxjo0/dib7lNzCtu8T4sAzsgPIcI9IAZdowJDa5li+9CKBWFErLtGUrDvBjhxKXC
YE5TmB2GdmAuTQI7MFNnqH2O53BAW2GgZhwzJc2IifqB1oFO3eyAkryXHk0X0jLpAR5bXXEj462N
SWgi1dLqntInTf9QJP9pCm7vMicoTgINq6AY8DyahXTU3hDxPFv085WtWpHC1iCiiBtscYBTJSdd
2QrNsRrNGMB5a0mHfODCwa4y6KIkuZEFFX2qsXBm4Q4NCs5QRbYxHGZjsiftM8cpeStk0pa0kJTa
IIhR34nO8/1Se6eDl/O6PpLN74eCkgWJLw1tr0ykWVGktEoPxL6h74Jniwk5MdOiPBwJRNCJd07K
iDqfewHbBKzVupgoA2P5hIILfIVOojbFlUh5Rx1AIALEpKakOZwvx1kb278ldJk8JtXjPhKt4/Xs
PtsZ2XltbOtWADYYo5qxthsyMt662JiL567tCYlf+gel0TzQ566LCbcGUo9RGiY3rYvjH6w+nCxB
jlboYUvRD2chAlk/XClEwLPH3BG6WZ6tDqh88sepPmVGlGTiNWpAZhRY7i86JHNiS0okDw0FADU5
Nb1d7+KdXruDJ3nivq53l81tHmorl2RgpAW0lDVZK+UPU1mCQplLYLLRCgrmjGekMhn0yGszUiYq
oAogFInvljvzXjkGYNrk+iFtzSvYX1lisMMQjFILTVii1sjawHRhh4JbepegNRpqu5Mzg3rvft6P
t/Rir9fIksO2kzpq+fiMIm9WT9k8b84rZelhrVYLrbmAvS50qTsGut3EoIGiA6U/VxWkJdq9C7vL
ysAFRZQXVoHIo0EZomOCnKBmPwzktRUUNyE/l+5HkhbD6Bo3teR8XJa4Ba8qiWWoWHJUDI6WJZ6R
tHYsT7YecnNMDnhazHG+RDNqOz3A8+1AzVsWgy8oS0ulJiAAFyv6Gqezo9facRSKo9lVny/H+nbB
auU1DLRgOnPJBIqPBDO36FhJP0TQzEA3Lx2wKERDdyesvFZwr4hN3pYyQINKRJKYdPbdkG9yMJvl
h+0XUS/DEuukz/dmKmPeyhjUMUWxaycd1mg6VSZ1iWOFgUPFi33twPmC23GPlE/GLKWIEdWXmbRa
Z21llikhXPoehPee9J/uLnbkH+g2t5svM/dKsr2VZ4OMy+gC2CRjAUFPn+3NrNfbW3m2xjhJWEH5
daSK+EPcvalzgH7Xazg722KOJbUcqhb6dvTZoBE6QI8NvWuzp7gKgPRHEH2ZfdHNfUyK8qgtttrl
cFqcTTMe00a4mzQW4EX6QC1Qz4zCJkRCT0/4vIIxucWFtWp0RK8uYJmCEdy+xlfUZN2Om79rHWps
0h+XnXM7lXhelUYfd2UkFXWw2OT4eGPXQJ3uvaL9ddnAVhvEet80ctaVBasx0I5NkTYTF8MExYfG
2NFT7KOUV+a1fxFX2TV8h7yPxqpExUIWT0GC5T1dYvdU5tfeUb0xwjw/l9Fu+2Q47ydzCKlRnrRB
gNUmauQsBRTIO18vPuq1x9lWToxrDKiYWgZJKvKOm2KcZ41FlEgowj54PFvfCs48x2cAZWmlruwb
LG3ppP8Ure6VoVbaaMO94+whB5g1Bk2qaASRADIUX/wkOqJX6R9CT9cczUPThR8mf13RAssBS41B
kcnqR3CE35Sk8JyfJSHMOogR6AlsbfC1NQ4/XeBgCUuRl/WjZJoTfTcVBK3l92D8+GsfTGewJFWt
QpjM01Hj0jjvm84aTijr5D0r4AIdM94m6ZaVZY9qB/On4oCHBNMLPZKqfChD3zaWCsi0oM4sm6A8
PH3YlWW1XHIlTfMzaq004tFte0W32LZbni0ysCX0+TTPFSy+OsO5F75tLzmbYoBLkyKxrfPM8s02
s6tCcubklpb9FxvIwFUozjjWWmRcr5bjc2+R29B4Xg+DVkold0KBR8nbgHgbG8/WGMhqljpQpgIr
e+bYg/opnaaaV84+3eOQi/CPNZ5ZBrYEU6ghxIhFptlPFAZsVZHsIbtlsm/93dh2gCDO0XkNOVh/
+WCMd+ZxOWSueYCYAZEH1rnPl9veTiif95NtB2i6UlEH8pTE6jxr+tEUd1H6jx6C90BIvcvwxdlE
tgEgbopGz1t4fqMltjGaHnSr3VYq/Mtm/qWyd14TA1xTbFSaVOBjPbbO0+ORNFw7/cmBDnY0YMrG
QKp6rOqhUfk31GLPK6MdXgFjpGSSPFGs/T/YYjBkApcdcqz/FwyRGQyJJ60YswAn51O7xkqJhQvA
XP9gMESMtcKSIDUDxHpza9Z2inX+YgxwhPNUxDHYKx+/2LrGdtW0Kccb2ef+OMT8uq7AGx+Qn9qe
r+bD5WDHq7f+uE2lJYQ3PlGdy9+plUj1Vq1EeNS8okuRc4ayL/+hFtZFSnD82M4OBWqU8t7Wzr6d
Dj1/SXZAII6naq4y7OzTapEWgRnEl/b6+CndjX60z4e7K3ITzgHLdgJUgxlHKqWVxKUNoPY7VNed
Hkddh4plEe4vwydvnQzGxEYZJuIpFifdkwrdV+bInst3c71wgJr3FRmECfKlMOMcCzPbH13/Xlz+
ubwSiq3XBYTzF2NQJRKrdqzBN+xrAu67EaiZ5sIurE+ZktuykTlCtpNHzppOh9glowy4GJFkQtYa
bqJizkm3nBQzd+No9354hLx6hqx5dEu3cUK30xx5B1avzONfRbYG8NaZhMLgTluJuTyLwJ2XhAsC
hC2vIVzg+CjbBBCNeTM3BgKSHkBfPDhlOj04ze7lT8tJJVSCwdVBmLVpWMcJlicmB8hF20WV4pM2
HCu8k4LtAYh61ZgVBWZuYljhnBVsA4BhZqVe6LB266A5bxcpQFe7CIYMI1sM+GoV31v5J6291/Xd
5Q/Fc0S2+NsURR41HYI8IWZVtOj7lneSVEAD4c5IuIx2W1x6a89XGVTRIfIUmwZ2UZGd2RlQbwML
dwv1ZPT1GA5pY4ZOaewafoWUFwQM3kxmUEuofz2cvW8tEnE3lgEasGRkYBXDOmeMV02HZa+703F0
r+vL5HkKAyf1VAVdOCC+jQqz0dOnRR9AjHO47Cv0F1+ATrbgK4C0pQxjrGgUAqeWrXt9/ByXpatI
qjsVlV3IPNotTsSx1V9ttJpWs7Cs/jh6356U7Uk+4PNs8156OccdWwgO+qGeJRXR1rSylwxfxYTb
F8LxQLbcK4izFU0iTFBRlJYz2MVeOt6uh7CONI2BD60V5qHQsHsMXp36hzDWeGMz67kwxBZ95XAq
5Ipuq9RmMNe+ZCcuKFXN9wNI0c276Dh2t5XcnpMIjYGTRsq1QpGxyBFYUpa73CsxOt+PdzrePYZP
8z4wOCnEv9QtzyYZHLFyobaiFKuUPhg22JGGU/lr/nD1SwsPS9hCsDCNkhzROXdTMZ0XdQyYGGFX
qiU9z6nvgsmuDhZ6HQRHR6fbF9E38SjBe7viRB5bCDbbvBRLHWEhgdhenCdbVHkMXrwtZIu/k1KL
JXRa6KJn7qZDvTO86QhB7xNXP7foxtlCthAsWUWsl1QoQhmMpHaTESJdRPqJZgYS6eJT23MXSH/S
KlnQkllTUkq5bvIRzj1WZ7BlnOcOWunYzlUNJ6YG4OyKRytexLFUnIPSl2ZA/q9hntAzj+bfD1Jr
Gl6o/QVcpryzYLu9+4xkOgMr8xKonZVgfb8ywsjzGgZYGlAx4WYHowxgP44TXrFMzoGkM0lKFSTl
NJOf3lTY4a2PARboaIVi9yvr42Qs7MyyYhV9avQUhrJpF6Av7/9Ksr8GrXdQprY1SCJdzpC2eELX
Ry47s5wqoW6IEZCMDsBswgEYeoYXmY6MwQC/sQOcgV3i6bz7Fi9CDPrQq+jvzUwvBKpjPbhOazw+
yTye9VfUeDgIwA5MT4aUdBN0fR8rZ2+qq3IOCINBmw5MOSirnrbVnG3FXfaxEx+094sjOYndOFVt
884k7o4ydZawH7UOvDJ0Cq66rx80Na7rvuaEh8FgjlmpRirN2NGnZoDTN1ROzQBXkTDwtpXBG1UU
REkF6viTgNkmvMpoEi8geCZYgBkXcZgp5DHo/sBNYpk2hBb9zo6tD1dKsfNck8GZ2aoXuaOGJjoK
30a+wrl4sZ3eXYLuQd2El3Th+0z/XuZfrP4GdZc1qLAd3rUhCFP+4BcnplXjw1OTiOJM+Uf+axrP
91/xc0rQjsNgL6pT6HXrPi773OmOmU185dU1gn2cD2YyuUsjzWImDNjFG95NOEce2+udF+iXP0H0
05H3ptFTTkybDIpUVbeY0/SMkm/mU97cSXTyiaqs6Xigp5+vzoGw7ypFzpC7v931t6tviq7DORUI
kqhMmGHwtOyqsESOBCnVKvd1Z9kXd/nhqofQ7fz2bI2tPuhTkalThGrx03dbvUHxX8239/F5bWzl
QRI6Qaur89oUt9xdvbZNEAG5iqHju6nqqcV29dFk1WjjvoaxWZycMf0paBgumtzLuckmEq+MMEiM
2pehFCX2LylKO1X+GKU/LhvYRo2VBcYfQOeoFRAgf3j1yeWd7pCi1+AsyUFxRkhAc7P0zVg+W2Tf
41OLBMsmWESh/qBClANVLzRHEd9H4XCniDZ9YmWNia10auslHrCDuPM83Yrxbk134luflVbWaO0r
pxC1eFwG/YQc635jqhXF3DdX+jSvSnsrYwwAC91SCpOMjUwOoM8HqX3jCTv+ACvHB9m3+HSJ87mc
YSYQoRDTBm6u8pqLeSYYwM0XDNbMLUygDcWJa81Oq/2v+bnM5GkyvovVdjBx8zWNfuOlz8Mkarog
CLERw/MwHXHKomqwRdLdAipoP2rVrbz6EJg2PxPY3E0Q2cgidJ4MiHq8dMJkmidVlivURLs/s96X
stvqMmcLr4ZcxCmUIgphepkaBCfdLe8npz2gzgRy7pEXxFvKLKq4sscEcafnQzoPWBFKCXRJGzDv
dVA+0wC3jnw7d2LnQZglAvthkPok5Y7J/ysCfBNOVn8JE+CB1BVD0uIvoQNtXduObzzOVraY+M4q
STeTErt8Q9sBb13kUyvgkicjDsP4tK7fM4W/WhcT7bUqdlKUwhY+ZWmrqP1ajrKrUPyV8IxUOXhU
vu1iuLLJhL9gdZiUomOuRWe/gea2yA1/dng4lv3Mq75If3HghoL7VfCv7DHB34xjn8xkjyJfqT6o
aO9EnOh7mhdMQ8zV9Lb4XfnCV/TZzvBWppmcoV0KsQfx4nOVj+rA11f5th0HcjskAKdj/Pil4whC
hEH4tn629ra+sM2kSztbY9bWCcY0dhKJCHmDcFIfxYRG2Xq67Z3URyvnM9d1tuH0bJOBUxXtunM0
YYXiMd7PodNOB+IXmT7R+4hkefQRF8PjOBBnX9nyuqCIRhJDAeGGbtPNPOK8qWyVPYwEYVgkmBrz
ZJfLmqeOxy7LnVr4qofDTp2LXSx37uUFcr4kW2yXtbi3zAq7aqCv20xCOw/eRaHuXLbyL8Hw/PHY
fusGQgFGV8BM4xeHIvdzLwH31ON1h8ertR30Z2MMiEKDJ9ODFMYKffEXyPZZuWaP8n3Qi54y8Do/
ty9Xq+/G4GiLPnz04sCctZePI7jd6ML/wHzNTza51hgE7epE1usB1uiS2n0M8Qwa7KkN7ho+pu1r
yWptDKy0g9yZQn+ytqLpEz9cX1XnBRwDLVmdWWptniy+uYFx8wq0Wh0DKc1oaJEuAsb64+KHoBow
vPz+oc2Ar3h/IlF8dRbpog55eBXRJDN+MuVSng3kJ9Ms154khnvRWPaVbn1IyuBjHOT/ayfljz7r
M3uAiAUnAjfXurLO+E2jTcIgtKe1Pok30UHf2LgSceXsNlFlZYxxG2uprEgv6OyTv8mgLVJ8oeL0
N2weBysTjJ80YWqUrQoTipG7RhW7SRjanD3jLYPxjzFU0hB9G1hG0/1YAqlxSrn7EGfifQX5ETzW
3zdat6tmtGgWy38hOPlzkfT9lBb7SaqOvTS95/xBlGq+diFVAm2tDH1SduQaJPtNFpJM4EOt760d
t5tXJ/1sjgXSUU2LRYa5FKpU6c8q8gvro6G3nDNou61JNzQdYqSaBN7Tl8lLXVVC2tctAHv4TFpt
zV/6l86V/HwPGVSv0SubdFD5N7TtY2llmLlGGGY5xC06EgCm5o5oOR/mFomWk3d52gbulS3mGgHS
ijapo9O3e6hJPNTgHvTTuNWdTRhdWWM+naUlQgfZvVtqmdtecv56DK6ZQj5aGZkaQegT6h+1ESLH
ia9YPznez1sTA2GapSx4c4WhV5c+bk1nm1thtX8Mgo0Y2hcHWhSuup0b7IKvDyrjqvesMg6GQkya
nvgkeRkM1zEZdIuzwehVSrDpznmWHj01P/BOhs10abVUBuWiWDSDxICt6F7fqc7vZs08W2afmIOm
X+JggWXKClEEz3E7ey4Uc/d0+wR89lP2fXlupKCJTVijkrtOmiiJ/xDvRuvnPlc+dhusz/YYcOm1
Hl+xg71HgknzJzGCtK5iECOHd0WRlbdCBmJMyPTIyQyLT2X+X3+eWX09BmKkoc8yo0GIPF8Ckfja
uAX27ukSyO912k5HVyYZqBmm0lS6obv9lZdrkcEcORaNqR+wpRj13lXaP4ZfQkhH25XaP9d1o/LO
CZZHbGzjtA4pHK2GtMcBPCDjNpx8sFAkmXZXFNN4jsqATVNNUw05Iua1Xnk3eFcKwJBnvE5jzpHB
IE5eR1Fcx/iM/fAlNEY7LXMOqHEwjX1aloahb9WcLMixXyS1G+WtbU2YajE0O+Q2UnICj305rPO+
mSa6SNzSP3aaW7ywfewLswGFuK6TkLWgQY5cpAztwGuhj90cyiNpYidfhV2Ehrl49i3iaeM2om8n
xs8fkH1zhmB2X9YlttcS0kPY3OfdTqnaw6+d9+xrsx5j2DGk8/53TfqekYV9a65nQ8HDNlbUepM7
UitscOiOdM0FR8EVmScn5kwGV8yy0+qkgL1b30F4n4xJaKTcqtKSdL9L4d4wcjs0M7sNDE7c8RIX
lltM68ui0At8s1l39eND9yve+Ui391ba7dVXY4AkVRYtABP9k4c8TAQSNTVflZt+1YWge/XW0odq
li/4YIPfHAp/2Pd+fZD37f7XnJ4lEjM0dNqGdIavGgOInw2NAfw3Rd5hw1KILWnVygWd4bdUQE4V
jkt7SEGxet0wocctBwGAyxTE3paEHE/bVu1bVnNvSZruWkXtJ6bptuFylxejrXXiXVVVH9pFfx8q
y/+Wafo6VOauszL0Vi/t91rRahv0Y39CzL5128ZwFyN00aIC5vCy4/k2J2ZZErIw6JdUJN++NWa3
L8aGqiqapeLCYTFBa1jxDDkQFDlomncsvSqFWsbijrvYE7wcilX+4mnx/op5n81L3coykxNoo9iD
Gx2fSn5n2IYtLqDRSvzB7mxjdgpbdJd3kce/dm0epCuzTEAvS6oK6J+idKtzFb91JrAUQrSdlHLC
0ecKkdAyXnnksz1JZHiY0hqN5tCLhkdCraq1pb36V36U/xE9aW958ofZz+Sd5EWe5Sq9x4n0TXda
2WarHotSh3GCLX5dzLmKFPTyJ4XQ6svoS5pWBAM97E1AsF69o8c3/b5Fsl7prrSbocnQ7IKS+1E3
T57VOpmoH0J9Fmp61wgg5KT92bbfKi6rNm8vmbtIW+CQaDus7aF1K7Rjb3lv7Owry+K8JdHPV0BW
jHVZlgncBtUBl2YU9AkzCgKuP0a+WzzpHT/l2r6JrLaRyRjqsU/LntoJaIkxitU0//QgszTsrqhX
bVZbVvYY7OnVSmpLAfZWUwq/yDRhGKYhWRI6x9gpBaQmudLR695qGrWvr+W12HaXszV2L4NRGnUq
bJbe4HbpF8Ovd81+9Nv0S+jkeBXmDrVs7+bZIrObpmZJi6I8B/tbOr7pV73CNNOUIKKsmDg2GQwt
K3CR9tKI65z+HmVk29J3Y3hXa/8NG/VwC4ZZmqhJhqmZisgEgjbOQxmUAOlM+WOmJ/Z7OpnQIUdv
C/PhisR5cyNXFplPFwi12ZgDVndDuyuh/6udXNliPhpElidzELC6usX0Uf9J0L4F7VdD+yTEP03t
R5CFtin/wdnSrSNQMlTRsCQT/7OfTze1QS6Iu/mJnfehRkUPNXym6K2buCJLpqyLmoV/DDZ3AqT9
RCIg7cLMtmLL6SLVvWFBaxv/R9t1NbnN69BfpBk1qryqWLa3Zzeb8qJJvpuo965ffw+9xfq4jujd
3PuQmWQ8E4gkcAiAwAGDzaaWpGpaoQDLN10w/9Q7cDZj3lbY/aDB6Rn5jFM7uBTIKCVe3+pe9VHC
Tod+K5eomHemW7wgIC7gP8iejMaX0hiFTP2k7NFrjjQfPMNIrb/V2VTZaRB5SjPuW6W/Mn1MXgnU
T75q/AbybGex3Ol1fp3m2a1ZVZelXP7T+GXoDo3uogLZqWO1sUJYncU5ilO4t/xWRqFT0EGa7QTd
aqIv/dxYo5BYiXzfZjFtfrZI6nVp4lb+p1HBs2A7ukQeXM43nDLg5TcwnmU2KJEI2tQPGTBvvQwU
IpbIFDyZvWS2nnk9aR8KeD3bc9hb1nVPYx3KWhQNZRZQeZrFezre4wkQ03hf7D4Mh8fd1ES62wtP
ZJp6qWmS/8duaqwDGUxw5YzTfD9nOay8vWTAySDtnNS0IexEOpvrpZ4MhZc7ycBU2elmX9NulBdp
ixp5vrRTl/RSGoNR0ZylsTRDWhi4tDZNkkHmQD1y047nXVDAlUwxdy51W5nLY3rSlVwKZyDLTzB9
W6O8FR8NZHmrZXDHn8u5VilTuTaq4IbZDfJ9Hl+108/Cn3kYt44vmsjgy2DMU91SltaFJ/mageJW
pa0jjMaO6xxDWQtyiv5vg7izOLBOBayLo2MndTZ9X2fZgJ0EC7KHKtzPc43Bw8omIdaBJnnKb56r
bs94fuEY5CH5twCbdJyKDON+cIyJNW9EFyEPBtg6lB5K//XBFoXlYun3LOTVJB3CnhL9fCStfjJ1
uZTGwE1XJ5Kijge34d81xfxkIg9sDi3Ui5VhPFsa1jOuiY+sbN3J0w6NtwthQTZNMgg54VFqrVtE
3pyr9l9d6tohkbUQYchjIoIb6mk97+sapODEOuXLY2KwpMtH1H7T/joiFo6Yemlu2lH9OcQ7EmdR
HNtmx3OqCiaEJT4WNdjShpg7mgGLPGFEWoiO/mjUG4O3jzwLYxwWNddB5RDCvOmTBx3N8eL80wv2
Q0HpYivZFqBGEJpIJs/S3sm4y1kZS8YZSpUaFJTcNI4w64Bed4eCc1l6NL344oxAkSeQ/r5QybCP
gqillDSUTj65qOzMFneU2KTc556w4egKTxoDHppZtKnyQtk9XCO+P4TAtOeTn5uhWrBiAmwrkN5J
c2ZQkpHYT3+qtb7P/GYf58a3oB7cVtKdcDR+m8i6/V0o96aEsRq00UCE8OH0LOcuZ7uFFBOMV2pO
kevQ5lHZNGOpexJYK7jGwLF2lqczUwjmqVCuU2rtjfRs7UX+bO1GxLd2nkjGVTGk+tnBpfOGi8xK
XB+T8tzWyuH61V487f/WX2HndBrwjjqpxQmmO5rwbtC7Y4OD96mWCe9m+8LnMbFzTIOl7TQkkHr7
BBtbxPvOBYPxRYVUqVHvzxwQxdlVlrpzmgY061CaUPpoYm5+vlT1xdZ4Tp6UJ47BmUKZRAzhgTgV
Twhghprgxgvuc4xJ+Zp5tX2cC5Al60zSsjMJJY9I9ZtYemyJbmlpY091aHNAjWN+LDtnVROSCpRk
8gO5Np6WMAFRUqn+EKlQTNVrd4cxc9rlccwct5eN54EpTAzUKkpv6jHWRm/adxPa8ZSEcVrKRDD6
nIayz51zeC9Q0CcQ2SJGcZ/FaUT3a+WOYKdyFkqLkhdKBDz3YQq6lihzujHLrRbR0Z6jJzxZjNdS
UopjKcde5nSeaiUSu1O1vZzpdppIbtIYG6Nt0dqe3VdKcy0PqRtI48MUmQ9ZXn0OjWn2OF/EcXlZ
zk6iQZm6EvtdpY7qoS1Xt+kEXTm/7G1xIztBd864M84ps8ydqgolTqgOR6HdoY4kczFPYNzqnymT
DGZwnfEqxDEblsWzjpW2IzTD9ZK1eE/JH+ecWRLPWVUmXTsEn9J+IPeVOFpS8pNzdKdBB3NvZFGh
M+ro7wu/LUC/XifVgLe+A38abUwXGoue2lm1bzxpDHpXkthLsvYMA8tGUn7Qdxq3jwuj2rNYmGRo
cyagM2LTZHszyF296SxSfRWGLWcHT+vEURCTydKCJg8NAWv6SHD5ByA9SmOAOwXQNCOtUdBSV9t3
d+O2Lva6TV/sjdnJ7Q86akeBDHL7ZayZEn1PpoYtGFa0T+ww2j25MOX+DKLE03p/lMigdx8lhtl2
2NBA9jeVuNe7z3o+u+vHdhqyjkIYZ1AeMf1kMPCmrI+bAbS/afNrXQBvFQxKt7KgkMakD7r1P40k
Imj+btYTD3k5ysfWdCtpoXdygmW83KtPadTzirJ4ysfWdOvolW4FSvRAA4SXW5wGeQgR+Elb3toY
sEgzQU18BdKoYVFphT0cKOjP6r3jSWPwopazcDYo7zSIC3RLthfj7TEakEskeZK2T5FfFZAlCouD
ZPZ9quV0bF60FWZMHlkEB+Ve3Er55bpOStR03ropR6FUaRegSFTDH/wI6qJe0QZDZbyNHd/BbNDZ
nl0Qd0UgMvB/jSAN4Raxnk6lHkUzOILY63m9gbTrpMKSpMbqsps4+Z23t4J2z1kp7zgZEOm0Ihbm
ECsVQKKZbAOgVrfRvcBOnA/OoloeJoMmptCPgxDgMN/vuvP2kcEVoUqeWWTlPN6Nun+D8kU3nHpb
y4IrORiQMet5MSXn2mbru3tDG5OsxPKeSoPfMwqCc22ztd2+0kRqOlNcjpKLIg8u06K8mIL50gw+
RCi+ODW2sjv2xSLwB8h6Q+hBZ21/NAh6NQG2jluvDd8Q6GulDEL/bHLmC7V1IpvOyjTD/RlJFo4R
sCXdRdcNaWM8n9sLXj/1SvMdLt7twBZ1jwkInFGR/EFHiHOBsyXdpBZHo6UGLl9p3qFgMgLHzKJg
8owXEs6dbjCgkssofNVl7Ocxrmw8jAtprdbVffe80PIP74dHtWHAZej9pMYE+hdweTcxG09rGIRR
66msIxrk/D8cWrbSOyYGZlVRHaU1qJObO13ivdSgSjK/BpWDZWzFt6o1g4qu3qfVve/t5A9vXK8n
x9Z7J2ISNQG1iPfjJk9L2NqiQBjK2sc4Ilztfxj49aGWuwV+shXahRBkRGwgkj5sC5YE/wEpVXJ1
Nms7x/5Mxn1JjV7sZIXuZ/+51Xad/rMi23XHgQMrJuOmKPGsDzON5sZJcWAKtsab68LVCgZFxHoK
knI8bNt7OT95mMyOgvZjX4hFEbJe4oOnhMWZ8QHPthjkaIsqS2LKDvh+N2h9ZabIlv6IfqcEM82W
fmRlq4oHYXThC7+5C4dKBtM8QCpKnTm89P2N1nIb81e3D1IoMC+kSCGq0WTqH/yv4QKymHAHVVPF
aGg0j3CIBKLpveN8TxJyvKIFJDJ5kkzv1SbQcWD0hXDcUfoP4smOfPGh1uOlJAYm2j5LMTzl2cDe
O7Sb6vQfQyosiwEMbe56MaeEd2k8/KOlhhOrylXpT1s5Ty4MPbwJZd8uQpUXytEDWpPLoIhfNWXT
ZpD78ewnTyTjiBh9WowJLS2d7uYNWDMltHRT1kxRx6SABpMCeG8v61CJzWUAJTTy56D8wGOZXFA6
sWceyzNC8lXHxxTZap9EkGaSi7Dyjzg+HEg5LH1h7GInpiBUwWbG0q9wuBaCm77mTBxZvcuwHgZP
4oH0YUItzgyu9Syy5iC21m9LHgofvJLFKhR9bJuWem/DXt0b2ZfcGbcBXpJ8a2weW4/ncvBWxGBI
n8ZiKVDnrU4wxdRU7Uq/46yIo+Rs+U5czV3XUBD+aLUeT8nZap5BVNIsp1EFhX1KizLd0nr+9u5v
c2pQCQY1ykHNTbSfHxpGJ/slyxVIz60fvsvZTc6Vxhb1KODVmCN6cf7vPYIDychCF6UwyrRuwtrG
zSFTPYP/AV17KcbkjdfhXlI55sU7OLagp9fSZ8rRQ+3jU/ctumjoZBFxy8VCejQrgM+W9BAyJbFB
c3d0eGOG6zpOr0L5NgGLh3Yosa7EL5gvYKd2FN2sHyMHq2QGSCJQuZU+TW+lWuKoqvC5GbLHQfJ3
62LWYxgTXN3/doDMsClGcuTjfC/hEg+92MoeP0BPwEhpkj/iQ3KlMW5J3sI/7lpIe8pnL5nr/v7q
fFPMMyVqP73wqIIn77m2DeTW/Ez9atIO58agSj9nuR5qUM0ezXmq6SKFDBoWJwcTOXGV+Iu4oXnX
srzkunocfJEZl2TKpD6oabj2fnzhLZLxReJWHaSJDq7r/X2UgaDsa9NcjQV3MAvnAmILeMgYGI0U
Ykn0wQ2FxtEeCabp+cGN1gzxgYzj+LA1PJE0JEPwUceHc4ezE3e7sRSGsIay5F3oKGJtxzXHN+ZJ
YGAkQblq1s7YQcwUtmZ9E2eRvY5UHEBkS3XEZBo1RYEEnyBXFW8FTA9OCmddCA8OFQYwSNaTuaKX
dWxaNDf2WuDwzAfJd4F5O8cEMz3piEoM6HiEKajTsFPLkuMx8naOgYpSjaMwCRF3pv4GlbdWUbuG
wjse3s3MluMkdTUlAR219xRJv4DfWc+UHAhi5+P6vWEOOp0Ioqbg2qeUMGBYDhx504KKm+sFcNCB
LbWpDHCfB9QDFjFHQJsxFNhHE0vnRA1tKMcsYC4eccCBLbPx5VppJKrr/49Lkq2wGUJwPSoT9OOl
wmbRF/TRKtTnBK0psiU200SCKaI+lYzJSaKti06wf36Tyd2O7M64K3nbSU1w4aW2pTjVEWX9p14A
uOa2lFFW93y0S/JLl3kQws7M7YrazwfKWf+Uon1uyVOu6ADIcEK5JLfklQMh7NBcPKH3fksrElIQ
ZmBPZwdFI40dbkCUVNya3nx1hlDepjKoAswyyHRIDH+gvPAkhKGQX1FMQ0TDNyOsqISo0Si3Txpd
zvW+Gu75DAsnQWUhg/FrZEM3FFLDDJ605KWB/SwdOXliC1msY0NqDKcusZ7nkQ1GhuY4FH/jxBRy
AS4h9Atw1WR9gTqbvu3jCGmD6mDn76XeX1+fziZvpUoqkJuDKCMpXLGrrUrlsOOeNrPXLdTZzK2J
wrZAVsE38JJNfe88tNM33EIi4+OgTF/Oe0rB8e+kAeVS5d45J61rIYuBrCJt+65+YlM4lv1QEmxK
ZswrOOOdFuP05JqYtBMl3S3M3gqE1gJ7nbXuWPFEMF6OaISlLM/YO1LdVebvzP+2/v9z1YFBiEhA
h3o4QcCHc0i8I2LwQpukqE1z7Fq867pPBAQbBroMSHCl2HKIaStcnTjphyx0ggENQYsmKaETEBbJ
lvilLJBGKdz5yYd0ypsEyFEkm56NWykTjRZ2DLpGZ4i+lkFpTWNujfNkB2DBlcmXSostY45dol/L
NTpeH0nx6Ov7vrwxs0c8x1plMVll6q2f9/qFoB9sdXGlV3VZycZAj1vYxPJtaMr2ECqckON0+mCx
fKoCCyl+PY9aSweIdHttP0k3+SbzKriZvXpHp0hxqdE4VnJQ8oU8oSFZ3dQHJc53N/TBhuYlDdRW
F5szuqx4RsM2aQ7BLAYlRZn5Rs3BW5GAMsnYoVtmtJHrzTb8bDIPRNlcrxiSskxFiHx/9oAriwGd
nMy10by40e/s/uNcrmyWV5G6rlYpxegH1sVBHjbDKyXhiIGuz/7sex/bTuZgFjbAoE4x6xnGxMMG
0iCpbbCY71RS2rVWg41O4XakcraRze/m1VTFIR3+8P5tPKRYVsCNze4qbT2KEoEs1Uw2kaBYU1Bt
x3jcqkaxb4rogtSRMw7mtRlrbhMZD0KJxsO8uWuMcWM0+kXUZg8YWLLTkya0VHFwNUnZYzbgZkwx
uCWrv5gjCRwjCDN3GDEhXWr9XT4rklWK4a1J+shV1KzjIONJSj3MeHz2lXU2cywrjWKKNTSx25e7
MfQmaZea+wSsRU/DYhNz37S7SHPPYITmaCabTVY6AQ966kH20m05s/aBcyGyueQxiPy8yyh8qW1v
paax7Wqw6s/1RkxHZ87U1BrbeNvUvUd09b41CyduEwz0GbfrtxEPSNnJF12rSmrUYd3U+5id15jv
OWvEL+3l3H9sqhl0c7pYFLDKLPiqZruwqiwVlzBnWbzjZJwqvyzkOqLso6rne61k0cmyRm9TUkZj
K2/z4G/3kfGpqgDzgIUIJyqITuMSUBs5T+TQs//lzHHAvDUy+FZqLzv50e4OziXPJptLeWwCg3Z3
HIYe09FypWJJVuFFdjYfonW+uvCuQjbdPMxmV0g09nt/cEuVYgVW2WQzyianFOzXSJeJ+2QMXF/u
PLHe99F3MeIoKD2bNVFMRBZNRlEZtDNH770kv43qS1lx9WDTJbdZX9lKK244FsFbHD3chYfWmXWq
SHR4D5ip6dQE6UH+nu5EV78I0X2HN4PGEby8RJaH9+7CWytFhIVkTTBBV0olq8lgF4nhVH69mafv
bRRatUBsTb0oBpGzwX/wgAlSLiZRVZFlLVSbuRcGephUb/43rsZRGOOvESI1w0wHgHZEsIz8myaJ
llTGVmHOnIZOiiNvFecoiQE2ual836RNcXkpX0eRfD9V0r6ezKtQ12y1NPddnnNE0vNZE8lAm5TL
gz/QJOSUXZD5wmi8WeK8Gf/hGjoui8EyQ0LxyeBDxlNO5Lk69Onarz88plJRXiWyzVDDFKmdSu8h
ykSXyVcZOC/SC2WfNVcfDh6O0qj3uLCBOhjnItMh7f3e4Wm39yiKXhsLUSLoZPKBjlgrpy+zmm6S
DmNU/SvC08TTt8FRDgNh4iiN2kh7JomOLnd/M7SZw8Gs027SUQSDWWkaFkFPl0K1QgBnPiYvC/Zr
//4Z/ISnvfijRAarykELalGGxPef0+mmroUGMqCRS/kg63S+31NTl9g5dPCtGiEXMzi1henLe25T
F085GPiYMLY9LwgOzZfRVVV8TszL1AhsNeEZ9Cl+zqV5MaCBcVKTMncQ1Mu/w+4+Jd/rVrZjc58n
e1lTrFFuLH184CgM7/gYGBn1IG1iuqV0ao2PuAHzOXIYNSY2th7vXjtE/CvAyHY6GbWPYJaOUutR
V3mlpm7jGvu6O3CFRHY+ZJixK1RnJNRO3+WvWsr2PVXjmFWJiWUWwUMqBnY3ZZYYlo6YiZbAn2XM
MUO29WmMWj2U6DPsk1Ese0rOIlLjnCLb+tSNaeJPJi6D9xsh525jm56iSQ6aimbGlboF78lWzu5G
/z8creQJYUCFiMEzu7d0M7iqrQeFhYmzhUMp2zsHLAzipZE+fPT58IgwbNvTMMaBEqc4uAzE8DvF
UabIynDL6Sil1rUv/wOJDL4M6G2MTFqeOG4mtwqs1Om3wi8VnDnZJu0crgmejoGOlsDADNpwk9Sg
eceXF+AFxwL/bYOnmAy8lP2sRhEN298fixzSbivgwrY6CeIwjTqloJ8wEmt2qLs+bmZHcZK94aQT
QlkVPuBHB3gvoJttegryvNIamjp/Uw/Bfb/5Q3T3en5s09MQN3lcUCfijay/Pj226amNmsoIPni3
c/SS7XZKE5BPJrQyIb4UMdNeHsFxYjjEUzdktPjNhhyEYXud5iZ7fmDJ8942isHt68+ddreOYzwh
jL9SjqmJ4jnqo6sX9XwvS7/8j3XZHhGLfS5XezDjJPT5leoDuTwWdf7FW+VR+xj0kBJFICl1F1Rv
cpUQlQfGrvjnCa2GmauBnGvbZODDFAelTgKIK4byh2SUnpGJF7UvWu2MW0HPOHEbx7jeTNCYmhf4
f/89ygm3Jfbd3BzzfpJosp1C4wT+hdGar2n38Dkke6eJvV/V5M28jCYsnmcfD7Zhuup+3NEE31y4
KOFzQCgU7HOMDNA2RglyAmLTdhNuUQI9rT8DtMQ2RWkmBsoOBlb8AtCoiCAWrWFp7KbcZLZqyRhc
gIGC5wWw616ZxLZIKbrsV9qBs8b1PRVDu5Xqi47iLsWm7NnZ8Mgbk0qjrbUFM25Ml416UolYMMjN
5Ma0ooob8K3DpsT2R01VYIw6XdMHZ8zw5DHuSqL3RDDp4z61EAo3L1pLa2e4z+Dr9i+x9MdqEwVx
TC9WOhBuctXZrS5azNSl7NIxIj9H8F3JPotQg+NOSGxzVD2kU0jos7Owpe4EnSSa7kBS7D67E8lO
BL/hGdm/9VtDYh/iJ7GR8oTmb6UEE/9mq1BDa0q+rV9Np2NpVVZVCRXlosHCTzMERFDo3T7Y/q+J
VpI1Dzk6zojbT+7gkOgKnI0eR+hJd3AhlGrXItMiBJI+DHSK6AfcQZ4sJtuS5MJzEvX/IItJu2BM
elXWdOALBsXRQe/PjXSmR7lteF0/J/VjsYkMqrSqP8c1LeERxk2P4XexdDVlX//ypBjXhfTDXBFa
tUbn6D5RwD7dTfySpNOWtlgQgym+H2mRSgfYmCCToTTg5T/UcYcBbA+OO7W0iZb7cvXx5I2wkMy4
M2FfyuB1OaySEvY8J1HFm+e3PL7b+XatimhqqmoSRVY0GUMn/20BpUCInjVl7FGefNlu7OKX8kUx
LDoVlUpVXBXMflbuzbq7fqRv1IaRzOzy0E5RKI2QXCrTpTL4O0XQdk2Tcca6v60jOsjBtB5ThlMj
sU/tg0r5+IUm9mLFzi+LCz+xskdlYzxqKkLp3m5d9at+12JgI5in7cKJNrxrl57av65d5gsYlElE
ORWFtIs9VSqdKtOtpt4GUWGZ4gX6aKyx5BVxn97a45IZqJHEGdFL1cYekmkXM2hMKz9x2hRTaNaP
8K3PyKyMwZlGFtUS1fex9xS8H4mZz7p939z1jDQGaCIzlNWywD6mpoWOo8hSfvZb1VFqS/kNH417
PbzxDxl5rG1UNV6fQmjOgeTSSzxMAzhnTiTvuBhLEGq9LjAOMPYQy1iDYVgx6CwFeL7JuI2Dn6pQ
WIJ0C8/N1g3VArG4VXYPrTbassTjyXubEWXWzCBQUgqy5vc1xQPaMBra5X1mm7Z242PcW+xGTmpz
6b3pPq7ZBxNVGabRKmqHfa6d+hKDD+x2Fw5WvKEbPrpBCnpK1DVueWj7xhv+91LZx3AxVgdjiqBO
cEqsWN5K2ReOefAkUJdg6V40RDbjHJtZB87hpRaVBaC1i7w8c3tXdFCSz+8c5WgT+wY+KoWg9QGM
P+1EVy5+xPK0CRVxy1nbm+cBZvcYjAma0CxNCquUUpiObB02g4Op3R63MpFj9mz31djMaiL1kISg
BRdUtK+3/+iYqIjuV6/gcZ+9uYGZZTEYI4RjgCcrHBmxeifaigYoCOb+lcI73usap33trefLiGRg
Rsqb3KhFrE+4SB7F1AppNb5T/py90ZbsdLbELS/0PamYBJPJ8EcxVYOxODVN1TH2oSNhhlJSVNc0
8NvWFeQkeB5FsNnPuhrCbgohQiCNZSQow9J2dDhNN1g1uiiHWbIlbjflocDsDZQspDIWJ/n52EQ1
pA77OrK0z8o/8l3nSjC70DEUq5TsqEMarwV5V3mn5VZWYiynueNVtR9aYNe+g+r0wvJNRc/UOuxj
T5uvBhdMrRg+JF2rt/637jMK4KwbTBL3/K1x/81VMBMx/5XeaT0o1EuP552fRvTFljCGWnTFlIop
tqRBesUiG0xAQ8fag/6pdrMH2aIEiQbY8VvO+XNU7E3+NC2mOKFiY02ww/w/sni/rmAncW6xLsZS
a2Eei1iGpXaa+qNuO6+bpes20jZ/J4axzt5Qy4B0WEeBespQ30smsVv/cV3IgVZ+TV9YF6Cv5Drt
IWWSjM4yxgI5ZnXwujborURqMLRAEy/1dt4Jeb1tAsEtK8VpW/2h16vZiot2ayjZQ1qL91lZbcKJ
7DRF+jm02nd5CD5PrabYqKW9kTV1q2uyVenDVZzOXpFmm8xU74w2viiK9CpIsp+azps1f/qk0HYn
SagkMAi7OL00hCAdY8/3JwdFvIVc2XX8z/oW0nN4u4NHIYzjImuDWRATQsq6t3sjtkqz3PQKgLzP
OCpx2u0lR1kMfBKhJGPvw7rTwxCE4orOE+sfaxgTn5L5tCG9CtPoRbyAkhhM67j9IEwdErc0UifI
r9a3ju7/ytaxpOBTkRe5oUBC2RGrTLrLxv9por5a6+6b6ee6LN5qGGCstFRrOxnHNDWXaUqsQeK1
+xyIP9aWwwCeIoBhRVaxnAw1uI6+0TsvmsG5K13AbFzx24xS8p3kaomNC2D+wS+Xe1sLRW/0o35o
dBMWR6aOeT7pE76Acl+V/+m8fivdzTYcaKv/dUbPLl3R2ooZKByEyQ+zHpsaFxa6PCO8V0WueY1G
08muHjByd1Px/CSOTWsMLMb5GE1xhyU2bnKt3/ve4JXhIWswOLnh0BYVvikcUo1rC2WQZFSTMtIG
SI13zbW0DZ3EnvCKql7wmIf+cGserY6Bk3acSRkTBAfE0jx1spHstSuP9hvltu7Sud4Ex/mdF5Pw
tpVBFiGf0k7WsEB98H9Xin8rBL1bd+9uYfq3grKlc7XaTF3aD9jHNLhKW+VzVOhOJw7eurHTTVo5
LpZAPEXSScPlifhHLhzFV+2iR/O6XlhiZViq0N1OKY9w4NCAsiaTARgS1VUyUZkNXpXSyKHedJxb
3bcJr0klOuabm+liuqRzqHnPAxxs0xngEVWDKCW1iRICQ/FTEvOc6j/cPAa6kCVF0mS22D/SBC3P
yMHspA0dmaZ/mu96N96C0M9Ov64f3+kr9SiMsfGobYNkmLGVetldN1l5NRrTRRcRVzYrzhV0euuO
ohjDNsUwrIQUCimm2q9GSO7jkhdn8VbDWHTShkGUUuwI4VPp1cOgXeeCgkuiste3jXtIjBFLxug3
UoN9ax1a9IiQ1Q0dOFu7wsk9sluXdhoxXnfuTRZjFkdiVhAW9ZkVJNeC+aXgcZjyZDBRlS+AWqii
9xkYmC/bOLALErtaxKtw5ygBm7mYu0xKQGcO38D/kuSy1SWTu75ZPAmMhbaVOFVZDDVLCOrskq+l
+m1dAD3at+hzPA36AYubf5DjLCUEfrw+SjYYwO1Geqz12QqaO9n8peCKzIeHvxNJD28hshU6kUQ6
di3eYRSP125b9zDfjIPlvK1jwGAQyzLByNDYw6gVOxY7K54ynuHw9IxBAbnv1VlKDtidXLeb3imu
GxTa+Ui/tAOu3AyxarVd3z6etbLkMVM65XNGQy/Vq65HJJWdeRv+HO3JCeszCn04MMTyx0zdiH4w
qoJxeqlnu+abPF8aNW8nqSKv6CHLG5OK8jzUFIKIle+ya3igF+Qq2yGNinvPdLgpXM7JvWGN0RvS
YE5V7PWmpU4WodOFOk/Kd62Vdba8CRQr/957gUMczvGdzEOSV4t7wyAjtnVPIqh/UyeKNYhVbYF+
1RFJcD/qMISqvgrzvrCSDr3TqcKxircVOgdP6iieQZRGa+eoUmjgvh8PWF/Y2o5W9snbjqOpvD1m
sKVvRlOvMSHKK9pPRQ0PQ7hv9Lv17eRYOUsgkxXgPq47yDC12dF63Sk63nscNeI11WSAJFVBLJuG
UM1+k13jEafchBs5t5GTgukNv/SLwivdEGQkdm0PW/EaLEeoWmyd3FVbS/7J87h5n8Ngjt62dUEG
HCDK6lG6P9jVuO2VnT7LdlYEHLv8Q37yqC6sEzKRNswzLJ66BgVGROL5L7LEfXgp7wnelwXb3yaF
1eHFp7b6H+XddIkUHZePhadKjIeST2LVl0j6eHOz0yfTlvz7Am0Lf6VLhElclFUxIn0FIVrR3iZB
dBGUxcO6CA6YEsYxIYGQKQFNxGRN8KVqiwt5TjA9mxiupMicszudpz8iDWEiC3MiqoJXN/pMhRm7
TnARuf0X3S0fjY24vc89jWMpnEMiDLR0bR/IGn02Dru9MjxWxk1YCNb6Bv4hon5VSMKASqn4iRGK
B+8h+4SaN2/2qp1/wZ+HzFsN/X3hphR+nsSE+pC1pN/kQ7UfI/2yEvMNZ0HUglbghS1o0EnR1XID
BGsd4SaNLAEFWmbowmfB4FDzx/C1/lHPbnxWqu50NcVCRRgwKVVlrMuGJmIy5U73fS9Jux+6mv8c
le5q7kbdwlZf9aS3Q0kPLdD93aglWj8KXbWFIdgofbORfXKZ+DM3Lca5KAkDPVM6+4oc0JNOMztv
K0uaH0tzcCtMvpEbww4qJ6lTON3hX+IAAzZSmjamNECP1RB9sSTHakPv706dTZJmrRg3sUy1yyll
i4RO/x9Z2wx45dn4uwDvyGiWyv6RKhtp87jwWo93OXMcfzaHKql+20Qm1O6lVkDxJJdfksCxIo3B
oDothiEPsJdKJ1lx8KhXP/us5oECNfoVG9IY5PHNRJNiAcgNbw5NIJ9yB6yk2aHXJbsV9uYjv0bm
D3mbVyBic6a9gTeKSsAJ0kIkVDzIqaXg0QLURoJok6vkwZdxIR4Gen1LnI89MmuUuUISQXrJthb4
qAVQxGDC+X2nyT70VOfWP6j5b6xig8d7zl1yEqQW0hjUJbQfvjewWDLldmY+ZtmtId1r+bd+LK0A
j5Ic86AH9uZAF/IY8MVMx2jQMmhn5faOsQ/xiB7g0SK8VlzUdF7wCp5OP2ct5DE+3iD4Q+37wMEW
V2X6rfkhQYOkwAruhivZNb+ive9WuWi35l1yO9xPl2lmldcoHjjkjFGf5Zg7/N2L9+R2fSdOOgyL
D2MAWkonRYh1fBjpiSX0F2LQWFHzNTAlzgmffgPQMMSAiESBt8GgnjzlSh3H9IjvKWdWshdjCy/h
aE24K5xpW2z9mXfKJ8HhKJJNBUUJeGpFCSLBKdMGTr7TN5EbqVb9U7fHCc851myXDR68uW/Mp7f1
dbEsxYNf6JpJaugXffBQUaSBubyuEFiRPe79e7wIuAOmBOM9fv00T+LUYsEMGvpaPwgjjToJrrMk
62A6nHjo5JbqtCpZlDXzDfmjHoP2t6ZJwyS6SsLO7tr9HMsfuSAXQpibOZb6EW/ZEBJJ00ZWb4OJ
l5k+HaYuRDDaOEVaOJICOxXIKEVIUIOhxVulzu10km1SfDKrxyGo3KYRbDPhBQLUqN6gz6vwN+SP
8SghDEDBiRfP8XWlV3ZJpN3ca15RF9uyIe66Vqyf2RsCSKxDDX2a+8B8OtcQjG0ZtntjHDgpa54Y
RvnkJhWMmD7VVElk9UVo69UnsRA4OMKTQpF94TbnSRIZVYCDA3OLHfjESZSfZcxjUOZJYe6jJBBG
rcixlhy5cWPCPO8Zl39gcBT9dAi10AT6HYvVqNOcduBLgpsm1J+GcNrMUnyr9MPFQLSfZELMq3UY
bSkHm0xXNyD52ij5fKlp0Y0mmrxFnwStxcewl5RvCiRUoCea+H2qRjtMG2tGUjMycg4y87aXuXUm
1OQVMoEBTPK3GcYXt5fxJP6lEAZFoqitG5PubdJpjmQYm1IsnTrizYDhrYVBktYP52yg7w1K9i1U
aruIPyttwVnLSWA/Hg3bchLUidiKHYQk5r0fJJYgfFrHiNNZ34UEJnPQBVUlBrRAC7mX/6iYIx/Z
5E7cFI54wXf3Tu8ZMXRgH1pbWCYbre8FOS9x/qE6WqL5W/Y/GyjzWV8STwijzqQiZMxBxIXY865V
MmtSUssgnPvwdISrH5fCqHLUhmkpzti3bLJkr3Pjb4Fptw80vKazofLK7n+nhUff/3mZuj9cYkfZ
jIaLeZuYPsoO4FVKm/jrvE281iouFTcfLd6z2uk76yiLUXNlLI1KjyFLGG8V4bOfYSLtnTp/TUDs
tn5ub0nzaAr5uKXsY7w2yAkKzSFqsPvOVn83v/FCHqKjTNvNxJo6u8c/Hmk0yWVZ46ySfaCPSZQW
fQrRRTbdIFcBn1jzUd72X9Kuo1lunNf+IlUpS9wqdavDzdEblaNyzvr17/DOfG4NLTfneVZe3Cqj
QYEAiHAOACuFbBfPisxTlidR/mcEiLB0GRvLxzdMb7BoCb6L7lVHh5TSqsZPgSVb0nfB175dP+Rt
h/Lzc7Kt+bBr1azuIDaLNXvqZcx7i5xI/dEo+jXNucigv2EV3OowmsrWhIwmSAF+KIOimUSOZkiG
1QeF3yroJzWRpll1r7phS+wmKl0E2Vtx1h+RAe4bNXf0hPhDK+1qFRCobXFYFtkvxsUug/ooJHVk
z3FwGpoSBc7+bYgy0SoSwVbJcupV8ioE8VOWNKMVAj/Sas3ubqmCN9LoN20k3+hmwMmBeMdKfdJK
5YhkfSHEIrzovFjS3Ftl7f63D8d4NTUv43bBKOkurQKrS15L7fm/CWAcWguEIjmkT9VWHs6DLCdW
XKaP12VsPwZXV5zxXCVGO0ONmt9oa1i7BZtT5HSW+tg75R1KkX9W31/JY7yXoYV6odCJy3IWUHOr
kr1OkmOTxBPvPnOiDougI+YyNvMqaAZqa90yMlvxygNe0+QhxtoG+VGFHo0FvPmsbcMjiiQTQ9XV
jwLEyvC0OE5a3YSCgvZQVa/kzwZyjYsA5jJXmT5U0kehwIpvosoyq5uxfxiVXX1f7kAu75hW/i2Q
HNlpztMuupkdAG83n6XGktz2UTssB9HrFmtyZWe2BEf8k97A6ucxF88Y1DDG10TC3kqWmQtWL7+U
5IljttQsf/Vol0NgLh9ZyikgM6T89awHWfNzczsdDZsS1jUHNDnRIA9scsd9r/K+L3MrscCiAdsB
klt3csYbzWt3+S70TSwh1Z5+5Ncft+34oipzQ1t1aJvEwDurJ9V3tc4eSS7Y2JV/v36kHyi0146U
uZldnMdAyaNBwslvzF2A7QDV9sZd+kkcLeElx2zcW/YgWmB2a/fkJDwJGDnkRKrfuKOfyrLTAVUV
KqIR4XTp7o6Il4+H2OsLGr4qXQjIbHN2ruu9PZR7MVh2QCAp8yaYRpwvPODXQbEHR3QXwBLv69Hu
jioqU7pXF5b0ubrBGLXHzR3pO/nKubNjAqLSjHG1QOXOWTx5wWJb4sRnTIq77bfW/xO8wI+s7nLG
9AetPFQKVLGgkqCweIj3/Zn6+8kmaAqIe4GzQbR5WUzZwB6Paqq/rM5XjZkMZYfMPzMUKzS/6v13
ztejr6FfTm8lgcnaqk5G7lEjzlOgu+xb7gY+/WT5t3+BybaZIa5kMQcXZ4Oq9qKM2AWCpehz0uiu
1AH633Anad+XBRZZnwsMcI6jNbQgPahf+vGlGJ+NIkf1oOPdlc222ern0MNffcdq1nMjbqB6EaVv
edC/JWbwOCCrCol+aIfIT4DMbZYgAl54Kw3b5ZKVbMbL10snVNME2cG5xyz7qb/v0JgFgGLrTG4w
7KZPQEXhKEx9+rVPzfh8odCX2uhw/FKLAe4JCbrS2a3WWXMzckTxvjTj5CUlb4e0gihRGzEM8VJE
SJfNm8D40fJKkL85Sl0yVSLLGJ1l/O4IkNncyLAO0jnUguuHYEetGGp5Qrrv7NjrQ15utG06P2Wy
D7sw1rPapG8d8VDjQdeemz0dQk5veet8m3HavAhiihlTCJIphb4giyp7NBvzJZrG4zzVx1afjrEi
Poci4Xy77Riyksm4hDmR4zjtJJpiYlOyvMndxGmO5VvvjKfO/hc039tejugAByG6pCmMtRhBYnR6
iS8o33en4i5zSntAOyV4rE90MxndIp6K21fhIpHJCcSejIpmqn95PfpWLSJLL+0caNntqVqwdY6B
XhvkJLzxvc1kBFr+T1XGWCcpn0AyB8FtnVhqEdu6UrkGebnu1TlS2CxASAdhNkKNFgwzS1JvxwKD
R5V7Xch2oe2iCxv4lwZ0ctkMKWLjmYd2BxLIh9BXG/DX/ZsVkY/5yV/918+zYwO9GohREqgwE0EM
RktMU7tujTtFTm6iBo5am45JAsoEsxpbS8zLxYqa0M/K5V7E3MWydJ/qPG9sWTFvFKVPrZE0pz5o
X/V5tJVIuBGxhWVJsnnf1uF+yePZKhTDAyu8N2raXZPpb1lGzoo03RZKfauk5ZkEmV2bGMyWMPA2
SIdJbp7IEhYca+V9TeWfcWo0cwPtc+q3u91kdPZUhJbU/OB8TZ4UJhoaU6BMRY/TpevRFCerqZyl
RvkUvC1uXIHVTv6Spa7+wJFLvcm1r0p/1yoK9zGmOwoFVvS/BuPwBShvZJe58543d8VxNCylnZDL
vZRNOMlZzG7mVjpofchjEOPJYJxZHmPOfRyhT+OQzA730l6/kx465FSSK+8nEG3xevI8iYwzywW9
C3UCrYwA03H1Y1j2zvWPtGkbRAFHHqY4CBGZb1SUfd0uHVLsenxO1crqOsx0AtHiv0lh8hNlyNNW
UJFXd5JuR6OXd8m5IApHl203slKG+UAFsEaCKkdOTfR+pwedDRZHJzFMv8vyM+kNBxS6d5KRO0kb
+mnVHqrSfCkzdV8SFEHiKPMxleyoTe8YWKjMpam3jNYwrbQ0DwM2iRc1OIppeR8TAviSYnqe2wwp
nmC4Zt4ck8m0hL55aKPlNo7kY7SQe7NIBivWMB1ak2QfzZI9TxHHiWw/01ZqM1bSikI3ti0yiToN
vEIVj1FqnvVZOxhteauGwkOQFZU1mZNvdKU/Ga2nxalXz9M5nlo71Ds/KfvXYArcakClPNKix//2
+ZnQKGhNEs4SjGzKcBrRk6zNVjvpHCPbTKgux8D2n8ZZz1TAysGZYnk9iwyrU1JL7nNbT6t9Vx/l
iePgOHfno/Wx8m9tmXdTSssCslAeJV3aKU3l4bZyzJpa7S9udKUXdbMrMX1aFM1EIKZMJtcYYtgT
Jqr0rxqw8wRtd/1TbaeIK2lMSFKTWiHZDGndV5S/sQc1vRJgKo4xivyUu5absG0m3CuB1Aeu1Ivz
tNKyCQKLk+LRyT/jXGOQCBi7nLo3tbJr58i4OmOU+rTUIMi47Xxp3xwpVGV24FYtNt/dK4UYZyca
qibpCbV2T58tFQQHg6Wd2xMWNrnbi9uZ2koY4/JqMtRRTe++uiNvdGMEWzdYJeqQXP/hOPBKGONo
+l7qFb3BDStSEev6ujMN2GhQas5F5irF+AuzH8aJRAgXSdZ8JsbYoSuS3QTR/CVqzcprKgBiCMOt
Lmt3hpTtVCX/vtTC/B9/Bsstlumjrsu0XouJ5PBBdBUgyalPKRZyRiCb8sqn1M6vmCcLeSZjxmYB
nQky++RtlE8EM/HXrzbHj7A8X0HZj4Im0oum4a1X+WJxSHXNMsngpGrJCUoc38gSe+UZJrM+hsvE
9JBWn0Vz11Sfr+uz3dYGEB6RTVVBxYVxVeiOhXI/4zWbnCgrkuJoqNmFLn1gxrI1/ZCd6NBb/UHm
Fgno//zrt7pIZnyWKndaIceQLMwlsoLCm9X2kA+pJ8nN66TUlTWExmki9SlR1Md47t/zJn4RGpXz
Sbc3AVZHwPi0TgywOyGi2EQnmLW96ccf5XZxn3CcJ/ewWa+2NIY509JB62KtHneh/p6ew+ce8HvL
Z/WUuKOFbfTD8o3zkWXOUTMOrjInoZxjpMBULu05m5XVOhS/v9kJT+WeI27bbi9flnFxc9slpYwB
J5R/wr1+wAgsyNun3JKfOjfap170HDwo79eFbgemi0zG3ckAQIwSCR8x8WPMnHZ76SC5yYE3b89R
je36LYUsxyASQ5poJraWSBbBZms2+teV2QZhuJgky5IxB8YsEVr/THzpsXMaPz8kqKOPX2kHanIp
ViPPdf4mA/55gixVhjD2tVBTT6DfLwAPSB7zQ+DXB2VPCbIHoDUpIZA/2yPF/+R1Nbfd6kU244U6
c5bGsIW+vRQ6SHSdPjXsBnBNWT1RmEiOY/1NcLzIY3yPrJpLR4DeujMeB4f22KrX8c20FtwH4vDu
A89mGP9CCqnPBQkHO87PUv0qag/6FPCcGMf+f+HL6IoebyWc4OA16GxZJLC0wGp3gosu102j0/7h
bXUOEP2tArWD4Z1jshwfYzI+RleMrg7pRERwXjzVXfaDVbktKpQUZ4s38rUd5y/fj/EwkZhnlUGv
oaq/6WFsFcXX6+rwBDDuRBXzKIs0aKPrIt4JmF+ZOcFguyF6ueMsTpyYxsI8UpsHzyOecgf9LB8k
rwBJhvxi7A10l29UC126uza3tUNg5YkF9scd7+pxDIelzFgKwAKAhA4PMNBNAjhqL+1kT93zMnrO
gbJsGYNKpk4PcePMVLeE+osscr4Y706ziyyyIWmJYECRCgu0AGaMHPVO2i0/ZkdEwZW39sQVx7gQ
sHQ3GK1GTAVte+abhx5XbbkJHo3Dv9lb5YpjnEiHr4Rla1j8DCMBbdM+8Dp3Ri05df7FbjnHZREm
UZFTSa1nrEJ99HCV1A5dE+lCcQOwYLRxIFG/QVHbvX7nfhOBCFJRUzJ0na2YSzkZzVaA1P7QY/ph
8KsISJTwYXZfALlK9cABVN1gAMNC18OOv1wXv63zRTp1cKs3dJEALK4OIV1X0ps2EaxAzlzAEvHo
xahv+jXvvchhYp2eT028UC3bH0pp0amhxMntObHITeWCAyGzkiOFRqzQYNG5qzLb9/AinTHbRauX
AoVeTDFb5QvF708PFJFRc4EB7Vaf/gVGF08iY7klGUPMmkNi4mPRO7IoJPtkL7NV+hoWn0JPPfPm
Aqh5XjtixnyLIF0ymXrvYjJPZd+7SH4rS8nrZ+D+Zc51u/nN1bwcKRP5VPTGo2ygL/rYonQW0WNK
FcxQ7AHWCrfYw7NTJvb1rVzI/Ugd9nJuAm+pALXJATnbhg5HKft/N5EJfzkJl1kyoFILgg7hVhqs
cLEo18Nfo8e9o2Pz40WIANNK00Etsbglre0K0M+fwC7RD+GgtQP9CdlpdulQ8GQVx9mje3vcHUiO
vbDb9FMZNKSgyVNdLa5mBECdjOVd2VdvZjY9ZEG6U0Lynle9b9TVl3kk7qg2+zwxn8tOLiyjUELg
uv4ReuTlI7Br9xT6NwglegI6ztdUrCjRrbb7s6XXlRzGIQmyJqMfiNaWfj73L6i1nc0n5FS6pR0U
F9bljty3P+/AGS/UqnGe6HRkPzrVGXhvgMP7nNvie/eKpb0fqgcw5SMR8Bi+flXl7XfGxagYX6S0
oPBQYqiq7hSvBa5dplj1fW3Hz4Bnc7IHnw5jl7Fl/Ki/AU3UbfdSD2DBzol24S0PwYVzkdmF/UnL
Bm2UYXWt8p5ML1L/MPFYJXkXmUUgXarKHKMFMlLgdDqjbqkHjGADIpEO00QAOT9ONgCGTmNhhW/E
z954D2aO92eX782sjJtcQsGszyOrQt+mUkv3+lfdXI8wREXRVYNImsgSxNR9vGRiiamB2q188JYh
nFZufEf3l7luaavSvpLFNkgANtuXoQILImmUW2Oe76a0sKVqPhnV8Co30XfFSNxOQGtYUbzrim6d
5Vo2M+1SDMbfF7VMGmtZAOKscx4lPAlMDtQETSymDbSTJuyVYiuiLPz/pgPjbLq+IySkWRYRPgvh
+zTzNqg2y3nrU6I6rvK4ISdmLLcfd3w6UXx2FUyVwk7et5woufVyWgtinIlmdKPahjA7+nIqvAkv
JzQNdryX02Z+sZbDZDPy0HS6nOPI6AwiGALsBX2XzDJ2tRc/8lzkVna6FsYkM4kQS0tHx8XmAXP6
xUshT24jtDbJbxITKNo9b3tksyi6lsjkM8NYpnE5QL3Eb3J7ROpP8YDw/jUQVDO7C/H5AJ3sNEAp
qlxghlw3SJ73+HiVrOxlmqu/YwJd2Y+P9TOy4Z3pdedsx0M/2Ao/K1XZZkht5ulCJFhMgmEcFTAE
wOGdJn8kryYXhn5zu2otjPEWabN0wBHEl8R2lSO+wEBfBVu8o3seiHV03wjbY71o8arNnGvBtkgq
QcmUkE6R0PlfCstHW4R/RmKxVo9xJC0o5OpRgHpdGLnYxrEClTerwtOE8SSJXjZz28IyZ5wgZWDI
brvj01xbgRP6tPUZ7av72OlLJ7rn3XqeqTDORakHYuY61IsS0Q30c5nuw6zxWt3YRRGHbZGnJ+Ng
RK3GkIOBL5aFvSXPh2j6tJixDZg1OXuam5M+fefcOU4U/cjTVneuyqJgGDOcbFx1902Ah1MqN66R
YtEhCM/xYHybcs1NtMgXFn72SU2DfR6uTYfxOCUROiMgOFugvDR+6goPuqPdt56OAnAHqD7p7rq6
vG9Jz3+lbZrHIUklyJOLwkvnqLaMYNnHwYB1VWzkabpm8JwaDdS/qCgZIOrDTBJG4xnTJdoiVUlH
/hpXMzwKmufQaz+86N585JVONg1oJY0xVmOqG7U2IY120Ci8SXnSAQ3GQ6yk/801pRg7ldslrozZ
BHib/pyoqaWGmITjtng3pzewm/jz7JgQOGCbuapKA57lra1t/aU/52fx29JYE+Z6jniafCm/XDeQ
TZHY6ALlmKSLhsYinsVxG8ciKVC7rDrJCvr41ahS1QqH9iA2pLYmkhbgEslvzVnu7aiTJksWzE9F
TL5hV5UXpjZDMkVuwRKHAkggto0uxuKwlFmJOEUAZ6mgf6eOVu0kN2log2CAYAyfLswsyBH/BQvd
1vVcS6e2vbouWPAS2yJraOCizGyFA+ul7zLdAvXNPRCSd9dP/+OhxdrVWiATSoTSLOFlarQuRmC1
yEvxTjJxl4zmKRjK712Y3KPL5+ZC7jTm4AqF5Imh+jU0pvNc6l7eZJiFBQxGVeSeCrQGS8+zI6nl
z1KGomWHRmShHcKicTHc/Z4G6n4s+3M1KYOVlaqXV8lz30bnORo8I03caYQDisy3PC99YGGfOtNs
ENuA592YvqHO52khtqmKh9JMQfuuenEWHAOM23UCGp5lcTBrYd+T4s3IpEOnobAHeMd6EPFiaCdO
LXPrQkp4dskEl0WVWTad0szGlGDJEjNpgjvPpS/J6fdoGXmAFRw5bKuEyESopRIWEZTRUzgRT87U
46KGnN3CzZRJUoipa6Ipy3C7/7S8qiylIKMMUurOHB0ZcZ9mMOnOcKXIFh9BmOdhJAiVYfe6BW4F
iLVcJiBptaqFDaUMItj3mYL9UN8Ger5Xpd5rx6/XZW356rUsJhjpmk4iQloEv7K4yeNYsvKw2IuF
KAGhWfsa9WSPPzvSHDxdFyxvf8Wfp8tC1YkliE4DCuEWptjon5pbMVAeerP36zJwm3xycOkPhd49
6jEav2Lo4uXzSvTUH3UgkyW6PVWCVwWBSzrUElLMwgIjYPLEUXsV9Ka18lH/IgNnIjSW1+s/nUZL
1kHIkgx6VgD3gzeKObOkMIZyXOQYALQvS/Sud9xlq+sSVJEmTCufR1Izj1UNEpavItjnlifKhCUr
8HkdInbkjiLX6HgimfdBMGmTGDVqvMuXzJmrt1zkRbUts74cmyoyjlyTlyw3Cymm1Tb0aH3JyVCc
EWz51nya7NpX9+ltv2+4yPDb4VQzRErvKamoCP3zNMU4iysRHOLYmOldOmOOgtBxOPRA0qYjfVxO
kM2IpYPmQCQolsJ9/FPeQhIxTv6C755dAX4dpFfFUTgD/tlODklqcSvWPIlMKqRXUh7IBjzGB4oL
niZ0u0TbGajYNrbg8MY+t2xFMlQZgxGyqCvsCtIUTWoRlT2+JFCzwNTqAM/q/3/F1hIYFygLo2IU
2RjvwnG8qaXuKQwnHjPXZiVlLYS9x1EtEWMZ4l2GIaEWdZTI+Zr7i4tFfS6ILefI2CUjbIvkeTFC
Ia0arMJ4L+bKvn5km5788lHYdikgAtI2avBRJuN5SL7E0icpvAsk3cLezThIljZz3on0G7BucHV8
7IaR0glildU4vqIWd/2o7MPS66XiaJoa/Lbi6Bnxrqv4my+GZrBoEFU12NWKTmi1sAwnnOLH2g1Q
QFDLs2MbI/i7QcemOEfe9le7yGPuVYDxvDzRIM88U/o6f9lX+8wqPmvocqHrzYn72+qZoDTXDR0w
m+z0pSB0cZaGS/yx3TM80eFDul4sntrbf9GJ3XQaK2lU+VWQAclyUOb6TP0xReJAuRqpzDflPLgo
ZdNWZSP4nPPcCgHSSiTjGeUq6WUjhoLGIwB3bz7YCEFC2HwJd+pd6wRf6SySnGPGy7ouefNDrgQz
HxIjuuJSZxBcYksrXho3444rbHUo17pR3VfHKY94e4oCjpNu1kroYZHQUh2yKz3BVzglhM01Xgwx
GhIlk0MSwkRrsCjLAhGhj/IYPlB62vo8WHOFMV3TolGt+s7Vjx4Re93XIpnw3Sh5LjYzwndqOKA2
WAAtXPmU1SVxzKc6dGtMY4CCzzIDPirtlqtZy6amvDrbcYjKpMgguz8U/uQvx/m9wFVULQnU3Bga
uA3sFhvg2Y43WbZ5JdeSmUuSTDow2LDji0E6QFHTzQPazcfTP8Q6Bb+br2xZ0Voec0MGjJxMg44P
S8vPg0+JP5A+eMWt/o6325tyiO+KfXgejrEdPpV+YGVuv9ddAPU/Lu/kUXgivvpw/e5wz4C5PFKu
mnFF3ZJ027qd3+6Mh+y4APYk90ChwQFx4Epj7lGbBUJtgk2CTg5i11iuLcFVHW2nuB0A8LjEGfRA
r5k1k2nUmVlKaiziA4eFNQyTlQW1JXOZSDYZD9Yflkk2xEaL+pq6PnUneSPtchdOcVvv8nOK9iRq
KX5YWskNYHL2yvt4UFCX5+4+cq4R+3DOA2UsJ6prNdZOPpyV8QfBHKGRHQY0hBU+kQ3HmtlpQp2k
ihoXEEgeGx9A3Y5xA83t0c/5yCbU/1z5kOxIodnnSauY8BGDp/S26DaPkVcnjv5Idrk3yHyBPOUY
p5RUSpRoBMpRPuYPsmKv2isHVFT3PBQ+jpGyJLJYWY01UPHhwwlwsdqntCKWbDxdv+c8EyWM7zEU
ExveIU6wceTR6XWrcMJ7wS7fhmNqp2BLPSWv0qF6aOzYKY/AO0DHiDiNd/1n8HRlvI1h5tlkUI+7
hMbdKEp2nmSOKvLcDE8M42ZI2reBpEHZ4JlIVv0iutqpfQ4c+RvwoeMBUdQ84pnNa6h+FEuvmSnj
b8ZyTCcxx6fUzwWIquhuguyHvnYzf4+x+gF8dwS0CJPn4xH4ddod4Sm+lfatHBFbvUCtS4zGGorT
HLr41t7TN3h8Mi3FTiU4He6MxPXEQWGf38ESiGnQ4J4kJ4HA71HUdTqSQQu4w8HYgc8KKRLvoDeX
Ji56KiKTImlhmEoTTZFGCcXyhuxnDRBaXQd4stF4yyosUXXj0QiDM8lLygKR+aE++eFYnALixjUP
mOC681XY8kfWzaqUzvQYTF9ozijZCvqnUXnolPMSc55mm4M+l1qLYjJXWVPFjNSTQj+yvptfWqt6
VF9qu9yFZ+Pcx1ZzAy4Oe7GzfeLWIAPnbdlvttHXP4C5xcDYRgk9xQ+ITTt/UABRqn1qMHyNQdYz
r2K/WeBZC2Pu8ggwsVo0IUw/z/bixCjUYsUI54rsUIRvdrkSN4PNpQRoMrc4ncBJ2suQGJ0KHxUK
u7THu9wPbX0vOLzD3HRVK2FM6mCK4qL2MkpzlfKQpe/d9KUXeNDMm02e1RmyuYGiAsdGUKAR6NHh
/0GdW9sBeGUV2cndyDNsARPIO6J4fJTGrcrFWjRzU80JOJ7oUOJm+AGQUTBeickZPnIO71KwGQKp
hw71bJyjeg5fPuqPlFLPDz/rh8JLIvB6THanU+cv2ZhF3gnfrke27dT28iHZnYSulUCmO+EHTB4Q
vZ3liIJT8kJZCrNzzhlH4gpjXi4G5uymsPsQBu6SEM+IYa9jO82qkX0R1eE9ELcj20o7xueIcpwq
ZgELQgIGTtb8HsQHxeJMoVV/GrCBkdaUB8GO9gtxU5DvGfGN8M51+1StX+Lr6lcwjicuVRIkFdQe
bXKrePIznf8DchCY4/FWmvcopNicz0rdyzWRjPsxkyqMAJQCX/djts2DeKC3J4UHQmfUEz53bvKZ
8uCJvLY+xy8QxgkVSoGevgC5tXhbiQ/T+CzxoNe2c8Kfx6mKTJIrRfrcYYYnRmVZP8hudlseoshq
AXMVeakd+yO2RrN7pbHmpwp8Guan6pm3ksSxZFVkLDkWEqE3DHzSP3G2nGCisjXGrG3yfKSuPfOz
u/GBIjIP8HypL+wKN3IJxylct1dVZOw1q0iqFvTWGElvNSZYKMRwxzHQ69FKFRkDTeWoM/UFBxi2
42On9WclAEhLEt806KJaZdN9MXLJxaifH1YtKo7y+EOfVR4GwWbH7+LnVZGxV71D1wBL5/Rkw33m
5DV8UvMUYZ2oQIfv2OyDCDB0olMdBKc9ivtoFzzInzK7Odev10/kesRBFx43elVPaqV5GmvyYdXx
HnTmPsWjE/c8l8gJqiBP+aecIBwHIaBZELa4vcUZH6qvE/5V3XZnOkDgpgSZRWXzcT7pF/29S1I/
0rOVgqlAxiLNcNQmyA80+TEVgUO0zF47f0dv4Pphbub3FxfxcX1XsrKinlVzRPjOSRu53dL+UFUN
TZsWo6nTwN3P5xjzx/1dicuLREkS+u30+2CHoX1w7Ej3C2hqAcLrcAG3Nh/5K+UY36O3M8Xaw9Ux
bunLZdnrwEo0MBBa7Xhdtd/kzGDdwsCBDiR8xteq6lgGo6jTPGh2W4smlSosE1CpR65lbseOiyxG
L0w1xEOXa/SBEH+mUA/9fepqqLzPHyHa3NMIvWi8UMkTy+QITVci0QQiFKpglb84ggy0xNwWXkxw
JkigOg0la8YTlOMA5W0ne9GWcbK1pDa53uJk0xfRpmPg03G+jVHHxTxRalM+RBV79MmelnQx6g4I
6+459LrE6pc/w5eRpcuPYbxxE41hIfYGMpRDA3weHf6P/gJjVzrJJ17liGtUrNPtF9nIEhPF268T
fXq7IHSDB35p7yrML1h/4gouqjF+lSSCqpombkum4snZDrda/himqqsa368L2qTJWx0iOz3S9Go0
mhoOkTyaz4sX743XwqdLPKGb2uqTkbujnz4Ouz98jQE7FQgpIDoF1jDj00ct0/QFkmftOIinQDrp
BmfvYlu7iwz2MRYZuVlLJmSoOzGzBBO+QHC/YhsUY3blaUFTv6IvFLs6c/Nn6mR+iRwr0cxjTIzx
1mzpwf6FMFh55Rk/w6peKA+x4MecSCxT+7smj7r7lTvXZqXRTfKhavVECWimJ9UGYc/J8DKPUqm0
J82WdkA5lh+D24+JKxQfRdGSLQx62zN3GY13AIwXbscMnDsBLgxFyI7eM6c+p7vxDd4JRbnsmTgc
S950iasDZzyxJKXlINeQp2EkD+MpdFWd2MsufFK/Crsc2B68PvO2RCKLIoZwRPkjT1sdOUJMlSoR
bqk8q1YevMh9ZUVAAOUoRpObX7/sRQzrdIO4GRs6UUTR1ZVjvBPOmJCnteM9R9L2J7tIYjzqOA5z
MpiIKmOUfIsFFV3JGsw/JAZ3S9F/U0rF6w0lwnQwXvmqNMxWZeiLbbTJVyHl7p/xfg3jcc10qOUZ
NNK4QYuX3BnH6Vjsld3gkkOH+GJ842i/GdwwiabJMuisfoE9V/s0bGYz+Puc9+En+W65WSCPVpLn
Yx3Y3AmnzRxsJZK5tG1TlEAtg8jkRJHf6EVFgejT5OYOH8Vr01xXwpgLKdUgMhZCgoQv/xElo0Ok
1i0U3oTA9itzJYa5h3GNV8HS02O8pxvGNK+kjcfcN4FUzQvLPJ3o31dXUA6KqS4GCItNhCzh2zB/
Eg1OEXgzL18pxNy/pFUDTZtxbn0f28F4MHrkr1iY0iIeMhnPApn710SFEmUJtCn10qrqFDuz7xwj
5x0Yc6kqYwLnuPnhlQdAQbS2ggnwO8OevdmZnimv5szFQtncHZRXJ8iEerEAljD4dmhCHu8lQBUg
gfQxf8nFkeIZH/tQHIREirEWglIOqP921TdMVdwK9qxYwGqmVAnN4F4/0O3CzkU39oXYtkOFNTvo
pvw9StWDv87SsMH/hbb8xjfMHWGQpHjOdLDWyA+GH3FZaLfHWFY/gvEjxVyLZZFAbbxCbj5qzruw
tjAx+VcRtgCaecajeucYK/t+JFUdTbkIxQfxpopHq6p4Eji2+qH16nJ3GN7VJQKtAH2G6grF1xZc
xeQ08uil+iW8rs6OcSFjtyCkdTRvKEUwCmuaH4eFAyQVb67jl8rgIc7+5mPpuGUSAXwOSx2gl0Mx
VkmIBfVD/KIfKi/yqtL5mgIeDy08TKjlX67b6G9uxU+JBlM+WcR6LiZNgJfUgJmu7AewE5Yl3ciX
vRLXkLdRtF370y4CmeQ3C8MirwkEVpByg02XFDAhVnjCWrJmy/vYMQFbxxl15WrJXIKwjPsm0WGQ
4+yiGnXG7sSteVv6s0N15CX428Z5UZGJpnnYBJ1aQUUluJ3Gl7T1k5HnrLev2EUGE0qNwSCaHMJS
slNzWhwZ0IbkQbylLxfAZL4CB56XAdIz+vUyXCQyl6HRUmPJqTfrnAEoNnQoTXCDPZ2+K3aKf90u
eeoxgbXtpTzKVXqEKcYkx1PLY0fajtwXbZh4qoJbNJxFCNCq0C7jJ7AlWU2leFLMfe3wdGHiqpQu
SksUiEoA4fI2nD7mWBwTG60y+ZfQgjyRv0RVSe9mEFjiaWs8S2Jx6qKQh46+7Rx/niALzNiUSYXh
XfqJ5htTVDxsbjl5/1YtQA3lgoVzrhQ7jFlhqEpXRgjrHBkQl4WXf4+/F196hNDmRj3GDsykGq3r
RsgTyniNQCjmTqM2klXveXo3jZ8FleeZNoufuijJqqTrWENk7DCbg6YYZ3yp4CyipUUzoOZIzq0v
7rkTrZuvppUsxhDDFGM+Y46gSSfRUBQDq8krhiMs+S0E+hUALv8s4V9JZOxQj5VFbBpIVHfDCcN4
j0AlfYg+Y2TAig4dj+Rnc5tMvohjNwCSqKiEliaTZQPGWHOXvBNP22NAzSfPBFUG7MjKx/6V11/a
tBMdRAQYFMbGBjtTXoLhF0W5GFvrEjaVUOAM3/L07botbterVkIYhz+n0VQMYOLDAAbdV2rtMrXM
GlWr/ByfaVu99Bdwd+IzAvqZNx6xHUBX0hnnL0xpEzZd8teGKEUPmo7orqBnh9Fr7u4LtYpfIg12
iRSQ0oDCmF2zCOT/Y+26euvWme0vEqBO6VV1F/cWOy+C09R716+/izsnsUzrbObkuy9BgA14RHI4
M5yyFphNY0xmnrRGwROx98aL3OMVPbeMpEIUDd3dImiaWJuCltulApMEgHKSsbYqKbrUhJzzQNxs
kVoLYWxI3+dG01YQciISBtpwbPVovwCmVAMOy5l2hAGtU/ys8tzOloNTiG6qRCbgglaZqwc4lqJp
Iiq41PZ6/9kE4W8cfcWEunNeMzd7PlaSWNwwAvLiIY0Hqhu0ykHp7owXSbIf5s/hgbZyx5pbvNaI
EoLXEWED7wM2r8b6A5iQMjJMsVroB1AGxzC3apTOh13lan7rwT/QnoRPCJ+xzzxAqS0fuJbMnG6Y
ZlNWFNjkHHxNoQh8kSlxZ8BhKhgh16rv53d6W2F/HylbvMpCImZVB2kzIFK1Bn3UEW8skieC/r56
VwW6lEpFABGtVtl1+WoAkej8IraM5XrLGEsiDSqAElIclmReL9FVqAH1TODEqpsyEHMYyNhhTFpi
nGqVGBpYUEY6cdscqmF4CKtql2Szf34pm8kLZSWHcag0W4jGOKxl8iiM27QT95jIvkQCknPHeAti
LrPRpZhX0GHYKwDXDmNitepTUr6eX87m2Rvo3wZtnaoTtqFxmjWlUSkvaRqPE+2TeBpVbh55K97B
ufwWwgT2Zbvk1WRQHT6AzsLCrIdPK/TZAQyA9vn1bNuFlSxWDQCpiokaLAiY3hFIQNGOehmj2xq8
IEDjCY4U4LSxzX3zd+2S62UymlGZRKnkBcsMnxZvwGxxgj4/gFnoMPh0XJS71q3Ybi2Q0RCdJO1k
UmdGjTCSkSrKkAAbwsA2itsEBVBuy+RmM9pKJFtBS2tl7CKB3rKvy7UK0HlwmKVH6YKOnBFbQ9Nx
dOyewhfT/7lmblDCUVh29KHIzRqvOFy/vL1I29dJ0d0Mg3zppzmPbRmwHll90aqXC9hm86az8SCy
zCjlaJnM2Xm25TEFW5hsFribYJctLeNz45Vfqufl+QTp7pG72h/v6HwRGvOIk+SYwKsf+MEM9zPo
Z64sN/rsE3SCQAEQ3APwObuJ79RDeCV5dAa824HxSb4ZoQv9PfrJbk1/8sULfp/pZgi+VgrGgYxZ
hAn3HJ/RuqMrPQD/sAed8mDLX0Fw5hi76irDPHj45fxV37aPv60KO1bRzYOs9QKGs7Piuik8kDZZ
LSh/zwvZCkvXS2NM1xIFGTGpvs8H8KP6w673qis+bjdvLYzVKgMBHpKOthf1Q5j8qObrBL1b55fC
uzmMecqlyoyrCjcnQnG3kS6ljHMgmw+G9WYx9iiTZnMOKQtN6zYXsk05fr7qVvlAO4i4vSdbZdA3
YWjWfq/7WkzarqXWVvXTO/Mr6vn964L3ZuTJe5SVr4bGEj1ghh3Uo3SJKI3X6nN+Oz+UBzOF1GKz
YDuFTLSM8lKpOWkChSdBfr9C0sdy356QPJ4oMBro0VNHRP/rSJtrRAPdLbUzOvFLcld7407YRZfV
Y3FbUr4R4D3Ld9Fl8Sge1Z0MaHY+n9Nm88/6ABjjM8p9HXUFrkbjKF4EhOvyNQYjPZqUM4fOvmSW
Bj1z9efaxPQsWiwADRl3dilyUYzPX1KDbWSFS8rKKMaXUGCsFpeUYsblfADj83GMwbawmipgeNIJ
Kice6Ahl+yjYX2fP8BIuLt1me9F6cxm7M1Yx+htHiNJNcP8pNxNGSZKxdWbBK/PRmaqvWXsTGSj7
i7Vz3k5wZTPGKFdB57sk2M7kQgfg/gJcDwoLld39AY05T8cZoyRVg5mGE0zG4IHbCWh4KBAbLwQj
NPHLeAHECBTJzi+P4zQBJvL+WqVoQFKVGSI7Jwbwi1PsQUxbH1Wf9nHpNaYpBXewg2tya44O3uwU
r44W7HjxPSdUxRT9+w8JQVdS5NSCaQA/pgqVfxbu5BsAEx1ED7kCtHQEp8Bx5qKBno9fDLZKGQvj
kNUpjnjwYDiBVXzoLOm2c7Fg5Cb6T7xQlXPMJ8+xClQSM89ztcWe9/VrsUz2LPI4jTdTH7/jfoMt
P2bLomqtjM0M4gnES6Bwz11Feg5knvpQq8smqlY3k61CTrrepiZdCm2/IV8Q/xIwJtiZZ7qjl9y1
e+IvbvcD9Z8DJhPGTylsM3d8nnd+NJ5Y7WclgY4loZ62QCWIeKVPweI6V7IpEQycrX3+zpwez+cW
zZijUBYCTaSWb/C6/QAKnxiNtIlnApIZpEUaKPwAGXddS9a4UxRO3MIJK0Ba8X6xRjf0rURf9q0r
ee1d6pY2mktBmOl1/vhJ57hdnvk7XdvV3op6puVoNgKsUWSjNrQjyJYblv5MPRgPt1vnXQzGGIUd
mD9TGpQFreEEen85z4IlKMV12VTHgpgWWiIfMOD0KPbJfug6r21MvzO1g5ijV7rUd2ZkuJpZfl7q
2o+bwZL1+aipoWPogI5IMHc7BhddqftiO9kAq9WsSsfQ0DC7QZLtRKW7bOL8S6SYdiZH/ii0+6Yv
/TJEh9UgPqOB0O/a2iP56CcF4Dur4hgBhqYv+uu+Vfdynh7VPkDLL0ymYhx1tb8VazW2pjC6LTPi
KHPhCJKya7rcUXtyS0zD1wH6D6JE31CqL80U3Qyh4p9XV44tOCUvVycY622bE5p/JdX1vHxR009t
Mtna9HJeDE8xT4/llZwRDXJ6Q59frWt+7R4yB50stnmJcb4nfrsWTy9PnScraUoCiPfCwDXQrhs0
6iSAwqYoNvlN5/MAerbTu2/W9ORDV7JiZRCkRjz5SBVjV5HdpHjgd0j7Y2JxcPObwS0wbNa2GMxs
gRvJTTTwnOMp+lx9wQI6YpBAYm9pboOSoIYg1Ss8gOqjN0nFtGToCOAA4qfdeLaObeNMgcM9S3Tt
KtD0nW4PpqgXCH/E+tFAM7g1WDXNCiUQbkDAcS0ya2VjVSqNGieMLv4HxQkwEpHuTR9stoDL5dl0
juWRGauamxUANBtscCl9bpLbdm55dpvGbmecxqlFeXWEoS63TUWvB0jIr/sac4PtK+2UBzWpZVwb
X8sL2cuuKNzJX8Z4RNY0yUTel82aC2qaaUp1OkPAy8hu7cuKlQFqfbQB+BrbHYj2Eiu/x3sEzSdu
81WLgPxH2YB479TN3hfFePsUeg6rXWgXPdaqHJ+iWc1FekczxlSPhOYPoW62q08rgUxs0OcEnnoA
GcX0VfIEqz5Iu9LW9wPozXo8xUU6qsk56u30xdsaGcVNAgmoAJT/QqsPY+92pVsUnLasfwnb32Qw
+lrUMZj3VHjK+MfkpaUPuOXIyh+zBMWmGWFr7PUJ2vdlS32ufiy2edAQCoHbyeUYfd5amRfLXM5G
2dAXC31sdhfzgVIbSjvlTr9XDu1+uax8rg5t39W3tTNRQhWjIKFmIHKheb7YJiUKbv/co8xOByu/
AYcWH+Bx24/+FssOg+ih3pqteVJdPM7uAFFkKUfK9ICBN5AFyNbwnZ/Vpuf40Wq8CWUKexjBT8uR
ZtzCoHcjA5x9Umg3c2/LBKncgMvLs2103+TR31f3MydkEnpKS61XNqXmizz1Bhygnv5MZ9V5R/kv
nvVNHJM10YBVqE+o5iBmmJy+tfQDHvHVXrfRJ/oJo814RGSvCL+M52TXPJLE4nVZbe6vqUpoNVR1
NLYzupTU0ViGJEfeKq3ctEWTYXInaDd59qM2CO/dsPlOeRPGlguqZgLifJpBcWfLyN16cSWn9akn
NSRLVGxB8wZ+f/HmFV1JZVQITOOpCdwRanIHp7wLZ4fkHqaKQB3SXlSKr03WcFf5PP+96e9WYhlN
yiS5CLIGO1uksjdrvY0L5IzksSivjVixkor3etg29SuJjDKJBZCppwQL7YbCRjm8tw3k4t2wVqHF
YXIJQNHOErLMnmrBrmMpBeOWcRRCkBAt6cMSBIjUl4SbXeDtP+PyMBVIxpF+loGecoemVZrr+DAc
TVu5peD4yxM/ZN20VSbRdAByiqLMgkp3gzHPhYFmFXHZocnPSpfKKoPMkgp9d94D8CQxDiDUUzXQ
W0hSFRNzsmMFbrZSdQRjBiiySXhc6JuTXMpqZcyFDdoZIUSNzpjkokZ/cH8lHKVr9bZ+MkNHuW/d
9ErzUjdHTIWpLiN+JEhZAUMAngKUcXiZhw6vLXT7fH/vNesXgs5cqjbHF+Xdl0Z7nMbelpKb/2mX
deYOj1GRRUkLGXVFrvSsrCwEAAQsDuNRJiYP1GPbTr2tiLm62lhVukL3eLku9vITGq1sWjImyACc
MnAGxzBuG+E3eczFzZI5WMABhYsL712IXyQltaI8tPT+Uz1/Pb+TW8EDwB1UBdPP6A0ymcBpFIpI
kEWYpWFOiSektWHlqRBb56VsPpvWYphrkZVh1BojZTPYB35kD5EVH8hdCRg+WnpvrPRrgVyuQLnX
z0veXB/t5yIiAn0iM/eDDIPYVTF4BbIh7nfLEBhokxt5hcBtKSqAgE0DE3HsLnZqQsKSVujyKbC1
fHH6OeZlnrYciAqsU2KYuiKqLMB1QMqmkTKcFIU6xVMBScX8UnYp5EkKVhEgreiYjwcNJL+aQzeJ
jbrWopkIvpkMTM8noMagWU30TICcKQJmOC+xsLmL6M/RRHAZgEeNudVd2IyaOYPKIBKulS62EpMb
z21u4koEc5UDAnYGsYYINACkO0N3KLUGppd987WY0T1lq19rAEolYFfnh3ebHlldSWcudiFEctxR
rgbNOnVsWlFvCbmFYm5b4CLQOlhjD73TlpymQ97O0t9XYWyrGUlJDAgOsxSzN41VLjz+hM1JlfXi
qF9Yy+iQzpPBpAH9HF3KUwroISWxwdpykOxkh0Gmh4gXMG8m2dZCGc0czDYmNfCdTvRQtFm6/k5N
iughAXXNTf5uao+iKZqBPjJZYUt8RC/bIqjxyhzt2kD6t3CSGowinobSiGIvKVIxhV8fs8u/JvGF
nf4tnVmrKi4ANZkgnTaO0ieePt5SBizB1+xYOg1m9zzF2d7glVDGP9R5B+Rs2p1FmcR6cJOLVnjZ
OnQUKAEJdeXw9GgrfFCJQqEaVOqWmDsSEmPS2hrPyjGTB0tVs53eAwxIL/zzjmGT6XotiLkTfS8h
qY3uzNM7gLZPxwiNLRklP8ntPoW3ZYlspuhR1HFw3gXS65C4nE+g1uaDXUVzgqyrIPgR2deWFsAK
CiJe7pox3fc6oC+mvhG9yAwMp2oQwWWTflhIOtp6IAHeHWyaCiBQ9OI750M2N/3tQ9iXmGAGRIoL
fIha2WF5nGKrvmv9wKmd4jUVDjXe117uFD4v0tlsDgJlw68dYBu25lrtdFKC9ozmS8QFRLDFPbza
TfIpvZBsyR18EAGnhtWpDmfJWyZRg+5qeA6A55x1NlWldGEh4Pip5PxWAiwcOH3uhydaJAvcciff
cSRuPQ3ATIFYRJI1A+Md7w1kPCxkbEtITICZoTjmF/IluU7RCUU5McZ7HQu9H7mdKFvB5Foq4/Hm
OQKgBi1oE4QGRMsso2qtZfyOAGMXqzvOGnnSmNub5rPQZD3yJdF+cMK7FKL2tS19ii/na/0eDg7y
d9mt8LK8cCRvnudqd5nrPBuVFGgKVFjYEUDQ6XRW2cREfr5PduqxuTQdLkXXpkhYKjAjYNID/7w/
UEUHaZARi3iF/MivVLTg1MApb9zQX36M+8Q1+ZgLHIlsU0A9CUacieDs64DVgcaE+I4ilVeiJV0V
T/NF+PUP+ve2Wqm0t1Wy3QD9kEU/ueNH20D4Fx/kG+JLcK88Z755P/AOATwGUVSTsK6GxHUUhthO
NVncUAYxdFnuqiSCBeTif2xupKopODhYAJGd9Oi1SBLVyfhp/NFdYbezr5QUAuREp57eR6BgfPwb
FVUNAjo3zPOCGOe9vhTx2Omoe9LTC++ym8KLD8Fe3Eu31Jv2n5pH3o4q9LqxDkbTNF0CKbOuSWwD
tyrOQ9MMKrL9hnFRN2OBSsfUIJ3XwnFrwvLD1IS7JlYB31qj3SWf9S+FPLZgvxsq1yzD1Elz6bMY
1jdFZ34D2Pd3vHIucs08tspiLdVsZ4rhR1KNRFKUo9lXmB8LSficzsB0b5ry2JYa0v79c5y0P7RC
eyEhWNTOb+vmUa7WyIRFnZgjoVdjjalWwlW8atPt/yaA0Ush7royNhSEQLluhRmmQrOKs4Yt/7s+
Jxp4rmLnjDR9uFD696RvrNgEhGdm2sMU78+vZFOMDgIhEICpaOpnPFAe5ECmW3TcMLG8NPXMNlrF
kZrFPS9ms6qlreQwPicw51pGkZ02hEyOBOpC46b6QuFA6asxuxS5/MG8hTFuJw/6fMazGUd0W8gW
hT7ObdMOYyvYhfvBBbvQLvnOy5VvCwU1o4ZauPiBeU+uFLMio4m00IwERvGpxfDWoHGUbzNzohlI
zBBdA4wX++yXwToJWAFImQ/0WVV4mewGioXpIvJFcBv8HxhJyOOBVxhYoX8Vs6ykM5crAUJRqNQB
9aoT8L4yb0aT84v4ElRWi/bS2pu/aMQFmEPPm1bbvNYrycytq2tk9coZkucx98rRV7qRc+k2g8/1
1jK3ThJmJMRV4WcXgdDbQu5Bcfwa/DHS6+QvCwbnKeUQryC6Wa1cC2YcQaQ0pVgXEDx9HRzDNw6m
Vx5owfJ7YyAxJqCDSTet+aJ05NaeLkE9twO5Mn9gY/uivm3yB6wH4LCM7YwPETNHeqYj/ICX2MUX
E6gWvc5GOomz51svaF1EHk7SEHh/IDEbwXYQ1iRO/ULIXhQz2ilS6zW6ehXVaE8Kx/JCKczn8+aI
J5M55jZWEsFIk9QPpt4apsFOxKtQAcz/0MOcl0BffDgvcCuQWS+SOd5BmbqgLiBQHO/aHNwRyN12
0fd0CKzzgjaNw0oSO96czrMONjBIuqxd9UCJcoCZGT/Qzm8UuDFfKWHch1ho6f+b+QpYeJygYmKm
TqXGce2x5q7ICg0J3QpzqiDK8LLg3tR4j/TNo1tJYcyP1ihhk4aQYiqR3Q2K3XbXJDmMwW1LBLQd
PZ3fz82LuV4VY3RaPYhmLYY86atsK6hq1wt4X0Hmhk5nY1+j3upPbomHcOFqkzOgUQOgOc/Cvrjl
5UI3jdP6UxitRfmomOQFn9KhRpa8tOBKcGZM5fsxZRC4Mr9XpQ2giszntf5sK9Vq0xn1lRulylsd
OTUVtJS2jo0/YY0BHO8yPBjO6BmKXQYWHSswuPh1NDRgI9bVstnRYbDWq8pCsGxQ9QU+crO38ovw
PZctGcMaxOlezp/4Zkp2LY8JiVStkaKlhjyKR9BUlvyaebQFaXDR7IiODTH6k/61Lee2lsoESHM7
CCXGhH8+PwA/k1rddejqTnSle8lheRRueHUQemjn9pWJkFoBqD5D8E8Kv7judhI4c8TjX6otIURR
dII8PiNHFhoFdIhQHqhtbxcPwrXkyI/SDu2haJizy8EaAS0JliVezLm9pW+C6e8rg1QsjRqZMg5y
tEW7XewJ3a7uskvR+hx+I7NLk/oqN/DcemDpGKf/tVzGDOZSHUW6AanJvtnXB6o9lCYbN/SuyMFo
yTvGrZhzLY8xiGmZ5kuaYHvlBoxvwjdkPGxTCnmbyRPD2MHEDIZIbegpegbuRe4mGBicdl8rd7EF
DApWjxKnoruZaF6vjLF3oEsGW6COnaRtGUaN+bDcXwAxHVglqIE83kZutpCu5TFWLqfsdhGVFxK0
IQyDVeU2OgJSWLjWMSzzoJYWxkSR+oyQP+J/wOYW03YEUwEU+gcywTGemxBt2eh/rIq9KGDCQgRm
5MQLEU4NqR8u/koOY2oMUFIsXU7lOCnAtRIPEU/2kN/lLrplXWO/+NoV7RRWXO0gO40ffabFk4qb
6t3Evjv1X/yzYMYytCMeaZUIAvHswkRvz2ChLeFS11CtqbHT6NOr9/MeJQVP2AnfQEq8p1PRvAlh
3q4zVsKo9ElRFqrY8exk7R00zprBJs7xKpteTFF1ZJgklSC7/94YDSMRJmMA+TGthQF/go6dTZjb
UewTnR7PZW+v6rc41mmWoOEGGzGGXRX9qcXjMAz27Zg65xe1aWDf1qQxnrIN9TJUKKZGkcWAPapu
taZ8PC+Ctw5GVxsydZ2QYx1zjCas9EGHQ9Yzzouatw5GDwXDyJEZgR7K8aEeHoSEN5LCWwWjY5mU
pvpk4PC1odgDUGafasu1VGju+c3afLzpyDwYkoy8AHhJ3yuZNip1m6topBqJTYsYTW9lgDGO7STd
ic6CZyPPaG4O+K9FMkZ6FpRWxy2mfmFsLCjal9GmGR4EMGlpd7sGhdDxob2YDhO6i+iMGrditH21
3lbNXC2QmoHwZkYgE0mw26YlXtJx0lByRG8GRBZvydsB4tsun1o2V3HFtET9FDe0iw5VV0Pc0cp2
hI6Lat5N8IXRjHJR5puFd/50t7X09zLZVF0Z6QLqz3BPlaQ5SXsxzzzYFaoeHx3DmwTmsk1qMKU5
bcmptdzukwkdl7NbKnex+lh0o39+OTxlZWdGpFxGdn+CtCZ0Ji/cRZnd+oD6lUHHsbjVn9BxbIcU
q6NjLmIdRH3YRXB9ynXvpqAcIS6tKv4h3gZHMdnJkCmHZTFp6ywlzFEu4sN8o59aOv6WnWx1Edlh
ED2Tw3mOIayrtIu0rC5IFlxmhczBxN82ZW86wpgYgG7lsUgfocDnsZLszswxN2/youjNt8nqnBir
YkxGsxQmrAq1YsoOkH5utOPTs3CvMmM6Wm3Og0LCaiZP/pHFbuFMu8ArL4anaIep6Vea7QMP9nnN
pxH5mWumMHO8zSQkUThhcVIZHwoSO0Ks2kaoWW1UOOdFcU7rRHO8MlXJQnIloA/3BKSP0l2r/Bh4
+Lc8EYzRQPfUP89zNR+9tFuu0gVPgy7jtVxu7poKiBIi03cyW7gK62YmugInPdqD08xHOhhj2l1x
JL4KkJLAFT93t/zxgs0mJpRGfstl3ldZqBdSI51MRnAbU6LQ1h4SFHXp8Gz1OfPFT1xMxE1Tj2og
YIUVvEjYjpdBl8VeoI+tobwes6ek5XZfbpqmlQTGEKZalY5Kiojkt88M3fyXz+RftE0lWYmjv6/0
EP2jem4MWJCQizbpf0TNj1qaOffqZOLeXyxAUqH1WdYJMZQPYH0pGlaCvJdqX5Cs6qK6QfkdU4jN
J3XfHSfUI0Fw0wJIXgCH9XwPCjFn9pPL8EdiI5m3O3/xqIH68CkqEANxerL8AVlvkXJDCUe19qVE
v9Fqgsr1c4bcr/BaG4cxy3i8kSejcUYgG/AvdSgIaQSBNPySnwB++pjSaWtgamRPzT0lkdQv2sth
dwLaOCBtiG4tq05PoE+aJTegEFYbu+HibdJHwLkPYx4J3VKPgdTjwzpPQo9L4s3Ebb3BVfCizEpO
jLQRVEAF3vZdY6xRZmaC2oMzDS538ZCC9rS74Yv4ku5pwS8NuIWbjaQsBOoKFE4DmPKHOQIlSUei
xFqNyXragtdfGvvAA3WzG36TLbxdnQh07dwQ9GOS6b1Uxj+GahnLs6jXmAoK/Fo8BaDSVe/Mjj4g
+gQGOMf8noLaD8e4WifjKWNjNsckxDqTfX8gD50zu7otgbfXArHGTnVwoHZz6J5ki04Q8OpjH+MB
rJeIIOTSVJRVWcZOpZmSLgVe4ikeoNSkFA+O34770e6+F8NYxWYZJzQ2Q0zVoNlYKMpjKMQcy7Al
w5QkDRUSgr4Wts8EiZeFYMi+9hcxtRKS7iKh4BwWTwRzCcRC1jNDNdB71JGnXFQfwd3BsbUfDbqq
r1fBPJnzDjjfco1VmH0FVlPTJ4PySRof/rsVNSUDJh34jMC7Z4LNTpNnIRyjxpdLVCKj4UGMJpRD
TfXzRPS7IZkTS44lzuTo9u69CWXulhprvZRIApqNel+tc7uWCWfzNq3Uel3MZUrLSVSiASLQ2yEf
0Pq3ixwEMhgzTh/QR+VxKe3oibO3dyWQfbLGSd7lc4GNnO3ebR5yN/crt70IrOrAryFvbCDAZEUk
IDCYYH5IdUVLsswg5qqQhUjsQQHOYPl8Xi82tA93h+bRdAXzFezwFuBU+k5qq8qXxfkhH9WDGXR3
eV6558VsndM7OYwq9KMSt0EKOZRKV4NldbtdiiwGHiNCfKKLTLjUfBv+8p1MRjeqfgn1RC8qmPbR
nQB/STnytINxHHfS/vz66OczWrEWxc5lkaLVzGyCqHpRXsolcURx+i5GxYEs/QPInB76ofu7LVVN
CRjcuvGB9GoS1bCYB2xpC3wGgbJbR450RUeyGxHj2KFDONd5W1feBDLxe69qYRIXEGhM/aeQmBdL
IGPwbp44cjbwNqhBfxPEGKuhNMk4zRDUIC1EDy7Yjzf1/k8ObiOP8V4Wo5gBgFMmzSgxOh5cKl6e
o0ghuK2jZfeU2h3MjfZ5Tdl4Bb0XyGhlX2nK1GLq7Wd4ia6QMb0BbtrNZLf7rsFVAODExBlRoX/z
o3r+3lD2ndyqfa5IBDIp7Q94q/3pQLvFeBxQvINjH8kkKkTSm9jMnzeutYP9n944jjIqjGfOSaRo
QUeVsfRl47IC2aXIcf7c5TCuORnUbqr103ImZwLyC10O1cPC50WFXFnUFazedU2tT+NC16P6UMPd
slMVZ7KBnHucd/XsnFfCTb8iG+B61ID4rrFBYCSopbwkDaz+so9EGV06vMbRf7lXbyKY9ehaMQZi
XFNVkLwsQUHK2M/f1BPPzQhyNc6K/sXBvMmj+rLavzlM5hQG+KeKV+QSSP02eeyd0I4ozQ3KfxXv
Jm/7lzeRjD0UEzkWxLKtToWoX/6lRmfDuOOpx7a2v4liLGI5zmGpDDiwGfQ2SqTtQnF8iCWyO68X
PDGMMTTLOdGHEocmNp015ygBlKVtTjzEuH9R9rflMDaw6+OikOnO/XfPfF7VdRasNBLyQZELLKlO
LvseHblB4Z7fNI7qoVj0XvWWplPrucLhqKnVu7JNTHCBR96IFPXsCNXxD/AweatirJ9SF6B7DLGB
2V62AVu2APeTlk3QXCOhqg+04aOa/ud8NXVcvw4NnXHvl6mPQkVkGsKlHXLVt1l4GRm8RgXeuujv
q1ucBcRochqO0kYFCswYhPsIYHdyd6B02JWd2VznyNFGXWRMhwQIElVsoSKj/SvcmK9NP0Cc2HIc
MVcWYzNkbZHCosECKQjJf3Mp5y8znhDv91LMs0WUMIzgT91o5eg7zUbUfXl3mXdijMmIwbwaSQEW
1BS9k6mF0/HS4qdGyw/RC+IT0BNjbBG0L+8XIgspqP2avvIVebocFcnVguxrq2KAzZRsYV6+p8S4
J4b+imH0R3A/3QdFnFhVENpKoVyRpL7umuS6JiDazHNXVKrXQMr3QZR4xih7aCcorKgOd8Atecgw
StFN4j5IlL1aFT4wRV7jUAZvYffcNMrNmATfZzDDAxZncVJVd5K0fQwVIDMOCscWb6qKJCqmihcg
AATYAUapS9OuIx2NgufT8yXYL1c1YI7GncmTRe8uu8UrWeyM4qguqFZOkPW3WbBNo7mWyByqkapx
KlALpvpjbVOcMMOhJvRU1Zt89CMKPsdObzzdyVokYzQTUpFZMLDIXLiPR8Ga8twLyqdWPhrx5yy4
iBrDm6PcLuTnIr/jCN8KFtbCGetZS3GHwhSE066Vn2+a5ernY5QXLHD3lrGiapR2/Uxl0dMkA3Ka
pT3frHKavJfhRlur+m5rGRNa11Od1TXOj5rQInaDyV28xVkeJGTJAWGs3lHyzQ6UunuRg92wZYDW
G8tY1MFchLoOIToJv8TxhV48c06O2slzd4Oxo80sCXnW/ROsDN8WyavwLCXeAJITL0SohPomkk8o
Pu55J7llwtdrY4xrmIdFUp1MOBAXxxdD+9H33vnlbT0N1yKYUEyKxMQIaPAyeMC2RCuV4quevONh
tm+0BFINIQrRTOSyRDbRpFddUGbZiCeHHB9TU30eSPSoyP0RPNfg+VSm5xnA7lZngNSoHMBSKeWd
N6vxzSxUt4oaeNJkXigiWkGl/gLwaJ/Pb8PmTmNKXJJQewDUCKPAygImXmkc8JzUrxTtqJhurHF8
P08Eo6g5ZlKUycQOhCagmILHPgc57sg5zu27v1oIo62FmUzZ0Ez0JhIr1lEnWnbyHkV/HTMnKO6C
if78zm3f/ZVERklhZyRharB11E9138TP2V6wTADzCaCiAhgS2h9tETzh3NuxefNXghnVraR4AawJ
BLcdkLQBsBuF38+vjSOBzZsgepqGDtVWvwd8QNNejSDYOC9ho28C9+JtEWzKRB+6fBQSnFfUkNt4
yZwYswdLCkbRoD2gDdyZNMySF8TFl+zNIj1IIFWxKtm0MZiKlGYQPHC+aDMWWH0R4yYHQW7QXIdw
izZ7V4tHJ1+oBtUoA/6RBm0a2JVAxjUuizkUiYgt6CbT6lAX0yerzgJ7GHba8OV/XB098tULYxRI
W6pUaVR/lTWlqKR/WO/bjuNWy2NMS0WGVjVj3HsAXR3CGXnvJnD1Qjwo8nI5NCagy1BRF1BjJpon
m7HLWTG1Kx/810o+Y3dCg8RJqeE8aTZVfy2eF5DUkOEq9+ebDuObhXwN0ldutpi7bsYS6cW4qNOE
df965NP49e/T7+tLxJggqVGCuZIhKuoNO8xfxcUfJ29ov2Ns2wKE5/9oZBXG8syhWMtTBo2lya1/
Uu8/AywYOpp6/6tA4O0M2Vk0MQUdfRNDa6vyITLukrCx+oC3KnqxPyqKKqvElHWNsFlBrdaF1lCx
izQFueynYzoewHvhNIcY+A7ZyPGH/6Igb/KYq5iEwMicq/mnYv4MiWewRP/JA2fb976JYu+gMItp
PVCvOH/uw9gJ48whHa8B/l+c75sY5qr1URPkSY4VUehsClqRI+2JNK7gj99A7rBreYO8vHUxd6zB
LAnG+LAuObgK6+c/yoJv+4O3RTGXa5oaMyJIcEHZVxbzP9SZtmNFcLv+UkTmerUgtDKSYvllOTIH
vTavQgMa7MwJgGAaRo7go8iVuAC6NO3z9nLb5/8SDvic9w6iriVhKSRs6UDuevUubO/P/32O2n+g
L8L4Pgkng+ri/0+6SZIlRLVAxpA1FqEPA8BmHhkSrnSSYjY3C+9LTUBruQpk31TEVDDKvUc1FCYr
WsrJEqbYaaLs+fyKqdZ/sCuAhkTZXAYwAjtln5pTO6iRhihKPGAU6UXNgx8pRsKjKLz7C0mYCsHQ
mKmhl4iJJAo16vNggarCD1wkphRZCTg761A6yqLCaxTbPsiVNMZ+aUkEqodUpGr6X3N5XFmMASMB
UQGMf7qEVNbPWvYflkQ3z2u1LsaKlbNcFgOAOVEt1LyGsh2UAM/SACCcnLrz4wZMjjn69UHA4pw/
wM2ykbSSzRi0RVEEOVRxOagPqg/TTlAPlF0FxKJ2wPdBm5d9JY6xbWnWCBEZ6bYaYOqqn82OpyU8
CYwt6+RmVIcWEuKwcxP9OOu82aHtB9jbItjgQMdkTzqFJz2UvKSwI8CA9v50xJiPnc/g5KWI+/B5
DXdictvhrUQzWTxUCyotm0+WOvDbBmMHQHtEL7Er+AIdCu13PQ/ZmqOdKvM8KdWum01qPhXjS5J8
ksEtILWJZQDR+7wubvrW1doYY4J+VDWISmpMhPwYLgMCPXTNVSkvDKJ/54N5XMlhzMgi9bKAOZif
rTEq6ITs0B1VhzYCys4MWP8dL2XGsyYswIAUE31eYoj8mYz8Vdj+k8ol70arjDWJxSwtEvlkuSSv
BvqOQwvBE8jMc+8PCsGc+6YyBkTP4jEFTykMSDPsxUzzs/9j7bqa48aZ7S9iFUkQDK+ME5QsWbLs
F5bDmjln/vp7oN31jDDcgb/dW5afVHYTQKO70eGcXBL1BbAQ4NqJcVajlIjZTRRL0tr4A3hQbwDK
7A/y4sbp5EoLhniL0I57xEuxJIr4hLedMyiy9rd1Zmc3vqVbVEfzWLoFN+/P/Hm6/Ea6RaQ1fGM0
qSo1SpjW/OnvTj7oX7ZDnPmBi4HIoaxIziLpUwvQf3obnO4f3+jcZ21ljsx8Ni09FnMOQqj0FsgY
H/+TOeEnESxkVWhkQjHXrHMGMGUCfFFJBKHWPxhkzUR/sW6h2s0Z5AJpFHWM1V/GhDWFxd8GIKim
wLL7jaawf9CKk0TOHltplVgWKE7PwllWpgqPubBJht3dy3t3EsVZ5NmMZBXtcFgcnFt+q/Xf4zKy
q/wxSe6vH9Y/3LKTKM4oL33T9DIDBGW6jqT/D/Ugga3vr1s2OwxO+LeSmsx2XFsjF+iRRZ2sSIY2
FtVdkoLv6wFuxykp3CpYrtLRub7QbXN5WidnnceVVnNsYktTTXHK8FPV/yu1Pwng7LFqxgoYQiGg
7FSvj8CoRD4ssiDu3940UwWSl0Y0onM2MRrjdgBNHlYBxKMh2pPh66zmGKpD8L98UtrJ/Te79kse
D+3UplVR5yM7JAl3mY6eEjaCg/mHe3WSwd1kGbzEcl1Bxv/XM5GcZHF3OC9AMriGkHUqNbMOiPW2
DEQdENsKdxLF3eE4nyJ9mmEuxvWTNTy3lUAVhPvGPuAswWsWito2TBdOa/ndsrloLdxdXduBmhP6
CQIjxnNIAy+tIgpCt6Pd03Zx9xPM0ZY6r/AaUYbyzRws0YNq/ZDC2L+u0f/gOE6CuHuqdEUyVUAw
xMMr2jWHCu1za/yR5YfNt/a5Wnm6LlFwZw32+7Nz6kwyqcsCRaAL+lKWzAbcuF0ha4tOTicrZ/u6
ONFGciZiWKWykxV2nerUVtKnoX3OAB4RRbVAkEgBTS6BJA+Znqc5LB7ISr2wCveWId2uE7XTVT3q
xNLx0GxNIGFjoN4sdwtdRTHipl5izoNQAzOeqLm+39pFjWmIVzza+KjsVvOdCdqd67vJduvCS51J
4A5vpjWOToMEdOw4Zvt5qEAHdkvK16H+LFVfs1nExbKdEzyTyJ9f0c/TsiKJxKoJ449qcReUpzDL
YqOPB43vsseccjLsfyf9vhl4nITzL+xEWeVmXrQ6kEwFdJ3UmarMSYsgnW/RUiTY220FOpPGWf5Q
ivXFjN9iD9Yq8r90UQtlqe9VZShobsYsN/f/FdOfrYsz/YNsaV2e/bWuYgf0xd384TdzWOy7ryio
xnmBahmXuNahoCxpjfZjlpgATy+4UH1M1fmN8NBEAjlfoE9WXtACG8ncNQQOQb9D8QRJa791ph1a
Q6/fwO07jllqhU2PKXzTYq8qSScRbGYDQmJbaogtyfXzdRmbNlM7yeCcj67HM7hqofb9mnpy/ZWg
gQdOwlbQEfcvJFFM9xIAL6DRj1N5ubbyrgVzbJAmz01cObPhN0R38l4WbNt2OuJMEjvHM7eTTSC9
lYnJ/BxIpPsnltKc0Z20ekmzT3xT1F/Dzv1CEc/kcUrfJO0cjRFWNusvIBZurQc1awSLEsnglJ0W
3VDqpo6YqgOJuh7ZSzMBAuHb9TPathVnS+FUPJXWEGxYUPEWmYfk2LzdXxYlihsSNzXvTBSneZG5
9COIHVgiP3LmxLTzmngLVG8g/6bx50wS5yubMMwXI8bezebXat4v+Vet+/QfN47zllpDwoGM2Ljz
dNvv9f6JVIFzk5KcrFo9MU81EyfrJNdcf5TRILiuAil8JigEoV24WljQauy1+FDS13b6cH3TNsjX
0BhzOhg+A1QYEZDdWnZRzfE2pzNrgAnCsXfyeXSbGcByRbJfFaQRG3qohxAEbNIhI+q+zqRjGfXH
iWg+qcYjyVbbDNGOSCZnSIabrgIVa1V6hpS7eVQ7VWS50mjZRayLUrvMbF25/HxqiXZqNWDy8s+g
5e+qze+1QGz6g7Pt4uyMIa3zTAYc/NDeNeGtJDqP7RuJSWv0XwM25IKPYZjzui9hxwrDtGu6H4yv
dfLailzO9jJ+ieFJGHLZaKy+CrFjVW636/MgeuhshnKISv9ax5uRO7P/1qSY0tpaiM5ljJ+SL5qG
Ecbkc5bezIryr+zySRbna2KgaVldDxVWivKuG/NXmpCXshUBCW0G42dL4o4ePCthFQ3Ys0odbEzF
2QlYaacfo4mO3+glNk1nMfzrt3OD4IfdztPSOJczJxPN14mdE/JjDNu632t/pK4JVhsaoFxnq7se
FDOtkz+LaoTbKmJaEA+kfcpTWVhgBRnlApFPMfR+1r2SSNQpvq3rJwmcvc5TreppiOBxoJMrly5I
zQB5+jUSFRK2dfEkhzPWRk3McVRwZ5O4sbM+8Zb8OEUUgOGNW3SCqoVgUfyz1JAWpZKYS41igGvo
nxYZFjJ2rFE0F7cFcAHd+LUsHpchMxJzVlT2/MQYDwO3oEdLtgdgpDyz7g1gHNvpEdiQ2ivmlD5F
7iJiIBEtlbt36lKRRk2hIX07+6X6kDVNENaf56IXXHCBKprczQNlYDSHTBWpcUsAlUOmwb1+0bY9
7WkvuXvWmyamyQEaHVjIElgybGJb2DT8eV3KdvYHPV8mEJI01F24hZRRLcutAkc1FHPpDu0KIcYS
VFb4uurhS1HJX8sp+gje+juiDb1dm3nh6CBpQKNmHVz/mM1NPfsWbsmSHGZqaDFFjQrXJOFBCnPB
hDm7wBd+WbdAM0dlOAJeQ+fIGPMWrEYo9ayxW+tW6ncgDXCm2thNqbIzjKmxE1VEarSpl2diOb0M
ozgt0ghiK/NorKObGqMd47WTDoJRvU1BMI4yIORZEMU9p9TBKnJ5hpMbC9Vr9Z91FDm69CXvRZ2Q
m+oJxhPg1INY8oLSurHIktWAAQwGYiV2nJcva6MMrqUR57pSbK/olyB+QGmpBlmd2qgJqmi2afeh
1stDDVxFNGrtr0vavguWjq5sAGLoOj8KMPZRP5hrBpglPHMq5JecFGSg8yMrooHcdPkmgtfeUngG
9g/sXgbf+1aLOgtJNFJmBQHoa6Chj6E2AOS9PArWtBWInovgPFrc5vqysATWn2mevwv+vzPJvqUS
56I4p5YvU7r0TFQaB1kB1KY0tvXw9fqCBEJ4FBZ5aK3UqiGkV1d37HfgYHPjXgTNs2UmzpbCX6Nx
kGmcZJACfl0n6RJPbn8kMrkP69KWuucKpJTXl7UVEJwL5AwEWYu/Ao+1KIOsnJyYgKSY3Bo1MGAH
UaZatImc0VeAm9NnLFE9Kz/i/HHMerf7V0+g8yVx1jxvhjqpWYGRTzCKQVi2EMRQ//t1kfibm3ak
i7QU5yUfCmDlOGUNNCAGUj8NATmENpiE3BJtZKW0u35uWxG4BuIV1QLqlXqBqDgb0tSr7J2XTq/d
+BzGuzi+14pP8gRQ95HYWi8CnNm2GSeJzF6e2YxhHfO5GFjCbApmNXHKWDjXs20zTiKYsp6J6IrI
iCIJIv4+uejw2+lakSzOPknKOINh4O2hDBS2w7rDKDtDv2gP8QGp/uuntZkDPD8uzkQVspQmTQ5p
LFeremw8MnPIBwkdSZG/CMKZtycrH2ycSeNdlzErhtTIkGZWL6AgtUO0pVr9E1HuFbmy9dSfMsWx
oqfri9xymOdS+RCgUcOly3B6dOqfarUpQZ+1BJLW+UZiCcKNzczguTDObmUhWogVVkX4u+bKMvu/
lxncdM/nsjirhe4ZPSobbOcMFMQBgDneuMOcWed2+7+QpIQt4f9gWH5dBYszYpYykjGJ3tbHRmiA
jwremDB5G6ylHnosZ28ivzH/uYHrD97zk2GxmAk/u4PTlNC1LpgHWtPXnjS3y5AnthI336YqydG9
LdtNk9yRanmuotUbjCEYUuJO1XAo29Tp13pPzfG1zsvPiak9rfmwX0n4IGXyl9jSROgNbOuvaTpn
lNbEBEdIjW0aAULd6Z/BeOWSO4ZB3XWfGeOAaO5YYAV5anhLa6dQXaDkknzXybHTAfr3+jXa9pGn
k+cME22boUFrCZ7oS2GbSeRm8bfaEJVTt/3+SQpnkNbWyHKdQgpBNgpvrqm4ocpLreN5IKK6v74g
YAu81yhFnoFVC0YD9EUuzli9aPQm7UUpAIGFvSAAbhtt1MIMUhjcm6XhkjJHnE/gtu4x/ypkHBGt
ijNApqRX0gi+riCtX9fwFeO7tNUEqrCZ8wJttiIrmsKwtDiT2qmSomgttI0tKrHc8jtq0ItnhaCJ
Dd2gB8WnbwVaCKKN3BFNgG3Gohqe5wYxMcvBo0EsK0aq5wRPOj36JA+7OK2drjw0CKwaKwEKhqgx
bNumnwTybmtdVX3t17cMXxis++jw5pLBNn9cjlIncMmb53cmjNtaSaLriLkY4BslgIEw/LB4VgvF
uX6XN13imRBOSTK8VZWO5ZYBB+K1hX4cMfK5Rr2LM/eui1I3LdOZLM5LTROGTAcJCinltbNW1RNG
XNEEUt+N3eCq4fSah51vAYTCUrSbIad36pp9IKN10FcaVDLq1LHhRWHi0aXZFXPo61L0R0XoN1Sr
bgCzgjfwKppFFqgY7+V6vdQkJcf+SP1rFVWO0eb23GH2GWZotTx17gWnvmn2zjaJacWZd9NWC5NQ
JQRGyxdt/RorN4D7aRXZTWNRH5VIFOeaIjPpKjB94mkgfepktKwAyRWERBaxleHj9bPfjlDOlsW+
5WxZmQ6frSdY1uiHQTkwMCgAM7JWqkQKfgdSWCiR81Ldksnj1EBi64aI8f6CgvwL8ON3GmKE1oHz
WFWkAVpzhsRTd+KfXXbijsHrtgGE0u+3s5xDRStBBxu085M6yygF4yX3r9zirzOjfN90uViNEk0Q
ohb1jbnOtm787K11f101NpeCtCP6rtARi86s90tJ1UgZliTHGAlaIO126hIH0//IjWugafpvopiB
OlNCidB8XmaIyuO7ypptYJOWncglblkMcLNTIErrAJDlm1DMdGx6bZmBwJyZuzGp7qsMGH+0/aym
i5dkzfdEIaKsxYYVN8HrBT0AHJkMlPr3C5NBYqQoadYGZPIrowVSSBy6tAIUupT41/dwqwscsnSL
6Bo4IWW+LQWQDGk2V0WLm/wX4np0KDEs7+lAMmRkJ6mXaLtdqbmTqIdvQ1XeieacVT+ouaX3eRt0
egMUtMEhxqf5f25kBna1xfCFkerExCTgWd5vZpanaRcnZhRIcbuTQTk+dULkI34lvAxOE2s9NKch
s6KgMJ3sTvUSL5s8pbCN23XBJjJsd8uVR78RFLwurOKbYBXXzWTouBcscCBFGRulhWCLTk5ozJOd
LIMeKCRKgqIb1b0VxxpwwgwjwDGDiMKcv5dD9Hkdmicz7EXFos190Cxw0+uI5S8iuHxZoqlT8zhI
q/BD3sCHt1n+XFiT6OpfPFffFn6SxIdueoEO6KGDpHWwjcFW9r0rEcfwy/twr6PxNEhad7jpA8nV
BWBMFw9WJloBIDvRZSBWU55bxBhXoFnIZRzk4/Cw0OjWmMzsSapC5ODQozYp7V34IpeZ9By1uulK
g/ZpMMr+h+XmN6iyVjT6qSzR4yJh6iLtGmfSZnRvqP2uGHNZ0J7BFO/8ucq+1dAMgh/gyik83kGp
hctUFTLS1JKF3m1Tu0uGUGDxL7I/vBBO+3PStFmNQiv6zeYbRnSr2UgeHwrfEEgSrYap37nBl7po
nTslDqZielgVsjNUUZ8ZH0Txa+GCKMDGLsvQqXEA6hCn0x5yS3odskeNFkFnTU8C48tsz/vjsWR0
NlL4F8AyqbxLNttuavu8BgME6jDoBXTrDmm62ckeGBCk5Uai3kDem5nae4GcyZ20uJbTGgJj7WeH
xPVOaZdDZNJvevRFVvfzlIuM/OWZwakgX23A1FNd4ZENOz2OijIB39o8Vk+lVO8i439t1WKL0tCv
g9kYBYAKfC+4qqxZtcYg+4nNPUmIE5WRW46VwNaycI8/Kw2ZbwK2GAITx73fzEmpaUdBLtgt90a1
fMhGPG1SObCW5YDp/11j6PcaKYLrKnKpj1jbmVTuwEKlktdBw9oq827QO7dOE0wA1e6wSBjOip3r
0i5a0LGVpgECGoJnvo7zYptwdsNA/TCPi1oUuMoMdPW1+dYA5S7Z6fVNhHlWj0X4VLOnxK1KW3S9
37IL3BafS+dnjobZUjAbBunyASIDTfLGe6t2E09yam/22hUtN+VtCJYtmwX+7I4ICYjZMV58g2Lq
BuJXlVzEQ5Gi9LU5t8VfjYz/aQL0bbfPZHGHW5RaNkhoCj57YfwNvi2aSdqIFHCyZ7K4MGipB0WC
tcHJ3upB/6CA2bjcsQgvPqoMGsm9rkkbt8U0QL6CaRu0Oyv8+DW8TIU0z8wUiXGy9bvJj3fyLhVc
j4uElYl3jCLrYNUBzrd5gTTSjFo+GWWRgaMv32d3vdsmtmaiMJZ5Iagsi8SmmJpA6I6pPAQDovLp
BbYZL587wjIxojoJ8wxAEtJucYo7lNLd8Vjvwp1uY7DoKOZwvgjZeZncUVo97Up0dqLbH9BM00/D
V46WZz1TL4LvJQHmYdz8S/yHLGgjFq6V8/Ng7hxWJcFev+HurXb0yGjVUJl+6FzFGT/0X35jsRcu
kjtgzudbXZ21VMFiF9zI8iNxq1v94wjNrfYj6se2EMVRJJCLAJpabwpVg0CUpj+yxr8GJ5p/Yvpb
fkhcEVnCG2DLO4PDLZB5gDOTm43GTFTlbVdlp9qFH1i6IdkRl2VcgZBgF4f1WxIYHxq2dFdVbPMe
XYe3pmN9rt3wttoxcrK5sUWsZBcZbl7PuJQLeMkjYsZVFmgfkkfDX3fyZzaAFDnDvZgb9iLdwkvj
XA8h6qjOVZmhhpi5qekDjtQbotZtKDJM6cuSfI2jg9l+LFWBY3+rmV85Ab4hd2xVqZBiSGaoIhIo
quqH4ad+GH8kXux/B3/LV3rIKsD65zsrANi+N+3o5/45Ftiyi4QqtwNvO3SmCdayao2iQ/P+RAaP
YU3oU/TYgqeW+l3Qg/NHukUt7gYpVDu/o878x29YtIuA7b0+vmnF2VcYTRKt6QJ9HFEnrl76PWML
qT39iQCfvHcSnwpcxeX7gSL2BaAR6H8MQ7uopMQr1bNwjPKgmzBgunYArE6X2amSKHbKZALrZfSp
zpcjqgBerPVfr3sqPtlioqMcjtgw8X6mChiC3t+/StbRJaJERWCNYXSLNlWA+CJ77VrWmjk9wVjQ
dXkXb2TIg0/ETJMO+EqEq+/lTbRupLmuimCU8sYm4ai4k1rSAxlEJarLk4QkJJA0Rcfc2UU/eyKj
NymVyyJQ2jzq7bDtdD9FCPt0fUEbNxe8k2CfxA+hlxkWQJGjWzlfi1+l8b85RMRDMxs2CbLAP4Cj
MomCN8X73QN+JPgbLKXAHYGVRL1y2oeu5VT7fJcMR8yCONcXp14E4JSRahJTt0BQdZlhWUmXRGZj
FMH6nfiZV8uPhfN93DOGmQE18QolcRPgTYVbPPW3ka/tyiAHczUM5IMo2LjU1PefwsUaUmeEUzTh
U2g87LKe+lFD/aYhQK7KRG+qjSDjvTBOTc1oXme5hLDWze7kF0CLdXfKDh7J1u3mI6NIbPyZGUPR
jm8eMcFOgwzMYAaB8/hq1y/zvIYsAl/RuqLYo2yjsGo3cPgRXh0C83N5SzCQdyaO8/ejpo7TaEhF
kAyzQ9f5plGtz9eV6IIQyYQSIbmKvljgPSINyW0mGbUy7My4hE3NSi9bHRVw8MpO3zduVN8TaM9v
cNFuae65ULbwc0NuYk6KhBDaefED+Z6PdgIO69j9Pll22doMcky1yy80tUUxjUgyd4LR2E0GeiTL
wOiV74VePfb9cKi79mnOlMxGx8YsuKWXNpXtrwYie3Co4i//NjflybKyDEst1ttamfEKaL+MaycQ
s6maFHYHOXm0wF14KmJN3SDPc4nYEPldt3Qx5zjamm0FlZ88UVGzydaFPxfHXXilmaxBBlk9TjAM
4lcU2UwbHOTPgz8hxq8jYN3Ez9KD6EZcvhWhrudyOXVN6oGk4YplMmSi9nPypT02LtYIrjD9G/DO
7OvX42IOjl0PDFPAB6MlGT6YCzQxUpxLSbaWb2/u7Fg1GAOw1efU7T91HwzZXgH8JANPi5Eoz7fp
obyVPk7H7Ik6GJv7Iie+aJCEeZH3EeH7D+K8zNQZTZTDdb6RiWWHJMDAjxcfRF3Rm+eLfmjkWjSK
cg93T7RIicxyVdEHa4yYrBgX69Ctk62NRnZUGlnUm7/xgMOyzuRxpi7XlFa3GsgbfSDvFHYf3/VP
4RJEHusglYIEOArGbQIE9esHvKlQYNNB9w/VMaXLe20TpRGqZkYZ6Fkr29ZA76JlKG0QPd93a+9R
OqaPpVVat2SePtSgVM2rJaiX6JtJs2+Cb9my99A1VWExGII+ZrzOzKKGiLKrarNEc93kDXfLHf3G
GGJL3ZZvWqd0yGSLFHzrnC0ZqKDonkWugm/anStzyKc+rgKahp9lYHC5hQ5+6WVA2auPROiBWwu0
EFcqKE6AAZff7JLUFVGltAr08XmBUCkUEiczw8PfjzMR/ItpaEOQ+xoZQNM/6AdAmZMjngvO7JHn
+Wvhix6iKrM3F+IQWFJqgczd4MfhjCXEtE5aVkgmTZ1fP8TfsXOlCw1e90vmVgcVIwzELrzumR1l
8iPeGS+tUjhtIEoPbG6uDgcA888STpynydtWydqkqYJIuQ0NwC2Eoj6hbQkgAbJMBezkGmd7LGM1
0PDXVyjpoWe2jO2+eLl+BbbcM4KrvyXwo81WATjQRIWEGqApanNHZ9W20sJN830dxwLjvuWaz4Vx
G4b6eQuwQgjLZcsPaeHXnbYbW829vqbNEOtcDlPZs2tdjqw+0HYVXHO9b/t9DUzX0Rk9LbGNEglj
xl0iClXpRTkFvWp49qBPTkfHw0XckedFhNQktAEK862f6E5P69iOhvqhVar5s4baDoYacIZrHN3X
Xd/ZZgr/Nuv3dLT2gxx7rWq4VpzuKq15kiVzp9Xx3tSl+3VeMQU+232U7dZZ2ZEpO/aJfiwM0Fup
zej2jeHM2c8lzRwNLwClqH8YeTXYVZze9VL5CMTs0p6yGHdkqBxayQqg+GYkfOP+0NbWHm9eMEoA
Vt6Rl86HJzqwf21i8C0rS48huZql5IYYGq+NsrTnqX2cks6ydVXD0wuDKYID3FB7bKUFtm5UHcAE
xZnlPFTkUDUHnJ+82pr1tc0FWr+lIe8kcFGGHEtJaCVjFbSDox8Kr5nteZcwFfEB//5DtRdxCm3D
8r+TyV3mUe4UZWEyiS0f6n3x0kIxVR3wp4Wjufp9+qhYTnwQRY4bl87AMIaJIjwgki5AoldL01az
W2ClrOR+NYydSvonU9aC65du68wo0hkI2WAMFd4uh3KsdkAyh6cpQ3tpgZdORNmSrdABdt+0VGRm
MDz29vuzey2ZYdKRcq0QA2sH2cO7WwVZXufOXvegf0r/mD//mzWd5LE1n8kbEn2U6YKtM7r0cc1B
Q1nholyXsXU852vi4r7YwP9f5pBRWt9a0B3J1moPtajjelPhz8Uw5TxbSkTKeQWyGiKA0o4aZ8nt
5RZA85/Sb6ZiW62tfK2d7F5UQXtDfOC8tUEZuQJVNUW5YPRW+7ZfqQGxQ5vIz11VJJ6iN24T9W6j
T76V5jfriBJJZ1B7asbvhWo+ZCPm+tvRAuN43+keHo+JP0Zj46ATajeT9HnorecQUxF2QTofnApe
RPWvhdQ8dJ101LOJ2OOaZ3Y1ov4TjvQQUzT6mCSxkyxxlTKJmPXroKDrN7WLJDtPrBG9kfonozWD
uZLRoJZ3/lhkx1heSxtFB+DFNx1Avsy0Oo5IHdojarE7U8a8fCNVi23KuGL2IqWP15Vj41IB7Yii
WQMNGxRl7fen1g7ZpC0EbYfLXPu9ZbpLKmob2tC/dyI4n5xnQ9YuGSZNE3O9s9rMASDGUcpM9/pK
RGI4l5zXIBDJLDQclnruL1J+SPrYV6fZuy5mw8ai7o/QGg9HmAnKqbmq6sNIKFYTxoUbmZNt0Fc1
Ll0t+3hd0ObJnAniXJTZRopklkkTRHV97LP1MBSCKSN+xwzCErYEvXgGsB9knoxJ6qRSm6iaBnXX
uWXz0maxPY2T6DnGzvf8hvJiuPM30L5kViVN8bwd99MfMRALaECcFtkgkarxsSYvitOBiCQqLQlW
NEntvu8zUBaQoJRULysmtJuMAo90kaHh5XGpi3jEXMbQa2xp/b75wF62mh3es9rzcBTFf8x7X9tH
pjBnBhZwaErU9FjckGeuWWduE1qYoKndtlvtMkOSby09axDUYUVSmRKdSUXPqRJmOYFU9O/N9Js1
Ls683qzWkTSxrSqxQ4BB/r+pPr+t3B0jytJKUouVrhW1izJ1KlXUO8jfrj9F6KYsGzpFlw13u4wB
jz+TQCmjfLpTSylQo+n5+iq2r9dJBBcBakillX2loJlG3gE81+nim1qUX9iABmF3+CSED/myatTM
AlvFknbjvanbcW2XfhE0rrJ4DXnDVR7uAczgzPfa4yALM9q8QeR2kodBaSvd7MoeCmJGpT8utR1N
3zS53nVm6l/f0IuMEi+KsyQqRjSSqMB1o4rddSDdmmanuwX3OcJqgEwoP1nrayRuuxAtkTMrVC7Q
04poE51C+k/tdnRVMBGlrirZ31Gi/o7JWhDIBcLEqEgsZ11ouZhyjOdWMB2+IHn0Zd0BQjaQvswH
RmQQH1LnRz0Jrt5FVxS/x5yVyfMS8UuHPX5rDDj2oxOtNgqUmrfuqKfZ/cv4E9EcLbwJVPD6MfWy
0Rel9C+CSf4rOKtDJnROtjUz5LHTx25zV38ufWZeR0frvLKzx6/qTpT54d/Xb0IVWQUJILFQLOWE
GjSXIirBJiRoOhsGMBXNTq/58/zZMkd7kZ8E6rx5vmfy2O/PTCstozyacmx1rNpr68q6TVT7z9ca
KJlyX/ZDu6ntbkRmSVT+33ZdZ8I5A6hTXZqGVE+RBTfsebRr2IzMAY/my3z3G/0Wm/b2TBxnDNPa
iArE8GmQvQBzp+zczIu8xFn8WsfsCTLtLBkqygRv+q4zoZxxnMcV8fuINQ5pZ4MIx7TlfrnNQuhP
JZmPc23emHV6M9WqoGv7omGcUyU+6bVWydjqFY629/N9daejrQfaG5S73pN9Gb2EmGgM6P66Qgn0
iQf4q0erClMVy6WT4ZaYxLJM6qgdtYG+IjATIvV5e5ad6W5Vody/6JA1v8Yfk51yNF0UqH8ybFax
9giUh2d6kEwrysvGSIMcSVjQeLpzrvvX927TWZ9UhXJmT60jddFSiJhJ64VRZKMqZU/Gz+tStt31
mRjOxLRNUVnDwDyYPQJv0Uk/6rcl2F07p5jtyrFQeJ5UwOzbMqhBlfk39vKi/4VXTc7q5B2ti2jA
yQEiJ6j6L9NqOFWDl2e8o3ijV71r6elBNQVxpPBKcAYnysxWbnRYgPwm+VrZkxc7Cmpt6053vxeY
53MYF6ohGm66yOjwy+UMT50uZdQxRe39ej9+rP3EM/f6TXyn+ZXb/iF9vH7CwovB2ZwW42htE0Ee
A/nQncQbj+pDD85e4CQfCPmP91Dn3u9hEvdUSSBuOOgBfeMIlvcTTAwr8osiku3g4KS+fOVbXvua
FCNuifnFAv6Fj9L3xw5LwyxBEUgv+oPlsWpxh2RHByMn25Gwg1FgC3QuFqsjlBRbiqCoLkOAO00E
SmQQQS1cYEl1LvICDQxCoBW6CuRMkK2ny0sGsuzZxIx43UQfBCrD/reLh93ZrnK2R4+VXmpTSFsX
5OgVUh7X0bqxFoCZjfN6qEjyqZ6mY9+BuqQoXrW5cObCMNx+yQWXVGAFeWJBsOn041hDmxL1c6zf
VySyw1TEBMNO6NpyOQOk95k0gbMiZfW1FxROjiPCAHpgLdNiddmOJM82lzM7mZKnCmlNdh/p98Xr
3kZ5Eyf8qMHGEq+IhYMFFx1qnMnROZNTgWgd9UqcJ+tGp8cYXbWTr/nl4TeWxz7/2mZy5gZJqnkg
CmQhu+npuV0lDnFntNs3r4O/LP6CIB3zyk/9hKk1gd4Kbgk/QFH0I1pUmN4CQeW1+NqD7R5F0J35
kZk74pSH/u43XkUCHTW4RyBSjRLyPFAfNQBs8Z2OjnRUxB7nwwDAmuahcOWjJEA3/Ae7h3eBaigE
IwCcPVAapcAeQ+b4Kv+8z3ZdBsrUgy7Z6kPtNXvYIYf27oKuR3SS3KR27omDIOFHcGaCWCsxegLL
xxD4dYccu86mlV1Edu5Ld8NkMwZZTKl8CZM/Q2oZBUKn2QlOnXmUS4077QUXwvSYAa0KBXtBq66x
0U3roeeqsKsm8owp/4pMmyctGB1SClT+RECy/+BeT9I549EVcaKULJmoBuWeuOuu3LFOHZDJAw1H
+AzdtswnaZzxMCVJC3v2gKD300uHvAor4ek2oFbZNJA40/DGc31tcznTkYeNpo8rBJJJPvQRvUtH
zZ/MZZdFy501t/dlstyYdLybC+2grGsgr6FPrS7QSXOHMvuDWsav6xQpu6kjQZKlKEmsxC4rPO9q
1DuiUotsMHS6uhqhmVTF46dFT0WmTJ5B0WhW1166lgAL6wIiwaRM0m2UpI5M20BrjOc1n4HwmYso
Pf/BYp72mbNiwD3Vl4z5Wy1If+h/pL6EPGp1k+Od/yz9ECjwdgTxSxhf8oh7fbUidpnZYMnqxk6W
2ZIDN/+dPcykfe2Khvn+IQg9ieRsll4jXWvkWF+8HzHjodjJYYTeFnuwLjuYbhPMGIhWyMVIKMVq
NB0grlTzz6qx3BhAPhTs4rYXPy2JM4lmqsrduuIlY3X0hdL5Xm0xRqJksaMnKGmZRuqr83wD4hxv
0Ir9XJDbhUiv179i2xecPoIzieWgxYvV4SgrlMhyE7Qd+uQaiugRIRLDmbxybWKri7GfivKzVB5L
s0b9Obi+FNEdUDnLplOpT8IKQianv0HvLKC+yuPi6352L5xj2/bcp33j7JoEOKTCzCCL3oeB5tFP
8X0Ozh+1tteDquIWZL75qH0RYjBsK6ahACABf/6PtOvYlRtJgl9EgN5cads/73QhnpHovefXb1TP
rppbj+oazFwECAKUXcWs9Bkh0/NMYhEEsR8biBiQRpjZzEdAsWY18VlCKO0P8sLnah1CuhnbnMmX
DkTA699qXR8ux6B0PwRSEBd0kAC8T3NINTMesTrVKIw3xjoI5QyCuk75ZoQYsU/NiIvAvT2Z10+y
Hj5eTkIZ3k7ukyieIULP9vPwmgELOCo50r02+T5gnOcPZvC3NBpGAdAmoMQj94aAMbpvgPKV/Yws
jB41JnHgbH/K+FAGZXf7vm67mEPwn7dA0CuwfF7mWOyVWDHRujG8HIxSuU6YeK4ccDDpJrwtb5uj
yAGWoHckq7BDsEZrzvXPxrxJSgPVapRjPYPAweKtfoup5RD7p7jJk+RgojZgDtn/IfC6HJEytWJU
lHwrQWLjAIoQbRfFtxSHTCrXnp+ZvPbvNJMGahxbBblo6UNXEtfv/S+VbzeSiP3IVr/HOMXD9Qtd
VRSMFhEoEXTT6DFIPigAzcY1sVf1qA+pshnJswsMQcYL+Lb8d04NL3LounA6xLE/GpAje/out+eP
0m3MwertaJO6hkPSxAo4rVh9O8loIrfI3Qxb9FgO4BuqCP07qIehIKoFRAR+R+vv/AkzjKXrb9ud
vAXN+Uaz1FvlWL6LZuZOolkAHiJyc4sZXTMuna4hN0GImdSohVuVsGEUxHbO51bn9+aoS27cR14g
1o+Kltt+BTbDKDS8pFBOvZxsdPgQs+EQy15Xg1WLu/g81LMSpKgVo7CLMbSHAq2kI796vy5h1eAu
JFDPqOpqvksnXHyPOm+HRkQA95Fl9zP6PUaa29elrXdMF+LIJ1iU6YdRxwhJA3HTLn+sbzEuWiNZ
mpAq+p9knUrhzPlBfGHp13qxdyGXCmZGcEAbxQC5tV0eouf8QNKn1OYczaon0+/IeqvD2az5j9W4
ZiGWimvGrI6EUoTYor9PxRcuwEOKY8D7xayLZWkK5Zt7YWgmo4bu5gfpoYNJLHaxnSGLABIQKb7m
2Ji+/i3XXwuwQDANLoOBgDqb1vr9yHXQTX566jjAK6MJXg+s4hzR8G8JqHiRQp2Lq5Os7MOROBbV
i99A6BTCtSA5AgqH2Z7CHTZG/t25qBCkVTIxidCKBFv4szLf8+NenD+vi1jveVxO9S3lK3J+rmKc
imAGKRt9WzvGLt+xbdq35YG/DOvv+zsXcRYPLtdTSc9jnEb/MU0YycicwuIssgAHBHOz3wSedkwe
Y5TGh43foIgwHTAKvGEpy7q7XpyYikiGvC7iKMPvyCNzekb3/IE7kZ2JObKGm7+xc0O+0hW9Od/L
4tydluThwOE9DCKMDM/7Vq/mdtM4RVdu+YL7GWPBXgtqp26EH21ngCon31aYO4vrbsO1w62BYH2S
JUcYs9eomL3rGnDOnq79PsruplkW6MmE+8h+GTfxNn4kPYvAQSYnnYI7UqTFWm9hxieypijuo5sK
zjeyu03wwOpKr5ekF9+GMsoNhoKknmh88hxu863sSC+BozgtqrcYNCbOlrX6xbAd33LLti7l2B/g
dfLCbKdDJf+cmTzRxDRcu2LKQEm+EoSaDxUAjrZ8RBIOriKsnib79AY7dtNbsG0Ks34XnNEDLSTD
OrKEU3ZLyrVQnGKcUOhSp4kmM8CIbw6bFQD4rMjuOBQmrqvUuq/RsO4OZDbpGzDbpGRTUU09jlsf
sPBrjt2bAU68IGLYR5YcypVimy+XtQpyinGT19s8f9WwI8ixtsbWUwrxch7q8yWl0mpcCzmVM1mS
C2iwBDCrPZbdsfz5M92x8JfWPehFHvXFimaq/KDEF9NG/cjXkTfUBctLr+q9xGOTXtFFwaAHB2I1
jPpRmHB3ZdeZgMbNHWzJPGEM2hV7wxKjfF9V46Fs+jupLd+KCRFlG1V3naAlDqcM3aGOje11vVnV
1MVvoiyRVsYC2F9nJDaD4YYlVCZBFV/Rc/TaBP+uUduj3yUMD8i6CMrkRGncj76Gy459WBnjFYs+
tjFkjCexrkOLs1G6KmlCghm9c/QATunb/KbzQrfF8re2a+/FvRAz3saqDi3kUTorZYmkzDy+7zw/
KMldD4rD6x9r9fEtBFBKCpeWlbOKeysw85838Qagiaes2oaZxPJQJOX6Zj4Xoqg4SFOEUBIGnCXe
IhlEV9v0sfId28ZJtcsP7cdfrim6wfpV8gGippQZYa5H7ZefQA8TAPMc3498vniLz+cqr52DsWaP
c+rAjLY9wVt+BTz65vodM8VSySiAQiZBH/Ai+DtpW9u6B/SfPSBoHf4WhKTo7mBDjAlmyviy9BxB
17e1JoIEwhOTwOSF3BQxjjPwoankP6+fbzU0WtyqhA+/CI14n0dwJOFWlabCiolaRKaRp5HVGfVB
69TBHAztRuXU2hx9kWFszjP8V7RKpa3N2E5ZnuCYvRvdJ/vuGB8rR7sx7GrT27yVbWKC+4SBfOME
sMSjTjAGNEf+9NHhSgdnBrgmM/Ff72QuboSyRsIs8VXWQNWTyVQT7PeZ8VdwX518/NUafrabeRd8
ZYqTZrbmAVRtQkIVMSkOJMaLUylrVehhVw8gukKSiru4b18Hh3d6EJFgwnRLsLi0vXBA6IBelHIn
v7aO8aNx59qUECJG+X9/FbMqQiLz719MBsauAqROgHH9v7rk6qgOmQST0zjJac7Qzg92la3fDDYW
OuUNyw3/wWZf5JHfs1DPzMemHS9CQ2TQZJqhviFTRCST7dBbVpyyQTOAVR9Yt9sXmdST6OVaqbgK
N9/nSBQAOY32EMNyr7vZiwhK8dNWHLiQWO5W+TkYL0NmYoVGQ8ZVBi7HakuzzkMptKQa8mCQOyxG
0SpCPJqU0dJbT+iky3koZc1SxQBtJUSMudK6DdbNjal70vziaQh1G5Rgm6aTbEA8bLqwuOfV6Mgn
eE/XTRk5xzXdpPxtE82C0gd4uNHI/4SrsDXg8Kql/E8WkxZnpbyuPjVhPxZQj3R8qfJP4DrqVc84
yrpVvtwn5W6FVGsatcNR/BDwjaCL1bptHYKgE8juRmq3emZ12Nn9J/enYc9eIVSINOdID6SPcax4
UtTWTWn+TKvWbHwWmtK6Nv6WQrdZCr1XslrH4klVf4TDl5Ltrp9ivaqInZn/HoNuq8StIEQtoLG8
Pq4/ijp7NJBckuh1i7bEJpW47UiYTCV+2shN8KqA09UCvs2N2AXwr5rkxMXESpNYhxb/34ylqgRW
0xkbAwL4QTLh16SwYsFv6J/n2s7i2JTVAvX4lDcVjj2CrqbYFd4oONEPOHB1q3j1qbstHsKd9gUQ
wQ3vSaxu4Hmz8Pvju9w6ZdE6Tg8joyIWgBedNhz3Old6ZddY/IjAGgNKH6XUp3Y9hnusmH7ytfYj
6OZjL+S7IkxvsVfvcHqPbdO+cTGIux2a/J7Lh32RAkRDj19aWbV6v9iqOha6om46GKMPStDuJmoB
Lj/3gDgXUA3kCOuaiLB+7o5SEW7kMNrrsjabSg/kyFBJt5US70pt8HQtfefHKbOBfPvcTtKmqcqb
QJRPpaZuQ7/bp8b0JcrVTvcVt2uT2DR6cFvGOr8pJv7rutKu+4PL7VEmugTscYzqMBa++G2QfA75
aUidDojeXXmDpN2+Lm3dXMs6/LeMffVvGFzYiFfAvgddSWqTdFdGwUqO6iF+lt3MHT441ojCejCz
EEhpR9LOfZCLsJljxdm9ItmTPt8pchxgcaUtrFnJe0udtB9tP3zFHdqTYvvD19LdKKhWN0IDmmJT
DsKxyPudnynvZRXtFD9zZg2z/fNkpRV28Xqh3k9xcKskylfDtajlG/YUhh+5qD7PfcmaRiXu5JvG
azqQoUVBwWAf5QcMdWib0ZeRj6jJoRqlx1KToG9YklGbQ9EJGzmaPCNvD63EHwFtY45hYys9/6zi
d/q6D9iUAUhyfXcKucrK506BTZ+xicd1tyM6ltqoHdu8O0Zc8OZrLVbIm4+oxRvCiPFtEQz3bYbn
oAU2Ani70jury3kHk7puYAyHjG+eVE7eh37iqvmgmrHGN6YxNo9cOG7Csd+3Y7uJAtXitWILu3Ev
tOKRoKD7YX+Xx+ODnIqf8TjsOqHdxok6s7JxYvK+Xd9CJSiVz2XD5+IWOjhY3a8Sdcb5RX6MHhVL
fYlsVlWT6Nc1YVR8og3yPIQaCaZ7w/Z1x0hnh/GmVkUAngHYKsCX/Ia8nvdqOAWjQs4juLNhBpvc
9W3wLyBzwnh98/A3hi5ZMmkVnI2iaGeJyIxOIbICwU528U3Q2fxWq7HTjyw9AoY+umqb2AncGsAv
3W4EVhgroF3PmhbHpyKWiculIezPP4W3ZruxUt0sdgZgIoHNjAFq/Bob8LH3gcWjhFy05sTqya/m
zJdfIFPLBlrVxOJQ4hdM87sSYd4SVFptX2AKn2XO1msCC1FUFsTlpYZvDVGK6d9JN8jP3sdDA2xk
He3xHJyb53lxFt4SUywVRahZ2IiRBIuj1omtlujlTVgez9sNEHv3aY0SLyZ8danbiyjAzlMIeHj5
0PPhCbXHd22Q3LHtGJH/asy9uAkq6ijzcsqkGDchqZ+zMluZ8rPOI4atOHfAvj3fhRTKfaixAKYR
IqV3dW86YaLYAUHdJtqpdrIJdrItgWcVNQEcH2qF3TJW3ss6JmWs9D7NtY7smevRS5B91vxbpWeM
8Hs15l8ckrJRQxrGSZXj6xpa/6QV4KAozQJNCVEAOE+N6RmpMHkMs1y3W8y7pbIm3q+KSlFgt2oB
YL8mFkvBVG9DJCCWB/skOP6+OAS343t5jzGoI0up173ob7MpUybM9ydsZpNJzbzPHW16KYLYDEfd
FlCgjR6un5X5gCgjJc5+H/NkH711/R/pY72VrcbTYgsR5OCOz7zb3oPiyVZY1lEiz+CKAtOTNe1U
d2UcQnDjpLfxttin2/kwnXL82XmZJz5Mt8UdoSUGnwRIM1FEBXN1CKQk8F45wENWzPoEQA874hmf
fz0UvGgdvZYpd0M56mQa969ZreTcEY4sDXKjG1anbz03W0ijLBjQi8o2ifC1xWNr67vUxWCPDhfV
A4D1TfwbZbQ/nO93lEbjSlboWKR1q5Ly7WjPcI/GfWINbn3CPo/LbFOta/NFGvWGuUGstWjA+Vq3
tSUXkAP76shZ1THxaofAxRuymXrchrVcu26fLnLpR5yEUSgjvfX8eBcOIJS90aWPf/R4LjKolyqW
sVEPZAH9TLVwAjjwTtgYJ/5NOs4EjPSpqBwAuTEUlHUy6sn6HZ8mFVkb1prixh9Ty6iyw1gkDuN0
6y/09+loGEdF6giaIdGTHSYSsG7emuHzbPkmabQbW1ZbYT1YuYijIoggSJIZXKBwKCi4q0VtlUVs
aeB0lrPOvn60P1j4iyzq0XFGLM+hDFm9226jU5KZ6g6jil77gbqI4cw7kvUBTqq9j24xXv1SvVz/
AX949ZcfQO5+UcRNI04DVDDuNngvt9MuO8VvmKlFsIQ1Cn3L24nbvPyjiH+RnVEhw1AYchuT7zlX
+SngcgBlDaxK07rHvpyLigqEYE6rkCB+9G7zq3rG+nfzhDVpJ34e7wk7RAYW7MjWyISizSpSr1fG
FwekTM3YVQMSu7PhHhzC8cLFZ76s+p1MK6dewAKl+UaIdK4wLSRSRmYYwKSXkX2GcFtL2DEweSv8
MgjwhSdtDAwJmtIdgt/ZUff5UWEsvbIM+bn+tVCiBKhWImqHmJGJW0vnsMdbf2RZbuezam85VNCn
Hvfcv+q93Ymb6xq8+lp1DMUAs/zMIff/CtwnSShxFU4+DdJbkovbXOjusxY87VL+dF3U+ozWQhal
uLUazjNga3DOycSKQzY5imFqkZmOD2BCHTABixnczNYxMYBaXo8xTcsoLaxDqSCNtBIsVrNM8KpT
W/wiSs3HIh2DLtXxi9ruEWNb3hABjdUAMVsjbttMZNirdXOxkEdp9lRlgt8TPSMbqlNgiUDZ93Sb
4BxKz2qE2KjQ/0bjb/U1L8RS6m1kwtwmCsSmW8VNduDycQUn3jEfLvmA32LBhRzaj2ZlImrkA/Me
/2u2yQyepLsEOr13FLB8I/y1WLvx6/s7C6GUG1W5smoSYoJJmEfSc8z7yXaxHUEExUQZWF3CvAj7
BrrUyH2np2dhGqgSEAVtJM/YsduD65PiC0mUG+1ApR3pBD+BLBgbhSk/87/q2wh8V7FvEeAlkEub
8R1ZnYMJ3pxh4lm5Ietudcq/SpKvGzLBrIi307O0Cc/fcrbq+9pjKg95a1eUR6dcaTby0iTm56tF
JxjQLcIm+MEBmEPaiXa6a3/mFmt4bV0kRpRAJoBJMpm648bgm0AlEXTDexEYVMY+3uq9e93srVvY
ixDqDnP0mg0/0VBHKKQ7NX0LZMEuhOcmYw30rr++iyDqAhOtNZI5gKB2eM1b8FqprKOs25GLBMqA
97Fv1FmH3RCBQ2w3xdJz3+cbgwOBZlEWVtUnL6oB4T5r7+YbadLZQQOfkrCxKkBeo89W5lo5oaoK
1CSwncs/CBRYY7mpG/yQA6uwCLQI2X0HvPWP8ZTeAxkZqCasJG9VX4C3rmHUXQd7IvUrlBFbv4Ue
JV4rthaId82eO3EsAu/Vz7gQQl1yXg/j0BUhGLK6dxHo0imL63o9vgKR3v/UnvJ6gZILRhfD6w0A
K1YOMcYNyaB59EUqmanFcrKrt7YQRzm9ADiYca1AXNIDqTWdQoKJj5nsklVMW/fml3NRbq7MpmDu
K6hnU0WbpJd3WEh8FP36xAUZxioG6df1l/0Hd34RSPm7MQS2jh6Ri7SEV6AMbnlg01rqm36Y3KwB
eUeEwgbHsCesR0j5OzTQfXCnQegk3AnG54CWZ1+beq/ZDdhdla+oZYBqrSokMFdVGQ217wRTTR5G
40yW+bDQaUVGbmnM6hUxtN9t/28RdIoaarMxlmStLj8Q6Ox+UzqEHBcg68yQ7w/af5FFGf2s09Dh
GIiWAM6hvc2/Gg8AYb8GuzY19W+AGayr/0UeZf/bRlEynSxftvpTgkFJAlfsI6C/rouMj0SbpijU
GgV4XYDnMTa5+K7JLO+y7sYux6DMktjGTTNO0IKs6ay2SSzFv63rGgNZlX39KH94VhdRlH2Ka33O
lRpnqZv+IE6cNwe+NwvqR5n0oQWWM7epMsfo8xeu7zzDr5NjKWmWEnVbPRbexEZ+/pe/iFzOIkMT
Y4GLJ2xQYwLB9xTA9TXgayRsp3NlJY+IxJwcyIUfrEz/vFt07V1QFi3n5aBNRsjlAV+wq7+mY2il
D4nuqLe1MxxA4xzvmxJLvBGTAH196uLy7Okm8NAWWtfo53ciuPKT9KHKNh+DygSoQZLTPHBgJSpt
461Dcrwd9syzE2d67eyUnYv9Kk3DHlowfkqvvIM83IkOwq7YEi+P2gND6xj6fS41LT6xrIWNbIQQ
p6rJBuTIzjT5wNnVpGOasrCsVx+rIWo8oQUHNw39WTsVI80hXLyiIVfhJLOqOeu6yq4eZyGCck25
EVd5PiBg0o3SbFWgtDRP9cyZXMpqs6y3HhaiqA9l6H4xz0RUeNAexsLsTtgvf1IyM/9Q7Q4AcyGK
Nk55HFlT6Iwz0slYMBcTALzwyTqs8OSdaAbCWxOIFrh3nOu3ub46dDmjTjmNUZqMKWxwRh8e/n0+
D4j3H9FT85kLHuEFS71BcxlCiWf49gIWQinPEXZcJktFkIB/R67RdW88H4Ea4M9nJ8YSJ6tfxdBK
OgEbNb9LCxI+9bNyaKTZ5suEAei07nwXRyK/YfHKsGgsFT7ZLm8cQs4x71XJRF3NaraZHTrxk/9+
/Q5Xne9CHuVKuFLgIA1XqMT8jm/VB85QPD4JGFW0dUN9yU9oCNsZoD2GIkM/Gqd7liRL+iSoXJyl
d87nbJG6YfQVWH1lMnkYVnXkd2IkkzeyuFBscZdV2eANJKLyCm7DxETad8xqrmYEGOs3ecl9qJsc
hlgVlAS5T2KAcKcO962OQjAw865/sHUlvJyHMo1RyuXCMOKDtT3apVmu//S7f6boFxmUbeRFkKQb
Kj4WN7ykbW3K4z8KlhbqQJnEtpTnTiLqwImCJaPKKeteNiI0ZwzsrpdUL4Lo7qvcCok8+uf3BBjy
zxmU0okjPv2FgMmdQt7MN4pH7IV4ABr5Uf/A+ivD1azXrxc/gjKOs1FyqZrAndV2o1tkjF23sblC
QBX8F7ALseQRHfhuF39/Pxq/IKhbDMvNkDdY/p3xKu4Ia7Vq178ywwxPuhvdxJaxMbaqc103/2C9
LoJJyLJ4bKERdGIhQDlrcJZygG6O7uoN3jfgot3wjvW0GU+BhsZta6HqMgPfNghVV8/i+1AJH66f
iCWCetR8GLa+wkOECk4BTX/JEoVhNtYXgBfKQRkoceaBeoRGHSCPxF89UJkF0JHa3VHFTJEMLGrd
JjMvKeoPIOCp3spTvStPuZO5ERPdXFy3YZfvRxmXOuZnXif1K/kOY3kebzX3KpTHv5sc7TxyYxzb
5/LEHWfg/mwxrgCfVL3kwPC/fu3re/GLS6EsENxsWksl7IPsIba2kh2ZZJZd9rLn+vDaQhJlibQs
MqSAOPUWW0fn6ritvxGmr32/Ebfa3WAPW/DdOPyuM6EDkznnrMOSV3HluarU9FrRh5JYGTgsoVMV
AcImbAjQ3CcZxMhuWKSeDOOgUsYoiv261wlejgg/iI2GzpQxYZuTpfhQcJU+Ybj+9UL95YbphbZi
CMMKzMJIjBWTDKhnGwzMOYLLH1PAFoIAMgEqJ9mkqu/D99HRQV/NqtMznjENm+tH/Ci2aLx7GWZ0
Z/GpBb7Jv9PYb/tsUi51XItTgsBrsLJseq252VZD9YWrVWc05AdRkF7KsrwdRoOlQeSbXdMgykwF
STQqhQAlJi2eaJM/+PZnskXT44nVhWCZCHo3bUy7WPBTEjCi7YKpjwfyah4bCybqZnrSt9ONejNP
prYD1IgFkE+MhVjTC+tnsJSYMlRzyddVJMHDoY5v5iD2yqXA1YXbshnsJGCMe693vxcaTFsjIeJz
kXiB2vC3uRiiA5vfhKF6UvToIQII5tTGziSJJ9XgrE7j92M023ofb9qGMycRWBK89pCK/ZM4FIzX
xQqsVcp+yRFGzIcMekeA2zuztZt3uN0dQdqVfpDx39Yaf0Yua+qI8aJoiN0pSyVNB6q/x6W+Vakj
ug4G60mJ17WaBtSN+ErqVAky9NJqtxJY1w0n2KqmssNGFLO/tp4s//Z9Gvk1i9ilE0VO1mdc5Cy8
JMZDmh5RPLPI/sh1S7HuYy95AuXvYzSg9E7HA9In4Hq00BgRm9ymEXH31wX9IRq7SKIeSTtPfjeT
Rgmh4Bk8AavL/C0wtEwCJcLvExYv+Pqo46IzQ7+TQZZQkMLReldwEb+4KELejLZkx265n+9mi3eB
BQeTrx4EUOWCa+MxsFAa9HQrf8o+RG/YoA6zFb4YF7GuSJeLoN4IduIzJQUXMMwjQTnN7fCmBisq
KUt0L4r976TRhbJEA/2VWiMRJDCuohVaxByfqcX+hjdnfWR6K3fuIz4oqzjxtIcJzAWRw90TzFgA
bAPuOdzJjF7HH3KZ33d59vaLZ1IZfh5IApSKVHoNt3vinOaNZDKZG1em8Hb9MtfNzEUaCZ0W0rIg
4UWuIg1FIPKEPbhelYrxHtff/UUE+QkLEWLb6UmRkwP5PpbVMCg3a2al8qagsLJe1mkoN42iQFfp
PN5HCK/Vja+8ur1+XayzULZFiPv/OucUrfQSbJNxi6JiHZY/q05nDYWxhFHmJU5lLPyWRPOS1DbK
xOTngzTd5OXT9UMxDKZIWZU+jcvSL6ED/ijaw9DZUwFWII1ReWNJoWyEYuQYRScRxSiCElT6Mc17
wXi+fhLG96d5DcdhHHkgOSReEDWpyXHzUR+Vl+syVg0CoNhkWeZBss7TiJEDX/NNmcPYYcraE+wU
zWvlvrIHoL/1XurxLINAPjMdey7kfauwdEHXayQLJ9lLdyofUlffEsImspWRnOlTALZ/+09C+qVY
Ko2R6iKocw7HBFYXatuZE5Spe/0qiWJdOxlxKwvLIAT1BJhCnEye4zdYgx3AuhxfQ2dvyE6KPBH8
c1YVcTXzXZ6LsnhylYRiJMJGpFt/RzqvqdnZYC86skLo1dLYUhJl+OQ4xqorOZ4i2CAulq36gSAF
ynZyjG+At7HNbhHVbkmLfnZab8SE2t9gTWBdMmUTNYAxyyVQf7witIbJSR9BSvsX/ln4a7r1Xe2u
d2rUrLCc8SAwBkvX3vzyBihzqQ6aWomkpZWW+lEPuP2kt/uq8xlWee3ZL8VQhlLpI/APkJJtpoK9
matAzVrqrA1+lhDKSsr9wDdFgq/pT5kpFJ88EyN7NZFfnoMykSoSzKks8OQAnvfuHycH9FCgdiSA
4PxXiol5Y1c+y68YLLKnTbER74zH6w+ScUa6UBKhlpspIc6ox/57EQW3uhTa10WQM3x784IEZhK0
I0RNp9RxkAtD4TI4NQw6A3PW30oeIKKYycaq5i3EUJrXVOCoiEV4ghl4LXL6ESlfE4und9UwL2RQ
apcLco6WPGQMWXWvDd2TWGExORC38dhZcSQxkffXqhC6yAu6ZvAE04y6u4qDTVa5NMEeheLWD6EL
EkoDVTt+Ez5d/0qrLdWlKOr+tEjWBs3HZ5pSW/VkYNHU2Kf+7xbmVJj+Z3mC93FZnZF1wYtLpZ6Z
kGWgmiBhAkm347foBDgeBzQvp9Qcf0FTrPYJfX/v+nHXX95CKvXyBoz/NDHpLZEEJv+a3cnpjv1t
9wOY0LZ8QxLiCUBRGx5jy6DV8bo9a0ZtdeZEv/wEGrtj6DMBjBw4uNaZhYLYv/NqrPOeiRkJcu4D
ONvc+CfLzYvrWqwCZQy8tyAEp/yhVsScENXJX0ms4Rbo38VmcVJ6c97GglkcI+SRnOfv62Nr+Tec
N2yDWyywiZbuhs6wST6uf4tVGyRcfg/590VQkIOxPGxUGPMm/yy71uSn++sC1iOAhQTqGfF8ogaG
hpuOzyao3wge58kb9qQX62qpRxRwfDkWxPWKYXPUgoPegy2n+NA58Q4jiYw0a3VCAGPEvz8kZY7K
Uq/C5n/VCPUnvAZwxQHAB2gtl1DWNDtWpXt1OnspknqsXV5wBiB7EnQRSB4OwDisyWRbFRaJWYdb
dRwX40fn4TKGUoMwgEWSFVOfzPIwOKlkhq+RM+6nt+wgWLVZuGFgKk8F4U1lhXOrH3MhnwpWQ2Pi
yj6H8c21+7Z66WosjORvTZY6EYtVgOjFNx+5EEU9ScGPEAe0OGrf3EXDyyhg5qKczbh7vP4SVp3k
Qg711OQuHNppxJGaJPPKsfZqLrTV7uW6lHXLthBDvbdyklRfqYkYzDsqwM8htDtO4zaHZttauQfo
P2bwvVpGWTgwGvh2Vsqu4Mnnapz2gHF+lMWCIynbSM7fQD1neOazkV0YrbIehSbRIc0/ttsCdPAG
9mAFp7tht1rW3/niOqlHx9XhrMYKkfWkepOTu81RjtHrRtI+O8l5MI1F+Eb+y2sKSblHFds7Mnb0
Ey9qIgcMfsesGT29B5IyZzgYbAFYAmcztGZt0WXxAelcnuf0NIpKyKyBy9edEFmhQ1ne8xtpe12S
TJ7TldOdAXYWH69SZyShAAjw+gmsWbIauJWU7bpJvDF8qTQ7Ofe4unRaOdx3WWLPXP2rL3M3FfzN
kAsvTVxsp6C81btg0/MAZErraCvo8aGfVHvooONYqMsS8dEXwN8d61utjG44TTu0s+JiIe3QABmm
bhSnS/ptqUpfSRnZo2TsdaH1Eq7aT920EbGzwWf8ixSdSdY2jCtg3ABl2wy5HPuIBJajgU3j3CzQ
8LkugWFqzpXtxR3HfadGnYEAi0tFNzce/XE0feOfQIEtdYYyaJWcqYJOYhnM6TZmzWVupccMo8l6
fxLlZ/Wpq1VZhLpUE2Cu0dE2KyurzMwqnfEXb7de9MAaDWVZM4l688EsYCGjwsFGFP5zO73JScWb
dJ9AR5eY/sR4feSirj0J6sEHbYBQIoZCBMZt0h/jgRmtMHwcjSiTcrGepyTBCLfCp+AKtrQpMUST
YN2KL0zdrbYkvWBeJMOSfVu4yttu5rAgjohFcgVUQrp7wcQMyFY/EHgIIOgAScBV7MBljVysvwBJ
FSVdUzSdRgCMRs6fCh0HLurCaqNHvSpNlbUp8QdF+S2FziJ6ZU5lHju1AEnQPd7B5vJpPo3WOb51
WWTn65d5EUaVCGsRbqhXIEyPwYGZinY5b/PIy7o7qY5NtWyd60ZkdZYEG4n/u0ODtlOGAhKBFAJJ
7a7aAaUx+NFv9C9fMsn+kACoBPFFuyWTqVpscrftz5gx77aeny5+AhWbSbqRSWODn0CqsaT6C0yB
GGOWWKFN7xWrggIfixf9xEpRGepjUKYtVrUKzJCQq8oBZOKJRO/SWFrXb3g9N1ocj/yMhZ0u5Naf
uAIPv4m2WX/oUUtLjQ0atSaWuaxU3iXjZyyyuEfId/tubi7flUqUOrGVxSDH4ZD7ho+S23mwrp/T
K+elaF6yIvn1TELjFQN0Tyqm3///jAKXBImUFKht7EiW7YMTJLptPdb03HqjADP2/5NDGe26ExrN
TzOoSpzeCdm4C/zeTXL/TU2yVx1pDC9pr3WVP2gRqqMSZtEGDLSmEgNKYXWiRF/8DsqYK/EwJmOa
45t2wwFktnuOUx/QKbEBbOLqQQULP96F4JfmYuHAxcOpV6bdLBf3Az8+FqpvFgluKKiPo8/vc8nf
p3l2SMdDWon33ZDvwh51gCxiDIWsu6Dft0fXIoegSKaqxO3FVeimRW1PmXtd2VkSKPMV6ok/JkCS
90RBwMZ/N3yMA2tv9A8G+XIMymTFca7XgQYhzS8yyAOEwZ9wPsTVgApm8291jh7EqhWQXvs+0TkU
smpAMKFkx7/JMI3gBlb304blUdft0uV8lF3KW5gLNYRyCb7XBAlgEEHDyWohr4KZ6xJ6bVh1lGS8
2f9/soowgj2wARrIgO0rkM8LSHNSK/rFHWo3703MvJ2xlbQf0y2H3Evz5mfMoYG/aIjN3pJ2bWTJ
G5YdWT364kdRVqvgCy3FghR2o0p8yxF0fCVYoCSBoaar5mohhjJXviDLvcoBv7SvX5UedEzcJ4yE
WcUoSI6BWfSi2YqMnJ0lkzJdmgrsuTgBJpsmCCcUlvZRJ5/iXLF1SZOsQZV//Ye0K+2NG1e2f+gJ
0EJq+aql1d1u747t5IuQOIn2fdevf4fOu2OZrWnOnQdMBgGMuESyqlisOnXKyJsdVZL7yya5nStY
LZbzVWpXWknegYnkHW2l29kTG/VcXemRnQIPC1huZOM/0VFuorxWCsa/NgM1mEejwIIZlIf8ShIb
fURIAoNAbLrX7ttTtDfAC/hDTDQp2Gr+9Rn2skaTAJIZI0frm+843EZ8G23esR87q3GOqGmAJ5sY
r2J/1H0GkdcPis8GVTIcocgrbN99K2lcmDSDQGeQQQeMB0v21B1gsz+6fX5Q3eK+3v0DRP5mAga6
pxsGVFLjQbeNMqhlySbSJyf9GDnAsh3YLPrpufNFvPnbZv8hitvIwCJlNjCaiC6XbTwlbKu8q1AS
uWwJm5fTakHcBsZJa0RGYqCtplYdrYoxZr0WBXvbKvGxEs53G8MIpGkKB8YGjzQY9/YYXlupjcZO
V/PS27D2L6+JeaqzMG+1Js6LtzlIhghzmIH1WJqnxHjVkNrspq+R8XxZ0t/4kY+lcb45jIGakEYc
UuOG3wGzv4mvWr/9JXkg+PHKuxgPBqGJiRSDc9Rz0lgk0NmRBZk/5dZRaRdbGQ2BZmwnIFbbyDnn
MB2DTNbeeUr+IOoxs1e7Yoxfg5ctdgGmuEFIyyrSFc4xZzSforjC4pDq/80qcvoTRkmCda+6F5uz
QPl58GuqoT4zEXZ68XfwgUapQD02fz8hIJ0yFNMEm8fncAK0y4uSqWgl12pqt+EvSQxXF4ngDqmL
50qOZIhg70QWh6UhxgEynxTY1TG5D25ElbztUHO1Ku6IYivVg6YD2iIAwON5OOXetLccWdqhcuhW
wIBetrFNa/5LnCJzXRUhRqCllYkV6u2DYRk22KtsS3qIuudpeb0sSrA0ReZC9UGfCnPOoX3jccHI
LNxeKdJt9M9EFrH+bVoyNSwTFwlRKI/5npdFMZb3VmwL4wmvwujBEI5S2Mxvf8jgdVytpqJqGmyf
RDD8NpAVTIXMr8dR8UMjux2DUXNNc4rsLm99ktQCZM72o3AlntvRaSnphFMD1OMbcyLdo/ECHpsU
0+dh2gcZqTEQRcC8kUZB/1z1Zn0tC1sD1zmbWeldPl7mjM/uhdW3MN+zSjrkU6WDKRXfgsbcUzJV
diX/Kgi56zEn87IkwcHyLD6d1cUQBsdCAQ2v6HWffhnSt8syNi1/tRr289VqmnohNEphhnGWukb0
0gw/LgvYDq50gjFBFPlsjedd1QfLKgYMQgbZaXjTUE/1GOa73TW52586sK8Kw+PNNa0kctdpQluN
1gyZRK51aic/m7sUGQHQ6dtq5phgNkbwcA/Y1c/LK908rpVYzk+PczOiHRd4JIh2QFZqZwkacIQt
gqLVcb5aIWPY1qwPQqu+mlJkm+IZi5vxqW6qFgAWVNd5xWtwY1ujhPrHDMYj42ras3xl+aTuMfda
oOPbKcqVLE4B63gO0VUJWclh0dCvRBzzV+ZOe4zXdorvFtJ4exVWLYr5Nx8yK7HsMFd6H4OiPysZ
cL0a6gNSuPu4GP2oMCN7SfvbbEbHEikwL14XIWTZ8Zy5j5VgTjlD1Yh0tCcBMkToZFeL+aqk4XTo
kIW3tVB9mqrouiqJoE/8b6zw40g55VSKsYwWVtKq30eHISVxH5yWY2MDxomqtigBvJ2aNRRDNcA/
RmW+dCG3wxRhfvif1I5yAkH7Yd7pu05YO9+0upUgzh1rpFZy5PYhiDw1tW+MXzoquH62Y9iVDO55
0yyhqmbL+2JYQ52qO+19tNPBmtgzWuDIA/JHyJ3IfumZoqyE8oZBNSUrKE6MxWSgugcMNnVqF+Pd
fHM375evl72X8MQ4i7CA3UeKF/KM2+ZAfyAHCLQ2Of0D/yxaGWcCZm201YhbB+kLNspOsdFg2+xb
1/KHG3TgX4vA/NsB2WorOeUPul7vwFYDdtoMrWMIx67lx8lhaRI2C8MS9A4IxXEeup/MpOoYnBP0
iKbT3CUuI3SfjuQVLzkxaHrTlaGQrFGiIdjkyTTiIQKtC6sQ/MnJYJW+4omPbbuetZLDHZsltWk0
6JBT49hAoO7FqOVW9hDv4i/Ji+GZJ8OnaOCqX0AhHd4u1DFLdxHZ4qa9r76CO0tw1JUKsidstSou
Cwaoiu/lcmeAZ4lNtI++lYErnOC6DR5bieXONKqbfmkXlJoI2OPRWHXUHjLkqYEqPP6rANMCwzDV
wHhk8aDjAkyJkZQjKz5UX/s5d2hT7qoULF5FfX/Z5rf20pJVnSoYqAz94fxarkQSwTAJGCKGKC8N
+sMiYP7GybssZvPyWcvhXFkTRMtIpgroGIxqZXnDqsY8O9vwwRhwNB9UTDZ9EIjcipLWIjlvJueY
Rj0ONc7rWj7+mcBDYoyWH4CIRVfhaDeYlPNyWahIJmcgWm9GJtQT1YXqq6yc5kXgWNi/528ES5MV
zUJDj6HyiQBSKI0eGD1QCPrgRRkmQaeZamD+Kf3Wk/bfECdaSHARHSMAVcK/YsMkrqulhxcj/nJi
CViK48qOoiLQpg6uxHD3d0/7jqYjxEyt5mrh5CX5QwX84L84GmJoYO3WNAvEjJ/DPZqYSG+0MN+x
Kr12qt2sl53LIjajBDQO6qqOtw4BxumzDCmOEjUYoXLZiRzBebVDzUMBb/er/shSlBVoYO1KEixs
87JZS+X2byinuu402BbrwNdUm+VRgLRvvs9P4lm0mxq+WiLnMOZWQtAaNilYBDEPN7jrJhFiYesy
s3QMoiOGoeP/nN3WS5opywwb6lz0j2E4wJtyQguZa10r4PQ6oDIITvv4Vt1TjEa5FT4dt14+a/Gc
CZe9qReWBfGA17sSvY5Qvgn65lDD4kL6pQWPLw3fDCVxdOXLZf3ZNAQDqikjZEZdgNvbLtDGKgOH
mC/V9KAlhh9F1U1gUkGBfVthVnI4Zzyq8mDmBtR0dJZdc1cVmAtpOO8E4HfkSmTemz5rJY07z8TS
+8qQsKqlKHdFv59qvOay0enyH5e3b1M1V4K4kytA8QouLAiCdXpmKn+hGCx4WYTohDgn0k1zoI4d
tF+trFtl7ojdyHFtm532elnQ5qMY4wXQXoXhpeBw5oy6GpsmgV2zM4oGW9llKAyzmTUgACJu8jy6
mJcYYAjUXmQA28f1IZhTwiYZ00bRsYt1HDR23fYHNZxewrbwpjzYXV7ltiwTQ/Jww6BBlbmC1RMc
bBlmpLJFxiUKw2nl5tbvOQVBpuit/95qdHZxGn9J4ptSkw6s0L0GScrQgkQycNW02ClDfhPE4w6A
72/LMHhWSI9JFd/VTXJraf2zbOoHKdSOeZu8YK7voRzIK7GaJ7BMOdOY7ROtdVrcugpGirQ5ded2
eZYBpo0o2p0CUBxaWmSPUVDYki4VTgfairJpeidM519VrojMmp3M2RpZe4MJnUFvDKecSz3JSQhc
tx8+q8d4z6AUljcc1bc/7Iei6GDTFlbiuHi40aU0QQMjzG0u/Tl6nqUOk4KfLmvI5mXABozLugIi
CT4+nTFtTZtpx0IQrMiPffr+shEmK5g5ne0d6/BTqY77m0c7ylMTNjrGImAQQ3WwMImq2rOGZZYa
Cf8dHxtW8x9pPOoRb5do7imkleR16W0da0MeG5Q56qGcbmIgsQH8l933iTHu5Q3diFFQ+pBV1cK4
VzwveGhKjLEl4wIj9xEF/Y7ujJ22B6/YnXw77/oDOf2DIRdM7z7v7WeJnF9OF9VCDhSrZRgf6Raj
6xa32iWuCpdmJ8/5U2Bbz40T3oraAN6ZNS5J5ixiaMOuH3OsdXljBH+gCgD60YDjfGq/pu+0uOFO
ze3mS4A5o+0PgleIqBv+3Cg/L56zEuBbs7wrEbFnJ+0Nx+wTzMgqwIeEUJqhmybRfLmNNu7PEjmn
qpuxlgz6gDvqXtVdDJcD92pJbOLV32VPd0IPPTNufEBH5MPwLOWe4qW70BXt/cYF9ukzeIRKnqnR
MgTvp06Xuz6zS90GF7OLaVrHRD2CEzvH6TN+F1cSvJLYnl44dh6igquzjaYMTiOi4deIaGB2mZur
tK93RLMcRQJvXFw9C+xKJJS7sNNgIHXOPFX8HS2gTu2Ex8wd7lq/9C1ncuoT2aVfs3u8O0UBlsik
+WYFtTKThJYQnZ3ywsNkYUa1AybhXQOWwAY432wv70VTyzYgC58PmIsih7ENB32GcZEKjfpOARr6
HOkghvOPMKceBBPsnV34ort8IxHzWTAXUC4YNVSOPRR8Pv5fF5/3xl6miTAPcx5RMkkUszSIiSej
xcVChaSaATjcscS46L1koK9VMIga9f/m+CxF14EUtAydW08yTWkTAdoJlqTZ09zyPnsMj5JD4CMG
v5VwAYlKLtvr+pDIeWQSTVrVNZAY9AAa9m+qtOwE5rDt9D9EcK63SIsUHEvYOhmhSF+zEaLlscYM
hjtMRANzRLqTEk/DIPXYJ4advwjEsxWcuQBccgpyWqam8iZhBTRVFwrx0Qk9Urq/uM3PNrX70sl9
lgLS24O5w/vuqyh1dx6wQGVWgjmrCLS5oJMKwQyjVOwY5X20V4Ul6G33upLDKc3cjVZGo4XZfHHI
7rQTPOsvhHtOeCf5bGJo+CYOXM5DPrY4HYhWTVMVnU8IYcR0tSyZDL2JXwpgdmLt52hktuDsNrVz
JYXzpCb4kudKwtLY8xRdL0/gsMLC4gEo5MZmVPZUCBfavKZXMjlLp4ZSyJhuxAoSASa52cVjiu5L
ikZr6kzoRxEyUG48wj/vJacoBckjAqq+PyUQ86jtzUN8mDyW3KgcYRvIeXz7WRqnLn1P0qIcIG0G
B1l7Q/fdPgO2xzp214UjRPZs76aF9xaK/ZbF41GCfp6iIcQJtp7sZHcK+N6GH4bHYp6lRr+SyJ/9
zWb+JZAHp+hGNnRyB4HknpUEwJgK+OaIamPzDbO+nMsKuulbmAGgSQGQGz6TmAXxUGsqQRtR0TiJ
2aLZGZO2xu7QkcfLkjbS5ji2lSguepTTLDfbFKKU296rDhqqqPSmfx28BD4FdnC4LG87dlzJ42LH
cEyIFkzan6sIk0Meg6/Gj3Cyxxod0IODacRXxY3+xsYeFb5ymKFL4Hy4FfWeCXaYb7ZLSFAbcoRl
SzJapsanLAZkA3jIVlBK2vQ0H8vl87XxQEsGXMIlFb0G0q8KSb3LG7odq6wkcL4MRhD2gQIJxAdj
5dWfuVGmzYYJ/rswUNN1vCspgMU8zMaMZww6ktlqEBe1jkrdCDWxd94tt9xhHnovnjmy6VdWMtlJ
rjI4aixLmaFBZucqu+lxxHGhnyE/aJ6kO2JC6u1rbyWPCyssczImEDSz/VQa17yPVJfuWj96xNy7
q/E1qW/YvGxxxLQBuGeW+LG5nCUqeQpaM0lhlxLC++fgd/tMYxCal2h5xj2hOPJp+iYhHyicii5c
M2eUHaaNyl0Ma5C/zY7paydmlrmjPOQnI0JLLeNXAl1G6Qp0d9OLfyz5HS6wOts6HclQdNhrDOva
WegXbo5s9mbnLV5Zu2EKwnFhbL9p+USjqg7GAI3wFlkmCjHVRMfj9Z3nu7nFCI8DbkaoseagCMom
2aBs+K+WuhLLmalMpcFqTOPP9Q/FPU526iy+bqOj7xh4InzAe/PCWXi6kse2frW1eiRNBiZQMXnh
w/TUXsfETr9Vd8Np9KHNbuqEp+loePGBuKxrGhP7QM2QXwUPCfhursuddFi+jD9EENnN4HX1WVxM
YszVYIQSxYlL8k7VMGO+Aka2IM4UVC5GimPWruo2eSPwktt5mpVcLjrRqGIOQW4CePJYA3D8u78p
3rEuy318jQcK4j7VzR8Hn5zkkxg9sRnVrqRzPgz81YhrCxwGkb/1gJFKRWiTJhIsUrS3nOcyR1A7
5u9SfMbjF/uMcEMVpu+3Q4bVajhHFbdtEFMFq2E8FKyBL763HiqvPnR+cZ1di2440eZxzgmAFKBy
LRgsGDldpTEOZvDFlBfB5m0gT+B+P1bF5+/HWAuWMGZnhK4j5LOugeg8Fj9SECZf6S71NafedT7T
DdVPOzt4EPHcsuM5t1gd/bcKGIuAwf9ssXkvJUknQUUbDYM6aiRtzbcvx0ndCZzuRkhiaZDCau4U
nUGcmhgEw0EIC0nobXFQ0RAP4NC1euh3I9LRoMI/qA8CiRtXOIr8msIK4yC446Gey1jGNKhxgmXu
sRFDodftY+rEBzThX4WPIvqS96c3t5Of5HFOpg8WY55HyDPl20TCPK+0/KKSe1q1YEY2i9HGZXdq
RhXP9gYVjEg+xWaISYPSnk4YGiV/CaXcWQJENiR35H6y5eSeTNlzSZ/Ram/TVP85dJiEE8SunAFq
on8zl99Un22Sv6blz3Ye95d3kFnU2YJUgMtkA/3ZZ1UsI6m0aF4k0Dk2N0aJlglyUPuHspftGulG
Mnei22orIrBARvgfibw19KlS5c0SoPSS/Q5SkOnI1sOggP3MmvtdlQxOVmmOlfZ2L73kQXhtdKiv
daFlYVI7BlZU38JqedRiakdSC6b2RqEAnn7F9JRTbU1XYVHZrRrYiirZEdBHyCindhpFbjhgxBXj
J5drZ5BAIWJRX5dmO1HCI6YduPoEjgNj8IgZuZWl2ImJQX/qa1Wnd4r+Q8mB/Fm0B0kzrruJPg5y
cFhkxW0W4hEjdqPqOjATW53f8iF1AqNwlxZjBKjm9FLuUzO6HWPVV6dpl+gjMlc1prTda/PwM1Z+
Ll31OwRyt80GGzZsm0vnglxl1yqWMwRoyu9POTq/lxDZUKt0h7CxZ7qX+qciMe2+HlDhJ16gWnaJ
do3RsOw4nV9G66E3LbTLXbUTQClG+lBUv4o58DLrMcI8x6KjdtohtZU0dhAaHrrF/C6ZDqbWH6So
g76BjCB6bpTbdvxWVBoIftvvuZqig6ywAyBe7Mt6eO46VIr0IboJTVOlJs8TEI8oKyWdFvnmQr/l
NLlWhvC/fjAxEYwb26QgjeGLR8swpYjPIKKnwfe8Qp2qovOvf7OMDxncdax0VO4YcbyPeVBOQvyZ
6oKNOg8ysQrTQicVui/h9DhfnihRKaO6HflS17qAC5NOtrXUTiJTYKnvv+mza1CRJUMfuI54FgyY
nDc3syHMZlmN/KXTcPumdHKIImEEeWkuTgRbm4tAvyJt8qgoxs+WbSitqmsNOANGOf5DasALPRA0
NIcJhXJiimc/GzdaiQYGtc+vJ627KaoRVejY7TTtWqvoUS3qNyBrTktV3kltfrh8Oht7pwMrqCkY
Ka0QmXKnk+qLpsdVFPuderfAHvMSLxHUw7taUMQ5v3BVXQEuUaGEYIg1D3XLor5v8z6L/appG3tq
LCQasvgYzfJ9ZnW/DLUSEDhsRE6fJXKRkyaXOlhYIZH1ci+uYpeTjeeOLYODDYPoRvu/D7c/C+T0
cAnb0JhlCCQ+45ZF6ehAduKQ8Px+YmJQQ0dvmAEwHxddIy8Q1LEEops63U9h+NiCjUUd4Zuo6QCv
6Ei4qS4ryVZt6NMFxQHhQgtTA6M8zN4TgO8Bm0OQzf2hwfc66hsIHkHefkI/skDuuQtUPslVP0dp
JVygFFJcxWx4U4zC9rSPAN9yi/1y1HfJMQ6EtRR2SJ9N/LNI7imnZENQkTkCkTrDXFyzrvHxUAmb
dbcySRaCacLQHTAKHgmRVumk6iO2NDnUNwb6xRXMz9AcdR8K028b9LJYE8yOoS5wl/BoiCzojVIn
OZOl/wbF+Z35swTjix2A1K7dMVLZ5D5EQw6K5ghyroLvmS9M6bJ9O9vXj2/gMRJSWCrViIm27ypU
P9SZl+wYS2FxM6tOdp/5meiNce5xPq3a4pWW1CZpAqy6ZQ0yhwoRkAtYxi8wCS+mHe1QD7ju3fKp
Q74FhEnf8p11VO35Kr/tsBuiHOhWWXB9CDx5FPjMzHoCqRnSL6wjFy+B6Jh+ecP71K+Ozeglv0T0
50KRnC4HTVROeY49b2A+RmyrXxKkIjq8v+UBhRfW/SV6P27IVKlqqWBzkE2gmvmQgsgNGYKownvY
kXYgv8RcH6QtMaCgf2UzRMYrYS/I+Tl/lshdYVZTqZNVQ+IA1uLaM+9ZBhFR7U8MpnU6j7UQgCb4
VpSfPXcUn8VysYBkgM4obiF22g2nAiPb2QtL3f/3dA+fxXC3GGYWhY2klKA1a3bG0tq6Etl6oAqM
ZWME1mcx3N1Vt0uN2BliatQlYnDhKT+qHYgFrw1vQcLK3AOhazepLebqOPfxnyTzwBJdnfopZAts
l30+J05Si6Di5zmNzxI4R1BVWR5aFBKUukIYdjdH30NDAHPe8LEIQtFWaKmWaYBkj7uVwy5ojdhA
mLtEReanBQjgskTPHEoX09erLHH1hab2XKO7ubFuxkAf7HYYQPiZznd6VD5grNAN2gRjO8+H535U
Slcpo8yzxja2ZYr5wCPYsvJcBGja2hwLTX2ybMkmAKr8wetBkGoDQlrU1esMnDPpPgVaQT8BGN01
oHRgl3t0TZ8EVzu7uj/fByqICFHMBweCTvEC+Xy1R3mhLsaIwnrpga4+3PdIRY93mGMt+az/TlTH
39CyT+I4V6gZQ2HU+ohKWDJHdjOEB2qKWjI3PMInGewbVlngkKIkKxWoWiaafKwU+kiNBIh31Ef7
RAZJJhD2IPxSvKgmr5d3cyOKNwFzRCAB0Akr0n6WPAXghMF8OwDjmnCwIyu17LYEMedk4TJLVYGu
b0sDNYGhawzQzO3llOZLhHGEiMriaq+qxc8oBBVCr0zUnvVY8ETd6GKEouhg3gIZgmKd9Z1GLfJC
gQ5wy1yMN8GCB5GR/1yiDkQxWnOLKNkfRuysQfKXqW5EQ5A2StGfxfN6WqnmUqTQU+KT36oXHlNn
OI5uewiZlj5cPsctN2wawCdhvAIe/IRPSyITUwXNDGnGY+AbbwwPpewtD6xbbnGFSo2T7NMdg0yI
SiYbOXus80MyXx1SyyosDAmS2Wup1e3mqffLB7RrADzLpguZJWb8tqfle+fEbr8XTVXbtB2U31mD
ukbOWh6NIO7M4k+xM4QDwnvU+ydvJ2VTDor8rIvZUCnfk0GWLNfMRWXHOT6TwNNe4yv60uuYcVIx
3iFH+dLcSOk+RGVKHARuOFvTWEnnPMQAwvomLpANLvS3saM72v0AkHYnUCKRFM4bxNLSSoqKNbIn
TAeS7tQDJBg4VfTf34yH1CWtYyV3Ihe76RZWi2M/X7m/IKAlaSnEGuqyM7PCpbPqYRLirdYTATZ+
05uvRHGxV543VqiYKKFWhvEtAb3lYrZPl3dRtBou7gr6tkMBEbWzsryrcTd2+s8MqFcMVLAvC9p4
CcLyVovhb+C0B7DOwL4FZXCystyppxfFkOw6TfDX1I3K57w6xUrhSLNgHzcyz59kv3uF1ZlN46LL
g4KNZFbPRhMboAiNDsCuO6zHrSj9wpPcQXsUvRMEJ/heIFoJ1nJiThj3AztcWqeQC3vGSi9vrMAM
3iO2lQgpH5YJNW92cbx14zelfpjHt8siRKvgb8Kx6vLJhD3H2letbmwVAfplCdv3z4d2qOwTVqtY
YqUPRw3a0SIwn2I0IQ57wqhxvmbI93uie0Aoj3MeSxfVQTpB71tPsoAyZ3DnFggl2a3/wTQBgZXx
YxJSRe2Whrn9IWvdIstuMznypDk8tIHycnknRerA+Yx5QGM0RbreTxdMLG6rezpmdzqZvP+fGM5v
WGapIUcMrSst1PvrkxK8SJ2ofrp9i6GzRSOmIiOl81kp9IgOk8YO6YMgACPkhEmqbfX+EMOpd7Vo
RphIOJ02W9DuFHs6FaFDt0/lQwSn3rkcgKaCGWmKXHg5qS+FPvhJlD9ePpWttASc7IccTq1LDFiS
8gpVSlA97808vpkjcp9X9FuSg289kZ6pkqLpq3vpy+ZJ1aqdPlX+FIOYfZAF4fN2RLv6Fu6irKJe
JpOJb2HDCPCktIn6muqZpyTE6TLdU+uDmVusBuULdoHp+Nmjiw3vQrcQsdSzBr15VjIzZIAQ8PIM
A8ybTQSUD2w0CYtpCw+R5VcxN89WLv7P1LA/gvkKZxnnao+lMa9Cjuqx/472leshtHGhemB4FudX
3/3ihaVS7tE/K/GUAcoK7owIEMeuu8ny4S2MivtBsjAmPjk1S6Tbut4eo2L5ElD9WVXS0pGXcnJU
Jfmu5qZvRMsdXTS/UxBHzam8JwkYhMxAfi7w1LP1CXAiI9oLDkm+fEiUM26zMuXJQAu9j3JXaQ8h
BuNGy67r9N3cRY41hDtpJoclfiJzL1KQTX/8oSB8VjrpyzYCRw07p9kbbou7YsdIalLEP7ZuY3TG
cWS4Q1E0IBLLeQGtUcNADnFYS1PZtHucrWOoaO4giyb0brqb1fo4N9DFVDKbHoJUAOCGNnoZtNxL
GlFddTumW8nhTJzSKq2AP2QOurxBdRuAD8Z1O/wDdPamk16J4u41FHBLJUdqCQNxKtdUwJdCXwQa
KToe7k5rG5omQYxdG9EWxCaOsLZlNosapJ8uSw8u1/+EFJmZ6CUT5gLjEBD3xWTKaNVu4Fc7CTgu
dzrWpwW0uqJ07kaNC6Hwxz7yhO8IwTN57N9VH6AB86jYVLaNH9EOfQqgsAREKO7fyQgvb+723mo6
uH4gX+e7fJWi6vVRARCJtgsa98NpP2fdQTLNXazWgnB/W1U+ZPHnOKJZFOj+1O8xWRBzdiRJODZp
+8w+RHBnNqiFYuYMV8UcyJzay0txhZze/eCHmFLhXd677eeL9Zc0/vmCErlV0QbAGfZ8AbrFAbv9
F+TaWPer5kX3wA3VL2Kq083wayWWu1vkqg7aYsYiGQq89bv9ny5mUev+33iRj+VxN8ESVNHSme+b
GfjI+8cey8cbfrZvQkdUaNgOSyygnoADYIAKzmcZRd9JEmsWyAOUAcmAjL8xSXZvWIeyzq9ojcEx
xth07hAtGMowEUdwmmw5vL2b6M+TDc3QUa3kws0ebItF1sLNYEb7aXGRf7pGsg3upXv4B+RX7Ldd
ksbdORVGwTYAp0B3Ri0HaAqc6325uMjuP7VaNdhpM+JH4zV4TQ5qQh5KjOZZtOQ055U9LT/7Cpdi
iGAymqpfqjT9/p8sk+vFyvEbi576SSHZSmXYSmIJ9un8DtNQxyWGDGZYFVRPnMNv8LPUyovcT/NH
2l4V6j2qB5ePYlsExoEa6DxQ0CKGvVs9OmNlkuMWzSo+qly2nGl+aep2oIW7y2K2fB86GFAHR2la
NfgkQAfwV5co2LAaLNUZWC9VuXTLBsiMORdENmxTzk/7QxRnSoYSNQA9Q7csDNCyraaFV1+617Al
oPuw5KcZA9jsy6vbNF/2PFNQEDUQ+HIHpQ9mzIJQ1jvYHWpH6wBCJ3atol0kOlai0GbTGa7Fcd49
qoKpMJD7h/mEe7AAvNGr8L4CsmBw5F3+NQan7hfpSRf44PfmnbOdXa2S8/ihBvBha8FJNWgZSb8r
t9phdKoDGBWRU0WAgLY009VPqCU6jAGUoWKs47Svr6PbYv+H4Q38w2CZK3z9psMgdAmNCCJoztbN
t9ob/nKfghpt+youii4Z7kq5eUV01v7XdqmaaxncrVCDMp1qKTZi0dyQ2L36rEuvApXaVOOPzdY5
NSaK1gVZDBkZHKTupw+9n+ykm3Zn2oA3+MVNuZtfQle0fZuGuhLLeeZ87noMBIDYUladQvkxRwUo
HoljDL17eYUbyPDPu8i55UKX5ShtgAw3v712pa1k7wyyzW3uN/t0tIv94FAf+B/gf3cohbTOeCVa
7UZz0OdvYO5x5f6icjatqIIlsXaO8QbkFrfND7xXMcsFSE97+Tbv+x9i4lOhXM7t1sXQy0UBuf9B
rC370WeDdDvUYasbvCA8xl+i/by851vhDKh0KLUUhp7k8ZPTNJBpkSH2P9mkcceyScJwhinnmaf4
kHNW6WfOtpDgg1GuIzOakAiYzTBCRgI7sIf2bWH70abargRyFkksacmlFgvLgkPYUkefazsJkHMY
7y/v4GZ+Y7WF7w1CK43JKTrntAFa27nFYc5sza2hr8Z1fmjs8fEfNFZtOoLV0jiL7BZrCcIJFska
q0xvAvQFQBugeyZndvVD501e5onTw9s7aoDsBrxEyhlh4TAvQxgYAOSB1HinEGQ3VSeo+qO6iLL3
f7OlH6K462yWGmINCQByAIgeGMUkAOs+xqB6ko83rjjxzXbsTDuBgUXnBOqu6Az8bPTKqBW6ZLC3
xK2y654yN8LjVn4bXUa9Groivo3NG2kljrP1aWjzVJYZ5n9E5zYQ5KgHiwKQTSVZyeACkE7RYzms
cFqJBOK9NsZU2dC6CjrVqZPZ1xY03TTA3c/TclNLKcYnJidgp03XkGtv6UoXA9d2Y1F/mTtNFOxv
KhKy1wz8CHKy966SlcEofT0uJgXMMkH/DbW+lbpiRzngd9P4b67llSTuQkksqZDGIc78ogMb6qNV
NnYRxe5lByBaDqc8DXBBs1pCyJz/qjDjRbsNyS9jErzftyPK1Vo4pVElVUvw8RBzJEcC2v3iSjuG
ToYanRCvuG0PHyfEKQ+6ixppmYFXDFXQexjmlQHwESL509SYe6tQrgpr8YBQPs0FyBz75diTUkZO
FJH15b3dyN2zB8/Ha4T7khlUz2rX5rnfN5blNIt5TQDnQQtLjskDpH5oZgW5ySFgZJx4lAWJ7JRL
czVl+u1Sgzg4KefD5U/avDFX58D5pqyvCEgCoL2djldLLsfOEi8PUdQdawtP1qi8z6f6kJeKQM0U
pkfnTurjULhguy+lehkyKECk/Sqiwu1l87Zuxruyov6gtF87TK/QjGWXpgYcSmhbIx6pgewoAwCm
Wexd3gbB1/B9/U2bL+haYkYMQuMRL6kMw0GtRZQd3haDQRMaSl36GW/tkvTL3MVYdL18txJih1rn
jZkm2ttNhQeLGpAhSLmcterlCu00TAHNgL1pDuhduw0Ob727PGN4jfMPgLJbaX5M2fxLHKdDkdUu
5qDDvoZdhW6B3Adc1cc4ZUeY2dy8BlaSOKVR6FyAuxz713qIFZ4BjvWIbeFP8DRgViED+CG90Toi
zDdbwZmy6hZyFCao7Y2zLEI+KQFYjEFgqM5XbTi/1MHk0Dq/iyN9349daxNTE6jkZv3aXAnlnIU0
1f93r1LQBGm79p5BntkjNP6qCuddbmmmJRsgCKI6uoF0Tlg8xHWNKBPVSzM5Tvmy1/XKIyHZXbaz
zUWt5XC6UsyDrgQTYiFaK6DpTdOnQLa+I/F5yKfuS72U971OXnGl5nBGSb1TWz2z6yAUYVXOrzkY
oYrgDxxamol21s8xUmGQxhyRpvMxPft3S8uDEYMSmZLKbub41+VFn+8tZL0LQ0oSQ1i44D0xYotM
PWQVCh3cyNJmJ03kfURrgeGfmwcEAcWIQATMrMrZ7D6pyuUpUjJfIYC7Gb4cEK8HGXEov6maKFDY
uMLBPqYDz0h04IQB7Pi8hSYx0XJYhjnAWSSzEY0hPbM4FXBZZN/vL2/hxnXxWRj5LIzOOVgZcghj
PQe0ceMFY7IwdTz6X9K+rLlxHMv6r0zUO3tIghu+mO4HLtpsWd4z0y8MZ6YT4AqCBLj9+u/IvZTM
VFgz3RVRjlLJ8hWBi4u7nhP7AM3qjAP402Db/g3fAXJ9ZPZMD02bgH74KLfOWJkXFHKDlwCdoXf5
g4jY2jvoI0RgntDbS1fEuT08FbjIi4DKwx8aAoGN87MtzY3AUN5MNrY1/LDnHxdW9XfL/fHpFls4
N2lZ6irHqnb+czm1z6RX+0AbsShBVGy3T/4QfGFzc2jn7vlz2b87HhANFDTTOzKw/NYf2nIGdLmp
qNYVE08cVYiwISCHKNhNQ3SEUeG15REZNbPMLnhh547+ieRlf2g16qoyCFLCA/nmFjQJOpCF6qu2
ef38CX+/ND46ewtT5xTMlBRgc5gIBntQRkCNZ3G3Rra2Ag/4tAeNfVw2Yvu51HNPd+piLq7IHky2
CtSJ1Vr0Yj1M6ppWwFso7Jja/uN/JGqZBZFV0EvTwQOC+jqspImJVXCYjN908O1zQecMKOANYKpB
2AMQgoWaCjJhFMwV0JXAeGK8jcmIZi42XzAyRxvy8ZbHhgGGPziGzpiWX9yBYvSAMOU38M77tgsx
HI6ZaH4h8Dl3vE9lLJQiM1rMixp4FCNF92r2oHw7GppHk90A2/2Cop9JPHx8oIUuaF3XdQHwTxjN
4C5YV5vsbmYhIKuOsxDTJrgnFzTi7Eb9awVd82hvTmLh1KmaCbP2KOiUNCoAbKgwGmLx+HN1OKvi
yEBjZtR07eC3/EbT6tGaFfKogOsJeWf+6AfYENmsgra6/VzWO6j/70qBaQjAqVHrN7zGXhjKMG2E
bKNE37oIyOMYYLi4HJ+Myf4+Bp0IRWM8ZtTbBa0Xd3kAzC7kcts+LiZ8vdIRK+o3bxblPytWvAST
82RUw1M7mbFD1LNQ6nGS8y5v7ftKHSf6On0QtSVDkGHfVrKvIkMad242RVmdRoObJ0qhD6h2V4ih
susyAF6xW9wRo2Nhq9k94c5GkRbAuZN9ACVOk1xYkXOnxAHGHMXq0t+gFqu2q9Pexh6TBoN48ADK
sLKrC5xgZxXpRMjiFmxcKq2adVj1lD83GTAIJ3sKy7GKPn+Ys8fxRM7CsvjgVnbsFBXIxkLJHagQ
Gdjd5xJFYRxIwi5IO1OYxoF0UOx0iQ0iiSX8YIWoLM8QN6x9mRV7D+WBUA5pVBMUp8cMcE71/KUX
ognLmq/rMr+URzt7Jf0pf4lGyGpCdDrA+oCzZ5816WpC+iocmuAQeKBGkuzGKuiFa9A9a1ZPhC5c
KLenXQuggGpdNvyqlRh7NoKfnLeHhrZAcvGn2JIcXKRjf0il9UwG4E9Y3bAvejfRDqrm9rBqam9X
eiam9mS6Nm1QXNCiDkeZw04Lv04Kv3iSDlwls6BAcvTmsOimHZn9ZyqIiCY97BuShpWnXzhmNx4r
I99YneRIK5TXuSGv9OBf+x0QNcoxBfZrhxIneubjAW77G9P5LxIohTGdScdZqTCEy/ND6ZdyzYDM
P3NMmfSM3Pi9e9UWSqz/HSX9l9YsB8xatxkxYgElDdLyajRsTFr4q1maSdHSIh5N6+5zeWeCtA9q
uhyLIsZMVSWgJvYoQLar+3Ugyq9G51sRupkxKFXe4qK8b5shjU3dZVvQfD2lWWNfuMDOWgEXzZ2Y
6nPgFB/fP7lOZj8vcmbCCvTpq529efXBLi4CrF4ScrxtToR4vObNcBTSkgiYFnM83XRr71sR5UOs
Y6sM7RAQZ9v/OyMn1vjk2RbOhtnbCDZ1i6sSbmDNgOdfqM1I/uPHWzgc4KyhtHdwWdYsOJTVtBoY
gKLZFER52rVrkk+vKat+IprbK5Lu6cznyOH9w2S19xP3vlX9pQHTs9f3yZMvvBLi2XlvGrAHls0j
fxzjwaviyUU0p54/V+QLW7v09N3CRFPrhK2dXDCVID6VKiyrH58LOXuF/Pk472Hyif44fJhdKbGR
pHdvAtKvXUvsfTqucxNVivzSeNmlZ1rcjMrsfC2O+1kYaaTZFI6lHRZMXDh6Z2+Kk6daXIy9CCaV
UywdBxh+Vfw0uIgN/ZqiUDb0oa7bC/LOXhIn8o7vn6yiR6YuTT3I84zmXlA0mbbiwoDwJRELa4Ik
v56HAiIoes4s8l04dfKfqcLClADZ+x+aTceH2fPDIpVRbWsoNngkAfb/70hzQRpmI7uIVrOPS0bp
3PscCDdrU72OwAsqkfBBjqJrjY1/iTf8vNb9KWuxPf1oDgWve0RgqXU1tfZO9oZABdq+sILnbcOf
chZ7NBSkGFwywDYE8JJXfpWHqZtM8sv/fekwJ44ODIyKW78BUlWTrklpWLD5ln+oVf4r5cCOdBuk
JJE1vHOs8eVzgWev1FOJCzOsgqIhtp5xpbadCgMHvAQA9l7PgEgqZ/HQd+2ODs6uM7gMffgibjV8
xYCl3F74Huc28vR7LIyvtOcSQ8B4chXn3QYQa3MI9HlgxUbkBShjQ+yOsX7gO3IhjjpnJU/kLtuW
3LHRiK3Mas3GdGXUZgina8O6bxz4UAFU6fPHPHfUfRPYgUfAsWNO++PR6AaP2AEj1drpysixfxqX
uODOL+OfAhYn3a+deggy55j6KEnooRLQNfQnL0v3wiE/0wuHo33yKAs/AeRUosTY3DGGP9LLW2EL
Wm10fLn5t3Hjox8ObC0ZmFzr7+winvj7Oi2DX+R3wbEIFwxdUwttSQuZK19Ca0GnNH3Jgjnf6qJ/
paPxcy5M+C1oGAwDXx0GLp6GiqpQ5HIf0PqxIkMXqlKnq5L0W6bbW1+4XhxMdAhRjvVAfOJdd+Z0
V6mAR+4sqtCp+b2jrbfPVeGc4mEEHVgW6Fv8vXVRg49ympiNhIuwE1/ouERYkfUPlKHt371wzM+p
xamwxSkXEo4AN6HlGXFgHXVkG2noeJfGrs6p96mYxbZMUnVtTSFGV02wyufG3I22EVOzvHfT/Idu
m2+8slbSVA0afYt2NVXumgfAdWWAZazVBR09Z7QpANF8KAiabJfpudb2J+Y7UFEzn5MBdVuQxMaB
9zjoC1mBMzPvBA0tf0paXENAIMlIm2Izayn1m0TuZE1JViRF3q2dqe8iz640SD36HvCOLVCwFTq9
R+nb4TzTqxm2ze3FVW8MSVnRIKQzWZldYYUqAyjk53p3VhVOvurx/ROHxrV0XpqpiysGqJf9YMTK
SvcmmZPPxZxV7xMxC0PUpjNwWSes/ZzX97kNkFKZdc9NIOUNOuAfAtVn7MKTndW+E5ELi+Q5RmUh
i4XttvrQzDSGnsnm86e6tHiLc9Tl3QhCWSyeRVCFNPKQ0JvZv9QdefZB0AD2niRFN/zCgaqdNPUH
7sO6VU6ku4PIL9WNzz7HiYSFvnJ8dQXsEdgD+QuMGvFgfQGg6L9z/E6ELDWtangflHgMH6OWxRAc
AJOY5HpKgMX5/fN9ubRiC22rrAGMeAX2hbUzkEmLjaqHC47CJREL7RobhVavAks2NsZBZMWVMg+f
P8RZc3WyXgvl8tIMVYsKEnjx4movNL0+rtQQNs4l1oqzlzc9EbUw1ICCNYghsTX2HaBIkDYOrnoe
4rBi/gu+FtSuyBKMQRax+eXiFMwZ04DyGlK0nmfiAlwi1s9z7wIGC5tVBRxAtobsEyWKbod01o+0
aa4JYXfc5F9EW705SOteHVtMH2aXiQhsZN+cMp/CrCe/Kt6JKM84W3++D+dWB18QRCVAgCRI8iy2
2hh5a2cV/adr04W6WflNbCGxt/ETsZU/KxW5Os6L+FIH7xkt+yB6oQNkHOeJDAGqZK593RlZXM2X
+gIviVjufUBTI/cgQqJQNRjjmnjqQmr1XD+ZhTq/b2HUCDisyy6GvjH6Aq0pKDG+DAm4qR9AIWig
GSXsf1nJkZRAq1BXF+z/mfPzQejxwU9utiID/gAwZat1Z+08QHoxzN+16QNjl+zzGev5QdDCsIGp
q2oLyer1LECxUjqxM8goANTz53p43IiFk/tBzMKoDeastethEWe1Dbha58KAZ7jRKsMYlQiZ9WMS
1QWZl9ZwofqqTi1ATvF6TWcQdEyv40C3RnFVYk7g84e7JGih6OiyLKgEhcGaURFqCmygadumv4h7
aWjnrLU5UcWFuouMF2ZGgIfNCrIvBAkn+yepv48Ah2udS+16F4QtpyWNRk2qAszTumyBfWTmUWlg
pMFDdyeIV4Zx+/kantVDtH44YLZHTXPZvzN0g9PZHTbLYFVI9U3mZWE/Pn4u5FyHC+bTQApnO06A
sG6xgNZgFoZdYqc4s1dAP99oDZpG12wjXUrzO5G12niZBIzeQK6bFFC5WqfG99J1yhuOdoJ81nzL
BoTXn3+x43H+7XgAVQ8oRMf+t/dRj5PjDkDDodY5NrYcV63fhHV+wak4MyxCwIZHMJwGgnHyG4Bs
ix5YjkRtjR7UABCiCGNQNa2aZAYB4abw83aV9sE3isJyOFvBqs/0xrfpg2jrW6cMxEq4km0HgxWH
QGds1fjphbjj7CHC0NORhs2x6HK6b87NANYA6tYEILHHcDOx3JXnvjrTpaU4a4tOJNkfbaskxBPa
x2IrcGTwb3WcywQQ1iF/kE9gMT6yNAVWaKzbNTV+TZc5Os4dLMuk6FHDmB961RZKGLSpGjw3g6pb
IX6O8ZGFt/9SplEXW5Eb2V+q2+a527brS+7K0RAt1Mw94pqAWycwbXRff3xys7IHobhXr5lVmZE0
gDppO6yKPU4BmZzRl7xrrl03vZRFPdfG5h6zRM4R0MMMlh1ebdZORla42FzTWXFThr02vte6ukPH
CSLaW0CAh11dRWS095MVGBcM9LkmDchHkgVj8+gwWNaEkcsf6VAFuOWsKQx0c+CpHaYVyH+bn7Y2
w8LIdk3x5nhZ1Jt8w4m7L1NxoS3ljIaffollYVh3Q5qz2a9RdC53zH6pSxXJzg2VaC7cfOf2GQCO
aIQMXBsnanGpV8r3W+owwHHlxmb0f5nAIcmbN5G91LqMiHmpAHbuyU7lHd8/MV9l4/a5P0JePnqR
Y4yhYd81/U/pPH1uJs/5YoBN/fPBFlf65LgGgHm4WI/U/spZACwYUjorh063hiJxBzz6sGZsl/fs
qs/tbWdVX5QVxJkbxIVfXwhyzrUa4OvgFINM4PjPoupeEmdKAyMTa69+rvv8xjVr1PV2glhhKt0w
1/2V3Zghs8WFcPT8Bv8peGHCUppnaeXnYp1KcdvSMdINhh9bpNfJELpGuh1Slny+9mf3GGcINLUO
iMOXWJNumU3ARC2hUxw8XLSJPCaSuacRzaYLV8FZcwGChn/KWtYUW3toLHAxCeQT9Y6VPxWaURsw
jlrtg0ydrdPmkdMYKx/0JGz88flznrHOQDP4U/ZiT52OUmkaBXrfmnHdmSCq1mYEAC0sLXJgc37B
NJ3xez6IW+wktWb4Gh7E9aMRY/IpUs1tk1f/2eYtY5iydFBbpJBi1r9q/5CRLs7pV6sxLxieS4t3
9HNODEGjCOX5Uc7sWLE97iW7N1OExOOe6UstpmfPwMlGHVf2RBYANcoJ03Bi3ZTGFoZnVcoRzVnk
RjtuPPZG4rcXCwXHzV9eoKfKsTB0I4pawDvCufPGDFlN7w3guhvmuWE1XLXlvGs8d8VMcldQcF/3
m88184yT+EFVFsZPz8U4+y0W11VJPaQYVBovmJUzyogqhEnR4e6gcWKZZPY7w5VjIGFenR8i27GK
RUF+KYg5V6b7IGWhJFAQq5xtSHE6fi853bYTOHZTtgr0kPhkjAKQDciu2Pke0txoQfLtf6Bm/feP
8f+xN3H79y3r/vY/eP1DNFObMa4WL/92AF3Pg2rf3tT+tfmf40f/9asfP/i3ffajFZ34pZa/9eFD
+Pv/kB+/qtcPL5JaZWq602/tdP/W6VK9C8A3Pf7m//bN/3p7/yuPU/P21z9+CF2r419jmaj/+Mdb
259//QPu84lWHf/+P968ea3wuZfX6nuGDMjf/9a/PvD22qm//kHIX9D/4yGZZmP3nfd53eHt+I5t
/QX/F5U+D5h4gHsh8Flr0Sr+1z+M4C82XEkXYx5wNdBsfkxBdUK/v2cFfzFxS4F0CWw7R7+T/PHP
R/+wSX9u2n/B67sVWa26v/7h/n24/OQAYoYYfwvxIYVfQxxA/3489OXsU6DSabAoDQHoNgF/mtJa
7mr7OEcXmCvG+F3bzf3WtI4ILS76jcjstaFZTPbWM67bXIq4Rt8NAubhPvW4jmUljZWXf6ECwVHT
NLHhH6Gj+uGXwVDuc1sgUTh5MrrA2VtjgOGXW/iYDRUlAF4KNBhOFu5BjIQgNk4VOuWqOSTGmMxW
wa8HKl8KjCbHQQCMmMrUb4EK0DvXV/tnVvIxxgVXhk3QPvoEoG2dR656ab+6ggNSZ7btbeCmRjJW
Crh3pntXNwek+Q6OGobILicWNtY4JUBfQZdKp64x2VjucrQGJ23qW6CtwOC8C64gMrtlLEtfASNO
HLuOQFlFOX8rLJQODad7A7pPlPceaFs74JrYZZNFgbJ6dDt4LOTOZCWpHJybSZB5PYpmWBFRfTdB
9HUFHqtbVIjBP+RM2XrsZze2Zf6Tm5UVoXA237SgbKtN1t77dg5yMrtKqiGLugCfrUqVHQw6kAhJ
dP+mIx7HTMI9CxpwjE18EzB/2KCm3yAcG4LbTE8iUumkIvHqmdWY2ESE3GrHl4atWz7bP5rC1hEX
AbtRYGf1kf/ZDdqbV7MCHfqUB3ttul+7HIRfoItGV6iLBw7qezWzIJ5y46Y2VffEq8DfBOughfAa
ODRgEJNVRAG+GGv/QVnSDmvTBAFJMHqhkHD+NNq/YyPXBijRKn9HAmfFHPQkGamhI0/U7Z4RNHEg
1NFh7QXg0CxcVNHmbKOzUWMovtgSw1g1WRokfuPrnRAei9pe8UPFpbGvqKejearSsPR8+zB01hod
Z+YhSOkPphq5PkITRUQBVG2gaZ04HBjcPSatzMx788Z8W1u1fp3JnMclhk6vUxdHA4BMGFvUaJqx
ZXPbS294tLIw4/1bOXEVBW7Vr2e6tjLpx13h6UcOEKErHXibNO1uG4qJsc6prCszq9utNdog6qyv
DGYMNzTHiAsKp4+d8vZzxbODlrx+9A+WI0AsiGzSpvF7EyXtju7c+tDawkhcnTYJspvfcoylbRpJ
n4rc7q6nVvwEW8OU+KOqt+YIFKliDrI7lQ0STX2ZsZMWldcMpcpVKz33Xg+YJ21oln0lBdh/7GdK
lXv3/iMTDfC90B6xKtCB6Mo70tH8ruNTfjexwb4Zqzx+f1URQwHQu9hVKITeyuMvvP9/nxsbVeh2
//dfoA5/tdEYunt/01RCRxZu56RX6IytW1YDzKlyDo3vNNEwMv9Kal5+7dO9k/EXm6HMn6PrNsxR
VIgatLmGtrrOhHRXyJWOa8zGPniqGW8KAGr5DX+jdudv6tSvohfJwJ0EI2YnJSgKssqs4rJFykIN
NdC73TqyZ6ljc8Joj2I3vd9Xq/kIX9mX/oGgCTuZBnfFteGhx6z+kfndj5yC/czwzSmqMuEgFAdt
YU7aGPmyR5lOr15ryk3pPvu9r2Lbk4kNRjNgWVGxyeb8W2lVJE5/NQMcBox9oDG4NUVYWWKlQYcX
FYOOXUvdEA4GJjaAYDWv7etAT+2mwpj9ZKHt1/TUnHyve8TDRcCt7UDRsjzmdogGTrqdTPMtqPmc
tD0BQ0uuwim/4ubsR6UKOpT8Dj3Sho2b5Uk607ueV6+FPR8HA7ptkfJVDSa+wgQKDEZc3kDlWScl
NzeDbQY4g+kIrkl9mNrm1ihwPgKp7mz00kTGrNBdwCcdAUNnBXX1NrlGPFeByK0fp68psZ+ZMAu0
tPZ+PIITmRUBum4641s1FW9oGAT9PJq+weqhb+VEdWiNCFAby9iAYqmOU5qppAqiWttO1KTyW+tU
zo2dNlFfG1lkO9xZZYHWWC6PRI2Lq0LVFGPq2XAwrRT+kjBeMu3xcKzd57kW5KpA2b0YJ7kZCutu
ylUQOYrgUsKZhOVK+tr7Mri8W6M/icdZRrOkBHtmNFqdTnD5PbSV9lZ200bKrtgNEM8i0wKqWysy
kAoM3AGaG8yrQYsxjKl13XDDiQyLA2lHD4+9wZ8JekHimZttCDJMIDiNuBj9qo+8vAeiSmBtgkjK
2U4soPeGIwYoMlBO0jQqSz485/TA+kau6OzOYTll0zp1gaiBUFo4bR8JFhw1PZ9jAO5g4CqQP3Ku
rB3oCOvEo5Udjc4EBnIn/WIx9xquCqhCZgYiXFBJtgNFs8xkrhvXYDt6i05IvZYY5kQ7zcyiye1c
kBvDpoNPAWRhnPBb2g9BMqSJI0aG+5H5oQA7NcpZnb0vXPu58g0VYYQYVQXLWeVmDfLHzLkCKVhU
cjvd1k173bqAXe30nMy+JlsSlrgFVrOBghEtPbjyFO2yTo0Qybt20JI2OD60pA/qqF2NStyD1nMn
fBNTMVkvdjylL47KriY+gW8g0w1y19MMYEbFVn5vXWe0AKHbO8kkhq8iXvYiGcxvE+Ybtwxpz0Rm
IMJwu8CJjRKOkLQeqzltk76XuOenwNoSLhLlumsMNEHcIGZwrBpGYna2H8p8bkNeNEixWPxqpvSm
bTApYxNdrqrCxkBF69tP3iR+mlw86NYfV7TF6DYFR6nZT1YoAtxcjrZixS2+Ho381jfGNOlcAATO
AwYHWJGMAh1yiLHqMLPc8goj8VGBeP+5aLq9RoEUHdVjvipnufOALhUamf1m+L247UrzFrPVm2C4
c5Wlv5Lc/VLZV1IGMjTQZe6yqYg95bURHcd8B7QYd5N65hh3ZZoUagCdmZBW6FTiSfh+c8cbEvup
+Z0OXr+rarFnVmlsOmdntG525TEg6kKZAcE0hX3feGuHyw5cPM4tmWtw1w4BjkubblVJd2V9RI1D
s0VYN/OzTotmD/eJazDeEgnjUTGGVWZQrAzN/1VFs2+k07Dk62LsrSdcKuvW6wfY38OIYl3IwOba
o48+Y0Ms3Qk/Bj8ZpjIWKdrALFl+b2SWhXCr+5XR9o8FOGC1KbYd/h0zAeiN+VEX3Y1fdgAeGWoc
LvUF84wSGf8j2wwI8yr/qmst2KH81e3hAcw2OA16156jAlFCXNejXk2zGfZphmHrmZGdqnsSKm13
a91miZ+m0zVCqmY/AKW6rxxogKzndZVvEULPW+p1byB8TohU22xugZ3dyZj3Tf3QjUMVmiJnWyDF
bTjoYR9Ff7yGTbH2uwCZJzMau2K4h1NSP3IZRKDLaUMXyOMrt8v3OVglbmvck1EJINqw7RhEz5V5
X4WAxgdLEpiUVgLWOu2s0HKtfAPRK2CqTrd+0KPwoSgHh6+xH2QRNpPN7t9/iNqo4A+ob2jJg2M9
5A/vPwwbaY22HQFmx8w+lDCFB7Bp8IMVAAE2n7p+bTrdHWbQqp3J0NEYCphi3IwZ3wxw2f/+XxJ+
/6Hw/XnvI9jwan/LFXOTrg2aMDP3jWnVMUHeVuVp7GY9eEBqGZpdN6940Xd3Xhao67oVh2Hyujs/
6+o1QjdwstTjDq58BbuJO8rqgnvg+fgHz5uCA2t5f5iQyCu8YJfKIO6drN73nZetZqsmoZv35EbO
Lrkhqgv2ZX14f9HVRhGmgTMBiCfPbjw/YgTNFjqHE2gI576oYsvnCAmgCfdeQ1agBAqBcLCBp+ls
21GhA9FgNSKY/PuoLOMZruEt5Vhy4gGcbc4dHygPlD2zoUpKU/HY0j7fuswwH+qix52CJEvQePuK
oVtJ+7OPyzilgOBmW0c+B9UEyhIr828yR3ZRUcOqWC00oCibMcZcy7F/Jzsmo+ABI1Diz0Yx5Ne1
BPPq+0vSIi6o59ZbccO4nv1tA0ft1nDtN4TH1sZrpukmB/DIFucw8XFjUMqrq8nuktr1u8cmQGAn
fo2CPumOYtrNbVJjlbvzHS7oxxL0w3lXYkKCAo4uzQG2SDOMuAMt55bSPeLEHqkPBoS+1lY37z+A
bzRgMKcHFiRcAWOGV9fCUbNGKFeXHetjLngJUXG55o4NIFuBy3M0zf4mp4F5VWLvR2KDGgT+ewpO
1ce6NQ5Fr4IbHxU/9JRVeTQ1jQwBl+OumwzTDsh8oqMtUPQuhZDBFzd8zrEUnjPctZZ1Q0tcdZw4
Ouz4/N10aZ2MTfVmzUN6J101rh3XVlE3YJOHjiXoRSX3tQt338/a59RweVJLl98N6CvcAoSkCTEt
ABwgDXcYsNT8vqlqctuLR8TeP8fs2huIgVbmalNyeAKYnG8Tc+jEfeV616DenPYWyhz3DZVkj3jp
+v1VzR1Ig75lBWnflzfihpxWCloC6B1dN5gDgpGqs2xneHy44x7SdV7GeeKhdiFyAeUoHLabPLnB
uRchpSUHB3Vz5WbFddNFfsP4V03hy+Uu9Gyec3FFzI0MQLrNKw7eNtvmicXapGMgJfel6e0agZx5
58pvGqQ311ZW3dccYH22xbdDbt+UuEpCaaXuijqyxIjkvGJeX8apqTGw36TRNKI2WTdelI5+cC15
r6MUj1MjJEQSHB3tJWdm4vZs71V5uUL2ZookvCEh2zEaMpDozhYNA/VCg+pK5c5TWdXGbpxFgbFy
D1jVSHDE3C6v6myoIy91nzrRv1SddZXRMdsMWf+aTnYd0sxh6wp7GI4OGxBiffcHpOctS/9A0ubK
H3H9aVzkmlv5rmKug4eevzKpu3WO7pW2qJOWKTCOtd54D/wltAob4cz7p6ryMD8ffG1bzZO2/MVT
kL/3JgV2pM2AUueqYmuz7vkRe0NgJfNXZ9B2IqOyl2jBHQ8OZYBNZRR5H/Slg4N8sDBaxoC/y4IQ
d7AfgYy5uGq6rQtDjHL+w2wrM4FFZjE8ss0wZEOCISMV5izFhU5W4yDar/lhHFhI0rl+NQs5hX4K
P9BKzcTu5yIx88oNcdb32ejU4KtPwZY53mAsQsejhsdfjIYR9hIRufIw5Jb5KLT7yYjcXtzSEp6V
VR7o7B28UWVxTxj8z06+OGQAbZZ0LFxBnrtpJdDtvZ7FpbLRRsYfiTXGxcizI18g4hir+eFyQIE3
Vh6ZAXtEbWjrucMMXfZRfuKiuZpUG1k58kSya6LWkvUqsAXAepspFl1aRpjYxDaMRVTZwa3OkIkd
gFsNFDg2rueAw7VGTMx6fCbP8iLp/P5mZMPPfuiwgqT71qv5V0XH+2431Okcaceyop4M99RrEGam
dhC5Q7WRVS5gbDS/nXXqHer0yS2Lr0Wp/HDSU5Ywa1jN1GzB2oZmBEc7W4arcl32znPQNk+zD4sG
vuiX1JkGTJGMkdnOX2AP5BaltwQuHoVLhijIga/QemFOguvCwLmztLWfDChaIcc6kg6/tRVLzKJw
o24GYBkfeCyAG7aa0/7JZSaDszNs+sD8SVMw16XEX429eCAa1Nc1xw+sMJryGeZbG2Mz85GsAWDy
tWAU7gAnWQQwL37MzsUFPNwNMNESb3jygFaxdVuMBeJW3mRw3UJeT+WK4RJ3crIyfBeVccsztojf
96pnPwtBK6Tv+jQu+mKlGvZNENdYabKemtLaUcKu8lK9SBRDdtlU7nUWGZ39ncBlBBOfDCU3v5aa
HUaBQlYQ6KOPOW5HRJehl1fWAxt7ZAJdIzbzZ4cGauXCscZp2xhegBQUiuTW6ND/T9h59catbEv4
FxEg2YyvDBOVJUuyXwhLtplDN5vx199PPjjYFxsXuC+CNBqNZhi616qqVXX5z5fGXyMfKIvqs8Pn
mpHfvrcbSghwhsJoBvyYv4BAKsRzQd5Fv9XVXT/xAWiTUuGtPzcm+4lXwtbJ05LrX9vptjsfs1re
lEdAX1gt9+j5htgfF52EupgPLQvX5lVubITN94Fqi2KSllOz7MxV9ZP6vN6HM+XOGOvd+9SrSsHG
1J3tlr9UXxxkts8Hx9xf+kCWh0E2mC6ZN+YiHydXbOei8yJjL3HvYeyqzOxksDuGoRf9R2rFDVrg
Yde+0Y2fHH/3YlmLIM2q5qXJ0z03vWTIGJmubdpXZybXPcsoy+F/HnKpP7rSvZvs6TdOTT/XsWhZ
fRodZVmF6sAELxNlYbKEt++KLFDcQ6j9C6d+IdhqNfevw2rciFIglWNLBTJxVT0nvW98Q+DwMRsN
4hXhZyfDbR+92n4KB6eOO4kmrOrbOZ2z87pIGcvSs24ny3saJzUmuaWaaFHbN12tQWot2QtB7x9D
WZ6L6sunvFi+5Y7JwDVBCulmA5QCg34zxfeucv5wsp82hg/YyAyuSVEAZtZb4prrLfGcdwIQmnkP
7sLV5I0Wa3fxuoXZV5M6zAgThzTShADcIsoNDcZJzTc0xWUSU3mB6zg3U8ltXcl4z6qCRNSbUKwb
G9fEdJo12mQwCeDhFe++vJqK+IvzOVgrgMCu1cEbcGgY8q2LOyO7CeyuOEzDUkeG1bE6N/Wtuen9
2siNFIPFl8dmqy9Wr1Js13MapUWc2RFF7JpPXkP1UI4TkIMOf5bD+o32DlY/U1WyISS2arnQtl2C
3R0jw1cyXUrnrum7DmWt4RBHQpct3DJupNsmnVw/mH1Yo02p8Zj7aW2P6jSWsHdb+Op+qDIYEuVk
RZqrm6qXTZy7YDJ14C6x5YAHm8O1V6Z+LLv6NxLV7db7I70+8gfagByVVBq61WkQXnddBLc/aHuM
wBj8dlkOpNT82OavWgDuwW8G735ZyaYYQpG60qF5cwhZIHVWJFp6VwJVgqT1jD9iZHfuDg6D8JAk
zQQuCPhjEd6uvEy8GcxCYQNKNW3fzwZJnqGRiLq+X7WDK+n6ZTKwBzqi3UBlrOiDdzZTnQ/VvSE9
I+nWxYoRv3hdD8E3+8bFizeSJK82xloHZDp/6j4zk9zsvbhf/Y7i5BupDWXkNuQszqybbFmPGXMK
DnX9EqjHuu9+tq3/KcFcUoLtg9ZuGGg0X3Zm5Q5cp7eZGYjTwr0azUU4XYw9OCvXId7w6/pdhfgx
igyjD/G9WHEaWQb4XfRbUdkz2CYNo0qCVfwqNz/ah2ZPeocz5F/zCZZkLrzPXosRQxF1X+EIGFl7
TyCerOgA7aMhpj4up+at7hY7VoN47Lz9R2Vd7S2LXK/43Gr/Z9WN5q2Rr9+h5fCQwV4FvG75Nfrc
q340mDsuXAUdkbUUp74LFUUES4hlTiJe+iApTLDFgJKR0lFUNNoh7qUxjR5OkzaLrEErXIU/hml7
wAdHH7oS2K4JXzMX0MvcPzT8vFhC71E2FzF3XzeBaUWwfdgfLB0By4004gGgItpAd6xRPDq6aVMd
NL98rqUbx7uWeiIAcLXSdpqeRGkWt2Uo7sbGKI6UjWe/78eoLF1YoeA9V5itDGSjzCsOEwzo00gP
H53wN+DbXqQE4TxiyEJrZB/qKWvjKcvCpHWfPbNZH7rN+W5XC34JXfCN6Z8+XmRpHn3Dj+sGLMXR
hN1ZbgEQOyS7leOAPeCYsJR1EbktAOSk1N25DF2u1EWesm17snuYZlRrSbX3CrdbzGFq76Nxwphi
DdWHMTtcx28VlnlYNY/dgSSHl2Gvjbg3wh/rLt/mpme0xVzfhgqsF5AKZZnxumbl2zz6/Y2p5yLt
qYqJZM5jt6nutOOwCnp1ES+ePqjZqw/dxr4zqLOZ18XJ2u1nAm6v5e7Mj/Z4UGX2Yso2PA0VhevW
MVHV4TUlM/PajbRwpu88jnaVp8rbnsfFah7mJfKrxoiWuSCNu2iYYLdZhHQ1cFKRv46rd64qtcSV
a30UFhVE3tkR9jjnZjQ4Ava2nkx3PtluGwf0gQSLgFCHdLBmOH5b7fF+HpYPZ+KCnzT9W2/mJbRY
K6PO98xkbhz/aEzeG8j/i5WTnxbq4BbkBQB/L6j1fEYWffxfQX29w6idpKvCb1juP2WVt98Py3Rx
xVhha4RCsRh2N/qyw0nssk58U9rnsOycRKIxQ/BFNefAT07jDPUni9T1xncVrO4tZq5nUtcPoxns
0Uop08HOHJoVJHMdn+dsf23y2oMIaPEMc+VLnq/3bC8YQPozvZ/x6pOn3bWcJSjFOs560YEdjuFp
9LuT1rMPqLnoQ72MS1r6NxLx/KMDuRFPakpDY3SO0FAo99XcJRpdRbSV5o+hqO9orJc45JG0b/E2
z2vj6nj7OxtHYNTGRWSso549vHr1cnFr1mhH1riKijWy/eGN/LEm3Wa/TPJWgrEYQZwF/ktQFbCm
Zfi8urixV/sSt2r4kzkNfK7ommTxC5+0En3POjDkuTwUjrDPinumXIs5Ji1ZHctireJMw5vMLcB3
uDAK27jPVrB4r/M6/sjm8aa1uv6tc1vSMb8DZRUHl8N6GDL01Jvd3MjMUHG7XKTuSHrigHPbGWOc
p/6Gsrjp9i4xjfGJFgC9GmO3j5lNoGcJ3t1J9grTcO/7rSsf192wLpINrA9jsxfFc9Nmr9ZEPO1S
eLE1LKzeDYu9Oxn35BtiTlp7JPqwoKc5FMys3Fe2wS4qMnHBGbI6hPk0sqEMf2wd+ljRmQ8VkCzo
kLbQ/6IE9Xrjmg8eoA908j6WUzK33b3ZilO7z7HoZH719uKkakeDmwsPsGrBF8L7FVo1y8TJ5VK+
k/2GALLfssTZq29BJ9PcsOVbq+nUVWHcmt1g3+aOvh8rp7nOm3qpB0sdPYcVlVNtx6NcY2LVKPfQ
8aal3J9V1nzbFa26UTDRDXDlppauIWuU89hmJ68PnxQXE8Cg/NM478jfNWj8w7Kb925bA5kIQtpL
gGJzP6zy0OMKEvWq/lSlcUSFq5Idr8ds/73kRMnWgU4Kv8wikCmqo6CaI8LJ8Gt3/5QEgzemZVIT
2CG+V/spn3rvQWIBxHsWevMPbGQfQdhUUTcjR2wXS6dNb9yZpMbEszFePUVdu5gyO+Sbwp93W2DW
SMht9EvRG0Wc7e1Z2POaVNv0kG8tbjjF794S9FwyEfgXvbneE/T9oRhZ8Bn622gLKA0wLr+Vlf8d
Xk8yptoTRCoMGNJV/pZTgAyz0snQUR4bgAlrafxeyw7DAwMOmxSjIJqDKTiAhCzXfjJmTvMRHXxw
2HN4y+l129E77Lo89vmI0xEIEVxve+239rD503stlpeyb+YEOw8zWk0y6cWH2fTxOPrLIf/CJHYP
eX0ezE9iMqCeQxFQxFxGf8D/Bl3CyQJCdUbPecC8oIj6zD1myzAmWDGZTFPXZVz6Z6jNKmo77k1g
wsiu15utNLqL7/yciu0Ueg6wMBnEtLzurzCozmJiRMMf9iubvhcBQ1kMZZv1ddxFGDsYcsee6T9s
IoIbkl/CVSi5qa4OFu8jGuzh19aZ7JfDD61s9gCnWpPAHo5tCBY9z6pm4z3L0X4xrb5O7X7rT4XH
jbN0a3Mu0JDecx0c9qL4U/g9H3feZTIor6Gwq6bHevhmcJ+2wTmbPXQK/faTT8Xj3HRZ0rftae4k
lvOWcdSIPBiA/6ONDsZfxEz3Oqn2QeEJcn4IhrA7jdJcj3kgHud9CJPNMFjqw824DJtxtTNweCME
jLDyDm54cJKtC2/UWFpJvzSJNostWURFQPu6frZ5tybCcyo8I8LtJO2iSszlPIsZ364iTPfGlofS
YQHVOzp5PxZqKo+TWW6AEeq735pUMvUcyyYoTpX0GOH076GS7bO9WXekuPvnznZ/rh1nufDaaNxc
IsQz+8Wwqvt9vTGkVHHFgMih61QVGc45KIG4SnKkPeOSZStJ3E0Y7VV+X5T+ftxQEkXjuLEJgQ40
ur3t9vKlnrfsQlWcw0ft3k0WtrymfJg3oZ9WhRlm+2XE0bQyTGSHjlGEpY3iby+oGiufSmYPUuox
FTv7z3F02OLN7ZngU9qZZjDA5x0znTrkV209DlEeYCu6fGkelCugbh2ZrjWoUm1ggBhmkey6Oyns
mx4kKdJXPTt3YzgUp73ek7LlSATh5MQ9MG5UhM2DgWlI4lYh8wCAIMCOPq4ZGst0jUYidVQepmAC
1cE2hzrBU/hpt6nypgZ+nk1y3Xp1dN2Ve7SaS3QO1tM+z3UC1plqW6kDnnAb9VJ20K6fXbAr+Aym
rj/U4iBQ3z3q5YBjjYtChBc0d3s9YaacGKvRxH7ld3Etx1+raB7BGeqTvdsPFQ6ZERgtKE2jfq4w
eUiozLtB2r/dWcfKHOVx7m0vbjPcbMmUpTxYqpMPpn8S+zLQjhKSWzXW8yY5Fu38wrO71F3IAXMc
oGZSxcPE9Jtz5o+vu9mi9kaV5rXFKdTW0bBnzGgq7Id3pzuZjXMV5XbvlNBjbfO8aQdbRC0oIIKj
GlUs/YVr0+1pMOh7p3CLi2kn4MQawjiXjwuaoRB51jd76J6cPhhTfAjbdDGKBKLiNUNGE6NSXqbe
igKjXWny7B9LZx4ar10iENkytauQRELvrq2lTJRtWAl5aEr4Pqwz4y6cMDdx9PbOThMFrrzLiq5/
NLblxtZUo/sGP1BpkIVu9a5GIaxktq0Qwm/EBSSYgY6LGgn4JuAhJWKidrsUu1ifMUmO5nEHqezL
h62T4NHoG3KyqT9H5kEidv+vu2Gy46IlOoK7dr/Y3eglbNgHx7faCIIKXWJ9DbWNq2aopod9b16t
RVlIU8zgau6C1U8GE5B+CRnW64TZwjCtWm7ItVTqY9nqW4dp4Fdnz7xj0QnvmJWbfNy79ifQPVqT
6unvly4vDpiDB4dADFXcBnlxwdDBT/hs/k3maP/m73d/v+SysVK/gmr91y/+9ePfJzviUwTAn//8
+d/v/vXUoQ2wN+cgJf/6xb+ejCZKX9Q+pv88LXf/++b+eezvX82SZhVUbTv86xf/es1srvXR0l8e
V/99pb/P+PtFLOJ/f/S6VJfOAxn6v577z2OGkWGQN9MG/fPYP6/5r8du1m1hRfw//vk/j/UhjSmS
guz/OT7K6icm4urLP5/xn+Pzz2OdPT4y7XbqtHZvFrtyb1Q54/f19+ct0+KcjcN/flvXwr35+7i9
QpwelkbJmL7fTFCkeWntzHvsB6L4xvi+SrS28tPfHzc6KdtBqGJMErnM3IfJEDTtDSKstM5E9icr
nzaksminuncbVvnkT+RXz8s3f1ybh8nCC6rwfPcqhnm/LEhinL0OUk93xbthqoNy9/pDMcUdV71r
3RZBI+50NvRxvSGkyqXxzdeDFa3U0Xcu/hjPVYbw07W5C9dWnv1tH68gJ4SOga0hmvJeC3qoZNiA
S2u1MEpCXtjL0I9XZ332wjL/VUGGmF1/s/h2fd87IHkgf6d1a8+DrX4Qu8OHqZMg25a4tD4MQPGr
n/cFpbcrSRjaj9IU5Xm3S+/15GrwIDChkzOz17OsfSE7zfQKaou+U0ZhRcKN9voFjMJ+Wn2se/MW
CqzuvnZFqY9dq39R+4hzJakJkN7E64D0Yi2M98LrP3fLrFK1ljk1blHFAmwxsqvuDD+DBrWCWm9L
I94gUYir2Q/2Mn8YUl2bKm0dwz6qHTHyVxHMBC/BKIS6mq4LOGTWKbrP7AJNsMWqtEHclBFP/lJR
oZwdsf/Wsx2mmWm+Y02UrdzUyitHesTpQPcV98uUs3NOBfN2j8XewCdVAs8KE71H8ELOiSkLRAk7
8AZwKbq8z6rnGqnwYzqoyUrNlT3Yz9zpJCnUU4m4gD2domRevOvqeLwc1A9StD2ysyXHlBeIe1zG
d+FNHDwFf7Bto5koN0fPOzV7Cu/NYG34zlwtlOXYoJcgDaD5KIVdXXOvo7kqLq5Rnm3hn0s4gyDD
mmwGdb1QlmUCTdDqXA2Qp1OhnZNhWz9QfZjXAMMhsCP0TrvfJ5PxKKsVyscj14r99lDD1JiL97a1
Gs9AA4Fl6c7YTmr1sPkoQabNh3uYepKNmA4mU7eZoo1dvQqprdjp2GTIWc+Xg5Xt72VjHxccb46G
07zMyIJoFBmfpehHBPR7G770GyWytmIwCOIOgxXzU9WnXq6Xa7jc14bsLsKyX7qWnnUeNfBE6Bya
FrWQg+Fqk1snavEo7GadSuk30TSigaxL94/vNCYXLkKtrjebuFvNiCLXjCFA0FppSsah+xycrT8X
Zv60D3yePlNJvdvOPRUEZrdptfYAKXyszLCclIAnK/EcG2s7qOJp7alb4WTT0hKPsp7JVawLBIPz
Hz0yn0GZh4JCYt4WmkNzsQ1uma5I1go3rqkrzUPZtAhbjBexZDrOB7s5lCZdWt51L9aA3UTZW3dj
JWgj1E5eFK4tiWWAg1X1Eh62kTsg74NIja1+GCbjjmu7OzSFPOkF7zRf9G8mTvpxEA53jWsskfIo
eqx8kuk0yYwLbLoxWxw44KL8wc3TTlQfes0SfIgUaNkKyU7r6gELYhXxblTAJX5B/RV46mnAJzwy
C3pHYcpkyW07PkqL8mdGUBWtW/UxTerTbxuAIsHd3W8jBtFViYknK28fQtNvmx5vOv/dR5YRlfBA
px3WHG8D9PlzuX9OkzaP0znLff92asJUeghu58AvY6/V4zWrn7y12S4TWE0C1OfFdf4QwqTGdCz7
aXacX7PW3zXAQLBQglXtarPSYCMXKvdI3M25mb880pq1T93y1kQefUZ9+mqs01u9stMzF3WYLeN1
EfMnzeJnM3sryqc6aoLQiu0ZQHRBgh4sGHYZOUByFxy8dQrS3run/IYg3FuyH4wuqd16PjueRWPU
mEktZuOI1qF3fUHtjx/jZIOY/b3K+oXs1Mwz+mTrx99fb2XyujdH7T+wne6+BA3Apha0Mj43ay2f
ynopL6rBtY//vAG2i09ZGm0UlNlztoD0qSJgXr1MxPBUBHuf2vn03BlfoCnxqNyDJv/X/TG5Hyt+
wubyYZjo6C0CMGNkSaUVkA/Qgg93UF12zTXva7Sh+NSkBhEUaTbLg5YVjnnCetsas0XnpccTDtlu
Mg8KCK1CR11oYG6vepnD4mn2PMSrkmWy9xAVmOPDbK2v5C0AMJkODGx5C/VSvNcSwY0QsW+T/OD2
owOLlGY+VgpmsU7HwdvCSO7Ns+hzJEKW/TaWdAwGIistPv1F/WDm9YtSZmgAZ78jXMIAB5u/kCkF
FVQviGKn4BN+DXzJ9U7zFzZVkdPToj9A5nBfb8q/FoFoceSchjSuao5F6K5X1YZ5mnfVWbHonVQz
pXIU30wL8Gtnj0tsRKQNGD0/uZQY5vjHVoOdwn03N05/WTd0F6EPAYDoK2LFvqlzaZ2slcktc43G
2QIhm4OjDIY1mix6QptjGRgKgCbsU6nd54DBChiXoT6rnU5LfgGTVf+b7oLOWyEZC7A5I6b2tinG
ItWCm3TNjGQ05gZIsaqO2u++4ZYanOrKuQl7eSzHRcViQpKHEBXUETltMEyH1fE5vtO5c+jaB5JN
erNY4rofUmUG/pHIqDauB/XWcocnpqAPN/fllAMY6cIhgcTD6aWxMrqQtb5Z6czo1XYmkKDkmJHg
/E5uPHvOPfJGWvo6665BWXwzyle9ZTXLXcG6vKgvaLbbE0OgRW6G2rjtfagQVGI/gqYQRy804NMG
4Od8dm7EiPx6rHzUM5nxq3fND9nY2ZXyfYwUdvSI6qaIURQnKfNvvSofReP++Frjd9CTg9/nzH4j
1q1dfdd67jOsyhwrESCWHGG8SwXCkUGwrXXWp+HYwaYZzqW3MRpzlP9qLBABw4wjvCHtm9JGZiSn
uxwVfCwqL5kh1mK37rdIs8c4Qypbqrm/AdleblJzTCGEqH7tMmfFzpt/d3VU28RbNubJ2qzAnDP4
F2X2FKtJn2W33NWZy1qxBisN61sjaPDXbUSD2jJHsE9fSwtvYu63E/MaZ/b3LWob+b3FKS2Ss/u5
m8N7kA9IcvLtvPrnNoco6ZUM0aWeehdR+1JYP7kkUNP5j5Y3rm9UL/C/IcrCJt9+VTB0wHbh9lKh
dB8c4nyU1DLVhXleaQxTt+C820b7DPCdGpULKgDdd1QmVGTnybu1LqdrxQvEwNAruqtJFMBPRjZE
MzA7MAnnox9AZ9v83ewXdNa1TcbzCqrQDISkkAjjTyt7lLcAIPrIXs7Nc+GNXDJ7Axc32b/t2XlA
aOMfV7tJhZrdI2N33zUQv7F7ZDe7Ywiu6+dHv2nRu4wVUz5HYw7vEALirdI8yD58LL35vd+FfZlb
SixPgz6HTXtZx0xAz6OT2Yw2i2XoPFy1JDstIFQlaqc/RLw/GGr3bxgg7U++1gNM63S/d25+tJv5
yokxzoGJF3SuHoAakcDbqedjjVWqp6qrOQVWYx6LtYRQa4xkVyBIzBI5eM7nOi5KMwKmwdCXUjvG
BHMYRQVy573atfdADFtc6cWJ97bP0q6qv0NarJfZUIcRVvGUsRu0ej4XrWtFsmfhcJTuLzWeKIdc
1fcC/e+lLIf+8vc7eyiCcwB5/fWwMLy7XAfi4OeGbCLHqjB1qgA9xVjMFwH5GVK5uU1ALzH1BXgt
jG/qleVyYidJtdODTXQllcpi+6eiA1+zbHn5+8UeDHmp8fy6UFhQxraXbI7EZP/pNGZcnRySLc++
YJN2Tlwf06B5bOTFoba5WNum0s7efxuN8lJvD3/U44IdKZ6eVYl8uCkBg4MNgc/Xnwy1OfznS9V0
xKN7sNUa3e7Fcv1vlrlsB3cKuABzv0orUY7JznunpvaBoPS+4XWP7LzIs3uuDP0F09CHfB2cMOvX
024wgkJDssXdWHYXcCJEyT0LqVtU5mXw0ZGXgf25rZuVZBgW6gZoZSv78otjvKh6IdlpUeVZW+R2
dgE8tg7cMskyk6W0RpNZ9ZhBZX5YI4GCmVlDVsYM/2UWfN9AyQYshFLnY10AwsNt8lAaL2tULfRz
hetDAdoumoeMdcyl2kmEQ8TBMHqAR24L/cmEXY34pPJogRs07ORiflYtZK22vE8z1PdeOTN0IkIr
zef5ObRwuvS9bQQQZIFFSHW21xVWgtI7mE6MiWpIJgwm9huywbkjWROJsbqpxJifynw6uIUiEKx4
ApH6RIBoUOiqt64QMeOaJnXqysI6N68tc4XbUr23Zy2MYzm1IxVJ5xyYI02acPrlSRoix/g1ca2l
i4duspSCyiT0AfWrPqk0m/wUMN4UMsvATBd6xjmIalj3lBlAwkOq3T3o1qVsBb83w9tNlvIadhqJ
kcsMjpOJ+8yZYZG5UuKRCU544hD/2CBZaudp2YhUctZ1TLCkHOMGEL3f2HZKzSTgxA2N3/JrtxDK
svtjFPSbjL9YRlNXSIOm5qXInc/RvnEKv/77OWefKYtdOXdlT+3seS677dQ8G4H/ag07pQX1YDfa
r0j8ezI7lku/1IBnmrhihicyazYiI7Dxb87LW7RIudOfmVsBDUBC2BU5S8qMUMs14ckln25QIlU9
akYW0yVyUBqSHIM83/Kbg+tPvycExom1VMfKGDFDCocsZeqdNnFWV6OZZLzp7XY+NZuoUt82P/Mm
Q1Sa9fV5p8LrG/slR4fyYgHUDnifiN689VzPZymH1+jG5VJtTheXAx+TgLd3vEgwNhp+0beOh2UM
D9Xa+AjudgDrzioTLwrkV4W3Nk964XKcS0LmHIuNcjIiBC7hF1pRxvTbRjoErkpte7/N5XhmEICj
tAVuNLRMbno3rq/fVnuBZcIFQUgHFmUChwyRgc5fdKcz9HdGxWVpbaF9QWk0WN6ctkprXt37iuvo
znlztWSO/7HwGdYfRtRC1FyHoJZcSBZwyz46U6JoexA9exQ0xetsqvamN56afnWjpq5uxkD9Rm30
7HtlD777B4KM2DxFdzngXGI3P9DBwzPhEjw4RIXkDlFkeeu9w9Axo2jCgui5dZMxqJGgetW9Hc7M
ZgZfAFDQIkVRXwlPmitJhXE1grFwkBg5aPUW726Pwjc/mQbzueWUjRQ+9mkquuw4rPtxtLABCpl1
qgK9nfI+u6PXCk4GKBwOtjhl2CIOJV1P1bSM0MH2cuEnImPRsfr+O8PnhAHN2j8b683cgRN/SV3Z
PzimK8GqSXXY6ilMhbRgQCnsWXDbw+r98AX0bd7DtzseTbAIhl+jJeLNo6DyajEd6h7RY+91X+YH
cCZNM2aMEVKJjl2McA/2QKLn65ynybba6xRS6joWcrx9NZakLsaTG6j1oSjqGFURxPo2XwM0eZEW
1aUwKP36lskpoVeG+3oPCJEu4X7CA+owAICcB2RUROeejL0478IYjsvUIJ1uEaLQJ21JvjrNYXUp
Qu2l/J0vWXd0ZmdjR9sVqJP0b8cOBf0QQPh7SvmHYK8rvK4aRgLJR4t8ZWFc7LKt2c8WDEeoiPWs
9807UrCva2BdNAdzrRxIE+a9asT91Fy9eSBt5r6o2zAev6TC6qFZwj9UdPeTYKnIutmJc/bji2PX
82Gyxo8M6vqwS0zup958CG3jqdDXgRotxjMS3atQfWKvVnCy7PX9a+K6nGaGJ9mkjZzjEoaqiJXq
3l1H3Fb5jLa5FGdjGX9I9u1v4DpFsmhzv/cWbCt63SSwpAkaxODsGsNr0K0Mz0m8qZd9fW5MhnFM
o0lNSiiSdPyHoO7fs2w/9eubpxzz7MM5UXLQaFOfsueEKPJRppg9O6jqThln/s5dGctlqYznUOzJ
svd/akzvqfebJ6CLhduI3o+pUDcp9Vk4E6v7/BAGzn09IMswWix0WP3cdA+ym6YFRGR8qm9K74Qg
68SAJqOl9b2WBcq+tjrNm+Q2yBWi1Z75gqXCo1xLVHA5IvdwZR3vtfXdLUnz7QMnDXhhDbZ3Hif/
mdH+u2llKzQDnOZ2c0NZ7SzxXLIP8QfoEXUd+2VxYy/781Y5RyRRIqnMtwU1Mm5GtRlXUqXSrSGv
pV3dLFNFqTIMoLqr8ZF5KCgNDy4exOYJyJJ3JdtrwTFPnVl+TgPekhMqUGFbD7ZgBjnL2XAVUqeI
cqw6uiMod4iceKrtX4PMfyBNwMB6cag0NoZXFZUzbqJFSSXpOYi0qNtQ8WR5AsxwM63YG6h1/xUa
INpFuDISOefDnddvt9J+26ogSzysDERwV5US26AOq5ayEr++TtlU+qyxDY0V/gDMjOvyifzPs207
RpoNbO6lQGlEsHD3JatF2/uq0FArHOLT6n+oO5PmuJFsS/+VZ2+PbHfAMW16EfPAIMVREjdupCRi
nmf8+v5AZZUyWVVZr6w33WaZMgYZjGBEAPDr957znWCYd3FbXrrMzNe2W4vNfopqFOTkkB3YsASb
4NkZUbXVHKLrFOHqFNbRdepxJJV562O/UI9SNfUqaGZ5Gq3sc5EngC3qmE5GohJsUPE5GdOboLAg
o2W8jmr6njq8b4kHbR4EPJtIObzMrbuX5eTtOmSfChl1kiLuxpz50gpV7IuZPplded4OEV+yclxa
xU21qEVCVKizQzvQ3fo9+7mwdMYdpiLFUAIvtBf4Kb0oDjr69tbOlHa8bhFXysKYcUT7NenR4nXo
BxdFp4EAxJhusqoaScMzp7WJwpsNNNfr3o+8fR7dzI3OLoPr7zwfAygmzhpB2z7pqr1Mx3JVobLc
ZUWak/+JCK3qT0Aof/9H29Pfbk40MJFcH2l0zCAd5pc5G3ENhPKVjz2+aSPZ7KOR0n2aOyK1TXRP
1I/s+GkRpka57Z3uRy45/dTovsDnuraDRB8KTqs1Gj/0FiwqHlsKJDc7Eru8XZAvnrh90LcZIwvw
bYFBh9Sp7cOcBu+WmoI0rI5CbjDPfjegJXBCBCmx8al1hivp5t9pMd+4iYV8fFDPtagvhfKG1ZDl
5UZPGi7BS2PS4BMa8rDqOsb86GG81tgW/UQ42GDeVaXxuTcdHzWEkW+FU19NAVNskYVcjMfu5CDF
me3Y2PYsluvZC44FQqdNii+JY/vS2HLjEji6Ce0s4hIuf4yKQSiOj2pprrwYlfwEYeQSQhuS9fQ1
8ufH0Q70TsXkhXl4t6K+xHZqctb1almlNGpiQzoHWl7gVlgETB3rbRV6zlXVodMw6Q7N7XQEURZi
jcYQHqEWLAT4FEPHa1afJwjnqL4Y3nvJEfxMhDooajCBVLdK2G8tespDOpiPTQ6L0TCTh85/IeQ7
AgWCUCeh6c7k3tlmbBLXNMKfYGoG66S15w0n1ck1T56LV6Yfgbzg870i0mFnhqOxU99chRSz6owC
Me2DoWk3Zd5AOa+8ZVqwYcjOfCw34qNoqPSdsDVWzWBNuzpEY00/ajXYIx0Ko9yZOfrovDv6ih1S
Bi8kNkyb+TDduLH0b0dk7ts26Jmr0F4PO5SHXmb5e1An7NUwc88z5qMhv9Mh42dRMXLCxjqi9XSb
5Z9z3E/uJjezkgI+cnBkR0QAc71YG6r8FNZlcgpqf0ezDCZqUx3sRdoa1s7JMTEGFH13MJ0lHicP
PrctDtaO+djO6YfPpeq+x+Ilt7jC4zHzWGtvw8JEmZvcBmLxwKdc0LPyeTLRLdWG9TXKWnFq+sE+
eNGUrMc0X0s0k5RJ+SXuzWSb0yseJniD47sq7K4xhu6I6eIqMIKJarVBI6Da4MyiHpwNK8+o7KS7
qifHPY0Yk2QTd6dyTm8TmTf7TDjnyQt6zlkRr+hWbeBb4xowzX3lTEwXcRZF2Q255Awqxio6hWJi
06sfrLiy90NfcjaTg7EPAOWtUsN113UxlLCOQxg/dNNMXF3HxLbvLLvBWlWyIe9GtMgR0QVsD8cv
rMePsZa3RKLep3NwGlDmUP9GuDit8gpbiL29Ckz3pQi7aKcm41NuPdtGlh4r1+d4ZxdWFSFdZdN+
rHMaNH7qRRuFsmkNcYZLLQXIcoZjDITB4pmYzSWmjBFL0iZMHTTdi+Cic77HXvqY+KpAF0aenz1Y
t02w1hHTrMgc4M4ErwJN0xAPmMuq4XM2cl4UXrplBmisraGErVMOR6stP6ONest6ncNDvpeaGMZ2
JJFcN8YGOnq58eGjL+45/6LDlXDNW7TK2IoUxl8x0lQTXWlRqE3ZNto22bRvsUIi7sz1SlB/MUOP
9oNprNyGXNI+ckr4QFwZqtIxtoRd8Tljo8wteYw9GgTBaB3soGXlnoZLVzrXJp8fo0SgzUVBJWT3
aM1yv+JpRyZ99hSdkhyvUjbGN00asCNrA5QkalyNjo1ofk42zIgtGA40YdLcxKPONSaLEQ3mylzb
epFqeZSbIk+DnT1+mxaP6KCXGTgzyahIGIyWKGeMIPzuKigXeKM2+GRriPVGteGSk0MftNcSqlJV
Bztd189jZleHCJJNbuDV7pLpsZ/ML5OOTpkbOKyJ/pfWqjp4AFV6Viq9tHrMzjB98FYgUpQTI84W
+9QKe+BXDHOHtCATr+j9C4aWYFdwuqxhUW2EHSf4eYytIcs9JUaGlyxzKDVxGMR5f2U3rr2anX3M
gJG6k9oq9VF3jQEbMHymvUPuXD7ME3wu/4WeJMc7nu9q9D4jAHXAcjAaDK2rqLxq0TFvhsjZtBGH
0MTKZeimQmZK68bm0lmZ/TOgrrt4Mrd5kV9ryTaBPtR1Ig6OTpJ1mHPZwAnN0CK+yMS5NOaUH8iX
OuicMURn4w1qzfACrMk8N6HVrvp873JR1bSwMmS8BysP0o2y25jznPrUYIIO9H0VtWG9xdMUcDmW
uDg5Fo0WbbqaBZ3hGC2XOV1XmkHh6NVymyfY7Ad55aJo2zam89rUNeF/7roKdXfq5D0OeYwlsz6B
JUVkFKHIMvzoKqvSrZ+E9cb0wmPUeXdT13LuRuGnCRMhV9UcGwUngxphfaQ2C286Ywuj27HsxVgI
dfnEzs1ae02cb13/emJuuRoCfqS6Su5IEePwA42VGiTmTLS7BvnDxHTHRW2F/xi6ld1nIL78DdIO
HBdxP26ZvCEM6LpxU9DdZ1hHhOgyXZz6+soKgeP4hfdJZHBaGny6aOtxUUrU3ZGMbvOmeU78FPCW
Y+GF0WfhdmKnp26RRZeo3v1mOyRsDAuNaAI184Fm+WMJCnMHdmc6DiAlshs/199tWpW0ERDixyEw
v5KmVVfO1TrOpxuPg21riOyLM9/rUTYMzX/McficLgerFrKkQ0LvIkuYDgfqtvbcAo7NglFQm8EM
3eOksaU7eJWchnaRG2r2DuhBQhHjEoeltKmm8MU2gU7U1uyvpdyHMySuqfOuYAZ9j8vqqTXUIc3F
dOwp4Ko+2CMZxSrQ4kYOVcrs2ntKJhoWgSkl0ovFJ90m9UYH8jFxhyMQrvysi4cpSquzmvPbppV4
DkgxWen2xvRQ4Go0QBtzonNZ9XdMj5+IU4H2Hk/ssMFdJLUCkkPmLcg3lh9OqYcsqyX2uOAzJdR4
WQimow2raIy/mfWIejLniqOnzLpRSu/03mJVoSoU/s6W9ZOVOMneFxVFfTmxZICwfWULUW2gKk0I
/QFOSbTpXGQzi0l3IuKG8W9xaOZo02hXrYlX1ttMJsMK8c0ebwjjHT9lEIYqF37PtOvHtD4YDV4s
H3uSKYzgQHMyQr6gb1tik2bTsWl4HmVblWetl6W3ijeh0766hncb64goCa0PMmqA/TFqpG1yHhxn
PsYqWvvzdDPI4c6J09Oc5WxnOiH2KhIHO0qvvTZeR4lhHEwqQvZ5RGI6OBOnGo9hVTfpITDKVTG3
/aFqZ2JeOi7QicLfzSUgRJrv12fEpKeY2hgLib3vKRBX8FZO4FEuQetquhDWygQEVuqGrSXuEKXR
QY7saVlYLLhmCCGdGlPnLOY1+2ljnc+NvWNzuw4rs8RW8qOEe7RJmwhbnCrefDPqEf1whvVmcAxt
Op9ZxbJrNwxkPJwma/OV2eSDFsZii2DA6CoPNBt/mDnrY1Ppggt3iGFtig4+pKsC3foK2rfHYfvz
UUQyTCtsCHRGM6r7ILfndeiM+EcE73twk0MVObLzRO2O7RW7Pm8zsLHM9WnoKcnJyvgJubVdZV8k
4cL4Uhys15E69v18H5W04StHv/oKz1JXdYjLULQ2odC4tWABqZ4Rfy49mKZcqFl7JrY3dC23IqUm
8GHaYCbRrIbki4HJcc7AshZJ7VcGB+LgOqwCbjSXa7Z5dFnRu4nhpva9my6GzyMnYtPcofhkTjNH
On0ssGerjKv3XIIt0RZ1C+v01oLhqI2p3IbzDUAKsNxMozB+fvaYuHKr4brdomD3jf1Y2jaGx/Ca
JiT9rgpqXllSv4EuYNRHcQeaFZpDpA55YTO3+c7riMkow1CY+Dpcjy9BdSHoEfcojbRbRS+EBPl+
PxQD7XUDR3orS3xUBTpyqyrxOM0Om1emEbWAzDOP4xVxE58MVCN50r1Ok/4aN42DENUwNk463WYh
iC3G9/haG06+VO8GCDqnOGofnbR+YMRXruivTDuWPr2WUfJ5YpBEzPAqtJsNPX1JFVt5lHrJd7ZQ
HANVhIwJ5eSqDtBSjB4BCaJkkU9zNOaTgmZBJVwOjH3EQSy2TBMNzWEkeJvw6WLfthM+dwsGEkPr
fd+wqA0CiQv+zHk9ke23hVPBDrdNUXhZAyOSCmDZWvTmIfIiHONNdY2hmv5gxH6yts/ZLOyzl6U3
VVCL5VhozwmRZKFI4pMJ9oc/zM4oRlW9n+n8gSZVxyUaVBWgp2SDQqjlyioEV2Il8CfOwOpk56qT
7VO/xmH/XEbEgtOBLjmeaJ2EAv2t3eKbU3SvF+t/EtrLC6Agr62EtkijzzVHVBPqT6YPCcP3f+SQ
pGF4iG9s2s65mK+Idv6RKSrKoNYnz3f4tcAY2Uk3N6kfVptAOeNqAHu9BYIIza96EhmtKKB5A9fW
9nmoze+F/MTFElFdt0m8b9hhzzMORLsp8kOJQN90kTEWet/kJiIIY8Sv7JvJplITYhIIneRgoo+p
jkPFXr/rrS/Izt6kztkiTjR6LcKtjIYhR6K3td/iLitTbGsN0mTENTOuis0IXwBFwIh3gJFIhfxm
3YIA2iWzZVGHo4lCGLoqu+zZ9ZL4qO0ZTSH2hlXkDuW5oB06ccSHqIB4+4KRGbNkUWEeINOFaRpc
l1bbnPykfov5/FZhPaWwgHW9jgiUbRyWA394CJsBGV5OWEaV9l/RLTL7lDfRaFR7C0YS9sJmTRMI
5abJNMGkHZTgTN45Jq2wWRLy8By5cBfEjHIgd/BTj/O0Nczxtc/crVMkMb21AN/6mxG5/UrRr2dA
sQoLRTs6LJnuGOcEvdU6CzzrYtrLripXV2bB6qVSVlO7zPFH13fSoAXbN7yBomD4Q5ty3ebZ/TDJ
Y+XvfIvtUGXXJ8j5NfXh8PtXzfLVr5u/7vLrfh/u8v6D/8H9Pvza+3O8f88oNBLG/+uHeX+An4/1
L5/q14v49XSLZZ0R9L9/L/7pX/zhqX49jJ1vVDp5R+yO9CCNomdsbSsGzJFn5XDlmVYipFKy2oET
2s3Lz4XM8pPK06Wrvtw2B+RK5/fv9i09o9X7l/TiJ4h+yx1+3vfjd7HQoa1dHisMsMWyQv3t9s+H
svu0/vLrmyX2ZGAx6fF9tD7YSATev6oDg6d8//Lj7Rj+wfxzFP8uKqXNy+33Lw0ETb//1vvtyVmG
BB8f4P12uYzyfz3++93fb5qx97eH//lwv3708+F+3X6///vNX3/4r+/9evB8Ft3WC4ZX6UXlCThc
LZglO8Upzlw7PwQlX0qnQlT8/t0WVubvt//wo/fvMkuOia8ZmtMoa02adVucEcx/Rbb8JYgMjLmD
2580XaMW5mI4zXwMyz+tSoAaLl/5tncCJsLEHIr8FqUvlvgCG1NWgJdwBozPpboytPdSDNRVSTeN
l5FtYg0NLi7f0CyxDDIw4BKLU3giqJvxIYPpHl2B4TTfp9miw73wiausa5cpUb4JMLNv8zT/TkL2
PerEMxojIHo1s3ZGI9OKdNcBxhReU4xcrxidxKpq10PgmbiF0tsAyitPh+bDMhnhwTuLyg6jErv2
TZ4EW+WCLoganH+pvsZRLBH/r7wwb1dVpRS7yJssd58hOWzSOi9u6jR95gk/+WM/7YjOSNCmIOQK
4x3AFvFIawjyTwyrS2y6pS0vpoaKsEryZahZQkZFpDxp8yZEzz3a0t7VY3CHmMti4BZ9jeVcb4p8
aLF3Nv2m7LcgHh9zlTiMxgYUIVOEz7fBN6vsi5iRG45znK4bzRy8aEaxtuT0I7MbuU4SzEeORSMk
DoyHgfjtPmvar9prqTQy6tZgcB/DpazN10NNIdxaESX4+L1p6+CM3DE8VHLeVp0+TliM8AJnb0iM
l1ynAYM3VaTuyks44QBCRC3Xg9a0PTRIkWYmCC29oKHGNMAG6wS9aoQziHG56hDNlxOeXrtgzozA
Pf+a+cadqKWFnI74pNwdMUTV3bBKdWKufNKXd0umJ6oUY8us5Ss03+xrWD3atZb3jCr4P8X0nMB+
YOC5opX1mnQmYmk7sjZo+GfmnMp6ncZQb61h2bjVxjZU7rXfW6/SWEhkuaw2wkxR6VbK3eisCJ51
03NwYwF3DJtFN0Mzawn1pc2w/Wo3utCGfvQgeZX+DIpQxZepNyE0NBmL9IldgzxLu/wSqXqN9XtF
s2X6ZLYukpiSJD+nzpNjaGRffXRmbonL0Ax1dhWEaQ5aex+HDIFR6NBAGNhZDw79ZKhn94mU49a3
CkRlOeP60V9UT9mdrYy3ufeGjQHsY00xoeFcmrdTqj9F7r6pETCw/3rNJU1qUNQkPQB6zmDafRKR
4i2lj9mLAXE6DsaW7jyVXzZ+QjQA1unJjVLYig3lRjw2BkaaBdLY7hAZ1g7O0Kp7G/P6KjXyW98K
000S94+q/mwlUbzxqcpF2hQ7lTIuztRREIm1AomGX8vQizJIkaVhZIckqF9ynLHrQo7pvmUusmYq
zwxftwcvg4SjFIObVp7xXOerxIoe0EvQsbdohOsmeS0lfPEMbddC7kgq+4thLj6kyCRLpi0wHBTy
jmPaWnc9I0D7IFoQYbNyTqIuEambfNLGiBE4l4RfcKI1YARsfhP6ZY75GHWX9xh53j6xL7n0Kelk
j/ykj34MzH7gm7MPnzMfMQmuxWpka9cy85Iy428eXSbEfSau2VrM19jQszMmskOz8PGDGNTa6CrH
3KgQNG2C63V+v9nw0V5Pljtf6W4m5GjGHKSI0fz55fvtmrYzQIQ/fPv9l1quiUUi+6tULrrjn99b
ft+Y6wOSfH2qsrqY91J1oDWr4fh+D4fNXEN5fzWV2IVM+Ax6NL4A90H/YnbnRlgY9xNosLK76mei
pyA/HxrTugSNOtKx4UoZhGIDj3fWuY8ODlhlOkKBxfgHmSTCFXid9N7ZyrEjkZZYAddvmTD7CcAL
kzip0TlmZT1scOE8o9m5RX4d7Y1FI2mFtXVOMxCsVoUoQmK17bwUn4p/6ml2b8so+WQOKl0XbIYp
qqHxhD7arvC+nAQfrOnSfuX4WVnU6SgsHZfjahypjIfglATRM9gyvfjdv3UOzPsATB+bWfRMnOAg
nIgjmgNEW3InJEoTk1ay4UKImJgvsL3gB2DpVknt7GkgjFst5SfiE0YAJ+q2Qo+7ge+A9hGcM2fN
sXKcH7YxH4RToDmp5oGRRv2lMjN0d0574EE7ZHQ28kOfvcoT/m9zEyTZhffguevdB/6eXWDZP0wZ
3/tufrF7NWy7CIzRNH/JpvRQxfyBUvkbv0xv7Nl8aSObJWcq4OGE7nby5wvEIOvUdw9eBYXNgWrk
TD16q6HcTkX7KJoMAQSy43CQW6kQ9Sp9turZwAJ/8Tt6G3Zt0g4woJdGNAWp99smwz8V+tcunf5l
RIkZyLobqr7ZCgVe0Ot4E1WY3mqmfmso3sHG7RwTRzgZC3oa93lLD6CzCjCWHg2SqAfWjEaYnYdv
gdpL3pzTbCHgKciqxR2FvrNlk9JapEUYob6rAvQ5o5Nd9fZD7XqvvqZMTe3wSE4dW2wE/8LiTyF6
ArVwcCW77siZ8zYU0G26IfkmTLlboICtaL4VThdAzu+e4qy+Vbm48lL9gjQUblWJSk5o74qN0Zot
MxLEuNDrrI/p79X9sQ+K2zZI+m3lm09Ip4oNkZ1fJodDxKRU3NbTg0wd7MjNBTb+Q0Fd0DmXSYfP
KBhONS7AVegqnDw9MFIEmM9tlp3HKI04bKU+O/V43baOT2KF+3mIUnaNduNRIy1dKbIdovalHvJH
a4qOrmW/5Vn8wtDS2qdtfZ4aPtxYOmfHBfpaf3FSGvSGgBgDkTabuydgg/2pJ7t8lYvme2scUsek
GvMphYcWEnwfonCIKhguZl4gKt+7CTzF3nuekvuUTsrK6qvjnENpHrzy6ErQlHQC1boa3Ys3ckxL
2hXbmfbIRue5IoAq/jFWoLakCqDxhpjSsN2gQYsDDlM2yQCAqL06tZkjbFq6+szlyjyGvddvUNCt
deg9TktefNepe0PJKyO8Q08LrgQOCNMxpOtlfGQkglwu9Ea2/HSwJtNjw5JVi7fjuoMIsus7dVGp
woRnnwBxIvf3pnq/OLYshXM7d47JYMwbP2D1Koo3rPOrDjburuxuxZQMJH5QVcDl7FWHfb7BEVQN
6G6tnrjewb1j5wCfTl6aYAqxnudbXiR0BGgMa8fz3jqJxUXzsedRbB7CItgYYQ+73L8qC/ruRazp
VWcMf0ZHM7utg08G/ME8hVorjQBrtbGUSDaiolpAdWrs4TTN3+bZWs/oP8F+gIvswiJa+RI+SBiV
m6akqKTWZtS4jUmAWBl5dydMsjomVpYeP4OHhDGsJe+GMrnWOmqT+Z+VoX/YWgecneXTXHSMjLvy
zUrqSzYvqGSKz7nERpiN9KQb9478BkYvltz7uAi2TvMWQBISzF2YRizB96O8IGSEH+KW+5DpP9V9
v+pcmF8t+wgriq5UW0Tbws2/NX2w5S1PtjhLrie77LY1OdjBdErGDAk1vX8CEhoCWkx8u3aAW7KR
XrWN6+LKV/6+89+nY1ehQzkdqAjmpcdVQAWXsRHIKtoXxXIPQ7LdM16m9geUBP60OvUWs1jokHsu
GsAHGxr0eZjfGBZy51KPUO2zW1bvEvFg9YMRLHtb7Gg5Ig6H8o2aO9oMTfXWdzhtfHsBg1IVdECg
1oAkQJBrhN4NZnm4ZEiCivFhlrTPzaL8PMyIZKbuqQnUVy6n/rqvueQEyVkil6Prqj1OocJBNWbN
zPufePnXZQy6Z5zC7x5um4Wgs8txyBkLSN0ojLcu9cqb2goPmVCf5t785jKoWI/ht8g0n+ceZRLj
ZC4QNY3gNiBSKkU+yUzwJKva3Wd2aexzt7krZuMFhCNDxoVXwOWVJRzENu9sFjm3QQnpbA4Y4mLm
2EYd+sjISTaRQuWe6x/1MCY7q2KEJFopGRq+lAN+X8Mdad3pjEZP7rNHyq/4GNLdf//X//p7RtSf
spD+nkL1MbDqocj472MG1Z9yq/5lUtWf7rX/USxpUM3Hh/p/Mc7KJh2MN4q///e4rD/FWfEyoo95
Vstv/MyzMu3fTAfoqJCOrYRtukRj/cyzkvI3Vwll+0qZ0vJgJP/Ks5LOb75j8TMhQY0jeCF47m95
VqbHz+Dz0J2VcCMg8v1HeVb//V9/TJOTtkmmuGV5QvkWMZLWknD3hwQ7o60tGI3ds4sgppgfRq5C
ffr9D+/H78fNHzOzPoTdLs/BK3Edh8BXoUz+4D89h4YkkqssevFycpQSz9k7AZhd2IxCnfDjbM0Q
Hlvu1D+P158fwz95WlN8fG2WZdlL9JcS5MlJ70NSnnJgLSMAe6uwWLbWZyf6ErnNJmq+xBadPjZ+
unyM5TJwZ7c4MIRjA58Zz6V1toqLrU5DDVZw17Lb/uv340NCoeT9VoLUCN4Xx7JM70P4XBeX9DUM
8y1Q2ZVHH2IheONdLEEGCorgjsbgXz/hh0y9n0/oS2UqKZELvb9Rf/iQxzBVJerRN+3RFze88c0T
OLobMY7/5pX94xPZlnBtjkub5D5TfjiaXBChERtE/Gx2ghJ1pjZneQjU41+/niXq7c9HrWVbPINj
S88VlhQfPtl2LvvBiuGpSPkmaTfUDoMxrHRlRoATODEopx7sshDuZFDOL1VNYexY5k4nqOjDHosA
uUUNaQ2kwJgsfjLunkoEpSzdpeBqn7/FUp1bBG61dWHN3GPjXtf2V9eOgYAPCD3nDQQahgXQ9ZrC
uGK5OUbWvB7dbvPXr/WfvKXKk3jZuB44vrA/vKUEBvk1UDPQMTBzJqImGdiwff13cb3/+DSukEQD
K6lcG7/1PxyTLhVqzDlhTjhraLmZ+uIyH/1PXwzP4uCEspRp2YTo/flK4FA5ZVoiK53A7mBn9aqv
Vj9s//pJLPkhIpPXYUtfkBgnpcf19eN7pspZAP6MqpXuA1CFtIBImLnWkfKivSVLa9ioQWjzWvvN
gFTHVyBu/bD38w2VlQsqEIa6OkpiIsodM2YrPWcGAPgrLtcVc/eWrUIv2ntZzQruo3R7fKz3eSVF
KrwDA844hnPoENqmvzUOiJHhhEPKm19gppC8o+fCSQ46nhwQeuB88gumSxcVRKHwnAVuhUfWUJ4z
gUEgX21deBNa+Q7poN6TaQIVLg9N8RkcsCxPxmQq0jXKhqiCFgDoKsFlHt8ihO7vSyFCVGpVZhb3
Q69Ro1RZYgPQpnqH0haGZnfyw9Krt9JMjXOVlFZxdH0HUddkVG5yTBwJK5ONkxtTKFv0SPaZ0GG2
cWNjWiy/uYCTVIkhP9S6DrqVMqOmP6iINtkOG2ZjocZCcreyM4GTCFdL71CzOPA6EhsVB3RN0igq
xLYWZWSR8iAoaVVlPVkNCUmr0fYj98kkjkVvzZmN2g6/6pTmh4rpgkdfqY5o3I8/giZsRuQzcRCq
kp0PMrNzZRfJfsKK/AjHkfdF21pZD50yqCC1E8TwM4WcuuvWgY38CNWAkbW2c/9VEw6it20YGQNC
Bo6wt9qtaIlESQcGqvKrzt0NpV267JZinFMZx6Fx64jBS1/dKKppkfA5NsZLkwW6eug6BNvfYlhU
P7Cc1Ui4e+aOwTjDP13pVGsl6I+APXEh+TdkJ6Q3rpHwGo26COQGFZ4dIgOICuVs6QbK9q5WLUqw
SpZt+CTmumVuWba6PmnhY2oXflkeAkJK+Ggcfw4zvN3d6NCOScA8BfA3pyF8wN2Y45fzMSLcVZJP
8BTD1ag3UZJk6R4hVcfwOLeM7klJD3zgwl8G2BbrBpozH55rlySo9WQBPKhxMGz4dNhkR5xfPgyf
Ad188a0qdTSmG1pwdfMChiVr9ok7DdO9DJohvkXjYUf3fZpO41HXPczhQ2QVDj4qCMB9vSsVE+Iv
/tBqDzTR7BQvMydtgcEGD/z3Me+JMl+1NfrKCOMSVKMvqPsalBrA5hBw5nGro0ePLZ15FFQZ0ReR
hhzqM804KmYaJz5qFZSWaM9moGnRTYGEx7wTke2xEa6syv/sIr+mhq9mMuEPflD6e9wXMMZnv/dp
3BRD/FLYk/EVPIFFezKJitOsaubmqKd6ANCuQ7ge5xfuT5SFUOgW6a/D3EaO8CbIymgfIqflpIdK
L28xrpQO56Ux5BbNTeEXt9YYY9XpkZo7a1HWubMTOmrlxWMAX1Swl2kEMmsPnJK2GnZp2N+iFNGp
Q0KJANIb3x2Ug6DACbOhkuuxDwlwCRgXqxPiNgTPQUITYk98QPzWj7EMTkRvZSX5buA3YMsnEY1G
QGH9g2dqSXLmnDYe3e8cwAQCDAM1Tu6J21YOzsK6MxT8P+TiE5t55H2fGnzrCB5yzwKHz8SekZUV
Ib0xVHGpysjzT6Rd4bjPR3/APyCd8a4usnJp9LOh2joOKlrbFXRIstyrzmKa662HfBHZtFvAaKdt
BJt6EjQttnUnfHh+WFL3PW0IxLZ1Hb1myKWAD2VJMH2eF+kkmUZpU53DnvnRjTZHeiGDxcnr0zsc
F0iMBe8axx2Vm2vtQ7ypVBQNzXZv09VZ9VINqWyRJUZmf4UpaRQndM2MlybczQ2MB5radHHLxXhg
OliRpsRqvw3TFCd4HiSApTAgJAMqvh07KwI1ZmZRuk9D8j88gCAqmSsXU33ov9B9792jG/bB8GyL
YLEhdyg2d5LK0jsDKvDMNy8ltvLa7qMWYXgdIRmbLXt+ot1TzacW9Vj66M7GwGdLOwtkorK+V7Ge
0qsMppD5pCO7a3aiYp5zKTlF/QdX+PQ/i2qJ/bKYVwASqG36LFQFDlvYrezLoPkZYv97FPHvpfqH
reSHm//7f7Cz/P9pz+hQQP3rPeNzlL2+vA4//hyCzK/8PQRZ2MwKPIYUloVWlwLn9xBktpMWJS9F
PM4Q7LrUccTo/Aw6tn+DAuiZdGT4R1Jo/WHTaP6mpOtarEUe7Sbh/EebRvaHH+tFtlam5PrlsIP1
BI/650qu8AtlEciLkg6YxtZRJaUyOvNrQSosntEDMnLarjlw+9AlM7LBh8ewtosPhkbwQD4vvvqk
2nqYxDgJcUInoqlu6NwUuzG2shvNZGSVJ81nLO7Vwet7vEbRSg1uvBvD6b5xljhEnSFkilPYxqz+
VmlFWzueGCu25JraAyCK+aYPAc95vaRPxKXrkpbWrSA2cO13TXwMogF5KajKddYQE4aCrU07sbU8
vtPb36ehjB/bBF7PmFfOym8UhX4e0oh2w/ImmbMrhUrCaEMmpo41HzuZMhowy895Kpp7tGffOst8
BLFSHjunM0mekzvbRjRN5NqChc7M69JlMsxQeD2O+Xnu0pRR9ygu4HTGTKNiM6pgPUfjiL4uenT1
i5e9eZl+qYzp/5B0Xstx61oQ/SJWMQLk6wRO1CjLkl9YSmYEM5i+/i6e+3Bc9rEta2ZIAujdvTr7
i/lN1ACemK1sZ/tMDHk+1F03QJLHysASQ85Y6+Piq9coN5iBlrl7wUT9bxRx9de20LxrgadPzVFw
qcbF35gDfD1nmDXtRGvH3a6NZu/ZYwVjfm5lT66PhAhoHw0uH9xwwt0X2lPbXLzShK6BzVWTx73L
8SFuhTZ/Ez6O82Kp37iC+s7EglwOjI+rxkRwBJRsHTDAvTYkTQ9NTzW09lkEpLTKcOzq38oezRMz
NtzII56CqOHKUq0x7GQ8xyscgYoqCyq/syTXriGfmArtvIxyImnZ1/KVvt6To9uvpsqaP3OxMGmg
j3AP+7k6MEvZU9iAJQyMPhP85K/pzn8kveQbBHW5y5iPDm3+QpHde9IFYCmoqNkAkP7jmRw7SwsS
SgdcQqYfcWVATo1TBQmgY4Lighaz1+mnMzLMD7BNuO3FJs6zB4qIAM7TXY1xvyf09Rf/iYtRTp11
zJEBV/ItNadyN5spsNkk+yvQM7ekvdbxvYwYuxQnj/0SnBOSpMvK6CYpSjR2rq7KRlyB5ANcahw5
tqAC16naprQm7CcIXZvO8H4newaVJqrqjTA3wODI/Skh9RwnwgybspChxt2eVMp/wFMk13Qre2ye
AfQYpBDk+8a/hwF7q1TyKOqiu3H/JC9R1T8m5PumtAN9p8YMKxv9XD39oK3AqEFZegdUIX9hqc7I
FJhnXoK6tcV9OUR/msjyQZER++wLKs7zqu/PKvIw8rkRlHy7us7CbI5VXR6ztDYfBSGFJE0gFxo9
LvEWZy5QSx135Js73M8RDwY3xwc5lN410BFUv7X4KSkCOGb9P/ZCyaa/TpYyr9nie3cAqbfCC2Dt
Oe0TgYcBk6LfHsbGv6QYnzdISw+zkfrwaoFzSdV/TjEiggvYDK8yaccI/MiEUt8Y3bn0gmxl4JRc
9ckMVpieCcT4S7kk2R9XqHvFbph4DaAyq+BJZRoAi+CKzVxM8SYl/foxuM2lKQDh09T4IvriFvGM
WUYBRq4m3SioKCaVfKPs5wtL2VeM/RkmSfdEMeOLqVJ9G6P0PhPWt6sHc9sqsyGXyBtp+tclYKvM
Ka85mDMQIOnABIoZLlBpwp5l0I4Lv9QmI8fkXeTVAaul2cM5ltgIpzJ66dcGhqJnwwUBMuzMeSYX
5eQHKSly0Bf+RjIHZ2XGL1VvqLCYpTp4dX7fBQnD98TPHqzM645+WdzlPMjhy62Y9emcoKWjwfFe
tr9Rmj9n8mHwKMkt0bJzgIibacWkV7r5N5stncRc5DtrxbMVtkWPuwH9zFek5YymCtOmfsVl98hO
SLDMoPeMCkh2HxRr+hkXUk4TpEWeqKddch0APZvShDLmEatJ1CGAypRY0yGDGWQs5SmYwaTCjdnZ
NvFHGh8Jxcg8ujFVoiKqwm+C62eXYxCV9cBwodDPQ2xh08oNcdZBxAnSre5jHlE7/MTlrrv5Wfy2
CO8WDysr2q12JninBzh1WLTg3JrWRIsvHWpJ+tHQMLJXOjCY6Y/FhoAKmJ7avXR1fiM+74N/ybtj
O0v3AKtM7DmmhjC+dMvd40b5J5gjpj9YULlwp9EXr3WTPaYBrmu+0j7i6LlpbDzXLXxMXuT4kcz5
J418UH4SyuTiMt9Vwf2IihDmljfwMsFOSHrgIG8zpXDFlRpMe6fi6Y1YBWe/lDowbv+5AXG+1OOv
pSaNl619TgazZjSkFawdmkj++1kAZgKfCa2gcJ2JMZDu417ajpn/D5TFjXru5lr39RFVKmB01N8n
jCw3KeZJxnFTtHFG0eAaoDomqDD7q6L+GQxI/GbmGJtIk3VMoUCmarDOgrkeewUL5PAgwojumwUh
ujBA047AiGqTGmHb8EMVMDhTYAbD2FPEyf3sKyPeUVrPTkAF46yqX4/ep2YAT+9k1t7HzILtbvyX
Z/UrfM8D71n94Rr4vQlrCKurD7pd9F6PDNX78iJ1f0Lecd4TC1+62+A2a5w9SZaIspuF6E8PR2dA
PhVBbVAzgglLIydg8WWh4gB+zDrd3tdN1e40ou5OmBjmZvxcWz8COpmL4cLRyETIJoKiBqhhlf3A
oaYN+68livvNOKeMOSf5K6W98jQ9vMc8fHpZPdc0b1EQCMPcqO9sHjhHKdp3OlSGAU6S3zjBru+y
szkO2ZlI1yVJW/+UBOTPhgrCU3fzlG+FSF1MSBkSWyIMkIS2NsmqKPsZ5qrZq754ryrkjEDPfJJO
+cHEjxWhG4274odo2YcBo5Xbyv6Masuhn9u8d5OhwfEWFDezlx+lXPpjasaHZLh5Y5k/zX1yJ4ME
WkUfTIcOgghzY27yLu8fPKP5SUkRO6294eEz7qTfXwCK0lsap3DnSiBOKIMEtQK3AKhIpqnUU+hn
q1s9iCBHHUyHoBJQ9/UNIOCXeg1+RLhsiAByMzjlL58Ox1AYF6XPAyN9Xft17giZwC+EKlKv7Wfr
amwhF+SRzRk1IcDHXmFnJU7AUR9TrFSqY9An6LTzy+hk8tTHpYoOyBZCQk+6ls9FTYRJLeP8V5bD
N0sxuf/6md7cZg+/4rPuefyP2gaWVF9HpIFNOj2K1H00WvGzdH15iJrfEmhatNrblwXL1rBDF7/h
m3Kulfcsey8gBkXaHds4NP3gM1swnaMO7fVS/xBH/oleIWSw7fZobA2aEH7AY+J9M6kkDWcnzp36
nAvetjg5CUhB8QjMo1qsB8XhoNRdfgHyX1Am0IXc/8WeAr0adCbIhrna12y2dnICyxrV9otNXGtv
RfK+srL2/q7M6q3fBvY+KFIgICRBIdvsDb9R+6FPii2Z5nsjc3tWKv9beagFkfdVq6HaKsHwpvEp
XyRRJEEkhW7VLmdcEjgv4m0w+N4OsgjtIi22AMQkJKMsDU1/Ry83mapijg6A8ZkOeSAkhS/2UQEq
g2i2xZniENUZFcXrDNfWX1iPh41wnQ+TzxgDCDvQ1Gq2xKYx8Qy0WIGN3kDP4r2VAoHSCvaJdUsX
pu0+7tlNX4ozglPy3KRKha7hxki61O/5MHLMMuODTZ+DgaSVg+tx3+U0gHrm65R50dF1UfiWUWsC
RA9ukvf7vh2/yUlADWEv3oweqIDUwvXXRwRtnYdaNHe9Zb4x0v6wESPh7NXYFrr8A47wybOie+H9
4SyxhJFS9+Bs4OtZsP5im8Hdwt0z+yO3pO886bVABokLSJhpXyNASoBFf7qWmL6DqrSPKGfYtGKE
K9OHNvSMQ+CZtFjgxVG+0ePA6vZ6Hh9MD2tjmb3RHmpTLlI7fMkk1iDGMIk0Rbxmd3/TwbiVkq57
z3huQAhBaEqqLTowGa60u1mwRBiQ02Vlx7V1jMXyM8SGc+x1++DN6tcRCy8IXNLOiPWNiD6nnXZZ
NzoFBtg1rAw9m9lKhYV6JdHYTfKDcVjuRgtHybKuJmlDCqdQn2VZm5gQDBBNkefBdhvdHdLisSDV
fpAJVcAmH17PVX8apHobNUikoFVfU+6dskEPfDWuBo2z0oCpnKhgCEtPk85bSOgOsCpGng9OEFvP
pMxvXYIjwsL4S0lTuSbp3wGsoQqlQXdqcgPMIYRhpPH+cdDxZ2G9ti25xsiDsExMFU5h8OSuMahJ
AulELsXF3A8dhtjlOfDGGeeINC9BymMQlKsX2qbFDg7WFtX2GqisSikJpRYyjg0XVEFhnIzC29WY
/R4d3CAveuj/NIyLxkrz3fvAueOi2cPNU0dkLoCxzrgtRooGotzvjpgGj5Ml+vdkgD6gfP1u+hRc
sD4CdxrOZWOA+5reJkGXJnphvXdn5g+MUz57mT5KIxg32Onv66Hep4ULE5dWo60zxR9rf+wOSzF1
Xo7aVWiIO+S7z1G7X67vfjmTf0TEnULSVSPb5HE55ZTvJcETnS+kkAwOgVNQLiDio7du8oFIsq3z
fPFcQVecGmo668jDwRXLeBdlDuYoltK7YZp9MFo9J0PRcPByygO9IzS+RxWnVNjCCPvdt6mdM5ro
gqYZPUD3iJmxuQyZQGtQ3rJNPeJ7hSGGazlCa2REt1fVgIkqwchLCLuZrS3JSMxcseNvXWnzStpq
KyeT/WtsPhdk9WnEwT+KV04HoE7dwD657ur5FKV7iYT9TfOwdYT3hh9YtD01pfGI01AfowTsmoQk
AYFl75bj3VzFyKE+bYKqf410lFyk1a2fwLJJs+6D3Z91RAb5qAEwbArX9Q5mGy+vPsWYOEiL7sDu
gc2go+/6olVhZRVXW0x/lqF7BoCd7Du2LOHMJvEeJ/fFj22TbYv0/rWT941TmIXQee5jLR8BdW6L
OeNEOmsYwQAPMKBFtxK+oiSueV9mpnm1KDhrvGwieVV/AxssrJHAAR/kwfxg094dM5/hSjl0eud1
7o3RDY9j2rRS5nSHUtj2OWvlVrnNQxwN8x5evDj3ArQqRuMQrJV1jsK5N4MzEhjrnGjdrcE7fP7/
D6ZT7GtZ/bb4Xg1ZQn4mI7p3DW4WOdKsDRTS70sDfQYiFATxcZtMOL4NTybbrJbJvY/JaZsW7Qm/
nHsS1Kdtoi57Nkz42GNJVnN2fyNMCIx/KS9cFHuPcPK96qjaMcOD+obGThOXTjfOgp2XxOID/OQH
GSt8i7O5HTpsoFBrj7bOXhLqf8Cnug9aDLdlTQmMALw3w6BJyuVQ5AqWSaQLppJPVvA4JkT8ag6M
2ASCa8o0cGtTeDfY4rgMtHFxUSnoGM8QOmhvoxFZRRVdOoDCRouBepRydjOgzQFy9Lpz0ihAiX35
NzU6+gIIk8Cva7KrOdvfUEPBH6nppVfkI2cTeAj6VVHTxkhPrQuOFAA+kct5z5l9uMO7P2zSMW8O
vYcPVAsBMqByaaN0zBsE8Oqs8XyR/Da5dnC2lj1BuConEq+KJ01VBrsZC49b0SB3fQHCrUlQdMbG
JAy0Ma2QUSTHvpYlvO6HH7proTJxjs37pTymzSuF0G+rNnrSEZOZsWY5XDh/ZlU+HYA5EZrXAkju
7AjSNOTjk8w/MN4v2euRV7BHG9aISobNPGJ8gV31L1DqZkKxOil9MozWC9kgXxx3+ecnpGKiSzAI
AsILoxtPL3QBdnJTcP+Ek30fjBGBmL786irq75zpLwWRP8Iilokd51xM1jttxkvYTtkvR/H5ca6q
cV8UlBUofl5God2NLwP7OopbJQXtHnZyM+t5xoAWi+qWKjjQzvC22At4uLxnV9CdNnMCImUFHbVZ
iGmWMft0d60nwFuiB7pV6vENBFN7TaFBAaGcd2XCRyQoy2g4yuFvhGJmkVhIO+enHpr+ApAS9yjA
v/nSraXmJe2aXJ1lTQ8IP5TLuOmGiXBF7vobe6jfYpS2sE+T5vzfDy0sRAw9669t6FvnYv37cVND
js9/e/ipew1uGlqJ5oZum6vBDPkQBFZ/1hxJwgaeBB+K3Hq1+EF2jmmube46N0rf8gjzrTkWlzpl
gBo0QNJLQbE8KQ94SxENRFNEiVv24KU6OZQtAYratw7WwL02cLbZRK04Dq2cQiupnhv6SutB268R
SVfMR1UR8mjI9sxtb3R1czZBlaE3sWWhtSVxYEBJ6VgtW2LtXNZgIkF471NYo6dxoIQhslz4v9XL
khYVc13b3YmEjtR4nOj/jWzzNKqPgqfC3oPRsc0Ui1wW5D6VI8u1hX8fLvDDVww6soKBX53F7ZJG
wV+dDtW5lmZ5sTPrPPfVk7fnFisJDbtMk0d51cA9mR2KgKRCVIjqgIlWrQ4VHfZYOEm89VysnTdr
ukXqaz33dEGTBM8Hz7mUSp2WVoMJyOpThO6Lg9t8wzpgk/zwvUPJuAE3Nit75e69svH3BuD1h4Zt
eWi0OGWbumQLki3gEhmTboxI6EP00OAYOOvZPHRjALOw6+jiQGDy0CD4ZJ1r3fl/iozKdeaOMJAj
t9w7ZQ7psay+IWCBSDAQvOLIhnZWr02oFpAcSXKskdPBi21w7VHa0JJ6PyXm8DYm0dbTw8WS22lm
dQaOxyGFbhzrKLOBvEcPn8TUENQE2RjDGdvNQtJ7l9nG61Lql4w6UeKmgk7T7gqKkACZZKhxq4Dk
A0CKvE1uw98afF4HAdA7NSEXKC1Csk3Plq303psRa9OWqYdRG6RgLAGYTjp/ksraF8pu3jAebkSN
Q77Klsfcb5pjHgx72qnBtfn2WzoB7DQTEf01dRA6hb73mlnc906Lp3gipJFy4oCZJgjU5WxCNRxS
B7/srR+qD3ZTNCcgXhprR4Vkt9RYQC3Q+DftjFOdaPkDU3Pia3RA7Mo5/8074yPJfZNik7XXrGZr
nY1AZXvzTWbju20wcxFI/AMj8qNwMnwyvIWtqjn65py88qZ9bBenu6Z9+ZAO3T2uBkJ37jqOtuaj
Qf01vejOb5fCkiCV9ZZF6FYu3Ij1UKET9alm+VikQbrHuLBxm3vi2fSRm2CAAA5yaYA3ccydLJNl
D2fqd5RFcEp8KsMoXKR/2TP5UpW3eV1WEVbUXPvKbs+d17THYTSvlcUyahOVx83c3zKKG4FZQbyx
qjBbk5COY8HOAaOzVT+TAjU558kHGAvWc4EGr0n6l3AEdkn3JmygZnU0f6JOv6QONfDl3O8KTCAs
0ZRTGBhgGKx1331ZfsccCDbT6IXLgrYGKPWeTTP0i54y69q+6ypgNTYbg10amOWaGzl4FqJxmg9q
l4/5Qc0WgPQO7vltcShoqDFrY2WPOMn5JxEb4602o6e8K6dDozOPZs9rv2CuMhjtYxbl6RxFTXZy
oUC0oIfFkr/jYBCXYCKmkiBA3rcl05lWcAsh3JX7PM75OG2VPSoXk3xdGn85tHG/1wozvGMGx/9+
M13/BEm19sGWp///gf/+f9+kEPoL+/bfr9pkzh6xEzwie4hKK6C+4OSJInuP//0QVG9sGI9WYyXv
ZBHpe6ZY/amys4YYKeJ4FwuCRRGtDXk1pY+57NxtqYvyFDnj6sACnjF13bVI5OvAs/iIA+kjmCkb
IFNv7Ivg5kdEqNjW04zTw3GaEvAZxp0dmOqFqszkPjfdO2xI6oWipjd2rePNjZC8ASHA4gB7OQac
vwSOVBXzSgfviLtSXXKr1y/JlK8UvIO5GPrgFQHlG7SYeP+4AMcX1ZUPhUfn1diO7QnyFnMXXDhX
Cr8zDFpe/9nk6cmvnV+4XfjK1hB65pX7ZWKfGVss8WOdNge/kt9DQ+NxlQHFN0a4qyajVzXY3HfS
iO5KSiTuR+xv22GZMYx5mNcX0p84Rk4A2PW1oUmxdE1Q5S0Ho5wRKjqjyyWFV+pOjlLjlCGl2ILS
ROkkg5Q38E+MGdoE2YSDl2jCD0tfHCYDLLsanpOZ9EnrKgUqlAEt7ePjkYK/ypRHeA3dqyiDW51I
uePw/oTYvU9axPnOQqrXynnnPCbvDDf4il3O/KW2rLNHfKPny956m9VgQOL77r3QaoPxr12QWTZj
sgjvTMF6+o/oS+dF+A95VBB5qvjHYYwnRxclymJ6bEEV84tB3tqqI8g2pSkDjiW5KIRNqx7VntRC
2EqzeXLK+dUmmXVjO2RttRn/FEbPyuW16cF0QW3ns3Fvevzd1sq+CqI7oTCG5aA4qt9IUVn7yYBN
5+cj0LSCqndOB4ADBsErhs0j4+a3c9nG1U30M3cx21f4L8/CgMzVzmaBeN8yBmtX7AD3O5Mawt8Q
Ts7abq8ofsQmFnoDNMwoljaqDzvfuV+iG3anR6soSch6EXraYtun3mJABpLtk8OWczGmOQysmiWM
lYL05LR7IKGh7oDuEultf33NJ0EdHjppX/01Khkzehr3TcV2nEFWz2rIuiicodqbeU4bTeFvRC77
s4iXf2bYt/WJofzemEuugAKjld3/y2ix3dQF3UkJYxqcK/DnjNAQid517vhUzSjqhsFIJbWvpgcZ
UNbImVFGmbxvc2sQsxmAMBgPLTbNUK44nNqozw5LqOcwFprWvES5BifWBAWuH/Dka6qiIV7hlp/+
3FtgT3MyOmsCo4p++Q4Xxg9kMzKummhNazRrboPWLcqkxWO2Jjo8oh1yzXjgLAb9DuGc8EdFCKTE
SnNgpCQPkoBItyZFjDUzkhMeadYUiYn9aZMRLJmTb3/NmZiD/W2b9gMn7eOwJlFIivzjoOlT4+rv
vDWtgjHkYSa+gnt12mNVBQ/0Wq/5FmNNugxr5sVe0y8tGdnWFNeclN+2JyAjCcpMBGZUoP7QbUaw
kyiNvWZqesI1cO4sDkE9i9taNxL1PbrbmsaBn7yPl/IfvCTOimtip4pPFjsFLL6Qd4n0xLS18r2p
xw5v6x4e03c+2+oeByKEVlhKCw5cxocRtCWaJroRz1TkBLcRq+BIVW2IG7/XWBxi5wo0Wq6Ig3EL
HAEwUiquPbEkojqHwcJH7wJepfKdLvYsC3bFmmYCNkNOBtg6uvTMV98sa/LJJgKlwcvsu8HYVar4
9taUlEtcSjP9iUbLPlSoMRtLzLtswSrQAqAp3eWuZsS3M72h3yQEsWT3L1pzWZKAVjtwcTpEtpo1
u9W1dAiXVEm70D1dVrR4qP+Za96rJPiFCBSfXOX/2gP+QpJhnO8AMbIOBoTGCKfSjcdM3yJOJpvx
yWHUvenXoBmBM+BzW/TYXbQm0YY1k7YMzKUwarIDXwNrC481ePtrjk2tiTbgL0DQ1pRbtebd4mw6
kbx9mNck3FB6cMFNXmmz5uS64Bqn5OZS5M5qTdKBY4FzSbhOErIz17RduubuOgJ4/ZrE64jkaaJ5
5Sif+MdSthf9Zl7Te+Oa41sI9MU9YIA14dfoR40YHDYi5Xd/p4ADi58JiLUz3lHANz5gbmi7LRlW
QryOR9SXPGFr2Xf2KFVoNfKm18xhRr8AGdv5kK95RBihVBPI5GRnNoxGCsEW7dnn1n5sU/OqavtZ
dNYYgrV9xWzEfhavn70mII3mj7kmIhF+KWNG5PDXtOSADXQT5NHAIyM72mumcl7TldhNfnnOu7zl
hsnjm6NNsKYxGaSRwCOf6a9JzYnIprlmN5ekPk0CN/TsPnmB99cn5Em7Q7RmPjGlkzEZyIFOnBmk
j+1BCTKi2jhWREbHNTuKGxEplDhpEUQ7Sv108N1XYxmaPY9OfK4UpyiGf7VDwrp2fXD/3GQkmsEa
DyVOEXgzzKb6a51V5s4aBtiKc3E3FMFX0PvyUNcT3x5mZz3L91owJyCHvevd2eUlv7LO2GEqQHeZ
fTocaxasjQpWyTcer5UPfg+Mqf2kpbwWZCIwoCLm97HPyYxxsgzANvvpy2SW3QNl90MCSxzpc420
W3xXXk/Yzoq+ac90t6MBjCCdhh+e4se0zpe30ss9WL/x35Kg3BYBw9suYJ9OINMlhRTAwjuMGGup
UdQydLOBip3JwLJitOKihomhGQXDWJA+qJ3Jjr2PTyKSFwqk3yy3mbOt5mfjFEdIU0AmiwwYb2Pn
8KBcExlr4RndgsJ6NwwDjHYD9mMJOFo0PqQdCkRJEal1tB530+OiZsLRgtUlohO6WAW5Flhl7dFo
33C/WaSzqUmBLgvobnKZi81NP+yiAsSq8O7NgHFi2STiILXnhvbaCJxWXnFSToY/faE8xi70lUww
Sc4pZ6CISWctyRJYvjaOmn+8Kb9xYe/6OTNfdNR8lhmZThwtB/rEkX47q+XhzBUz58t06BPnz0Qh
/bZpOSsrcNkJ10UVdYxL1deS4/Vt8v5Za2QxDisll8IWf4sItelHG1fUYM+yVodOi1LmmwqwgH1x
BsAQgWe9WQWPrt4lpEDp/F5nOWH1HJyzl0NCF53mCYWPqUZ7oZZMvIGd7M5c++NG5xRaq4XPctTg
bFUKO7RhADH1FJAMnbmt/eqfFaOXSXg3qI8hkNavjsHBQXsWdjAx/QMmmB77DmyEb3w2tRrDADf/
tg4yjIi8Y5EBu0M+czbCc0Ufx61jTr28Ng+EAzh+otDj9qDfTmD6Y6zL2Cwti4NrOzt0Ou84qQqn
GNzLka6KmPV5UzfjI8Gfat/JNtu79rJvCxfYR6+SnT3R9oMscIsnwJ+xh3Kozfy7ospAF73e1TVt
kY1QT4bDA1Xqsdx3wTCz0rMp58T2QgxgOS+N9WTwTKPA8SmabGrcAOIhVaI+V48sNqx0dfyirAoe
nQtLfZ7Hy9R6yZ1VVBWPCNHfAWGLMVufKX5YgJtxa7ZTfqIXEZ4ZBS3RYlxm/ZxEeCUSmJTcwxBw
TAc6ezppuARVfsc5Or9D3QSjYCZ/ArTTvT88BCA576umeSTGbe/K1n8UzZ+4K//Knh3L2LfcUhkk
LRcswiyraS8QtLaO+2eEvROWiKkQyKHxMehCQGk7Bs9Tem+RVD+3LQwT/Cc/ZMsYUKXvbFab50KD
sGReFEo0tNNgPBHHv4/dLybK+OwS8x1OOpZ8ynw1hy5Or8MNb1o4WyhRUWu/mTxFqa668ybTDbED
lpijdmak/jrVWrlppQ+yqh4Dbgd6wHH92XNxL/zk4PRddBKi3S7Ad9l3sOeISBHhhDuN0ryahXgE
xsBsXwYUeAnM3InpyNCYqcgVuceoxkqnA3gCjONjzMBSC2mEY278WNka7PfS5hzjJB/d5o/GTLsb
HAtfEwSGM0+eFOUHu7fXXEXFYJ2E0G/RMwlSvaby5z/JQpyMoX4PUix91A4sY4Fw6dgvhNDhulNp
Q69m8jVmYm1YZwzRsOiHsKcPwlaX1DepziselNWloUF19o7PKzorlo7FZNowaY08aP5mKsUR0RBP
zC2zxWaXPqBdSTkzyBI3XwR05BXXeKqMo5H8ZoSvk86hydwTT0hUj14H7GWxQpXBz18mEM0+O9CN
1zEn4Ax7N6v5rZ4uMqhbXJ2VwIRQbbIOWkaSw0icI3kr21PDmIPyM8ihiE2APfIvKmXSxPx2ZS9P
ZkvwHurTXpoQFf1VVq8M+MqDnMg4Tb+zA82xrleU8LzwDsUJdbsTLxF+iFEUZzkrc1eWKLJuh9dE
kd04DL2PFzmmCmnlo04YlaMV5SlI6tRAZNucSKCa2yG04n+lbXz0dXunzd7ZdUX92QfrRK5HH+zq
tN9b3fyZNP0JYZedm+86u9R8qurAvxu95aOyp/wowWamkcPeWrBYzDMjvMilYXK0sGNltGlxRp0H
TBtWWR59txpfV6BJ3xcZj0HmjSDAaAFqlwuxTJ5K0Ga4MbbTOI0XDlPnQSO7U5YHSyfy+a2ov8S+
Dscs8je+TyjfA/wSumP7OBuRd8SPu7eBNR3MPvnIJLJ+7FbUxTrDd+JgZpjSu1hDZ6xz2okGdbY9
j7JRaARZreEIpOi8IkUjauKDEzt4ogS1dB8ziwwoCZwBajnN2NgwTwh9rmO4iowKj8KOvm0N9yEr
yx9pL9hJAzoa6OzZZTTAHSiJvWnL1nRUpLR1F+q9KWMPJIlBEiKmKQFBudPDuC1ZjPc/Y8a00TDb
jyru78xhnu/LYmlCh0nWpgOhgK3YPvnkxJxirjZiMZOzqvI3r8zzvXaG39ZMGFGqilRE981kndSV
szVdtDf4aZwNZyY6Q7k3XLu7V1D2s256YXGvT27wAu0KTaxK0sOQWRSeJsnKIJpCHLhYh7v6DE0q
TXIGA9FXucT4Epzxu4vSR7yidxY4h02RoZcn9CCPeK2HaII7kcmj5Ui62lBY8fWBHS1PTlffDBwp
O432sU0R/qCzbLMVzqbLx3FtRbDtEqyxwvJpT9xeig6dBOMLjPGfGZguBiiA4rGkbK0gGETK6k9B
keCOi+RPXfc9yzs8sEVGIQ3CEIOK5DOmdJBwI36XpQEmNPC3HOej8tmLFK6QW5BRL3nVtaFwMPEs
8XfLo9ETS3yg8tzcibGY8LtAKpuG9NDVJhSviBbzNn7zE3bchum2pzKvvyxjvrNkjHbPyalLB5e9
9sUJ5AXNa9q4NSR5NaHkszd8HczJ3Ftz9VEGLabUMfW4x02Ip4N96uzlozCZbwV+E5ERDA5tq6pj
lY2vQQsb3J5Y4Ab26FCtAwz0Ah0Npv22mek+jNlTCRf7XZM5XHozienEwXADuPmRmKHDQIXzEnRz
YwfF7o7H/J73iQtcj9tKtXtEo30HgQUtRT4jEEPQtctHTZ1gyOPgOKMmHFWTvqTDA0V/9tEol/Qs
pw7zxKifhpF9gDMaR4uHGQMchqtpFzzZXf5scFD47786du5p3qHEK9O06t4SzgQ7F33h6NrJ2U6t
gLa5btdZzVtuONCm1r1lbO/JlAVvy5g/GNkb/HwRzuyYuDiqp6h75GxYbumxea8dA841+4AgmQkF
5Qev4bRa2OVzF1svlIKzd0k78zIl3Yk5/ottlZxYxuwfm/53aCbPIM/59PrmdQR37bXzaw5t4FzC
HSJ6V2HUMwDs9uDyzAFfVoTXQIuC5hLuTrZQLxKam8hq+gki8ZSZlK3EwXnU7BoNLTHZzGygSotL
K8UDaCX2SyWhWzE0+be4CPFN47JypBVbkWSpw3wGnsGR9iLlitbPmTc3vv6ZCnFrBykurn3KhM3Q
KYs5FWLrWnDe912MCRVUEKSebNmx32FMd2zdzuVcjpTrMqqhBujXgNY6tIqUF0sGYmWznVLA26Ml
1TUT6VvLNHsrlU8ixqqeegUieyhKTEAz+RgfmsrUD69xpR7crD3OIvkfe2eyJLlxZe1XkWkPGuAO
wIGFNjFHxpDzuIFlVlZhnmc8fX8oUt2VyRJLsu7Vb/9CNJG0YgQCDvj1e8/5jn4E8PVmDoJ75qdX
hdkGe6N5VjHJbBgWHoJyIA8ZDSAEo2bnJRqze2+8jMhtR454Hgq33JISDb7RQzssA+I9zF6eu7k2
njvNkIqXemzSVGpmG90z2u60ZTgxEj1jzjyqwYdcy8yLLLfBwvmYfW3pFTkxzZ7A0+q1FfNrMvPb
MgXcFLZ2hW6Njt743gph7Lskv8ooKRKmgPvI6Dbe0lVBd1tJul/Sbw7K6h+6Acx/Y5A/2+pTu6xN
tz9BzmPeOzTO3L1AiMu7iQw2HQQ0PD63RL4Sy5wgEat9qnyysrIu+pb4IPWmitbAlH4xgpl0yBlV
FptA9cRHNe19ZPc32mRBywpArveEPtFfOlaV76I9MPdYb76ULlrgIWOUHMf9BnlfjzxY0fyNL3CT
bxQUa6aRcHRIVhq4j5sciDjGWhvllKtOWX6fieDQAjBek5BYbJzCy1aeRTylP9elU/GIYcOnP3+H
MK3eelF0De24XqVoZGCWb0NoUQAGyVEkHWCcjITRIbdOtsWeIivYD2F8wTU2Owj6KACOVaHHa0uj
1pEQB1GxNtOOTHXwNBYdLt1+zfMYKmLgB7sxrglVz4qtGvziAuRIxiKsOVP701lh+V12NIhT7GZH
W9G3EDr8hMSZSBI5OjGiloY9jGw/fU3Y8dcS1vm6cMor4CTeyb2tzUTecEa+0FDNlAVIdiAQHi4F
2lgszZUtTW/nTkbD68llTt+G1dYSyZGqxl+0YXslTVquHv6sddbpDOuNYKDVcC3rtN0mTRkvMzUn
GgQahn6tMkld0jfd1BDtEHBMQNPj0Sca9ObWLRGQmAiNmUPwPwe+EBpBZQF/SvMJohdU58oYTkap
cbizX7BFoeBX6n4IohEWPtk+Kes9IuVoAJe56ym7F3lJ5xAvO3vhlK2RIZKTmOxQX/UMmTu1MlPa
x3X46Dg8b4lDTW8j0SSImOSb5dQ1PQaP+B238rLqe5etprwIzIb00BRrpatfCZBUK18yyHFqEPA9
7f3F97/EKWeOSfGlQEfeR77omHZq4Cqz9AEBBf1N4pfR2VPR9G4R0TjhhMhs5QI2GFZ86tFVapAf
KNE64lUCvYZz6+iSGbdMXA1upkNr0cChRTTAbaVR13rNeIjoma8gtTF/TsA+8mxzWCgIJg43dtEf
RdQapHNNr6GTQ4iPGUtG3XOHIJYKmrE7OQfnRssvbBAN/HTeNQwWn/dQP3NUwoPtHiRBLBf5VD+R
971S87tb8/tdLmjdxAk9HECoZ9brbZrwsNUa8RnhRuScnwwNjCmYR4xngDmQ8LMhd8PRGcG7Toa+
zTuy3oXXR4D3tALnk5ERV8y5BzBi1CpvV7DkSOiwjH0w9uS4RhVHVX5tinbESprNr10/g3ad+U00
fmMK8g4PjVbrzpKBOp5mI0k3KWnhDDwtBFhmfRjNCvkr7o6WA4ZpZtNCj61rXdK0dqL2EicmkUQc
8ZY5OD0mGd6pAkBvTntH9qTPpTNEnZTspWMTzjgo5otVMhwY9x4xbnXr2ulDGKvx3vTHB6EKbeHo
fcXZqUId6yOVojm95TTPqR85OioWQuPrpLokwN5YZt5Nr6HVbSPtXbr039HHL9MiOVMtMlYi/Hul
O8lpCmcQqlUR+Gk115ryDh5qNwdo1r53043mu2fEJPGyfEXSGu/xFMyMSbIDahZImkLAHciuS0g2
g27faBzDTRRqhKI6rQKpUBxHb+7gjt2+aYy3yotbort73n3xdR3Q9qhNf4ZZnjofFnxbu3v0OVdB
WoExCDZFL3EDgpdk3LLp+5JanRDsVoArcmkgLseQpw2XM/4nBHZJO77SJiXussEm7fccQP2rOFHh
hT8UDN89ZFSwXm7S6YaAmKOPQXqhOojzXptvfbSAUnSXDMy3Ysz1rW6TplClzj7O7VfqnYZagINq
W6oXC84vqah0T8jew/FSJ+Lq+1+8UNyMMBmWIMBJNce8jjclafDwIDzNkJPhpkrTnUNGG2jUHdpz
QtNJq0cplm/KPGtPnCvZdl20mlJHQBV41cLM640zSAwfcaF2Xk+vnIJ4lUZ0BgqlmGnYrHon/x09
839ty/5/D/ilcE7/a/P2bfv+mv3t/WvyN/7fBwf3/Of+cHBbv7mmUtQQiiOJaesQjP5wcJu/GZZS
pmsoBjuWnL3dfzi4DfGbAIvjuCRn4+FXmLT/Sf2SvyFTtmyd6bJjKOkI5z+BfgH9+ABQUpKPxSjl
4i2XFugv4xOSyw+yUEL6eRiE7snbSU4JaYzD99JyUIT0ItJx3YSzU6TblAFDO8lHXIbIc8I+JDIc
ypPzHHXB6LGRohr6UlsCYc3oVF29K2Qd5SjemJqfIpBQCe02QqKWY5H4CKs6J8E+QsSVVTbfAMA0
2nNWmSFnP4IwW8nJQMOZW6wbE72/9QK9wAcj6Vv5EK9EMLEfn4SnshJ1QMfIhjhqRM2YtcYCoyVx
3eUGn/lUbBGTmMfQtVxxV8UC1FDTUfjsVFtOOo3KAGlBS561XOa1qffXuV0R/74osUP0iGlFjwVR
I/UIvKMPXmVFW13ZUHhFqL1JhxMWUChpcN7Pna3thzlZtkIL0Jq5hRa8gk9ISZEnnbs/x5bXMyxG
0pqDuUExVYQ3ZmUBqhX+aIHxjgzshnrO0ITDYghSXR8r1z8nteibVZU0hIJCn9QxgjL47TjDC0Ec
e9XiVtgSme0OSwHtRDxoiaO3GHraemKY6bQ+vZnKcddOW8jypmXA5h9l7PPOLbo+sS9DA1j3KR7Q
SuDvNNWyzno/uDFgFpWr0kst/S2uAVCtgWTY/g7TmNvsyPREEALBNMlPyBBcvprU+mJJYuNdbDc0
Zf007jli5uP9KEC5Q3/uVHQRd0GEhtMrXCp4L4nvc6dL4mUdVAFT84i6iCH9iMBQL+28QSQcUOIl
ZY0ZQiEE7zdIMNW0mU+Ltx2Rpzh2Hc1sTybotuJqHicPl41QenEkT0xxhNDAV64bRPUkQvZpAXIu
tOy7XpQhDmLHY7BV+nFP+kKH0GuJgbx2D7aTd+bZr1U2I7zDyqJfk1f2qfUds8MMQFg0G7vZ+/mN
C+18vEL9M8o3LdbCcVt5HT0uvaSKvXIq2yLS0bMR0wJzdjHKmS051UTyOcXMkALW28mVlzuKkPMc
0VAAu7zOjKObCjcd1jjJMEauOqPC+WB4Xk0hIeIM/kFaxW4W0VuL0hsCJPT0DQUV230ID3oEfsyX
MSnWwnhAqKOkwhloNkaEpN9vhfatmrsm6KL7qUT80ASdh4oD44ZBrhgz7yBhLEPZIO7pokKN25YB
2sWjb9roE4BDc9WbGCghnns/EGGzoiLvwuIcY2Tx8XI2WszsRkw9LWwbslC4dZLWTIaVlhcGk/0m
G5mDB2mH3wAy4L6wJgWiGE6Xqx2b1i7UIkAZG9m7URK9uK6HYhw0tJyKqzo2HoXYIRjA01B42loR
v2uStwvi3Ni3WWuRrfLwpeK8nl4bUqruSweHK7/WmyzIX5k7BuZewzlXrFqij8eFgXGD1Clyavyl
LZm8LrTJG+gsVB4ZM4VL9rmlg3jJeZRXtex7HTF5E9Z7agf4QyjBGLlmEVgmt0ZVsLZyTp+rkrrN
WrTs4uM5c2OUBDi4HGpSoLiviKTBsQaJxlE1teWN1ZpWQls36HjHklcvnoTR9sZlkMnAOrTOkGoQ
XUXdPNc2sl6cKsjP+Ee9xrwAmZAjCQ0Dun9woDmQR2h2g/2Q1UPFV1AqByusEwZOfuEQATc2/NJe
O5GOuiIuhibdtLJSxpXeDubM6LFtjI0YzHkHeaicq6K33E3Z+MF44SaV89UxEERSGufedO/73CbS
xitOAq0nupTIijlaHEdUam2V31TG+9iKemaWk1Z39ka/fvFyaER7JzJGhZ21zCjGO0a7Kw+dEIcx
0i51SuzRpZPgqcIBh2za0ZpRqiNe/HEA+lVkXOJmNP2i3g5erWjm6rwnNnrAIl82zYDUFtdtBGx2
jgta5qMvu4vS7HsGxHQ3x1VXOch6HMW7flWV7tQfi9iHl5Xacw/M8cKqvgSM3mGAkpWINp3d2PYl
NDhPOxAcnRVrwx04ULXaKNHE6irvdn5fzeelrqV92YjELPdu3aTmhWp1Yx0OiNOpzqeOYk5VT3CB
u6fCkyQGhqJPmKlm4B7YWxN8jaSuevkmtWO+o4wzZLsDQ1+kNl6EO83qhI6LMhni94Q8KIMQ5ZIH
L0oHTJCtoaHKg0fWxqvUIaJqzceL7s22WQuGVr41yIrad8UbAIe2yiShWiOQp1PsxVF4F3O18TbS
9JGhQ9GaNTqykvNWr0fGjRvmYUzSUJA+xsS1AqPOtMLYj1QraiW9IGY0Ec5p0nQHg4yV4xvjXu+i
vD7baUwvRlPYE1E3KLvZ5pGTlqRVijTfjk5EMayFvPbBpZcabfN8zJpTpdERPejmFHsv1aAp/dXE
F+rvBwUlDC3BAAWKoGGCARkQNNiKgEwXa7vK2v6SwSJti6ruASLJSQksIApq7saOk9Q6t9j6p0sc
ZCkujykIKli9KVz/yOl4x+mwkypsvlqLpQd6ynDR5yhFtw1UtX5HYyZgsoskgXxYRzUN1p6aLFn4
/zatidCMQjJUc+l9Lf3GRb45jTC7g2pyJdxwHsud4Zvlu5WNs6wc+Eayboc4UJuR7d/cjgE7zAYP
eGb9Aov4vaYDaIJTbf/+j78rcLKmI9gAcZAhlZdzdfkR9Uqz1skUXHeet+IxSpwEOqc98va5DqFJ
JbeWpqxm36UzGaBTCB5QNX2vtLRSTJ63TYdeczwOSpaZ/Y4o/f9njbux+PqPv3/J26ypxpuvFILZ
j2cGCRz2Xx81FlWbfQ3/tnqt2rp+TV7Tz3/099OGYVi/Scs1pa1Ly7BsAa3pn5Bh8zddGdx0+3dW
MDf9j9OG9ZvOitCB/rompwo4fv992uDP6FJ3XFc3FX0a/oP/yWnDmGmsPyw8F+eV5GAjJcZDh9IY
ztWPC28qND0gpDHdZ+o1AvXEi+ENjStTodG9a0KK90FnRqTD34cEdRgIKcKRoG+TxHtKS+R701Sc
Rzd6+eGn/AM69iOW+PMDMX8vxVmLS7UhBIvPDCvm9vno6nqyjw33CxMtAPbN+JZ0qUBqv6p2fp7v
HeTOq4om6iocoDmU2S+eyp/8Nh++w3xQ+wHNq9mxNMZyTIjDy5kax+JoDs41gyK5NBzn+q+v+CN4
mAXw8YLVJ/xqa1DdxZWBoCro34aiPM+YyiDbt5N6T0L7/q8/7SeXJgW/r7ClJeZF9vHSsGDEvEnC
dK/V2cGV2UHa6YHTkUHiw6/wtfMK/9Mak7orAMsqU7KyP35YWePbg3WZ7hvdewzw9ohBHNPcc+m3
qFUT2Nf4H1d9MVx4PTCZAk4QCw4MXlx/sSO6zsxRq6Wlfeus6NESdHcMDS1fbXPOwqTXEfcNfmdc
lEI+CBl5i7/+rSx9BqZ9fEiEY5sCuyIVOUvy00JAaDfQz3O1HcOCfJ9LIAiN5BxKp29FotBusCCw
FHB71um4xkQhCiZubRMhr3XHNZzb4pz28TqIcwKgw+HKisLgUHJQONYWqmlwuYwnOJe5OUy2tIL2
JXgCpQzTzbztgclAUpqxrYflcN0yZ7wPEzQk6Mpv/IHJC4g4RCsD3GhAqua12fVnO7koB1kih8HI
78mIcQJW43Yoz92gxw+h6V6SAUmhoHvXpChjUUMYWZXDOYub58Gxd01+NqHv7hK/ObZ1pTDnTo8m
h+R93lk9umsOW8o3ygPuuJz+PCiWAIFhaYjiqp/yat2mGRkV4Hn8BKbsGNbxOpuI7kWkBH1D+TA2
u+1gOceiHce17RevARsYRI/6BZTorrMIobeN9J2NM9qUXvEyzQDZdmJq3wTgBHyGRtwMEMLVaCXg
3rJ3TozdhobDS64V9aYPpmHppO6c2ybPiWEER4itwdGNn5MgYZKcUZd2DtJpOQsZmNkWRXA5ODWA
Ug1TtcMk1SwEbxc7Nzl6kMlCHSVE8qxn9Ij9OZHERAmfBNtkrJ8cA6MDywRMpFUdYmlGm8IKmaJY
1rQZ1I5WJkHgyhMY3YE5qeLeyTE86EZwGhwcH4mGkUS6ZnWjwwbIJBot2qWrxm6LB9XOo3yknwt0
bUBnNEQjgLQFGmN8FfWNFaAWsWHxTPBkMRQdM/hGB7TDz9XA2GWCIuN4D1kffqsQoRWO/Y4tgx7G
DirysFRQApqeIqd/gcVpLfg63clKus3gudpiADOIBO1majx9MbWuWnY92cClxNos4k01VNCiJDAa
5fXrglFM1DoEfljo2kgub9EmDmvHDh+DosOJmvUvVRvb23xsnuiDw1IJ3HeuCQCchTcoKwuGmwL8
bh/Lu/4bNU+wSrMwB9AnSGfzhpXhhtd2AuglNdu7uC6unQqHnTlM73aUZ2vE2XI5mNWuSjYVLtJ6
xEHBGQCfrwN3DOOgSJjcgfU/ejwE855XImEv8/6NjId7mYrjMFn3XcHwuo6Jdb5H1mGw+tMX2wye
2BDOjvLXPqP8Jc00Y6EjW1ioco4BQ3esovC19JNHQqDfygKTVVLc+cSVr5CjkwPI4bw56NkReQnz
ICCrdNgxZ5tT6h2y3rqUgQPjxMK3Z1Z8obZNjwke0FNb9ndHPdTNq8IjGidIbksBpKToMAPrJQ2q
RrxmkhyTVDCG6GiOuyXws7FjEObEL7AG7icCjuhku48lvwIaVOeiTJLb0EfYD6UoXfaZj+S4hJJR
rZic3Mi4vdTbGlNHlSBgMTBquJEkcysaFwVpf02tHqHiwYudQ+BRGO+NObAe+dV6DBz9aTTf9fop
yJQFmkBqG1ivOEYxzhApNDxjUVy5uEUyP8zufCO7wd9PvpVrgdnD9q0T5LZpVVftzRK9N0AuxhAm
J1piiJqLsLMoSUDQY2RgRGWkL4iXT3Y17Qu3NZ77JDsDjmS1wu0/ORo+aYv7ukjQgyJVRu2SzYok
MNpnHQrstnHxQqLLL++bdSetTcYY9Jx7BoPYfmw2eIXV2Sf/jBZrh76i0/dNmKY3U1R4qG3g2hWC
V0avF1cB1tg9mYMwXiwo6iSfb+b9SBrdN1f6+gxV2ISGibai86/qDFuda4QuE4fg4jvgwA954Gg5
2kvfwJYF54O8+UrD2RKP39gKQ+QB5PZEMXbwUZPMNilR6ELWxylFmMfaB53Sl8HKkBrII0BvlpH4
Gwu32UrwTlvaaXmtUkRsQeY666SMvjFgrxxPW1kySw/SSTFWjB4Sz1A7SUDcdnry8OPd6FGkn5J4
erW9+tYBTpCNY3eUFgr0+QWIUqpFH6lmC7sMUvNqaux7n1fenmCJpVvhGq49V50NGP0C7IPGAKaX
3jUwDnJlHQdSJmmbSV1iHLAbB5NPvNMK8ZBpvoOBuXZW2DDVom0Ctp+cEM7u7IamhadYO8iYuLqW
KCmm6Na1CMcbu8ODTn4ygMqnjAP6Io6imtw0RuG1dwltfVw0g3hDcQ9WKrKQs3fNrQ4iOyO/zC3y
J8IwLtm23G2JsE+1nn2I+gE5ktobiXHp+j3BPPATBpIWr/GRbgR8jSs9dylBdJznXlEcjQQ0UT2S
/ZvYONNRq6yk0rq1DHCRxLhwlrjo8MiWw5PjZU9Wjna8Sefg0xqvE2HCBWJEhSgtrPG4JNSE3XSE
HIIsunSCpZqeUENFO2iX+6Zgw/BNdBigcEytE4wmoZA0pXos/G/4HNO1NbivaUG2tJouvb6zUGbG
Bw/1pxnNJNz/PgX9pHSXxp/rPdPR5zGJFBIq5/d68Ie6GbJWggUjh1HPm2/Z6DjO0IfchCBWvSQT
15h6wCoBWzIIPgPK6TyheMXp54kzc5dLFOLofQnkOrUwzReV2y5pWDqMMzOyALGcm7ZBuy0Q2M7V
LSpplEfYNwTD5mM3ugc1IgQ3hc9uW48sFemXO2WYJfAiN9/kGnIXh9RyFWRLAvCw7+poiEd/w0JZ
G1Y/W2bVbTb6u7weDwYPUzjhpkSBtpPMZeB41o+qpmQJ2vJd5U80mcV6AJxEKqVOwCGwmFHp0QWS
aGqQUrvzXaSvZQJDlBJ/6brBo9n4K4bHb+PsZfCbgIylsL+SsOxSP995trVOo2rr6s5XFDq4+rOa
TbdapyJ5srq2XssuPbf0R+w+vpEiuySltdsL3X115pHBlJrHMjIpAWHXGTF7mFn3V0C9chRRbhtr
+6bEwJP4s2Gxd76UIOMvNVXQM0t3ALVPzbwT01G6JBF0l2Es2rUTKldI/fu5DrN6Ag/9bNtq5bAZ
aTsgVNXWfU7cX6SFxCNgrXBS85vdVzeAVoa1YYwH3GEIGlLYD3pd7KhXr/C0YqEvzRWr5eQnFGSt
gMoA9lN6uInQ8/kzPXXZl/PcAenXPCtfl2rneM9a2jF0LldxYR46C9+K3u7gF53TtNjiqtvi7PjC
dkHYuBW91GX80jd4iBuOi2A+YaLRbqcGSDzKJoMrWHXRAR3rkzfoO6sJz2XhP8lJP3a1Rbuy4Vsh
QcUA8458cBGI9sIxmi0At8csLM+1j1qsDIZ67Xd42F2b0Mj0PiAGrybs3YIYketUHZVpXTeqA9zZ
pusqHd+AFEF2tGt3YfTJqi/5AZjVoPbH1AuFKCK2ygB/mxysxLmHAfSGEjvaGJn+JlR2Borv0NFE
JcrjTSRio20tFNjI6sEUlt1l7F4UHAXy1qSTl3/h1KT2Nrgq6AHTGy7kdz9g4DEENncbqT0dNvIR
6Y4ZmFobK4sAmZhfIwtmXxmwi0CLWHpDRziH8SXm5vmGUZ37vLrTphY7Eqyn1RC4e2JlbrIJMXME
jHXToJdDpL9CPKAvg7q+toAyMdwYOsBtHcOYKLnX/EcKAAEq78g5cVfnab8WwqHhH1nL3A4aIAXC
WqZ9eEVpCnxA8UV7P2IOZF+NaamWheizhai9h7xX3oogpZPnRueh5qpCFMzLxHKfdE3dELeQMMYx
gxUN1UWl7H4WWN8mTn1D5d5imRIcJVR/cEYrXLWF9pKAYl1Y4ivSgG9kM8Jq8HmYiih7jtszFMOY
JxLNT0xXWdcL46SaU273waaFb4OnGzjbkOK7k0X4pohWQRcrrzJ6KKaLMZZjydDZd1NGLxxZe7/K
8EPCL6LVEALiKzjMZBeaWXBuaG4Kk06qPjtvQLV8QUWO1tP9own5H7X5/j29wL/Bg/+X/6H563zJ
C4QSftAAmv/j661em9cPf7POyHMcr9uvc2euxoDzY8jXv/sv/wgD+0WfDw3jD1vc/E0+hIhtw9f0
Nfzy+mN/7/sf+b3BR9/1Nxf/gvx99m/8T4NPU85vEvy+5TDMMnX6H3zOP/UEzm+WsAzhkn0FNV7q
bKJ1Tv3yj78bBIzBljd03fzel7ON/6TDNzfw/qd3QUNP2XwHmoiCBCGCzD51ehK7LT2r1r116uob
vHiLqG9/kRz0sZn054/41LxGOTCEkzMiKyySiyl1Lsb0ZuguO6Ne/fC7/6S0+FhY/P5BDulcBg1y
nYnf3EP7obDodZUyH+RaukzboU9dN5GLyS89/O8+5hM/35S9x8Fu4nr8qw7W1+ATNG7+qsNJuNzn
G6NsApD0uZ+r0///eDFDzWSFFPdgox2yffVeLoNVdoCLvEHQt0QN+ovfTnxKXJsXglIoPWhIO2RQ
6J8WApZ+LzEKN9h0m56GwgJm1ypitLeANbA1r6CXLLsHdIzVslhiM14Ta/XXP6v4yTpxBIp8RY6K
DTZj/kV+uH2agMSZOFWwifbNSm4Aoa+nXfXGvHuD8XDtrWAJb8q9epVL6yJfYe7cRVs22pU4//U3
+ck6+vBF5mfmhy+S9sJRg1MGmxIkEyDOwrlWcvjFU2H85Mn78Cnzt/jxU7qE+pOwkI259XfxRQrv
c0nGzVJfpavg2lnb99rxr6/rU+X9/QH58JHzHfjhI7XO6YHv8ZH2qV/j4h0W/Rlc5B485LK5sQ/9
bbD+1cL61Kr/40MdoTOMsGzDVJ9vqwoNLA1EXfdL8mIX9EWX3U4t1Vasim39i2dTzC+TT+8zCl9b
59FBKcU77dMlapYcPCcNN/U6PkNBO8PS2EZX7TVw95t4Kbfxlb6KV9k2vmzvwA/98np/clvd+e0j
mL44wrQ/3dYaitQY5EYI2uOu7a8befrrm/iTxUmrXBIFMo95GP98vECcTmPXRk64iXViE/q7YXi1
x+gXz+JPPwSBK5EkyAZIgfz4IVk1gdjo3HBDFMdzDMtMLzjapI74Rbrhn38sZSKWA5TB4Atx9afO
udtXqmGsEW30UjuAhN+izQr/42tRbKSMTyxuhjDYLj8sekAzsUtscLQJ3C+ksSxq1nz39a9vyk+u
wzKQBbomd8S1vq/KHx4sxvtO0ALr2wSy2tURq5x+0l9/xJ9vCZdBBgxRnMSHCuvT5tYKKLBuw0eE
KFA4Ny6GgXNh4P/qtcT2wg/y8RFiHzCY9wkleR9/XsFoDUyDWDe66jWaGul06dZOBRzozPMWMUJy
GVn3QtfZI6DOL/vJvDAHTkkC9T8JFhG296De8V2JHxrCQzlh44CoZYkMLla4hKr/hOIHyp7014Bb
8T9aJjZDG+9B2C8wdQFeSaavbeNfFHZ2ykCLZtZAc1RrGRGFQJxt44rpVbXuwEwTOAa/QuGcIQ37
hJ5xm+XOi2EFuAJCHFqiuk3URGewiB71dDgjK3jBn3dtDUDlawwfA9SwjZ/OQhgMq2zsO70GA1WF
O+QCdP1r0s1HiX6fdpoVXymaoDRoglWH2Y7um45KBUnaUm9w2mZa/WRV8h5SzS0Zl81iiqq31Oyw
FcvkgYMztgz7wSnJ/NKmpxgvzkpzcQKUGUdfByK92/rfehd7FHHOOqo95pkg8a7tRtAKt9JiD9up
XrSOuesCgWKpvxSk1G9qK+FHq01OG216jnuL5i05GgNirSWi1RXQDpIR+yPO5X2jfDzwClWFgMfX
ZMOipCewikDcTN70EsUZYFuZ7pM8eGMhfg+b1lfeMOECAqqsWwPX3001TSeNisTzbzVfu++L4KvB
DAkWmb1gFgUiYj58Zt5BEjdWZHR9O+NhZJRNuzM494bGAZgzrZHjQyGNRabNnrlXu40jHEJJp18Y
SqB7K7FijqEGeNa4rK3mLU5xCiRDRkdTv0xcOjWkCF57BSl/AayDZRZLGJ7eQFKbRqTL2BsJkL/S
PQaxe18LcgtF3p0qWT5bFnFwntLWeCnchVu010PafCMW8dkmIfw0+APNDcDLeUAWhAn5BzMxlVFu
pAd3zJge5OZdFRIaQt+EzBaakka4jbL8mJuNWLVWcDaCiNFOIF8Dp2tOsTAOXq7eoB8Soml0t0SH
WwRn+CN8ia46Dpn5xKHxYfQCA5yCV2zZNuOdG/S7ujW/gfKviCJHXIUeS4MriWQlUuGljjjf16Zt
EUvCz/VnPS+AjA3RMtf1HXY74GSun+9Fpm/7WqpD5WM85Z/TcAUbVZMTIccrUwyMUrFYaKYEbzl7
Th1ynqpQi3fBbKRsou7OmuJ3n9OnNgi6jEAXFmRX2gQzRDfNiA0UJddycOP7yAGq7VlbbbTu+zgm
cr4u91xhCSWsZr7S6ISaD7hzmKBt21neFAt7P+X6dN9g+k5ydGi5XtBpiA0NVpYCb0dYa8VJ2Y7x
k+j6ZdqwJ7UGCTVobotlG1Ri140g5JORMJEqgRhjNbirGIllm6k1tHtSLkZYyfm0GUf8aXbWP4Np
E/tkiuNd0aiLLJLanWTGuRxhH2ImJXgy8iFMQOUTUAGQztF5u3CHtDwFZo+eUtdeoYNJfhugHWNA
gWEgkPQwXO2yJL3Q9ejMLOumEd5zX/BykFN7P5bhjAC+cCrzGa/BcxpMBKzTcDYn2hQoi4rbwAD9
SG8vkEm8b5WFXRNnSOJrt4M93oqAAUftFP5SNUOwMM35xaCFp8EC/xG40bAhzxoegxHoG38qscYW
wM9yx/OOo0PnpTddDDvywUOpySIyLUzb5KvUnoYNtW+mfRVb6T4cmcJOgHXQcMKz1qlqgJEUE/LR
vtiVSbPr9fjU98kRWPDOIXqBBNClKs1NLqaVXpQvthUxzulfY0d9K/ritQQtDhfjRLAHW7CUDMDp
jeRW9hVt8VGN2uMc+lljYA0F9weBG10d3MUkv/jHMpVv5jSkCz5ZR2jorOsIlutS472CNK/a+slw
r8fFAZT8pTORdGROl1WuTpENtNIwmlMwlmtI+MZKs8IbzH+nyGh3mI1vMIpcl0axinDDxpr/lkz6
1ZDEt7yL9uTIn4DW7XT6+GwVY76h+f9MJ/AydYYzCZ3A1J1zV9Yj5lsDkbB1E86BE5kPUVWLyRUY
JM4eGdtPxUhohzWF26ozXvrUu3eK9NkCf2ATF+pq0OomP0aDSxIncN0Y55RlnTPduxBFeo8hRy1C
g+SYoH+u3eouMaxrz6muXD++LJG206xtmEXTGquHe5DxYNqSeU2VNUpfcqCkjzlfm7MH+kHbT3H0
liX1hUjpgzfFpdmCGEiQGtveAPiSH3UV9TUuUOvCz4LbaLQucf/uoIgwlIjQGGPpwwPgDXhzFdLW
QA439syrg45c39VmSxZFTH7bJLXkwEiivbBiSTSC5QMat/FB+XV11QT5M/wLcxNX8SVyYriKlgPo
uR0QuTlXpLQCMxeMgbCb9Rsjp8sfFAqKf5e9RIKElVBcB/pwbgr7ml+uxk1EvgFJAAaLas7MdLt7
yHIPPREehIuNGC3N8RqlI9PJlEw0GYIBQ6pNMx2G0i7PHPhSDfZwH20fT9amzfNH57+YO6/lyLVj
234RFPDmtQqmPG2T7H5BtGHDe4+vvwPVuvuwixQrdO7LVYQU0t7avQrAMrkyc44ZYIegp8eKzmr0
gCYN2vKLCPVzMrCu0ZTem1pEWnU77BCa70Zd+VJO4Q8ESKj8JaRRg1rcJ21J9Z2OPZrexy9yo7Yr
auIqVncJqrJ4JhuaBJsQtppSWk6MqCATUkeo09+QlG4HYcTQucpKB9EwTBLJtWaYuUiLSJV2bOPp
jGx7TMd4Uw55ux5M8VGLrT3tgo+95fsg7oxta+pIxfwbdPk/WfLj0Tc6T5obO8T2QApSkEHopFPR
82mxXXUSYkRJ5OuGdfnLr0APwfP8lWoVdLkoAbSvRvjvyU8hsskCRjzdHtrTlDYUY4PbcsI7XAvE
zpaDmcI70feaYuITpdTvKExOXEHRxhVgVPjT6TVtqIHObIhh872L5oc08g9WQwWrivuFGQtVoJe/
QWzWdnoMichA+O+NumbuxoITQhXqe/BZt6roP9Kc2m2RAL5khr6rc+PRMqoFEuU/6xmFSFORnkcJ
FWvZ5EQ/04xnAR0jwIm6G+ixFnpUkjnUJO8KEq9ioP5K8EugZSbhWMkthJD1DksBuAg0vFkl1Bc/
oAkYKB6lzXwc8MxQflR6HsH7m0rP6jrLo0WHxSmjVGjg7NiY9QSbuNYzj/vwLfy2O3lAzq9btyh9
0RosCDEx7j1pmXh4HnP601VH64N+yPXoRdeDfkHCwckt7qhbmQe6SzyjbH7NxPOA0OrbJpNAGmiv
mp40njLNvKIiBsahxUgHy4xKkypmDl35qAiV2IpQ8U8NRokDGLIEOIaVTwCbUBC0un/klCt3Ivr3
YtmgqMEEq0oMOKZSDf773IsboKMRvKRaWumj8CC3BmLLec9F6Ov5PYJHFhPzu08TUzKC3aD7FCao
yWMnUur6cbJF/P/Y5NndmARfQqWL1nkWe7JWOGoi/pgAIIE71V0E7KITQvVZG0J7HxhTuo6VogUJ
lA24sPi3RNh3qoiJ85TDqC+LG6hY80pZqq5JfWrbCjc/Y8ZieUwRblTJPS4kD76YCzY0pZwZP6Rr
I62/QZYjkb54HgcTfco1/vTp4B8niFmShvYG1tijX3U37VzfAND7kimzjI6TEEQ3UBtVEZFAZyWH
KMarqqmfajW8yyrsLCtB+SIY/VJCLmhHa5V2TTBTUxHrMdKZiCuExQ6j0ok0/L0sGZDQtbtoUjZz
yxESxDJ2K/URBhZAWiDuQJGKSdlhIXcIheSHbwD+Mbkh2lVj3AoKNi2RHu6Yh2xKUAzrYjsJs6vP
6rd6AXjO7M/0/dAxL6bJKZgXmKQIRo99/zhSTcR2HFe5mJq5KcjflXC+6cJw34z4gasSiDCIag+N
qW7Lxb0zDwCB9OWI7DU+wBa6SSLr19ADFAomOte4woBVMNbUCJ/KTlFtcBE5RuxwE9rZooISgznN
YWWtQ5HvNAV9uRWifIPXM1jk+jCAAPB7s8VVQ6aBxExecVZclVKxh7CGtDgAYFY3o/xltmR1S0n3
gd3FWrcVPGSITt/4ifuyiza14n+Z2/Kx7QkM/bzbk+FT13gEKxQKEY+uKwPZuUYHHxZTxDzDRMzT
0uhlaFRNVZBlnKe9PZnGN12AYkR7Pmt+sowbimfzgTLlt86chE2qzLfU0umIiyvZzWheWgN3fa7p
EHyW8UrzjCTmYtujizO+EXIZDgAtBPZCnhwMbR3rfuRSe9XhvTXgVHysRKqeQngYY+6VKbrX9fCu
8yHZUId9MAzISRFdZ4dZbF2jJMyb5r1O95ESisTTHFyCyCVupk+16sZ+Q5d6tlWm6UtMmanPIlA5
Mg6guPqsqixwzaj+GvXZ9zCcyf+a1JXwOr2X6Kdd444pbkQ/Jy5Pu5/6lHHphXXIL1ZfOzRaXVoe
44zuCBniUImXxoyvRyMMgK17DBR0+kq8Xo9EL5jy6LnH9cuuDABjchCA5yUuFRSSDlnGV4kxM/Sy
XG8cUCPY2xQV+gyVY6eD+vnU6eKDUA93Yi3ibaSp6gZR8qa0ohsFQT6RV5Ee0eGYa0yhxg0sg1tC
HEw/RznaxpleHc0UDbai1V87vS1tAXoE4d3iS5RjRWNpmczRqfjurKXGY5GW6qYodRoZOYywc8O4
VhSD7oSsrj3lJdLlrOJAkYrJgJczYlEyKcTY8aA/cWJN3He4LtW0OXhI85FX90nnhmxxMGTjztVH
LbG5sCsU+Nr7ZkSCoKPDsv3Ex8HaR/OlijdjnaFmU4NjvZR1uSXQ8JXiaThW3yehbQ/yOP5bQEx1
LXgtPqil/N1vvGRtSQJpBoQzVVVJZV5kbeEWwlREmuwikqZ8+qPiRpnF3+LiwUweP89sfZQ8o/OX
AhSUNLrgL4YqyaiZykgXZxRaezmhuaDVIM98PsgH6XZDo5hGu4mFrhfe0t9pQCviFjoDVSENPdok
hteR42/Braw4pdf1OveuZts/eq63I16kojV5MnIASrE77eRdGa3ir9KKS+Iav2O65O18dz35LP0t
Dv7z2d6OeZFQVWcsC/QUpWEqkgchcHg2jNADYIJsksO0nbnwQXbeTwZqdiBoQFnldRLOsS12+MMl
CAmLvH9MA8lLE/XeBxBrNWF3rdZz5dWoF93sYQhIxBp5NdDnEd48m9ofW/L/OH0/KHXwuVEu6NIi
5taW+unbUge6Ciu0FsllaxNMEtVy9fuR7ELbcIpDc6geW4sqWux9Psvel7AYlaSpTqKW5vnLTvAI
w5KqGn2eCyBBqIUA76z1WOE2A7rufzGUKWIMrmEoblymtUel0EZZY6hq/BYB6yzbB1P5nbT6lYXz
4Yx6M47894uExqv7Ysg4S5mq8RJvcFUXt4orb+5ct7jMOitvxrnYBSaNFql5YhxEcLvc9bfwqNf+
Sl4lNkSL9ecv77x9fTbaMkHfJuy56cXZwGjti3m3PBcx/p5WaOqLBWUp0/l8vA9qm0yMN093MR0z
Kw6kWmS8FIMiu3EA1KyBkhxoYF1jqEkTmceNCI4H1s3Z9kAXrIPH87OZrRpQwXb8//r8F5VAhRyY
4JMuWpZH7Z5fwAk/Kk98qR6H7fXPK390nrx9ARfbb5Gqoc/dbvm8wUawiTdt08PBnVZwysykedbN
YThYODOvEJe6y8ZMM5CxC9b5nXCL5dWVD/LhDvTmg1xsznNEWaFBBuxKD7Rlh7eKKzvgWtx+jY/t
QV3p22TXb7RTtFW++TdAfDdkQfkc2vbKD1nWz/uZqNJ+RwWeRoyLHTu09ILLoLB8ifKgPESn1vW/
GS8YEqxC1z/wEgIP4CJXz9XoIBZ18rV/ZTZ8/C7++QnKxW6sc+nHHoqfgL/jugBS2BTilfe9KNI+
e0zlogoXqWjeVYH33bu9vVSBiy9Q473gy/LhYTPZ1tfCTezAvTbVP3w4+ihovyGMoHL690qX1aTN
LCi8biUdi/BJqK81anw0gMofLCkSHAcYH38P4JthSLIwT5jZWEUvfYN2SKtC6xiZTScc7RLR9fX7
0ax5O+jy99/sXzLKmoUKmvw7msltPPcAIdhkSTbk07Irn++j4qNOcy0NQrSI/GGSvBkuxYNVqsvl
6+npRh1f0IvnpfTfF4O1N4NIF9MwAx85RQp7kiHfp+IdhmNXnuKD5gDjrxEuPhV24xgp0GnqpmC+
SNWDX3Vxc9xpTuoSGdAdMDoKLRg0ZSKRWFoxlsDw2oy88jLPJ+Gbl9klDex6nV9hZGD8wOsJPpql
wLiyqqXlaS53lrfv82LmGzLWeXLEss4PWIV44Kxdskqr1sNH9MpYH27vb8daFsmbZyotmUtszbcT
NtaNDB+VpLP7bdE22MHOt5+f0Ra4g03r7SmBALu2MK+BX75W1tjC2sqvzzfVj8Kwt7/m4rSlalP2
fs+T99WLTLYuVW9GjVrRcKVR6MMw4u1AF8eo2M11lil8yvwQ3UsH2sbtdgVNmrZ04pbr7/mjvebt
eBenaDCPtGUPPNiQxQcEmiKlVrO+skyuvb3LozFZtuqKQTTQXfKzkb+gx6MGpLuff6UPWs7+Xo4X
R18PM0tNVN5espJ3SUPxez0eulPpLquRvgDNq7ivr5otaDbTTXeUKa486pWleP6Fb6btAHvAD5ag
E/sn28THuwxf2ujn58/54V3kzVe77LGcRT3JQH7E7uhWT3iV3kQOYhQCjeZRdpeJElw/IK7MlMuO
lEyQKmRDy5P9XDr5Kvj3K3NrrElI+CtMtnb6ve5cec6Prgpvn/Niw8kh5YySxJjIubQb3esP4Tpx
hFO9X0E7cQwPswrLU11imKsR9rXnXf7+my+Jegwn4GVTRZuzkjUqXdqVxqul6/ez/XRp5H07BBkc
o8xmhtiHW+sGKg4nveioznLeq3Zj+6tT6oSrlXCkF2aVuYg4rmyzH16S3r7hi/2mCQOdkjI/oXHQ
xK45QiCiMJEUB2YWJiKPn3/RKzvBedd/81KtUo5RKC8flJ0dYolbNtVOzNMdljJX3u61l3ux6dDE
E6PrYKiyAdscnWbj5X/zLHRikxWg09W42DrVdmy1aDkNVbSsOrSZWYJrb2GjeOVQ+A9Rxv+MdPEo
fqZGJulE9s9Vb4e/gj2Lz4mO2Hm4AD63ybrfGZ5ot17oBK5xMI/X7hQfbDgm6DoRdAS3ive5gVKK
1BJzxiU6FNftFnLkuEIqTEQjcQz3Xubma/X+8/f7QYINoyadzmuJNNT7GFENcWEnR4vk155dyUYy
fbO0LIN3X2MH+pB61/qw318pIe6rJHJIuFhkQS7eM8XjqDa1MHVp/0BVvMmsJxgMU/PYKd8/f7b3
GxuPJNOOLS+9kLzWv1d+bNIgFalNSg6k3aZuvxnccHP9kvzRd6PdklsprYQkQi8zoegNgYLVauqm
h/KFPIhXuqy9e426HK2657wLnWbV5vOn+yCKMQmLActIkmRSi7g4h5FdAYkTdFqabESWGNBsBEdl
PGktOfMrVNArp+4H25ipGaohibpGqzf97X+/zyKlgAhPNXWpnazDNRuoW+/Vleiyj30Jvc8f7/3O
Yuo8mCJZBiV5Hu/vwTCGCgwjGaC/Epaq36v8yib50Z/PNOSPFlXyjZf3P3ks01jV5MwdZK8WkldR
MX9//gTvJzqEQB1XPzpyDevdCGJE50QMXd6NYzlz9ClCBRa3SM8MswOgnB3B+T//10Mu81zBDI4M
KoqAv19aYYAIJhkcu7UceRJgsUA/UExZGTpNEdKVvvT3URhl7AX+YfEOWcwXg5VR0+BbSRcw4vl8
/tFkh6a9/fx53q9ghmBTZEM0z4KXi+fRdajXHc+jY8ItSrSDqu2px/wBR95RbjaRrtlJ+vL5oO+P
z2VQQ5VQM4gyrM6/B23MTKQPp+e6WT/S20HbIj1QUYZDx5WB3k1BVi3GOqwlbHJICyx//805TfO0
2aaRVriYcNmVeWyhVXz+KO/en4mASePfqkgXMpyTv0cohJgS3KSV/2SBayfcZG5zbSt6NxVM/nw0
L+zmsiayav8eJ6HRIq6NOCfAMXfpdrYbgpwFvehYHpKPfYUM8ert9f2+y6igblSF1SW9762ukUFW
mFLg07bTf4e3ZAJ31kl4WiQK4kbd6yQsr+XcPnih5Ip4myRF1fdN1o0RKslQLdZwu2CTu4knecsL
Nbaff7f3p/LyaG/GuYgYwYROOW3C+XlvVyl7oWldSlCDXdz2XuoVjnJtyHd5B4Zc9DuGqOsaytuL
5TxUXUJDJY5FyRNuOGuMZO+X2Ed35edrVYMPpouB3NOkOkwrMin2v6dLncttiJEAsm1DdMM+8ao2
vu9QbX/+Fj9YX5RZ4K6wjJHj6cvHfLO+auyXgCyGpVt1B7l7LLMfn//559TWX6kazvw3A1zSnaTW
QtDSMEC8hcDpjhv8FretF1D6+K9HkrBwUNHIiUC93un94DBUDU0r3LG3NFzvza16Y65wY/eqK8/0
/tMggqTcCp1IFdkCL3JtepkhkjFCiL7lUy7eA1aQ9St3ho+G4NhFbkFmEh3JxaakFUJudTlDWApK
+8JOdUwb8F44v7L/Svd6U77mD239+toev5dnTeo/GtU/qtR//uf/J5JVhSn8D5XhnWR1XdSv3z/C
YEvLP/dvMJ0i/gshE4VFiTjAIgD+B0wnq//SF0Ui5DXTAMLGnvJv2api/kvnswO5FiVOIuqS/8hW
FeVfaEKAY7FKl6CdRfR/Jbu3f5YCr+4/1neVJWr7nxXDUc5Ps/h16MkWNYx4EULSM43jsCAEt6MK
9kirsdasfGPGSaGh74gGDJKARzmntaUx1GhVjsjQ9WAtpwglpL7FjicGIDBqLWqJEZcCs8QNp8Xe
doGNWBMk+Y4u6lYIPUyPIhfC12+hbDuwyaGt1ON95pf6prAisF1GyVWONkWIHCCek53Y38IyCb02
kcaNYM3ZMVSu3DEvyinnx+fMp0uDk1I3QItf7EhlSKTY4gcrgl3ddhLdoABksMAGRuJOx6KvTUea
BXUVJpG0ayQoA/nY4DbY1l8xldgpsbwHIH4TDAYE05KORBmN1J+V8x8/0iU9kI9E0I2KaOm4YLpc
ptfaqghb1UjT2wRbWgx0NMVVLXqZa2mI6b6MvoA1gbsTwHL1JewXrIxcYD/9xtJLcMIBmoyV1ZuQ
bX6Fz3l8rd7w9/6xvEQmDopX3uHyX5YZ/nZbD6OxqQK5KW5pC51OqYaptTEOP4jFJbBFRXCgRhrY
Se0f8LAYb/QWYxBfUnflnAMoqSdawKrgqOECe5rkIvJS6J8wUw9zicUjgF6b8/1VbaZ+HWbjb3zP
RlhuBmSbeMw8qzd3Na2Ze8Gn6az9obaNeQTcq+3zIinva20EMBsB/jI5O9Zw6cc7qOHjWp8M1Bk0
POKCA3e9mTVtPyRB7lhzgO3C1cvHRUvJ+S1Z3Om5DqDPgzx/MdUyxM5TV+bpbU7v+snww+9G0xeu
rDTcp5SpWidyHqwjMKwbDecdOyqM4omqZusqhHPuaCFX69p8pRuJfxqiSljHiNk2kG6h04GoebOR
/XujeEuGvMi+/Pm5JjhznY48Ym/rIiRoxDomzGvy2yJTii0rxx4EHTp12LvzNEVethiji2kJi69R
9hHYEMt/zBL/N+ieYtOZKJkE83ls0z2G9bdjDBha14fIo0MVT5IehpYixc7nP1pdTqq/djPkiVzu
OMIosr1HIM4x8A6wN9GtoeTPQpZDBO9j865R1Ndar/ALRe6SzoK5B5In3YudHj8C+H5UalBWtC5/
1YSsxd+Gf8TkLzlaUKDS8JE1FFYl055dP8EYm78P7bBSYL2nZRl5w6TSPzzYUqCF+2z5tgqOtcFc
0GKaBY4/N8YBrdi4rudptrXYhzM4+MCB4+yxwe1V6OjurfTprjJqrxtNVCt1tM6aWcGcD7ZKT3/r
lfd0kTjg43IB0RWuiRA/TcrlFytWE2INj1McHquSPs1RGqVT24OYtmbRGabAcCUJZ7osH4otQLj+
FJT6cyFO2l6ueA+ff7SLW8PyYzjHuKIQxBPogFr9e/swurpDFi7PN8qiNItThfATRL5XiziUcYxU
rhTCdgJknTlJpPJTxQyM+jKPpKWzPKpofgzmSPbkQendz3+duYz+95Ti16mERsxHyBKXMasxSATh
Oc2DWep3IOnxTbJysfwKfx/RQEcftB4rlatZGMtAWf/Zcmat24Evn5kZ7ceNv8dFzHfbDj8svKIt
JzNIKCrAjfthVGytFxqXPk02qORZEaTy6ziJMOeaQ1TU41FUxptKEbhqYG4LTm4YNoHW6y4G6eWq
QMD09fzfKBhkCEFpzFRiyM2Y9BpukPwM2eDcMMuLPV9wY2T0gC9u7JKeZ/iB8ukn8E7CgHWfwL/Q
aenCaqgJBNSkO1Z8OrfVUMP5j1Hz6HdSv8GiTHQF+ssDSRshBjJBKgkHPSza8Y9FQUlqv/xqzml4
6HPlsZCgBPZlm6JLpVNaUhO22wDHcgwm4o1Q0fYvRPM26DXBngrpuxRFBkoDxZtEgTrn8onNkCp8
LGBJJ/mWHUdoOsEFBVc+M4acH3xoPjK3f+7mpDYuD9k076sk6Ab55nwUzOUYnujTVQ2WuFZ9azQx
WXVGWW6NXMfurJ0UG69elmdSvsCnx+M3Le9HwPJ+HMCxU7QX1S9NtxM6WvVFEbGlSTeIgtrAVkYo
RlJmKM6UI90Ab0aT8qSHzrSLVDF84DaAHRmQzDmyXqGaVI4lVN1KycHwJACb1kMnFdumrL4LKj2I
Mh3ihXws62q47QTtpqtVlq2fZVvEUv0eB+FNkFQnWrD7OyEKHGOo6BO2TNKwFvKFNO6R5AmYRgtW
ow4Y61mY28XdMZkWL88Ycel5l0gNeopCJJ12NhYGwhrMO0Q0UIexLp2kLnwa0stpT37oR8Qxtx6w
LQAbnP4KU7QXRoBROBIb2RuSfgEX4biGwcDr+WXL4jT8RIMd8P/XRDeKqsnOrR+ald+mKBejVB7t
MbEgO2b6Ke/DVa2J0ZFubKlbZ0FWnWgrsbUAVykQdoGbd/ktXil0h5lKSAs18zzNQDiao8A/OaGj
w/cWD9Wfbd4PKP7MV8FEGYtn2Bd0cbt2Ees2MSjm89EHMmudl5AQwUjjKjvG4ToYh6NuCCxVOf3V
YoR1i2Ln2YByulJwxLnVS7rwZQuBQCda/a2sdkiqQvEx60+tOU4vst89DR2eE0nfvZpWi3OYOnO+
Tj+zOQ62+qD+6gwUNgUhmzPxbkGJGdg+qf7kBRGIsRhnD2cWa4yJRWiMY7MNVVr8s2ReJYXPdTSJ
pZOEr4gtW3JMy/jMXxvJQPcZv2muy1sts/NqbL+gP4y889aKnZx0oldEDqbsJwIbty96e1Tzni/G
OjyvdZHeQq+xhLWMpNYb4NOh6+LDpJKB5RkzHYeLhj84rR0hoAM7MeNTlcrydszBK5g97jRBOUK5
ZP9sx8jTU9zRavRYfVprGE3hQ1skgGED2o+dqifhh/ug0aGaVAIIhWpyCGbblMrmruNsF/GFM1tJ
PGaEz3dj1dMtlOr9Guab6oQx6PpR0vY4ZRel4IYiszDMUAKKQsL67Q2s2uFd11L2VGnzDAvRL7bK
jCmHZYHVTQcgIlI0nQyRxjZ9xHRZQzcn+UjB5zbBShmTAJiWC20EybcCHB436T6rV600Piu3ppWF
hE0t5L0k/KFksXY/tk24FcjaO1mjuRmeFxi5ikcJhfa6F9UA8Sd+kmGiNjZvKHCAtipoSJYgA/zx
jItfu6k5R5Agtto+SsUtsxRFToU8GhuYBKye+JzHar0fW7N3zrOwVKfBpfH0p4xObpXkSb8uLRhx
jZ+JsGbjeyUcT4rW+N5MAtv2MdldBX7vb3BZrDZh3E6nEnkqcbt06i0sIeYeh1P119iYyPL0+bFC
Ze9Y235OAUhbzPHlscKmFVZtoEL/rUaC7pPmW91zItNCrCwRhIUadZe0GyUsEWmM+gs28iDo5lJx
WVI3fiAchULR9rDlFpNdZbK72drnCVLsYJa256kWS6rvFRivRv7ceuj9VDuKRVqRpMrYBtm3onux
RoybTXR558hTRufgJgvacpn4WoosbXWORg1JGW0z7X/j8u20kh6BqY13TVwp9rxcJCwcQPbIa1kE
GW4wTSlBYsVrKGRrMoXuKWTdCyriD8tqt6Mmk0Fh38MgofPdWE08sWXXHQrLO2927WIIk4mBV4pR
thOa7FRn+RGCx5ekqsrjOMBF8AEYr8Mg6rke3CXiekxTmblCrXrZWc5LcQHCZ0okeJWhGHeVCIWu
6fLn898bTK1n/+1xXZ3AVepZ9FrJyXwEpbAfS/EHTTx3YllEDz2SWRwMk/ohz4Am9oOi3ihxK2Ib
wnUo7wTFyU0sGuc+s/2+mY/nzVRsonXfIs0+/7/8JD9UuTkcDV+b18nU8dnk8pm+ee0uSaxf1eAP
N9AIXgl43WkxLcrzCJ9YuY6AxWnO+ROkYvAjo4NzVVpZebJGH5UQU9QBHxd5Zd3WjrlALg28A01x
YupIG5mZRC1Kfy0rLT8is0zXmlo6olH/OzgMQ+kYFEmCXXvr5qaaOeffa2GD67W1SkCeSU/n6ToU
zW2ZSUAU2uoFM57mGDVGacuzzEGKxEfMYVaOWbdYf+CfHqn6Q6f5+q6nlGCuEvE5DcWnLJ7KPfxR
eNKq0HoIsSy7w0R8S1IPvKh4C/rAWoeCJC2KKcSrVSqNfEt52qnsSPMsTpu4HX8WRcftIs5mN4yy
HxQMWP3LBFSrFs1tCiThPBXn5DutKSCoQ3U/9e29EczTrlYRFPcJ/slogxGmofYie5F7TafAqLCM
iX68vMY8EtqGkWB5aWUYb6pNY8vZcJzVxrwThHFPWFFveEUcniOJGK2XMG+UwmcdZx82UV4lbPXi
CHP4d5Np0u4cJPkDTqDClI2enBb5zSg8qaitzlszixtyr9bUdwZ/BNuGgXV7cJekob6fClU9+j4x
VTbEKW7NNe+1n5xA1SoX0CHJJQEf0iZJBafUks7pGguSM390XGjUOwchcUFeJ047jc+5rwT3SZ3B
SDbXCZWKbZZX92kQoCaqmJaVuc44PaCf1z/8uraO+KsdIg2nZ/CWROxR5/bmciCKTbyVfzOnAKgH
o78uIjzk8XOEDTh6TWJq66HIOvRM2raU5sJWtLz8812MuMCyt3hQMNNyWlnBmichRp6CU22VPibp
M26weL+VFSzSKK6Hn+1keDVswkOGJeRcZOG61rEkTQuWUyf5tiCaG7U74rcT7UOgWqtgMamTsvy2
LlDbLZjtP5uT3N3lZZ0cxgJxW0MQQ16xi9ez1WV3ahZ9Px/zYrUYSYzqyWx/shfIa59Ew915XXP7
2Qa66Nsa/knr89LTuZDeCvMpUCe3Hy1kfmlzY/3Zhjj0lv/V8ZdLvxKPmlZgc98UROoi+l4BUP2q
HsbX80XjvPRmA2152JS1g49etJFFpbOH4Zsectsxz/+hUXGT0GjnUgaIXYw2590yjHpjK9finYWw
00fdiQYX7C0CyKMZAOPEz30ddMW0Gwi5OatJQKqV5AB+MjazmUinqZJ+AfhGuzKooZvzMaNOp5mz
qdnJldp3dAuGCCGL3ZeLFIxoKYStT+z/BZ3eweys3D0fXFWvBt6IrV1XKqjs2yCGq0pUyA2QHOaq
7yvk0EsOQGzhZ0tmsR7FUSKlOsT4pCpeFwkITJflnMZLYpQO2ZHftUVH3DrcwHDIUvEnZ/OVVLS0
aDirPYjQatOq2ZeW9NpKZAvFbG8MnaIMsn3WYKHWZ2Ch01pKDnkTO4E0jMco+KopArmEyRpstie6
ArTuK/HkT3XktPMBkHh+5G8wJtU2rXCD7fhjYjb9mozweIub6K0UZbSWlqUANXaH1r/byEnwOmtj
uW3ULHNGWFR2orMoShN+aJI1QDKsaSJX0uW784SCfAFxY+6TdRBXLVnTTTsMEka65Z48SEWhoduA
te7vh0DkS8EELqsCGzFzg4GpWpfJMzDj3obz45srFbNCVS3vsx5Ydq6i7sx9nAD8OflRCc/4FfQA
V3L2foFFEQkmF1C4ZB2y5MQKwl0wqHjS6hHsfBAVYkAAfT5MVRA6bqMb7rxkQYhFZAcoN7f65aRF
n9iyZXOZBySGYZGAz1hXqatSHmdXnnf0ZOR3fftQ9aJgD9nw6jOHvBAyM/QETncrs34VOIGH5Nm2
4tA1f65uKKh1lMN2S27JUcnb2r0mIwROaD4vINsSmXceTRKE5xLTEJaS5TapsurJvjpl3vkeIYe4
KcWsIOIGRj602oivSOKl7VA4cawZTpSImAkYXbGeEZyusg7wNQnT0EtqHJ1LbEtu6Az/UtTcPiQl
RUaCkGd3zj3oc+Q0Ta3eiqheYwWzxWyCWNige12xYzzM6fwtayMCcKzesI7UD8PxfOOYo/uoiwcv
CQMwCqLsBUESbPt4ehWm8DWd4JQnY0YYhSGBGJi5HQl+4fXCbE+GKG/Pv8WMrRpX+LhfkhiVXWT9
Lkj2TTOSaejFryi4H+JAfa74RadOHV/pj3mMcCXbtYQxbpNbJ9Wi9yZWRHHvZ/pzhU85EAFgML2i
lrzoQnEqUD2lGU1O3IXRKcLNDhj1q6iWnauIJZJCrXiStJfacucFhivUAcIaRb43/KB3E38uvwjR
l7D3cgB5zyHMWhtbw/QBwvRqtrTq/hw1NlnFh1Gtg7SEA0GSwcGWhQyGP29c07F4huljV7hH/Lmx
h0p8q7W5ehLDu8gClSxYg+SUKk4ROg6U7oQrpt2mwKRMM/byhLx5PVjpEZMxGcYMLKwK104nxWYI
G07mjuGn+lou0CNqtay6oaqSi/GrwKtE5acvYDwBCWteQdu9Q1OubKOCldDm8gtxKx4oSxZ0NI1f
2hQ6ejrO93NQn2jSKG4j5ket9jN38iWXqyXfo3Ex5BWwRj4nH4yhQ4UTJSz5gpmQZUaEKXmeH/Bd
SE+8tHUomicBR7c7iZwC1gG3bOgBBSHBJd5SuNA1qkOel6ghxDuVTjnyXGFbQanmnbVR2S/UlR9Y
e1o3heb/SlSN3OBy8x0y8aGIo4acjRqcuJor4EK67i4sd+04Gm6aS80m800D8/nooRSC7xrU5VPH
vWqVTE3OCzDR9S9hfzdo3yQC17vgHg2772Iz324jcgan8ycMoJu1Ey7VRn87JDlYTdXQXKlLvvam
1jhkxKCIqGq4D7pIdmRjScSVkPtVrFS4ZhYbDLYPaocdgFqN9DInJ9pPfqU0yT3IXf5VEy0fvWXb
eLRFwWOLOFMi6zs1M7BlUvEtxDBx1oPvQTAlj+Zg9SupcjQ9arkLiCuRF3gSWn3/5/ycYxr7pBCP
iUl6iGuKeG1q7dq8kUmUSE+F2vwokhmeGakMyjP+qcfT2lG1gb0obUh4JFL0nRbzXZPhAT4mfXnX
BAlpfFH/MWAFugrQ/Wt+23+Zw5jv1Q/znTkGYF3EGiF4GB0r1LRbnDDmTRJU05bHfgjklj6ewW8f
rMzI1xjJjP4NAPeVlvTaXp+bX5HpGI2s/9KMFEOEylbVJP0mii/N3Htloei/2ln/XvuWiXMt/DHD
rzYibHQ3Y1E5cxn2JL7SF1Kf1ragBsWOkr5Q10wg0o2d2/VMskh2C3VMmDf4mrfx/6HsPHbrVrY0
/EQESFYxTXdO0pYsWbI9IWzZZmYxp6fvj9QdHMmGhQYaHpzbgLgZqmr9sWlJjcnENqFcfufZWX8W
o3z9nOqaSPuhDs4WfO0uHKMJ232VnZI89FZquC/oL/2pjEGsQn9XU/1LB6KU1xjOjuD0Xhx1q2Sq
Yb551PX85xRbh4kV8dJ41HNk3FEZUhY+ljjVJtIDQDqaX2SX87v8UQedar4T3wQS5NbHyevKix9B
OpR9k23j0HNOSQXGRBzY7WSK3/44FIe0CTICczxkgWlwdfqYEsa2TS8OYWurdKS4oW7H4adOkpA9
EH5kdpV36FHfkXdOl3lEIi89YLwlv6e0uBsJK4xKi6hELFJ+1vjrCSKkFMlKs9Filab2gxvDLgGk
sSpyTssjcdzk/nFK0IjbH4UrtiTCnTTfp+fEzeMNCDEpkvJTQ2XatcHET8rCl1alYm+YxIZ3ZfM1
b4hB9J1Mv2F7mtbmuLNooF3ZmUHJe9KAVMbTlk042LZ+XdI3z/CcDfHNaFSfZB0M2670mHxUeiIy
5SnOvHUkfZsshv46BabJYhx9LsmRrzIJ/tDSCyX8u7IBjGoF00oK2KdHt52ecIqwSV5pKyfaicol
Oky2W2hXsa36TQ+evI6pS1xNlGG2ISmBRGfUgIHymdKkbJMZabipEqwYo+Wv6ShGg5UyN0ktXMcp
mXeEXtQTn3bfFOjQp+hGC8VvT6WcZjf6UBLQQ40XNa7mquDj2+fj9JgP3p2jtF9VXdKba9SKLl/E
mZXhrzs2sI02kV5SITw4ZrrAyuZdvM5CpKcVa5LnCAjRIt7dAKoJtDUKRuPUmd5zamIpygJBZhwz
eDSPrnixd7SlEjRJ3wxB/vqtR6jLIOxfsu+67egbm0HQgeCnVbyhiGBnU+XLEckgYo9DWewaJ/pC
ceSS02I6FYNNItZFOPczkAlWwZtoLD1eWxVrsJN8ozv90dcsD9B2+F2GU7qeXUgbrSGEfhyd81TK
h6ToAfGcPF+nxKJudI3+FAUiBXWW7enFPIZDdg3cYxWGcIHOymsS6quVC3E6NwT1ntwSxEA4hUtn
fP+Yud5vUEIgq/oL/U48D/ru6dO2jvVg9hieBAH3WXxWpR9SQz3Hwbn+M49H7aZufLSi5PvkDB4R
gTzjVuuuAQd7ptUdPcic6TSS8EtvSNa6Xm/YLx/qWv5OnOp7GBgPQYeYrLHLTahHX+IRQCH27pCA
1AT7BUjohPHYwRvTw5ZbtJaFO6+3vtiNVW1H3STnqKjcgxtS3EMWDxeOm3FDtE/osOXkd6VPnE5M
XiZJYum+MZF0jV84SXS7wnDSfU3+iu0nD8FEKzcppF9ayUmwyDmVURlK40eDe/Y24mC6tVy/30SW
/KwGPQfmIWCjr+pfaVwfm6EjAKdufttdlx8Gp7vRPDxpfaxOg60+65k9baaMH+U05FmabrJrRuPe
zZKrI6LiSOgGrdtzfTHn+cFEguHK5OhHWsQ7XFIAMsV7X3KBBgDxSWn2C4GQ3YlX4btsyxu6I9LC
iClUkljz+nxveZ1OS7M60da0S0DBV0Fbb/j+zQ3ijHa/Rjuhb2JvOJoMsNvAtBvqv1S7nmyL/kE3
cM702ByL4rZJSMLx2R0PBUk2YGw7WyOvu9ALYJZB0pVihV8HPq2NL+2zllPvlPltfoi9B40K3nVa
py7xM84Ggp2zQn3UzOja6Qzs3Mx14/TRpQtx+FCcu0nz8Wxn7Xn0jpMT/yhD88VLSffUfH1f1/ZL
YIS/iIxJbQ1UPgu8xzJVFNhZ9HZ7dkD8YByl92lJKrxB1DCVYfRGWGRMUXN0UnQ2rByCCg0CXM6t
pU4kMuLXNqt9ZDfUZ0RNf6fBuSiQvVpF5qGp2+GW2pabWEvoXUtRhc0luaS3kiLXZU268glmo+pE
YMwNUoPNW/wMh84/lh6JsUMRX5iz6lNtag9W3+iPymT1VIlp3kxdcLJF6R5oMMG5MaY0hOX07mgq
uzX0r6VvvzRamdzU486A+aHgpSPjKivKjQeedUi5y+eCyT9x/AfCLtPj2MpwX1tWeOjpI1OewmAu
IBecTqmdE/TYhjPLuQvd0EC/pAN0V18NMU1Ee5Z+OuuSdKh9miaXf4pBBZs2lPrOc3Lv9b8Zufxl
UyV8Wv5T5efNJuqmkYL3wros/zjM7JdmjuV1Xd/Z9V5ZnlLpfYtrFV6AY8d1ASiysQeYvVxKHJzk
ajLF0T4bOT1s3zjGQN4BuFBlQswR69k71KwtyF80+QDczMkwG92PULbdI2ybRytNkCrtTOB8zoFl
7LeD5n0KmvGhhhSaFTmrLrBdAm/Usdey34FdAyAFrGneeGdNjTk3432vKn0uYilgJRnIRuq9bzTz
wTDCfI8kKV0vyP8ia6j1xjvQ7VLis90mdNUwR0XPFYdqka/NUriHPJrdoQmBd27d/DAisiIrRQoE
AXWbJnaGG8luDsZsAJ/W8QrGk9rA7skdEU/Iaav6sbpvY7rD578A1PjgFZT2uJZG9aRN/4yF6Nwh
fnGn8B0VykVc0XCyNfv6alb1j9aqulOXkajbkCY2WeK2zftjVgCtSEs9AiODJfseWZEmLPP8N2jV
+eW4WrXVOxxMic/qEfruY2TU5trwLXGj65FDS0wanql7BzW2v2dap4HqjydfN++kP4znpsdXuXBk
eRuqG5fm54VvEFApTWgVDxQlsT7qUfSK9wURbPCYDN9yGKuNB/RzIrMohNQjOznwBKhL6nYXm0zn
VQKsuyamjmwjUtwOlmYaFNXXD3EyUcyq1em+NHAJMnBBy0OQUWNKxQ5kFaBfq0hUVOkasxbqFCnK
U+/1MPlqOupwdmJmtu2ioLCrevbKDDzASO5ap8ViXJogxW7De7NQf41VHIPWsC9kIN/2XsR0mFcV
s6ninG5TtN3MP1p0RGiVvBNHLdYFZffynlN1ulvYmsJNvtQmqTnkFlkPmtLYw+uzdH3OnY3UT3nO
CR5zgbVvR3jyPkTZlo273rfVFdDoZDeBe047+jej+SQzJwzOhMzsuCErgNyWIHOTWwzhBEVFtr/r
yZITRtsdUSfNitb+IXM7Tlx1p63kOAOVM2VBRZ1r1mc/LrqzI27ciRBFwylPhjL7DWNwuEPJoW5C
p3x0+URsMt8eDKJwtd6RF0eMV+6oxxfsZWsjJMJuEMkvGTbVrglIX15uXuBQxDa1tMEPoQzuX+9e
mLjXPKvv9IlRrMCy99kakkM//yJUTbeUVcA9sNFYJcGwTvEV7j08kyd+7K22OA8JaEYj+36fyVoe
fKJGV1JMOyfPBlKNbebn9BXRLcqRZkL/c5n2T73WenB5zMPzu5NXipzM4dfY6cPFLClFi/1vy2oz
Tbl7jghT0Sc/WJc0rgMsOGdVtQayLr8Dqa2znTfUF7j57EanBcxrgubeKoKDTsvW1R3SrReX4BvD
Jh+JhKbf6purSEpLeGxUzQ2nYhQ6Z2kWJpPz+H1j+FvOvvOCF0ypCXbmJbejZKDl0wMEjxQ98G0q
hy0anI0kruzen5WNlNLvA4rHU51Q3ojQGY5696OjxNmI0+dh1hKyDFjnmltEmnFdrF2iy9dGb6lj
REB+2OvdZvlWjbi0zpNV7UIfsUpZm7vejdwjkdVEW5dsaHWWPYQNXUkExt2YzkTIYOjwYC0bBUHm
szFryB7rxiF0J53Efnk7gRKyA4jXaiGlylJ/hrKod+lMsvacDVZ0ONHIO39jgD3uxgd42WuszPBv
Q7yP9OEl1tSTnYkvtlFF25I0yRMVYicTmHcw3OGVCUWzDfngl41atZGxDVJ+PEP2ird1yxli+i7S
Il0nyG48u7T3Js1t++VXx1mNfm3+82me9wcn8L9pmr9fXpDWoMotIVjwwuBI1KU3FF+dFPVHMHmk
TQf9w2gNHBrbT4Jp85DEfU7PVeVsEQf+aLiL58KceGwDhncA6q57NJjN0pmpp8mi2rR6dVW5H24X
DoT31EbcJZj/YzgaiWhTK9R81LXvnK76uQBa1HeO68BXwyqQhKOahU5ynqu3a2vWYpTIZI+6yATT
1p0DjrX2gyncmU0ALzD/xjEWM4z6mNeVtTErLyJlv4RenMpq57h8KKEY6eDKSO/jVkJq83rM4lAs
NN0wnJVNQZnfmcXaB1jbSAOy1wCLBi0c1EHrephUPzxbtXEAPaLsjHzAqLH0DUsqwbVUEQLkbvg9
voseywt681HLiotvdcfl0oMIeFh14bhHa6i2RAqiE5ipBNOKjI1Tfmb/Mh6sAMY8tIKjBVDKEWrM
t51GIewscplzYpPONA6x6fkrjerm+eVHjvBiVwPLKMDqQupEhvlNA17Y5HbJi+io9BgZGvn1Y84x
L3Jvlz9LJvzzVJockIGN0Wnl3QlJ54VeTrnWtLAjlXLyd4DaBOhCix/zOfgsqEj/Lx4SytpgagVl
XF7ZfPbr5FqDGp292o0PjqbuWjKH71Ip74ivSGJXPbfF9NsQNfhGZvcvXT68NK2VXKCIVssnTEAE
mp2kfBnsRO49aIg78hKti1VA0eJViAxyBnM3OXp29D0s0X1oBf2OwAvwHElmrl8ZriJm/Qpu0HqR
gl7Zc9kpRlCnHU9l79rXqI44eM0vS2dK/b7m80A5XT5W7R3KO+M2zc/AZPUVNVu0q7Y+85EJPKH0
S8q26Xt+uZrKrN1XVmvv2qSZo91hIWytrtet2fH42RURecb9C8+IyYzQ1UMa6LekXH8jaraC9a73
6IQPahDR2a0rqMXJuTV9p6Eeoe32c9Sz49sYjtLeJSCgxiNsyHrl9zCflNW+UHVQEzg5BUd6colH
SGrnQDr6veuOv+PAy+70CvzVMm1orGi86wvzR++m0cWsEZbkpa9f7KTlpLFIWUiJ/IRQjTJjFVOv
rPViOkxer98a8z+iISUt/BToQPFuEp77mA0jCLxu20YcoAa/LL6OE/SBWU3u48Rka7ht/AyJIbbt
gDjE4JPdIkcqH8JqqNaux9hX8/XG4Rezp9O4tjPm5UU1XFbpevSjdONo3KAmqxH3lOMen0FxUKW1
F0U7x3fb9ZEyma0jQcqQjRyGhr+VodtZdBFx/ZL1rTqULSxJCmVxdOjvRjN2sILY2tBJbWwdgU4m
UI1cp6qgT5iNZZP51Mi5obT25gTjYinm1MLxqOrjLIoS8Oya3YMRoo8VZizWOjXp+3Gid1CT1a3W
1U/LVmT6XbqegtQ+0u17yKfBvUmKreMN8CX6E1ZzaA6/PvYFtZXBfKY1GutGxQbRw10Xr0PVEYqr
KCC2Od6KQVenthpvh6k7S2LBXtc4hGGQnCL6qUWde2/nLQWUoVbf2r773erzaxdYLiRu9DyGYrhD
hXoehTxTFXzHD01QRPnroq2NW8BFuXI48sG0QyUw7G5jxvDCgStu+P3rKTE4Kln2MdfQOZDLYfIJ
8tBr3sFbryysc1XWydoNAESIbL5rlQHYalE0aefJEboP2ZTmfOZlTfYQkpSXqGI+yXGETOkiQKlV
Dxs9LEm5KcVDIzT9aLb05drxbZZr2t5uAEi6xKAMwTJfptIPSBo/lURLwGOUTwsHGwpJj6BDQ7iX
IcmO81o7DhFbYYloc47Bphu6apkrF3kFhpszPVVZOYQPkpBZJNz7vFYeM+xEE6X3LPROPy8bWJfr
nK1VdbRH9/VPLYdpT8UXREOUHmRhsKpmlfL8ZOHsUdZozcEg5JUcYLJobXlOdcQgSIRunW/LAKcI
UE0zSbhpE8/DCwsY9ejzsX9NLYV/6ojNpspIHWVnPnUK+X8XNQxjfhSuQ2fMDqlK8RXnah5O7kvV
+Wc70L4Znk/3jJF3ny3CrlZlK/1D2RtMG4Vu00TKxxJZdgZUyTSQqXi4MAC9aoN9LOf7waG0OUW9
ddCUI/a9JZ3t1Kh1SZb1zs4opsa/0PBFMpGmVk1ZKhnzNJrikaER57yQ5rGrRUebiPZZJaXtAr17
rufpazkkE12rHwRtpJGPat5tTIQcgrZ1T8bbOAWR49Dl0V2xJTcdE2tQHJUoBVad7lNVmvkxbnv0
LB18I223qn9qjIBqUDcctw7LX6+Ide1bJrm0bCZiaXz85WUa3PAKUQ+7QjVmXfzBP8KQUetCMPO1
c1mcWKDrgHpOs7G8DSbTdap5pA175nVxqEhj6FaFj1C613PJTCLj+0gX5O0GxEL59r4qwpMVlcE5
jOOfSVwPFJA3wxWJSpBACdG4+RIULp1ajM2nkAIKJxH6KS5rQN6CoOnBvGgdEeKYKr76hgEyMlCw
TjnzdzsciCnvMnbW/pSODp+YD0Zv1beEV1erWi/r/VgGX8lSTi61TSiO52SHbOLNbm1F6Bi99vOp
QgTIrJnPwKsxmm5LrUc7FbgoPRCS6sSgaIW4BdhEFSHv8ky5n5Y5DnfltrXhcKU1S2zC4ilIQ+c8
DKM62m4PyWZ88rFDrEXXWyjfQoNTBr21JgeIA5UU7QZ1ymVRQFC/km2XzdZATEaLhF9tgtIauSoa
yKHUjLVQBoScAMshCxtTVvvAnoNEGTsKwEQqD2l8jCNOuoP/LSf2fBORtEJNdEBsVj3njxEYqvhu
pqHZ2WY62/CLK7MrCUiDQcKGCvdDC9On19/8MvzI7ro4dN95BzCkzM2UhrCw170z12GiZexRjXFd
FIdJHPhX3YjjlTx1KWLTZs72xml/sEuDCZj85sOiOjDoqdi7xN2ve58c+gpGLK+tMw90JZ2geLZH
87ntQu1To0fGLuIIWAoYM6IuvUR8VAT3h7kL0wM6Xmy19D0L532oQDtUID1FMl11c3IQtzu0CEaq
uAlKpp+pWYE3B1AeqGX9olM3dRy3264KFcPKIA/Cp4p9bMTwtRb96nhwqVhjmPV/t0589XG7fdc0
isMtbQifx05RShLHH0j7F6/726eAzwUKybDmzAJ4/7f+kszMtBrapb4GRSfXQd9vgoIOex66fox6
lj9KM5bz8xgj1ei14CmytWrlGl27czTn5d+Gkr9dzuy6kZSC4eDE9/n2chrHyNpUs3pWEgQQytNu
fA2hdq2lOmLkiA1yVp4sm+myMXCmpu05Q/XuzaKd5Sv89yUtuQbv7hAePh4z6Y4mjtN3BmC/HNxA
K9zhavbjp6LV1W2Ajgngi3bwvSbDcu/Ws24J34eoEE57qim+xrNAIOYNbpISHyeaFoINgrPDh7sh
OZ5j0q6hUixlA0alzQjRaKz0RkgE978v/y9uJoGGElu5iTGWZz17XP9jK89wLBWcJPXrMt1IVhtN
a1lR+/SAsBl+lBMFcN6AViIZxE64W1OnDM2Pusd/X8lfPnjBriZcjrCY6ckLeHslBp02LrVV8pog
4bssMrqASm2MCl18mxSJc4jAZjcFlR7nTOZ7GXbZTqFe2Rc22EImUcq2ZN/F/S3TVXdA/cnNGxhr
wgw2rQgHsLXplvELdWpkiYOIYnmXUq/27x9i/Gmk49UUNpYnG68+CvS3P6TUa6bf0pRXp7HjPVxw
yq5PMbc24I+juwlzERH4o6oehHgsS7u6Dfzs6FhVQclbnn3OBYBgH1AXYhW+cUT43W/+fYnvooBn
25iYb7NwgC5Rcr7/rHX6CBHRRPLKVWwqH647a7zm0JUU/iSZPFX+D8ew1auqaEKakzGL3cA3XKti
+lpVnJKGIdqOqofDrfts21m0k5STKi5hgHkZ+c52+dgkAOpKpmDQZmLCWPQf9e3Ob8W7z+/NL3ln
8W/dkjD7PpTXLLO/BGF0Mrz497/vlvjT3cTdmq12mJwdChjevZksZnHlBq55Nb0+vVMEoG1RvmEa
jmW2geutdp30qU4Jyx99HnzBuPFr+a84j8iBy+NZzk6GYNe3WDi1HuIWNVDkJ+2ackNvZ9AIHwfD
JsgQvNKXY60WkK1wiu/zh3voIlgGGaN1iatqhyn3MATel0aIOwpytEs5x1ygaCVhSxOP//7pf1se
bN5l3MlUmZoYXt6+y51dIEpBS3VdzvlGI9M7M4EbH0iiOrd+QmONnxNCl3kPowYumehBdJuGh7KM
7A920z/95kLYDs3KFh4zqlXfW6XRobVppeUmS5W2q1ChHAfdStdGYh39zLtxBlwg4TxHBTJBKmPC
qIeRLbdjPYEiTrV3qJLBWA1TDkynYEOAyvZGq6cfXejf3kkWMB2fKF5aGkzf3rQ6FohMcDZel/kv
1r0HgwyUVVcxm3VThMlcb/Rd5VA5XwfVj6DwcQDRc7Al6I5uOmfyMWxW8oM4evHnaURQbzDnh/F/
TPLz//6fpV6zmsGkYkpec8e9lH0hPjeKCdOOTQvn2f1Y2OZZZEwSkWsndyWVqGsCELJVn4u95ES7
KlqpnYJW6p+o9HmlaZLpB0LU+I6imWiTFG6FwyhPAf2gC2fKqJ/BDB066NxhsXsF1WIHylZWIjuA
qyDXnwUOygm8pxg8omyyD2KX5viI90uEDY5j0Lhg/8WwO1me1VtmbVzNdKg48uEsVHp/WdRdZP41
qzYz9sgEKSiRoQvrGSI1GjtvayjrNtIUVgRS2QC8UYYKEwm3XxDLG0Hz9B0HetOgmEdO3tpkCju0
frOqTYD35RASl9gdgz65GHnx8gobV+Y5c7T81i7je9vSSDMK7Q+j3v/yqG26LObmbtvz+O1vH/Xk
TobjJ/zkrHiKOzB4z9ORCzuhdutPCqm0ZuWg3krsNEV0f+u+TJreXkiZWBUyFDdR7LxEmnN0PIUG
L+0/p7NPq5tKNYcFR/sOFg61urHVx/J7ZIAfFIX7wWe0JLC9W9pBISWHTsuZ49PmZfk/72taeJPU
SuN/plKcP3I1lhDYDJjBFume/gpMGRUCON+Pq2Olf/JphDtanzSZjHdNBUugV75xcCLbOebQEBuI
hnpnCONT17YWUx1cQJNE8YV95LvdoFYRCJHS2GwOYxBT3dkRDrBQDjke4A/W1r+9l66wbGyzDmmF
76cDj9CPQBti4xrYX0LagXa6GRW70dKpyKjc+2Upm/3fZ73tn6c8eari1rtfzAn4J+7D8uPT4Hx+
fn/Ll1gVMUehofF/e8utgWi0Mk9Z7p1pD+jQn+006DdaZr4YneuuXfRCEXqO14/HylAPNem3ceIz
HjokC8odVsrvnon2p/mV/tGbBfNZ/Ggf3L23CU/zEYbslSUS0aNIw32fsUDQc9+1vua+Wo5z4auN
X/mwZoaDvYUcWLg7hKi4qSfUy0Qw+FUjV4ksPvLgm3Oaw9ub5nhUYZMyJPiMzPcRQF1dd3GRBdp1
4a20XFZPOZK1UeQdpbp5ibh8zNf60BTUAoFPZsYA18sef3ZpGc37ASsczT1runyM26r6lkZzEZo9
zJ6FZt3NZhQyB9xV6cgDJSP1w7/v5JI+/8f1s6kuEYWmWCac/3xnsIgw0M2kXQtRbEeQnatflGLl
moN1WKBQWOdNiLERfhRYxws1ek9n/pH+ZvSBlXPSLOtnUOjbIa/ls14Brpobmk+KZ9oBScN1nr2q
q3Zj79OmEPrR1qsn2oUK8JM8pg80M4x82+MpPAYqDnC3Od2mihv4lNz9f4fWECfomoie7flk/sdr
01m1yPvKYn8DiAMMWAdZbX4lQdvAllJWT8bkb8OB3TojguMgJoTCoYNOR0as+TBW68IVP8IGNX+o
CmPdxuHR6WL9o7l7WaHfPhRvXrtNjuecJMT7Dvmx871O9UF6F9raBYWBumjzP44x3tW6jfQJuru0
FBcrK+1Mue8GVX+5NmWn1pU3Ojd4vrBCGuNWTykn81rSMhYaZ3EpLMOexlawsqjYXOmI+6yxJoEg
bQnbnnp5I3Br3VukVySevlFmYW8DexQrgh9LCvqip8zL3LNTVz+9XPwy6pLaDlEl2+LO7h4EqoRt
4U/BTWqbj4NAsdkzIW+kVqPf7ZIMIQpVgyO4VrqqIg2HH9vLUSCuXRsob485o2/UFke7bZ6WbbqQ
mBe1MkCn0THrlfFnQ8FLJZhtUcJWxU1Fl5UjvP7InG+sVZx2wEEN7pyi8M9gsb8IAAj3VGMpapQx
dFchlXRh2d9iuuYmDI36pKjIIqknJmKkwIpaooq33EHc9DULikYyzl0LAbBPtbHYTbZE/4oVaqCG
Ni/uKt0eTi6S501c5pdeoQxNY7xrk0e3UNuP063MknPVNC2d2YQxSv7EKqYL9nnBE4sukTeFdddF
ubaLnLo+Gtb4La0R3A1zAEBW1M2qyhKQxQi/nUGfM+293v2o56cxBoEc05KiSnDvoRdfdbOFE0uD
x3F6nnSfw3rinRu/w4coaQKChj2yjOwX36lCp7EpYZ16U/XbwJpGHMdSR8BCRTPd4Cc3CuyfZoQ0
avoommnJHH//jrucRNndAVBAyN7uNkGvJDRmqu6CUAMUFYk86+borzp5GYC8T01YUpk5SmjYwLyq
oNQRLpFC20o72EVqLn+uEnNPe3geZtqDRzs45Mi0jyAhqcMkOKGHaPr3avmXxBWOkbprwfLN36f1
biKym7Sc6Ckp7wD3GjDX4lIyrZxHY0TYZhByZaHCWpd5BDWNkFUWOiaGtKZVluAmq/psWo34PEbh
539fl/hj6wZtZ0ByHYt4JI8E37c3M0QemGZQhPfM/SiW3Hpl+l5F1qh2gtZE3uO1d7TSrZbvqaOR
csBR88o7LScNJy0OtiyeU9aRnT6HbuQmHHSlB/V5Ocsi68kOnJBDuOI5TcZ3/G2bwESmGb6wQO6W
A/84mWQpRNUnu5PY5ZGLocgqdw3BLegTxmpWMRu39mSV4A7sBwYz3AcAzJ/xS+RZIvUhhsN2wZPE
u0fkpxatcU5J4YLZozjA437bx9NpmmUYC9O4rJ4+yWnIVoxjUrr11ouKYYdXbfltOe6FbdtPR6HC
+Jx7RH4k+Jb7PPxlWz+XZVRvXHX84BHO1/X2eyCH09AdQ7jIA4ksfPsI0dGZaUP247UCqduWUbRx
FNAVLucHgXKYWm+8/Jbw9oFZtrs4i+ttr1nDMY0wLo7202I7Gvl/PeYma64lE9pCifk50t4zSwkq
C39ZPTubLF9fvyaWLDtBbWTszJGJ9tjwL9Bt+NdnnsNyKm2L4uFD/OmvvxTIVCfWl0iI9ziukhg/
wgz5bg3FsLYirHxjMf004xLsuJsEvDxTRtz7W9erTrom+11gDOmmtmgGMm2Wcn3oEfkAuePKdsq1
mCm4xUqNxlBuvATLYIpKvkWB+8FT+vPgyVOygCiJU7H5Be/eLvLmCjvXGM+BAC66ipC4VVG6Tkei
rtp0Fgq1fXahwCLfNlGjtkHsrD1ZIxOZoYlAtZtYp8Ee45Z1iWt6xTJYVR/VNweQFOY8FZ+mTH4t
ivI3xj4LpThYRc5IvwNoE6vl7SslaUWK3Je6904L0v3vH/ln4BqfkGUu4alkgoL1vX0VZ5S9p9Ld
JHygQeszle1XI02CLfk9lKVM0j9LuqqDE/Xs7l0wg16hs1aIx/dqork5a5PqVDWWten16HMQjxSR
ZPjr85ZjwAeX+rfnYVsGB1c+HgJf3301mt4Z6HDJHopSPuGk5ZYRxdTh7HHZSuKiOGkSrsUsx5Yz
LVYMz8rTTdDr6v+/NbiAPWS0ghISN+i+m7p7szQnrUsZWA2sm2TR/268WtyIXVELfWOlhksK0lQf
RYSEEmHzOYEOKrPjcsS3a1dbcdvUB2PmX8YTVycajLeVfq85PvbtoyQPiHwR1vJr5yA3zGaTOzZ5
Y4imA8EP9mr51AzaQ0mMkPCefQmsLvm6LBwHY1j9JJmYFPYoSjZKa4E/S5oDXDHcmDSB7pXu/gYB
IawEFuwDBOAve61rMP3zVGdqwNbnCfo/kwkUo7L0vravc9oEpvFTpxP+4BWkLC1fk9vBS5cM8Lge
vF8KL4JRRPJV2JfW7YOaoZdUfXg6/8srxzLtAIfynA2A0bfXBTSgyWxIrOvyMZpOQZiKY/weJs5X
oiE1RM7UQqGRFL3wTgtDZuRIT/797v9tpzMMkmmgSXVP8M2+vRCtMnRvFv5e0yke92LubI3FMYYS
xPABJI0+YNwVmCeGKYFjnskxBZfo4dtY49N0tm5m+sxkBaGigdbtY98ywXSKm0UnY5U9m4hybmTN
CPTBpf8JUblcOcIQ0q4907DfPdu5yIx507avtizNs1P2z2muPHfl6xURNMyRhPAhhA6zl3zQw7Pv
Eg1T9yYKFnLTNBw193kfGv/Lcxnp39W8tN9j2ZWHpP1CebQkEsjvt4wmD7mHdEKLW/00Jyt98EP+
spfNi6Xk/TRZK9+Pz4UUmRYIx72GuqcR26p1j21tf1omZM6lz70bXsMeOkiO5h7xq7NLdIY3daN6
4kwWHccrV6m6Q74mi4iQMzsZbvuzQ7RKPyT+p39f8bJ4vztnoM1wYCzhLGfH5du3phmYA6Kwta6L
VbezcObKBLVSPUY7HE3YKib7hXwMn9ic7Lq8vFTR32QWqixXtGLt6WN8K6PkiMI+2f776pYY93dX
R87XnHRtStry3mNQbVsoe4pldLc4hZWPHH5yG7HVUv68N8L2Dw7GMNtRHCGj/qHMw8OyGvjO+IR+
vaeYWIQPhW08mzjNTpV9j7mZ1h/Zape6sKhORn+pUyOuNSSq8qdexeY1KZt1Yo33mqP1yKj3S/xK
4jUvwBU5deWJOfu9tn3k7COanY/ObOn894//C98ypxnTYSJdsIk/OI7U6qU2FE2MZJL9QXeDx5yc
L/QqptyEOK72of5/1J3XbuVYmqVfpVH3TNCbixqgyeONvL8hpJDETbfpNu3Tz3eUjZqsrJkqFNAX
06hCIhEZEZIOyc3frPWt/tFvE3H0FzPe/0hvCckNbpLsX6wLOGi5Df50IXwaCbaxHt8PBcbf3yZ4
sEd76Uxx81NXJWgz93XJaJgY7j6X7IKROrYWCqp88a47aVAnlLWgkkvPU+2DxQHEMrgGDFb9QuUi
MLxSrzHPIs7t27pvUoxH06pv9Keidse1i6118/OPxcKmaahSrCkvEGur9E7aSAm9YVhOhjb40Zx6
RNhcZiDVTP5EX2Faz2vrwbqgAbqqCJvFnREmAIzp04EuLGZeo3sKphN6Fx1J8MSRp+UAiAE2mc7y
VArr7edokW7+XqRMINLWOBfMuK9EUq6spteiQHYWrBSaubw/ekb13g9M7Hr0p+GPhke3AfxkzUvg
zhDgUjzcC2sqMuNL93YavSfEPJh3s+tETeWntItrDR84A7Hupq/kCUCXdZtIf/MzockUnLfMJk0R
5NhxwUCAQGtJTqXn3yXDQAnPlUNEiyG+BJG3r6GZgair0wMWz29Hb+HwxgwbA/GZytH5F2kZ/7f7
FEzwhdqHLEQHrv739wYckRwKFPfp73vBMrgqSRiICmF++vqEty6fkQgZ87z/cTP8nCF+37X7AavK
v3hm/nHfTkKIQ8fkQhrlBP5TrZoEeAYwdKQ3U8JUyZCzu/4hR9ajfoBiM+x+voWfzcAXEYH6lqFk
E7W5sQ/K5WFCTLhqOxJPc4hncGCWf9EwGN7lG/jjg8QSw/NgT1Ol8ij9w4PkoUCunX7ur3+aqp8X
Qz07O2q9aHLGYe03c7DRVPXSK9TsES2Rf0pqFHg/GC9ZognvvPS2b8PGuFUMAYPUfRKi+L1JWxih
HkSQXP88prr9gohC7X4qExGz3zMaxlJx1tmrUbr4OT1nOihOyBV0gPJcvY+xdvw56gZHIBv0Wlyg
vsYtLcUEIgh7qoMt5KDi8sy2ctsj5rvnMYfSkqEQmFWBgFxJ77rgBW1LtcNn514No5us5JL8Gs15
up9N7+mHBznrb+OgTriUgqh0etS3RfVqWvYvy4FCwpa0Wun5sjarpN/8ICkyT1EkWxNW8oHnuOwd
SVNcrUieqvbC8h/aBDOVhbEpmv0ZFbVvbTs5RkF9MDQzolbQH39a+jJo5Iay7DFDgJwPgbFPU7vB
mcOS8mdR4Nra3kQqdv45BeapxRvQtyePDi6vZ4SQwrvFFFPs+AFSQhhSZGTNWffwtHbtbK2rIv3S
vIfEsg4dEncIsPhpfnSsVVfSm9prqZDSuNLLV06Ti40HqwM1cofqIsBwbE0wp0QdjcloXXddwvrF
xb6TD/nGv5Anf/6WxqwVAte2uf75oeaYEyWRo4ZXuoIyyTBmUGZzn7Ifv7y+DRwznFVLjR17eoe6
UK8ThSDGbMsgBAYdYQhO9z+Cb9tPLp6Owtevqq5h9MmDjXsQmf00F6dLaslOT8X95AljD90aBKd5
Yxq9vfVaddf37e6nhhGO+2BCFn8Y0i820PrGL117D7wGn79kvJT0J82uWM9N8lqCeQa9WJwkFI6j
NP9V8/Dn1xc9uu2RG4TCBULyP0xTnGCUc2a0+nXcj2LXechSlhyfVeeInOcO2pEluqvWYB3KxHTc
+UVn//7o/1uxDQ9Vyf//nNcAv/5vcQ3/65xSTXXVt/qnv2v7VV29l1/dn3/T5bv529/1/0f0g3OR
0Py/ox8Y5//Hw/uYFuQ8SGYg8/7zr3/5+TO/xz5Y9m+8WwxEVOw9uHiX5cf41am//oUAB4M3DkNO
WNeOSVv4t9gH0/yNqSTDTddAsRhQEf0t9sE0fvOoJSmpKCd5L7Js+VPMwz+LffizCNFCRXDpRVm9
EhBkw0v/+3dfliM1p6+CVTJ4tf/ROg7sOzQ7i/3aFWjrARlV4tUKmnlOoqn3LIOnutQnWCYUKuYK
C17LTCi2JigBbZXO/u8F/n/3bfec5mn99Zm+/w+4o6x/dj/953ci3mXaqXf5xzuKP/P7/eTZv/ko
Rrmh6DMpWv7P/eTqv/FyhkrBIO0fY0TsQOd/DgEfTPwvXRSBG0r89S9m8JvFC51RE20rc1putX/j
fkIQ/Hf1AbZjm+rAog/++xspN1qryVHQQjsf/S+9l1AWjGY0k63ZTsjKIonrPL0uG10gZdZhrWhZ
BPukNPVbp0PRXYfCUa7xiUY+b98DVffDY2Xg3E3DLilBomhmHyx4VjT888bc2d0mDtIl03FOY3vh
QPSVrZ7AG6n25MS4icLBmeGxQNVu4n2fycI9F7bDKDMTaUWyuNHXUFf8uNb2fQlS6OykukOxMOpN
ZqkoUZXA2uOwzt50c6y/6iNo4RWPwqifW7H0xq2fO37xsBiFJ/Hcl3I6uWPlz4d0rGaZho4XNDdL
d/EBA5BDVBQTXhJjiMHN+lALBypn4qHvvCkaj+eKQsVaTr5ZODeaayGhyu0mBonW+Jg5sy6T+Zsx
m9qz5s8NrkSMNEYovaUP1lq+4PgfMJiIa+iizYWU5S/dS5nWYwxhRln916JPnX3bo6ZcohF8lwlx
virEPheuM91legalg8jQrFktpB9oKx2uzIhqcxRspbxmcjH++CmW60DQgPYycYMTzJWyOWadLHq8
TM1i7nucpeazsKVwd8XkZ+MGfGVwwY/m1mLRlicGDCr+sC+jOcfjsCKerLEu77CsXs36tDRPQaXr
XTSbXTrnoWHFXrFpZkHnqHs2kAFNGGP1bAegpPdZPA8+jnOtyIOzoXwoPkO+dHQiBfy1ldWaTh2O
Pnywp56au35hk94Eq6HTS+vEFcjGYzAtmJTGsVu8VWINWE64xXp3u/AuBnuRSluca09Z5RZ6kBj3
WFslPrJmktlX5kAAWdEWliniYho5WAZmlZ/bpmbF4vqzeKzs2je/rJhvcdc7umo2lUH7yU+B2wIe
SAd4FJNe2m3KOoc808cNtH8hqPyjaUmFiJrMGcRtUKQzvE0rwCOyZGw0sfa37WKtRd+bfdTbYFAe
J9asOiVc2SZRCRxsueqD2s9ghmh+E5WeORHEwVOG9ftSSOd96iLVBNOTbOqsZROeafzQ2PQ0UyeV
JUfU7UjPG7ZBnAT2KvPMkcdRGQahj0lQS7giRKEtAGWIDq3XCgNluXIr2qwwBQQhXjSVdfG+KOqu
Owm8osNrj/8GpLxydTYget8AtMmzVnOjmVPvIqnQexNL89xj7QrM2qNP6Adn3HrdZGDAxWhlsnHX
7W8gAl0Z8ZgosavFUinupEZZ+9JTaRm6satdhiNI0m81yQB07eMmYoSpmMmdkINBQ+9KqBFnd3SC
5N5WOhk0C2um6Rwk7vDukii6z7WKQbsBa/VYOG4DPmKqWIr4uWq5iVXRMUMCKhxHbisvXfnSWNla
xPXldAkw670WCPlYbwcGPoMBQFn91vnGkoag0E0D+UWQ+VczKaX4MyelhtDUGi1/noy2F4cmbovs
XPqeUaydgcnx2Y1nT66EqEcXbqQ2XEJvhkTCGLXstEKz68SXZG85215oJMQD7aWjqYkJA1AUHBVO
3b7Wnce6L1o8NXr4p61q6Y45atN0hy5oth70sdU6+En5OGogWuO43VZQeY2bIs1teVsO9PC7tMQQ
f9AnXY+56Bon2xLnmntFRV+LVUALIzdBHUCG1ktYGPvBcQuEttWAbG3Nw5VjAkjj2N6kdSDqU/Vz
QnNlS9T6ygwsIIGE8IVNVsTPEHNTOjbmDhliTxb/lFlNNBj8erRMrc4QJOEwa8To6teM2gIyssGV
NVyNQv9V+poFOwcJlor62kcwV3iKHqJdUMlsG7PjvNcZj5OGWGReAolTtz3ILAy2VpmsZ7xKS1wY
HLxWNq87v/D6FdWf+SBFnECeqqSWkxQtGm2TM1NUR5/5wgyImYXThvHQ9Bk78Gkj3mz+c9Jp6tmN
7RZHdlN5z9KCmfldVS4MlEWH9IMJSOcdB/Nq7FdB7F0gMZ3FYKmWxpy/GAmsWHAWtpaoN0hdNk3k
yAO7pl00VCRbd9bfFzyOPJdjXCTFE2RlEoRa2hiHnWhLaFRJ8sWzDVzJODh5y1ns91XuXBRv6csA
lg+eDFameo8IZXFWKGVT8puUMqsozoJMrC2Wfg30LHK79rqmJd2bSgKjv9b7xQKWxtsRQxycFnGu
pkKbtuyE6vE1wRJorYMkRfC9SCt3NuOEhQDVCpi7yJhtVPtukPrsYCqLgK3MAeDLNXXNHtYI2etz
5NdxgZSl0xy0jNowafKyB3PYxqk0lS62TkdO8UOb6gK3/ii67M6SqKy3Or6A/sMKNA7NEGs17keM
LgmO90FPEkTUC9Of7D3hWmi/Bm5tQhr8tG/8T/LPGO1yJsEsQmsq+2rDv3b1IeHd3Z9KNjn6XuXJ
sByNHDbtY5VrcjbgLThLsM6ly60G3cKs5+vc4lgM1ZDAzMq8srrR9DkwnkAspu09g0sNYwppIMvK
tCjjribOxHSthC9P8KHlXQ1/2yCNh4CnBL5KTASM29j+fBbMR0qeFGXCyGxtb0yvfLhc/QNI7Xq8
oiYcs52Z5DUj4NFQCdqZOmuegHizO0OlZ2FN5xm0bpvSHZ4ZpmfZIdEJaFyP4IKaK0dh6wUolxT2
ephgWUfewlr/smZB9YP4FA6NVQGkXFneBMHNsRrHWPvKaIewWPJG3xY+bIz9bDkYbPG5lVA1PHx5
N20XW/MmZRJNpNzc1+audJGoXhtaE4yvs7Tab3PKvemYupnmvbeOPYvPFjtKT1wGWviSI4RSzA+F
7y5eZHtyNB74sQz9ruosc/xwisaAqAY5MIct78CzmKzJyqjC5tyF6dWC+blaRKCaFRF7Azrc0cp9
1OBBNmrYOpVfZ9DFVZHN2sdQ+Vn3kVlMNa4oxax5OhojSulfcV3iHVPoSbIDBSwcxtAjQoAxqO83
7VbH4LWEM5jhG3gG+WIfIZxPREfEE1Jp/SDSwp+SF/QP1vwInK4fp2M3z2Uz/MIkneDiDQqBs/Wn
pfjvbqr+B3Xp/7RH/8/ig5bq/Y/9FL//936Kfpo9N/OVizKAqO5L+OLv/bkR/MYIFv0RMxfEETYt
2H+lMtrmbySxcmKzUmAUannsA/+rnbKC3/gly0Gfh9XTs9ly/hvt1J99ZGg7mQCgXMDMZtBb/1lb
Mhf9NLoONAUL8pRpp1+6VKdi9s8QQ8FweyfLKjlKxoi+PcxVTPpann7FTXcaUvdD2V0QtvMpc5Nb
G3RlRJ6CH3n4boP0iRfHiyROImIM3URqWt7+0Lbe/D4S/g/ZlzdVKlX317/gFvzTNpGwQpa5Omq4
y5yYIQMf7R9X3ks+TUEbFwJ4b/lqJ1TcZOrxhg9tuAc4Mc7JCNZ+TIY+lJexYJsy99eKBNYdoOgi
P+DP56BjTDqh6G365NaT2Vrq4LUpQiiGIgg15FAmMo5URaXP5TKivMuf/Ca2D2Tm0oIlDBkVdHbd
B2snH4OMMDHPRyIApuqX0Nxm210ydWbDu5p194zC58M2vIq3bA6EjRYMZwR0NlWoN0GABlKjmfJB
02g471t0qWNjGSui5NClFvmdO3XVOqAtxBUut1XCfkc17hSJmQPBq8NGTP4Kb+wnXgDEf+MExxuC
41Je6vM4y7AkVPtMr6Bt1lABXSpGvTqVM7hHlUgXhgwjmZrXemgzmZ4TPpsmDxZm4tV5WNgyMRVU
aygh+KI/iLJso6GXHR+qBhGGH1MMvU8kT3zPsPoKCVt9V8mKwIf2biLIqtYFMI7BJBhhzmBP5Dq0
wJLCH31+NDvkoORFew9KRew0xzhh8koPgwk7MeesDPXe2ELyYdFkdKGQfphW7TbrFCJbtyvDNu/5
x14mcuAX+oBpLMEO5msdwybTxkxGnQZgZEFXR5RD4Cx3qkkC5DoSEze4T17a2HnyliKe/1ab7Q5H
xbZ1OxlCDmcDAb8rsc5EC3/lTnebQcnm5oRg2H3oeeny89vbrnM3KjXRXroWGiXpP+l2/6mAe6Ij
wPKVGAC6+yaaA+3Br3BoD+NzXJBAwDw95i6q4sLamUEZR2lvgp27kPRcFqrK+5CWAnoyOHnoVLhe
Xb980fKJd455Wzc6XLJlPrg2euHxXdO9T+Yl0ZjGv8gAfCcvBvJ9SjMfPJfkX17urVb7sJPguui6
56QHmTUcVM7LjubhebbyzRSLJ08bAMtNsAY1pR95dR/IB8XwgRLRqeDGdaiBvREccIPfrsJbStL8
tVkadxfPOxenQgps3PQTjvGxeTJRNfNlrT7UFmgiajiptH4jrHIg2sn+rufmnJoz/O7WehDLswtX
LuyQY4Twr4pQl0cGIO9OK06zTX3muMfBAH9rq2Jn1uMpZlqQG8UqmJ+GLv4WIyVwTa/w89fIFljX
SLqbs4Ys9AaV5U2r8R4NSGIBDg1hig8zSl34KX55HOrstjaupNI8OMD6vVOIFt7rzZhcayNgsbZ0
KM2qX/DFuvXsOXPIbsPP7QsqhXwlFxnlZKh+XRC2Mlijzod1EQfkR4bsd1WcPBdVDI2mdCNhDrdW
SbiUlaqXuUK3jMZjgCtcsJpzT+xLMOIHSQGPwRm4VbrIM9nELuMjgyF6KLAcLHG/XdExLbWCvfDN
d9XWpBvk3CFj/aQLjKaSelayHnYmelTjODbdLQowboELBa1MN9kgzwyFcHRBPDAvILWm5840cxa4
NaxZu4qJLzEPw1zGIFasMqyCfA77GZFU/KzN6oiocFs4rM8KhXtQ9Pa3hKhXJY8zpv0oG7NbUTbb
oOZUUfN80/btgTr4o9PKQzyIBwopJ0rjlgc6PctWe26k+brkFt+eXSPIzhYmA2RE1MI+EAcAsXH0
W04z7yhccLbIrvjU8R45xvBck2K3n7V9t/gXcJQNqhyeIp3Lu58jvLNTJgfCfGxqQDsZ4iNhcmG1
kgGHi10DinHUL/N7belX5FXAgK53IzxRlwGGq4JffDrc8daxHRglNF2pQqsEDIkmeBsLcVhMvdjp
k50fNS8mpcrCI0J0zyeUbYZerbMtGAaROQAoTADeWxVZvi+6pr5LtbvMyuy9ZvXYCFMVTRrvLK/3
3qBhPUCatNaTY9xaDI9mJe9UZqCUZ2QWusmF2qMdptYGZnoTO7imS+DS4DHztDgMdnVboUUnyaFf
iTkhWwwfxErHzUYKJJpwM15YdZqImE3ApW77DanrHRMu1al0LSZ72IMWYofAwAb90B6wzkLS0JYj
GUGf3uhTOGAm55Vpn7SscDC3uO+ge+x9TfsYys6NWgH53Md/TqdZcNpWGWhsomxCDLgrLIMDYUn+
pzVynOAM0WLvkfimZofLoCP/L61WJskyfrNw62SQ0DvfO7Y9iSVsHHiVNOa97Qz3mdttZpJUmJnE
SOEvnYcQ3i7PYR1jwFlCGKbepq4SqhE5vCUDjfyGnQliBwuvJpyJhuEBWg1p40j0tDmsTP8jSOSy
HjNormbQrQSJbVlWvNozT4Cgs4/qHBziIj/BT53KpnkAG2WHbLXDejBvc5leW5dJU9Ht1Dx+aYEr
9w02Zmvkj0mdODfpeES8BVvlJrvGes8sEI9dXD9q8d6S/TeayALsnXqtK+9Xb45Xjl69eV3yWaP6
jTpjbw/ZB9v8dpO0PLlL1b6O3JLR6Gyayjm4YqIB9a5tfT6PXnvVE1kK31Ou24RgOL42czhvrWyP
danhZOhAq464Y+ub3qOMqtsgH63DuGTvwmqgX1d8r8ZkvtgZu0EyXVOOAuecY4uMjLbYdH2L18TH
oJQXLsZUQvGqJm1xiXp3LcXeGnxNhxPcfzVUe2PjhItaK8ADsxgMKUtnXc6lJNFFv0WQtK6UpjYL
opfCCbRtNQNd9slS8d0qcnJtVzcAkhPzURjVvWVB2Jc2eUqYgG7nrGME7Zz7JTiVyrljqf85WO3n
2CS3AIw4B5s+bO3yTputl9T2Ho0eD4sa70CYJVGmM90kYHEwJQmaZQIH/PL7HVagut6sk94jtdCE
7mMP46oi1zYalqUJ3bF/8Oz0GzjLpmESG7nBwvCzLB7aF+IneZaEwO3tAA7LHOdC18nPihn/zBRa
zy4076pWq3YQcEcv2EwXBDFxAz2vY4LuHl3N+C4Bt0Zz3a5qR9uYIxNWs68+wac3oXJSwIRNvQX/
Bx63mz/rpmFVCzdbzvfMP2NGnyB05jZeZfSSUTC2l+DY9LFj+h864xyBwu8og8FWmo9eVzQhEJOA
HNFxm4jpsajadwoctgWEYukCP69kPtgxPF1NY7KT7vTd9p0WYpfej8liRFJjRmO3YxrGWhNNjE1D
BmnlJks6Rmpxa4escrYoUUumvzU0ww4ENYPNpeqhwQbLHBY2Mg6jfJkoh6J2csH7AQbInWzVo4HD
YgFTHUeGvxJauyIq2IoAhh9bqMmRMxGx6TRroSxn7TRdDAyauIMp4DrKQF3r7bzSUiwDgJg3wtPy
XQckszFKBmy5RgKecu6nID6zZyiRHLxmmAjX9ZA/cwq/aKX+7MwIRhVANX/J3TDNNMjmNw5a9iMf
1l4UL2WXfae29Tn15FlUcb4qlkXjkPZ3aHd7gG7Qu/PeuWr95SqXph2h/4qQ2u2TNDjXBjqubJdC
9raq9A32CeND80OavR4lfvMJl4fp01wxvLL1XcHkmJQOPg2mJ2mMqzwev2PGQXPsPWDcS6Jcl1hS
EYG41J1r+IBbrXOQigZ5FykS3uqEr6PduwxtdqMf3LJ5RUkDSdOE0LB24+ArtyEa8+M2kqYDvxMI
rxxeVux3Oh8tgyn6nSxQWPbN+pxN07oX1jMIeYUA5eIh7Y9WRrsxlM1HAQrn9y4yz4dD6iHQcqcz
A463ZJyMk9ENzwnLnIitHeatfFqLqvjSZHMzO9r3OHnPsHXcoiJsuzQOBdMMjneyTwPQ5H3tPCRL
Q0nVEBeUoBtpneXdHJdlUxv5+6STxxTYH7ap9nZOKuCsSGp/zZ6dIs4h0akDiThwhtRwbw7GL3gJ
77o9cpnUPe3EVaa6e2VLAGXzL5W7n0NNcTr5qVpjbrtxzdxYKZ/gqRF5FL69fZb3j4GTbRuL4CiX
sxI8+XcRv9o56S9zaT7HwOTNRmwm1gdI/WHMHXHgHUurMDhT3JM0HvyYGEJiW3NZ4/m7/CXoKDeJ
533WDMXhCF8shLnyQ8e1n2PLUmvmzx+ZXVtk2IFkNkhcXty3SnpTtNSN4Pb3Ke1EdhiL5b7r5M7Q
Fibwns0DaHP+BFADHfcsq/I9gPkSEi71ogkPnRCpKuO4GaXWr/n6Db2sfB3xQ5qj/Qt+wxyZQ3pt
lEhjU3SYwt4PTK2jy6XPuUntrIJnmhnNwbPr89Isj3ZhXQkChlhN4gepd5dvppiaZ98FHEw2VTo9
6B0VamvJl7GoE1ihFZWPVoad3zzK3Ke4dQlA9XqstAD+nJ7uMLCMaz/DYymSNmoN7wloCE96ce4r
732ETbhRl6g2onX1KZE7QnR8EiK+q8TXdm1HAGM/jGFjP9kzFhPflQcWmS+kq6zbkk+zFNNm7NSZ
GvhZK4C4TNWXjHXw/vFVxmm5j5sYGzD5aJsBfJ3ejUwBPB/JZP85xJysWQ7kUTQ3KvDJpwYaXGe/
JtRfK8bKK4f7YNMGDuLVJbtwrEVIpi6ro2wVJM573/t3wrC0iGgZTpo5nC04+6aV9+wSZ34wh9rZ
a54YszLn8Fd1ieZ35KUS8uRHskmslUU45sprPwZ+lzNMsMxdYmKDekMAxmtvLAvjSBgWSQnSeyZ7
dg0iBqppb1LJDSucbAxO1WX96BdGiLnwMU+XW4d1K0twgk9MUmkpt+9nIsP4RWzK1kDFyaYrIsLt
1a14r/rpI76It0C7b7osXptFce/UOkY6mXVnRzZgnPpsutY9MkW1TsZPvCCeW7ovJrSXVrIe0tNE
hEiS8PB4ZTa85kRgr0bGJ0dSIvqocqmVl+zVD7ZzW9z7okbe1xzNrntvc/9VS+n0vME/mHrJK6gY
M6B/6V0bvzSqfA1SQg+GkYiTrisO4qJYSQjaE26FwrXaZkuFQUYPTgkm4Cib/IWNSvbllsMtLflN
MhHSs9AwJmX2IoUH74aPry6sfRWXj+DiCXnikxXsXSJlsCfUKv1+KOQFDFtcDZdAr65n3qTJ7JFG
CN+GGNZCT57Tlg+zi21n3YnHJLjgdtOKJ5d9BA/1NtPlYxMTdNzg0JFjSgSXqeNNT7uwd+tzyto7
XFi+tnbUCbZrNmCLOnjSNW/Xp8458+0wKJ/9ul+pOD2CGTkNTfZJRGgSLsX05Yt23EOG3vWj+2bB
/yPlrj2YY5BtZnFdVLY8lYa9S/0mO6WjTG9yuphwcrx5Y5vjNvOFg9i2Y3VEWB67hCY0bExpUznX
2IeNN9jiT+y5IJuX7LA5BZkE7Yu2xZTmNXEYtJ8t28pyfkrz+aWGS+87yxvrEgoKM99AQ9wtGSXQ
VOsZeTv2vu2HXWE2y6YbaGGqmK2UQRD0Wp9otBK7iTxMRtEyqFCfj7bTt2tZUTq3wr4yYu3LZpew
tfR2D62SbFytJWN5AuhZOzWvVtaW9GWPjUOYM4BoPfQr59kIGpvZH6CTqnwRbigz1NDM3701ok+W
fL98BbyxN1Ls2EtHYERtUcck9/Bim8tHcEWG3i3kO4JYL8EgmSIAjvIvTmp71bbeGa9SaLUjFwAi
wsT2A7w431sfj8RRzBBngeJ5VUq0jU77kyyZG5HaA/ExanV1HQN3Ba142wHtJnYJEHlhfSSxFzFw
Sva6e2sIF9EjxrxVW1c2fhLxrJjHBSP3qWtkY7TQrbDMde/QKMuosbF9j3F17HDMRHrM/l4kL+Xs
U3EbrPBwwu1LJfHSOMPLUnGdKEbaVcyPkFWhfXFpNnV6K930tmOc2vCp2IN23ebqJsNND0qNA8Ur
LW7ayXqCsotrYaDEgcV96j0H8HS/zt3xaQBubgDnHDIFx2wipyt5VyZHSRE8uIADWc88Nen0wrqD
PFYuHpk6XzrZdLVtPqIZggGQfgUD4Q6VhfJ2bqkUEwJ1pvx+atqzRQvTd+Nu6vhMU1Qn2qiup8q5
awOAj2Qt9dk1BACxMvV+rXydQF99/OV2ahsgPQ6slW5mTP+Yca0DAJsoG9LK9nd1B7E5TVsmGUa/
apCK7H++tubBJEaWUUaFx+DFKnmxV8aNVvOaQaiDrD2A816R22zPb/2yccS4s3v9gVEsWUwBwZNJ
L68uEqEKTUo9WMii2/Yg9J2yshaLJfddbnuX+d9yn1vlqm7nB7RIV0ExPdkGKcBLrR6y8VVvn2dt
wQovvoLMIOqFiJIoRZvsT+kJkcEmD1gLSEvjNma+kbuSdHIGM5aZHmsyhqVYHoC3+OHsKAOuCIY5
GXtizVYuHD2izNlus7rmbp3SpGH/jbxY76aXArAru4VmlU98Vs53Jp2DHTe4qwKNga5202gOj02r
P1KjyC0ZB3uhl+lqhjERdkWxSm0eZQG6eVXn/a+2FahUTVQTTvaQSuKQ3Jj/nhGm0wVM2Ef38jRO
DuM81CEVwmWt/4DKfQ+/i7vUNjJ6aAQYNvFRczEgbrZGZswq0WGcxibRaQyYu7HYYNW4dqpxXAcL
A/08nZ5BG+SrcWLUNpvZVUHeycn3lk3b29hBY/8GIQp6/8y9IgpGNw+Xx8zUn8zY3nd2e1rIeeXQ
ACYsNPovLTk3jEx0W2391DsPQXeCyvTiu6l1Sq5TWt/OvXUzm+sf4FXGMrAybWFuQHKXdqZfAZJ+
7BMBFLivvhiIkyTC1btMXOLtYMxoK9V1WfU37DScS8R921n7y4mhB00N8ljbZhlf2hPD2bQICzHS
7LZsfZbBNSHPxeLdm+oqdnm6/CS41Rgi8PwmIkKwc9cZ856XM1he0ign+3KYSbkqrQSku4F4+5J7
mlGTasXHJCWTJIK+jJGj2MvqYx0M57h4HHCnEaHD7HfurkfINE3pnxGu3LK6YevN4qLhns4R+UQ2
Xy5zrhYpbt3FAmG9UKWaFldHzdc101HzYnSOnellCBCyVJ52ropqM5jDy+yR9DtW14r5Bkv9hbFx
0Gxyi+LZT4lIKy8UH6ZG6VdvozHSuw1JxSkPFdFE7citMk3iuPDUVIG1N8z5pZXJMa0vGo/kWBDJ
yCR3G4APOqBX2YlleS3aWK3zMWfGL503gmouf3GfcuuFrt6/oItjhD3uEOrQuWcwBkfCJy4kRKE9
ZIa4BeGxMYz0SCTIk1vDzan0gZALgxYvhaqNl8C6oBSle66RB/xv7s5kSVIlzdJPRIoyw9bAsMnN
53mDhEd4MM+goDx9f0SmtGTe7K6UWtSmNlckrke4m5uBonr+c75DLvFo8QOTunuq5HO9Wl/zMh/N
sg5bJbkI7S/QP196KT5l1nqQqu6S+o6K7HdXfjiafb/I4WgJ95OZFmiXnEcVpqJs57jpQ1qGvQX6
Ky92vscOKJ6GyHX4oduVlGyM07H8jnsW8JojfO3VrxN3BM8UFiTYAnzkJXCqwo9mY36P3eQbWvdx
YMMf1EX6MLTDQV+SB9LVr6DEbhiinGBGAIffVUTAAx5hNNjk6+c4iH+8OkUxQ5ruF496Dw3Bzx1U
oCkmWngKaZqLZGFbQTPwJa3OPlBRf2uOA9JEcO06lefspbdw9raxViZH+M7pgSQWkY3aOTc2I5aa
R2++raScMqHe6OYL4e4etfyQtuLTmTnnL3b1UxXcrTUfqMt2ZSkYl5Uv0Gd6o3tQ3vaszdkFOKrk
/G6nhyYXP3Ga0ijJd8eCc5Y5Nnu3XN8dss/zZJZBzaOARa4emcPe1zrziAXx00+/K4zcQWobkeZI
mN/bRSldIBFAnJ88w7iWPn+QhUnD2Xj1GwjXg/r2Y2p1J948uVpIyLo615nJM46f09mPKyVq47gw
RB00h/Kbb3otIt0xGeSYJzPuXsetCyXY6pB5bl1NkJzbJyNnkvtDd1fnyyOPR9v8cP9O9bjRaaaq
IBcU/rSH+Y5Pbz4yk91Lrl9iyDtZq5/Qx8NWz771dn0mOfbaePEV0P5XHHOpJSRER2rOsIw4X/1o
vUsEDy7apzxLr0Pc32nrx0j0hGzMIyikN6dPjjOLJdaIoxvzaRFdPE6Tep317Ocoras9oee7TnLN
HLMAdIrcwUHpfmvVEAQgbuoiwdtn1NEkujNoHHZyS8l+h8drIKm/xUm4K8jTlGZ5I2BKI32Qt2lq
qj9YCCwjH48obg+pPXxt6FD01fQ715fXXtiPiTXuK65oKxbXgnG0kPMJmUKetrfGSegn77hwulW+
Cj4jkCjVfS6TR5q1YfFTLtVLABuaeK6zeJMjxLPbUFVf658OhZFSMw5TMhH040UtW4pjW4XyIvtA
hZe0zZJlpxl3lyqsyjY3aka/46J7V44O39lknvzefmSYGKQVwD3WSubbvFQMd5gfX6BFUfSsM0Ap
G9Iv86vPlCvhiCiNJKo19ADBSGFbBFRpnHz7uYFp4Md0A0PRGfJWBaOoOtxnRuhVI90W8/u2UOQ2
mz7sKaQ3k2eaVSnSe+h4ELbj9DvjOw/xCmAktx6336xcxee62F9DaRz6Le5UDXf8JhxXuOd8Wx4X
kxVq+/Y2w/RQJetnbxs3i82IvVrBHdR2F9H9vmpHNgaPNoOD1P6hIfvbS4ZRPH/gMPzs2tpZeeg/
yfyK2IVF+msYqYpppAXO0f4a+4q+DJ0DnVivsZSvhkI+JuLqhzPMim1r2nVctO14QH7/NJfldXuH
p4F3lPECD6qg4ACOLxL9lmd1INLkEseg7QtY52tDBXVSXWXiraGwmzHqM9vf51Y4ZGw6ZeW/p13S
3ZbLeR4x+daZl4Qinw6jMqZoYF6/WwdnuOqEiyIbnyZUykGL2FHdufXuf8Tp878utbPxZv7/oZ3g
R/UFt+pfHEHbv/i7JQg38N8c0HcEJZwNRLQFRv9hCRLG30zAeD5xfQ6HwuEr//AE6dbfHHzNQClQ
QP9Eff6vJ0gnmIHRziXYCR4AjKr73/EEEfD51wSmpwPo9nwQCQyYoSRtMIJ/AknQxUcDxyLHIyax
JsxwqQxV97y4C+THjWQ3zS5CcCxF6KXlQF/bKII/tAQpmmPf2RQu6gTGY4/jy9aoFfpDggSxVPd2
z2MLVhqP7Q09Oa0DRU2Y2Q40Eikar9b3ZinGF9yN9sWnxkhZi3/5A+6vYZXyFzi4dznu3LxxIKBt
FBudBvE6t0tUJwDcfjq+TVBBalIV0T99gP8Pu5H9r8ET4PpbxsoRpu8ZtM/59l+STJNkRJR1KdM8
gXaPo/iY8Y9CYYl0Z1IJQHMDB+zBsvqw2/Lof96rRij7om98niLr3qVKMT+2d64OOLOhoSWoxuYt
mykzHsr+3GaLuSc4EfwJNY/SHLn7/SyK9RRcYKE/pFuuNPGIkf8p1GLwAaJipGOw4nPcmW1K431D
0ZQp1ZfqvSVKZo0dr1be+EKyBmonz2ZjZmUsy3gfcfx8rxrooK2nrTLTlz9VDuPi/ofQsbG9Nf+c
6d3eOhuv2RYd8k3D3nxc/3RF8Yl0Ik9cDDUgLi7GVC97gVRfjjXzVxfDcbLtQ7YaQGrOZbRi8m/x
I9D4QqNYJqKsllfd3epKEvnix3Ny6zkczvGGbBj+v9N160qVoabV1OZoNRakZqvqI8ESQnAo/wN5
4K/4MI8xh8edAUIHvpv51xB1KabcWBj6H92tMshZsiNgchItf3rgoK9UaHZaRW/6H2Ddf30d/hvZ
mR9ObBvgAe+VDfjjr0AKY5pGasjGIzijbCcWmrOpSX2utw/+z4Wj1neJKh/Wab7QUQhcJRn9IhRx
w4inxi7CB3AqjCXSNES5ulMipL5H/w8oHf3flxFe5tbj4BsYCy3nL68zxhLO/JzXyRtFReGsrad0
0pDAOTvGa3xJR46SjHX5nAl8AuWunhTlu/8BnWJiCf63q287XhkOMHI8jjgn//XqcwBF1f5aIuck
5VnUGHtoSdF6CkanReR7rsL72EGqWqbl7GwVV+naf/dku0I0kFtI0E9JwYkzB/twdVbdORaAFKEX
ceHl/XvtnnIq3E1XfaZNzoy8a6k66+eoIt/RaPKdLqs7ZkY3UgONuCmlcI2CCkvjuVQp2mNvpTdL
/UIJon1p21KehtaJqmb09mtpUu276C71gMObIxG7szVJwYvmL10Gry6HOnGO+2I+b/yJM6NepBev
G/Y2nixAcyseb4ol2tupKsIBoyKxJLYWLaia3HX0E7BJMkxVYb4ZNl2nCdUP+dy6B2WkuKhX/EsY
neu7pkzsXZYgf8Yp28nZFrQ6q7SIYjJoqhouru/nD76ak9cGiEzBoy9SPrN6f/IwDY6/TQubhpPe
r6zzp0JYD8pJ7tmnVXtj8vpdLtqPqt8K7pDsSpHgu/ma074IFUQoFgdMKA3XKokjjBmrrqUhByRq
oFIOc2OhZ8c0x6sST82laK0uWq1aBoaOKXuJtR3eGZpS29OqKHZmLkcGptVQKoZYYADy8TkOFQKj
7T1VvfGbyVSHvSl56MfxkwdbfljcsdtlE5OZUkCssc2vvDmk1dLtESaDWBGeQAd9yPjtLPdJxSgh
vvHkmmo8lIKG4EyaRlhJlnIwy9eRn68R2rnjBOUstbFvJGNHPx7eVF7Hx3zuv0U3/Rgo6woloTff
ZqE02tbepT3DaeoOyQXpyW2zSbYdg7+sOxBr8m/pK0J19cGG6wZVYCt1qyOYRwtwa43NhUkbRi5T
fzH04YU82s0CwTAev2LD/lH5fhlMOma5JDUulIeBPzz1VXpX2epIsgarzkiHsTMNzh7a6d5yyotK
l4xhb/3DMxf3EAvnU5MrqzdjxFHd6Cu4/YnwgNZ/rD5cXqExSpFz/ULcb4Lfv9fq9Ka1IcHlfuni
gfqcVPucNJnGU8wfw6WwHkdQ6QT8ZbWHqz8E5CnSqF5pp5NrfOU/zcWt08jKtU8xoxgg+I1cn0N6
L/PUOsRAEnYufZQ73+/1c5zOn7Mcmrs85SHt5A7jkVocE3h9SHnqU2W4Y9ATeJNSj4NMbt93k4Jb
8kvyHN2JSlu5IdwrdbH6vmt8ZLsOFOukUztbWHp/BCEaBxadBIk32HdJP5d7lbphrXXewUuhAzrl
eCNGMqOdIFlnIDjgIXtdbEwkNFJf44rX5Vd4/YzVSHdt575Bp+XCLKg48uXIxI6T/+zIW6fyL2Kh
Waqj1olU9V2caGYw+b0WiGk5NfX4RcdnF3Hg0ncqoUsyZVSAJKiWwE4IiYBe74/TAk3Sfk1VkSHB
tz/ztPkeKFZ40lmqiCFSYyrWd3shCJmNFSDXYkZasuWndnKG5lgM8XSqFUwfI+mLKLX0DzjAC1Gp
/LXwy9926qlAWiKnyXU4OmrVz3NjczghBcjRcWOQx/1bIfr3NJdGuBhdKJg4HryGTnfMfSb67j7z
dC0YgU3e+shmS9PvMd/Mv8YuhePSiAenxs6bS53DlDW9yXbWoe3hefAG48qZMSg8uzi6eX9DjnEM
xveSspAwGzUrwgpk7FjPMU/ostu5GqYKU2Iog0P7iTv6WE9G+mCUt77SGbRzsF9qm5LSByF6yjI7
jt5qq8ZS64irvGA2vOrxkfloE6i6UAGm1l/AmLhzBAGVxv1cqhMJjPdBzRqrmoA3iZliwMt4bJOH
zKwf3UZ7cfXsdsi+E0o/ARL3B5lhYUlwNxrSLDhc42JVVE0qO17v5yao+H/9VmtPkAN2BCas56aU
0DHWdNyPaxnVpY2+UP1k60kvaNPcOiP2x2ns62DWHsaa8T8emjGUuX7sAfMEC8ALnozutVT+GsVM
6oSt2hPPyv6gi/wy/HGCGxZ3qT/d5m6ToP2hPRK+40aeAV/nkXSAD9XobCE1IG+L37F6Jt17shey
X84KLYxpqiZ7mJpteizWvjjHJR31TMkMkbxAkwcKW74K130CFfdU+fGPjtKXiZhRjJ2hcP0Tpczl
Pc+G/SCHgUZvtws5kNuBq8F9usv6khuzVb+8thxxpFYfBGd/cHxHTZWtv5ug4xDw8aZIr/1vkYNf
1mnxMcBfHoYmKU5oUNiMyptq8brjfdVN5oO/VRzKsz3rPPDExJTBeiWqTqYxKe/AfTAZa42Kwuzx
2XZIncUooszJ3jfjv0cOYWkwULu4RQx8NGWNEZQVAA0SQbOzn0eNkRvjySVw5/qE6frJMtUc+UVz
X+A3aTX3fbUrFeq2djQyMlwp3ohhzX6Zec7MzFjbMCYPR9a2jzw3fWy6pb8FbEvKb4nsocY1Vuvz
ht+eIps7LOjhV+/BddJQjCjU+p8oVf3BqoUKDcc7jPrcn/vIb0zjJsGQgsK9vshBhVha3lyGJDvL
dvoT4i1IHH9xt3GhFnIBjKdGp/uVNs0DPbDGJe98UgcwkVlED7NEfQE27ZGtnK7Lmic3s4RpjS2O
j9aC8mkQLLzIebVuJlV/Zu2a3aSOjG9I9x7aYq4Ok9Ji2FhGEVZ/tCr9J7ru54RYeKjINUZ14jkX
f2TXNC/tz9I19oWL6U8U58bQf2vp6gW5hiOMHNuJKHhDcyyAsJmyLs/tCMGu9HnoZoGYMtkT+OT8
CHKA65GRAoOJAReZ9TtfeMAVDuPwvDxNBqWIccZ0yKuGgQ7k+sEtveba1nQrEQ8NvXb+rTr9HiAf
U78ygNf3ibnottK0y5S06tBPZY6WyCXb6cmhpJ/lXHtqePV993Og3JENl3aDyWy9bzxZHhgDH8oF
Wl+bPzl+8YPE48xChofQdNKX3qB0PPbFr5a7Z7aNab+2j9pW/qDa+rPXqMuuFrEDqXZsl4tbikf6
j+ejTVZshzHxw1/Ms88QbRTxc1XiT4bDxBSaWxKCJ6DS2nMCFwvwOclOKy2kYe02gMom4zXhCBB4
DCc8SpMNS73nbFRwhoNZ+O1J8613MMPNk3sj+rUPSCLtKiK/neju8Kx/5rP/0XnNc5P9QiT+1q34
Y/TNmUeWCR9EZN0ZQhOuhIbTg8m5kcBGPdRWtPTvsYPVxYjpci4wbe57Gf/Wqv6nwDZbpOay+/OM
UOl4Zpg9Y8RU1DsynYsdddEnvJvWMt9qFKLs506qAOfFb7NL7/wq/Y7XO02f78gXf1VaF4fapHl7
HbEepbDW8U1anPsBIoR1/tr5l1TWL4TRg8GqrcBuSpKeB+biD2O5ahw0yBltoZrO4cIakHfYq/kA
lXYGWu4pThZGZ/bBF+RQNQInJ1uipC51N1zstbgTXQkVnvYpYwu8tP3jqMNHsYvpqcsKLmnj1yo7
WjHnM7mXF6Hid+iaArmXGXu98RDItkc2W4yd9PDTom7f294awRbYgGgYlidNv0yNxbrpDbdZ4t/r
foU5swIOl0GLSOP1Ihf3RnWKYZG5zxbxVFrzF3Tms1znLPD9hUrUmMOGY5/1nn6ARhXmrkzxyWbg
IVhCmMqRRHODktqxZMo/xmqJpsmn3N5DqDTvna3LqWl4jHIP/GZPuuzA3l0L/HWaU4wkoCw+dZpj
mT7t6nK+SzSddcBzP2zFsSfHRLnHtQZYF5waFqrN4kFMPpHGy2R1xX4QfrIzklFjMy6Z9DoADhbK
dBywfUE61M9DyQhh5bD6OFnz1R+kvlucAcF/xLtuzHx28KeCbDBTGiSLI74JlxqGyNsSXI1yCSSM
VqhbJUGSusIfq9fT3vd/UgliHutfeMNp9ZFMc3ENtYXgmDQ7B6avxs7y8AN1UhNhn3on2xgvXTks
V+UzXUOjZpqHzZTH3pBTGMw4IafvzLg0ZA1YxLzzyNeiXDG+lC3zSnvFNwQKtK14nHve3rNjJ7Lm
wsZvTQUD133bVcAgLPd36XaXWBYeN0GZh0atPYq2XY89xwMzmZ5U0r0VbXqbs77uLN1jRFq/G+rZ
6usu8srxbEg2RqLJf2UrXgAiZ7G0d72N13lsMwoHGubWNlZcbZrwsZTDGf4UYX9Z3pTm5tikuoN/
fQbseAaymgdNeZvgKiY7X5Cys3KM6ev61fADoBjRwCyekikGoqDPF5bGve6tfO+CPjvHHUYc7d6V
OQj4IFG8jpmiVF7H31x6DO5qR57UPKsILMM9k8q30YMvzPSkDWf5KIp2va/ODiqYT1t7ADOlPdcU
CEyK4aDU95Snuid9HdXOG222yxKLHcvXapg7oxlVUE/LrdYRw6BJNdtZDrmQjLHQVjA8h1i3tzH4
L2JTVsRHeHJMeGXFzHiqe7Ex3hf+E4OdNkjyK2xJUg+JPLHm8YUU8ZRwjgCCdNYHllpzvueo/Ri7
eApgLuxLw9afTA2DaGwkUyg37SEbaEmsa2N5tEj6NzLD71SXB3DpCx48ezj5jYf0VzKXdJs8wNFC
q52gLC2rnPaiuwMFU34/bBSA+tiWQ3u/MNIg1h6f4UpeBlM7z+2s7cE7O2HmidC07PS+mDdRYR28
sCqW0FvJSPSqNfaMA8+xS6U6TtIfG0c6ypdtbiuJrpECzwNznZAueUzfTBbPt8l0rrjdMBnIpT16
k/mzL1k3C31sI0/vr5UYh2M6VVcaS6vDnDKir+LikdbKNupnj2Uc5kRPpyTCAidfw7hrhXwum/fG
T+MHmAyM27N8Pq/V8mT18S3CrQgdU1FojxI6008ZWoZ0H01d3AhvU9nG8pApGwsEKcspS5hNM6Se
Zg7/rCh+4CJy7NdeRgg12BJmtsKt0t/wgZi7hQfQhDRIviu+N2I07tGnPatdYEpkHhV02Umr+Mhs
xlx8/GTiMWCBbG529Hn/qoUbhxVsn97UsNl1B7UsP12q63CiYdL0ci98BshAagnkBM/CZoo8MNPc
Pr+t3rnpMzKR0oSCbvJI2Sllwstt+31CLnVX1tqnIboHFGlMYS0mC1zrS4j3npRkmjwbTFAbNXAS
xNPmrOcYpQz4tfFkVDKOsqliXAlLsGpMVNaufUkNtz70mIsxfFVPrpYbPGXizx4xHDoOlsvMDboh
++COxOoWOxOGVOarlUvRqNDkMc3sl76iMXUVEuaJpp5H17lwkmE1HVHKBjbeHRk/3BnQEC1X6/dO
Pi+7quQtZrFnG4tQvFsIhgw1FS4mM+89Fp9XX1q0kflMskfwCsBsGGcwgH5akzys7OKaUfi1WyXb
K45rPE7MUymK8rykY7MT5nrV2wKxr6Ra1JoZbtcaFoHt2Yv7/cC8TsclV94W/XelG/bRQ1MyUl6C
0hHrs/t8QL1JZtfdxWv7w/xpCa6OMp+pOqnPS6YGfl2T5VfrJnYRFWm03vlIzZWcVVJ84qfHD9PQ
f+SizaQcek5sVbVgqrvxNC3YVYfC2xtcDDdE7KZjmtCUO+Ab1Vrqxa02xssZV6Bz2HfWTXZ2swri
SvvR+VisG8EokO6hFsJKXaMKlGROXSxhE/GP0mDDa/Trj2nEFddVIzvfhZ4VltndYrnP1aKFYyJ/
ZGVV7BkcYDY18eDXhmx2k1H/Nqhg4gY2HypOQiFiGciOyv/ZYabc2Skj/9gDUwH3NqK7e49hQOr9
e2Jh5Bln9ZpSacD/q1RDslIzbHpDshPkiSZqhfFCrSJ2O2X9rITxVIMh3Btx/dtuCKAquuWX62wm
CkNQkgedVh0HuRo7yS5v72n+beeopxHs3EHT7LMpWhJHBkocz1+hpm4v2pIBbpqcuXtvU71zb8ZG
fHn9zIFgS40n/H6OzZPKZ5MRqtxsgjnGI8xBsBs967ZQBumCddNUFXvVbaxNjC/bWtC7qvpZMrmN
HC3GNFmPVuSzlyAQG9WbW9ugLL50huPSuQQ8x9DJxue1Rl+tm5jH3zFOt0axlsdI3SIKS9UTToRu
Zdh7v11mmrgfxtQm12BwDbaa8dzZ8ZOx1XqsxfeoOpYCjS/rj7EgGa1DtgiLHq4TQI+9PrnY9grk
4Mo9rnN68Izha2hswtP+uwv05yiMqBo4H4850bFuXqcdIrC9Wx0CqOSKsCt4L1ZeNEGy+IRmU+N2
NfmYa1/z76TKv2YX8XWgp/JoLCRTsXt9FEsaCUl4rbCqh3ItHxaUIBBt5WWhTMcBOdCMWDe8FIBO
vAXWWH7jieixvvgLOg/GRtslO2ra7EOwSXmV1I5pjy2nbqCc4PDXPHNg87SFHpH0IKDggvT56f7o
Ku4TDeTLKD64duCUYbhlhUGVO3pmUcJ7am+NAg+I7hc706Z7i4725KDXGOkhNA7m0IRdwmNGK0xO
SQh2jYPjrHFz96F052tjW+vtqnBWDh2ny6okQbBwsQZpUj9K8qZ7t1N5BLkUu3lpsj8ZMNnP5Q+g
vGtgjzGl7JjtRWM9Vo79YnBqIxOn0PVTAoS17+L1OmvNth91PJZ0RYjRGFy2MBi3597hlJDFh1bT
0E054gUzs6rMzo0zi+MjqJ8Awfxb6QUsF3lDJfahkpxSRu3BXHHa16t8GkGoBcDceL+74qdKznOV
XexjRgRfzbkGOia/dezxG2WBTB44LU6UQ/s4GZd2O8qvFruu1eHqnLycEw+bWp+XBJthLG6Qr8oK
9yeOoaqsxjPQ1TVaDOuXQzjOHAd+pu0S8pF49mxX3ih8Vm6S/fRdGVWFdxO3y5EKrKX3wSqsPsqF
4IxDqnoI+tircKAEEzsaRP3y2wHZ75fNd8bO7NCnQ7nzyHJbj95AOsJKdWvXiAVU3dnPxwfy4ECz
cANlOn32cvIQBsz6QJwCd6eGf6UXD42hJA0BjtjNHsFkT0KnNNf2NEw5RLFeoEi6D3qsHqFWQema
yb5AXVmOHVekmuWhz0aKPhguhhPRcIYmx8SS4MG9S0PjbcIVaPiauOTrwQVddJ2ExycnXrAeNWGr
je3ejPWdmxQobj1592R9IiS976AVHQdNyhAweL43mF6szAn3rKVLFFv7oQW3ULC1MyYu3SKXR+H0
D2bGscYAHwTM9xHZltlC0cn9wtUkN5hE2nPlU4xESmE0ZSDz6bnv4Y31Hm5MVHZySbzebilB4av8
Qa0QnfoCV3nmfvcjLVRewn50dj7yftmb4yyPpjmfx7pE2I/x1qvSDgWjLR2vTGxlb7GDOLV4Fxph
88vSK45143RSTmscvaV7zBOsPQMae9Zow+0gyOM2HbD0GBKy15cYwESFo5FmmX4geTpzbuPOGDHe
UzHGZLrhqIym6dYqbFxZXdIc7DZrBHZdsVkRmZEttKoR5X0pMWj7+S+7ANNFJrMNSx+HFxVsgqkd
FLFY8DvIOdOIgthMgVQcJXGdno7MFz6ln6snOx9d5J+jzMtl37c15m7aTJ2CfUnfq1dT+Hdc5PDv
etZmUv8F5nkmpBWEaH2owQJx4wRliz1UusaVx4PTghUmy2ZumZ9dnJK0L3tWfycWp9VzI6nHIMgW
l62VxRVcVR5lSM7J8417kXrf7EJU5ClKiOOxVswGB1AonjGFU8HmFxQoiBbe8FYjtGt7pLXXsuMl
5c8mRxn86+zUu3Leu9UxY6QVFbO4m/RXvKj4nhiHU04IpSTOpzM58dDqLAQXLgTXqd/H5Vep13Aa
tfStLqb7dqp+L0sv3kZY61SsJa9rQ8KYsy5OcnM+lFXfnctCfzL8/iGv32Nrea6rxt+Xg3OePAmo
HPXbtWYN30jy3Oh5CPvpm62whbkK+pPV3GcmAzAt4zui+6Dyk61hb26eKz6bUFmVs3dV+u7O67nw
Ne0oZpSA0S7yaHa78ShWPHLs909Viwyi+XQPpx2JQs4vAWarl34zQk4Sv/CTt5QSW2nj8juXh0Wf
n7A6hLU//LGvZg7eegwE2BFQCfS1eXB6xg0GMz/SVCiTFV44tS5RlhbP6eIabL7RzVx7ppzZQHn1
uJh17d5qORX3Qh6G9dZe+iHypkK7STrwUZig8djB64ob5M4qv096DhK9To5ljF/Rki4Dv3iQ0YYW
jNaxEjNzJk3Btc6NH0JXV9WU7445vFFJyu6VNB3oeAYD+IgR8BIZxCW1WlrD6y6WqQPEUTdv244O
UDvomqm/xvd2yy8EsG2PO/9lLoCE1NWznZIF67LuaU4YEDEHwzPtyH01+c/lMFNklY8XOH577jlu
lAYnfD06F0iDQbtVPkFmpT5imdiIZvFnXdU2dy+aTS3Qb6VqPrT0wy+rAUBGQYAAqkDlpjlRzvrq
k5mj146X0drGypaI0rVJS9+9dv3ZjOhaJIp2psei1eqvFQ1UoZcRolDv8+QxU5n7X0JLbox6EBHY
R3fXVDJib61dpEG0gtEIVBHaNzlZZzPbYkNQhoYAH5kayB3NWx0CqGt5HOOn1tN/I3a2Z1/d6Tp6
c91a19hcD2sCwlJ3qIu1BrmbLWle0+o908pzojCFluuIRX9FIZTml0E5X5wZyBxMewgLE2kp/Z4R
KjQDL/cB3jD9zg3/g1akL9t0w2EY3ywEEjFqqFa2xGEcQ4nAgOorjRS54GSKxQzOeXZJkCBVHDNI
7N+silWslNdmxA6ZGCB+MnjUaOkrtsoB2U2buGan1aiDlSnzwTG0JHCwnxIYFHfKkTcJeNprURfs
1NVdY/OQZ3+ruThh9FpHnBofO8M/j9JRXOgWGpjdPFrx7BzdpiDS7xXvGRXjuz4Zi6M/Po7zXBwm
Nm6wJUkNuhrJZ6zjtt56e+YlQbok3D7VYu87xTRsksudDpBjH4t3v5DLbtAKirdq8FZ9b34URu6d
KOsikmgOnC9znBAw5F2XbBQF08nBRDBJaYtcBzZ0E0w+HEgQCVEK493eYkJ2QbeT+9j/Uc0uKzvB
5b0FlRdCCtu7mOClOwwFIi1oolgfIgsIapDEVPtVbnZGsx3JIkv6wUdabJPUylDoxHeKaBJMFVy3
Hro1ZoLuY4lve5V/tLN3GcTw6Hqox0aH8WSGECH7NGAbWNNu59DeSXzZ3iziyJDz3szWgTA2f1x1
CkpJMa+Cv9iwdyAIkoe6rwugKnURdKCaUvRR3ZElaJiKhX95cChnPK+OZDpeZR9cBWaA/5ecVqlC
U9b9YZ28NwLHiCiWMZQPCUovRzbSKPY+s/oHXPtvTvqzHGmnTTPGoFr1nHvNexo756SNqgSWrbUt
rQYWVUMAaKbEk2PsKl4qBuvBuHrzjUhvQe+KQ6GaiLP4cCFawL4u+QEiD1IPxUCh66hHUuaHJbYf
QISk4bJnBgJaK33NH+XULo9gCzJvIMOmfIbXPH4BDRt92HCjkeVIb3ywsoHuLq+AJ6FiSni5axFH
c04IrkJth90K8aNllwdGnfYGM/0B6GMoWSvmkas+89gZ+xgZqw35qPHXspoYjkaUhvjaTdfXz109
wtMt+HX7bI1Gy4iPNjuEwdE/apQHwlq5d+AMoR+hChBK0uQrkYFpmxvaIWGoWzJ6K8u7decvGYzb
ntOEJ7EKktY+ZZq1t1V/gPHI068Tb3AmEd0dP8rykmIKY+O0ylE76LF+XzFUjnP4qHjFboAMpJGc
9V/UTTEMqRJQgamWM0FEWFpVcqnN5V7zmodilNzc4BlsDhrRkAGGheWYNyU3vpl8EWLkTknd15Ut
rymX6UiEqGHviPOc3KsM9Ux8NWI66FXuHL0axCpe+J3EoNGKMY9iml1d4S+nwUVxcKlyqS2eO71B
im7AkdHAEjXFPN1USHpNwszGRGCcxl9iWuKwXehy6VeLHD+jM46OvJ9re5PkDctwBW45Z9hFhm5w
AHtnntYQkhFn+4/DqdmasBR86HjDRtvdZ5Wqs1ezM8qgh05j83+4O4/lSLLkXL8KjWvGWGhxzbjJ
UCmgZaE2YSjRobWOp79foOeygUQSyZm5Ky6mF9Nd5RlH+nH/xQKqBL6hghSmPK3KKMiW0HDqgYPT
PYHUbBeQawS9Gw5p+n1OODKavl4QUjZEn1eD0xjiraAmF5lAgUgeh8hRUzq7gEZ5+8A5nfrfygBN
se0LF2aFDKtf6lmOPR2vuL0RVNY5Pc+51ylfFtllVjTWoY2r7ZSOPlxWk0dA1B7Q6XSmKdnNqdKt
6roasz0g9jkIvNFz8QJ5ZlVZRLsfixsdwJlroNeDtlnqtYr1R0YPeIil32xDNNEmevphKhxWdTcW
rj+ooCuBAryEJldojapmloVPBa8MPRJnW1zQrZh5HWDg+hPdU52WMDdKgZhApuUwqVi/QYoQERqd
6EUltT/G6G6Y7c+Mde+rSw+WSg+j7aLdg1JAt6soKL/V1C6QAAXJ8d2oY8nnRrJ4ZxVUVPTwu9JV
Dtcuto7Ya9cmPedW0l7QOR1tM+pFV100HOoXK7hVwH2MDcTFoFE2Y8vvkCfrMdYBMMlq4kAwo/8o
VG6A962F7Ag0CRl1zLlw0qIWVo0SMmTdoKll8XwzUQA3eFu8wEz4jhLKrwWW3LZtbs2iuGpGJHeQ
NiK/h8sAd+OhySEDZlpDnhXBVEwRuZsmCUms61YsdMC/VFsNCZRtEM3ggiG0bEYpby6KVWncIutv
00p3RsEC+NGV19TKkMvrLctBDUqh0TmriE9BG3kgfb+koaBsXkhiVdB2km9B+LYx3L1Dw8dJ695H
DQEVcAqeLDh9kwocvEWc8o4OlX7DvLmtkGD6UVCpYMAQiYFY1ZjgoPomYHzIExdjkPx0N2bxI/f9
tmtl5TLBJ9suORYMqEgqmdJW6GYMeswBHyk1c5VWruyuNb7PYzVvcjAxUId/DgmiI7RWJyQUd7S6
X4N5SveIk78oWZ0jgmBcxEW6JRejGr4UT1UGPIBXgQsbH6SrPn0bKXKAic5/hh1v1BSzJqcYXzsU
rLmoSDBEylJuDoQzbHcI7w+kBA2d09V0qpXD162oqS/oyGa71EiuKUPTzh5Q5ACn5tGqCTeamvxc
5Sh9VrMjAkV0V6zJZpyXwktjiGdIMVGgx88bQgpdBw34HZc2UIjccGhWIQVZpQOfRwc0KrJXnpo7
LYmCbZPFB2HAfDnRATkpM+gGugVUex4jOD8YXqUinRiQYarQQ7Eug3srjV063YtDgzW0Ab9t1DG7
J5MzL5FNUsxE8RY0lsneX9BmTJxR407hGOn3PBRDF0iQOPyRqWVsF6J4q1uUhIHqvtDydNADT+6V
3NqJaXMXNxhdlkb93C56hpyJuVObirt/cGmD9ptuiNUH0lwHAIovGRV06X5KEIRGqc0cFY/xuZRC
geLRmtSoZjUBQIDHGZmIcOGO+Tse5lfLKne0AYBmG/UfFkIKeH74MTQ8hkNElUhJvxmBAHQBzDxd
L87z35Ra75sxeAUTgsmQAhNQ4p6R5+UpnoLZhyv2EonSXs9zcE45aDZDkN3I0AJPDniqxGr0aFT1
66RUs5MvzY+xjJ9ENc783Iomp1SE60VGGm98kfXlAMnquZ/ri2lCAmuKKNQo2i/6huDVK78xJLq5
Iq/NTI94+bdctKauPZnIlvQq+6K5EpHRNeX8CVvb0Ct5iLKspL0ko11M58KD3g6NNqekWHIUqDmM
tqGVtib4NGeKO3+cwfTAlfqJTPUFJcxpm+MGRd0x7l2VOxdziB+1Ock4pFnfEMVHS8PKs6eg2AXt
lHh9LBsQ/pJnayAZ4KE3uBkyrCN1bhvKFg3TBEifwL/rlVerjQGWlfV3Kf4B+0jcRClVuKXeK1mO
1n/EHxxiY4P9s3ClJ1Sahvaxg9ixGcu8wPJe92FtsFfNNHZy2XzskNqxsaG6w1dN4Syl4REB/WqR
nm62StH6OTIam0nmWas3z2MsF24/08+bRcljGyd6tDPgGnJE8Awq4GwncDzCis5HrPECRX4/d+vO
TxQx9fq6L7eR3Pm6Xrl9LTd2HbRU5qRNFSfGoZciD5lFeae9yrOBbQcFOh4v8etsUNKthYnOqhyD
ywFWE2g8I9Go2ySZVbjpsAKmI5+ymgbhZTI2/J/Ah2RYbyA/ppjavAAvU6mue/qGphXBaEQYvs6i
+JBIjYklMV5XtMgqcYzsMq8Lt6qC3/ESI3wG+tPSmsRbKqq9yGVnTkALZjOIhcnRNMu2FWTXC5pi
aF/RsgtLXiLGYCeySGba6rS2CrAIGDfWqXBJEWU4SJlJUdyk6x7TGwXWtXA/kfYBMaa4UezlMPsp
jxkKh+2y1sCCXVBQgcPg9HXCzlaH/L0Jw/BFVDrU1/i1TgclfptpE28M5LdkdIzIenho4BSqofyu
FFSx0ef1jIBiIDoOd40YbQcyBrC0SP2Uvf46K/0TuL6DMj5gi5FcmNoINlIF7K4nOZwYDyeDHORG
o7vARfetpUaO0Sdo6ZmUm0o1WhEb+TMs2Myh1QdpLVD2nNHgrxShuWA2+comK1wwVcDEKAwGC1z2
UlBTD+Alh5Ma3pe4otkBl1ycDdZ1U4NUrsXKU7OWHGykSgPGKzjQLP9jwU9BX+kbVj1d47WBLayK
X5gA7MylXT86b35wyIMkB+ikpRz5eFDLt91lmPfSlRH/kS1aeTUaHTYn8oNQYuibTAiUq2YPICCW
MWwsd1VkaSj7yvllo1QPdWygxInzsf9mZBqnnfbQNzJyvnum+VlbuJhCE+yTjGyUGfH87KPy8u2/
ffulAQ3NgxyBYxpU+mgIYdarVEzYY1dLV2QErakhiaUPttRPYCkiEAPdeCm3IMLraRp3gxXeRay9
C3Pq/bw1hJ3QLbQC4SipE9prYLbFgxXts6Lv7sSBlbzSsQygDTYCjMm+Ck0OpKjdNdL8K+QlsRdG
Xk4q0hNNATBKwNfAe+NrTRGXiSWHz/pa+477SXWtnmJPnlLVApNMUo4o3UWOCkRfk8BzEwM8Ly7L
8IE/pfoRgEdynAQJ5Ly4/JZCUrn608KyQxu162K0aCtc7aSQcivekQDDk1sxi+/yPp58ap00Kqk9
At0jlWnzQL0A21agWILix4xCcgnk00kokjpp1N9InfSItPOjkeSZL0wHZZr0yzmIKhfj9MZtcdew
ZbUtvAkVM4f+vWxXwzeJjXMDulLz2hEtJ9O8ePNSzdLlu8D76wAzYifmyf2bN1+epNptnC+5U3fZ
TdXgpFcZXbVPgxwgAVocEKisPWYuqh+K4c5S2mxXF4FF81PdaXWlXgUTDndCj+4y4FKBNwmqm3Am
/rQ9VEFo8J9fFpnpWB3+GlazhN9E0EWSkjhJxxlUydIFbhK9ozdascNFycN8JPeKXqqdULUSXwZc
dyhkEXRuafkFrPlcAqRR0jbsQfeDHyoEL5pppWXd6MwBnREGz7qZ8+Z1ovA/WhT9GmQEJhKeTm2X
XYO9wWFoO4f7SLmScFpEdUTfC1q84hWzzsPhY58h/E0ClKGQGOE3mwMu2cT4BOFBHLSAiCkH86AM
DxpNwk3ZKb+Xesj/tDLWVs7frNFS62R1V089YBQMZtzZmqqXRgPHG2f0OGuOzxYNDADrgIDZvjz9
NLew9NxFaku2+/XfzVqleIhjfH/jdFkrP1FIwn27cMMkahDe9U2KHOUY7/BggeaAXrtj1D1ab+IN
5yWgGI3Tt5QQTlQlDTFW/uKpoXhS6uXkl1I1uR0Utk1QWLMfF1yS3Zj9THVSyTnhiswrAGD5MqLX
MrMjYjXASFWZ0EUzMH6Zo5KW6gZhDjAmwqJflHHgDDHdR4mq0Q7EJaqj+jC5WiUhVVAml28Gl0tS
gZFDuQfac27uwilwqXXcDQl5cx2/Ql2EAo0VJTa6rY8FKqa+uAPdFIZ5wVUO5hfdbquk2/9GYQxo
LVOIDLdNw3lsdrk3pbhdBe2qXHddUtJ356msbRzOy62AKKrIPbw6NgwHdApwEW2si24Kta0EPhlH
AsEX3sxF42lGv3n0Fj2mg7mKnOMYbmvRJK5godl9cwJVqY+i39pf6T3te7xirij1IrKkG0iPzPtw
reLNAxCrCUE1N1hVrFJDct7MOherVTfREEDzrzDmNTLrtcvGmxy9zysEdCmSZUDCK1Xx3hZjPakA
oyPZ/SWw6A59X/pzufBynqw7baSgY8RPb36eghBFKHnV3LFZf2O0EM3VBmOvAmiMMAJBxJ9S22dj
fYgT2o+A0lpbtVghQYsGQoP+MM+i6TpWQFl0Zq56Zj0/KHP7A5lWXoDBS0pX+k9C3P9va4b/fYRt
SKf/PWH7von/7eK1SD8ytvkjv2EG/Oe/mxKmeJoC0xNWNGpLBpzoPxnbhvU3TZZFk1IV7wD88qA5
/p2xbf0NnwYTSqsuWfrfnR84FVZTPO1vFl4LiihSjofBuf59/4CLg7TyZ//i12JTBbtSUaAla4os
o+hxRE0elxEoywTeVPWNb5U3bbvN7KU3nJs2R90ZRqW08r8/RNNUWTIkw1q9AGU+7COfMtZQKcoN
tXGhwDl0yC9nO962vnoj3S724g5X5GNnCLefv/BjTGslZ79jEAMsK2X0pRvXuB5d1S19kAG+ZDcb
JB6dfvNu6k9Qvc9GWxml76IBKAo7CCVISu1MP92Ge8tugQis0c6P5zpcR8OJQaJsvS0VyYC8/yGY
GZP1t8Zcu8ku3Kb71B891ZO3iX/moz6SsFkkcJZVU5RVWQcUw5r7GCdAItHQKrV0IfwwbYoTu7lP
t8DBG8xGktLubuPrcZucWy6fFudRXPxJ3w/mnEfAyfD6cQdP8mSX5PcZkPbF4uZe+1yfYx2fi3a0
OJe5pBeJZK072qMLg8GhtY8Y8abe6Yf5oNycGdT1xx9N3vtBXTUe3n8cvoWZSL+ldFFEQXGQMlXh
ZJ5gF4fEy+1uQ7aFvJDd+PUDmJxzU/qR2fxpSt+UHN6tU3TOoFvEbx9Ln+uJnN6nyWbTuvHbMwN7
6kM1UTTXVarDgj4ShVCzoCykWgJj0d9Rukf/4VXogq2s/sSCsqCxc2ZgT61WVBagpKq6pHOQfhxY
AY2AUiaPcKnae1NxqT3Xv9HPdQZXdlBUflyNKBSvvxFezp01MPlPTOr72Ee2MmZKJU8QiY1qL411
EMLhPs/T0g8Fudr1UyUVDt5bqNQ0OZyxiYKMamXjHj9ozDnitYhRBcKPMMnTJwiv2i5GNYuaeLN0
t/Jg4YOy4NiwmydFe8jpDHzTzb6GjgtTDEgnQAHZouoBrUv8PjeqDDK4mC/1yBxuAknugK2GS+g0
+rD2qjpBu0jlLoq36MvWPwxwfCoKzBK2nCJ6UcFGquAawWVqGtp/Ygw0y4gXvLMkKX2e+SA3MDXw
j7I867d4esLRkvPORKZPgsSKT1maV3iiLuZtnOliZy99k12iqkaNaASU8UNH2RvSojLfjE3ZOSYZ
Dz2JoLxt6jGFyxyqiIeaClm7Wpi9G/MWpeZN2Q7JxQU0BkqaAxI26RxAA42Qtqofw5w71ReNdhgP
2iw2VBs1a4aLTqsOf/VxDra00DNj05ZKCJURXpkfpS3iS6ZiXNO80FE0xgCXEgvUuVuwc/HrIsvg
+MURnDuuH9N4qQ8xej4TBUU8X2JDfgrQ9hluVGuIXuKyD4F3zfFa/8JEjLazBdXUhmMffxsTtb+g
Jjh9xxOx8ERRKe+CPlMeem3MrhNJb6jWL716g2vncp3AR30YeznbDrka+nlJ2b+e64ySP2ciKr9q
gcj8oI74KundHs5Hai9lVe6bLiuAQVIrr1LcB+NYAtWFZx2NhTq+UCt4AmqhUcxvsGfp1b5BcwmV
4XUAnS5tmge9D/Tbzmqqa6Rx9YukF5Q7cDa1K0sIhlT9JF0FWrs8BHM4+XXNZUd5NIXtKyIC188B
GbEiD1RPkRo1xF0DxqXYIrSSX9Qm8FhQ6sgge1KbQ6EISjwHKN3n0i9TR0TFkdK8TzeBItaaayi9
YPyBWEeXMsPtFPZPBb/GeOprnOdowOlVhIBhNM/Q68Qc9tmU0YhJBBUKaz+aNeY9db+44ZhZPggx
3lCtZWCkIK8nn5YI3W3G4v1ezBUw2y4andowNU+epxh1wMo0f1hZB9oe3SuetE3brtLYieHlsQ4X
cQxC+YlXgRZdFqRpmWPKSLDOSgg+HobBtVryIhM7KmxaHsYHZQ5qJEy1yB0F9KHabilpuouVL9Zl
i7iWmvQKENKmMn1oiqHqmBncfaQfDAAEiXofKslKbBJAT3QgSi/VFC2AYJYWdx4s2VnwouKHWjVu
SrydATUGdSnbRtPwmABzFsxeLqUNdgRC/9SGdU2jTcAyeB7QmpDj6lusUOvYDLoiuQ3Sse4AYhcg
ZFAcMgwlhBsQuIsoX1q9gblQUTfbeOwH6T7SIx2gtq5BzisGC4ULgb5JLYYw9PHKneEBoPRh55Ne
XdSiGoFTSuTxJZB0/QHKFGSPbm4tuk/ihbBU1CeUEUtlewCBizUVW15yRtFYHrrSVPZhkOmuBhBj
DwAG2q+QmJ0rSnl5QRkI196im35goyA6iyVBbqyVCTccZHg7ly3ZHILEMgWHhAl5bzT66a71izrG
2yWeAEWuMrY3QRo2d0VJ/bjvFCh5RcMgyJAZrQ0Qg47KdV1UJV7RSiPB1RfamvexREEls/LabZss
YGE38KvwKYhvpgEqDMqassDMacjtsP6ordmKXCWmC+S3eIiNeQb6Z42VY8XjaEd6wDmdViOCcGrs
WRYMfQ2wwtwtIOXkpfEVHHj3MhvhhSfudCnE1GzEtVdqyQtbDFa7E5E1onkkPkhpmH+nVRY6dduO
e5owlwqqs5t6BD+3sK+cypiTy5ZNgcDvWo0u4nnTgIP2JyujGYrUsJxL5i6BtXSYrOqhnUPTbnv5
BsVH3akkcw+x6aVSaL/MCi/4IMV0zYnUvAQSISeetZaLJDE396KOlEWHQOttoJZmTy1IK34OkCRv
IhC0+ySx6EurJfW2YSCZtQzxprC0aN8E9YLuKG1DtRK/Ydg9c1y3ZPEj1We1KFVqc5lwj+Zn8AfV
3N4RJOuPRQL0HhdC6NeTkN/3+RDaQwAq3o4jAxWoPhD2PMZoOVHEdqdAMu9LvIs2zRTcUSp7ikA+
bPqovpe7WdpNrIhNBLjQ1tTQ3EuTQNcQZxnBHSvwVJKcI/mqMfA6kOWXIV6owgpV0bP/l4TqPAho
43dAgrmpprq5GytkmbsYPYNMFeKtvAg0lugkhb8mtQsOQAeFH4HRWtPNAklVuVXDPF0usnjIAfKj
a+o343SjJug62UObMXCbAvQjyHSVjlIp65WTIvPjjkYjucPA/o8FNIqBJ0vevIADCYoBncou4WKK
23klwcLitdKx9dAqHL3YHK51XK03PcAcnboM2Os63jdUjG3ZHEW/lyzKRRaA1yFSUxwrsPYMsXTG
3Rbpm9rQJOUHsg8qdN1kKZ77OjC2lDRRKu7Yr/ISmth4tOBsFfopoTBARemU6qYsKyo5omHg1NCl
+yyuMEYKC6jbF2U0B+mtZHX5sB8F/NjEbKqeO5Qyr5KMY7hMO8iIQzcblK+wXbqdGz2EMWHpmY3p
UCU6XUMtRg2aaN6CD0nnbZGoqAkEHU2fsqr31LuyH808I9E+1Ko0XcAFbC9QueHm0YL4EgiZ6cXh
AH7WqAo3kpACoo1RxVdwrEr36xwWK8bPjwPLRJlMN1DAUsU1z3yXnitRka+w88rVL01fclDXAbuM
nzfZ12ax8c15DC9bp94BwNpH2P46xUVyefYx+zmb1USSaN7qJD6IFx+9+/JKLKopoiZGV3iRHd2O
XRwCHRYrxquKTcvDOZdCy2uG/PFZREyKJRYKaJqlyUcPaDPTZqQMiIn2tw/b4LLzStMuX9MtvZ1L
/WYGVXFYVbE3XAd27gWMiOjpHtcq9Opzj7TPBYuPv2adp3fzkLYi/cFRpSf307g2vrVXOZj1DWZ0
9DlvddqA9jIh67A5+z77vAA0kimQtZZiyhaA3Y+BuyWu6qxqCuoy4TbS7NpfRx5bE4q1t+crCbL6
edgl2RTB/SF7RjXoaKqr3JCkJWRhk8XPlEmk7fq2ry/xodmmLmI5DrJUO0wrbYDvlGpKp/GFXfn8
9bo/MfnWWvLS0SmUsbM8WvZIf1A/zgMweRmeEFifQX0GielXdNy+jnRiYi3TUHD2WI1S5Td303cT
2zeKkihSPbud9jPPDwZqGMLsfx3jxJhaa+3EkDRRsYzjh++0YKCrytPsLr1ECvZH3p4J8LYKjjbL
hwhHz82xndKmB3xPySK8axzJMy+BlsCfjTbGluaZDSUgQ8LLC751duz1h9o1zxxVb4fAV7/haOWU
cDIEDB9YND41DC5GrAVcVLBe/iwPDa5UwwjYWL/jf6a2p334/rX08G4W9SUuASMRu3UhhfA43lq2
4nevaDptkBWxv55PeS3JfPxUQ5SQMTEMhBxVRTmqEHHTKH2J6Ljb7/NX9Y/wUD7hyjQ45CHoKjrN
NgOOznLyyDAARG0wMDzzEz5X/PgFuiTzntAVUzw+kSFh4EmRsE3FfbhVtkCcqfhl+/5MyeZEGfNj
nKOBBcE36lZEnGynecM9YCYb7O0eFrobX58rEJ2NdjSuQYd+k7oePqM9OcvFOpbThv67p7jJ97ML
9vOthjapxBnHCOqqdlw1xSFVnSHVrkcrvtsXqRsi5LepXJCLvngIr6PLr5fNqc9TJAsFVlNVNOrs
R5+njl0x9HhLuDznnMWRNsBSAwfLjOv+Zt7mZ87QzycbtIC/oilHdcUYe/auXPvqpXHALqoCtZ3+
i1/0ppv4bt8hZd/WgBzXLxrd8ND6wxZkACmBvB0P5pk1//kY/fhBR3dwFCWSUAgES5Y/MMt9BEH/
+8wMfa6GfgyxLpl339PXEdz02KQOtDd9y8Pn3IvuUFGgZn9uBx+JcK6V14+x1s99H2vCEqXPiKVt
RFu2I3uybtXZ15CJcSnAPME4sJG3QCxcqrxYds+mFufGc11A734ANwYPp5ofgIwnTse/UJIEL+gY
tuip5paKsx2fTevO7YFjv20os7IgrCtmtP/86v43Am30mkwv+X7u+Dq1BWis0WVSNEPkoP74hTDE
5BIbbr4Qh2Azv9Pju3HUz2QQp4bxfZCjeaxyOUSZaUV7BY9TepvNL2cW5YnbRnkf4GiepnjRg0wk
gOpD2r9EpGUjXEZbcatffR3pc4He+BDoKIvghFQj6oOs/uJeHy+slGdqJdnjfGNqPLql/EzaIp3a
bu+/7ChlaKM+xDuGL8MkyMNX1Y732pXhC/vYM89829lYRzdZvwCyhw1TACLaBH5/G91bdrpLYhtt
B7c+c/aeaHAaqkLrgT2uiGt6+XHloaDYxTrkYheyCIx/8Uk7xPvi2bo0N/lNfZ28Li54zt3X83c2
6tFSzJNay6fRpOvgAo3kPkuUrYbFkeQatuEXbuFPw7at/UA+kyecyoh4nQJHtWTMZaTjqy1PJqVd
MKZ4e6ZgmBqJTwDNgfbd6nt8w26j69SOnuKb0IaPCISvexyaV5TOzo3AiRX1/nccX3rdnGA5Afj8
r0P12XBF8gfh5p/JHz7EOnqaYQcYytHMHPc2VBUP7ovLZ/qTjSzjTXp9Lt7nNxGdF0WWNEVUZYtX
+McllUKTn/ADrTBRVXH26R/D7iEtIC8O6BB9vZA+hzIVMAASKQqYaBQKPoaKBxA+konzdGhpXkIN
3YxdMc7g2ZRn7vQT98GHUG8L690llJdGqaeKVrkVsmzISu6kfCs6tHu9KoCQalyj3R31B6H7aQzn
Fsu6CT+m8eoqUv9fDcKj46fDcJX6GE260Y6vjJ9rY1mwVYRTKaw01DTOXfknHtcq73hAv0AfEGgz
jwKSirL4q5h6/3X/NNCrj75lHiqcvnTV+9P2J0T0i7WqMz3C76iuckd+Nm6s2Pl6dj9fWB+H/Ggh
VSKCAzhNVtSu0CNMkLTJAmU8M7FnltBbYevdvNIyDMU2Yl4pnDjqXKOZFOrPzE6NIldyZr1+vuc/
ftHRaWsFYgjBkmAoGMJ6p5noKv33f23Ujs5WKYvpV/SMWisB56ACmiD69nWIE+vj43cc3fQRT7qs
XzcD3oaIB1k/82VTeDybd4qHTsdesJGR+xZt4bW4iCohjrOTXOmxuJT/8dvy4y85SgWQ5VSqxeKX
JLt4W95GDhRRX/fK6/AsVObc5B1timyZFm3A1tWd69/ZVHhR/ovC95k1f245Ht3+dSNILTbtDBus
71T0ZowThreq8rev5/Dc5jo6OqMClJ4MBteddWsr44mXxfPDvxTi+I7TYGJr5rp/i0h60sX6EuG+
wz8cwqDoStnRlCSDCtzHCwBr5bRqpKJ14w4DIPq2yM9q3tcxpM/HL3VtGQEgXkLIuOhH59A8RDpS
E0jNt655a+4Hc1P6lssZ+ND+Sp34Wrg4E3Cd5I/n/ceARw/IEh/VANX1lpKyvA/87oF3lQtCkjOf
jeRHV6Bnneg7PdNz1ewTy+/Dpx4dUEog9FkcE9mwHtVUQMESPS8D0Pr48vU3vtUrj76RmpSGwy11
8/US/zhzwCiwu9L0ljttdHnrwJG8T5uN7kcvy4XxTaekEjgd+tk4cjoX2ZXkjl73KuzP147WffvV
Lzk6QiyarIWpqvySxLrJkR3d6JOGUI/xLKoTRKJg+cf3BSVy2VzLrOK6ej9+utkvhhI1BrLE1pUa
QmppX78e3Le85/iTFBHskqZYGhK3R4M7FBRcOh3bStHXMtv4qXjDQ+4mXngp3aFstSHDRZ9or7jl
dXGZdmduuZPh1zoV9jGqCiT06KSE4yMlYZ12b+m9cT279V7Enn2PBzjke3eh8rlHUp3GmkPw/wEO
78SONdcqNuBNkn0e1h9HWKI7jt5E1a0lXg85vmkrvwy25ZfI/m8kIDNnqyTr33g84u8iHoM2c1kM
AiUj4tgYm8wAF9PdptqTTNqEASZUNvhZX0+yfOYjraNjqTCkqpARWkAJJXwuQuleE9Nfsa46hRbv
q0g/0EW/0otH7Mh9HV+LTRH+pLfqWuqBF6afSvoVAzhv4yH10ZRQNv9RTEKL8RJfsdCxDPPdbJ0F
u50425gaUE0c2Dw8j/s2iaYVWa3XHRBJdAPQXQFeQzvKs+zJhgP1fXRCO0HNx9PU/0FF/FQab2qg
QgGfsjas41rqEGjBTCMU0fh6em0j+R4BFj+w2qtSKX5FIRj3UKivcrhmdhIglL+kUAPLM5f8qcUC
xWW9t/gfmqEfl6cQyt0SCDOSVeU1XeGUYSjLV7ngKKQuSQ+tBbLw9Wo5kbzw3X+FPDrkqgz9Odjt
zGxD4Rgp0MlGQ+DrGP/N4P4V5GjfR0hSqnIn0jH3y1fDW5sbgL+ggNqpcz4fOxvuKFcillIihN25
GMdWu/V8K36gG+sre8nFsMX9+utOXRPvR/DoTAmVMe15KzBp0vxtqMKrxTSfUXZBF8HLzszWiZor
ry5aNuwUdQ267v13r5IJ63EtSvvWpU3+kN7JdKjS2/S3MjvLXX4Bfpl3H1CDyoHxFPlff+jJg+V9
8DV1fBccKyrwBiHB16vZityqdUKThlF5WzjNLrIhdXIz62hSQP+0Eb9DzwJtGSj33rna74mdwrOX
tpFpqmD9j1MviJ6iBXa05SCPt9I29kHCu+L23CevX3R0en8Ic5RwjSjIwPMiDAZIo4JSeiGd2fIn
Eqv1sENVBjyajC3pxzG1qigVl3EhAmJqKpq2UnjdiGBRwzOb8MT5+iHQ0UY3EXnJjVokg0NQwDB2
8mIeura5NyO/CD20Pr5eLCdH7t13HW15K+rIZWa+a8y1X2WRb6NWPYNpOHF0WVytqgTnlJTm+Mie
zTkxUvRY4WvJD1Y04j87e22znHlKnA4DbwAzCFHVjg9lvTIrvUJm0q1F/U5BiYEHEsJML//EeBl/
RTmanlG1AtRqWWmWBK8MAQRsNcu/G1X+nP5P+Lu8+XPh/hsM4ptVn6H9z38/OSnvghxNighXELV0
qXVzLlHTeIz73ddfcep8Yk7++oyjoxekAvK9EAAhWEAFmJ/Sw7IJdj+5sv1lD+vVrux+B0XcP/dA
OVEep03yLvLRMWxI4zwD/WAj/b03Ge4DzyCzm7f6mRNfOrlp/4r1ZpP47iDUyySG0ESs0Va+pWjE
gDDn7JNvQCkkd0Vt6x6+3uOzfFX8/HqAT+5imvYk0AZF1Lcn6bvIUYFb15RprRviZLYU+VUsob81
zg+pgMtICa4XaufZvP3kFsA4Dgs71QRdc5RRtq265PXCswGhgg3GvHCeNK8Hw5Rzjy8UkjbniR0n
1+qKnAJxon0GCEhDKstooLduL4U7UQbv3eZn9tzbe+PT8f4uxtFqLRMlDsuFEwQf3V13AaJ3U90H
O4O+yuAqNmApH/L/P1MwslQL6QKdPI9m+jrc7yYxtMSWi8Vq0YwD+y3h7CZhLDK2Z55bJ0fwXZij
I6U0MmQ2IFa5wvIsAo4MUVv5ejVKp0Noqo6ttIK/5VE6ouri0OLJthYkCjT1N5VX+sVh2EMU3Zvb
yg8d7Z86YTBJ+H8h15/0fvCiJK7lmL2XXFj3A+4KvuyGe/Fm5YwloM/3PR1vyU1cwTlHrDq5Dd6F
Ppq3qBxKBQc8JKOWq0L+WSkvpfb49YiePFnehTias7CtR0EyCNEjq9qR7TfSa4ruaKYF+68jnZw7
TWR9MJLklMe1gKRBmKfsOEpUXxwfzX26X4FyaebBckdre5PDKkx/nAl6Ilm2wAOuQDX+CQPv4+zJ
UCuslGew23m4vFh4wSCJskE9wEdxdDVDIY3L9oEteIhOnbsjTq1WlMQs2nxwVFXjKHgnFxAv6oTy
g97uhRZhcdmozhzQp9bI+xhHyxNmilKjRMp7v79o4eijVgMc48y+O/0h+LoaZIxru/LjKDbSIFF5
zDpXsLarYPYUnAlwqrTJyfRXBPljBLGJgK+WyEgOcGo26QGX1cLDd8rmhoHkUDqFnwjngp5aHO+D
Hs2PKcyNaOGI66rILXTVfB80GNhlwy0uUY6A+ZyKkqbaoUiqtdeBoTxZ2bS18qrfpEVxGRXK1VS0
t102n9kqp+f0r8E4mlNjFhJILvwuOXsux9tKRKKqf/p6Z5yOQd0BuChn27Gjrd5UQFmwJ3Un9Xc5
lzdKF/lTcq7KciaKdASpEsM2EfSSKOg/blKrdSxJdVadmX/pY95ytXdndNljVdHNQutOSfMYlaqL
/xH0kgHp3K8DnV4x/zVqb5WA94EUAaxvQCAlX3aDjuWIqQIbyKIfYVQcYuS1zgT8PICWAWcd3CRG
H6Z0fH41oVYLiELOLlI8dmD4S4WEkvr89VedDMKDRpQAaCqYCHzcfJ0OpbISxVV+r/V0lLwamJ6T
dqZF9nns+BQdgDS4bA1K9NEhUsPCjEdsWNwMCYZorh1jTLFknJ0Z1dKguP36m9b0+/+SdmXdbeNI
96/M6XfOkCDB5ZyZeSBFrbblLbaTFx5n477v/PXfhbu/WIIooeN56nacqASgqlCo5d7jUOtYGjle
Ewav8zKSII0MrRNlrxXA+qQB/fBAq1BkUP/hpVD8vCzz1E1CpkFkwBJgBEHnbaoufTRom9MIdg3N
DQpMIgv77U7v6yMRvEFFg6F4VqiA0lFbquYK8I2VU08uqhTLale5XrPFVKTqyI+BuF+ZbRm3pQjG
AVpp6miqUHhyaUAOpf7Um6xnulkY1UJzp53hNj/BlwT+ZnG73enbwwI0LmUVtbenMPfC8sOu7Yqg
Ht0Qgwpf6B7v1CUr6TbbGqShjQ0s8AWQZb8mCJtFodfM8w7CNVU3WNMy3CMnHPBrYK4d+tHFOTvx
0KwGrXv0VGszGDJGxW6CPvoxJsGm7aRnNM3dX9akGe21cBtSg4XThs6XEycPSIUwl8nV/N6hGELz
1UetbN0eYNTKGNp9QZYmkHAvS51ph0KG710s/85sc9UrGyuYXDI6Cobrv9d3ICj9mu1ot8BU/Ysf
gYzLTlZAxRFIZlftkW7paJuhwLVAb7YlIx9+bK6YL+4bI7UwoLZVlpo7rFXfBsT+3Z9NWM1nWXRl
nNgqJ5B7ilVKFemZCWWWJEA8gVorBYDz5UWdHCInglMhgK4DVriFCFkdnAz0tXmySSldGfoybpch
SJRUYevjic0cyUQC6XgfG7RRI4/DbHSrbdFgtVWu2ABM52B0m94g+EWrMciJ71AFqkQdLJe3FOM/
x7Ixvy2lEbJkgAmfAK3zABjUD6kJu6IsUP7IJ9lLSdMNjJ7oI95/CuCRAajBZjXi0E6eAPXkyGtZ
VN06fbawHT0Qyb2QQAwdRcBxBQ8M8jzJd2XJZIJ0cNsv9GWFxkvRq+E0FuYkcragDGUoKSkWKRcO
aOqW5mu9klDmN6b1n6NjQnSZk1uFk8gZA5idMPXuY40gAHpCXqB2yh/pFnSq9uAMbl3Y3jOGln4/
L8GJ5QwkwLAslXqILYxkmTTATEPWE2moxWU7PHVrx3L4S5NaUpEgv4UN3YZrA7PJX0K3+NoDaNVl
XcEISfH4G7+KDnLW/t81h49Klc6f6raF2GjTbFinPwgm1ulS1LP99vVPfOeBHHJsd703AJiRQF+i
TX6TLbt1u8xuGuRCRGONb40ylyRxD6a2kcMiBp+Xm1z1d+DfXqRrUCfF6/wmdWuYgufENhAFWIkm
ttNrlHu/saZ80KyAkfQBoLALhCUCL3uaVONOl7mlg5g8C3QNQ2/4UuaXCSEJMParBaDvd+oaJd3Q
ZQ0yngXuCfQth0uRe5izHLyK0bqMwSITpdxj4UOug5kBHM5uNWCqNA+efbkLrzB1ES4BW/y770Ks
9FAYd9AYHIG59IgvPdQ5dCNyNQ3P5OlFYC5zd/GhGO6UA2CDArYIYtiMinqFZtlgyTyB4lhPIGgU
zt3MKvChQP4EgRyADloIHJJPckEWHbVWo4FnOUBKguZLAdKPCmTxJFAFujN3Wx4K5h4+BPgJve4j
mu7qu8lEBy0AZhj31lIdH0gRg7aj/Xx5c0+eWtwRcrdJkgALtQD4pxsjqDK3Sfs6iGLH02rBmwzU
A9COrCJxyekk9QddAQguJjQX+aucr+ov6Jh1SszApjLmGW2APi5Ek2hzvg6c679kcqopaVZbxuxx
VzLG5PZeBtQ/GT7pyb08XVVgK1ZjQTVuLto4lMhpaVeaUVPpPST23Q5gtZ0NnJlCEHCIhPCamZMO
3wHL6oFSoow9SAj61WWNEIngdDBKA3S6TVhHESP72iegaPx0WcKshzzcKk7pxiQdacVEgOUtB/Pm
iw5ICbu9m56rXXgV1ctyg7Z4NAmtM0cY2c97yHfN4KKZAvQonZpjCwHfDF6Ll3A9fgI0fXw9qrh/
S2L3V/mSoQkLS3SineWimgT9RnluvOlk6uopWXa1KTg8oa1xIYyHN39bGmxr3fRGSh0ACKv3AJBY
jFdth34EJLYd+BTxXNi8I/m1rQYX6PtFqgK8Eovz0FCVNyCFKHaaur+sObM7aBJDA1TeW9rm+HbT
u8ALEraDXvmtTm49QKn/bwI4zWy7wEenO1wVOLxBK/KZQZ58QIKFWWcgReoUqBDHS4gnPLyI0SE6
CDZ1A7aMrl9cljB7EgcSODWTxmLAaDMkAHMUrPIIPuT0LjZU0ejo7LV8IIdTNatC/jTrIYfNfgHa
7M+3T7uYgJMM0El/IXwWCCTyOlaMpVnm+pvEHnoGXgKbPc3BvbitU8d4lcQi2d3ER5jq+yIN7u5K
Af7jyRT2RDC6R3cAmkfFF9hYm2graumZdYsACEHCA82Z+B/O84LEU031EGGHDF5gm6LO/EqXyjp2
viWv1ioAzSraxcSvnrmr8lAsp/MY+gJ1+gSdx+tg22GkqxxAURjsOxVEi2D6Bit08jR2w8/Laso+
lt9ZTQZaKiaUNHICjGL06lDE4ORz5bhZscYPEIHfNfX41Bvtt8ui5iziUBRzKwcReWwMmOeuGXWq
kb+MABhGxn8BWJ6Hy2Jmn+bIQxrIJhtIXvMNOXIY0SjGuAAqinnmhvoy3CUoGnV2ufAewE4PqjBx
n8Dc4izwrGMrMTZ2gvfhtTWoMRhCsuV1m4ZE6Qstd14V9d8Fq5vTE8uSkYVErxYAIDlTAOXVGOUN
1FNbAXko2hSbwdxYLeaek2W4Kn5mr/mtoqyUn6B9WIkbiU/xZBBGHsrnQrq+A7lizzLo6Btw1YXv
SvnWoFtGW4ZvZFufdAW9GJ6dL8DGZi0oUs7WAlR+K/oAZPXwpgkFBYTZxMjhN2L+6kCvulgDMnyF
HWEtu8Nj3rso1znpRnXJswJ+MOHr7rQDkdsDTpMjL85r789QGgQm92D23QIGfEV+DF8BUPgFtA1F
bbOxb3CpAl9mgR5J2/o8/X6oi95xzJZQSwccKJ+LtuRC72sKPyzrYLRJjS+yCgb5y+o2o9YMFBn5
X+TbIYXTNlLkQdzIkKHoYBMpvw4yUIbj8u6ylDmTVRTFRF8bkGpYa/7xEbZtCNK57E2p43st3dJm
A+hWjO8TUKqg9eYGw1kr4UXGVJXzfUdSuSsagK162IEwFty1eNJ6WzYiRg0g1PaLprbJWpiSmbk5
jwRyd3U4AWcyHmA78ja9Vx6jheTULwzmAVxbIBIQZmZOyxU65L3vq8mFg2lbjp7MnAVojZdW99Ku
0EuPTa3CFxC5CKLemasEdwjgf4ATQFDp4laXx2ZOMxDLod85tktwVud1tgLg14KMyfqywsyppUIB
gMvaLlF6Yr8/MHkjq8tJsZi+ALYezCYgiQRtigUGHfN32y7ZDh5I4q7loQI3pu/jZQ6SMzRFvsZt
4hJRQD3nwlDNQoMZhpJhZXydo+uyHmUHyt7mynLawIPu4utqx44qX/pgNhYc1Vzu80ggp/q49M06
YAJBp7ruHtSdf4e2iisT9Rxple4jAPgLE5+nDfFsLw9WySlICYhJNbYgtHdQzXHSLUtANFvWx9F/
FSYAZ43tlzRk6491JAVbQ9KwJb6B4AAlxgATArJ+ZDmCG86uFUckknmpE3+Cshw1CBv542EyJBo3
PQGOravkj9S/GUFmN2im3QQPfSsIA2YN4EAUdwNRyZcq34KocphsRHd2kKP81wTOZTtjH3NpRZyd
6UpkJrmBTBi63/eGXD6nuS64xea14mApnIWNWaXEpFCR5lv6qDGgK3xZriwX7Rr+owxUtFE03jLr
pw4EcpeNTmMJeNDYuy6VHYV+mbovY/BKRU1mzIQu7R1nYmkKCqBUhphcMm+R4AvtguCezsDPii6R
Vu/X6fAhv4guAwvkA2CpkbngLNUHEBaNkFlbtSOhoQYAnbZiKoKoYN5fHcjhQi41Bcdpn+PMvE8U
4IkLxAaxIz11rrGt7vVduBQlEuf1/X1hvL6bhk/1CALLSLfBneQm4FyfetHk+IwyEh3Mg4Solm7g
/cAtrNKbsYozyibz+qcUr9pvrNSFyjfSo0KQjVPrgjAWSlJE8wbc/rGHkjtzkDuCkR2691bZEhhv
OWprDLiAVURCwDY4/vNlg55f4LtMvuglAft5yFIFrVcKRnfpOr0GxDLAJw3Mtf0deKbTgyPYSJRk
GeYlEDC4DfX6IVDAut27oK4BwDjwkUJ0x/aby8ua28lDKZx6xKHep4mMyB80h7Ys7dXw6bIAdhTH
xgyYOiwA5Zw5BCQ9iAMApCod7ksdcSIrppGl9gFmCP1YDrcQL4/w9Cvf5AyLrHM0N8MTC/2byB32
y3FRYXIBmb2/Mbgws4UGUQEWiWViXF3nXL02BCZwv6EYtdH6W3TKGY5vGqENthXPyQKpd/WmhOi2
An4RUNr7VRVJ/gNwj+NlVhflJ0tOprWZq91v30FAacEwpAEISwh780UHsZ5WSijSZvLgDio4HisQ
07pZrXqCQaE5w2DXtsrGvfXTHoIGtHQgPdJZq2n0SNxp7WOQ3cRsYPV3cminoQIxKbJLgDVivVP8
mGlmGcihlhUcZuMUG3VRlrb8uURx5Lv8oNkD4EClzRBhrt0OxKAUM8psUrgdjO5Bo09AlRgVljpO
EE5t7w5NO81iWNT3pEQmD8NzuWO40Wv15H8PJsBP4h0kcuanNyMWfyCfU3I1iL2KgqrJpd5dnATo
TAZavp+++DFxiIo3WDD+/oXFRGoqOtVU4O7yWROr1cDiVTQd/DoaicHWt0LkieKlivW9ZUlFRfEZ
v4dgHpCrcEsGEFg5344aHEbs4whonTqUNgPRlK8EIAmtRK2gp9EMVvYuiM/GdkUMbOcs6ZDWAstr
Vm4ry3w0inyyfc0XeEHBovg0LBCfo6kv486V9FerB20agKdlUWp+1jQOFsTFMEWuxtU4QYhigdc6
f0S7HVDOH4zs2UvL3/ctR5vH3U6SmsZGY7FT6gebgKWTRIJaydyWmUCasmQUTIA0ygWbldeppRaA
HFOLH4hxq0nNIsuyxeXbaW7LDoVwoWaQSYWptRCSVHceWiCHBpQs8QBmGPw/fr4sbebxSOAkAaaM
/CooW/hxGyMofQM0gB3msPx7gMTawcIE/Cb4YJZ/jwVqfhPfBXIOwwPVHtgmIDCq7izrLpgke2x/
Xl7VnB0dLop9h4NrpjSNQjMlyMjVYhHKyZ1cxosozb7I4yRId81ctWxeGPEztk8/6Q4BwXbVEkCZ
uCWt77JKxSxD3v6PMjgr6uRURckkwAVDc2ckjTNKvkDr5ty4Cf4hMBBZeNbzWHWVbmV4gmIZuac6
Hrg1eqO7kpNXrXlGe9M+6uTl5SOaSRNC8d4l8og9ZhSUINOExCy328Su0D4lud6ylDBVPy6CXeW0
CNMFyzwdJkVr86FULgfq60ong2KlRXdhRBZvvFLgdl6VgCPcpNesEjU51NHXNaKFpSKIbGdMG93O
iJvR74tJPT6ppnuW0QdZPbhJila/AXg3QVZ+B8VR6gx5juMFnZfAKc6cq4UwENUv1mR8MtwfgTYp
sBQP5G5WRjeDkgRuFgfVTTYp2WaSabToct9fSx4VTbjMvCtxK8oY7wSjHf6Hz4MBhq8qQME5AFeg
uZJdsK1HCwbSYNrTa8cypKIc8EwohK2lcM1AutFPevMVQlMlkEoI9L1tU4ImwwNRq+6FW3BvfJsq
xVsEnfW9mMAddlmZZ3wa8GdUDd1hGEA7CRAYruWk1vEAJiR90VTFCpiaN54nzODP9CIwXA1AmmC4
AhDNfC+aVYOSENw1rDlW2zYb3SmdMLbNWwZlmS9QId57z6EQo28m9XwslnNAZp9MUsnEylsGygvw
8pXhMonBVhRPznSKHcvirvGeDgRDCBXSEW1hgrI+Xk1Gj5GV60J6SYbUaSf/iXrSQ0ak9eVTnHHl
R5vLfn9wayhh7CdKAslG+WJ4ZNGoolzLzL3E2CJw2cIJgEqACyCMieqjbhYofUtoKwZ8yba11Lth
zNLdVKPM9IH16AwaCQVUFIS5W1CN+soMCU6tGMBqI3fPNTFEU32nIKe6it5pEHWy5hEQZnJCUrXv
8yCMWAnTBBKQO10BtdFbFCmIIPJt+SO89lea/ZYWDpdoFBNX8GY0hn0FIFYyIlEU0TiNwbwMyYJc
Qne4Qku7T3R6M4G2c52Q2r+q+0G5Lj0Fz4S8UVYtmTzQhw+D4GI59bP4DphiQQTK8gr8E4EkRpxZ
JIVh0rZzVA3phD5cauhTBU+MPcXgfhqSUiB0xsUeSeXfC3kn1xHGh1G7tVuwMiIZI9tsft5YjZvq
2l9SgcBT/T2Wx92eSmV4YASHvHLUFilG/5wanD7oqzCInZjohrqswKdu9Vgc53bqVh992sWYDjKN
x8IHu7mcBq7SGKKZvzMbiVIX8FIA8seTF4DtqygsLUML0bXxol4B98DRwYTqf2eI32LQ05mom63s
lzye39Lvo9wA3eGfEwdKjaQBAzAC87XplACgY7BU1q2okXl+O8FjgtwIns/8DODQ5nGQ+tjOKVPv
LDpdoV/DtgIRP89M0w1b3LscpkUHfrTuC00iA+QwxGXWylDRFQGOuqPbrJVAecK94aq9Ld9n/Yc0
5l0052C7opMouP4g2n8x0N3L6LzUWhNImbmGj1fIvMHBCqfSAloHgRg2MBICMkmOXUYEw7IQ4JLz
bMCRgCI4NQVB87z9vS+PS0SAwUmhQw1nm5Cb3Fvn/nMYoNysCrowBIrC55VBsBdYfgkzByju1ifG
bpj0hS/q7Zl3mb8Ww89OTJEMZk4Di0lB9oekY+FMY7n0Wm8l5fLXhAad0+kifA52hx/nfo9O7i1z
eHByZVpLfp/h5IY4fJbU3FwksibMUM2eE+oArHSDvBxfeVCqRK2mDhsI6pWVXtoGMs2fAUboFDdq
uqBoEbA2ZIU+sFJk42+eg18gnvMYV2BvUrDKHqtm6gG72GtwGSpmFF8FXus7QeWDR61RRs+RIw80
NFX3yWRpBZCuXWdBFztqlv/I/eIOhGsjSkxg/0w9jHcE+ZDfIQgFaaeCaf1JUx70Uq4WklQptpWY
vZ2lRgKesAoUlkmJYuwk+U6pa4/yAEetJbGHjuoxfQ5SxvM+NcMDwIIne1Ro+22QUeXUzKzc+Eav
2SDrCVZFKEk/aaFbglfQ6cMLWRtQhaHLFfE5YvTjTZETvzHHwYdCx99KzwMv5+jkZmUnIQiqGkTQ
l++tmbct5AFHG3B7b7jknLweGzfRuB1Qai2BWuRX1k0FZjd3qKT+wfP7YUGJ2m0TX9OXdTYGdsk2
qLFG87Y2a5BHZ/24L6zCF4Vrc5aNxwOD6wQIDioExxuB3v4q7IcJBHVFYWeFt/Ezy87pJNiAOSs7
FEOOxZi6HoNpGGl+dQhL8Cw15lIC162gXXbOgRxK4eK+lnaFQn0FxYREcgnaAMrilQJlXtfdFniP
/dPlU50zakxbqobG2nBOIl2pNYq0lcngEgJFBXBi0jnKEDll0wnCrLlTQk5dNwnOCDEtZ8M54swy
lMfB9ZU7OVHt0kJ+xBw/YBRUQyMYRpBRKOERmOJwBBYtBvPdrJqWBrhGi/Fa0pCYGJ/9VBhhzanE
oTROJabKtMAjBmnMJWKIA6x9SGriFemjlVN7URw0V0jDVpTwmd3Kg0VyOmK0ijloOcQGKkLUAWPt
pmmXmUATZ58gVCdAoNE1DDfzmZ0SxPB9+WebaocHEKOe6q/SpXg+7xTvFu+tA0k8+CupCjJZIRbU
LNAbOYHXq3gA8AYDI68Bs2ADjnJhbboVmK9cfyk9XraB2VN8XyePA5t6WR5JcjC6PvCL8bq8kTr9
x2URs7E4dB6disAFoACSOHYeQd96cZ/hBmOaAsLiZdF/R3Juw4LiOlw22iLSBAY3a9qAPDDgsA0A
J3IiJa2V+kHF6y1Ct4DUTauyMh4I9YA06AlyuTO5FLSFMcgzGTxUQF3jjDusyyBsSiwvQyC3Db2w
WhEyVk9NbpTLMU3yhTbp8U/aBMomtBrrXoIBX9VSk30XbPTcrYjOajyZDTx6CP9ulkPNClNq4pYC
jeJ4bb7SZ/Rpdj4mrTFPmdvmDqq0IGAJzgSuZ06N0MiEO9IAoQZaCY6PGIuMc7+EKzWNMfxU+rG/
t1rdFJwq20kuFEJPLZKBgERDuvUk21IhGajoBI0EveLdKmNZfx0nv/4ZgIg4AkslYCcaJQyAjwmI
JboYqFQuBVvMvBr/FeD1EHjgxkAbCnfY6ZTUmY++XhcUWstkBCi1bLp+6t0Q4PBkY7wYwDYBBuNl
PRSrkBr3ILpeXf4OMx5QQaoZrglZUTYidrzXsV5YVhYhK6qX4VpWMTCrBUXiKOokIn0SSWKnfhBb
N5Pi651WIQsqPYMJ166j+8IX4QPMmOrRcjhTrUPNzMcay4m64UcAfGU7Ip+aSKI2Ws8Ebn1WFhpF
gM7Dmgj4okivBkA4pRmIRcdwcIvW6q7Ukkh3OrhHnSIsC/f3jwpdEehZYPndkwbtLCORVrGwMRul
Pfr1nioT1ldFueg2njspA2VrA8DwgGrj1TLAUmjXQhCRuuQe41/lbvSkPLc1bSoENjBj68iKMRsw
MX8D/3qsFWqEFBUI0KF/slfbbYFeiAyS3nbuX0cwpPV//42fv+XFWIV+0HA//vc6/FYBjfJn82/2
z379teN/9N998SN7aKofP5rr14L/m0f/EJ//l/zFa/N69IObNQCbumt/VOP9j7pNmjchAExlf/Pv
/vIfP94+5XEsfvznj285iNbZp/lhnv3x168234G3irP71+HH//W7m9cU/wws3a/83/7xWjf/+UNR
tX+yXgUMzmCoACPCcD39D/YbQ/0nRTrYAggUQPtRtcCJgc27Cf7zB8WvQHLLRpcQeqJg8sc/UK1k
v1HMfyqoDDJ0J4P+8f/f5/ZPX/fnSfwdvFiJ9f6ALRmVoWM1aCbwc8NN+bdlVUuokWjSMu8b0cv7
WLHfP527UBSDetXQSP4tYAByJ8laFehFsuJUUZX8lj6/i+BakMHePaQeaKX2cTXFjtEiG9kCX3d9
cHx/bdchnO6xy/n16XxU4Bsk1ilSkPvCUyy7kcLrXI3Wgaf/9DVRGfKcDC5rFaRtXRjyQPc0b356
ev3Jk3S36cjTlIzPl5dxbPTvy+CM3YwqPSwxmra3JB9U4uNVH/8euvX7R7NVHdwuUwVQdIps916S
5Ufq4QaXu+IBmGzPiicCsjz39Zl6Hcjoc92KjE7S9oNapIqTNSZgEPPMtESZ+zN6ajLBBwKqGAXo
EvW9vRwDriIbQTcf0fXUkW8f23/usk89q6i9AfufA1Td7tGtbEtyJcpvnNsezoblWJKAT9Gr+74u
AUdWm09ZEouAKI9f9e/ny5mwIZHRRH2a7OmofwuUZIlU3UZts60RJYtmsDZF83tz+e+iOFNuUMcw
UMkg+zzoMdkVlC9FT4jAT5w5YoML+XLUJ8fQC/DhUkNswws0p5OnfDsNmS8Io8+J4AxZBkWqrzUR
2Vs9WQd++BiTDFk+EePdmWPmB7iKMa+SrDDTW39q0LMI0t6tPmQiT3fu0zk7pmqiy40qJbdSQpXU
TpFPpGWKwt2HLACX1ZGFUbXsOqOrglsM7StO7uW6mxQy+eCnc/YrtV5GjSrxbzM1iAy3n/REAToF
VZrF5a9/xkfzmWMEbVoySE2595RoBSPemiVuMHko6cqK0w8K4ey4zdOp1GlQ7us2f03aYRnGaID2
qWznQNIV2AFz+e9PoF9GxvcX+sSf8qgpzH2YTVsrrjDapY5L31e3nT4u0UkuGO46p0+cMSOqasoc
gPr7EB3HIJIKnXCIvU+Xj+OMpfGBcjuFCpXSodjLelL3dpVUn7s+Vu04ihuRxr4No8/slM6Zc6kC
qZ+mabEHDK2WVYsqtW5kKy9sdEq7VXvdaeOXLP1MgejtRfEC6OL2MPzQI1weQY8sWrCU0/Ymz5aD
/qhKK0XbqsVo44e2DZZah4bkbJlmn4xmaUbeDv/p9eAVrB92NDzqxn1PNpc3i0tx/DpyHojBKkO9
aAcv3/dlcC93wUtHErecpFU4yNMCfcJbrbUWvl+jDz5H4rnIQlFp7txBcV5F7YduMq3a2PugpHCM
0VLtKQzqHa3SQGA1ZxSNTxIBNxFYGeNg7k192GR+/2p65uPlnTv30ezPD8ICtQ88gPVq+r4FsfyK
1pa1auU8EpzLub3hgoJ8VEmpKgPZlwa5Bm3ylZKPTz4Rkdac+/KcN8mQ6CGTHOV7ICuhLjT1jfVc
eUW5+tjecHEBeo+SsioVY9+ngGAP21uieB/cGM51eFqYlXIyGvsSeTo39YPhKUAmwY3LKf7+oW9P
uWhAl0wwcFS1ufebKfA2XRgN43dZyTRTMPNw5nAp5zxko/OrUvKyfUOm0UljgnpT2WH6uZUrwaV3
TgQX1Pd52BUlmci+Coxl5Febru+v4o7cXd6iM1ce5Uy369UkABGWtc9I8zJW46tlStu4L7a6KcpQ
nVFRylZ2YF9JlqXZOOXWHvWbFNQIcmFrcv97zQe/3B7lrDcdMQkeDfj0Tq7WVh6tMZ7wACjdj11w
fIc24EWJ2fjU2GdFnTfI3sm9ZWuhUj18bP85+1UbC1xTcWHso5p6O4rSluNpveVQPQxv+2KqBYZ8
To14Q9aUjpZyZO21uniOMKQmh/HO6BJB0u7cGXPGDGJOirmuytpXqiJ9ycJG+Zmhb1qAz3fm00/K
6sRDvK3ifgFgwrYk+ZeCBILzPbMvGmfB6lilGrhlzX1Vjf6VOYwTIoCoe1aUrnUvH/G5b89ZcIyE
n5lNqrmPTHm0wPZuevJGQTTbCIK9cwI4G6ayKqV+gbniQUVDSpQEaB7o9PXHvj1nvRVoAwqiRebe
6/dZja4DM/NEr85zX5z9+YFnyNDTq6INSt8XCS3Qjg2MOfQIv3zsi3MXrxYXsRo2srKvTYxfDWpj
2GFeRR88VM5uJ6UPxl7ulH2SFOa1FEwY3fNDgVM+p5ScsaqdUkjEC8le76veTgxMkxWAWQRRw/B7
xaBfbpPvgcsCNPp2iqfvfUw9bdopBwWsXme3l/f+zAL4jr7Ib7W4ovh01evugQzn26hPrJWqErib
M7eWylkt5o6jPomQriiL5hZ9RDd5HlzJo+lgbk1E5X1GOVXObLuOahbqZAgL0UuvL72pMb95eWGI
TuDcHnFWa6LUgKonTfa1X7U7Wvdk6elZdht2mv6x8IQH4JL90bLSPEn3iaHuIhWcrIllOlYnmvg5
t0Wc/QLIE4wKAIfd+2glWwZsRD7watHY6ltf/czTjC+RepYXSJJpJPty3BQqzWw8ujBEBSy7sLej
CHO8ZKOng43/yPQmbzddJt8M+GEYrxoJbGWDtOjldG2AbtgPw01ai9JMTAfmvhln/Uqk1LqPZME+
VmXHq9F/KO/bOLEL6jldMgl8zDkN4dyApBfU8BpIyVM7BtitUtuoKQju1HMfzt/YKG6lPlWSvdGU
u0Q13SlkqHeTwELPqAZfvUunNK0bY5zYnfSpnWrF1gY9Wlx2L+c+nDP/2KwiuRpJsh+0TLWRlh5X
xqAogoj73Kdzhl8nZpyoquntvaEAB5wseWsjHSzBfXpGdd5QwQ7uPKPVlVEJw2mfGmbtmHqROVVn
fQEpAGauiip0c3OggpWw/ZhRU76ZQw4wCFV6MoKbTk8cAEZRd+z7dpUnpF+bUgyeaOBcgsnRNwSr
O7d37M8PVtdjsF8bQLay18eyv/LiSftk1TT78bFz5650y8wlAPymMR4rAJyWvOZRjkQjMGfsgXAm
DXB9CjAkJBjkvtF3eUzHnWGW6Y3fx7+JjfHr0uUHiIKujeOp9+J9EQUu+OE+NUn5XfL6JZxWqz9X
KHnmU76Myk3uIbPZfnDbOFOf6l7Ro6L19hQepViY4JzXXVlLMTBy+VzYe3pGz97apg5OXaZT36re
GO9J25ObAiTwu5YgK5uD1nIhGUiZRWOtu1niL+NsrAQejGsI/2s70TzEKZvcKjQqwyC7AtyAPZVL
LVlFwIKNS/TUlqZD0+tefSJqtOo0ZRXKPr4F8qAZcRKA9Mrj0+XFzyoOvgWnlAFBF7WSezG6hDBC
GVkvNKoW3RR8+9jHc3qZatNQKpE17uJ0m5TqfTVMrtqBu/7yx8+6I3x77o4JVbNTvVgad3UFxjgt
zd2w9fUVMuuf8K4wnKwMFEGD+zlRnBpaU9x3rRJNO2Ra4zG5atpsCVIpe5S/Kr4m0PUzp8E/FVvN
K81wjKedXnT6Ss18+VrqtGTpk/z3ALJ/qR3/ZJTzQQPUXTrt6hqcI0PSJ6va0CJB7D/rQdEewN0+
eu9JpuU14476hbbrkxjM6QFpBTZz7tO5oFNO0YFZgCNlJ5VhhcJAoaANexoXl5Vp9r4BgST33U3T
sPKgrMnObDoMoIXhtWSBpVsqX0lN1lGeXEf+h2o1kMWtZFJaw2tHb9glkdE8Y/pWvq07MjwHAJdJ
nXpMK7K6vKoze8ZH0USa+hS5DbKTpP4rphS3tToJfMe5j2Z/fuA4/b4CDkQikV1e9RVSY726xGSG
KIA+9+mcZ7K6EdsGLJhdqQbaMpdL1CtImiwubwvb6BOnjwPgHJPZq3E+es2wQ0c95m7Mb2QavrdS
tQKEw+9hgPwyNZXzTlk46VOL9oxd4/XbNi2vcZU5Tai9XF7CGWfBT8GnLYYJJ88iO3/Q1nJHr8Mx
vfanSqA4Z3aIj4GtsTSQsNL1XdJaj33jLXECrmZFaLo2W+fyEs6cMWGmeKBBXVoYsZ/1xk4J1NtK
nx7o+HusGL82n3DWXKhZUkWZNcCaM2M/yYMko6WHhICmpSPgxC8v4MwZ8PEwi4bREaDBumj5OY6G
+4A2nyRT9FI79/Hszw/2Jx9iczBDT8eIr7EvmrC1vZwutMwXBLznzpizYAkD7qxqrO7Q/XnXqdaq
mrwXQvU1IFY+diO8YegeLCEwcqnQ8ons4lwhNnpNfwaJJlDRc+rDGbFmdok+ZsWwk3vmsYPaWKDB
SkRcxXXov6sQZ79ykvl66Jn46kr82pjlYHdl9xi20hrAJ86gF+uwMjedqq4VS9SFc+7EuTAj0k0A
Vo75sMNsGIaAcwkQsR5op8NhEMHQnhHBx7tRgXbuLB/gWKvsoa/lLwAo/GwkxufLJnHmUN5gNA4O
3E/UyZTqluzaodspTb8ep0lw3mfUlQfRKdkMvDV2ZFdjh5Z+r+Y3QZMaC1IPgYPuNFHW+NwOMfkH
S7CaoR4kBYdQjAN1vBj8vEgDKkvTUEXAAeeWwll2OVkAfdCzYeeFBUghaCQtTEQ3rlwVYLOtTdE8
9LnT4CxcqcO0VtJy3GEmQLOz0MfgnYxcz+WzPrdR3B3dRFlEMMI/7FK9j3aBTqq1GuXt9VD32sc8
LD912WhGk2AoTt3JcnDT9t22GMjC8vT7j62As3GrknMy6lIPDkPZ2lrB2K0JzaKdUgsLHOc2iTPp
tAsLHa0N/S6aUrpNqjpY1GpobQ2tEg3Zzz5h0YPLlYqRxiwAER+pOz1ZpV3l6J7sGiDxi+VvsSU5
Rr2K4+XlDTujUDJ3Zde9EWphneJFBwJdW+uMcC2pViUoaJ37dO7WTkNZL+sRCwn9YrqWjVJyYslM
Bd/9/zj7sua2caDbX4Qq7ssrJUt2ZFN2Fk8yL6wkkyHBBSCJjeSv/47m3vuVg5hiXT25rAeAWLrR
aJw+Z8XonMvvb+zaH0KELwFWwlGa70U8DnuXqvGU8hT87Q4eKq7P0cqK29XysTaV35ahgf8o5aGN
6uCVht3y0Z/VuHFyr02UZdeOHFsS89A9NWoO6myooIS1eNG0cdu12Ab+9+xzLMtO8WjfDiZ2Tx7L
O7e5N5zvoDc9cw5yMbkrOw9yUa+aDXejQfeJlyV1jzx1moFJbX99GtfGaB3vLdFEDCxwTzObp0/U
a0ABFNGt4GF1iJbpaw8UGz5F84X/4kw/WRdmfvCxK92d5hKCME9jjGvHDPpLMAU6r/GMUhv+1Idb
xaFru8TyCyMFaHuUZjpVEBeFENYIzs2G6gcT+8VN2WBQPFqOIZ6VE4vOmFNHIGDOlCx/dVXVvd6y
QH5q+YJZ+nxuxgDOM9QfSU2+xynduOq/Pzm+zQA1RJUJgfGaTgzK1r4OjgvTJ/iErZPr8ol/3v9Q
XvW7K6hBWzgEi69PScqfQwcaFVJFd4vjnRHwfVe+omAGpxvPCWuDufz+xu+EceuA7X/Qp6CDoXRh
xPcFSckexUBbTIZrXVj+AAXsSJGqRJ/kiIeWJKp+mJEdReJ/ub7Ua/Nl+QO/jQtfOp05pVV7VMFh
4fEJf0CUnCUu97NyunFPWUYfekU/ofZOn1LFoTnfjGDemsBdd30Y77sU3y5CrS/EB8wp8WIZFc2p
j4pvyjHTTVcd5Il/X+ZxMtPQIvw51VTwh4tM4l8BDv4tLY73MZJ4w7GMeRJtL5O+NSfhkS53J9Ds
ubjl7hDg1bse3AVf+qFts6A39c4BVUWZLa7sTiSK0g2rXJm+xDJ4AtGZIoywC4hK7qeFl1l6qQq8
vjYrWzixzn4xO6ZhLNInTUWYSUGaTFD+4A7tTdcHP7FsvudhGxMKPUDqqTu/c84OoR/iNvwwqWmD
7nNtgixL17DArjGDOqXx1N513LkI9k1bh/7aDFlG3im8hjtamRMDdu8wp3V99IXbPsQVuASuL8La
ACw7D5zWgJNkMPCLUNslqPvZ98DMbLS+4kUSy7h5oWsppdKnzmnzPpYvpcNPHVi6JfHzmqYPaUHl
Rl+XVX3Hw9scBUqoFC+FNVKsrWsusN76SekgfpITqoWnSSYbS762KJbVq2WpjAYw+WQwBuZ7//bN
fN+56V83LYhdE8Lcso6GBlbB47g69CNXOzOS/z+98/8X5oH0+neXJbtUFrIo5IkEM8+9nun7RoY3
vaeCUtuy6DSt8CzZLoiDGRfZMlVmDyKXm0BMaN0y52oC32g8wpfPqB2FiCJblifpDmLL316+8p0N
ZJeDXKKPCNA9fYoC/qPrgD8ZI/cIlpz7qHD/Kf3m520rbFl1EjQoQHc8c8L1xN2JMTR7lHX/e1vj
lj073PU712AJ0jrw7pqRRTs8AkYbHnXFW8SWPbtA8gJ9i/NAF4I9pKRzTmIwW3yvK5Zll4HgVdaN
hW4MAvQDGEqXA13EuBsS8f363Ky1b1lu2qQNssIUplVOj8GA4oauzOPFub/e/Mrk2AUgMCzFGhBl
n7jXgfLF08GuCQpy29TblR8Bo52pHV/inR+qsFr3WVfO4YbvXPt0y3C7UDXEsFSdArxHnXgUzntS
cHPjxFiGGwYgwi5RJQ1QV+IcBB4BjrQNt8x25Yyxay1YCfKgYUnkaZgYZP8KDdWEhZ6DqqA7NlVe
Noo42i0EBL7X13klT+xHlgFDwBa3cVTHnqiOF/+IGNBHpo3XL6hpIMeIenxfEyYfVUz0uK/w+Lcf
DRi8rne/sosjy8JjxVkfBa48ebW8H339MIz8PMfVRlC7coxGlomrGQhj7izyxN3Rz8a4vZ+75OMI
eCcJb6rr+5NailJNQaFQITBD+ifHa+v0bVK6/3LbBFlmLqHy0i+zxu2r1c7Oj8Zpj9+GjAC+u7EG
704SRCqsYxRvZUWPyvX6LBWh+z4YDqwxX8tKVTvUxm108q5RohPLKImbNCbwVXOey37IQPIy77QM
p1uMEq1bRulUAcgWOMFTmUi6b0vIUWUMsaLK3F1fhbWvv2zfN3fgsSi8pgjc+txJmiWquUfScCNZ
tda0ZX/NMDiDM8nmjEzNXlXBr6kQf9321ZZxdQQc98YVyzlowS6uqLdTqtsqPHvfcWDOLdsCf/0U
uJ2oAW16BQyULPXzAkjYVDzLpn+aZwdvrz83a+zWpsnKd3kSD3DGL4p8cWibJcILMj6EW1CctdYt
K5viSfcANE5n11lYZmg43HVxv/VQ+W6COwD/0e+7hy5g5UVVW30GZDJ8Tt1myRaSBCim1Ac3Hj+x
to0OehyKTM7h1gPgxbD+CADRqWXVSekJ8IlE9Dz3YAzwSGYaSLF4Dz1oGZfZ3zCM96/16Maya+S0
mqFMAnpWyUIfvVCZl7Ad+A+lL8zDYZjNvcmLKjpe4IJQCXhy6U1BBPRQrGl1HdUoLWaST+XwhFsw
6p2jf2+yHDvXHoPDsp270jvTqedZ71KNyG3YAg6sOFw7w+6OdVOVeNQ/L/38tSxNkSGZehzSFLSB
8vP1EVw803vLb7mVviILLUiJPkCsCLHHGQpncPK7RaEi4HoX78YqWHrLvVQ9NusCysBzH1bqoddl
cbeMVN3NdbccUJNa70avmPal4s7GA8vaoCyXkxKAHwbhLOeFVScv6r+63nBO5xtdsc3O5QUMIgm9
lufRm+VrUfD9GBuxsSBrs2W5mLSNVBLEgzxz5Yo7vyfRPi0j0OXpGvcyo4dDHTIotNWcf7m+Pu87
NddOn48TQvc5jMW5Sji9p6WYHl1iqo0Ch7XWLf9SlVqQ2BkEiFtKVe2nIYm+qb4Hu+pNX29f7kvP
lzNPJcnDPil3yUIex7Z+valtOz8fwcEXcuTjOUBMgpxjzJja+wbVwhsf//5GBRvR7x4fchR9Ocwi
yb0hPITlmEVQTiR0S7xkbe4v3b4JR/w6ipYKF4Xz5M7Orom1sx9CvcX18P7JgefX31uvG5PUZecm
eUq+0OUhDNs77n4i+qOh0/H6ArzvAf8Q1It44JpyCJJ8qZXaLcVz2kO/KwIlHVMP17t4396AYfl9
FBTkNUACMyyB0z3GrfcSYkSiAvOG5OCJjHs/m4pgI422tiBWdBKwAlV0vk9yElZQDBY7zrbof9aa
tvwG89OJGJzfeaX9D1M8f2zH+O76FK00bafkqSrKiaOCMb9U8nAUcaTllkbvigH8kWtPvNgoqNzk
naAXae8D192v3uWH277cijqcOtIVrxxMCoF0Z1XFJJPdJlvcigHYqfbW82k0NiHJBV2evJrfL4uz
rynfQUX5G1XThgddMYLEsuJQQTEjForkbg+W+HmUhykmR6RbZqh4RbckQy5kjL+bgdYpLfkckJwT
8wX5oh04JzdO47XtY53/XlkXesY1IB8SjpqG8AFCU9+ur+/a9rGMN1LChZQ0vhpg4l2pPrvyVeA1
4nrja8trGat2LySAySVuTNuDj4eaDuogYAdBFVsvbjy+bNFynYTQfytgW54MXvQY7ZNYbgVeK7Nj
Z6bDdJg7zXA08iCEqJCZnhlcDrS6NlznygTZuWlA+EhrBBYWbFEfF7V8aIvkYWDlsxTmWOp4S4tt
ZQPZOeoo9MsmArY1B8XZDofO/rL/r6/x2hRZ2z4qxrHx6jTNJz0D3RHWDmir3W9DONDbXJBNWNR0
/jAoarCL+HQfhXgPV+7GBl2bF2v3iwbIDhI4RS5jdjcysoPCyka2YW1prb3vLcQToGz+Py5/Zv+0
iNJxuPfdhyXceqlc+3zrxDKNKRUkA0k+1zzMLqdhkHhb76wraQdItv3u0IKmDKU2cYqTZXopJhe5
3azy5Z3q9H0YTi9lrPIZKeBsNBvvxitzZierhxKkELyrh7PPxGfO9FdX+V/A+lntRqjBbOuIrJwH
NosQiD+NBCh+PLsCHHy1X837SdViX3Yle5Jyw7WuxEXRpfc3saMYpUj7qRvPVRydUq/9JVx/F0CR
qZvEMZH0ozHy7roRrnV1Mc43XYU47103iPozWK1zqr19RMdd2/uPpZD3aVTlYH3dOIvW5s6y95Aa
d9E07s9NEzyXrH1JuyRn5dhmMyAH14eztg+s8443RTE13tyf07Dk+yXpvrjRbHZla/ihRHijQH+9
cX9YMSE7b906nm+WDkRloC9SL7Iphxp8hpzcVsXr2iQBgwYD5gAZwjMZIRA3o2zaxUvnjfZi+Zie
xxPyyUN/DgDj+DrO+dhyfweN5eADUenyGEURfML1NVnbYpavKVDxPTsaa+Jz2t23jXL2WCX1VPvd
tJ/rSB5C2cusW8bbiDPADfv7pu76hpQLKEvPQKZNgLaTsU6yFvzT/caQVtbeJjaiyaxjMhKc7iFk
bsK23KXCbIUOa41f9vYbk6RxPZikGNjZDXn4oQZL+SOezYvn66vxX+XIn1kn16Y0iuuQ+MtSwNrT
vyb2kjbe/YzEXAzZsS76gTrbwf0EUraShGAPGP5GzA6adXqngk9hUwCP+/0S7014BG/AYeuFD21F
PkeQCYkdFMBEFVTLt66HaxNh+aa+b0LkAMryTBc3hUNKzMcFBZIbmLkVV2GXx3pRWZAiXfT5Ii7c
OsV5JM1RKPY6+/FTONZfrs/3itez619LsEl2vleLs/DoyQj3I+rlPum0OYmI/n29i7V5smIRw2Tt
sG4U59AZvEymIUR5ffbjtsYtTyFHD0DGuhNngNp+Fo737Lbtjd9tOQalkIABC584A7VIX5J0hq6i
LLdUNlbW1y515UJjIkiikfwSY+Y7XdBn1CztnVd0CahtudwNRgd/3TRNdtUr7912Hi+vE31C8FIe
QKsoKYJp46y57Ph3bNauenVd4klvHuYzyN8+j0HzoiDOpCL1z/WPX9mjgRVvkCoFJkTiNOasPsZA
9F0MfkrEk1uZdH+9D0t/6P8igS5avr+7tXAYKgjc0urcFuc0bXfwG3dV8ZN2DzWDxFzj7giNsol8
pRIqvwxa3OCyjDYv2WtjvBjPG68qOy/V2oClqQ7Uc0zkXU+jZ69Kvkaiue1OFljBxzSoGDqAJM0H
bz6YcfpYm+4Y0PqDbEH2mNyabgose5d0UVT1IOKsKPbaLEHLSVNI8VxfqLW9Zhn85M+1kCOT5yVK
Hl0fwlta7LV7WwIf2r+/rwMrUYXMfMLP1Ti1u5L2aaa7YutatvLxNvMRKvgRZEYLA7PS8Kwi9pou
/gNuyi/X52ZlE9kV3Bwz37g1jmZo6f7qAZ0DnyvOTQF91COPN7O7Kw7dLt4OU1SaFTNh567wnXtj
ymrXkbLcyGmttW4ZInMjA17aoj5HTCPGd+lOdx07Xp+htcYtM6tbLUCr1NfnJo78IyVJmHVVuMVC
sta6ZWGdALOx0VV9dgKeHMZUt0ev11+uf/ra3rHMquM8qRiXFCfdcCayB/W5fkqcZcM7rH27ZVd9
GCYuRLUo2Nzah4kG3yBbvMXy+H6pSeD+Uard9S1E/RJ6lnO069Iwo9G9FwR7ktB9WNX7pZ/2S+vf
pfxVdlEWgQiyGyC5/RV537vr0/ffq887h5Rdz+01LpikYo3XbMGydniop4NfPDMDbSv8o3Oo6UFD
0afPkj/NpcnxvnDPQManyZKxIt0t3U9gXXceaBHkvHMblan4Uyk/MVkdvCHOfPqrbXSGQjM1yqOs
vy3BV2O+jcXL1H2j7FMSN3s0jc5m9+uC6zl6I5HYVe5yN8loZ3DDScHQNzefZ6+6A6PQYRyLj34z
7JCc+LAU7T70D9AKzKbhIKcmK0V/xiDmFCUI3oeC/Dvp8+w9Sl/tBq/a6wAUPtX40EwHNT/MpH8q
m/iJjNMRQIgvdPrvo8dyi3DNkjD93wPUrmVPO9oRJ8AGQlnRscBAuljsW3+GJtNf0vGzmX8nQJ/h
i7H4Syszf+4zz/1p5JLxQmV+uZUUXLEUu/Q9FrQBuo3TMx96kgnlyKwAC9xOgXJ/4xRaid7sunfh
9yBH9p0KvK6gUCgAwqinJasS/7Go4ye33AJHrA3l8vubsEBFMobyx1Cem3nAs5PfjlkYTw9jDJHo
63ax1oPlER0B1REtlvKsA+yFRtNPyVRWMMH09XoHK47FLoAHBZpXsxBDoKnf3pd0qPdt2gf7662v
fb7lFQdeKbIA/5DrFNsJypHNXodVuW8asfX+sXKq2rxPcUf4TDqBeIZPR9XQ3ITksW3ME/SB7q6P
Yq0LK+ogpVhaXvM0R+HqPQNqyI31h6rr7notPl7vYmWi7Kp3DeZ43Qua5LNfjHd+dYLPce9J4W1V
Wq91cMmvvNmqQUC7xp15nEcBXKAwLxD5/cQM3zif1pq/WOKb5nslqqHwyjhvOsOzYdLJ5b0Lvize
SJqs5IFsACCwLmnAJ1JAl2++FHguPxu23Gs33keJ+sBE8AOY3a1CkBWj+O+gfDuagAEkiQL4PIin
5G9FRVNlCfZZumHVaznu/645bzrgveP2pqqDXA7pATiU782QnJzG+xeKwQ8MT0vgrSuegnm8U036
7/UttrKL/1MnfNNnUYmaGDmhkqUxXyglD7EkOzyT3Ys+2AgOLymydw5xGzHo4Rm1jkzk5V6b7ogf
fZf1kgHd+jCU7CDIAtWQOIGC2jjeZpn/gdbejEkJp4aNNCY3Iv3ppPMxiXiVzcn4Qgd/y/zX9rZl
/svSFA5PLjGHSU7jBO7CKPrk4NXm+rqsNG+DB6G4zQJduiYPZyc9x3PN2j1lVdpnEPeN3Y2ZWtty
NlxwHpIECe5A5tpvdrxZDv1cHAvJHyqUBHaoOm+m/pOsQJEdm0/XR7ZiRjZ0EOTbTrsMvsx9gqDO
95df6ezctpttAN/QFBJUkp7MW1rdi4uQXO2HLx1YBcZEH277/suKvdldQ619DTExmZtO3i+KfEQN
64a/X4lQnMuUvWkagoxlP7FJ5ihZ34Uy/RvO7ViDmaf1gmdg+z5fH8Ha3rKuPJWfBNOYtjIvGTtE
XfoVCikvEeX7682vOGXHOt6p0HIq4lTkKIP5qOv2Hy9qDykKzKDDeA8B8Yym3caErY3EugClrq+W
poxFLv3gi+Ljg9NWu1h3G9nEFc/lWDbewCX1HS9E3jF3OgRNcznE5nRn2iK6M5X6hSOhOE0QHd0x
lzcb/vL9QTk2hmBoSw1J60XmbGk/hAu03crIDDtB22/XF2ilAxtBOztEmtZz+xwv/g8kBXdYixdB
EEa3t43ABvERU8+QcnT6vC889s1blMlpO6JuNaRsw9Lf9yKOjXKEMEYEcHUi8gu9axaHqIxxmzne
OIrfX3hIVP5uiAvg80bTUORjjEuuO+7LYdmNkHXMYs4e07lB9ZISdwPEM64vydpwrEjJTXRTd3HD
c7cq0gzlt3WWyGZLymVtOJfD/41fCUKxwO3WPB/m+wJp5Fm1+7ShuJTe++5T4vNsnDeeQFb2Vnr5
/U1XdVLJMXQpzyn39r36HmN15vi2VzjHxiiqtOtCKdF6w6C0WpCGY1WmcsOzv++4IIP6+7enoYeC
unpiIGjyw38C0ap/vMTMT50ul59uzMDb65P+qxiWaevau7bulq9UqaqUXsBXgijCA0VsyWV/VzLt
b2mnrXRgg4Z6EFs1NDBjHrOljjPOmaeeIkOi5OttO9dywUsinNkffJZLUZ1gFDlLnJvgldAZ/309
8BwqdBiFLB9x3f1XBZqpzKGO/OumL7dxkN5U+i0o8Lpc983Cd/44sX9dJ/Y3zqaVmbexkO6iClBa
G56HreavpC8ipKU6bwOVsLJXbeIBvxtEWrlll4eld6CBc5in4akE13wCFs6qCLMkkRvefK0ry3ss
Qxv3qCZR8B5/Q/rtFVLo8FZZsbwkVbIDm9ZNIa9jAyMXyLGQtkE/cEuTEAcKZmE2OxsufW05Lr+/
cUwTc1QwGqpyqNYMGQucHaR9ts6LFa+XWJ6jjuLSeKxA3Ema+GcdtdPzPLo5Lqefr+/VtQ4sP5GU
UMTxHJgCvUgko4B5r1zyFC3hw23tW1YcyaSkeFxkuRhBh0SM0JmEjvkDq5wtcsvLdvnzGujY8MKi
074nxmXMp6rws7RWSeZIlEdlgAqRuzEZ+9tAmI4NMERpfQzohOnzcOT/hqH4NnX1Fop0ZSFiaxtx
Vc1JXC8iD736MAvxpRxAqVjUG7a2sktteGHShZ0C5Rqa1/XnVI/HMLwNK+XYde9hC0LLVjRw0DWJ
d3rSX0sCUonCdFncN/c37SO7/L2qpR6YR4d8Hp1HGjUfQS/zNLrJVsXeyoUVMuW/mzG4aZeK+OWA
46YUWXORtuKFeTWC71jpQqPOW3bBNPwK43IHffGt15CVdbHhh8DnSahSkT6nQVnOWROlQblrZ9w+
bps4G9PRxSmpDYQhkCpzcgiGfwJK/FNPzIZ9r3x/aPkP39fdUs3tmAdheqei5tRy9s9NS27zmccE
4sSh4AMyFVXyKAQAZW4BJjLfL7YMeuUEsqGYi5iGgg7dkHfxUO4dMvm7Jg35vvF7+lUHuIiVIMf6
UBun2iIhe/8q7tiozLHWiRMA5ZF73QReFKeCHDNKl+XgsKe28oz7yvnokfZuDn3QxW5EoCvexUZp
Ki/mM7gi+7wI04datoewc+/HSbxeX6qVXWDTDEDAUfsV6YfcRWlq/yA1nZlECcVI+2TjEF/rwjpI
vMhl4UUsNC951H1yvMo8eIu+TdgOwMrfrb9OmCnGZBnyui7d9G5IJpIcFUc4u3F9WTmkbGICh3O3
F42Pgn6UT7ZTd3SFU6BAJoGT7Oi325bBMsaBeJ1KGm/IHUrIX2riQQ5s6Va6dW0FLA8ZxQAk+Sn8
vD8XPHNKcReReouLbGWD2jBIk6DmVyp3yHXNPziT99FjwxEMVRsJl5Vvt0GQiybz4sl5yNu5Tvex
g4Dfb8WWRO9a69Yl24lCVQ1sGvKoDkXmleFDTPjGZWJtYi4b6k14CWm5The6GHDvrbx9EUMuL7kI
Js2F5xxv2ja2qqPXtoED5dEhrwaUghynMmEgZO0SuZU3XxuDZV0RYFoNFCiaHBmBvI+6U5u0czYS
vUU5sbYA9tZcXI50Gsx3dpYnqtNHosRtNmVD85opgva1Soec4PIMmlqwURLIhHy6aeptKN5o1ARo
domshj/RrJOy2tU83tg6K7NiI/EKVYEloEFSI2W82XVzWu0o2XSZK4tqA/GqcJIjgD5jjmee+VvL
BE7lYVz8n9Is7PP16UnfD+1tHB5Le98V/cWhteUjENls58jkbzKIL4VvTmqY9lHBX1rnxnMssDaq
KJvJFygFzJtiPLhR+Tev9I/rQ1lbDOsmV/Iq0SKCg1sasQfP5gF4xdtCPBtjV5ZQ6OPh2OfDQFF7
EfveLoSIbd5Ny40GFlinL9QPQCwx9T2AMOSDaKfjOC4bN5OVGMwG2flVx/rUwZxPC7KHrmv6O9PF
7REaTsne8zy1qwuMIx426YJXzmK7WiEIeVU1Leyi7H0k+7CD5GzCrOT1fpC3Fas4NrqvHRs6GYLo
NZ3aA6gSSnAC00/Gkbu21W7muuwhIebr9c21Yos21g+5voBWRYcs7xj/gzKJOoMK5LIPo5vouwLH
RvkZXhazg7KRvPJ7c4COwa+qRq76+tevmMYfqix1SgavUTwXLmD6THvDgYue7a+3vjY3lk0vTtcq
I5AB94vpDpeh+57VP0Srb8sl/qFsiLgFzGm6zUFtLh4RuUe72ARyIxu39vFWRFf2xQRRgpYjbgn3
Imgf+5C/ELYFmF+zBMusl4qHdZBcmhf8oKL275o65zZJ3J2qmxsnyDqbByOHQjU9CBUF3bNUPnbT
8OH60q5sHBvF53MnJobC8XEpGmAIyXMCYrbDbY1f/NWbwEuMpkg732E5d9l4F/cLCmf0Jp/i2qdb
IWNZu30fNsi7TQn7F0HAPRtuIppE5GZFjF1Y6xYMy30ep4t7cAofOMWk38q2rexIW4iQEhNBEuLy
sKBIlrblJeXZP1J//HJ92i8T8E42z7PMdR4a49co9Mp5NCLBU+Wpxw4zCnpb7n6c+mijcHVtGNZx
DEhuIkAMzXNHs5+j5EcGDHziB7cdybYEoahGsHulyBTW/pzp6e8mfB3LraTwitXaGLSK6iUiIby9
EvGr1tMJBflfeuPe97ceyp5ltA3FJnKZvqSl5NHp289pICH7YZqMglSvi9QxZFu0ESsrboPRit6U
rKe0zQcFELAX34+eqLOU1j9BgfHoq5vYfAPH5qVLpNd4JYtY3msQU2Q11TXedlWxdfteG4dl0ukU
g+AVnIB5whOG0179IEl9Btj0Vzr4uYRax3ULWdm6NjYNL2+pSdOgzVkrjiQoHoyqHtPK3/B7a8O4
dPvG743VwmbPubwYO/2dLPkzq+UBRSjf/LT/kJbe/vooVjaxjUkbZZnKsp/xijWL+kEXlQIUaKwe
Aqf5VPS3Bq42DK3mjpoGU3DcUujySE0/ogaylr+uD2Ita2xD0Diy0R1Swzwfm/Ip9PSwF1iIqa0f
xqH7pP3lOE3R/cD9Qyr1hutaWyDr0HZn4uIuUfZ5y5L7MnBfgbW+B+Pmx96d7/q02hjb2jazXIBC
iWFJGlrlJp7/EmF9xBXvkwTi9frUrTRv49AUi0KNqrA+TyHkbhb/WxR0L8IlG7eKteat05tKXQfu
CAc8t8VXEBd+iRHmQ+xpI2Rda96yddF4cRzObZ8nrXo1i/e99Lud7wQbYd9KdGDDzXyd+JKPvM9V
X32syXLSYtiC5q61fRnSG/v2+8Y0Xd/1OSvK9Ic3+eSLCWvx67ZltY7vUC8dFXGCNA+7gIAS7hbT
IaynCPVxTS265+vdvDsIKHlYMc5StyYwBXjTwcD0d0m6H6wrNvzfWtPW/MxgQ00LNbW5iUCn5ge0
OYKVeuvFYa11a35oLN1Ci7jMG+7xBzCjhwffBFvX9HddA6bFimoicOqatuVdPqrRPTYqaI5DN9XH
Jg7I3llCIGIjv7u7vgbvczWiN+tyQjhrKo2kcE5Z3DzjtbV4pO3M7vwySPZKAWqCZHe8C5kZD4A3
dXsv6tRjxectabJ3JzNwbMbAJFRlQBx2wZtxJ2OpDneTuZG2ybHhhmlPy5FGMMKakCHrpxbFK/6B
hagD9dzHWZKNeVwbheXPdQqwv1M2fW4AkM9qKH5k86V04foqrZyzNtSwrVnpFXHD8llFX4o5PoQg
I+Ud2xcpXjJv6AMb4ZK+e+NSONdx6lGYjJd4rxzypwbBztQB/b9sMlmvbW3Loce1axQvQ6h4u8PX
irlP2llyKCRAehBCk0O/cW68uxgYiuXYtVOE7iznLp/ipslA/B1lansxLj7kj8sNWreWWlVx1zs9
Y/ki2w8axN9ZH8YfWvAKXV+Ita+3zux5jiNZdLhVFkurj70zO8cggVDmTa3buKa56Jk3zl6dBw7Y
r4ui+wFZr4frba/MjA1qWpbWQ8F+1eQzWeIs8VVWVvI7OKherre/MjM2rCkK/FG2HTIdMfhoMuHz
dtcVm8xT7xoZpJ+s4wi8bsSfKqTx+wGMX8gHfR9J/wCaqy5jnr7lDQudXKbujZUJwDc8rypZHutG
Bnvk3+mSIW7uvt42RZepe9M+jS/qaa3bATJIP5WF3PeAo25snbUJsg6mRi1RYzzZ5WB5vZOsfp7T
5TkFQyPE27cw22t9WMeR2xM2d7HX5emcHqo03Yd1cqzH6Im6yy3XeiyBZb9RXF8ueEGXt1H3TCvu
maOoomX+zEGzUvx12zpYRhxo4yoHqK+cKumGWdVBU+rFxFG7lVRcsQUbS9My8OwFPGryi4T4fpTd
Bz1TunEWXPzxOy7OxtGADwzonEl3OeSZoJlDcADwlk1PpWRJphEZ7NqS8F3aBluc/yvDsSE0lPo4
ynjdgcErCr+ZKpg/lGTRG45pbTzW2ZZ6Je30AIkpiVcP5RVfdd8+6JnsVV/ntaxPPR1uommCzNvl
G95YoHSWKKgDnHGtE/oX+uksXdLocNO2+gOwq2VEJBfAaie6Ojpe0O51G24pk64sgg3CG0Yv8hXr
kc9MG7N3oca017PYopBdOR1s4F3g4z4U1sjWCWjDV2V7jsohyobW31+fm8tivrdpL6N6M/EMXnSO
YgdxM+QpmgLb09WfxSwOQ2+ysWWQXisfHfBLXO9ubTiWN8TsIPXRIfcxduFrp0oUYEG2EsyOG0HM
WvuWJ3R0P5KIM7wqx7y5U547fvgfzq6kSU6cif4iIkCAEFdq6ZVyuz3e5kKMxzZiE0iAWH7992pO
/cmtIoJrHURJykylUi/fazrhH9Totv/enoLFLUzkFGDyqnEHWl94WT8qIr4CwJS6rv7u+ahH8ulz
w7ekjWyfMlKyCfiyWYipuThL+y1fm4celdQyaJ6pN38KenHAM9vd7VlZrNiESfE50IpljZNyJ541
2hmEAicE2uQ37Mw2FeMIrxuUDYRCcFzWFvqW/d0k3ZdMqxOvnSc/DE+4MG0AjmxTMUx66VQcuhk2
qMqzb3EeP8di2Hqws9iXCWZqspigYsPqy9qof8uyesgz9VpiCvt2wTBfrfE6GwqJ4UVROsma93EC
4N+yqzcCapfmKY5VwatUXF+AZb02XU2Bm2Dhd8pPxtQ4wB23dMuJYnmUlP9CoQnF4Os9pdqi6bIs
v4mVmsVYLH6FAnAQNed4ockKKqpEqOCf2+tvSaRMsFS8ENm2K8anRH/qRPBMuvmLHMhD0aothgiL
eYaGU0tvnQteFNVFjDEe1ty6OrJpXyulH5u8cagttujbLpBuco3W4LEbIcKhtsCCtvU3vJiBIVA1
ipX/FZ8QfM4u1WCwKHbeQU22t9EredXmeXUpWQs2eeFlCR7DttIl2783Dh+pGXG8ATHIn/iRQ+0g
oSUuLTPd5MOw7a3hvyHncqIz9jZ2oUpCRfutz8ONG67t3xu+q3U7dbVcqktXeRz9KVVzcKZ1RrJB
io1DwPYJ031j4vlRiSKaM3jzy4Dz4NTVVL+Os7eF+rZ8wgSVdeDZh5TUhB32+/lE1padcjL1Dz3I
8Y63ndiyCSayjKwgs+k9gQt1JQN9qEkXgSShbkCucvsDV099J2cy0WV13HKJDKy86Clcj1FAl9Mc
ivDjPIGHLSSqP4gaqfi+j11D1ZsEDWqK+aqjEVeWLkupOyVQFDhIUT+Fc/2KloaNyGdbtOt+vflM
F4qxZ7MuLtLr/kIl4rcavI0Z2Ia+/v5m6GuHPeruqrrwsdAgYeAEBJT9ViOmzaAMp56gsOZQDZsd
uviXJupUBPFj7Y47w7UJMVtEEEPABjcTErRPPlifE+jAbD3M2izJ8GkXBXHSTci+wwIVauV7D6iM
PY1VdrdC4GeM1PG2Edm2wHBsN19aLWfc3tE28qspsxFEwuWWrLVlcBNUJr1KRjIKKwCYUdFbp29l
vNkkYtldE0u28KBeSBdUQIn2p4AEj5mff9fV1sO17a8bZ3E0RmSQXVwB3IcYMTUTOPRqd+eqm9Cx
MAT0Os4HnAYh2iucWLinuOFb7La2pTE8Nmv6iBNNqgtq9F+YEp+iKvvW19HLLpPxr0v2xmuXlpes
BCXHhdCiP1SZLI5DCI6qfaMbXgvQsqBLiWNggjrNp2UN3K9QJav33QB84xiOQyE4bvwNcAKdTmnD
xo/51A7Lzj9veK2HAs7cjwB1e24MYPeQynHaeiWz7arhqQJNDOgcwcLI0f2Gho8HKsK/3ME93V53
y/AmbmzyUGhuwH95kaJqkrIH7w3l/9CK7yu1mOxnCnSkA4JwecE9vF6eOnQSsSfE/2lL8cvisSap
GfOdGRiZGfltQPNjo6B1CjbPrWBvWx7jsJ3btYvr+hrKgoweBVCy9zrOfrq9+r1v/a8ffuNVjYxr
KEnN1WVg67nPVpr4s/vSo4Kwb3zDa0foU3XF6sJrZ+WdQEHonyrSBkctgmUjSbTtgOG6NFdhGFKO
O1INHqIkj4vwF8rP5ZZgt218w3kdEfsUQK/qohYvQLaDl8E1lhuuazlwTQCZ6MNABQrXI1rlH721
+yTbEW+C830ni09NXH+8vQ3vo2P82ESR6QkPqIXqkfMM7LDW6qRV9EOr+gwya554jnpq+PwjymOV
QKrj/vZXLdZrwsl0y1YK2bjm0meudwx45x8VeCMAXJu2FIGvjvBO6msiySa9dqS45nIuD5G4908A
Npwckr9IkITdnoXtE3+cyboGl6qP/Uc70Sv4pqEW5Bb53cR5+LqgtHO+/R3bal2//8YV22ApVFCi
1uLVuGt6sxoPPYVYfFKSKJ837M32EcPfQ7pAgiLo8CZA1Bfuqt85HlincJ8qfGxCySLkR4UscNUB
sf14lP1YHKCNt/fPG55e1mzEyYbNnl1nvc/c0X0cxg7l+awlG5tg22zD2f2BhOVSD0BAesU9i+l3
VjkfCkFf2tDbOlItAcXkLstJxHOsTHXJy4Bje5s1+s4cxj/dtiNLZfO/EPDGjrib1VKHqrnIfPwS
Mxdcb4SUT31fo+FBrBrVbTnd1eEUbziIxaZM/Fi4TOVY+sDdg8o8fwHXcfEREO3qSOJNMQjLtpgc
ZgrczHUNji/U8cD71/M0jMYjaO0gSKt3zsJwc71WDqeAX12Qwk7HMgyah9CL+ZF2m/0Plo3/A0um
wFBZA1N9yYaoPURibA5LCQnE2/tu2wbDtWNQXwBhhPgBGafi0ITLP7oXAmx847fbH7D9/evvbwxL
NEsds2zFJjBdHhwKFkG0oOx8lzYRRC76faqGDuWF59FwKCZQ0wZZ9gXy6IBWev5GPmI5b00kkQJa
OxDlhIJwnJ1k1B09Xz2Laq2SsYlPkdyixbStlZGSL4vHJhK55cUvJXyvCLrD4vJ5I0r9d7y9c+yZ
UKISSoGRCgFwbgGHg2DkaSLqUHivgr5ysCM43Y9Sz+B8iJ9mf7p3x7/WMjgM/GvXVvfNPB1KOdwt
wS40BDMxR5FyV8VcXFr7oY4e4yKqP/Q87jfm+r7rM5Ona4EQXde7eCJnOTtX6JlnZH4Kq+EejdzH
PYbNTKTROLXULf0SjUNZq8KDpNIND2ug/F2cVj4zITW50mXnd3ilzoLuGFFxLvwt+OX7Bo0T6f+d
sljn1XUoAF+8RA0LFJhQGCrKu5AybxaJJno4O0Svy6le/SHPdq6YEWv4StulqXBM5h59KLn37MXN
xovp+8cXM/m/JhC7UMdT9WXM3AqcjsVwlD6EeEjtyVM80PwwKZ4futGP7/Ztv5FWEL9Xc1Vg+6cl
LkBJ7c5P88qyDdTC+5GA/QHNjIIyGsoOZXLIuEBOLhenQLfFrqoIM2FsjQTfg8QF9LL0zUMDmBuc
fpPyyPbXjbu/ZivoUBaUevtq8e9ZHq3JDGGf065lNzFsfOnQndEiDSrb6SHw5vvR3bo2W/64CTEL
nSgqfYk/rvzqZw+oeeNtJqGWeGQCzDxSo3TZtPjbNAc3qHpsaXFH5zIt9xEQIVwY3uWCVBMaRlUF
EoOCH3LB9QGcN8NDDNDOX/sW/7pyb85yd2hCHxjC6gI+7vzLqvAGm4C6aViP+8Y3fIp6ma+DIisu
jePk4qAX1buJG2Yu38h2LHGPGYk685uJ9mFVXhjPntuQvzh989yR+g6yw+d12hu5jXMc1Og4WaF6
ccElrDlX2dgkHOLDG6t03dA/j3Fm0oCK0a1cXDeuCWGLykVQPMZR9bsQ864nOmaygPJuHsM8iooL
B4aQ+O3PKc9FgveujbP5v96ddyZgwqQKDghnHcGH2VIcgnCekqxDXtXryxpnf1/xzaNTf4UQ6HFZ
o+fOI4dg9H43pP5828wszmgiqSJIksW1khWIhkP2j1dBrfnIitD/UK4j+57Rdiz3hXETVTVBbCrH
mOVlJWqEaMIQP9NuiPZ05vrMRFXpspmcmIfFJSeMN4cRvIh/r/WyKbluWScTpxCSWK3lXBeXLOry
gwz7n+jJ+cBa/iOn0cbBfQ0d79iCiVWIwJk852NcXEIIl92HFMh8x29+3t5oi6eYnGz5jOaVNYzL
y9wPn1qRPy5VCMJZf2P9LetjcrIJ2rXzQEgBbrwI/PXOk0eDl6b0D0OwVYm2zcAIWKTLAfFjqHRP
S3WeNapucxn8yzK16/7KTChpiLdMEY+AhDsQcgFtlvfazngj6XW0cf2zNJkwE09arnSCOIGDWjoK
PycSut6lz8f1Z5RRfepGh9+hjwEE9plk3YH6EzkMRKI3bql3KfP6zMSXklEXzdgVuCOu9KtDsldF
6n3+baLohL+wgVLczevZaZNW++OZ4aZxum2+76MamUk1VksJjgaJzRE93gZaIn/movhRF1fQcvh1
Wumz6ty/l7r+cvt7FmP7Az036WXJHFw4AhVm/nHufF1+yVD5oyep+4lufMbi8ibZ2ERQRXTGBYuW
td/WCsCYzsl30Yxhs68ffZOiNLkfctDyFmAjiT93/bIkYUj6XXVQZuLmoiUOprJBtSGWbnmegNM8
xIL+O0m6BU2yhBRq+DvzVAe4B5o0ryHFG9VHV8VJxeLXDE0mO2dhZCdIsuaRhU5xaWcGHjChzpTl
HwbX3Xg2sJmRcQEYpwDYsBZZXFuEjyDo/gUhjvswqjZyOMvwJvIMZFp4O4NA0WVcp+juKjB6JGPm
nXLdV+fbjmDZBRN+5obeFIFztrig9+Y8d/rkl/53QcGrmnn7ro8mZ1e0QnOtW9b8Eo7B2W+DO2fd
iLi2P294gJ+BjZzj8emyXlXUQeeYFHV4NyHLAuPDzm8YiTp66ZqhLkDuAGKw9dgPQ3Sg45wnhZPL
Q1aFWxLLzJIdmO7QT9KJ6sxJlwB0cnN1ZSDxQ3kOady8RiwcIEaItoR1DfaV2ZlJWgnUVdjDA520
DuknsPu9tLF8vW1VlrgXGn5RVYIIGsxOqnXJj1KK8dgW7UY5zbLrJiKNqTGmJIeJIpR+a3reARDY
vkBP6Yvo2IZjWyZgQtL8DtS20ldOChr/LMkU8ZKm97aINW2jX+9sbyI3j9xqVotw0kgG3rkWQ39C
btJv5GqWqGGynYVq9LNQz/ziC3JupNZJz/Rfq5xOtzfXcrM0mc6q1aeV5IpfQq4elQ+Ztqq9awLn
0xx7X0ayVcO1LdL19zeLFDTSzzWZ+IVMLvSMenc8spDNG4tkG91w67aRa+N6mMTQdvVhdFV3zLdf
XW2jG84crKrGVRsbzNal+FoBwnoEtX22gc+zbbBxqpVKem6pSwfCeEV4hCG9dFW3HMfF3XBfm4cZ
7ptHLBqgsJOlVd69OGJ8QmvUCfCNMtHu1muMxYpMEBpf0YQYc+6ko1d9hXLbM5u6+7ZD8W9gr06n
dr1nMBOPNo8robNu+cWh5L7z669BvzzlopkTwbP+yFnx5bZXWLbc5DVjXV6KK5bjMk3Tehp9v78X
seduZAK21bru1BtniP2GhcGE0XP5Ywh/LsUP4qXewI5D9nvf/78a25svON5YcOUhm0QW/BwAR1OE
cuPP2y5GJjSt01HjUc/h6OfKohOukfHJcwEtbVC6e6wcNQCU4soXVcf64EeiPNEI/jhqqe52Tc5E
d6CmLCno40FlIL36IStZeO9xFR5vj27xRxPGAWL6irl17KRzU1BoU0EHG/jZ6QjkRXt/+xM26zLC
1eDnPudLzi9Lx3usTKnP/ozq0e3RLf5uwu8WCmmfBXVOIITYoxbDeOQzSb2yfcrZsLFIthkYQcvx
YL4yYPzC3AJvfbpRh6wDY+LtGVi2wBRqpSKvp9wJsME1x+X0tQvGQ7AWye3RLf/dBOHF4xTNk+fl
UIYWTZIP5KvP5UZVyJL3mQA8F3im2Kkw9hyW91M4fcdzOooFQAGV0fRlCJ2niA1iY5ksG22C8caJ
8ipgY34BjqlORoTZI6qr8uiUWj1NqIHt9DcjXEGg25mrQOWXaPHGQwgSikPA3M/7duNqA28iVVXR
OiejyC+gHqeJ0/XrYRzIVlZssSRytYE3o0MSHhKpM5ZoGMRf7jJ+JTiPdBBuXCdswxuOnLdxI4O6
dtI+gyh84HXNU5zz+LnQTG5UamyfMJIPBg7AqXF1fhEx1H/94qKL4RmdNBvJgc1gDUdukVmSzmXI
7Zv1t3DaF7/0ftZheG7W6QP31Ed/nTZihmUmJngNHAjxVHnESQeIkCW6yiHN1z7NfP5y25IsU/lP
EvjNXkO4MqZDXecXP5yPpRs8ZKsGH6lffIqkuK+kuMsnvpG0WWKISYVGRm8ps5rEKacQnyr1PfPi
Da+2DX1dvjfTqPy8K1u8cl9Fkr+tIovOA3g9d3U4MhOx1hRMTxVf4jQSnjh0eEQ/6qbONyKrbYcN
dwAQJ5B4QXXSK9c8q6KvGavPpbvufOg0Sc8aaLkqt5ucFE8s0ecCt+cXaFc7W8BySzw1kWpLMUVs
9ZwsbeN8PUCwDg0DbGyP7iIXCGNvtRXbNtjIxxk0jRqnQz6+0EY9+GVb4L7obBGEWUY34WnjGuVF
PcLLGgW5pgNuW/O5jevNnpn39zj64x278Vy11n2cNujRjNBeKsc5leuWSuj7ThyZ2BFNfaICPDch
+2L3XaGTuS3uO2c+5rU+FD0DIJxsRNb3s3Dcgv7f0WhJer/38KmeLI9XAJHmbjp0/aFxsrvRcX7u
CUuR+YIu3b5U/eIzdI/hMUpF7FEu8QcqyJL03nguuHu3ulu7bzFhEzk4zUuOl7U1SzksoCqKT1nB
m8Qj7WM2b5V63183ZsqdUlBjg6jXYSkoIw7wSZpAXPvOX8SZZ/wF4JwtaRzbZK6/v4mE4FoTxTwu
WRqN8izy8tjK9RsrWCo03VmUdY1o2wo5xKXrx2nWRc9e2Z/JlN0BTf359ua/7y0QWPn/KQzC4U5D
yxgCdZWnkhKwpP4gY17wZNR+sGFiNp834m4cT6XixItT8O8OhzZSv1g7bd2HbIMbCYiPYr43Rpql
GeGUHj3uz1nSia79sm+JjAzEU0HPW2CR0qrCc1qm8ux+bWR4dr2+3jj1bBZrRFyC+0+hBhqnXR1f
4rw41VKIRAbZyzUzKHr/4+2pvL9UkQkNXMJiXXQ9ZmkvPcixZSLIl5PoVZtvTOR9c4pMdGAZd6DX
yOY4XQcqIXpQuecZT1/JnGt6t28ORlSMSDbWAVgo0nycX5XjfluCcCNpet+fIxO8N626Wkq0+KR4
1LzPouBHC9jZ6vZgiNvnb1FsuDNkYZos1ypOCwgB+57sE1AFJhPixUaKY9vi6+9vY9IKzlW/a7ED
XDUH1dV52oXe1sO8bX8NRwb8RlS6LBG+3SsLHGhN2jKpiwaAXT+S/bSRYtoOWWOVeCH7VoNtPWVe
RwH9jB5if8EpRB6hq3Fe4/6ejlsnkm1KRvjIqAc9285H9dEvK/9JS5dRlH67jD8GVeSFGxVg22eM
KDI7NSQVRoZAW3Uv14iSOI33Iuv1dZ9bGCEEOZsTBREMK0dem3gF1Ex6rbZwV+8HqIgZVhX4WTO3
KNRikZpDOUffyJp/uiZZazldeLNLZcSPTFFHpgpv5EoiFbmeewkUNylJoJ8V/XV7kWx2Zex1E0Dc
gk5IdbRb/8wUPVxLFAnz6udKTj/CtryTndiIU5YyJHRA/t8TMzSSuLVqWErm4oMEuaiG0KzT8ePi
BZ89NRzXsvkPpVggc8Sr8cZ3LUHMBLH18wpgTl9hDXX7o8wITUKOA2VRZ7TpvNxeR0uQMYFsNI6H
vmMsSpnqKSh61jv0zfXH24NbJmCC2GLoSPou0KhpJenrOpJPgM2hAYv28qjC4NO+jxinSKDJPAPS
wNIIOK/zAMxr4i/FfJ5VQe564ZKNepttpa6TfBOOQWpJSB+MVyMYUVSQUuqfqxPI77enYRveCJRQ
LYeCct5FKQW0IRHiyxx3G++eloBlQrwY6JgId1SUirLpksmXL0tOnmXV7bNTE+NF0Qo1gMAvSice
PoKA/slBiBdt9Bo3/cZ5blsdw91pxIFPLwlLRzAD/e23o/dSZMsWgswSTEyEFyVBvM4VJlDE/cfK
je+6JvtNuvb1ijx2W+DhpnnnRIzgvpaadFmGT9ECJ23Gm6e8bLyNw9ay0SaKa/IDTjj0dFMZBnWH
hypokCWAGoSfehnW+6ilIhPQVReoVCzZGKUVuCw+rpnnHWoHd81dfmACuthay3j19TUgsQakcXMy
5h0/3R78GhP+RFJGJnprreTYZKykaYyk5xhy764k7c9GDGdwUZ56vUXTaduI6+9vYkXZcqVo1NGU
uZBaryn6A110N8e4AuybyNVP3nwgLLiuQLSLD5Tup2gQGgCo/Mey8MMU+XdtiHbt2x+yOJ4J56pG
CLYHIw3TCgSFaVwN5asrRbvxyGpbJ8OtQ3ckZKjaKO2bshySIOyb70Xstj/RTDa0O6dgnN4jc/sZ
VG5hGtROfrxicM5gyd3iWbA0gEcmE1qVDXxmk4xSnUdPQVH+5iM7QDz3Y+vR12j207XyP9NR/5Rz
9/P2prwPeoxM0PGoW5ID9h2mnYTIWja2QcKLfjyuUbAeOtcLnrxqwoN4HtQnUU98w+gsYdLEIdeE
K8i6RvCeuYw+jcpfjtWy9kMys9F9cLPqZ9d78wn9XcDC356pxfxMSEqbAcYPHtowpbUoeyjjAadI
syDckpmxGKAJlENL70pC5oap8NfxlQ/E+RGHvEpywfyNKdhWzcgbitxzYdwBTfEEMZyAz7qPh+bD
EkRnX6JZNciGh7qO9p0Af0Dmhtxb9DqEqRbgw5zDA+4oH/JxX3NLZLK21ejOlx46uVO3X8ZTSBb/
oQ+n7nh7sy3poinjXFXrgE6lBZv9OV9ARTM5HIA81nwM430U3JEp5awdn8qqCcIUvRVDErKoP6+L
9A4VA6Dg9iwsJmui43IlOqU9mNQ0N8OZeMQ7x+Dw37Amm8Ea+UOhi4A4ZYx47Dh/oTs/zRdy12bu
vj9vQuTGeK3ziiPc97Ryk47XMnFql+6zThMcp+TAO92uYZr3jnvkJPAf4mlqjoOf6Y1PWFbfZGwL
5dwuBZ1DYFxQtnJ6OR+6fHE3LNSSP5gItppAy2J26zCVQHNexbtc4Yhk8Mf0WsUAwnKj+Pbf4947
iYop0rkIrVo03eBDvnvweF3dr734nOc8R2gq/3Ly+q7oFpDdjjQJaH8XAlMKJN3Zi/STVvy1AZ2o
2GSfthhd4P9/tpGvIZ7CREhSPnPnznHa5qFmOkxk088b9UzbJ8j/fyIiVTGQjJB0GbpfJAg+ZLr9
MMtdCrd+ZGp7lv1AO4+tJHWDYvo+RXX/dW60/rHL5U15T+DRwXELuap0zjvn0ADbm+hJbnX8WYzO
BLxBLMr1wsYJUjqsAwDv0evQ8l9MNSLJXPVvtGwh6yy+Y0LefLWyxp1kkPrFNCSgSH2kYt1XZzBR
bg7BQ54T8jAdnIafQR1b38eq0ufbG2CxHpN/DQC0zAN3No5xbEKtUeqtpt+jEH/fHt62MNfPvsm2
xzCE+dA2TDPX+aXK8ntFwk+3h7b98+sn3wydcTAwqBr/nLD2M1kgrOaBZ1V7O+twpnTnsGZcdLwg
6SwC78A5L55ELPzT7X9vWxjDa+uMT1EZdCSFktOYVCoYkorUv24P/t9b+ztB0DcSdzIL9DkWmZcC
s62PrMWLUFEde3QmBQNabyQBWR09r7r9uujovMw11PvqrczTkoyYwDCtyQqsdRvgabP+qCCZC/WX
n60IkhiAun2HuQkP60ZczcGbBsRcEE8JdJmnAw2LIpk6f6skYNkhEyUWsqEDN4oO0qgfxJ2vwEzo
I3JsnLYW6zVhYatEW1ofTwGwKd5Pv6ifnWj9F/X219sWYBveSJ1V0bIY5W8vBXHm9N0l2AUSFexv
EbAtoTnb+lw//cb/FGFUIeMhaeG6Ryoq91DDRzaWx2JDJiSsHabCzXLhp2oVD4KOSak81InRUeS4
9b7XCGKezbpvPaBuvdQFRAW16CfuOp/XeOtNxbY+hocTPZVZLidghnFzOQ2jmO7ycdjXGxj9QdIm
4yJeAiwKgzh20szin7LsNhbG9s+NTLkFOgC9mtJD5SL8Bajca9NudWdbhjZxu4JMUYdGBoLCPLqz
vcL51Y1bTU8Wmzeha0wpDRa3haT+JOSxKPr+CB47/67gcufDooleQxtrXsoq99PYFy+lpH/rcvh6
22NtK2N4bOeDB0gPE0nbfq7xqCjBxzy74/n26BZ/8gxnXdCMp2JWkzRkefO5a/LotDjh+ByAivmM
B8zftz9jm8T19zcxYZV1tJTtSAC1VOxB9L6XdGzzEmQb3XDYWU593awegtpQQ5lmufLFDuXGCtkG
N9w18BdfllLiQEZZ7RSPujvPVPzaty7Geby4qtW5i8H7vIVmTzA+6Hn5sm9sw1t5VzSQDRzgrXER
nLLY7ZMwj3dWMU2kGu7JoIAYr7dl7YcJW8LfQrdbZPMWqzSBUHqIG7qWxE2XSLKHwW//Dlk8nsQi
i4NbbL2lWeKCCYXK+7zIude5aSgAhyr8czAGJ8GrjYu/bfjr5N7YPAc5UEdE7aajYtVhdmaVOIV7
UWVw3LXBJvppUkTKOcxWlMF4Q5OpXeanYZyzv/YNf3WIN/+/GYKMBZOL5Rm7oDz1soe8GsBc8e99
4xteC0CxBsVf7qJ0AQauYxeV4XJfdHTe1+YQmfxp0KLg/hhnSwpJVwADB1cW9V3eiqy52zMDahIa
iYCyKffEmuqw/nf0+T9yjjbgje9HHRobzjsAba3Y2q9p00v/EXJSGuwk/pagjM00jbAjoSbKqzle
01KI+kQGSg4+YvQ9F+u40ziNCYguAxgTJL14IXUK1B19Cs/dvMdcbeTPewye1P/fNoWO4yWavTUt
0IqFQ6X0Dm27iOMMop175rrzYaWhlyiHyeOUdXUyqIo+jSNRqPZUERr0Qh+Fn31mcC1Tv3EUt8mD
vCDRmgIcDKWTYeL6sWwasdMUrkWMN8N3q5YFK4s1rTxWevdT1QfBgYISYAsSarE1E1OAt6jcXdt5
TstAI1ChfPg0oyp32rc6RhjMieK9rhFla3RQSxL8LUHRvbHylvssNRFjuTejZ7RCDHHRiAmJuDkt
guh0xYy4NT9wN+iTrq8epyj7lFdo0ixBneDsuwjSP9jfHC/qwCSzpgOnWh+7OJ9dMG11RG8s3ftu
Sk1dXqBP46pf4EOOVz2D2Om+DtCLRHbeNalJ9xYv68CLuF3Tulp/N5Scijn43bPw5fbOW/6+CTav
3bVG7zbH389jeZ5Jq84lKdZPBKDdw75PGK43Zlp0HXTf00D36zno+u481sQBmmj5dfsLFucwcebV
IEkrJb6QyaE+VQ7gHhVaJTcM2LZEhnO4TdXFMmhWyFU4w7mMVZAESuhDgz7ujSW6DvVOqDQJ2ibd
tKSvqzl1yDgf57U+84iEh7Edgc3YumLZVun6+5sYtfi8aFrezGk199Wh9wvvfsDT80YmZRvdyBRc
RzWZO9foVCBtKuHyxzno91GmU5OcrSbA3Pcrm1Li8PzjMMXtHd5Utso5tr9unLSOcIGpqemSSjU7
P1ZfZF9p32/lybbRjUO2DVnQEIctqZ9H/gGbrA6xlFvoesvoJpDNKeugFZ7UKbo3vbPT1BTMEd6W
XVpM36RDy6GKTQQfsKm1VOykoKT40QfY+3tPWbiPLZWaTGgZ8yfIKBRjWgdRn7RXFD+VzQbUwrY+
15m9Mfp84H07g1UqbUvSgXR75imceYvawTb69fc3o/vBVNOskEPKpjY/QyZ7vveaeQtjYVt9w6Wm
zlsAeKF9Kqn/UIn1GaQjR2epNpbGEnQi49Lcg9V/WNugT/sq+zkV3V+hCB78oL/EYqth0PYJw7OC
Zo50hjtWOpZ4VeHBx0kt6ApwzsPk/r4d+22fMNzL0Sv6S8jQp26nn9pouRSkPHQDfajkZj/z+1gG
agLMFqHKEA2JmIaul3MvK3EilJMH7bHgmVUyTNyy8L6XbrOPzIP6htk6ESjvZrrWqV92/MyHgd2t
XRGddq3ZH1A27eFSzbFm/sq8pOpKeDUHnkHWAzuBdavZODnff8KjJqitjoduXgdfpaQt2T3aFMME
OpnybvGpSq6Hm8i34CYWXzEhbgtt86KFZmVacf1rypDJYuiWDhv5vcXKTGIyX1Re30aBTJc5+JRl
JE/avkeLbVz93UZiY1ss0cQkKAP1fKw9AYesmq5LCu1U52to3BjdtkJGNGlBh5U5jsZmoErjDPlT
na8siediq7nT9veNeOL5Sx2xBn8/Iqy7+LGHPD7fVGW53hrfSZFMZU+/r5w5HyaVAj30uaqnp1aU
H9DCcVfQ8gwY63lsW0jGDR9vu4htMkZYify6XeMl61IIFv0LZAtQjFG389A2gWxRr0baaypTAMqc
e2Sq+V3Q4P1z11838Wq+4+UZJYVMSen+0y/5kswI9DsHNy66c4eK4rXUmnZDVjxDIJ2WSVQF8p/b
/91ipCa92sLnKGTTLFO/JyCq4jmtqjOJGdTqfVZm60a+bTEmEy8GhfpgWVncpS2Dgaoldg8REBjH
whlEWv2PsyvZkRtXgj/0CGgjJV5Va1ep3Lbb+4WwPTPaV2qh9PUvak5tTrME6GS7YFBSkplMMiMj
lo4fnSJY9lbsS0DXeLDf9nX3xfYqXUC3cJ0HOArd1NSX+zn3/lFoz3Gh4fh4fEOU0pFk1jRkaOnr
m9tSNSGZ2NGfm79cUUSxI1aSBoNf6Egyv6ZOyyuvxiNA2anad6JMvj5+e9Pca8nCrNQMYo+8uVlT
8AK818dATr/S1l8BF5neXPPoDiKZc1ZMzW2Km+8qSNvQI95aI63h3XUAWeNKAqla1dwGMjmHpMlV
yAA9OEJsd2OarFdV+9QaWz655Q2QZxrSGUC11nfXCp6mD9AO6Tmtxb9nidtCmHUsZfE+L2N6UO38
fdPs6gi1HGzBQ0HsGh20bhJy2Rzs2kLrUrtx99Qxs00zBw5NoSpZ05Sf+94tn2IafNr29nezvfJc
JC0S1Fe0vHFOjkouezIUH0sr3tRkw3TcGyjgoVnpL9UtY8EPNHnFYTulHx+/uiEo6Ci2nJUCuJq5
vnmB84kW7Jp66XVw5n4nsvz0+BmGBFnXEK0BJ0bJRyFdtSB+Wlel9RVFS28PUZEKjU92FQL0O3wp
ZjvbP36iab1qwYKrwbMKhxU3FqM7l0yJE5Je0FBZ89oubfooLWAkQT2LyuHVDdfk59hVH/1l+U5J
/GlO22MPKmSc/j4//hpDbNKxbk7moF89cIubTKV9gDK9ja+Z15RwDLbSAW6xcFQmwZp8I20eWTW6
0Pz4ybXjlS3BYCcd47Zk0LboBgyvcF+w88GrfZOydI7oO4aGDEugkc4oeye6jZftOuwNjEyzK0SN
ayaPfOp8JwtdTlausUy2us/QK0e3SjbYsR1XNwA/8xBFi4tftpcFassrCZTpAVoaTnEPrcAChG2I
MfmBSCmfWmHRiMlsDW9sWk3On99wlzWNRZDWN5d3IOzmg/uUKmvZto/q8LQmHpcp6LPqVi7jS9zb
X3rIpG9zA93jamvBxUBe3pRTpre5HsUhU65asbyhn5XpuLMs71UjlGxu0Gb5mtpLNMjkt1jqZ6/K
f+b3gg1qy1kLAEFOQeE4fXn8VYYZ17FoQer6ZAZ4GPcsaX2Ze8l/jeBkeJaAd618mmHGdUDaBDod
a6QC3bjAjn3lbMTaLZBKOSuJpeEg79z3ltde0cUOEG9BfZtqlMlJmrzEZXdJnRzsk3ZUjO2aCodh
s3LuNnz1IFJAi9op8aBRAWHuF91xtpw9oKJfBuWsuaDJWpoLgogenF+U17cuFSTEXUQaQtns/Hi2
TV+gOV/ejY10cJt2y2fRhb1N5zCBQCJaW4dmL4eRbksZdAxZ7/iuTElb3JYWij3XIh+85uhaZbt1
TWnO2AH+Ns5NVdyKwjr5/fjSjOLzJhvpQLJJBk7u1lN1a0ECGkLi9l1BF46WzeS5D9bayA2zrCPK
6mm0ZFNjT6VONckdsW1UPciU9Z8ef4RpfO0kXA5Fjh5QZCBKTuNuyGcJnHGf77eNrnkclg2aaWan
uOVj057qrK/PvlwlsDS9u+ZmXkooL3tZ3RLIXiuQRWTlcawLu1yJF4aQp5OgUVlb09KO1Y0HPQ9Z
L72DC7Dm2S7Sv7fZR/NhL6Z2gQ7E8mbXxS/m2iR0aOxsC6c6C1rvVZMjBQav5po80Znme8/usxWE
psk4WuqKxchVbzXVTaVVc0A+VpxAz9hFsajmFfsbgpAu2VlyH3JG0i5vtOmfbKDWlCd+ScX3nipX
lr/hK3RsWc+nOSU4J95GFv9dDvPeXsazJO1KlmHYcXR0mcwa2bXgwb0JMuzRaRLVDH2QdNin3fRb
9OzD42Vk+grNie0+ZnGsmhJQZRS5Wn6+b/2gOlmZaoOfWZoXDy2RSzxP5Q1c0w3queU85yEv6jVy
hretRHXwQSLjgtF8SW8EjYkndBQvB3uA6oGvrORTPZD8Aqn4tfzp7Y+B4N+fe3MyTim0q6sYZVJO
Q5eUF5HybcSDTMfJjeUoOpR5q1sMLvnrUNQQfxHexrRCJwkbg2phqEQgVmfy79RBL2pn/wiydsfH
cqVC8LZ1mC432o44ww1zg4DNp2pP79l8VdH48HidmkbXsgpVFWiBhD4iGjidYM9Z4x9yUKSs5BIm
L9Ai0pDyFkybA7ZKBYHRUUFSPfnJu/7ntpfXMok4bpM+rqbiVpfXcgZFX4li00qkM3nA/Yb3VcKY
Vovl16LJb3Xq7Uji7pPMPyZjjK0G5QFvm3YM1WnBhnnIkDba2a1qExkWba1CW/bHx/Z5O1pTXS6U
ONwbcn/KbnUDciIq26go1J7O5HNsL5vOtVRnBvMXSC0Ni53ehqJ5otQ7gV7w1APz8PgT3l6fVMd4
4eolbaQ/pbcy9YcmdFg6Fvss8Ko1nKjJRvcHv5pnDq6zSsxDeouLcl+VnRtWtZXultGr9svsb4MJ
Uh1tRUU2x6nq05sNVZ1dYads36Gse9pmJc3PelEEoBqO01tF5yfAh7qDlfvexsE1L5vlpBpZsvhG
xfjc0OEs5NJuSoiA4/7T+jbwvsIr3BhY1JHvKnBj7Jq5XcNIvx1+qM5Imvsjq0b0c96EW5wUsc/K
aXBHtaZfblibOjrMH4rBdwBABIKOfhaye1e61bfHE2p6c21/F2AuwoEFDHXFFJy72Xvy3fHiFOT3
4+ENJBtUx4VBplyMMm7j22jPP/JKhguLQyp/NvNn0rohABu7IQE7PH59/ETTB2lu1riqbURNSIRW
4f1UyieXNrt4rlayOtNUaFm7QyZLjQGGr1WThTJJxjAj1lrvoml0bZNsM8BwoXAKD0gq66Wap+4s
unQtpzaNrjkvSudDnTqcRNSq3qeeuokhODy2umET0xnP4gqdJbFySESoDSXiQPJjmWefKElU6PBJ
7uNBfHj8KMNX6HgxZ5jism+S+FZ6lnju/bIGcD2tVvJdQ5TWUcoz8Sd7rml8S33U1+xKffMa/6+s
Hff2wDZpkFIdk5akcLkSwPCbzaqsRm078F56KAQtYbIs7bb9TMekAdE7BvYwkSielmHaJ9gJxD7w
NupzUl2f0ybQL4KNsJhiH8D3oAQ/3BB/ejzHBifWic9sNdqxkgOJ8iw+3p1YJvF7fxhWMl3DatV5
zxJRU+BTMMmyrofQggBJyEnxbVjEwfIF4AAgFdkWjnSImudK1uO2HPuOP3TPkDtJTlO6kCMdB29T
ckr/Q4ImBl71vSRRpWwZBplUAEStcRiYZkLbkxOPjylJWhIteXJ1l/5S5N2pttptSZ2OSxO8d7Ny
zHi0cIaGN/FcTtCTzeZt0VqHb1nTrNhYYeP0rPni+uyfkndryFJDpNDxWo6jZMrahEQzOkIAnb9A
Mi4Jvba/9kG1EusM1tdBWwP6RycaTyLK8/Ipj9mJJstxRq/wYzczhFIdriUT3+3H2MVmtgwoZKNR
7Uzceg2uZRpd2yohVVm2uJTgUdvF3V4J3oUtTdZG//cW9L9wKojn/pnReQVWpQMqaCAzgyO0NfZs
zA8FP4vBCru6DUfxwQ7ycG6WkI8/Ane4cC/eC//ZCT7M+U8mjin43LcZUttZXd60uNWpeBSI+Wuf
iPeuy348Htq0BDQH9Po+FQoy4VGW1P0lKHkPMoWkP/dVsnY0NKxkHcxVgHSQxTl83KaThcNh4zbC
eyasKuwXgGQg9JGJsTts+h4d29V4ibRb1xVRoaonMpGnJZO3QK3V8Q3m0nnB4tYV2VJyES1+cZRJ
sQto+R3Q/n8ev/39uPDGotPRXY2Pxk0ofYmoYqC7ycp0OA/YasN5ovzoA7l5wIVitiurwNqhUrd2
NfMvROaN5+oQiJF6MqioFJHyUnDyfuzmb2JM98KdjmQke+hd7BKaAL/d7BVS6RK8ZLQ45epYghOt
m29W8sNlILpbrrGAGHz/UYKRc0j2kzfuH1vG4O06IE2qpqOtx0Rkt9YJmh4vEzLxFfcyLdD7M18d
nVNWgGVo7IKILfMnl8ddqAgw5d70NbtfRz7+ANPK0cJVUQZsScUiIjB7fByz4F3VW1E+rQH23sYY
QJf3z28QI+5ICi6DqM87MBqM10zJ5xiMbGOGzubEdQ8Qrv31+FNMc6GFo6D2a8smA49EJsRTki3L
t2mM1cpdm2k2tIjEylEOZZvAxaB70lYxDnJ5lJbuN6HUysZkeIQORpsWwIhzwoKoDoanKUiubVrS
Y1yxywTp2m2RSCc1oxYuDPNkCSKwfh7ipp33RWwVezsQa5xvhnnQEWNxnfYkAZl9NFrggMg6noa9
oh8fT7LpaK3DxejSg2nM6kUUxNY3O7GqKCHiH+jddTur4WIP5Gl7TluvQluK1136mK/BcQxr+T9s
arijUX5jiWh0xs+2855OL1AqROdt9Z4A/dN21opPmgyoOT56870uSRFu557LnRJJt5td3Bw/tqDB
43XMF7p2nBY0i5ieCkivKQC3vbOw5AxiljUk878QibcCt+aKtFQM/AhIgvoqg9JhF06L2jnTLbdO
sVeFk58feHJT/j1Wp/zFdX8BNrUT7rhrymevTcJu4TukmaHTWheQY9stJrZs94X7gUzPnRvs6+q7
tNd07/6lEnnrfTXnlo0/gBqKIiGvP80tSqrv7q85suIwtGgZmIqzTUFrn3ydZ/nR79gJ92o4bsTv
MjAl3t+Pry1v5+2tVkeUxZmd3hXbeeQG+RNexRf13ls+FIjInvcV3QxH7Gh2vOxp6Yc+WZNBd0zP
1YpEQ6K6fC4xYzk4pNGNA+yAvbT7HN9XqKOf2GGP7sZ2EOGSHnjs7u0uh9YdO8r6lrbqXVrRXYld
Cf/kMznk9kcrX7ms+7f6/Mbs6EC1JoYoIVlsHk3FyzzXO7tDFwo8r16WfcHqEHt+lh+ryj7dMwPq
Hlsobc585TRi8EYdteaTrhq86Z7QV24ZDi7Pw8TP1nzdtPT0jqEgt5eqzRYOINnPev6ZWPbOzn8K
eWLusadN1DYfq1GEY/V3H9yKJN83M3L/aodVBwHOlbuZf0Fgb5lYCznEbmMXoiz3VB7lBcsO8QIc
fCbVdL/u+1rb6cXP35Ul2B27/lAuYIhWx45+4yB/h/lnEeG0gbm382/oBAgX8Zdqj2iw2y9jcLqn
E/dFVC0QDfXuS2R94ZpmR8tf0tmVCk0xPqi86jNvcrnLgmQNHW4a/O4srzIwGWSgskxjFgmaPg/z
eHTiYVsU1tF4KklZzWjCItU3U8hL/509yBu6S1bGN726FtEaO7Ghx5CxKJdfgIt4ziEW+nj/MIys
o/FKCfpWP0tZVKTDGHKHPVle9f7x2IYtVofclXxx7GBuWOT2JxX4IUv8XYv+XvGjdUfca5Pjtufc
r8heTawSdllZNqxPe/7DGtphzwL/XVEUN8tyRMgmdkFHdxM+fprJYvd879XTihK6gt1csoilGYED
+eCF60GjsG30+z7/avShLBQEXigSOpDoF4c0Xypop+Xd0GxbSnoDg3BkCToc14+yHso7RKA4ywPo
zj5+fUPSqxPCTU0FBmt7ZpHdTL+VAPmcar662OCaWKzMtsn+mhtXNW+Z7XAaES9rj4PnBXuZMHf/
+APudn4jdOqAvjzJamnHMY3a0XspgurFAgcagForhwLT8JojQ2u+TnLmUJw1+I6Q/mwL78LVsrK5
GmyjQ/rIgCIsJR7evlbpPmkhzhXkwbbWQqpj+TiPWRnIFC8/sr/HgMeh527TuqY6LdxS5HY7j8Bl
pl5DwoC3GW6H+rVjkmFZ6jKmheN2dTFizaQkbuUTeMqDeA8+xBk9MIDmvJsay1+7RzNMsc4Td5cj
YhMvaKTsEKf8pQtBufh4cZqm9/77q+DA4qGmWYGhLcam0Bp7XCLMxbaVb2t7r5DtaBEunKho6mhJ
x2e7KE8xXVOMNplFc9s0deq+mwcvkgPbz3x4KfEYW6y1P5hMo51RgnQeWNUEbmSNFQ1JVd3cPmMb
TaN5LaydWkPlOlGTDntHDgexeEevK1eGN7z7f0B8DW0kbWYnGhd2WDrvKQF3/uMVY7D6fwB8Xoq6
Ck/ciDZo9s7cMtiVS1MeFjDlHh4/wvT22u7bom5Z9B5xorJtnhZbXtaDguntta22ziagPiC6iXXS
XwGC/sidJfSm5PT4zQ0lNB3tZmMT52qc7UjO85ecJtfK8w6F3Z6nID6QwltJx00Guv/+ymstmjZN
Y9tz5DWzt1Oplexyx7JXtkPTR2huS9zGIR5LrGgW9YcKEE0xZzdcouzpMjxV9cYMV2eIk23rFt6w
LHDfcbkSKFdC7r2L9w0ja+BDQ2cItTQfpoVakqFxlsie512a2Psg8Z/+Ve3q+nzHSPW+cZqPnehP
zBMvlPgreappgjT37rquSuOgXaLEztJPUOiZnVCUoHTZP15nb4/v6RRsC+5+PU5nFc0Zf0F77all
/craenv2PR0RJ5wSwNaJTlEt20NVe0+5qL5wS6Qhiet65w8btzVPh8dZHNUhYJiniLv+vg8kUq+G
/QXE4hpH2NvO7unYuN6flzweJaw0lBMa7/gzb+Zn3AN8fDwLpvHvv79yw6UA0guqtCoCRg5oGqvO
oyFv5NlNnOL8+BGmib7//uoRoHYYOMruCvWD3sOxuRv3qkjWGLxMo+uebpHCaWZriljt559t5dEq
ZNC+2gS28HTQHWgOW4jRyCnqOZFPFkjcrqx1tzHneToBJF8GL/FoA9NAtJ5l5HTXwHpsddPEau4L
xcC6qCms7pIa4nUt29Wz/cv1h005u6fD7tqizqDxV6iIxfx5tsn7Xi67sldrCaNhXnXgXeYMbQdp
MBWB9v1e0IUwwcxweN1kHR13V1rcDpo8GCMWVPsu7Z6rXIDoMVuBoZheXtuix9bloimHMUos3Kmi
mwgtIPEgV9KXt/N2T0fesWqQvddYXaSoPCa2dbMHhVLH/Jwk7abatKdLkjoeZWOxKBllQx/vVGOd
Yz91wljYK6Umk4U0tx1br1fOTLrII3W88+LgA8mS5fB4dk2Da1l163slRNhqGeXD8IvYXowuX9ya
bRtc248JHy10+GDwthp/1k5fhgR8nY/HNjitDrYr8iZvERplVOW4Cc5abFj9gtBfrVUB3q5yezrE
rvBmdD6JWMKrfGvnZf6OSe+jLfj71Kojzy+PGYAcYUG2iWJ7/0HdqaqMuxFfxBc/PdpuSc5o2Fyj
PjJMtH9PAF5tLSqvwVYDXa1IWvI98+zfdjCuXIm/fU3n6Si7BdW1WaGzNBLluOeqOQ/U21utPLlw
NtdCP0K31idg8GcdcIerOezyQdlFVpdFVUyPA+iJxmr4Dsm6r48XlslQ999fGQq3710OXpcucvzk
RrLxuQWh4+OhDWtWh9wNVCQNYJp4+0SB20KBX74jHoQ0c89ayeZNb6/5cwER8raBxnOU2bR4cZq0
ON8LJtscWkfZqYzVBY1JEw2z/TGu1Lkn0/fHtjG9uL4JW1AkL+q4iQBtGA5pIsEEAT9YeXGD5XWI
3bI0LSpZqJ/ILvmhoDMa2pb6xOtkxQUM61JvqvIF59Uyp3XE/Rg4tWM3qANT4kystRsog310FB9i
TY6SrKoiDzWOqLFzebXscht/rKfj+JppuTceT02UBFyEfjMfipb8cMc12hjT29/n5ZVT5UlOQaDu
VVFhqfwwJIt3iv0x32j9+1NfjS6mAtT+ymmjqenD1EXfFo38Ob0u7Tav0nVEq9FzMpRnKty6Jmj3
mFkp2ZnaLF67VDdU3DwdyOfnHCrBdo8ngAKlCNAeII4zeJX7+dvI3dDLL5R8seTvtnJA+NKdbCiO
1OmpSekOTAthYFWHQgKCrJ66ZNphBbquFbIh3uE/eWWy79VP/I3EGdBzH2EXb60ca/IsbY93aLlk
LvOLyO8I3s4vQwYXaKDAt+K6hhOqrlAq5qWwF8LLCJiOY92Ko0fU0aHtk73UO9Dqbrr59nT8352X
u037ukTlcHDPg6T7Qix8Zf0YwoOO96Nzyh3R9yUCPzKsoWZP2eT/mJn4Hlj5WowzGEpH/SE0B009
ZPiCofzbtbP3M1kyCKGl14K5IJIAuH5lSgxc4Mhw/3S4UTVQQfBlFRH1zrLoxW+cUE3/LraSfvG4
OkzVB5fVqJCOIa6aN5pRiyJA1wU8U3kVzXGJ8q6dxewI2c2s/7tV9tT8Bn/gWpuIYcZ0dE/GBeqB
oK8Hgcj4ya/EB1777zobtIse31YI9HS6KB+aR01CY3btezDXdRK06lkM9b3HG6rBMXW0ZF+mIGpn
w3wFfBp3LVPtHWTNzqDo33as1ZFDHQXTmPRt9zpR/3vDIAsg5ohW/aZLNe8/oofW0CQg73GvhLCD
p6xnNqZr/VGG7UiXPLSXOGCsCpxr17XtQQVLfuRYriuWNziiDtoZXYmIBQHCK3SV0MTU/upSsgMN
zkEO1pfOVb82TbDOB5VVTFRuzZxr2ogZzfXT1fdku8/cbfcWrh4SnYmC6Muxums5uUfi9RdFg/du
Vm3K+Fw9KKaoTztWr8Zryhb3mNlTcfTgxYfH1nl7il09GloBLv4Lv1HXmlfjP4N0yt9dxdcA3KbR
tQAY8B56PH2qrqgzDr8n2SxPTtmu3Ym8HXxcHUbMLTTXBR2IkGM73WVN9yvz5Us6Zz/QQ7B2vDV9
wf33VzlTgoyVWLgVuUKoC4UdRz0nZN50jenqBJY1xC2mpE/Ha9uCvypkLhTeh963Vxb+2/7l6iji
nOFqv+H+dO0rzw9Brw0exYLWoSycr77vzWc61ptinEu17KbKkGANQsornY+CKFAZFfJnVwjr97ZV
qp16/IQnYzlwuBipv1aM39qU0pUwZJhhHT/sgrOidIK5vg7pLEMZ06c2d1bKBm8f+d0/YcPO/9xy
drqGsfo6NrkdukDfORZuXv6X9PeaW0trQOztfmdDRgRzM2z8ovuCeLVmRQXCiRy9E9cq90HrWqNy
VEoxnx7PhWFZ6VBibvESrcXzcLV71w2TwgtO1ZzbB7/srLMfkPKj2lrkd/X8wp35WNvgpbnO0hbP
RUq6s9N76EVo87WGAdP8ax6uLG8YCbeHa991Qx5SNx1+scxtV7zQNLz752RAciKYgACUVyjmBWFt
E/AFiHlNzMEQAvXkgrGSjHm9dFcH8kMsJHXWXXMxkJMbJO3eZh5b2YVMs655OKlJNSxBPF2hztqA
ct6bplMyjtDD5lO9J5Bs+doG7bareldPPECl0GBSpH2p6snZJ4Pl7pp6XLmJNnyKnnd0uP5v1TLa
F8d/By7kfeG7z3fUtDuyH0G8RnPxdl7p6mnHVHgJ8Ed4ytirUPj5D3SLQB3jn8dOaKjhujq6l3Uu
A8UUhm8gKAQgeqhKekqnIQQ/WugWfdTeoVXnJB6fZP30+KGGpaxjeqt5Gcfad8YrX6a0D1109F7b
3F/rFTENrx1b5jRlse+x9upVTVnuIMHhKEBpxbAy7wZfcTVHz4nTWKp0oZtQxkcgMP8aLCcEwfO5
qOqVGxbTJ2jOnpQdGO1jCXcsOVmOXGVq2IkYzQjbQrvr/BlN/LwohwnTcAUF7HNW9F+YWCMjN5lH
8/DcUaqvZjleiX0XzamXXbV039xYXUUevzxeQSan0PbxrF1A1+n14zWY7AOdm6ikfDd6xUqxw2B+
HWQ7UQAMKt6OV0rJB6SdHwrVrWQ4hqDxH4xtlQhcu3bjlTnirybpb2mB+ErVU6zKa1ak29Jxndpy
tJ2YUTCZQL+7fpHqQ5qIlQBuss192l8lBUUxVUMfJPal5OVzLNTBLfm2uKDTWArbVUU1x/YFgOwC
qQY9L6xcqeoZOpdcHUebQwkp8QQGz0ShwCaWfJogGtU3bsgh2jbI9EhIs5OdOuZFvDLZJltpbszs
brbAqpRfB2g8hbINOGTCyjWpQ4Oj/dtM8momltjPXLtO76NbB3CM7aXF/15S633giG0nd1eH17qD
RRrhc+sClq4X7pHP/pCv5LQcC+a/yF3X0Xw4rdlUATGKDqOsEe8St2JoYW1/VlXa7ue2TPdTUSnE
18w/FcMwrzzVMCU64tbtrapefGFdCpmdgT3Yo5/78+OgZBr6nry/mg+ZS5aBGs++CJt96t3iOkCO
ZiVeGwKeDrfNiJopQ7fYxc3UL9bzqC6r29yJNRIYw2TogFsiGhZXMcxS9vaHumuegZp/Z5XjDs6y
z0vwpuXqFCe1v39sK1PeoaNuEUKGqnLwQT0YvBarfC8aCFgSi58Wl528in6dCv+9V+a7ZFEnx9um
PurqHJsdGLCzVlDrojzyM+nn0zDz0+NvMs2/5u0c3FdlkGNoL4NCgpfb4ICdfz8e2zT/2n5dd96I
BM2zLnkN7lrqfnRS8pVBE+Px8IZd6d9ZerV0c7cBEUPgWpfRy46d6hDY47NM0lMt6huIclfuGE1f
obv85ADs2+ErGnTd0CS+BtkQdpKufIVhAnRcbje6BAQ6GJ4vyd5LrCeooq1sH4YDuI7LtcrKGQsb
BqqsLygVDckc1vPnrM5C0SQgO1uZZtMX3Ofn1TyAR4C0SPexhLr8C7GDf9pp+vl4ig2210k1nRn9
ZV0K4yRldWhjHxKicjfl7PB4eNOb3x/76s3jeUio13TltR8JKAUdZh+WRK7pFphGv//+avQFIIhp
yKGGVjZQv/BjnoBlLl4T9DWZRnPcJHEm1+pS58IH8Z05+UdX9afaVyvZpCG26lDcIWgn5Y5YOz1a
78p3Y/9CelAniK84ySXpby/3VwKQwYt1PC5kKrkcJ6we1rKnhtPLzPvLUPCflmW/BEGxzYstzYs5
aXKLs6G+OpSPKAmS/NC3Ez9YxF5D2L/tbrhz+HO+oXbrWaS08SXFiQnrYMftFaarszQEh4pqhrUL
grenHpJIfz4oCJY0q/Mlv3K0NYddFXwPRnluJvW0xS0cHYWbpQ4TJC5xvBYg70QPzk83y7aptzk6
ArfKlEiDkWRXR4a2+AYiJiW/P37vt3NLdGf9aRffqcFnojD01MiLi8ovtcZdSyZUwFcW69suDSKK
P59AAyisBO2wXCSa5fbQicue8iVwV7YC07xqLq2Ikwtq8+w6DtlNOsU/C3oyQwsVhMf2Mb29th/3
3pL7qciqa+eUZRLORVzIMAZm+cu28bVDdGFN45Rbsrg2hSTn3AWFMxvjtX5z0+xqHqziXHIq8/qa
Zc0PSCZ+djP6vkGLsfLVedMH6CDcggCQX6pquYDph4WzM1qhk3qHbYNrXru09YhjQblcfLEcWpV9
CIC1Xsm03w6ijo6/bYPSgmArqa6BLT4X1LqWPTQVZid41yX0k1WUm6KoE9zn5tWWZskgqMEE51zQ
muH/qrxcXmiX+Q5EMXEbus1OmheDrQdRze6Ka1cBew4qKnVsfL5G02bwAR2JqwpidXbswwfKOqqd
+p+ylN+2vbjmvhNAk0C3c0gTouEd2Ezl7xw5rdAtmt5b890AXWdeAL3ia+14f0HE5Oyk1sahNbft
QJghbDVU12lpAMyH4OIJSKy1nh6D2+oYXL+nmVI4FV8rJesfvC6tqyQDKK7DgjOIGEPQJ+fbXEyH
47rJgI4OmOmCcty+QHdqCF7xtVKZITr/B3rrpjP1JjRwBQNIDnpAGcDokOPPx6vHNPzdtV+5VgaZ
wh6Nu6jEeYieIaD/XgamyBbVxDRsEaX9lWVqepDmwz5odoaqkfXV5wB+Bh1P9omg8/fM6dcO/veQ
9t9bEkdH4AqZ5lkrYSpW/sXR/tr5x9E61irbxXIMvWGt38MQ9nT2y7Qfx57HeI5bVk94SFcd2fSN
FeSWxH89nhaD3+lwXA5OnWWGlMiVTc17SpMPAaFrUds0E5pP1zm1Z0FJfkVZ9OwkNhS0nG8L37jd
60Dc3CdOIQInufYUEvaEZOwAMqo1ASeDX/vadlw6yq8asAdciyyFrrQa+z0DAD5kdPlHCiiNPLa/
wUY6KNcNLMpFwtOrk/XffbDq+D07Ncu27gNHx+RCxt4tC0CIr3kz/TNhr1xsb1u2pYNxmxEcxSRN
0yvm4b1PrDz0S7V2xWmwvo7FLSH+5IlmSK/2rP6ux+4pcIYT9oh3DdCbjy1vWPk6pWbiZbZPyolc
mizFxceQ2nu7UWukoKZ5vT/1VbiL+5LM8dJjdFp+bqru4LvDwSuG8+OXN9lH24vTIoGyInTgL4kT
x89jkx1TKsK+6ZPInZvj44eYLKT5ryRzwZJgTK7x6H4ZqtYJu65f225Mg2u78vB/zs6kuVJc28K/
iAgQQsCU5rTue3uisDOdNJIQCIGAX/+W7+g+v+fKiJrcQVXd43NAzW7W/hZfIhrTvjp3pF4Kr6sv
STVsf4kXf3o83zZv2FW0YlMYnLzY3BFHVO7beMx41+S1S/4mxfjhHX/XhnWhY9pDjfa8LY1EmRTA
YE14kpFN3v+rN/BdHrbZPtkWbLOTsY2+XiMeHJSBKfy/+/RvV/KqEyenOkhOmAyH39rGp4MHwEDx
z5/+wzv4ro9V9UqHFtnjydBlRjARhVnbg8Ea2xEkSjmW//xnfnoJX//8vzZap00gHOZhToEzT/0W
PY/BViwD6Fz/7vO/beQVvslBzNYEKfECxlbkrXB8FSDYiuAv3Y//vxRFvivFRrPWBJTr5OTLZJfM
mDiGsOhFht4G0N36IKAkyxXD6+f6b8renx7at52d2EAOib/GJ0LNcSDjI4gnqoBz2b9jLZHvmrGk
lgZzwpyd7OiHeyu34DGCzuEvEf1PX//b9h76wBNL7bNTC5YWivqr2PXdLB9mTM88//Nr/+F4+j/C
MfDXYQAr45OOoip6moOldjdMqEA9/fMf+OE3fBc+ax/Axg50p9MAZT/Npan5L4sOW5gbv+v/FkH+
8FfCb0+qpUMgKkgFT6PeftdC0kzPbs3mXv/6Vz/je1feG/S6KmrICVuubLfp1LBxr7X8S4n/p9fw
FYH/1+7G6BDpPM6iE3X8ZfD0PWpSf4lffng035mcgRdTCHsg3F+qpILwzOw3aJzyiqV/02/99Be+
Tsb/+vJdki5xPCzRyQMUv1xjjCFk01x1T65B5eJfPf/vGjoLn+ilWaboBB8WcQK+BUmJZ5LDygX/
y4P64R18V0eEXiVaJhFrzM0WnnBQdVii6d9wuD89pG+RDMZHAzoPIjoNY5jcktHKm0bbqGw7Y27/
+Rn98AO+6+jQA55mvQ3RyaVJWphxHq6HLdZ/k+38kA1+F+n7wSZs64CkDRM3x/dDQpLpkaGHri0X
6W8TM7DJu7A3DxHn/N95NpLvKrrOChhpDXw7uWBJCgJMHMrZ/G/OuP95uf9PivtdRxea2TSYX8KP
ar0pI31ySrrmgwtzmkPWZZQnNu/W90puVeYL/gjx5pD7un0HK/xqdRXPknAsqbLZgg+pcCjwpH2M
rX2yLH2uK/6OiTWRVSrUp7g29rAMU5shyulwx/K/HX8/vPnvOr16HduhS3t2Gheu3FGuwGIcqYnj
f0clAfHtf29xBkcbjA3GwSmqej1mXTRNuzYh1V9UbT99/28nCBQWQdVMAcWrVQr6Yt30TUZhaPPx
zzvjh833nbRp/HkFLH+gp0WBSqthHXtu4epbRtSv//InfvoJX//8vw7BoB7WerOKwkuIB+ChOnbw
MKb4l+Pvp0//dnqsmoX+isji1G1LB/9VDUhu5RLy+M/PJ8BB8EN49l2VtwF0IhtUI0++qcf9hilO
iJHoL7wQWF7RZIeF9cf356NOY8T/I0xrmaiepA5ftkDdpkK8jHH0UQf81TNLW7AaHtwdOzY8lXnU
xdfpbP0rQGkujN/aPIVnd96HUNDpvr6hfvO6QIObQ1L32casOqwKWwpUmj5r0DIO2uXTBFEhxh74
3+5FL+s9CxBkDz59inugEjRfLp2Eiod6OCmSp6nmt53pK+iU+8duTPdG6rKT4yOGKW/9KmnKr8+J
w3jfc79oNlHUwXTbr/27F8V9rqL4XflrLvz+lKCsQHmwxwTCYRjNQ23paYqjIUv9aWcaezCaoyJT
FyLq9zGr886XOY3CM6V+minWhNnX966jbduFDiL5yQRxVsFONBvoduGauCANMK9EXE8TOzUYLRG8
vRAkuubDSjMv7faNCC8mGWVg/Z9mlpQ82srEVceamVNt1pMm/nGr3RN6l5k009VXba716OMys3fF
x6uJNleO9jeomfN8q7YbX1SHpnN1njbqFwRpu6/H23aBLOmQPIJ822YbEW0ZRU02quU6xe7Jq4a8
0tYU67jtFkHPyUxfe0waRom7U2R+gY720iZRnLnKB5Obb3OhVf/+9aTn1t004Yh8QjYPI9X3vjSl
Fw0HihlbDN/N2egEYAIJ32k9XCvfv2rN+jtNksta0KmcDfk99xLmVg7TjenTPAxnETQ7SOhLENJz
sHR/J02105UHmTX+oeLeOdh69CYlz6pprrNtFUuhG3Mfwqxgt23BldcGjwiDWBalwe+hdiTTCXmd
41pd+7G9gP0wSCghefTT1iuDGJl1Na1e1taM7eYmvB265iZYG1UQcO0PsyJeWbt5Lto+aCBcIv0N
9Gs0C7UfNpnp42qPG6DJ497Zh7CVR2U6c1ePusr6bb0GafhmGHp5krYT+wRtiNICz4933L0mTcz2
3saavKMeQD6rzHzVvkXSJjuZyKJb7G6ZSMECdV+1y5q1A5zEYU74O1Vtma7+Tcv4neT6k2JiNE+I
G7MVRGmBGwIK2b0nWrvnqxdmU9Ud/M3pbBXouhrtn8N5BvdI5SjzNzlNve4Nif9jbQAzCFK+h4PU
k7X2mWCqfB+3au/cVGUpqEO+Nz2Ncti7BB4OZG3v2i9flM2kNse6vZgIeVuT+WxjcRE2bR6kYynk
5pcNhpXyIfUPfOVL1otmP0CcV0gKFNPKxIWyEQodlRdlJAjgupj09fVYB3e94h8Vdm82MXvq+kXk
VVupLLDshO/2giKPGjLifHxNNQMa5ldZ23Y3vrVXZGtJAcT7795v7tvN8axpQwd5UHMN+wudNdYJ
fOzGsngl/DS0C7wSR99mwOXsfYzbWDt8rMO25iRK1nyVQEUv40qOCiclCiXuz9fCm5PlHvMGd7xy
Jz1VOM9a9iDgCVJsE/gBQ/yn47X9si/MujGiWZSQkxnjl2jg50WlTzFKvy3Xj56G8UvsFTg6ZCbg
IVgISKX6qAO3x91h+OpLTTD/xn/+2UQuzf2h6neVG8wz+D5xhmxbZV0M6pTckhRUyOlW+vW5t0tS
Rjo6BJhxy+gMKSRt1RvDGHxhRb/XwJ7BQ5btjBfuHEinYcxxWmAkyKkDUJlHuKfLrBr1sttWM2U9
tAf5WkMzgwqeOJgtuoTVGFAPrG1P8H8guY3hUWO/3AmTvU+D3PTwy2tpX3hbd9tt+i1W6z0YGgc/
NCg3gQXeYUwgIflQIapNLJvOkeWHLlEvE68PcWzvUHqRQMiHeUjB0xTNFh1SMnz6o90yDK8sZfV1
5MfuNIOhVKnpy89hgRPQbC8jICOSuhuutyY9h8DVsWj+krai/ZcGl3wJ02IgdMo64b+TcHubE5Cd
pAMFu0sVdnAAhxK17BFIioNSC4G2t6agC8/XlvU+Tob0Nl6ayzEdTnTyD0sra5DjprKSw10jxa2W
bbpXY5zkrN5krppkL2N5MJ7cSeZKFgC5vMbXIUf9jclxzpNEvMNSXsPJXAIkEE5R4fXbb2TCKrPr
ckr0doxahv3fYdIB0JYpN51HionV9ihWU90pDlBApHAnNL0rq4GXwbweE0wT37AxLEa20jsKmzYT
LLKstrl9njjGrpugAyYcL86Pw6sqjR8lgmHgIivYEgVtGVZ2y1s5BEfNo1/O89usHgV6RzaasySy
T8268cwfYG7dh4AIaKbQRZynF3+YSFbXOMdW0Zs8XDa0zKj4JJ4YCyAA1wMGq6ujDBeWB+0IJVki
DiHEOiXYJEExAlVcrB7X+xV8jhyCvOvEGnJGgICtt+WEhJfrWBXRNLJ8RYOgTYcBBknpB0SmR+y8
k4eagZhj9sufFlo6tfEbZeFgFvSzPhAXyKtuDofnmc3DRdUNusTkJlZr63uZMH7/yH3WFwmLG0Bp
13bLRIeSeObNdENXBcYLufNhvRYS7hVMt9PVqpBWzILizFJRExUjPl6UpHejyue5ra4N5iR2vQXq
IWjDsculUPOTw34quEkCiWNCwfmpi9q6dGk7PNZJjAgUjMcibIjNLSgH5eS16hTRYXt2q2x3BMkU
bO+h7Kho67FMhArHmu6FVplbKP1secWyLe6iotfxCnqBL255O063KiVBV05h1d3TDRSbrk/tTS9n
zJSCIm9/0zFon1nPxIqxGrke12bC4JNf+5QXKfwdHa7Pprld9LK3YWwPQAl1eRQ4t+QtFRBqBHQp
5Vqbp6qDuiWSrTvwnvBPL5z1Z8P7tcJQZq2vtmGZdFY3NC6qsdpCoMoGgPKFHtj61Wq1exeFw0Wa
eG05pq3NRm+2Jbjr0a7uu2BnEbGeMLTdlvHG+aUAPwcm3AHdi3bp3ulMvWuX0vEq7WV75ddRWGJ+
divrOLgDzDXJ+qoOX6lMyA0SOUA5Zo4wFbvtVq7EpZkbfPngEJ/mAZ/qs2KOPEmD4MNotJmjJNxK
xrck83ANX6xD23xMaT3mcm7eg7m/NZV+p02A915jlhxJBSK2Zf3A6IPbScnCfeXEfUJpnaFUK58x
YCR3/gbTzD4xooC7XF0BY26Ca9cn3Z5+daxw/KEwQ1eGxi2v7sN4cDn4+bU4S9KFVb4usZ9ts7+C
Xp1et/BxKUK5IiZeJrYD+JgevaBW2Vyv5KmRll1024hj0Qyf4UaOE+H1jaERQGhjfA9H7Q/WL+kZ
0kOSI5hfEaUv7M86+SqrEI4BgeTqbJhDm7WOY9F1GMHEu/Ivw1V7GZzFhp3lo3wKg8WcDGa6z30a
EiTnw7VHqM00XacjlE8kG7hLXRFWPML2hS+mnH35p+Yw0V3rtd4Ni3SZGJojvheHK9SsnkK+pjcS
/ic5Dkaag+Wp9iwOw0s2iPlZBjaoyiaGrDCbvloEgOzFuxjrPt+ShmVot7Qwc+1wxSS8KUa4seUY
rMAmkuOUh0OKY5ZM9m00GC9MN7Fkyq9VUcVavYk0/pWM8ZI7vULOloRY+xulR7Yu1+u6Rg8U6+uY
JGOL0Xgt9+i63PbCPvi1tZm/keopHmdcSpX4wIp054RE8kSEdwVzBV7aOTYFrQTgHKRWdL8ISyHd
GoNDSMc1l3BVPY1dRIpUR2E+4EtCxDr6OfOX7iyjuUXGJWwhhyEuVitNEQ1mKWRA41yA5ZmNDW1z
EiJOX5aEHYiaPygm+vcBNzfriJqokJqUvT89IPCan9e2jYC2ieOdjeXVFCG27xvTwrpEduU8zNUx
YeRR1OEZcWmPc6fneRe74V110YffjiIXHgYxqz55xU/0rmZj1v0wLnfIf8es9n1MtMzkVlMirigq
aHsravdpMW9ZDhN9mzdc99Xsu4cE7rgF6xO1Q5FEFmG9uLtg42FB4oBm6mvxi7COs623IaZ+2JyP
HVnyJTGo/uDe1xcJQLy8UH6TXnHfLnsYxr3xTg6ZHKnIreopUrugH7KonWmOwFDnHlY+BFWkLiY+
0M+Ym36/NYiplxah2WCU3XWeaw6Bx9ud0gspRpVGO7q0MIqvCS2BF4TmZSUfHtMuj7WzsFwwTbHU
LMKTEZ8TuvbZAAqS2LBzYzLdt+iVIsew1cEJIY9Oza6gffQSwXkbuy3wgTIZkBJ2Bf7NeBFgEulA
KvlYwTsYlrXBHMf7aN6iD4u0/qJfZ307MfS5g1SwHalD7xg1HUXsV9clorhPX321iVLQ+idN6+Pq
gl+t1wel8pgtVDtHJ72MLx2UNmj5B1cz1sJZoUWWaaXFjpKhxUqKYQ8UbfBGToKCNziUJG+aHUMC
XTCHCTuCBsitjMwXj49HJe4bONFzuA8bN3t7TDp/2TiQNOObt910uBILQdr5TyvEcN1iyV6NnoQh
TM+H4EL0AY7qKHqGjYWG7WOIHLxbwn2w9C+THe0Zo1f1hQzM9KZCZ1Cy0+mdZ/GZlpkP5vSQTzpO
Mh/ncNYlbnlNGOcvDGb2+QBxcOnC+k7XRBXI+J90v/TZolEZ0GJd5c00ygqeVQkNd2MlUe1HtsHh
K57ZyM7Be92FDdyhOwTPnoFFxIwDY0gXxf546WYUag6J837h37XNre5hyjBmvhnZdKCDSv2LbV1x
6EdzlJb9zFhmq3B6Wb3eXE6YOLpEFRgRateK+IKgd3EdYHb7MpQYIS3TifWnAAin65h1QOzI1AY4
zRDVWigdMRgdsHyOAU4J/dn708Nb9GpC+nUPa3rfHFJvEXy/+e06ZS5wNFvCBvGrsxuS9YiaXWMm
fu2MpjRL4hq5Am5YD41FM/ul5iR5jSI+mIvUl+QT8wBuBw+k5UOmCz7LfZEvA5/PfRYqPfWg44d2
NwnnEN1O8mjxU3k+ksnfiUAD0ZgkrGgWh6IF1Gr56CXYnuhhlvW66QI5c4fzG4PGQNegAE8ccBvo
Tu2XOukP29ryk2eMumMsSAeckjWYWiDaOpXxhpnHOmXrG4BLc4WjwkddAUYoBsMA8XI5wH8mxzAc
y/vJE1HhWxjIQqPQiivs5SAGlsvW+0Xz7dNHXniAY4R6xQAE5jfihG7LwZPWFqJLbEkROspi7oEi
RGKyyCs1p/2pIq2fZIJRz56rFBDVIqqp+fQb/csPx2pH0/XPGqFS0Hh6vUvqns07E4/e7yk2BEHX
2lYobTfb8osGLLkeoLiGz8Cgm+dtTWg2bZN8apGFX3at4SJzDa6sZUvro+VVk49ujrKmCVxOoTQo
+FrZy3h0eo+9pTIj4grjbD4EQ4vilwvTS5gZAiu+tULoW6F4AycppBCVvyJ/ir2J5AseZo4pK1rY
IB7rguElnTaMyt/MQchyhJ510ZEuyKvOTXuEcyO+RKj3zqKm2PawgXROtgi002EyB2SA8gKdRJRE
PFjd5LYSwVtqanlsfYimFMg5Se4hTr7Tc5reJVHQ7SVxehdTgrmBJu33VLMg85Nu/ZqHEGcaB82b
ECbNQVNAIu+4nO9WuSYZGh3NGVk8ogpoFsogjdVJrv3yGzTk8C4VfL6EOa53laJwcImDIkTVaO3P
rOM675t+PsBOCvU/yP5va2+Up8FPvN201qIrnKlEeA1kJEgnlboKx3r97ROvK22VkL0aguU29Wly
SDR56ccaLlCunfdsacaTCGdUGyrUqEzdN6eFNO7CaS5PiITG29EgsWDEqzJTz/qR6FnewTW0O44b
xjalU3ZvUi+8RkbgCj82+k31CIL6cQLnxkw30YoCWSOoyadRBb9UmIR5sOF6B/+8yzSG6a6Y6qqM
G+qVACNOqNjWaWZxGe+GbXO7OTK4MhQ43VKiUtewxiuCYN7yBpE2qj6bQR0ibmAcFruybaZnsFjF
dbiZcU+q0Ss6Fv4e5xQ3h+fQjak9Ge0s0HkXXZSyIUM59mtpWHJRk+aPW6yfYRJuy73Fq489WRJU
/hDaXLUcjDJVV67sIv7qK0DT6OwFGWNrex1Qp8+bcL+QseoshPlQ6X/NWWHa5Mn0WrwFFBSylVf6
HufFeNs0dX0zW9KfeLx5z5JZ+pkEcXBTLd6ATj2OPjKO7kU2EkcyYpwdejEK+R1Pr9JN6kIsAxLR
1NO5vwGmMknq7qM2icrQ2SmDWNq8+VtdP1du9S7kGq1nkqA+Wa8wrBhSgzMOPYBMTfRTm6Hb+xOS
HjoOzY4mihwWpGf7YfNI3qfafSDtQ5F5sDwMshimMofBGpQqG8oPkDx5+9HXc8ERaO4aLH1ULoMn
1izp5TqFt6qvQZaLwJu4nkAUhwlQBXs8IWWOEMbPfBJtOGUXQGBbvuQQB81HZOBD3pHgZbQKYMJB
PIutRRJtVP2KANPmqp+G89D68dlAul1ibWII2tLxXHk1yGVeVGOj0A2xgfNv+pQFO1hQTLuuquG5
GOkB9z8K8hdk3qYS13z0uHptirt+IccKoL1d5/wZ/wny7Y2oh5Auw74KhragjTfmQPv4F77uwOJL
a3+5GsMlwl3Z0mKhln2twgglUQQkPbC82TzpNPOrAcayC0rPzA4TuJ/clYS3zY0nurnL2s2rX+d5
wmXEprrcwipFranrUbqXjO6ISF3OdIQyio7HIqgUg5kcI/Vb34v6F1KQFnntnFY5skVXzi3ScRLW
uOU64XIywOtwaZv6t+HedBM26IuM6zLtoGOur8MZklaES+wOjZjk06+wvHu8sUw2kT5xcDTeEQCw
fRfL5dTEIRvReemWD+Kr/n61xj0NLqyADemVf4zbDl0Ph8p3jyGoh944WoBGEO/SQYk7MoGchlMc
Qa9GgH7AL6pLjmrUZV91+tNHhy1bEdM8d3QaHtskSG4c61AEkcssCz7DrbevW3mY+Oa/xo3Dz5rF
GqCbkIIgVbK06cAWhAlkOOHoyGB06B49LsWfuQVSCt4k9l5UMGvmcMgsLOp8mfVj8jCPtrkMAcB9
NnU1lmOy/OeKHlu++xLmPKSRlRcN2siHrkoJYj4DxBwgcHgQG2ZOBi/qit66ShTwQkpPzuIqsLGK
n+dWrPsqZMPeH3h406uQHV2biDZbfRi0wv4O1Yt6CniHkbp27ooGSKkH7GYH/7LQ64qBtdO6A/sZ
N/waTYevD0RbQmGZcGvuAlHjpHBVsEeboblRUa1PZlKqmMDOhmhTHJs0tGfHtmUHTXn02Y6Df9UH
YPu16+L+KArdX6O92UFkjq7DsQk81NEmzuhFqs2cx0PnjlQaiGHUKA3LQ/jk3un41xoscHnkUQK/
Jxyywzgt943o2iJWBDyIkZ7VkF6HahzRHMMYZbdJlLAXOF/S8whIn/TkfTPVNhMocKMQfBVS/qC4
2Fkdn+KJahQwzcOQrjpDZQyXEkVpGFfUJJYqj6rqjSAgR5C55UESvYrY39UxfQCOKe9m7znFNkfk
1Rwd82AP42eo8WM4Er2sMd5houS09ZP/lRnmKkXOjfOj8tEStTMvYEt3YUZ+yXDdgu1siwGmg6VE
OyCnHJiUKcA+NEU19E9yELlUPtJpJCJtO/8yYfhiJMP4osyo7+ersM+2HY56MJdxIHI3tzust4LK
5Tgl3n2jMdMVBmK/ER+BU1CuLfLVZj6lHXpoLDl+lYoXMXx4feeyUJhX+CUdxk6UZlhOcaduYGCy
6+bhyF17PVKP5aQb0Tj2XiAJvphjduKqv2vT9po4MaB8CHHz4j+jIPaHN+o6od6fyqwIrGqEQmZE
GR5ajLwLbHKcYncZA1JyZpqE5RBP7wptBZgYWyAut+tE8yMC4yPF0T85dZdu3sWWVnDyVk9DmJym
NL5XE0uxluR766E9moRP3IOrSiSvZs6qIg3rbY8CNmbPoi4XWxTnUKjJrMYJmwXMu9SYTM4CxfY+
LlcT0UfHq+Poqj8U5qqdmUs/QiMs9NDIicyyb9Jo70x8AdJ7vdeuuUiS5J009iPGTjwgQDfZOpmr
EIAjxPK5GuxxYNuKSjND/AqEBrQhLeKb0BVTNZRmAxinGkiH7isyTpBrWrRJtsd+q/oDQjpejC3+
j2PvXVjW3dZ9vUtN8gGmv/o0m3qP8T97b9EfcTIWcxS+GW0uvhbBiIGgBIMQdjP5CKtYb0BvKG30
ny6kB5xav7zla1ilWp506pf4k6XFJuI1IigMgiRohCQ7DQVCnS6HrnVFULd365SWjnQlDC+KKfCL
L9RtB8ImEUEhNqQ1AWImtKrCwUk0VinFPq3QbfYsP4dufKvD9mqMq/BGCdehRYvYz8fJKZEmTClI
wcCaIaRPfo0mOMA057ERSGS3+jhNfTE0IVgnbajLIPHTnU2SFQLroYd4VT1pVt0w+C2jQEcSpKaO
77XVrxhv5Hh0ywOuNZNhe1i0AaIp98fuvu9Hbx8R1xd+slqc4cF4nKwEUj+Sd0Rj4Bub+xjIie8Y
HeEmG+LmqqL+HoXoJhcxm0/9FBHUcLCO8MC6E3bYlMWDDnMOd9ximv0bPN6vAfLkfZ2X23hcdosm
F1XjI1xnHtr3Q77ApNYHlzCDCPDY1tQvx4jn6Ard64R+gjZ2CdwK3D9MX/SJO1PJDzGP6yNemI+2
HsqHVYMafkW4zuYR+PlM62hvo+pGt8mJhPR+rOxNEpFzVC3P/hZc0AbGgghqUdKrJ3CsfFRaVRK9
Q/M9FBtugw/8oouGLJeLW0sS9/txs1crH1ETqoiXe6b5pDGyG9Z9BuPw3uDxoUgfqD30VGOuUYfL
+lrvU/QKG9Z/wK3gzucJQxOMXHbzeA0bxfqg3PCnX1NStAvMTYjycZiaOz8xxxEWlNi0Nu9R96pQ
+Ej7Syam+iJZ9G0rJhQKps4egxlEwm3ke1Rjh/3kTWBvYBGj4PAEN5zzrIJz4OswCxNUdS1apivC
eDPYzw5O6DBSeZchKX0F85AmqLp8HtGw6xNo6ILGP9edLpWAx0JQiQe3zGPhcE65L0FuPNwzLGNe
yQ+b+BBvEnIpOoZYyN1BibILiHdLqTyn3fA69fIy6apjpyK2JyZB6Z2LvlCoFeUQ2p/qqbsA5khd
bzGQ2mGSY+aqL2aP+Nnc+kf4TJ4bXDkNiogu4+hFZl+WBWGkRniiI6hC4bdbMQMj0XJVEEGDcL2u
di+m7qUh/INplASNeLfRAFQZCsMY9wLmuaNh0aj1qUYLA3WoMlqCCR0jJKUw0OxQLQjEmU/9o9g2
RPLaL5JOtplL3E0Pyvc0LpfK50cXjvAWR62GbgmOVTwwmNXwTC9uLtHsvU4qdW97eTNoeV+7rQb5
y7JsITWS1FZ9ajuvBeLHczyOtGSNCrJlUPebUF7mgFHcIwCNb2RM0cwbu3IBVjajEj2gFiK1rOnh
No6T7cxtU6L1BnAZI/OrwfzdAc3gHDTGUs2QXSDrzpyNZN40233QbGhpVLcgGr86f/Xyoal3iQou
q9QdQaQ7QOAIHsa4r7++qkyDt//h6My2W0WSKPpFrMUM+SqEZsuyLfvafmF5KiAhmeev700/9aqu
qlu2BJkRJ/Y5QUVDKZG+zCnlQOOui1Q0+yKFuXOyoT6NcwzckDL6yxxuTrk4T35Vb5uo+lC2R7Yh
31YNgxTEjsyCJo9vyrO7YyOaR28hsxnMJihzd+X8deLwODn5XdaPuj1b3vxUx/k/z2Y8TUzEa14y
uZv0iCGsVvvsm1U2S1ekOppD5gdR5rsPXlJ0B11Yy2YSZkxUJAuY/Zh0qNm6Skf8DVq0wyfqhEQv
v7EW965V5a6IFmOTagOlRT78aon37gnk0qZMkYSVg76EqTrs7VlQ+Nc/OtbngG/jLXcnH3mEAe84
ub+RFwdx1u2snDmNLUK6rIe4bp60VFFVq/IeCW4bw8t+PA8+XAi73Cy9RrubsleEKorSOA8yVfwY
Yn6uYw6IYv6uhP3UG9pnNsAxWP6zPxOGbMv5mqi0YSjAnsiMFFHK9vIASLjv4nja4hfGdZYv/4mk
W+W5I9zk3h36azLMXiDM/ujxTjg54aOVLtn5nIy/Wk6SX5FZn7ZSReDJYbq5U/2fprSYdNJSHEar
0TYDJaAs1BMKT7NBFV5t1a/uUF1tHvxIjHUofZ3kBa37N82MjOzOeu0zXpGcZ2gTDYZ+EFzyW0P3
nhZdY/KuvzAU34tKvmUSX2qWJFfT02mbXefLoTDLGvO5msxvkRmvOeeWNfiv7jS85Hpz4ijl8vPR
4wa72kXd/Nul+kNSDs9W5KCkgRE1o/do1ojnhm3TCZUUuVlNYVVpxeuc6+ZX3TliLY3NUDT1qyuM
tWk2vBf2jKxRBrUZ+LOKb3ofz9ulZW6dk3X0Peu0w5keA4oVMYN6ROKXBSYsnISvH1Xiy5MzOTuf
bFc2VlpNYGiuuR2TzAiGLo/CtvZuFgxzgFWHOVtt/1NAgw8W2uPGRS6mO2D5yEIF5VOL99th4g9S
mSsrijjdIAPLrhjqW6T8JcPoPduG6abcBSYZd4xK7pkPubZ4bvNEBwUT6zhim7EX/WNJoFJEOlYf
E2DwHa4ls9DrSIsX4BxsTK+W6hewTP1D2IpCjwS6MHbLexb5Hws/XbDo9viIRJFtp7auTpnJSd2m
Ciqr7jG/lzGYwKyDkoxcxKkxPRuIP7dC45coI/nqqOE61L52cxsqt5LHl5FIGwCgR7sWseYwxEYS
Om6Ub4GLvFPGjWPvBnsotzlUbwDaoj3rMXJjO8PrtZ0o2ZY6Vjt0lSrIEScCRlsNYeqx+xKrujn1
pPHs3cabT02hxmc5cyRQ+MyB5yXjPU7FcvFkubxR4j5WMYKBpXqOdMFAnugGbV/S5d1dzY5vdZHd
RK6/lXUdszhJj5kzddkj0Vo+BqLeY/g2Du5exey6yBr7e+ym51LZcj94VHVGzSpmPK3ZptCjBDba
+M9Km4JpxIBiolck5ibUAZ6jw3cM+bc+1uxqXUZ6sAF9K9eqY0nF/uBEcX+W9OWHwvVQbuq8g8DJ
oNK6WNsbdhJxJmnPUc3gC23jUkf2EzbX32aap6cmFfUuGTr9SV96+g9Ag7CwnGIndWZVyqEmIkYi
vjVQ3Mc0KaJPf5TF3dALiDKnjPd50daHssvtvd7hZqJsYiVMizOE9El77y8sl0ik0YNxMR8qZFnv
czsfNo7HsDVtJSSP0Q3PRWEvDH/ajsGI7chbXLhmtlHj0u8I3NIRJUXNlyv16T2ylo5Phuk//uY6
THVn+OQasbnG8jdHWdEmZ+Us/9HqJfKaeiMnWWNMUvLCSOrKUg79XJMmeSnali+ptoghRJPWHjQV
Rac8ssctZlQEd3Z87IxxqndtMVuHTCSvZd79xl1tbNMKEKBezAGKJmp2iLXsbOiyjl6G5VaJTfHZ
CYizwaNdilrzx/cya4Ol6m7rHaqDY8pD69fOFtI/OkZt3CIvoyoKYebbqTCqLfha9pwNWrMpiqUO
jLnPgrpnSsmgen7IvFbdKouhlZwhI/JEkIYr+Fhaa0iDWTEfLKf8uWQl1taaqvlgRKY82WZvcxEh
420mOKIkaNMOkoqVmBrB31EDfdPxfxzNthBP+LkfxyiaH+X6LC+1utKhAxtOBqNte3zTxuZVGGm8
qRfbPbqJOGeyOspiKdSRR2X69k3JT1+R2PtZxrXzqaddJbaeN9lzUDuMwjfM8p02LGtmdkSsIqKR
eFxtCtfWYbxxs3tbGBgoAW3Wc4noOJf8+IULfw9h6cqtchRuNLA4MNhRRF2+RzVznIB3SzqPGq5Z
OAJnXglOP/Ke7IL7H2ii+8lcqCQ+sAJ7NHdE20GsL227yW1WzgVR0ccxHtvU9TdLnidJUDUun8Hc
NOln7fR1y8A266wjkw3zZFHpTKGw9b7ZJpWqEa5Nyehd2pNngWWRrUCbKIiLJqzTeLeWIf/sc6vt
YSmSzmMW29rTIS3F9DZN7XrpEzwrD6ifpnbxHRvej38l1/j9S/o1I4+9b0abTjA0jmg3Pntmy1CQ
WhA/mcZEzZelGcBBx0YGqivN6u2Dl3loGZwSjCb5ymgPHdvNrCNSU/w0G7p2q/yyobhvGrcK23zI
TywhwUA4MFh49fgwp0tJEoi/8X2e301P872uhyt6fdtblpE8QB/5V6dowBn7Xo+fm0QY59HJUP+d
eS5T1uA4+Xuc58WbDmHjboyqK/lnJ5bl3kyckN+O1nNrGrhekaQixe7cpoYYC7Kil+a5NH1NcCn6
oBBWrbUnrUc3DrQ4aQQiwlzne5JQEjx23uhWXFnZXAdWNYLcMe6gy7TdgZmUUcePut010JGjq15z
z2hvhMFCao6pbP7JCa37lGgaPF2rR1nGd7EkFlosH9LWaUfnb87ipdqKxpx/i5Ih1KZIjPqlnRsP
nM8u8nwzFHRktN9c1KwIknpQJRaSbzoNfrIlzEnZFDKkNwQuagiHu2568kLxjRJlu2P7EXs5xzyz
oQXSZOY13iWmxi0rLXYaYd0xoze1GA1alZSzdtJME0jIqhItCVwcpiooe9tV6CFuTtiVGoAm2O/q
/lg2cv9D4yYWL0utI2EDOBvttrdNPg9Adepbu5v99kBYgYx3DcV7vRnd3mYfQO6tppHGZHTkC41m
QA7SMbZCjUAN5ehtdGfcjcIQPZoTc7Kw931E9MiheQiczOvGsPHiVgaOHIePelDWZwcKL06rKakO
bJ7v75k5bUJNKnXxbDvKfCv6XP6ifALXpbNgVpHCN1PU+SuXWuoj3ZFVjAVSSS7tQxHlttrSw0Lu
2Gmn7jNBZhazv8HoaX2aXGciNDEPccul21OKOu2GoiJLNmmyLD+qnqUVer3rvSPxOl1YWwlPjz1K
d+8xzlmDIfRk3CInjMuOpzR9Vb5vYYTw5fAiSjx0EKEI3AxPfW2fMb57LJ1CyoBIaW/e5tx8X4sh
7SRIar6i0M+1THDsVc61aqZ+PtLU8vEV+QqJR1MvTy2/OxEqsulzxsEGBAfIzHJvTQT6/UwyGLNd
vZ5UIEV7IFpCzw+GV5uMb42Fg4l1AsWHrDM32RqMYOtD0pGIu3HtsfcCx6qMF2VGLFfT64GRPqe1
5W/7qXXBc+wW1wDqAkOnzB4QikU/Fz8mZn7Ydau0KExGK/tGrk2+MnRfCDHUf3OrFDwlLKfVxKeo
7UcnQN1uMI2yTRpXUNR0/QVSiN05xdw7975lifFGrK3broHsaR6ZQVYgph71x0YMle+QtavpBYMe
WyiaDgwadskWPg6KFp3XAShAdpp01YRpZ5kZCKluGUGnJdOK71o6shZ/wnPp9765WdKe450SJnqM
hprDxXRVdY9cqz0afslEbOSz/RJNMV/rTKu+FuHIJphnezIDFgo7rJSIB8Qln82VGDCXCMRWK21j
2ZSZVRdbq2Kr9bYCUE82g1UV8S1SuuFeHaMxQVdyV4ufoqIDaCERwd6jBUK0xLpViTOLycEc64rY
opszqGgjrQ4OtO/5AAgEspuHwvFO3axANVcBUwAvrWVVgrzYnJNl/PKW/DfruS26ldonQIvJrOXe
4NohHmT+U2rziyapqYaUI81nk/tmGpZPOuMb13wwDeLSp0WxZXK2y80ZpU+B+bTLA43ohckT297N
M6P5va27LlqZ/PUK/WHsjKOKxwOWoH3E+Bfy0KAHzb59jQQGkduHqTV5XbovQHp4CfbRbyYm7545
j4xAOzAwthI4Mn2o0uFeE+c6WsUH5e3NF6O5EyOvRJbZ3q4FP4L4BHbOrgyV73prhRpiiOF017K3
ri4VByO8mo4HyG7iWYrx5OhWfbJQDAKGYu1uGN2zzrEZMGS8NmkEr5N0YMqKJNwqLV8gPK5NZ9zH
pN/LZOy2DNToaWe/O2Bpmjdmu5ysJPnopPehF/nVr4uDr5XXQpvdDd/9ByrRITJyOooIeS3qX7lR
5BYmYAr8PmPtT7+lqYOmnpqackDdzFRR5PTjyWjn4YhtD4K1PXQ+sLJfHcdM3NH3US+F2NmdPCRN
+WxU8xR4unFezyOsSvHzMnjlJhZZEyQmnXYm0VrrXgsta1EUbiklBZeO5XRPVjSc2tizwqav/pRl
HHnC/2Jn+De4NQR0CihSmxHD6PhCQfBm8tn2nfGfyQI3WKfDWGXHAhLUnvW39XGEfelCPsuX0eOH
rAm+DCxGLtu4gQiKocabzHhZHSpNJt4t+spdJ8vvlMcD/CLbzT3/7NLXxxwQO26Y1o1LvhsToonK
KP1N7HlvL+oBmyUEl/aapPMPKaonn2+Qlldw0lKLbRLPPePAuA60pE5VqIP09P/mdlYbORj7iZYu
mGut2Y7ayoXpdweqLbZ05t1df11AVavctzaL3X5Kj8lTX+Y7L4OApms62dNIScwD6iImVL31PRou
WmGlXgFb/oEdl/ta0166Ft/E6psKWkm7wOQcVK8bLlEKnWiWWh+46fivl/KW5j66rgHJZDbDoR7Z
llAiWPjeCuHGoQW3uUo6k2E6zPMdVx10fEA+/J6BEiuzIfujvgaOAPluPxpnpAIxoWCm2TmkjfO8
TPkp8r1b4Tlvwu/ODfcNI/7qMdeSmmJ0ecl99eRbztkeYHgilkPAk48nvrW3pGPobszy3CrodBwA
c9p9xL0zbzxv9Zk51fP6QFAj3juD/ojFz3s303rmnRFqXNW3gPLZvSzichfZ7bnreQHzgZ30iLIh
ZWqyUYa1j7rpxWXecOSkuJOt8phnZGLMSbHJtOG/9WMBNUfT5XoPaaDPxTjsmFRfUbFebD15Nsfh
3SOwoWTwU87lR9PXD7afk1/DNQFqsNWG5T9mFsfMsp/GquvDJM9OYz/q+7QYsDWiSM2MwFoj+yw6
86/TJD84tskkjw9Gb90yW3wTn7Fl5AqhlH5Yi/HW2+OlQSPfVtXwQJTHO3ugjlQ3uy5vfxIIzvVj
jdL4OOU+68MYIkA7dx+DpZ49pmsbYPwNg3eQN5/WtVX/5Q7jCnOMX/VVBDWS4epkyc51p7PbU2NF
xc5Lhx9ziCjKtDgOa4UIPRD6t8EKcpSde+yneZ21XOdV4KD+uLNN+TGV7Van0Q6tNSR5WeKHfirS
0LSXa4yQ2rZ4KOPmo8AQyBrgf+mwPGWOVNwEqyoAQ5yZBy2Vz502y5UwC/spOSTKO1Mqr3kierWJ
R/HbS+0sNPUAMtaESExHzAHMdnF6f4s8okmdp/YvHovqwNq//CiSSW11VmOGtsUFRuH7CtYb2JU8
l/706q+Tg5IgUiL7ErP98hL5X52YoV2b4foDCZTa3NEO4LrLxjZLKlznmuceie/qMNXiQWNe5swg
ikZefOigO9WYvKjBfahqN2yc+KU01D2aAPH89Ggb447o9ovI1rJVihtLJnapdPB459lhwu00lANq
LgaHjenWHzKT4DbyYq7ZwRWtM+fGm1+aKIEEdeNPOs2l8WdHvEhOtWsznbV65XYoE4ih7og0RzUX
06fX7VeaD5gEnHij5mrf8Bs6M+K5Sc3eR7wPjFvxYZSH3housxBPVQ22KQSbxLrmP4ZgzxXXAM7q
17xh3Np2ro1w62y9kseSnohurbgkiafCHGFgA35oB22MBOaK6B/2ru2Eo3JQ6BB5F+Gj4X3omhMe
pHTnLwWpWGZ9IiAZRTd3CJKMBWYdg5VH5S2id0q09B3/xQVUiMHb5N/ceTa2CLaEvTGoVjGeCG84
StZJatl4i7PpllYOjFF3ksK9wCWilcTxf5ViBMA3/mrO4id2zN1SUyfggCgr5yGtco5vXJSVDfmD
lFjgJ5j98olNM2/97PwRQ/0ifcp6xde/vn+jsvY2b443jCdVs6HJpN9Yc+e0at8pcY7GFstfVyNj
unke8ueojRqASM3EeUwNflunHNUW709z6DL5Tuj+RLg4s7K4tcewncq9QXDFznJsfFFD/UIzezC0
htPKK5BO4eaj8SmP1N4Y+kNrAAal/bWZiyuOmo+8949TWb+ImZu4t9CXRf/euuI/jaUdIabV59yO
jr5TPBg+p0QkkES1OXmiKAsos8K8Gl5o0rc22+S3KQTDS1MzJSnxWq6E/3piVPGehNq9V2fh+tdE
8V9jQ0WfSeKWh5gHznV94v/SPUfQZTIqJiPlqxypPvmkfIdZe9I8lqV+7C3/xTZx2HvWfk7treXP
t9zpH52KMwcVbZTdE63Pu+jUd8ueiNRuH+oG56pHzP7Use51nJ8lj5nG0yL8ta/i26Tk+p2y5NBq
OJHsTBEc5MrpBJz4N4BRYEbbVyOLDvy6lp+GOb1WyJXbGrsEeDGVUunFj9oU3SuKlSp3RVBmBfvW
hdoiH+cfBWSW5cx/nq5E4KXJX5n4F573S48Gco0L2z/PrAP+nFhGZXjDc9cMN1LscCzr1VudV2+T
1KKwSPA4DwR7UT0rMZ/RX9HKqkvmVrgg/ewCqxHKDntKh6yZSCz2sAuaT2XlezNvr9L2ulJ7hSFX
9RIRu9hqY0VjNgg0oYkaQO2TAo6bbyrv1W6y4wvb0XhDSMxq06eSuggTWLIXg413evJOlV3Pgda1
+2waQzsFlqKlu/Y6mXsuEVjx8J9OBUbzOSYbTcuhvjKsF9OHrSoVWrXXhh2JBvhuvB+QvAeV+995
5O0TsRyMJguGsmbdKwc/fQ9n8QSM3m27lfJe6GlUon8uTjPvEoOZvLJuFj1I5BsfS0fIf6vtlNY9
s0l4K3tJVaLbxyIynqTLgZRH8jcdECeU9iTUQo9SJo+MYA9D15/Myvnw+G6D1nIC24t3WuqG6z9d
xUx5S3lNQMjAECWD3mg7dgrGYg5dlYXjoNjvEHthgo9xVM0WDQcykQoxH6aHHkq/txVhuMNrbTcS
ATC6zchaRffux/lnNHc3ini5Ug97h3EHJBUS45qgLsc/n1UxI4e7M48XHZwI/LUrTnLyBeyes9c1
/bnmMgXwf5xZxuz6Cv3MwyNfFM+tEf/Twa2wDDcOJDTPohc0rD5Y37yl0XZaycONfXgr42wvDOTN
rq32eD2eIlEHzpQGAO+h1fkg0f4TwvbnkmovHh3aQK/LTxLac4TpHaGhHFhVPtqh1RBKoL8tiRmk
DDGRL/R9KTXA7uIwrnWv4Ny1uhzsRjxjxQi8CbLRGSw7dNLsYc4rmIgaohBp2sz4i3J5l1G9zfx6
P5MPsdS4mxbCNZuK1xP/yK/gOcypgFVv5DCOKM8F9D/msSxp/jFA1AI6dsDOig4LRG5IVnJKaDcx
1eehLILRoUEpveVNafi+CvvqU5m7abvHP/8y6fEuMmu+50X8RZp2lybQBAiSXSDzudNLl5V7y5m2
qNJbLTfD0dD3jeeHtS63pEUFUw/VSgW+jYf0QIbHpTX1oI6jiybLa1O1+zhCmU3LExX2tbYUsI44
rQ8tJA4i/PBkU01WTbe3UsJq6ylsO3Nm6h/vh3Z8neVwgPSvIb/6YJrzM57glSXA6zwCiVrhlKSH
xqnYT5+F8+KeuL23wqX5wYGEQSE5TqaNWdUvGAnzxjvTc22YQcx35HQlp0ASeoDkFfLj6PXpZuRo
SLnV6wr50SlbNxhzPMdSY+VntXcmX99MVsW+a7Wfemubt+1Loy97PzLvziLvqEByZxkW+jORKWhR
6Wl29C2AucA/V1xFPpAt0Jr/VvNrNHl3MpMORBvtm4W5ZsoZyQVmhJBeBB5YtAqrwaobjQDVhv3U
40SU2fxoDNE5bcZ71MUPiAdjoCfZB9FLHy1zcM+tbqXjvpVZO2HwG4yAR3vYmGN/NL347DFIdLiL
mOddsrh/5F76V+XiKhs3HJNiJwzvHYn6sujmCRn1W1fZYXSaZaVp9wuFbNRYf76MUDH79jFNhl0E
fdr2fhuCIdRBozCUow33PHjsgodc4fCsWx7JccA2hgxaYGSOzLUayYP1D5xMWfEqUsoiyb1SUazc
UReMhbpEYgCEF+gJPQqevZVUmUE1yaPZ5aiPNsyt7l3TpQqL2oGN5H02eT1NGh7DzaGp7w0n7IaC
qg/EdFsFA09gB1fLc8zGQj95Wj8KnLUjYIL2aA7xDldIDzCC38DpPsuIyDvMBY7OOW965W/rlMe0
ZhFs7e48y6UUXja+Mdwjn7GHVTHIMLBb292hRdMhdAHiLQ7xDL1x2HnSuM8dHiezO/q1fhaliyHN
cre6GR3Qw9eUY7yFbeJ21IBch3O087UFPsq9zPTsbKBgDp6RqTRemDEcyK3owbTGD9eKXmtR7vE9
EOsg92Y6fEELwLU0gZbFe5WVGyN1v0tzTVr6WasJRzp4T/zk5HPU8WDeHHVDnmdQ3DVAKt2BsTGa
JocXf3/N51Prv8RfU9prGw1XowNgsn7w0bzcKtv3NyM8Z7UKlPo4bb1M/Vd5TTi1CwBg7m5N7S2F
nL+kg/oZFIkrk/BCrcXy2v2bUVKVPchT7FgZJat7oH2KA2t5svlQ/DJpwjYb4X/KEaMrkqC0gexL
ERitpm8amb3WM4Z27a0EI0L38QAMEX+AC5+hmXdZNX0pL6GLBy/ZxI5AtJDeQ2LxSBblqbPqM5a/
TW3HTza/FA/8qWhAuAbRoBTlYcZTDB/4x+K0k4NyZQOrDI393vS8VoVehU5cnBeOJj7rRz1PEHfz
L4rjN/ImBWys+aVTEDV5qOFdqWINV7B+5vrdJ7zKlYC5rBTrX60RmRwOiy/LLtlDReB+ZvS3pJG7
dnFCX7PD9W2z9I78mOZSuMWjiItPvcE9tf6LstNGmtxfPpjvyPEuCy+8JtpH0j2Y+plhTIZE7DTU
h1WI3yIwB/+swanEI8u3i/yULl88CGuP9bHefUXiHppCf9bz8sUz7U3KHH4Nv9BzFJjaJN5r2Kb1
QkRnI3k0Jvk2VcOxXoH1BOQXVOCEhbsLZDVz4qONrZ773IdVc/9/ha4naD5VdeAhrCnFtcnuk4me
NWjGVG1Svfqa8vqcK4v4I4au5KPXxMsU31nh/ad8jMmSARBws7sZooRhMrQuvM+ik+xsVZNztuCd
90U5Aw+7UHkT3gjuVetFL+eHJm+hUXxlhXmtF2+aOz5TxLRb/Ei70UHfYlOXZEq6tPsWGAbb63ww
F63bll1FO00O4zwY9PWaDqm5gJAwhUSkcu2jEYuvFdh25FQd8moq9qhEb41sPyDY9pDBFED6xu/j
QE9pchQbUwdcJZYCOFPMPYJCzGt4CGRZC1aVpvVDy8LmoLaIKxkn8lHy/tGmoBnH4aVLW0SdiXJj
Efe5qF8zE827LQ+YEH+saNwpx9kxwybAif0iQ598q2TZNTklZq5fBryNAcnPmDTS8cGBgPVN7Vlh
egqmwr5PHPwzzXydl3RvDHkwEhU83+XB11GaleFs5EynKrS6+eHPJ86Gg4OCHQuFyKajwCU00T9s
JIUN/pJnYkm/JgxWFDbWlQG6tkkHgonm5Hew0J2N9HvIi3+z1xHmYLaH1GieFJG/BLjcDYv4+jGO
D1DLlIUFOoxp5pdyboGsm+XRgThcFvfFtJ2nCY/JRq98MIqOuhD7F/wuDyBGU96yLj9Lv/qXlZpz
LLT+vVY427uRVgejw8XgnMDQJC8NNYy/9PtJK3da59+nvH+upbqavfleePFrhL2MAZ5LHE+GnbYe
5J90p0+Tp1E4yZ82uOHap3B9owYkW3r1x7JdKPpwWpveDXk4xQbRgSlRkSEYZ0XrbVrbp5/tzW+F
byE3q/NopRDu3KEW7FGR9BfIwr3y3Y/WzfFJlkCtvY1N36SlkRX/yw89Voe6Ir+YuS2pROZ68i8v
KKXDFtHwny7mdue1zM7ZlTjUpvFQLjiGrQZznhtHzDZnUJmyLS79IPtjVOZis55MVQGXbLV310WW
yeLC2zh4trfQjhH/yeiR3gO6NKPU0ii7iCIGAdL1LQqKDBdPe4i4eVkOuXWXpAqls8Cc8bF0bmuD
0EzybGvQanoGHmaLRZ7rHkBtdkdsorr9QYeA8KSlv3qen/Gen2OZfuqTv2PUfjHYac7VWB9S3wat
jP/ZPdSt0Hyczpn5iA16j01MMOby3tnjfrTyBVomnWjw58eiRePGcCI6925Pipw07UfnBWNMe7CG
4dXhRJk46uPJwqBnLKEq07Bv9BocvTp6pjpVI773hHwhFMk9K/FuXle+QGy/VTaaPO6Uhyju/vw0
O80Tsir/xKuVWxeTrJeCOoY+KCa/RTDFiaazjR4wewvyLfk9AxEDMsmRTIW3XTrLDsa4264qozP7
t6jRqem7sglBw37dZqBkLYBQ4Z5v3lLcZdd9OYszAOrgJBgaBJ6y/6Pn3JMoEXbSOKxlSOdF3zwt
YeI450nTAnMaiWlcnyvhiC/pcz+p+EWhZ5giP+ZudhRldBpNvHakrUEan4zePWa5dZ1rnL7Y30k+
YUoxWzF5xHkg++reLCMRXN6F0LI4cDO/p5Ic20Dz1E0lNYyv7O74lxFBx2IfV1IDlu1gi2Adae/l
z9r8uZX33CG5JPl0d0f+fM4nCIE/T4JIukCZDPfplEnp4QU/kR0EiSPce1wxkVysB8cez8VsP06V
92SY+WPr9/cxFu8Rcf00Y80lrSmd1o/XXFmWgXo78dWVLM7j+tOTVxFvUpOAqzUYCt3Q6uttyxTN
pOhNoLoMvtFyWl66pLoaPclyRDVF9COTn+6YNalwGcWRSu+pTMsPXfgPsQFjqDX6/4tLIiCCtKsf
C78+rP3RTJVuM/t2ouquV8ClTqWukTUfSP46jV55sWuETqrxVpgX3vnialoIdk21JHu9gR1vDd7m
iDS30Lb7iqlOnW2NpikefdjoQ5MOhPY4XReCZpqPU9zH+1KXyWWKpPdskqgEm2ssb7KhQsYwph+H
CU/3zje0+IcEAox1rLDOtvU0+v8SnCc8LHFfXIuJw2aaq6PTl6QpDbNOVJNYu53y6gA5D5Xx7nLC
b9zBufaWSbLaSlSa019SgvRUXAqrDMBeGghEapOFjBTeeqbfJieYHk9/wp+Rkdtft4tOkdC8B8z7
TMQAZrYywqzUT/0LEbdroWd92VH0MirCw8o64aDKZ/uUp136Xy1G2A9KhmAdp7m6HoGyMxtZRrqH
DaXqeJigPpjaJN8AuMPZIjN1U9D8L7Y614IMorSN99pMolZPk73+nbjt3vmFGYjn/inPoh/Ejncx
2ocSpZW4u0rblCOFkYriB6GTeVDmH3JMMcr5VbQxyVka+upLePY5bXmG8YUApSbzW/0/js5jOW4k
i6JfhIgEEnZb3rOKntwgJIoN75EJ8/VzMJvpnlCrW6wCMp+599yx17vJmL77MT9AwjuzlHjy0LLH
tv+r/forr4YniH2/y6ibPLd3/PJUijWYAt29oe+IDlR3FJ09+9B4jD8w5b8jHIRsZxdolTOAZ0P3
E3LRyY6VS+R0Pxgi2QwyrivNF3z4x6F1b9iEUKa1O0z3FxRC6v9XOlyi1zgJr0MFn7VNhvES2PXB
G2DVoZ55RMF4Ecxks1p9CzX+4ajyd26X3BEdXEKUULFczAHTpmqmK4vBkpAg86+l02en9xBwTFYH
i8fbIit4hIZQewapX8Msz3BIMDHiANp0ckg28Iy2/cxFj6Px2ynSa4+sYq1lwqJPBXeU9I8oddjY
D1kJI1Gf3HhClQBpYJMa+msMMbWlfvCvHMOB3X6zSMAp2gKvfcn7oORdyE0kgTTWtdcBE+wbPLQc
2ysXDfrWrpICcUjNxMNt1DOFmbk3/P5hO1QCoQmnEuQB36gE6qFt5z5pwUKAiheh6anO84/RiCAJ
zlFwTL28vVQVxh05WYs9nXxTUvn+C+vuu5st/zGkxRWXq39yp6WhQ/u77pougXxVscJkpbwikn2k
vBk62k/v2LY2UI26eCmy9q9Gtoai9YZS8cpoP8fliqTOntkfxkilN9Fc1EdjyNSPJWaxd+fI36tS
mP9U1BbBKg5RdAprZJTht6waciSxVRMU98QtxD4oq8+qgm7HwJeql7jZVQXPdVXIrFhxG8HnCaON
Judl72XWu0n3+y4mHkMDC0rsmq/K7H8LhrqceWV0qzoMIFVpvEktxX9eNBU/EiUBShNg9/DSpmrd
UpkePDFSAPnuczxyXA7KBuERm9NRAyFa8Ws4uYwO9k8WPmSRAvYZs1eLXRglYzlsHFZd8aTZ2UyS
8bDBd6XmQl0SZjSvyvXHnV+6/kXkGJ8jOTWUv85ptnO6J9WDFfXZ3l6zxn802gTrkKLitqoc07KT
hKApSzNETNVck4xCeVY2pLy5Cm+8LBnL5+mlnKjVo3b8x5iH3clQBS/4w9lNtQG2h2yo3F9w+O+9
bu8YHu814gf4Tjl6CA1JSoysOoI+eQubCEpIT63R9XaxDcCSAztiggAPeNj3SenRUQYviUCM3nk6
ula6+s47+Z/0fTCtqkZqL4ggLLy6eZGp+hoRabh2dFDmXHB6UNDTlZ8zPVuroUqehgrLvR4wl+OZ
LXa9HcHTcjt2GZnbrodxtGpoYfyOyuxQk0XOkanwfYgcGwl1+Spza14HBa099qMaOX+cXVnDy3M3
WPIz8FAfxVb9hTzF3kbj+M/N4Lcl1B/ZxHZunMrsa1LTm2Wpu+eBkXLbrP5si7S6NBK9dhVErNhK
9phZc7aQyh+ZpN2t3k/3YS3POq66kLMcn0aj0OWYpZOhYkW04VhTDgN3bk6i7BF4G81FeanDlsn5
M9JV3RyR3gwfubUR5fsaOdsKC+d/vWp+Td3toXvUoM3yu5UntH8mHNnx38zRQC8y0HpCGeNeWjls
5SKVvkR599S11n3MuUQcxVQDi2O1DtzyW8a0uXbfP+KmB+NW/vaR+EW86W+Z4MCFc4x/RTs/jDy9
1jnUkOVviqSkFqScgyT0oO5BE+xJ7BIc1K6zMAysjjfDLRcdEHQ16o3voOgZLoZ8GV7ezxtIN81Z
xomz8fFZNel06CPUXBAW8aKEPcXfoYqqvRhbr0BaETwnxNEemTHFy0w2X3uBb/4J/Nl4dCjYTt7k
x94GQuXcr5uRk4p+GskdlJl2I1CCnwsDI89EnNHaR1lxLsuc7cBouz0WU02KRYK/qHMNeZERXNz9
PET1Y2jS/DtvhcnGDQEn22DhiYx/34TlKjAN/PBsvMpPYbj5KbWq8RfcFm7dnom+R/MLK+3ZNurm
VZKM7c8NYug2MLP70NW64eQPwMhavcDZFiq2aW7inlrpiXetJ40oHic9X/OoToi9y30/heKcST95
0lEED6V35uc++Rfy0+RofnLrj6ON/scZW/Y5vhWV6AKUaDr8CRYiYMcVFu2pyf/4Wf6MijBBWqz1
AMkPIM9HvhhB8SuBFrwxCaFnMgftHJkKZNvIanh8C7A93OtVUt7wsL85usOunekc/VlpRDtNwNW8
RQc/fFSM3koU+WudB5wvsKfc/8Za+Ld47DE0ovny/xMgpqo1/Mp8lXKMQAFOBsKs8l5BCglFBPOG
oYhRIJh126D+oxvmc2ZEV+0Ba7r3KAxQiDnio5qMMWKuZ5NuF+r8TaQtq5rYmUJ2pgOqN9yXITgF
0h8+6ikRx3jEDlnNeq5xh4vgkBIgcISeoA8OcHhGupaJOMkMgw3mRv8ECHoE2tKKS6QnvG597P2q
obMWOfRke9x7hvWf2zUcz0lW4WwbaOp6INSZlYzP7F0xF9SYf6cJw5eBAoq1FgaG5zhnHDEZAWMC
x/EeaBypTX0ztgF2Ymdru3imlDcrhOleFVgIo8QvFEU8GGz8HGZWNTeTxAtwtpkApjTrmDuHzuuf
MpbuVaXrXVkgDqmHeTppUKgrPtXgeZ5DhK2cywfM7d73UI/hkwqG6lgw+1qHYcf1LlU9nqxhjk4C
V91fe4iYFMhyPMyi8NberLFDJ374PKVucsXxOp8s/GBnWU4JsLl+iteZFTOlRlb5iW0X7LZp/etr
dJqblqymQx6ECoOCB085NQwEY1MWLmi07hOfIvNASRe57j2yxYN6yK4xT9EVw2BIi+VX9s4r0Fxq
bOlMzINiujrSBU7kUbifpI2Z/DHnE7D+uFYNVF5p/9VzZxyrqQme81zrHR8GUUhZ7zpHX02IZMLK
TE6Owz6S/HrRggQvhhzdaZanf7RRTliTgAKux6GOt5OjBUsogxFAYM0KXQKStF2M9u3meAX3Q8JA
8i2hl4SOKUBu+nbW//V1QztfCI8aZ5w85qS6NIr3OowNf0WpRU7ClFr6yVc6CY+qQI2Esgx9UwvT
CEs8UtljXyb5eFNNEjpQKt0xxjdqByyZSqSmieEvCiRnkfq3U8hMk6lDig1rNkyCYjgdaehTn6kY
WdLarVO2/6PEdpzjIGUbri/ObDMoy4Afro05cLdhE8zjbWa28Rwi211bYhJIKqKk2qnEG+u94Mjc
1FHHwDnkaKp1rZ8dR7vvhW+Uz6VvZK+BZCyDkKLcl6O2v0WTy1Wdpum+JTzq5oB63kaamVTpsNuV
0UjdwkPpfg6g9l6LGZadnkNYMbrx/lTIn6NVqbraAckxy37fczECUzD9dJPKpt06Ph1qWKdN+OQ5
XXHRIoYz0hFLuXYbb1qjeVgiEIIUzwrO+h7pGAfaODO3qXyn/rCkW7zmND6Y7UusZ9rEB4I14DIa
gUClCDembaZyayncFjj4XBApmsRsZOywwIT6gVjj/1bCLh/AbKF5SG1fZYCbL29UtmLdJbe154u1
Tqpm5TZms5dxKN4xpUx7PsyF/0GB3xYIZNYhdPcVvlLGCanXcSgFv20YADJlnrpSRptd+xa/51NF
93qvXFdP2zQADaYhqO9k5Lh3qyaRkRokfwQm1HQczPqlQuHHPtjD6xpXyDh2eFbyZOsho9zDzDK/
I86ea1TiTnSdqmWSCr3o20ZDtJGs8U+DDTW9E8zwY+azFNG1fzc8nV6tzjewwpvF2XQS99FmGmoS
1si9HBBpMG+CeEFR0B6zxLBf4pE4VdGJfGezX3qv8yxB9Z6oYl8lTHZsw2gvBpa6bBWUuOYGvPG/
rmcE/ylVQTbBPRVcKqeCwI8BeqM98qgkf/CtCVvtbsK/YQ44xuTiTuA5uyzf9HYu/3lKGM94GcC5
p67aJIJRqcukwzv4UY1T2nGKhucRS5w909o4imJjh+La2gDRQ8DcNPIQj4g3GwEnxW6waFoMFHYW
7t5NPJvwCkSt94MX5T8Jl9KOgF6mOHCu1q5XgSvzMD4YGEkBjZatEWw6i80W9hW5aXxUZGGcsUOx
bAYbywrGHSsF1mVwWrx8cfcpA1XdRefF6uC79XSf4qk+ZBplxsFPIeoBpWeNaGq4CfMQYuN0h6rb
g1EbtlUSJU9h0lq/IDgwkqaJ/eyLOXqABmiwZNb53hk8g8mxGvuDnlrgdSHdM6qOXhtkJ7hz/1fK
Pit2DU2xjbpReSd0iOVl9jqmvrULFT1t2MI1U3/qnYTWTbKMSxz775QN/REqF+W4w7KRyBnnYNs9
++EaoGqWzvneGKCeuiwx7/mE723Nxb74FcfgpamC7xRN7qI5ES8pMxVQGOXMjkGPzibpDPfWpBj5
+ZIBvajZ2sg09NDJ6l9bBflJG6a4oMcVn+nkgYKkBaXuK1O6glWCmXtHZGmzsZwi2CTRsu8fIvdt
Cl31ag/zmyxEdm2NoWfL5eXbzkl9JkXARzdx63evQeqz7/ErFW+gBA5P5Whg3THPS63CWHT47AOW
tNaAhMGkG0lbQHXkCEzGAsDBnjWK5zJ5l8LftpDvg7KGBh6C+LN/mqql4/JR7pF6TiW9bLjT+N02
UgaSEpF7yrPGxRVVYufOCvu+p2hnyw3zR6w9kd1seK52SCVZ/QWS/xQzY7tTnxbLfR5V+Ixd9ieN
xm9F2sPkDObKmcXKoEogkgvFFpZNLZz1LMFvKVdsdNze4yi5OGyekEdzx7zgHwGbZq5539aW5x2C
rDl5Rvfo25CPCwbJZNANtrusa/7WQXQn/REvXoeXzF/nffWTSNxWdfwd2j6hC3rexPgzOKponkJi
DFxgKHg0Nx29aVHBkc5H62XqWI2Ho4lFLXph03aYs6DkZiSLohmPFbkRyowRvM9bQXBFxEOZO4Qe
TzsdJWcxTmci13cpoHV8iPfWv44J0Qn6bwnfeh7ju2k2qHDai1AfqvigRTnnSbBJE3aghXeaJaLC
tGAUD6QPyS6D4EZNi5R4eDXGiUajaqzdlHY4WaC2rubWaY+t49tPNAU5IORI+eupkvVlnAkGydi2
aYpINLEqiv2nuWwYzESFne8iyzB3nSnmDbMoYG2dZ/5zHLu6pyZVraiWshTj6EpHkBX6sk/PeZeT
6wC/FRswPAvwV/ik26SZ7qDr0oPv+B32njR8rl3R0JUlSJuyGoyFVBNSUd7sVd3V3WfhkNjQU+0e
raKfrvlQ9X9cm3FxLrP5MbtGBXXasQkBEIxWJkM0t8gp6osmXOkxgq5C1dYzqelLBNrSrbI3pO+A
tNx5fovtSqG7GpunSLvpHmNduDMMozn0QDBWeQmRsF0IELUjLeSwZfqbFHm/Y+46rf2O+Lm0h+ke
yoErTOI8nVE+2JBilbdip/YtPM0hC7A72xndjNJDh504ZYR9bAG9yR2xVEt2gKyOfq16DJGtuQcP
azC0w40U27D0YrDvZ9cHLuR6hXNqozISWMnBlaeOFxziPC92pWTorYagfnYGd+TtSCPnG7IBeSFW
kdvfzNnNDTiyiIUsiLvZtn/rwdEHQCX+mvk3Zo/CRW8TlAP3dl9tBhiUUE88l6HKiCUQrSoyTC/e
dWnEYrJiE7d3wK+uKKsgldhlvzI89aUt5k4Gjretn1Q4v8GZUOLzZMHpNMw1u994p4oUkCR5r6u0
ZAaaG2qAOYGnrQrb7OjLFkZG7kYUNkkyzojWR8wMfTTPWym87ohR2rsSU+V+pqrI/5Q8/7uiZwua
IOh+H3yGW/zE82cI8RsPdDUAtU6meqtn42/V5hknR/djQhvYpPi0Yb9bqKHy7l6UvrmtWwSxQWU2
29pgpyyV+ZcpYbdGJdxtZ+kVRz93Eai0tbvxEbvegOGmB3sUxIqIRGB3LsoPLFfy0dcDs1FO2WOf
SzDRBturIojDs+Ba/KNS0azzCckCymQg6X7q1GiBgQRHaG5WndOJc2hT6hlJjnxqqutHpXPrve25
LqwQuZ1MxD9R1+WzA3eNaJjcI9JDx+vKtQWjdqFf2SJ0R8GimPgAmk/tZNXOErZB3wBYyYtqBJCB
o3ZqGvRGYLO7SHyMm0hhMtTcJGe8/sjxeqyVpgmqpYnt4crTnLOdyYi0wII0nDoZFz8Q84r7oGWz
tsbIpXBxwn0Wq/F5TjJAKEMUb8aqREop0U8Vfl2uR5vKTMZtuQ0rD9OsaMVLNdYp9nzV6DMOS4Rm
JN2uYebpveoIC+qVLbc6YmdrKXPiF9ivz5M7360sM/4FXd7th6TpLx25MDt2lOIWpjn6bbqDM4AD
FDoO24NABepGP2e/WgiAt3HcomjM+TJaU0ffRlGW72Mf6RsgR/O5qrkVPCmx01rYJ279pO0Nflvj
uQwbf2PLGNVeACIPjwmuD6elvKmN6SiZ5W7MZh5PU55UoFyR5+io/8yCvnEg+rJ5SXwEh3yTob01
s0xjqTN0tcommd2svi+uediVyylZ7ds6WVQoZrsOQoJzCn+gzsPWVD1LvtbrMMXqtxUOzzoy8OLd
FYx/e90DiEF2scZJYoHYnNsWbpWw3thwy12k5B9JEXfqAfuesfnjDDKAExgl5EMQaPm2NGrMSA5O
nCTxKR2KQ9WEtCnofSkrcUlsQ93umChhKH6N+nHnRtY586c/k8uPJX0K2dL+SX31bvNBhZVa24Bq
IAluZ3bbBHvtm7CA++Psl78P/ISX0T0k7nfVeuSq1l8MXhjxIjeZGvGG3mNThMG6q65jpbc14AFk
/F6WgMVpcJVpJn7T1ZgL6AXBBrMNQxh5HpkPgQlYTVx9rs+cPh95MfTT8lc5oQlO0EmnllR7QKUo
U2VxElHyppv8mkcIrixLfEXEBKnQviTcMBVkoLllRuqg7DXENu/GTQbndhXJ9lJzZKtAv0Dy2Mmg
ROkcHeY4f5n4DVmmTqZN9Vp1wbDqMJw3SYI6wGFAYLR39GzzCJtqcBAFhWcYJWsGLGvK6VtiWF/C
4sxH6+umLVYUvLFUuhycBJE1P1kjGdORXzSKbWrmuxDE5cYQ1QtrFVbW0ByUDY3o2ki1tpJr0/t7
0IhM/YKXUCrkzdnRSmDkd+howIZ3HcF8FW6+5RFKMLaaRfLXgFC5CVCLR+H8k2iY/YG9HqEdMzFA
vKEybGLzxnSgbM2gE/vufZjvLowm9psfRsHlUNxSc9iadvhuaTYxc3YwbHFoRHQykuDQjPgoiP/m
stAvhPToI391PPWZ8x0X/GlDjdQ+SwDhLc9dRO2XOgLWUYAryDvb07SjDECw+tOHf2vro5rHDXhc
9FSLPjr9zw3vSJYuaAoJ9hDAI9GkeJa14inKHaC+7dCcZ8FcbQGvAjrE1gQLDCrGKrD5IaIU64Te
zhg0l8cwEd7LmI67TD7ncDsTnnDf7I7+lP7xCwFLm5p14ED8mKo/RtSuRvMzY0Ip+HJJmbm4BA2A
K0Q8GzHs4exxjOjcs+6ddAEFlpMbdZpM7ppnYyzlhf+Sx6/2xrwKGtTMg8a/axGlgC50QJTtBVtQ
0lsX3IMbp1cfPznTEkjITiiYHKrFlljvAoVIIq26N1/lL1xx20rpbYNDZ46qW6AbNBYND8fivPez
G44qivVszea/T79Cw9xMzSRAeNJKDPDG+vswJO/xoEhmkP8wKh6henz4dWpxzgiefm8j0BBVSMB5
YQdfHrxcPRb9WzwgUJ3B0OXVLjXGvRlJNAKkz4xyQSYZ6yH2v7Kh+a4a41WaU78dlPu+PJEMHnF4
8o9O0nySwHBhrO8DNz0J5TvHBjFUm08vynvp4g8BRWIV41s2m/7DXBI4R7huEcqxJ90sCJaueCMW
l5CAhNjNaGEOYkIMNrOLzG7wYMtPNWctVplRIE3FweHtRl5jbPHTORnwsJKsQoEWhA+opsbZ7iwS
emTw1EER8u2URypNidS237osuk0a9Q63wK5MC0S3xa1ens/GCC/0YeamtDljRzliGsOE1KbOMVDE
f3cN8lWHfmV5EKzZfcrn8ZMIwIO9CHpyCYjB6JtFKpQvQA+UP9g2l6chTYe9o6EigfrMZ3VtHA8t
zchmtEbxvqmqGP1lW7A2KlT1rdrAelA+T4fYckvshUl3EZEuqN5ozcyAriJyoYYH4UtPnVTPjOcX
eCmcDRwwiM3lUHPD2uZ7TPQMeaTKmLa5FQHNA25OMCDy/cpVb2B4LtC8T9YcwRJt92oCRqLlCfkW
JZrfM3HLR5L+cFEzEGbsSJfDA6+fiiT/gJ4GZj7pyl2Rcg4WsUH93DyCCc99AQRiIzHLrF32xvs6
cq5tt9TtMdoEPvHXSOEXIKKLuqVfJ1X1E5sj+REMAHn29BDs+GwwJmu193q0gVbhPshPpq+DkE2E
DCL7OEpPWH9eiDFYEfj3UkVkUZEGgBrj1zTQzydNduVewbBoXVoX6DagEIsFhYu6kk6Z8ANmz36P
BG922RjQoConNdYuznKidcYvNvJ/XY/YxBAEBsl3Vb/2l9uxQrW4IqLmV/H2S4cxXWAsdikTBXaw
NcaGg0LvxmhATqRd5ifxOwQCYz0WKQ90+xUy8wcBdKomxJkKiF7LeaAy70zgwT6z40skwicmO880
mozOfKvaqCy6RqO785vuY075xPTUI4UZqm3DiVGJMt1iaf6BIXJhX7GZ+Qpbok6Y75zysWP2aZ1N
SmnoQ58yo+woxHkICOEjPYxZGFYiciBQ2pbJ1R30RzAL0pR6ySNEYGBaoFo3GC2miu3BgnpxRvgD
nGqjSRDB2HXRuvODFwsYcpuSoxkEXbStODXgeATc6PVIipPJYHqKXpYfAiT/omgafiYpzrTmPIo5
RANK2/FItwgOoPL3llaPUI+Xgj9+2RKYhFp6E/nDS9Ibz6Blko0dTnAbBupYI7JWhQ0Yz8DXGVTo
80uH+QpnXgTUmSYZx33JBC0ISZ1oEWSQUARuPsVGu+5mG0e8flUeU9SSw0drIFqB++Rk7JmADvJm
VxrIXETXUbevdQ22dY6MV79BUOaglNDRQBxLpn8Sl02/MIMtOXpEp7gQa8OiuTIZBS06IahtwmRv
G+aDiMC3eOFecd3t4xpxcGE2ayiWPZsodZXI2F1BQ9S0w24E9SUN49NWE9Lz3tvnXKExvU2rmWNY
Ek11E2Hi6LK7YBZTcMKlpL2TvrlngkrwaPXG6uhgq/LH99XZow/XZrCUehwB9O9y7XRehu7RPvPU
FmT9lfcCNcd6mIfm6reDtdUNLvfOMlsmg3La+ovW0A+iT21Mt6n0WUvNv7VFQzjOc3FrUA3a1IcZ
rkhSD+/EtsMyaTF3cX3UbvqHZIXuW6H2PkfV9NUSrnpnwu7hmjRvltvf06J1T7Zsgq8iGcJXq7TB
NAUR0s0I3Q6gcH6ikALJtmJoACHqXOX3aB3jeziB7VZs5nwb44uBNIjlsqkSBKqB/zxFRHLNGHm2
nq/MVUP4GPRkOvIYCnh7dQq32bFxqQC48zsIZT3ldgrKySZ8Uja8mPM5NwFRNyjVVkGMq6mwWYeW
mG18fyHeUb4xPG4sdIEgEpfbg20eghjAO9rq1+E8gEb2C+Aawrpp1mTbkG+EzM41gpotDWG8IgmV
1YZbyp2dBf8hufTWkS1LVgLThfnEWzQL8ozmkp/IwRMCOeKzwj3Q9vK9BYGQRJ1CYV78C5PhLwdS
fHdi69ltgneiYJ+ZQx9c15K7OQCOrWP5EocmaABz0wTykUNmYaVxsJsAXCnq3QlRYR+Fxion1GgP
At64lpYa8WGhuTYxBfB06ia5M91Qm3Ys0UmwbLBA4hPDwog4iPYzH7sM0NCnqLXWjuN/o59/9Z3u
UUzuxzL8jUhoLKDEY82G4ZkW2bVgeN4k8ynhz+bI4VUnWqwggRDGIpKFP2HeJ3tBfwX9R5kFEcM2
pFT9wIWXMheVWboHO8QUvoSToPHS+Ajhyyo5yVBSi8dvzBRcfLGT2PbC92Aolc/W5ACjMOBT9EKx
4AC8xBdbvMAdL2FajaymK97WNj6Eo32su4S2wZ+2orfLLTPvR2I2D/TI/jHQA7CXBmwJEBS+o+Qn
mcPvMnC+Gx+1eNNch7q826O+RC4KP1vnh2g2XzzfUn9kYr9C0tsuOlLHr/sjk0K6Av+mi+l5aEmz
NYm3k5Pxtw07/QikH20GI7vVWfvwcg/kvkHXRPpKajzSXAyrhB1skOX0n6RZ7mew/7Yx3DJH1IfO
Ys2V/P8fmkjsdKK0PXJ00xIkB1cnSJMVAi05d9WmaPz0MKoFxp2zJ62jcUuUA8Mj1bEgHbE/kRWs
1LsXJx2ARA/sevluDsEHQqztVIVvVYNkkHP93ZXFHRnAqYujo0rHK7r18zQHNzYFf2TFy6G0vZuL
6QNhy1/BeGPHdv7GUG+DtdthV5VCw0GU52fmNgNxO9vOKaar7dDWJiVFDBNx1rprO5BQ1+hKE7Jd
nGW0YUrzte2otxrCUYN5U2ZOsORd77Hhl5vJTck/I+fIciL0Y4JdTDR7r5gY//MktbwM1zxxJy9H
hA+F7m6kLq2wAS1wZJ3FFD4GOSDYrbpdxibe/iTl6SRGttuzn+2CmF46UFdmdNcgi4++NdPeIwCO
1AR9zCYNKtL/mMpAWkhebDs7Iyz5jrEubaq2/GxG+E90AUVRwUKxGrZ5ElwtVwQYjP9ERf7VKsjd
aT0KtPu1A1beLTxxiKaegIS5dw69vSTauybUGwKkEF/lJQMFzew+D9g1VZWxs/Bf7FhHIiyihL1V
RikAnISQ6dxwmUtJMaF+YBecDKIBE1tatMoNH3uJbOjo/r9NTT2fBRzrq08rA4AbgZxDkREM6oEM
rLixZY+wTLVFu/PcqDvozEvxQsHgWw9hIv62ToV1TMWGe+d2Lz/LMvMQX6CKU4SSI6ZZAE1VRQxy
ajvdeswCe4c5EpAqMS4j3wvXQj3bMOfDUK3RZKOalBnzLQcut2t6Kl/HqFy2WSDiW9yNJpO/3npu
ktbYxyqBKe6O3tHRAOSLifow1r53GsIexVAl8ouA/3PguJHb0A3QOum52qPtKLYIWZ3LXBowSmxJ
sTQsmwgDUD9pr95uLmMA7Hbbdhv+9TXxvT4ORsdKzkTlDBsyPBhPdKOD6SOuPuu+4ewDuU0trYyT
k06ELfekaSxRzXunjcA9ez6gIVcVLjvLWe8Nl3UvAHMUh2ymd3EZz/eq581TRoQiNHCMRy85kxjd
tDxPZr8NYKlti4bNmDaZobOFiLeW1ARzSg5qOYAWMdPcxV5mN6Be2vRpaPQ/C2wBT1fqHtzICO1N
B+HyxV0ICg3Ug5XB5G6rplyfa9vyL4UxILzI/fJpnMvlGLcZasSzXwM5B7W6ok1JP0e38/ecNf1+
SoN5q5Bsws5n02em3KVeG+b7SAS/DvfR4tgteS092BzowSf4IfEfm93Eqm7lRYQSABq7LN6miiXE
GG6zZd3VBzTAzrFgYmZw3EGQvBZ+99PTEaEJCP6TUQ1/1W0PbuB+9UN66ofslEiSzRmK7iRztKBo
oXLG3R3VxNYZUOnCryDu0cRSE1rJZ9H29qoMu60PojEzrLutmn+z1eJxxtGwGhZzYh0uJhmIezzG
eEYA+wnhnDOwOch3E7La1ZdEK7wYujZtMtsnoT1qOqXeJqVGFMik1RjxpfKWjJuaVRefBZLVTT7h
6l8MGRXcXtT3J/jim9axP8YmXQ/m/JJYFcSBeG8RaNEotrVO+wrd+Vc5aKPihha0X6qSIrq4U3DJ
yAo1a+M6pMsYsbhIMzx2dfU37oYG7WRxmpL0PqZMRVv3GVbT06DMr24en5V2sffTlGYEK/WJO6yc
zvizGFO8KXmxmAbFsnrKZvvJqx20MtlXjzOvN/y93TU3i5ldA3aGrKj4MkFc4m7ELpiAAI+bh+PK
W61NvOtW9tllLI4AQMEwvDALfBVwgb3B8lZWHu9nZzgNGQwBMVcsF432GLXy2SqtnTdn1+X/Own9
pAX6PhsiJknTNfIJTkFd/TdX3S7yhqdAiKtbtzwG9VezME76Ynz3C32pgi5Y4o8EkPUy2LMNYSbW
45FU8wmd2wlRCctm/Y1TZFfmxRGJza1xxV4iN94FsmD9XDwh636yGG+5iIrQisHPqaL0YSfuvWvm
u/l/48twI7yzPXepCmh0jQvlKN7ihjnc/1keSYOMqEXGb+fu6+yQ+8GLx+6JHEJ2TujpwqZ/iabM
+2b4wi4qzvLrgE7LV2Ddwsb9MivzaJUTeCiTamWFQ8p/dbHl8IeDsD0X7q1jPUfiSATnLeXeM8vq
/x+tQjBoWzmwEZhRA0GUcUKNUwz/Y+k8luNGlij6RYiAN9v23rBJNqkNgiIleO/x9e+k5q00I5Hd
MFVZaa6ZmIw5MyIFLbptBmk3qXXL3JWWuZYyig1M767TQcOoFZ9xJ8YzHA1YS8mhkEKqtbMRuItC
ihLg2gPgsjuCO6AB1A6/UDJ5IJWJq7ftE44FyFKqxkYj/0AlfjVEWIN5afbRF85Sd/ttiqKIqGe5
cG+t8vcAXg7NZxRzg3YpneakcfVTr6uo+uOVK42FOlCTpWVO47YdkaaABBvR2ezNaZ2jSlmT10De
xFKDVi4i5Ki+HhgxfHqjgk4VTOQyWXPAbGID8WsfOI1vHDQ825mrH1oF85HJNBYdTZ6U0dexCrR1
3YdP7KSXEzIHnAkcCR1Vnyau4m9dObuQtpnNalbyZ2Q1+wTiVkOGLM1ozRTGa6YhT5tN+U7oENlo
A90PxfekitBpGHAGynrSB7IoCgFFsk01/9Sz+GYxKoaAyfTKAlhYJ4zJfCc7FyHcoLk99OjbkFXP
iOamKGoYJiQjvzzV0GbmMfq2iuwoPZJ50s+QRe7/BsnI5a6NxrmqHn7cAbQUr6+jLaDrzexzdlZ0
NWt9Xqk+WO82ovKnNWSVSBwgGLP0NcgJpu4/vHRaW+V8rbMeHc50RA1RQMrzpTCCFajCXzPYFyOF
q55BGOhJFNLsPe/Tg1xX6IfI/7zTvD5zhKzcNHnzAesHI8pdpksWh5Q/fx9b5AaqeUsyMfyl0+96
WzdrL0mfXwLdpeZFOEKJ92oh1eq05kRbVyZ0VhpW/3RptGTVqg6ZOt65AHx89ZRoLeo7SpBg2FGv
YqgQleHhk8vsNw6jlT77ACPdXZA4O4tSKQAKjr+r4NHtu9urhypx76WlbSAUgXbVDWgRZnsvdazr
Y+3YYCA6t+E+9XVmbngZIrw8XMG0oBWRukszo0oMvekZxyNtXss9OiDAFlNpvufwfhZTBm3SmJYa
9G1ZofANlh3XPyBZqBYwbVjZ/jCv0+C94KDrdWuts20pdAEEZ++pCZ00AQ2j1SmK8e7W1lxz57Yh
MoBmDSgB4ktI+qWWxh5RqFuIEOzQuJ89aCDq21cMosTynpCMifxoP5EwvtpZ+YMKHsRilrtslUy3
Ya7jkO3Ds8GFqc+K+apGEsfceZPVSvYDq03hZ+GBxRE42JLGvD3iLIluZ0L2YJirqqXth38JrZnM
+6nVhil79CfHUZIunr2Ej7/PVKR+me37C61Ewra06M26xr0zmxetNo41nEPaJmDb64QJ/nzy6tLc
RCyKui1eaZltTI9MaS4gd5jAhRBEWw5t9HRN2FhObx1ATCHDDZKCQqOkihjefJNalXzRJPQgxtLW
eyZxG3XIn4AgEPCKMUEe/PhrdCKWU4vPGQNJgjtI/SqNHmgk7DKsXREXc9/8sDppmIkkTmajEt9+
OV0PmRlV97WhBdzlmP9pvMnCf2cIV7mRwA6HmL4ZvOFe5XRYSI/kiGUXV1+o7530bHpLVPvmWrRt
6QenaJ7zzC2tePNa/zTM2WdnqeNCOMBjEOISYl49GlStq700jY2nvGfvyzYXVaYR33bgZEp/Q8jm
paibn4LGqMLpucCs+lGI8aTiXrLY2RYzJ2mZ6neraq9eGX6M9GB3NrD5Gx0KC4wv6pqeAYXcoe05
EvGyioFDNl2UYQar4TsG3WSQYHnxFTjxNq0YNKJ+Cxgc/iQd4SLX9l6FmLqbe28toO2F7Yg3UqOW
d92N/EugwJGk6h/PfUkB1WbWSgdANAB7YcXlpJWOvyKJWDKw3hVmABIFSEdPCwMxjGg0d46kgUOd
B6AtHWZsuDGd6I3r23QIwxdmPzPpvmslV6SqLLrJCC/ljjF9UNji2BG2wfDQB502bJ+hdlKWMeod
6PAyc1UGnASt5qzW82dlg1gdx8RAZYAzDEuqPYsCEaPygyRfZ/qhK5txoAerMGFzvWQbOtNnV5XA
YIfhlfnGm+KEAdIvqKH2lHvl4FAuBgo4IPuS4pi6UNr8t246q141aEI0196LmKTCsTAoq2njXKKy
OpcNTgl2d/ForixIA3d6199B4BbLDgqDUw/5qgZSQUrykzRwVsnwQEK9tFl2UJD6h14U2o/WVHjU
mT4ZLzOYgiPQrUnUpsy3MkAhvKb/suu41z9mYTHW6mKPUTtoSvD+FqAr6swY9ejM2sJWz3+5WCI8
7YyMhdY87K1nkfUQaZqQRmaK1SnEG/unCoKXHK0BJCd/2yiBZTaT3mi8ATASRanxjD/oO/TeF0xH
X2oUAgIft0GtcK92o2l4AnSU9Yi5XulNarduwokoKgTdBga3GnqXnTUB2+DDwObvu1nZYdFJCw+f
7SpuNlqN2r8BqgasBlMur6A/0ezceThXJOAKVRZlYE/NynAXX3KOoLxHrcJo9yapSqPX39AyMLUp
d4GSnAbKfQr8kysKIgWYqKwlvwk6VGUGQFinoUoapi3kSnCExp3la/6LD5mJ2gJvH7s4FvrsbKcy
3rg9gLzUM+KVjvdgWFqHNmvCb3PGT16fqoeO43RUSzuEfnJL8bIqmLECqHeLb2LIOxMPwEWaMR+n
GqjPlKf9BtFgXyNTKg9RMyG6lCOQWKf7wvI8iAx5CWa2VpJ3EZ5gDgZismddqHGETgrkNXSJQU2b
iHKT6EU93jPk/+gpro1p+jSt4kR423n4f6PJtXfm+Nan0SbuuivMqZUT6v0B2ewKdVf0g6LUWsf4
za9QRVEWtCRCjnvmJVT1OiUHWcROGxn3WuN0awJ6TnEKQJvxCjOYxgxgdffgMM7ReB7MInkN85jZ
ld1/z4B8dvSjpGNcXFW/3ett/RM00cOtyEqAxWxSQP4J3+yZ9b53sjsD3f2UgSYY+qT55eKjR+6I
Kt3AaLfXVzAaro0p1nARXTn3VJjxR6cUZ2uIeJ72xk+NDytrHpPo//iEeiQPVskwXs1A2SHncESW
bus0/bEZkx3N3tc2AKmHmlOKtpooZA+NgEYjEuaCOC1tuiJ+ozqH6+Uu5wx5jhb3O42kPCvFd4BZ
Wt8hFtSe5qJY1zYNuqR+w1VlpcXOX82wgH7PJ6WBaxUlTNPiJAeLgZEFbEZsRnDLyEKMMRpOe0Nl
EZirHth5YYj+Tm7Cd4XKCULW+lNp7SDusxguAXNaQNwbKFhdYTiWDiZV1S3iCnUbfK8DVnccaarm
9bBwECKedWRpI4RVPQ+NeL8bvquqvIKTslczBOS6GbZYPZASSWurjIO17ZLDDgNPRRm2yCs/BScz
Ts2lNNtsWdntejTBBIUwxBfGqO9q7DYSJdmpM63MSiAM867XYTBaomESVPAmcgTnSsa5TaQw4zDM
U8WiFM3slauiBubBk2Cyv5zQ/M4Y5xlDcGSSttVEDj6FLbWFwYF3Q4nABSLKGLBIhLBrwKpknqBg
mivq2HiiOaO7jjEihGG5MLoen6LI/Qu0hxx9CmHWVvOpN2jB1kbFXDvVbiM1Uzw3AzRZJEUSS9mH
Ti0P3vioWlRYNG4v7NaDiZIRovGxhWqBPpMs+R+TPlwMC46RXJPNrc4lvPxQQT9Jv7GKuwUgLcSM
Mg/iZtYgh0D3XPHr1xlTzq0e+GjhBA1zqozHFox/KziNdW1t6w6HOih6KFHvwBWvQ9X7DYfoSeAG
R9dzWpYAokoXgY+gfzMc7erU41vJ5Moax48i4ejKvacL8Qyt+EdaU0MOJjmsXkGZauJqfglHpGym
oQXWM1fdt4oI9meWGd4h7fVgo03el5M33wXIPwoiQlrfJfvZLI54+PAw4g1sWniwzlXjzhJ9vk1I
58WKSk+2/5a7iZmG5s0Mlzw/p1W4L5yEo2gObpFaj2jUd0d5lRNorXz+Zw7O6tXPZTZvPTajpzrQ
hJoXhAOZcSmbRJVhmeHjWhfsZ1+skRTVRHK1faJY/4Gg2Ik2EL4U2bgLOutYY8ekZ9HaMpX3wIi3
siEGD0AOUQ80wtnO5w9UftlFnb71Rg+8i3aZZG2x6lJQcC55RtYUz1Gqi6pwOTNw/lSieccgDmSt
u6pbdFQfFRKwUQZo8+xC/B8KDB1y4xeCake9N295t+/YOtkePCdAFCxi62gJQX9ZaY9x4FKjvSxi
UwOcrU6XghGG+TcuH00cHRM6oDF1aIIki+uXrCgQXXy3byCfYekkH4BtYTHy5VxDDgmuv0T+ToDt
LhkZ/EpG5s4F3P4yB0WW0HaJ2DR2S4RjBmsBWCCVJswldy6zzhnSQsNrN5qS7c1mWpfVZwJwfABg
4Gjvg/1szG++TyvLzTTQGuZa2bZ0q1F8AAlD78U+4UKwNmPMg8FC8BsWktpOjJoM3WnHiJa9pYKB
6JeRmqFv9+CCbf/SIDQBl6WkE2nhIIg9ih0suR0uFEZeR+XW9j9B8UyQ4eOPAh0ffnEeNUCQ8OJs
FHWdlyn/4dJTgFrMrlGxcQWDs7S0cTFzsxOFsUtHtMo3ndP8QTZeh/+Y7zUIULLAO6wAjSA4h1L1
Ofs8j7cGwslRhX+mdQs9WvfRtwlzDAYZwbro9jlxTD5RUSBp1fZX4O886K+jvo8Ch4opBARFYas9
eAojjPMQJ6w+OTskifx2wKrNiND8A08UFU3Y7R9DPq7qrsSZ9M/MuMTNnMWE1Jo9fHrMeMeJgPTf
C2PRqJm5lZfScWSxJIHcvsxkJZX9hU2ny4PI9hKE+IWK3F9BDUxefRC/5fr8h7/VK/1iMA3ozGQ3
g1nThbeFfbp7GpofUZ2yEbKxOO9tarQJrWHXwEhSWrHTQZ6MLCavfGoAyBDwlO9hN7B6MyS0wR8s
ekdfjAk6CxOzNaYYPAU8w7ZuMcF0eAzjd5ijiJvbK9ag0r/UGa0TWYD46aibuIAg0m4qKBh4jay4
XV83QT1mtJDfDOvNApdm118uSmsa6UevfMQBQ0J9V81vA9qUoOj2IUoibYG4jH5ykC82U9IrTPH+
f6H9uInD36z6iQCN/oXieaLSQkOAislGPgLNOsN+Zwwsv2F2BjMK0J0YoaBQeeCaZyd+NV1/B+MK
8Yq9pUTHGU91EgI5j6rQ2GrAf/lSga1C8cEjA3ulIHzwZXXr0npCdI1RLL/bNmBJyb/1EGaBVqzM
+itmVsSa5vrkrdPWgq2b7TUCBbP3Uw37BOexneKMh7zCZLGhpBBcTocAjj799mxEhQNI8N4Pe6rN
p18NjfAkfvJok7nZVVq80rpJrjAY1X2ivYSsDcct1wxF1rJV2947mOkzbi6sTq4CdbMzFyDbTRbv
8ILL05G/YNy+LNleI+HAVUPaeK8FErH8RoRqUj88yXapRt112NkLFhYPTiffzZECKDDhmG+YtcCD
LqfFbL+CwelnjIgdhNlAZc/mhl2eEi6JDZX5LV/eC/hINDX43jH/aVDoASWAwK56TFG1rPXmmvJA
GBc/eRtgaNYGxDMWefTVgkYpHCS+tKuXPbj2EEoOBqbr2fb3TpQ3F3RktsypqwXPhVKd5l5rX4s4
+cJXj7FSQIWJj8c7OLX9BIZOojGMvgP1J+fx/DkZ9o5HmRjqKZf6MqMx7aNJbgT+BwOTOuouJRje
UJlXVmbteRc8rSnSDgFwR594HXXpihYwdPiOwvmdm594tIP7gS/NYqQ4ZYy1AVq9mvx7jQdr34e7
gJNEpak4oGs7jeSAbLm8/EZyb4F/8NrTOUF4b9CHTYQ1W55Vl5w741PeQt9mB1fH5pnELWrCW1jg
M5crzGq4ObU8SnBvawAU4KHbSkVl19gqlr43x/waTIYERqVr3xn9A6GLaFhDlgqSdWcVKxYJshVr
3dpj+4gTR/bFm/8nbdbth6h1QBijccgu6gn44auuWq82f8OlOqU46mUf3ETE9fAzXo2cKShWx25Q
ObKPI/VRCHx3oCYqMNx02k2CTnE0JuvIewYR5tMdRkQz3Q2QBFs60TTLfLQuEVoNkFeUVFb2Q4GY
EAu10otb7yIaCphKjhWYuEuz3XDiJB4oRRsIoM70tt2UTK5Kjo+xfzAOOEVNulCaJ5ZEEieyve1a
a4c0wggvPQoaNQjV3PDEuujIv8qCwV9+gb4RO3Rl2u8pCXwr8GJInWlcfCvMeWoa0I7WbVkbwHfc
7DFBFCGQhaG2RbVv5fsOqW+1wpJrZSje9xyY+FfRsMnJDqI022lVeZcfKLpqQcS11WSbAOP2rwlM
NheSK+XjnknyrqsR6tSKs0llwMk5Ql+Wc4Ir1SgeXPQ6egFc4yM1dEwWEnv+iy7TMUpzZAhtZUOs
ziLtTffbp1WoR+TKXws9eU7G9MKj0nxtOdb+p2yNbiKZZquNTLmCvLp2mv2K9tKyLa9dxZZiWit5
DE82U8GO8NvIsDDFIndVY7L89oE++oWjfXagoCiMIRFFrfQ9DUdUZ7NlOosH9R+srLDIY9aqnLBD
2EUc0KMN/e/Su/O6j0/9dKh6pONqbVN1e7XU7rJIOtStQFMiocep3SywcdnxCOSMHqi0lPIuO2eu
Pmg8IR+AfnIPBiFOrJ2Gc1FBTzFN9L3izysd9oXZ4T/tEl+maTp0c/3XBAu9DOv6G1OvXZ26L1pr
XfRmOgaeskI/HbNVVFCcofliDHVJxvJ36SOIXOBsWunqDUm9nmoCphJZ6YifuhnDzPangR9B8auP
JlBW1knXMSLFgemgTMmH6gV71bcORa+/JbZ+DX3HWhgJEitmth/s6Yje935ui72XRU88E7d4+Oxg
/N8iZDpyL/mmY8u70oyPLG+OCIRva9/fG0QAembbELGPBayn5egmV83MuClawZaH9EsuaDsWR2Mi
72dN4+9BZeeY5iboZzw1wq1jzqxlX9+gkreqte7gVMGIHhIKFxyH6VhpVE+YVw6eMi6csPzJnOxo
KfXrmGEN5JrV74FHEUfq2mjx1o6aa1VltBv6szrG/VLR2y2NzL2Ka7pdadtA2JKwfV6SHFxiPrm7
OdMeKSrNklwOYOAY9OygMG8N1m/WwailQLbz4WLVXwou0ZF+Y2+r+tlX32riJltWwnFI0IJU3vpM
zd+16kNl1xQqfeKN0VZnBxARLkxgNImqZ60AT3YmVZacpul/1GRecwj2LC2XOM/Ag+jzBoxmq2JW
YH7Tw1nkAB5zmhxVe3b9n7B9cvJx/smOmRgkqcjAt8kda1LGcOJABznE+2UwsRevP2cMXwicGakp
EZjOHLOBS2Z8lajGpHUIY+vaJHc5Y1jwcnQoRfdrDl8TvphPJRLLUgvpnoJQ2sz9R5DMUuVId7Dh
qByHT6gzDL0YSsbdMtDs7YAdgDZ+cKHydAiFjoOCPqp5kllz4Ur72tDhqUDpFB8mlOwYNHiKRC/w
6+XcMMfX9+QYuBSQ2atqerRqUsnsfURQxjDJHcP5bJNZjHQViM6FDs2tapjAqDuJthiNrbT2PQch
M1k/BO3K4TLZpPJkIpyYaZSeFIYOvDc6UnSUOGdJ6PjknhNVph4zyH9lBsGrwkoBFkDiYOoH+f4B
4mI/Elm9Z06ZpBugJPgMLsNn+KM3dy9pkXd4Z7OuvGDe8vxyrDbav1hLAQKT8qp3PyySez9D4wWz
H0kz0wZJbwJrZv+WY42CgcXDjwI1XuRZAA2Ih1L5q0C/8U44QsFMQ/Xg5L861BtRHKLk8/3fZ0ve
Jr83A5kuRvDwlEa6/c7T5Ke99LsLASeRenW8JUR0l3H3zcIwYiaS+j5LMKq1mTFeWAIQ2WVvSfTX
9R3t/SMvptWeMkyqKCCriFOLO3GRyOuUj8RKNm5207K/Hpk5nxmGj5mZPJCABV0yfF21nc6qzFC2
ZRW4/UwwOfWcWz5JOOTzbRef2RJUzZWKvpBOIzF8ZZvEDbL+qAKDpd0xv1q5qJ4OmIENCTzlHAoF
2hk9RJX4ptDF5holLaTduYvS9iBZaZbHl3GI147/U6iIoOEcAdQpGMpzh50sa2CHe+WlakXCHy9W
cAYcFcX8ksQsNvupqwGsumlcSZgw4KrIuGwVhtaOm9RsZqBsgC5qDuIDD7D5SM3rJxepX5BAXKI1
tU6sq2N7n1Icjhn6BUoozuCQCF4H58nsCXGF7ImNZLrNCmPZuv/OP9lXKhq8qqssQgfEbz6Bruba
4il+l4gB+n8ZO7/Nzr1Q5DK+hrtSXmOCQCZLnYAwpl8BKvZ1kB0SORTr7InYD3g8ZnGsxPhM6eG1
+tmz9U3M3SqVD2eGlGnwl6x4r/WA9SFNoQ1wTpLF6O+i8Pcg79p9F0tnRPJZO4GzlJIwdPN1HnUL
L7HhbGUPjS4bujQ3xuuAuQhOybqq/j0Dj8fvI5KouWQh+5pJwEIKfp1iBi7GnJn3rrPvckxo7Xh2
0nAHiOAQcic0GCSftRwHoREG1uSOYthtjUcTSU4QeZcxBjEf6RtaYCuHq4qrPW+UfUjQkqKayCLh
3e/9pfzvQE6TUFB43WFEdpWr4KfRNVvJtyWjvaT24B4hXv9bh0jjrVqvXEekLxG9Bwn8EnW7pNn/
ExNWN4X5reXNcuYYC/ESIMpk6v9Xsiw9FhSL3KvVNWGZNy0bevRXFWWuyZ/s0xB5Xx0gRMMUpDes
i9dKy8jjKcgPlXSuZ4IEf8XemEnYOMtRQgAaS/ba0Am0k3bn9y9SA7jsRCQ4buRKfA/vu4jAEWYP
Cb45a6TWngm7K2L7yGJP1CuxhwclC5Wftg0dmIRQQj7b7o9FV0U2r6pjcIRVRxGJ9MGmpMUlJadk
6jRH5RESDm3/h7U49U+jf5OTrUYsPCSJJrD58OG5oKhh7kyi/q8tkn5OA0mGKMBrD+kUYk6Lmsd7
EQzQRdDQS+u3mVlWS4sdBLK0AjRqYzkDXXQzuGRZvrGMuQE9cekEM66aN4d1Am9pXNc1CO8oOstb
qlNnJ3+mebJKLJgbHxpEQGmuyPvlxKdCo81RfyHbvPRKVAdpeNhAJLu9NDlSIp2KW4AEQcPaG4Wx
ASW/Dvtfs+0guAbfiyKCYyHqXlFDBgni7MYBd24EZ2MaeHLmlRzqIFipFFIkCu62225T3oQ8EG6k
Mj87HboEMdpLLmHyIf8lFQr65KS4F3kkvv0yckjLgcHNytE9keKyJv4N7nJrycqz8wc1vmGfR4d/
6v4wJdpqRXPRyISUJJRlyRkrq0EutyY3H/WIOWi85j0RSZWBZhqbtScxjls+CM0u5G4lcNBtCwD6
G2eT3cSmokHpoP7pT/cGoXrug/VQhF8zWjqDqa40TkpSAWYowMA3FOpJspHLZwXmYXoxrbfM8Ra8
x5w2XRUDHJazr07W0qGR9ydrVE4CabLRCOQnpYkni5iVDclkTbPx34kkcF3elU353IXKUXqFXIpB
SdoX6Yp+FBMJclJjqSsG2vjsF86CSMfm4emF73z0/xOwzsulE9XgMWTxwkjQwXrtIhCTDmBsshvJ
J6jiTT7GR2GmiZ9yGDBtAJtzqwtknohUeppDpvp2cTVLOKY5U13UMCXJwNpqx3OzKO6oXVq2jXSb
Slpm3d7sidvBVkQVkPm/ebrN0A8OG6k1SwvHUWlQycFKnD1x3NAkTRq8V7J1aYO/4tPlXIWnsmCw
DrUDaWSev5xPhq9NrxIbeYFwiLUVDtN496TGp5uS6dh+hd95lp4NfZxB9uf5a4PmBPIuHsDTfq0a
+tILupsx6Fe3gc0vOGvL5dTwmsJFuIV8HBJIge3DIu4iWKSgrtwSfFTrICXhwk6xUhSd/Ch87Skp
nDS/DV7SA6Z048dk29O7q/c55ohOccFNtNnZdXUlOaQJFLX3LgsIvRHpQjVtUKBex0l2nmraKkKW
QF6PqZT1yNJoP4DYWfQ5kxlJ4GRBjVZzmJF4JJLYs/JpUwU3evuWlA4PQkzj9G1Jd6ivMzIfQHDR
MNHAQNzS14eVY+K1hstUEdAYDOeXVM3hLKD/YwXtTRrzA/MDbVS2BLdbhwyZ3Tdn2W1SOIK//6tR
hMiQ8b+fnw5anFxVZXiFwISAUVe/e5732bswmmy6/GH9LYWWovlHO44OAPNpJBjbsU1OQeW85ehi
LFXrojbaCaX8/UhXc7QxYBirvUXTAezhJXCKz9Icnl4THoK4X0nqL0VLSqLlOs2tntBDaEflgNDE
Vv5yKjXcgmztEUY0g2q7uYXMXiQakQ4fbcKzjd32C8Pnu6LSYyEsAMVDWDUsKqArY7zQVOQrkqTO
llOKSDx0GKiAYYQ4MZUN32AjmjaDrsWtZzu6jAHzYUQrPrBeh6q6th7mtXN6R3btIK+1GGawpaao
DPbnUssujG0ueHJjI9TvjX6Mtn6gwoKoSGYtU9iQVmyeOYLGVWvX+j3JsmtfNAhSZBTNU9K790TR
yu8ADWxY9gpdTnpySB8mFLIh3fYUKTcUvlGVSjVlPYSIWClpAXnQfG+i+DGQe6gAqKDKwN+MRkw2
aVJAZrhkDYmbNB3HOgf0QLNlooBrXX1XprhzJrxJOSsLRwen5Jcv/8o0bZS1svQbpJ3IsV7k0Ot6
jyZZT4UDNgM69TAh3GrmgcYym5p1kUBrqSgmdVud1zgY3Q2lf+KTCn46RTFOIxFDTwlKe52duLh+
N7QmHY8APEdX4SqcpojQBPDWFRB7WuqtkapGTIrqNJ5+mwD3GZVhxIVUxr01g+gxQYqZSuXUZKAK
NRq3N8Pz155SbKcutG8l48qlmlUWKHTbw1jIZciISWM/4LleDPbMEEa9qG7/0g/dm4zz+9y6dw2E
6hFNYJJaZnjYzSCZ+6j1Tsgn3Yx1kY4ypu+yPEhWBqP98SI9g4oAvt14otBGEMXDGp1LiZmdixBy
k608sGs+tCA5lKTdOOT3gSo7mgYcaIUo370WZN1o8UKXAY7Zg6MwSIX17oNONec+D7r/igDCMs+G
isoMI4eBbTz5AU2vt9R0kYUXG+LmrBqFJi4o0TX5G7Fe09AdFUM2A8GuYi1nNPkNycg6JDXsYcuQ
EJmxDHxguYIGmhusIwjIdT6CO9dXulW+UdTnFWpQo6q8q924KrxvuTA1eC/J+jhJh/BVugEIiWBG
0fzpqePy3IJ0FmLHB5ZpamJWiLEvOEDxfgZp0uDSCAET5GiL9x0pcOreOmA/CNZSwBULNbRZRRtG
zeCfkOhECTKZs5dcpORzzhD5aJdl2WKKw23KCAgK0KFiHuU3TwfFEZMCWRqN0hPjJyRPMpkVyBdg
Mn4aeRklwgnyz+Qh5Nht91bwDB20mtI+hHwTYo3RLKt8opPAa/DxZ6MfV3DLId23JiYjzX8G/64j
E1Ax1V3WVPOcgYkQz0AGyazYJlutE+WFRMBWFRTv7hNU3jousTGscUTzFhbtHxKU3n7KJ5M79IBH
MdPidMXWpQAIRiklf0p3vsRTUYa7pLAhdglj+EpDUiHNkn8Mulc5UGTpqS0+cK9kD3Jux3Imw/br
VfhvebLLfHD4jrajYXCwUI9x7PYINvadw32sgjMf2jKLk7WRuNMGjUJm9Di5x9M7QsMrvlBuys6Q
VSETlfIp7DIyfOlHPISzPfq3wRq/AgswLOJREQutsaYtU8fEVG+myjnpVBsTbDZ6SduOAzqlR8Fn
jHQwjBb2QkbzzRNl7vEPDsafaamduzp5U7z+nUpoTPHKwRiPtcxnenBDOzQz6KTT7+zW3AWvG7zi
EqXDd52lLWWCXLIa91vwJyAHOXJ7p8WCnBqsfTqo6gecqCXKFZBLnj4DDZJ32bLSeM7T8d8CoDni
ASbg0dI0N/viTdKdzPkYVf8M0eWUFuUeTZCVPH9LadZZgjg9D5JOylqelFfm+wCOptRlDSTJDMqW
1aNHr8DXfkC4XXjFXxs1wEVrpdeZ5NxmYmrRwkSCQkOQPpkBBIevsIjApbj9LxI2+a4Iob5lgZmB
yZc4CBFIZcCWDVikVeXs4FHuZAIRcMzVsHX9DrQjRE9JAQqkRGBdLVUiLxaF9kq043NPgTWQn+rs
0HvFCYj1ZQyTf/UkoIl1wxKtaXYGzgmsAKntSF+sBvc68fpkm8l6kxFbxPksk1AJQBV6zV3XYDlP
48+qzK2rw39Nu+/EGR/yRCRkSaRTgddo5Mm0yRLN2ZLOy6/3ZXNo/PZEY0n2pF0mbGhzI8Pusnwy
pvCc/K3uUW6Kw4eTz4BE8BCv+0Y+RxZKE/2uR+VMxJzLiZ1yT5yG7jId2XTtFDw3Jr282YA+QUm/
ImCB8q+KHl+ZUXt2BkwJWWYHk2aaINz2nP+gmcD59d6zfn2aZTKcSzTEBPA4htuSb1T+UfLq1B3Q
VaGjFhtQD9A6YVzhEXUImrWPAHAIzbzJnOvE4RxVyAXk1SFFEdDWUlpa8I7JjmQzsPEomwi6uDGR
8dEOCp3mATJZxMDRhpgWoN/oLP/MeJfbxQFpCfD98IAIT4Xq79kY8oDRLMKeGEXjsox2MYJ3GZG6
MJzdoFm/8xS53IroBNOa8BnXYLdm+6eqMAXowy1NrI3LDp+KAjG/+hHr9hqdd4A9XmWt8QhnfG/8
qkILLwplV7r1L8WuH9qAVBcYp3Ky3hV9/isyPKHWvztDuNaIXXGp3yuM31GgwFkjnBJEdI1ub/n4
SVcraafmdreZUhXobglzLYVloxUbNVHvmjlTaFgnBi24oJf7lACtk2o1RvRBueT46lpRtV1ctcic
SaCZgq2cuXBlthUyeAT0ndOb36FKpcEqLIgOjOf+HW8C0Bobxdy4PON1GXp7l53sxdEIzg1xL87g
SPwuXXszmNVBsVFHljJGAqVMpeVolq1QkVY1xYARi7GrJrD6Ax+c278ckf4avfhHVk7RoyYzFJWD
heWwcAfrAcwgUmLj3gS/6NiuGzRQaCvsDAT/TpE/fHZufvIDkOUVqjVN3Z2zxl3KS2ryeEdAkWxE
mjKYu21YNxhdSlCgKAwgWdmpecQnYyvna4FZKeB15Usrc3qyeUl72APxptHRU+gEN17yZudwgzl0
pGJlHYGpQSAcnJHhrtQA5Cj/XZvVpmGL0dWEKBct5cxET+1TZuqSYsrAQvZuTzsC5YlNzn+X3nds
6ggi4bPY36WNx0u3HB97PiaoLNbIMq5yE218dlA4LSvjopQXM+HjQRrQW4hDvV2NtnWPlBz50OKu
MbWwtX5cDdIoB3tIy9AHDiZ3qun9MZvgvunGXnXIFE2kMGOXgbzBgThANeRJACFmP5rBr6jHKXIy
jA2BP5pyYBUfcllTAouFAiFpVaAvpUCacuq0Fg0xRIoXNX1tiR60EyWHlnDm8yZ8u8Kng7hozSfG
LhPNZ8lVrI6pMA0ZMZdwo6++R2Ex9xOUV1Tv1dZBGgS5uym77i/Gqwjr1jj5ajZ4Y+wJMui6aDqV
dGIZ5q971VmXrMWkiCinIQf+GovYfOlAt7T0lKD7AqWesXtCNZCXl8ZM73GUDIPpYMZcL/Irptqd
J50DqMQPZZsLerXoNGEcBzjP+c1HUmIAbTnaNkyaiwOQZwSx4TTTKcXVcSYj5wQ/DFYKhcZm+mlH
JhQ1sIxEQzwENhx19sGI0p/c9bo1Cvot0hGwLRuAIN7/ODqv7UhxKIp+EWsBAgSvlZPtcjn7hdVO
5CyRvn4289QzPT3uKoJ0de85+2hn7+mkeIpNCfkWLXjOPPhsT4aFAgT9oaGfQButzR7ridIAzttE
/TRsO+wPN9PJf5tsRBdMEkInsNSK+qkVzptR5Peh6XKhkJqT+WzpHf7TjNtTJo9O1x10RzRS0L6J
hHCQthUEuM3mxoP/CGqYIJzQiVBgWMGDAIu+bKktB459U2p1dVjvptDN1jN46FUzEs2Im6+KevJL
gweLs4vJJu4s2gy7Cu5snmuPddx1+lMSYBjy7We3rC90rdhBQlqVZjpYLMuzt8rroN9UAtmwMXfH
0ureAZ8fl51cmP0DRco58sY9PaR15xSP/4t7wdvOkXdm5A1kbKbE1nrDukf+lkajPZHy4Yh9LwpW
WNgrPIy6vxmW/ihxNroD3eYi2fnUzQRMnXlad5ZkdgncKQzKg6v1B3pC3CbzufeTPyemXYinibeH
njOfonKWrIgppQxT9icSZ+QIKPndAdnB8rxUpk8vpPkghQGDYYl6L/2tquFJUNbgY9ksdyCG9izG
6F9TIMB1m8c0dlBYDW/9FEjUcLhMbT6S7/IQxBaGQeZpfR3N2HgIjMU5jDn9Mnfy3yTts87ya2Zz
9eh1rKgjfnSAASuvn8ASfyxHgDa1OEHNkBR595Mlf0bK0/JyBuRjOmH5SsUE7Ilzf0roQk+MQJ2N
/z/6Vu488dhtKyN8ikR8FeQTNS3U82WypcjqJofmWPB3R1QMUS++sxGJctGyRAI1ZnbXbrRL4lqz
FMy5fQicCihMO6/NZtjNVLthPmxHs96j/Ac3xiBjRpuCb/ttObLEKUdRNzlEGK08HiSf16o1OOqV
84vfyA08zXCV+Pl3ip4mrMOfEkxYBcrWoqId+/a5aaKrAbKbZjr1DmuP+r+YmSkp3PjVTZD+mONV
1glV/q7rBlrHaosP/bGg5W8Tdt+S0B52G5p8+MjpsLRb28M5nf/CJif8x9xkARCZrKRr0PWrEEkj
FDLuKCAcA731IoDAXwNsL13b1nvZNxeHUY5UJnrkYLobxhI7lXVUiQQKEVdAHitxbzfDLw8fdx5o
mpww99HXiLZxFl8lQ0rdNExZEBdwmoH/Hq48o2fYw9kHzvnW5BY7vfhDgs0b7OB4mRj/VZ7YVx6Z
lwl3JhoWw5UPyiUAoDEl4YeVGVgj7A/ZDAdwy2soC9cGH4fXQ8QIQipLjXi1o6xtfU3fNXY5AEzv
M2FOvdTBvlmmXjQJ4PX/csRNABM3bzSLNyFBQ1z2sJ823Ug7ifLfY8u0kW148rAQrxmJwVjzEJl0
5xBgRev5q4bTVujuB2YpBTri5e/l+5IcvbFMbzXqzyXBbO2Y7VvkEY0YoD5a/qwM7xNeI2GqB2oA
TMPnkd9t2MbgpG50G0OmaWA1+wUufiTCuX8YnXAbyRdrHGkO6p+CI3rYmLc89W59RLuS1NG4Edum
taHVRf8CaDBENoSrWtM2oY1OyzftQdTA2V9PRBdKCQsmclYO5o6EzSzBZZkJl+QSjseVB0d4Ilgl
y7bxBOu8orPOM8nhrKULEA4ZYcW0pjkFtZxg2/aSabXXhvtODCVCjRNX0hidP3zMaI77SxrpfWe0
p0HS/19mQGw6iCj4ZTmM8EtPu54ayBc+RAh/DXsFZGAEN2rezotI2E03oOBAG2WbAHjcUqewPjY0
CsCNUlWxk3Eh2WrA4BARRVEV16WmKwdSgcOJzRxoeU17wuyX4qDqEjhkuZZ3Wd3TKPdhIbnlBaMF
F9J6rhWURY4Sjk2dG/5YgION1H2vKcBNREmlMygW82lnT+OZ9vbO81JSOTtYDtTe43AN6u7qtwyu
29DfWOy/CnA+6BPrwVowJHrs6ETnW8HErqYVkhfqosB+KoMjbTs1xyboDoMPi26waP0hSmUyz2f2
fxLkXZaZPHKplolCUU8fc28cOjiibLvTOiAVNk3bq49tfcWFI/LgY2ay0HxwdaIUVrXA+4XokwqP
Se3OYa/j0lHEPlccdMcRUkVpNvm6kQQdNMWLPSWXZYnCp3tLWOPC1Ftlc3RZNgN/dC5OHp9SR5zQ
j+3zVmT7nogFbfi4FXnR1BgcJtpnIDsPQudosNhS00UnZ/ojeyQHklY+KkQB4LyuFioy1xhvKZP1
TFvfbjdvg264l2zOyqc0TJpjSFchalPm6hykfH2ZuDBe1EK9wGycJuoSeugi0M9aQGlSqp9RV1tj
HApeeDSizRHOPgYWADH6KMcBYBmVa6nPrhtu+pxQPB0RKWOdGsd+ZTd9D9hxfd+7dFoeG/kU22CG
ctoUKJVOfsouWseUm6H5LmxcWUF+4SbvPZvkALxhm2Zq70zOtcpymZsNZGUh+6fJxOVk7UzRhvBS
J2XwOdLU4TEdLOtictFVASiMigDi3Zq2wL+iblZLub0UEaa2jgLTFhgqdhjja9TIVDDvEO2B6iwe
V2gPTuQs7KcFmRu9duO072fMFTUvqtkXbx3MXfwTm5znqkcxpiw8AUw1tep2BdFnsuk+6grGko04
ByE5d62wtnD6l8bcdwEstuv7f3P+KfDLLquAG/Yf2SweI1+8Ryp95sWxODKULoGvU52/4B1NN179
5nic9GzHfsZzt3asZDdQcXAfaAUAZKG1SedNRtm5n8BKQSnDwiDD8Y2bxuMOe2Nr8i2Wc0HA8QFv
7pk/QOPOZWkO6YiWobc1WwGfwLkro+nRom9yrfhi0+Sjw5LvWTWdK13r77hBckDq2t6hW7m0WAzh
JpTFQOLZCjezF1eXgKP9uhhwfniv8Fsoq1DlmtZ7bRotHhawM0wJlgOP4VZPBtU1s/uo/urVVO48
4YI6kSVxmMb0hIOHnW38srRVkbOYfTZIQGPEAZrDYdv/LK8VyP5dxnqHtH9yAm8hZn00WXNoWD+0
s/QX7GK8EapH1HOtFuYtT5gz619jsDa+kHunkeeWJaTgBV8VSBwI9WDNs1Wl/i9sScbD7T96D1lj
/BKT8yVk+S8d8u+RY5/dOusM/cws6JAEOQRFbqHUcB8iA4QITT8OU2Mo6dnlDjVaPB0LKrlbLbrp
1vb2Vg6Ws5ui9MGARAV5ecRxbG+DXlyWgPRMfpF9+M8GhLnJOX1viAU3D6TsqUPvYxKxUft/9omV
fNqOTo/znBowIj1GDZLIb563wZgfMocdV/0v1kXC4OOS8ge0hNFMUGIEiQwp2QCxQg8L6ysledll
7V6efTOLjiAr6QsT0mrLu8jDfRdeQwO8JRiVKmg/6hGyeuOV/XYMHyH2IdVm2AEj8w0o9rfZNedS
1uemGR5Hn4LG4pS+xar97UD8bkdmY5YY+CrgAAwD0anvuMOOfKavBDk1ZOJL3AfxA1XXHl/Vt9u6
6V7rEswAnetQ6nINw/qMsegIaI4eA49Ch0h1FxnllmVnpEfWHsmgIUlK+Tyz4BNWCrGjjaYpGnP2
OOsyTPmRQLJHe2B7codWUr84CzSVV3ipeKTjQ5Ezyvu016RS5PlnI4F6m/NNK0gKpaTDoMu0Jgxv
vB9r/1TPds+gyhTr3C2fswAeooed9NYU7Mhm5z2PGFFyWz2VrvuV9HW/C8OQWUICt1rdlmuO82PJ
vGw1MVDGO2l7FD8hMHgSZIifMUsE4TZ1M/b1KGqtjdF1cuPlJXs11FxIH+iuWcBaoT5Hr0aSwJrr
DciOfaYMOaZfVTa7Ai8aEhGgF2b91XoNeGve1LHJ0ffXsM9pln2WznjNwNPGA+O/rudFD9WycSTG
fqZdde/CwEcFjtWX988eR0Ty00BXLXgJ/WBch7EP4qY1gmMEOn3b9EMCJIf20RToq+36pznP7ixH
04CEq5kwKsZUFWwHH6A0MIt6utSa5RMM+osR87Ka5O2OCpOEcsnL8P33Op8fkzzZjDr7kFV6swdU
xGXzG/lqUxfVpXRg3k2jd+AepLT0wZ9Chj/Dztxk41J/2TA28Xgx5YtXluzj12BK+YgRsw7uXtVw
Sqx2HvR4FEcoVkIgVpzCo1dT6j37ANLv9OI23i7FiOfSSNfjdPKzgO7GfPLaYm+K7DMfwO6bbn7A
3LqFEbGrUvcNWjsT9Tl/zsqSZLXyEbb+fk78f6GpDnM1fUeGdSrcbFuPFh4oxHqO/5JM2Hcol5ra
rNaDH3W7cCqfZkkrzW2i3zyRsBsNC+FE1b2GNgbFyjsz67EPjqsx81ceG76itp4Tm0p46No7BnNP
uTtiv3L1dSKTAGEwD6dFtF/jDyzydbar2vknGBcNGaMYuJlOuuHse06NjrkwzEy7E6xeE8TAjnZx
5o4P2tZvcVjjWMqf86YqTzQsOcDSshlMrHxorvuNCEesO80udIlro+GItZCO8TpSzlEvf4hh86Z2
OB6MNR2szMrgXFXVhx7TEiyveVjisk4mitxPySUJZIfrjfwPUsN4+QD2Ol3/ZBCKIOFrrSTcWs+c
XvDWP9iWeyWbm+MbF2QXCc1AORp+5QR+UbRcHEyEexFyAOqE95nPzt2c8oy2GSNSUE/niMS8+x4V
EmpnVmg5zpdkYlVLLOPcDuJpktm3LC1E3xHisrEFRttjWgPJjB2yz/pDGnrWLsCo8R11Cv29Y3XE
q8/0X/1R/jFhe7ZJuj1yvK45eLIw92EAxqeimUUQzYbcQ3OlSjls4h68tTu+T6q09m3lMKTmjcWD
j4jbF7Xi0fSPHWS1JKmvyB3TnVtOS5y6Q8Ay9lFrnrBjkdhGlFolsVoaTAthqt2pnpjNlhidTMnf
PA3/pLaPvtP9mDkjTHY9GSb0L7Kof+yBOhpkyqxMnJ5J1MdbMiBvqjT3Ltr7jSpQW2ZoPvHMsyvi
7NG0CYcqSE/kbiSX2qRYjggn3MQy+MsAeLkNFeiElx62Cl5SAnGvVt3ce6b75HQJF67CxJh7Hs3x
yokP3cQLUwsSgDkUsoKGgXlQccXIIiQHW41w32reZbJZUfJHYXiWfvEqIzBnrQtAd/BvdWP/2L4X
XOcgEfddrpeZh7pvanF1x7na0bu6VjCYV1FA953VJxS0JbWMPGK/fJTdcMlw+tdkCMmfMR6eFwEC
VpVy3UcO1foEuXse5f9OSa+2oIjP5mtYznhJKM45ezPJodaNurpcoL/rTk3BajYgJeemfa2rpVpJ
imHlSOc6ivgjHfU+DLpp3ZXqVhMqc3bzno3br4eVCiaIkJ2Pp6O5GYHza8j2UXjioXI5dlWAfVZC
jd2KOuEiBu8wpwjxxjraj3WFWFxM8Pr9AM6KdPeKzaIGMvm/KgoIqaGMfaOmC4S5i6cAJZUKV7Ez
rIk4Oc4IIR0fWlvL0ozldN11CcCaCrIQYXoM6Nvha/L7XRxGjD+TU4kh23FhtlmpsyHq8CGIzV3f
5x/LlNGg5s1dp6P9NW78yrtKk6OTJTv3W8bGc1aYbA8AuEwGLU4Q8PxA/i1DssTdXzMdfzODzltC
WFQsn+C43Gip1FtDpuk9YjC4qA2nTQdbYZcRGVLs0dschcviFCpCtqv1FCT5aaxc3hSM8Ue/p9gX
FUsaj0b8TgxJxQmJ2XYgeutA4Rhyts8+EoeWn5TpkdH4Sor+KSjqczjjaM8EyZ6Feh9Cj8alTch8
rqJ/OdmkuhAkslU3tgg+Vl+cB6YIq7LLHuAjctrLrXNgkJUbBN9lAv46oQNkLKVNB5quKAwa7sH8
YQrQkXghFq0kM9V2wVEgSvHst8KvSE3uNwjC2Pnqs1WUZ1WV19Z2MTz6hgKKHVinvC7vLEbXDhm4
W5+wG8rQ7tIKBj4ec2TRptfZJiqbRxQLcfNXDOMdyYrPFojKPDWY4kYUf35upM9WYtOgKHhLqzON
E1/RZBCEUXQoPNA3UZaqc5gtptDqkUkkILWRM/FwaWv3T0a9ZGdpnhJRziT9sOhqeOtT654pXNje
kPlWRHyupI8xMiPmqpbZNrc4I1gmuQpNmwGzcjhbAA0xUWrCk1YKMJ6ZR5/0Hs5sVH+VUBySi1Ns
NI/LT89JtPAG7z5yulMSU34JukzOaCL8KI4ZwOpwnvCDMIoujfbRqaenZvk+y/+qRGaohR5NyION
KtZgy2hs93lMIHowcXlk5XnFVIauZ8BxOh7yyt24UXCyM9YnhfCoTpkddd3fkgK5tUnXaaPvGpFP
xh60GmVzxamHlmvI90lE1tiyipAQu6qK+GXoiodS2v+qrCXNvN2O2PFJ6slxefXfEArQVQTzsc+m
y2ItWb595/knWRhvLmGY/9/WlH21iqReY51lw7Ao091yY9gT3aTuThnuRVT+3TwA8Cq9YSNqt/5h
3mm/eIkCuJGP7h54Wn2idYVKMVX4Apq036W98C867SF0TQUzzLAbzZw2M/FzmyRU9j7zQFmDSwDH
Z0mOWBbkt46OOsGuPlHEafZX4t8np61xLrokA9xyWphJo/FpzvSxMitwNoHVQplIe8aC9ozwOnYI
DRAAcHWsXqI+CGE80oVszeG3GPzsNCYOzolSGVu7zPq1NVvtBhRS/xVlpQ8/KR+Mk4+QyV/lGCv2
RT+Q3Gk7Fe0HVF4mqcaPQSrTWyITKCWggPuTHEr5Unc0SIewxZ4d1+GEdl/X0QFUZbUTHlOG3ImT
E4cyjNFDb12NiaE0eEXO3603vdiFax+6hHUUIYB6thnJVC2VqlkoWnbEucf1gxv+AkjCSNWeiJvQ
Du8q0HxhrQyglmN3N9jHcYy3RpoSTLNo/HBouKvKMJ4r50ON1XtZfCz/AXrpcfkveRwDJjK8lyoA
WYegiCnlglPIy2JxQYKn/lcz4U8ABGf8azW8Ns67W5P61odf/jL7LxFxOpsRHUt5CtL2NyJg3OLu
YSVfVpFYnIL2vHholn+rUWMINHcearAgRDLp7YryRUHr6IxghxzKwGtX1nd4ZgYq4Tk+ZlBaytDa
4ZqahpcRjJKn/giK5WzyrsHdSHTjAw0Dx7pZNgJi72nUxj6P/zyLJGLx6aIasK0Oh9nRb5qt14V0
Q9A2tTaelYaeBf3+QT4vH5AvZ+XtV1y2Z0QnigyQFJFvnIMf88NV5byjabf48AXNMJ9wcdQpiYLW
0lEBV6RL8LeQaLYmT/JpyEnc7bCwm/mHibaOu5OxlxRx/FxoOtE+eoHwceIrwkLjkecdx2MowBQV
nwHkWMxD4MoydLCLBAtT+YewSBIsTzYXkQsnfefGz7RbgLETSFkfxpho9vyBfrD22RQsGrjlQ/GL
dqAz6xOLEm7No515yw8w68VX5jIOaU+yq642lWWbITQEN7ztGn6j/xqJ0VkuX0nCQVP8ohy3J/qX
jMDInWJvhJBR0/VexAjDm78oreKlh8wN5Rbx7xjQKA0pnOcvPJEHDhfrxQ+zeK2oy+/j8pZ65Y3T
2hFGKDtNfeobdZxUf8Bw8DUm8WEsnR13tTMudvBcjcAEylPVlfiCGLt6zyoG5XU/DxjT5Y5PyJdd
dhxCvXaWYNoDxMqmXwFOB+m1kmtYvuuai4wBbhLFenlRXPvHH5wnrkjJpkujaB2b+mEQP35poJNp
toMJabk8mcO1YPDBn2O3Jk6h5oSoMSHScHcyG3VoUO17GZhMx4+CFlrFX1MlihP7Y2AAh6J6J9Et
fXIM+O5VwsDloWOnsmlL8hjx0iUtMvwQgBTnX/OjxOxkWL+Ff3WzYh3SuektC7hK2Rx6pQrcRnhf
S68Z1n5E4zOoE7x6nzbfcXm5Te1sLKKPSVddAWFat8Xv8u0souQahOQ5SM+T6oqdCj51UW9sHPkO
oQxVke1rMrc0+QA8LNwfvzXuI/Nl+ZnLLxATnM7bk7EMdhj1LWOCWHMTreXt6kp4CtZvQ0m1fI5l
cQHp98H6oJZP3NT2yxzDO23kozkycZ+fMLJaDn1fFAJ+PR07/s+srfbLX8N9XhYX/hBd7WRq9zRO
yXRtl8eau0EYJOwx85AKGDKKPXD5xl0FALd+6+twL0V84UfMZYhnkCiV9lXXIU2f3fLA+taMMPCE
zYje++/yPiRWPAK+Cm9LPN5hhtnfZRgB4GZWxjbJHM5odfS+CM/izNybMPXMscKpw7Ml+no/zvWv
lc6vSaK/phgpsCBfBoqy+2mQ0gnO9NDpeWuU+UMyyWCPc9ghp9IO8JPgpYk9cN6kR5pNcC7rxjsx
FNsuCBqX+Ayzml8pPXirNT8WTQphvejzQ5qbunlJChMdEOkZvmCGUNrvXYinK6PpF5qoScWARlyd
E3Z6tBXwB8TPNKIzrP1jnPLaT/ZXKvQ1A3pdZCkOCKaPln4gMGMlbE2bG87XZMHFrP96F72LMbTA
1TAWj9LjhFmE59ZSG4LedwMaEk/qf8hc4rP2UjaezMOqwOUn+JQjxH4UKbMyt3qhQmba3sz0Pcjz
Uk3BgVdf3I7zSDKnWyuWENEa5e7n3mfAnG8E5taiMa2TUUGpMMYvB0w8W9NrTHRjqEpkTbCVAjKe
iDOI19aIpRlq5YlE75NJ6ORMr9QUUJImaGUGcOSal6meL1oZz+zHsF4oM4f+WE/RYWijra7xRDbj
xTIY1Bvdoe7JVw7kuHfmWp4H6pgucczHktHJlBrsTyjxwuaxM+IfrSh9lo20ouGMCO2UxyxHmWZG
wugi9ebzXCX7ecxPUs1PYgYq5YbXJXS9BO/bGAkkERp5PhpzYwa/y+rucGEGeksHq7OgaQH4w7Na
frh86BmuSeAG62TS53nOtpMJB9FX7ZNwXNonevqHp+Tbjn3GP2oNEfg4uu1D62b3MrJe6r7dmkyK
GSXYWJjYKfzy2Q/6Z6fozykSdtNgVIGpadWF5mNkDceeWwmScF0mhP+aYJ7MLv0VVnmWUUOAJarH
KiyHXWN8KIii6Jzct6ZhFTBzU+Pv0fzjXFOT0dR2yN4FRE5fGDxtths4/noESAcTaZSaOUMfsgWC
7ntOgf+OgfvIAetvkOni0gtajl/puYnfvDBE1trmt1C3R5Xp+85KDm1rb0wtjtx27Di4lcbwbPTt
RUmEdVg/D2FGx2DAGMFd20X1IidPX6UVn2cj8rENJ+Ul0HUOIo6ErHZ5lo2iaA6B7X4px7+LImI0
kg6ZZMqEUExUhkph8zFczi4Ft9F2h8dKochzqwO36wVuPcjbsd10st5jGVj1VK1NhPKqGdpzmbGG
RyXdYZzkJuoVa0vhsXVEynFDuaBF1LM1jMT6DH+1MJ8NKFnObO3Rsah1TOpOCxl1nVsTduipOM/j
8IAXGjqdkcfvwVQBcVD7cFrEGw2UOwwgA/I2QUSv+ypF9yiIhT3VMGZl7zWHjLgi7P8QUWxY9Iz1
fNh6oninYb1TSf3tDCFYU176kMEAyMqW3JHCRfBToPIlO9hNbIS48Z3P0CtL7Rr7MQ67BskeYT90
BbBupCEZJWLyb27StXukZjy7HunzyMMyvJVz/GD5VI6TC72p3zbBePPq+przpFj6TXfVezZOh8gF
FkmdBpvGP6bD8CyRyuKZeOhTlyMKna3Z2+h6hFsO+Bi20MjvK+GeAns4tVly6fUi1/fJtkea6g3+
wXX7jbZozYrEOIWWQzqnUZ2KwN5PnvieXA2iMk2/OBuj5tT9wxS5P4FHBFM/ALjzbcFjYodXr3De
tGJwD1xwywjj0FXuLbPHfRL7T048nMeQ8ZhpPsdtuCNZ+w7sIJ0Deok1qr/eZqi/PENR0fwOFpHR
Tb4xFaxjO0SFCouuRZ0aTThcqqNqm4vwpsfAk3ezox9VHLwGtIjzKjj1rNpDkr4YiEtMqh3Cfqmb
LFSxMfa7GbCh1+hXlGenhu62p6M1gRzM3sR5ZolcO5nwd9wfY2WR0YFvhQApV6NxH7O/oqjpWBjx
F2OGT1nb+lBzTO0FUAl+lE9AJgsn8mljk0bWhYhfBiUZvR9df+O2UfcyZq5DMNdLsKj+wS9WzwkA
+5VpgqwRmQNAqOaAGNbDsTW6c9WiOJyShkmFKzvc50sClAq/3SmkDGS2jkMHD3KzJJfMMu/vpjGt
N2Fb/FnN8DMm9QXrKAkrYw9b1/MnirD/MxS2ji2GH8d13A03O8KUOrtPpTRQuTot82ehOtI2W9p8
zTTvaHZ6gB37Zts3aI+bQTLEScloNQ2ptpqA9S1cgvkhyg0mirqOqfB1/5bntXGOavaQrguOqg7P
Xdfs/boj8czdlSGLK1LI91KBmVF0yQQvOtkSB4JhTnjBznXuITgY0n3qsCbYTtPsA5h9oHEMwjsK
Fz1n4j3nTBiULD+iFjtl6ViPc53hVrQhFjsOXBoatJYAN2eXsIYnn2N+nAW3NqtQFVUV3NGuekjs
0kF8N+Osyj/nSfNm+aG9t7qq2UaZdyMoDXCH2a6MKv1nQ0MA4aShHE1tR2ukZZYNEF3YCrLw0n4f
1bkonAe7M38KmAGRX9xFKbRjhgTDulZkBLWMK8yW4qOYzk3YnjE8In9Dt9buB3Lct63SmF9D78Kb
jZaO0KNKvQcyuFVIKlRWPKAfuJvLjOl418QIq3zjZ+7Gd8lLiF136+UVMaQak0tD5KksFh559+7U
vstwvLtyDl/4D3d0Ch6NlkBvlkQ8HldlYIyf5w+a3/edCbGoIs1oPQ82Vsi429l8YjWBeCWh4WRo
zKUCkpiMJJm9eB/QgHwXkr3CR07Fw/6vjp1/cc9EN6/1Y0sGXtIPv51l3Feq0Ty+TkQjHrSiz7CS
EUGZ44IkGskD8Jep9j5o6PAICCna3OD/3i64dm8u1hG+01DJT5LCT43NwCsOfR5FSOygWfdEx58n
KG/L8cfx69c07+CTECjU9/SW82xHo6jbj0NtoHyA0ugZ4mh0DaEQFB8UExQfuNVqx98WDICSrGDs
RTPTyl4EZSbpY/cUvPMbyc8fQxd+SK8oDnquGK6OTLRz2mGe9NlYgtdwLL9ThJVB2dPhSJ9Ho+MM
LQ+5ghZeGcQN0d2ohUviMBk1THzkrV3oVTp3LuGg871grYbPYXyClNY7kdB3mGxavACNn5tM7KRH
W9gtMsJ5270eiFwVwTEzp40/6edWjowPyltsEeNQdGS3z236khsslwNUDbD/vNSSjNCuQhbvAUxx
EC32PmmXwvacPaOjm2GqnZv20T6k5kO3NW2UYd66pl36Af0hEvNdEldXkgyeyZe4Jnn3IMPsZhNk
qyuMJjNNUGPS/P0mZCGfe0eOJFzB4SRc3IpL5ADg9i3AburgYsZlqdHqohGkU9an4wV852fANeic
/KOauwfbzL9NKNAgjeHrWTE7MzRSg3HZwICRKYeB38uV7dEkbvhLYunlRRxQzFvtvc2HNGNyZRcN
iYxvEa97x6siWHFqtztk1KihaWHdSPAAOll1WCJIk8C6SWc8JVGwM5iwHk3O6fhHXxSLk0e4Tp+R
cza6hChaAdJn56Dd+c9BfMyjS1/a8ZD9LYgJkZ/LJP5xXfwMlZtNyMMEDT18V8pm1ex7utmuj4eG
OAsEoYiH+DzmFN0VXnY0Y1r+oJIsHnPrQGeafv3IdIg8j1XXhViEBnwpMgQfmhPBifnhdTQw/VTD
fqp4JXjBpqTFgmY/5QYl0KwBPlmzXBdFSpNP9ORDVQPzTwQAjb1mb9gUFvBdP1IHaWhn63hIudGE
EbjTeYs5Ur5xWGCoM3inATdjOeSMfHL8lJS8B6MfP3xTMXqVJgLz4U7Fasv4f2c5JIj3HWNYxE6Z
+aoLZDbJkj83ux8qUyVaOSRTBvnAU3qNYH9HSx0ZpMa4cfzkOS78B+wZj4VT8Y18B8rnyMl4Kums
gy1U64DKy5mbZD1FJnuj0Zgb2QCAr8BtH+JiAfkKZCPshp5LbKzReOHBtMb8i+MS/jFSOFl1HQNw
R4Rj0rSOXSd2Be8rSENip0GyaazacTJdDNE+FKX51Ew0SubwOMbyEMv8gFLgCY0nJw5BMjDJrLuO
UxUS+m7rAjr2K3+nGlSZ3UAib9zfZdH8HPNFhY7PdbvoUDCjxQ4tjglt6Wy98DSuk7bYaNGRkTgO
b8XMS0IKRNqJQyD01qKi0HP0ADi8eepRM2AVgoG8cLmiCDdKB4wgbapzvbizRJhvp5YJmZuJa25Y
x8QNkRnJ45iGKxFMu9o0DSaFDmZQPCqU/Yyy0iTZTxPm/rQSI46e9H55OKvMI/WHVtSEYjPNESku
/zAhFje5iYjDzmJg9FJE/k60nb/p+vnQ6OkeFa4i9cvpkY20Z2YSP75MPvIC6U05GoeUKg6HraAT
T0svSrKOkFsf8kdrJNsoQk8apR0De+imW2vIUw759ZPJiuiQlpBmzUh/f8Ev10o42yCSzCtKOidm
MU9cz/EpTaanIIkYQQ8vbek/i7k/j3An2aTE2aYObgzn1yONHjgTtV5qNatOcR7rYtalwP2XWwhX
tG3e5461lbTxIa+vArRbXYH/VbGd1f2NiTns1+DiBz46IGuX9NZ+DMlF86oGBqdnDEjOo/wsB4Mh
VsvkpJg9Do1F99qVJgBZH0n4GFafKXF4w5g+9hxolmyeB+GQG0x+CLD/Jpa/NPL+4qXR4/O3ZmX0
Y2hMi514CHgXU39+Mf3Kvi9TOvwMNspFekGic44CMGPUWMfyL5noqVaLddWtXhk6AH+Uig4QADZ4
1bvZLHYyb6+V5zKBgiTB8Qjdjdff4GO/QfYnusZ8df7j6LyaI0XWIPqLiIDC1mt7p+6W1+iFkDSj
wkPh4dfvYZ9uxN3ZHakbyuSXebLh/dUgjvORk96snuxqPDllIjZpmLp/Ko9zmarnB+HgYyxFdB7b
7K2lsW2tepYAHZCKt3Qhj6FfVec5lchrTEFWjU/dmDUuZRbGClkBULnwia2W+S9H4Seb0x1ZAX45
WTCoJZu2tJGRyS+Um58rqnl4PUdAFRaxKmpZe/rEk8YF72ayMMyMxbqOSUMnqEGNII8bnFhAILMy
cDm4ZUbvnbiCfXr2YAG+sFCZR82i2Va4bGEiebP9qrmneGrce62zVziGSUuxbs6y5LZvH5MKZaJ1
03PK95hp9cFYEvWwmlFuhwZ2ELuBzZK5bZL6wxmp1mUdyqCR5vHeq6eaLtyWiLXlA7mdCdNk8jB4
yaFK/LcWTniYoc4LsPybfkFNCzW+CjHTwWKpenjKWC256ffbEIuw2/eUM1rQvcv4H1/FEzEg+2w6
5hFjDZYHANFPVZlxMqnVUVlhCPaNxtVKp+ZhSIN/nbR8RmczWjiVwbhtvaMqrFsdNKe2wmEaVpSs
yr4+yx4Hb5JmM/0zGFXFcLQQwEIdo+6Gw28eDHKf8p7PMoXy5z2FglEJ9gSmKw3+Gd9Y4r5ckAH6
n+koOrqmT6kIfhwcSFCnKLUMu/Y54FJJI2mH09U8sb3vOoXbzYimdRrBiO6d+MfHkbdqSBaPC7Gi
TiWapwGKB0xORkfVKvOau5eZexQXknmu+VvTzykSl8Sf94rH68iMPODp4oKfxjYDoDk7GZJmoHCO
bxaoDf4sXjRqYl2WViSK4tj1JLZEzpvTBu9hlN+nMNvh/zkLFe3itLzMPh7NfHbgDNdYMDu7f3Ej
bOxhbXkbJtcZECuWC5/P5Dc3poptihtzvMSl67w9di4F7b1N/3NpXVUWU0Vvsvtgn804Rew9ZqLH
2qwIUNfjg+koGFjLtTGJ3BdKdfelkDetsmtHHwDMEQSA3gMtVjAY2xu8KBud9wGdVA2dgR7d0E3s
HrNY38fO+c0xn0f6alPJiC0GUcPh7s92KLEz9124ochjvTR1xVX1XJWSXXNJbgYxrcWW/ON2H23O
XNYdmIMSDVevBmeSugYuMPp7yoLO8Wyv82REUlavuCY3Q1C/j0l+zscg2Q815Y3dv7xn41iWcfFv
4iTnKQYbleB1KcpLh17qM7CY82QVx3AotKy/3NA81Ga6lTI/0M8ODMTq6HHKbagFVIQXPgqvgTXL
wPYGuoozMiU+YEesB8JBepWV/N9lsTQueNOvLnHbN3lynVGpZGp8Bi6E0wX3zdOxFfkyaAtvSqk7
J/XnwkBvQDYmj2tlrxYDTVqXHuvlObIJQ9NJmKblmkbTb03U/A2p9NWKeOF9DyaLsH6IWp074mCz
u0j3HFhUAEgEi5/RYj7G3eJhSaCSxIPVVU/I/zZubFj6gAM7MMMOo4ZgbjYgVB610+wrP794av7N
iJYx1TQYRAScp6k5C1L3jRXc1+l2YCIsp+i6fJZRJS9jpLZT+6oVnVt4K4GMPWYzPS1ddC/mCdyK
BX1vOZ9kuQUkYGBqgJeU8GR/l1M17pqo/E3DnLeQ2t2OqSjFUF3y4ywGTVbJsAYCk/zBmnoulbP1
Oegvl3orMja2xZiKyhWaxffm4v0noakyBG08e7o9d5Pxjktk69eEjjW2IpuGS2NGtembExWnO4KG
b3BFDpYZ4kwg20hKs2wBfeJ5habuXJcHcioIinMmyw1zPwzyX1o1zIFRFCL7KZe4HmJQ/Hw0UST3
TSvwE5MoSokLDpN/HpNxxxv2t+gV2z83m5zyYM83Kc/DcLcC9YBviQelzy0iYUtCG7WyMRrmCJPz
HBnRkxFo8Dxa9tzYLYaspQ/0KDSRTCTThmjSeFSBR+Ey23RE0Hi595NdfBYma5dXGTfcLW8d3IVN
PtXxBWJ3TEBf72df4tAJ5nmjcutpqorrAN51oNvEBX4pyByuEUahFQh4PhiwrCwGqOsbLIg48NYO
vekbKlvdQ+/Q9l5bOAhxTn5aU/jQmhHSd1mYjxFgFaxVdIYUwP85ud9A19IlYRbhxvHr1wIslglT
uH3tEaF9floiWaSXhocmleuwHOI/WBiwrOJUiHBHrFzhcfdnwXaXpaEFVVc5z2OB7Xn0oQIX7x5l
DdQtc78BroEdiKH5BgWecZjNMKVUt9R8GUN6KcZhS+fbPUF34jUhrpHeIoWVq0Q8FNl31dD3npGt
N7PkkCTlVzZZTwoHBJZ55uCLCF77i2wxPKucwR2L46tTd9A9/UvlTWhtGBlYi5JJ7vjA9qn4V3OU
b+3ig3QCOjNNw/znD1qKyzz+QAZcFeaLNFrASL9z3GwmJ3zVFLlw0b5accjhpEagVG8sInuyDMT3
3Qc7gCCLCsX4I1qVU00Lvb/NGcmmPJG1zVU+vNgE+ZerV1ABGcQv4gTDEmZ4G0b3XBZQG1U/7MLm
GVoUlF4VXYtI33FEMvcvcSUTBBl7+0XWkum9c1g+EZxzp4y3zIX66c7zrmHrY/zApZKvc4jx3Yxg
dSJsXGuBH3udVN5CCUc1QM3YZb7xRkrz1uGD4n5Ortm9hImxsBNYmQyfHxVJAUHK5+O2GxwSxWcT
N3+tgIhnZYBEBPN8klA+zkFQMr9U3l6H9LULGnExo+eBsUMbf9CReQob6hJ6SpXL+pVILQJCcACM
BJXYffRH7+IWoB3zOc739lx/pqanX2dN27dnkjnjBJ0BZ0FrFjE4F92IDYveoRDM7+va79fs5j9A
jD9rJtYkYu1b6gpqU2jQaxJ1xoR+c4rsTbdesxLJhNrednpbucZDQmxRA4dCzUW8Hv1wbbQ2+l/I
MqmaZM9+uimzatd6nrkXIYssKTm7q6udG1YcWvnCvNKuwJbXfwJlfYFJ3Y5KUnQkH5NwCIikT6sm
6/duMexxiK/h3DCwI1En+lebTEsMRK9JqrvdYQwxuCaHl4BuWj+yTkUxHht4hzwKTKoGLrPp/MBU
fa1puW34b2Q4TRvRf6AS76uKZhzhq5coGx9cbgFBQy/OknYPL0UYHrplozJw/mnjHPnDURNg5JFM
4L45Mv0S87upsbj1gptVucNJtFKUW0QasVF9Kif9W4zJL4GHFWXPFMyW6bIQVu9Btrx9dHSSjEpu
NWZYL25gyZinNGfA0DtfXrzAIiNNJi0jZggZNd+WVUgIuyGkwJa7nbPs1pgT43pKyBvU/C6FQgEd
xzpS3DjS9dP7GOyA2JjJVyNASRqc+aciOpM9ODeu+lGuses0LvKUAFY7UEldtByrp0tbjbcqNI8u
OVgNgWCdMYdn8b1wx6JroHW3KeffMc/uFgtQ1KVvA2/HKvCTq+rFF+VY4aplOcxreGXJhIeedqGU
j6b+7gBtLfkKLjpcejPHzJdqlBfWe75kqSNYIeAKO7ZtrG2HHhCNy19X9+59efSRZB8J1dADjieD
QrN1UVmvNuU686TQacEPMAu3YnPY2n5MbUndbDtbvFq5fZjnjjWLChGzoH2j0NNXJWba/PpHF6/e
ogMj/U3rngdh5S3DSsTQp6RNfiu+tA3xYWsVBNmLasjjAfZAA+Bn8d2G2jTmP6uOybKu7d8h5wEq
C8yiiLoviYulvV/ofb3m6opT0aMSJPLP+MvJtSOEc94JdIcrgWwHA5tsbTANnXrrKyUEu/BJVaZ/
24CSVgZYbmsDsKY4xe9I8Aa7cZanmKnzyGQ59GKmKbJ6tchHQoF0fPOjNbxtp8Sv7US/LvWGR6iU
F38kuV5qFNllgQcwT7x82Oige0ioQTHq8UCYl+afodkXWX2ixF5sQdR15tLn5X7nPimNAt+zHzlo
8rxPVscRedCgXjAuL1/GZD0y72PuAfo+AfckZw4ujH4TGgKC2f0bZ5AKl+sEN7U9gKsjfXe8reLH
N4Y/sgr29VJ7n9dA6TjY6eRPn7TblPFMq8KtCJ3rmE1vlis3WLdPi2oqSRWZXcuVIuQDbk16prj7
F45kv0w5ATS8IsZeJhLWS8EirBx87NqVDzpXj7PwXkG17aMWZW90indiKXxp7pxxCy3eJ/J/yL8X
puLnkKNjAO+YDDMIFVrCzRw76tBxsInbD39wsp3oCpxr7FLDkOGySUxjIyL3a9ITMKhwgMmc3oKp
uIXMe4eWlk+TdyXIzealDDIOLsI7JN2wZ27pMhTFp2XTf6Mn80VTu5vxhe58h/gd3tYtDYISCB9/
roNvAjMWLS2sX2P+8hbicu63wz5qynnvIGmQEGn4MoeBoxAMv0lfEkdgLnHnn+XYiNx1Ddi45FgB
dm4esXLcqUn8cQ25DuL8Rxj6xmXRbrIfijreHTfYllH+qnUX7vQ4NEcj6u6Jju7TxIRFD/QvFhDQ
DXkKGlqSmxGoOLf0j94l1ZSAjBrqxc053khUHHxibiu3M74pB+Ky5aKJzBo3YM+kHzJHWzgb0TbP
kH5oWxHjQWfqz+CBy4wralqMf0Lqg91VR6vOXfCPcwiHMN6FC32iqfql/pxOV9hXMHMo6myL6ivW
abZqp4lds/u2wuCxYR6yCgt6aFP4pTieaI/SmJ/9TL3QEdCuRyKTRosAbfUtZtTQePIY2izHR8RU
5w/R4m1oaRazADZxgUO9GNQfdyFApcFIGj0C/2mcLbO5Knt8Xl77yEn+6NC9h4GzHbyYXYQ0nSsB
paRaIit9GynQw5hEbx0Wf0xv+hpi7gh2/GiRrcKhxDDZol764FsAFif0CiHtT9jsP0sb7PJ61RG9
YQOXByvdLxep5QJTciXeNaH7x6BjprRJZkYBryj3qf0geS3rkA4NDAPXcPBB6LF3QMaeXlXDskOZ
bIBlBlpsXZ1tjNkkuuI7IZuzZN+18xa5kAcMA1sAqp4qTgu7P766ldNjwuR/UxPBze1TLiXVMWiD
33BCzel4OFxa6jrXegjj4mU06z9G7u2dLuexdtkxg3FvhiPVce1bZmdHhtX12rML+zJi/4MiTI58
gnDA1R59v85BC1Yd7sggNTap1zxZRffK/eiphsRn5oBM4sWAz2viMclI/xeN421f5CBvHGOE+8eA
reYRpn46wCilqWWvjZPhBmcq67qDqet75qns5iH8RzZWSUoq10IRnIAESCBW1KsUttZSNxz14Dya
yL6QP/aBEXWEjelrXS/LZE4wzaebOk77KzL0S5lRfCkL3gUrkHusr3sgrufKsr7M0b+aZola16Kj
1DYZ4FE/e3yqirT1YtxxKLxq37n0s0h3Fvy1BE8p+t5dUNqDiwVEbVR+hX5x9tqI+3tZPrVIhMGs
YNC3bJ14pyLxr/PFv+XoWTvhVRi4AcMaspulTmbZ/7UaUP4lYv3gKIrM9EHkpX800pqnJ/vrt9RT
RxmRy1zwytQbmFA/trb/yNj0YXQMd9Ayf4WTf1khuH7eRgw2qPOGzUCQW+UweFgw5Kr12WiWRR2P
1S9kQhLBEEehZYjX5Wg15t6Du1iIQHuRlHG3pfY2fshVviRh0dnJQy7lTk3VETF/WFGGQ1NjCrI3
mSym6kKc0AmBIy/1YhR5Y89beTbWy1Fzkm9bJoQibV96F/Oi07+aYXOjl/ewPMCdFEijHCXdgUWK
ElJbuHqTSF6Tpp/AR5jBJmiaj6Grf5Sd/R06ggimB6XK7C5y8QEZYxxfMru9AGAkWUZvDAIpBjju
vVHPeb0U7l/L5Hyc6PgbEBU/Wh285x5DbXPSuFUCcOB8cD06CgN+BdAQZaRkKV3bdMyunGlmqiKf
LS9/9rsAW7PyHjsTO27fjLCTMHlKLPBrh4W4GGhDLqe7D/wwcjPMfNHJnrIz6zHsbzt8cuDfrV2n
LVnB5HOHIpZTQLIJjWTvNTOOk+Qqy+E+R1ylQ6HeO2egUoWZEgiT+g1H7QsRpltejeekx0vjORPS
NV7k2mGBC6ejUWuFBxeLWBZxXnEi462BGrSKvfYTXz4Y/MHBQDrsxdKw0gaXilNGCBVhOTcaDHfL
hBxs1v7hWcGFQ0Egs4A5hQdTmB2RNPuOfv6eSmKAk1tTFx2mt7H3qXfHbpgZzylGWKcwAUJYlJl2
6ym3H3ssUCqyxm3R+FA9TP61sifdRCs6I74Kd97AhGCJR9rblBv9JvbFKzaQEPoaJ9qwl92Z4snu
EIjpbEn3e4KXOXhIvB2hq5qXc+xwLibtq5sy0BzaFBCqGh8Rx9/LnioNK8MlNmYNA37h7Iuw/NCA
nSIPaSOA8w/NZw3OfD0NEWMK5nQoGg/24H/Jubxh6QJc5Nsvy2/V4DBdpa7G/xzSZmEzVEse2kCi
HmaLr+Pk8zmsBuyfK2eYDlNkHbG4VKtYg9OYqxu294AGNbmJ5/TeWNF1scYJP7o2DUo0BwViNmdl
WhRXuVN2qIFM4CDg1F4svmB+pLOu6xcTwBBLJ/UJ1DkUfH+WKX54r47ZaNyXEUUDJ0NjJJATo0sD
YmidcDBuk+Auln2g/5TF+GR2882bJgnJDwpCUryZhIyhWdysSj6MU0QFBYtDIdKFGkt6m/MDYyj5
zB5/IBpOQ3v26WP9MuNhh/B6J4KK+Se+mGMAD4aCLgYnI70Giyy3XGwRQ85dk98LxMaCNXpZq8Oa
8J4YvodenRw8Z8SrttPibJyyHztItr2cN1Fa3A2f/F4OhR8p8VNGGYYD5b+mCRK4Xr4SEnzPeiby
46cIFCEEGqmNg5qro+02O58jRe6bx6HNgeblhCdZKgU7VyVcVr/qXlTui9sGH12lf5c1skMSXFRW
RryXFhOTXbc0UzBy820QLRE3YqnENZDR46jdw1Bhylcj3ijhP5lu+B0O5XPdqG9T2EzfeZ7sUh5y
Z3DWvsxT4BGgHfq6px+rDxgfwA9KdA42SVx5fBGcSMfbPR1bLUEL0hh3D5mfmSxYxeWUMFS6YTLd
drsyz4+VyeEp6YAB6CZ8WK6dThyWW6XNi9kxAl86qIQV4FIiL0uumV0mpcQphjMAQeDR9PVjlnFR
VNaZd40FJVab2IbR2dhiR4yRGAs6QVR4/5wRSujyT4Ik3YVG8G+OuUa7ajhKHdwivuFyZK/ALvPs
tcEpD6O3inB90dm4vqCFjOYDksZpctKjyJjKkSAwmXChZRyWf+YwseonbCOe2suB6HEzHwv8w77d
vQaOfBtZMDhjv/QlB+GMI2Goua9K461fNIm+/Fbzl1EQ+fEVQxh9q7rkljDdmFPvh15s/r0HUcqQ
1hti4cp8mrxpFyORAevgt8F8L82RsjPyljhBCE1HbO1A7QrmbmroLzMHpTRi5IAZpuHxmJEjrYLE
GxKWKT1O1fW5ictHXftX15sB99rHpR92eR0RQvZpZ1+zzgSWuWyKLr9WesUbBMY0ty5Qcy8pNV5g
yZNtxQuFd5zgXZfY137InkuShyvAo9R9tvq5EOHDchMKxn6nPQoKTHfDSOezABc2sjKwRb0Vob8y
KyaaQ6rvAU27URy+ww6hzSN8av3+MeA/AJL8eayXpBssz5VeHqQoUiRJaQkIZXyNQLIst5GiHn/m
YvxuOff6y2Ned68I0rQoAIip2pKDdXKpODkhQvw4iUXiys/3npd9xBVzmcg+N8NAN5h771uscrq7
11BicO5uDcoTerKNZdZtg0SfDZ/fMZLlTlNUg9fK2zINIhBpBqdwqiVG3PoptdkLTa4NngUpwKV+
GrZ8j4l+rikFR5j6alr7DRENmZ3FfhraZ4vYKiiO+KlEqmJN5aEoAF5U1RO+PVCxBuhs5BrTPy8H
6KI2T1M7XuqGlgShgZUQj11N0PWzZnyJs+GrSbCNe65VnNw4+P9Y8W8iqejbdIukvC2uGC4dCUjO
CXwWpfVgVtzEh05PpyqzuNnyc0m2XuUAjbPEZTKGs9l2b1IP+yCGZsoOQFcK37WbuseCH3p5kO1W
PWVzwl45/+3tbCeFws6ju/flh415/dzOzFFxGRWQ0CU1YB+CKvzSmmhViL0wKHLuGtASV+S+dv/n
LlWbEYd21Icdq+uo9E9n2dvMad6FRY+1UTflQ6zSiMtJMRxz6X1PjUYWGCgsdrvzgEVNG/0D581T
U3OAcefyDUPFvllwakV7Y40jFTGQVkfjhbLcVw/Sja+uobHcNMBnDUJLW9AUIwe1duC8E/9g+2L7
aq/S9T/m2ACTU5fr2Vf/utRnutYCefKnQyu4Ti2337gw1oUdnIQjDiJiKqrLndDjcxNLFumRO+W0
uCYsQ14aHWztjvzZXAkuvFRvM3er70VOaLDAb+Oq8nkeo1PTlR+l7j6KujFWY9QB+bNswTC6La7t
HKUgth3Gi516jK3ymQEcGsLw4bnmPQ1wAUKmf4jG/Ba3/ksHgIVLusB5wbvUu/q5KdTSdNb8ZtLZ
JwH5uBD3pnR8f18Axk3ozdyYZGN3YWs+mhTSihnHMYYbZHyjvDcu5xuAc9jJyxy6fXugWSfezI7D
jTh3g43wEEWrLBlJj4KQs8KYHPJIpwHstmG2911THDibUjjIYaaubj1eKSpcmocppUtvNDcEmQD5
2Z9iyi6RDaLFqfAZjC3KkY+6MQfDC15H99GubMHop+L8286nGEcy0Td1Fh4DUm2IW4grNIO/2UnG
xQpH/GzF2Ros8LePdbPrwg/iofhGmMiUTvHQm+7FZesZGdQGMuW7nG9uw9iwKime7DmL4ZmDtx89
1SwIzey/UGZ69GvM+xMrLfNDShidU2+KPdPnzxDfGPUZe3NgG00HjqkU62G/stsNPZOXLm23/Yyb
WbKGdECzoBGAEwKyVuBXMUGum+ADHIco7WC2+c6uWJeKub61MzeZYIx/tTZeqiC9aNssULcwAjB7
CM2RRskM4KCAOUUybCgcmEYc0UfeGWx3tbVK/Ah+iyH2JprFkDODUJQm0HcY4VJMW5qkIyICLJqs
xflMem/6Khy8c0aymDn4kVaWBZEJzpfRiPvA20zNwmtgReohNmp/5YvuquA7EWFyu50PLchNBNRj
esAZBGSO8+SyKyk3JOeQvfme/7eQXI850vZpUsH24NupRh+w/XAvk+7mugUmgXo620Lvum6iXBmv
nxttk1bR1VbC7LD7htSmzbzTmKPoQsL7mk0LGKtjdBlrPG/y/1PIYLNgVY54Luv02R8GtH4Xhc3R
JEK6fKa1Ejrq/wuonZuXwTbf9YBDzxlZt/rGLc5odQ9Gqn5Ey6U4Voh3wgTYHqOxZdLaNYKqnnog
TpoC3Fp7EUEtNelx8QhEdxaDYePZDVes6N2Mi5vnRKc6t7/xMmCk6AgIO6ZSp0HX7Z4o6caUPpo5
9NRrQkE5/dEtUCVIiaSP89bbq4LaTBT3cluACruPph1cHcIDCGC4sPZl1ixAjCjf9QXXC0I4zzbL
XuOKV6c1vxicECRJrWpr2ywazFGf40wEpDgthvQjvFSMTIe2hDc/g2GQaG8lCfdabiNBdS20/62O
qte49m5ZWd/JQrq8f/hEp6Q9Obn31PAb9GbFGjodPF6VlHKIzsd7RBNRMMHYUGJrj2IzyAzR0Dwu
k8PWEXscBw+S5LUaxhv0ukdgwoujtSSeQEwkp7RcET1OLCCklBCVOHPxVNiKEBJ2QvIR8JAwxlF5
Xrx1bLmbEmHBM/ydKd2NEetnTis/iILfCIu8+cUSk8sQvKdRvpuEaNceAGmg/eAg6y7Y5Ub8rcxi
KY4oGU6rL0z/5wgQC2FL72FInG1FJjdv0Tai1j7b2NnzMLk4aUbIb3wLdHl0uRETYaUexGSWUNOu
Y/NC9Kb/M1tVzthCfktdvoe2ePCG+SPnL8gdK93Ss0r1XADOl9NaNMoHB91wZOzUpM4diti+Ch0w
1wbupOmCU43ZPObPsoWx7QtdEz/nPAptpOTVq7KAY78jXCY+45kh2TrOuhd+n3M+Z0991rzR43ry
64niG9ZiaeU/ULzZib2TXatz1dd3aCKAbIP8mDBxefQd3DL1JF2O6HDvBL+32VQS5Z9xIcGsnPcg
3WMxP9RecZ66mStsUyFSI3kiEDo79uwPG2Nlmhtv8wx8dByXxqgiHs9yTj9EG7Zbu4+eoyA+Nt74
GHrOY2dP57AjgWVIlNBSU4E4GlRdSBPDSTBcCzc9Vl1PmehA7fVYknUzhVDwtSVuocUlOIFZImht
UOCIG2n50otN5ujomCTexXa6XRUXj01AHl305t9wHg+ycj9tyTS6arnHY3h4jsfkXVCZWwsGaNXQ
vriDRAbNna/BNI8G1ej26P+zyu5qtP7PYOb71K0vU9lS/cI0nwHBXYOLWjtg3h6CKjA5jtU3l3E/
Dy6NQHkaESFW5nFs/J0oarEr+4kpeT5mlwE/dK+9Z5V0l1lzC53K/GHhZyq3Os5lfvDSGMqsnWwW
dKmRiGfPoMzC6j3KxVm/Vegi/mKSxv33IvL2hzxRtY4s76eUGBlKoCKAe3Ze6N4qmrWkj/oU2R7s
nvDHyYZ/peDW0cjhNefIJXPT38OYSbaZ5B4cJ/Hfyh9Y4vsnr6KWJcXB2EEiwnEdHNreuRQRp+XC
WTCE6msoI5LHDJfK/hFp729lh8Y61dVXMWK3tOgRUp5KX+uh4obGhJBaTD4pV6GpVWI75H4KOwVR
3e0X3TMo32PHO7ouw6fAUQcs5eEyoXwa+BC16A+O3Z1qGRobqpawjtiAJqv6g2zYa08qBdRfBdHO
nA8C0sKSmtxok0zhWgK4KFq2Tdkm70XmPGRNbINIqKAKGcXZ5eMmCHn2ao9M2hR8y7nd2xVEJzVx
UY0AbdZW/ehyWMWTk2Ilb1jMlHwv40A9x6L624Xugz+0n23l3ESO4pQDaNqV3fT/B+MqnCXtFH/M
rf5pyTUZfn8cZP9J2eHRaqYrG8GG5WSf8gm2eQagAZ/7tYSa5AB8/rAL/54PGXnEvAMMJn7CmK65
YDiXMSOmXN+cHEpq5V5n1/lrGTB2w7g9e0tNbF7+xf5PyqkqD13OEZpGr7Nl+UzPyvpN2XRiU/S0
EwRHxsL/8cQMQEm7n9JEtIaJtBtKijuAkd7t5Y9InJZT+q8hvEMeFnihHqJhm9XD2ywX5389nvCT
rq2xf0389jhjSo/yEj/JuK4TKk6wdHACyllKe38etmJKnkEa2qsapRXNFKk0wl3uS38pAQ/WUw2C
yeTl7pHLq/JxHLqn5Q8A23rBy0UNAY5LxpGbgsU1DPS2S7xD1HfPs1QnX0ZbZjLhJmohlyaRxRkq
psMP2xVDG2282+kE6hXCNJYBJ1oGnuQq8M3tFc4tp2igMbkYwAlYopn16oW9Akyio3z8WjFOa2yF
trVzvKJ0tjowzJRCvKkKt4Y7wehPLGrT3MyK94oklPFOY0Li/sGClOcYddM8BUcDN9twtiyecfli
tX4b3ogKcm/tw8gvKI/LElUhBZkyuXW+uegG+NDj6AzScbn2UmGr/qZYZ2w+zzBxDRhyg1c9N2Xs
5BcfCwsuSRXP2uQFo++NZH5d0T3GSN0nzu2kjYzY2ByfCUeftuOG7A4yFgu/TvHQzCLdmLTGZWTD
VVk9hIOQ5aZuuMhuDCPHf6J9crqbsB+T7qRjz4y/tKgyf8FyuAwOUjW18inM+BD/dsqDoky6Y4kt
h2FhUBmfVmoxD8kC0WaTZUPSXtUU4F91Yu5rjN6dxL+EwahfYe06zo8TWan75ZpRNZ1F6IZk96u+
8GkBUjD+qFmzFyujbtJxbWHVxM47jCIFbZIOpGgG5pcvVHu57B1Wj4FJDdL3TwDwfYNiPM8MDolQ
vYWCX+dqmoDTdvx2SWyOmAfgh4+Hwip5ormOB81jGGo7/BMUNbQv1KAOQ23FkLqmSxfrG34eJpE8
IVTFZMgPdcXKVKQF2dTC6DX7KeiddAWjglb2tDDgUm19D2HwXxkVctx4nu1Yu15VnLAlkUfnuSWw
XCBuN5KwX52BOd1PVhzQZ1yqApESi0P60ysjx9MgRYcBEaiEr+U1TQ0+Ii+LTAMVGbYYDLLGDZA+
s7Z99c3GHa51ZYzywoQ05tHudWrNazfgt1zQuK0R/mlUw5PxNQUMT/Vaa5rrf2IOIKuBNzGqla+T
bRu3DWyagO+ir0hZNAZLSJplS9dunhpknycXxMK9ykiR/VRQ6Bknq8lavFDSNWeL8JynCnaEET9M
my4wwdz8J8IQG8dapcvDtvcDQGVwkRhTkkYYm1GBrjBc/soY/HpNp8B6MpAYGbvlg2f8CLu33EuN
CaQanuFd+lO1TJZtQrKOoNj9de4KVxCKmHyz/+g71vf3tnE8glFNalCy2ig+IKJuozkYYpNZDjU8
a91wtiPAIsrZ5FdNyMUbPDVlJV68yWqbpznoZT1iKfTG5koW1lCvZgnk5sA7PAJDVhBpQhyTTBxH
d5PbfNTguHKLAzxHqMif/ZU91DMuTTJaBQt0UAJFGeiC0ZX8jAkiz4SsoyG8kRAv6rc2Ly08B61V
T/rJV1IEX07b1S0nScrgsPnMppUsdLfILJvPpEZ2+B7nrqFqQbBzDjtXFJ2YGC1jP/tRRNqCNyuq
8uSDA7013LGu6zA8cVAnU6oiv2E4NrQiM/hXRgyszeo/ks5jOXIkW6JfBDPoALZMgZRkUpO1gZEs
FgIioPXXz4mexbN+NtZdLGYCEVe4Hx+8OAmhxfUu+805zdsy3Is0NMfnxXNsWmdOq8Vtd3EQqxmd
BvNySeQD6oycwW9K0vhxmCCXDrQsDdZ5Jsj85wPwRLPL4aq1SVyx55/LcHwd4tntH/OS2ZlDtUUO
Ikl+/Wy7Ic6ayiVpMTVGvGt3mVwV8/Z+ZCyWk/po5jaZa44NVGSLckNqJyZnTQJh2EP/N24LBMtg
zppcKuyAHRveN6SOzvQ42YunucqI6QIm5pbhMBuGrlUaH8FsDXEUk2Kvv/GpdOb8lBn8LqSf1NUI
qYojRDNpQGx1hnfrRZjU6OFQ10Kqs7uue5cmODecu2AxxY9KfHPCqJB4DvlZiZl16Z6ejpOfdNxy
AupiNkvM+CJU4DwQhYxWOxFDkzmpZRy7wsImsguGBkY5JD2mRgfmFbLr9Da7bxg2ZoFAbu0tGGJ7
6brdT59PcXnrzVGgKLNNd0ZCqzxc0+GGQ6cvX+rMW8on4q7ypTlWXd0wfF40ZWpxzY4xTBKW5UPJ
BAew4NwMwj/3mGgx+QaBFWB6ikOX5eqd1fmr3xK2ELg9XM/KhBqJfi9jEGK4A/zTfevmUvelVqpz
qekRa3wOTmv7scJKDdKSMBkW8Yu1cy2G7YLzIAMVD+Rw7CNWeOzefWeMY/bBBpNiPYnOZvGI38qE
qjIXMiFNsOnzZYw62lOux9Ws3N67gxfuUOM2XCt685gJ3OR3VmsbHsjLWnaB2vaJZZoovZoFvsuh
JhrXW/b5Eguvvp9EUtBcj8rzknozD+ZSN9sGZcO0REY6hcPvjKVBMK/HXpYtz+Y8o8Q5O6MPjPpm
yKotmnPsiKRq913BAOiatyb2nKgjmcr7B1vM9KwzGrIpBTQdGJ6rro3lBR7BMDPAon1vqzSwdqvl
lyXjeQlxRifj2kmRNLemiRc44PsQe1k5olvz4fmjkJwGZnIUB2vP35kSsKaXGgIHphCE08z8NgAa
i3uM6XPwNBs1SlfwOZQQbE6MaYidyPJcSUdtI68d08eRtBzeuVXbR0cL+6gak9hBXZeJzsiHyOZs
TxgChllA8Q7hCmntHStvmWEgQLi8VNvR7lr5T7pTIhmAdGnNOEslmK4Yo5WNssUGA2tiDExgxrRj
A9dWDkuhtpsB8+3YfubJrRuKEqVnZZv1VGz9xqhKD71jwSOeG6SvQLYfJ9JXUVEo2LYhBYEbqYpQ
n5QI0cas74FOpekObnlHk0DWLNDwLLSc+WvuZTt853BEdVqKT/0FDyBdexD5YpFZ96FElay/uKFi
nbvUydkIIoQBrNWBRmGSrFlF44/8Z9pBVx7FtGBV3jo+1I+KE6ysjfe5KkmQYVpSVDDowxrbVWiA
rbb2RYcP+zQmq9divjDgOq9Nkng/VkhIzg6MQwCwyyUvZPaDBIoDz3ddprfU9JT5jlthwQTJxn61
n6RdOos4dnEGMQOjmjW0RAvPGK/nyMCvWEft0FfEy1Pw9RzF3liJ6gFZpYz/cJCA8CFIsejCb4f9
IKYhsaS/bW+MPQZPXnFvPftsP9rgLzaEmJUYRFayZlAaFzGMq0KEtXxL62EAplT6fjCRpegn5oQe
w3CzTmLXXTqMa81QtOljE8t0/e79xg3WCNOR5QpMXhZu8i2MZcmawo5rx31Ap54W444KrkKSCtLc
JnZWymlgQtABaiQevI6xMgxehzC6ZcjVH8yE7ZdxjGdVIeeQY9PH/1IEA8K+GzkMgb8xIXMkM/Eg
nvZ1M/ROekza2hPjgXrAMcyNC7m8v5YpW5Rt38BAKo6YYztxs6Hxjp+N2QjybPM0md4MEyYdScL2
NEq1czohUMyHzRi8xiUQ0z9Z6ibcSLjnEuJ/ayVACzEWryoubrA9Q/ATTlaSIzQMGalSe0FDZWeM
O4iTjHTUxmW8rOL/rEB+lQn14GGzrN6z1uotl/mFnvtu0sUShK4JygsJHmvNB4PSA1dIEm74B8tn
JIVLwAGBYswgJiycWBPS2wymOT/P8EI5/eu4jLNngp5mUbO0XoYOEa7lNaLaVcJT41/KrST9UFZW
rt8DViEEfZUIec6YtCVOdwHhLWOH2M7MECbstgBd1HEpYgI6s4BMTRbHDLpIHrYJB1s+DXyFtg9M
kmU54/818xIFrhTuD3Jkr1TDzaKbEwjoTOnaX5SstvoXt0CuYJLzos9IqhMzxr42YGRkMclitkew
NfGd5E5EwemOv9mIJmhkqM0n9bk6Tbd3EI2CPifm0fr02Fm09GRNGLJFmXGsu2+GJej4Nlbs5Qio
JcgUmD8DFsOA0yvMa6yqBVwGSLBDVav4nu+6KYoNCd8xyyp/XlT5mzFtBD5BKcGMaLRNB+nvms52
zVBlCS16yxlZJm/FwmeJZhJHcJCS89vaqzotag36U+AA5bq5cE7wISUKEdC9NBawMpOzmljSM7r0
pae7q2qvOVoo6+E/ujbFGb5Xwx7t0+A3tfaozy6DcXAwqoS0I/tSaS+Rv2CTsIuex2bLJzH5X9wv
CaHC5qLc4VqsvovdKC5z/S1nbrykIwCnDDoaqgW6kQ68XAEGL42T+tfvjBh77WDp1D1XlVXChgyP
HH6kNFi0BTFNw6q5q9OuLCwKMsoY/zyD1mmys53zRCJed9iE4r8uUU99JwHsH7KQXOk333y804iX
gRlqfpJJsoK0cfFVwkVgc97HA0+pTWew57fhNeCVJwTX3/FXM/P7oslrJzhUIw7T1wDbOQbOpg8s
58+S+yY1WScyC4LnnNmSuUs5cbhbNbbZTdbFy0MCU0d2oNNaBN2EM6JUIvleEgkXBCGDj4NqQZ83
dwFKCJ1nboNMfp1oNFf6dkh2YQVzakkMj1QHQs0Yv3QIhpdLWZHNBSOiixFFov4uy/4RUEhAToTF
nJ8nnDlpEp5dP8tktHRusPzWgdC0B960LDzkaZ0FqI+TOcurkx+bvnn1uxbI04bZ4pQBGWOzq+I7
1anR+Ivl2uQArGTmEp5Dt1KBXomJiMCxnWVolO/GSk4OMmuHH4/JAfriPehzSkBf0qPesmSMy0fJ
oGr+whmvW5t48k2iEkVarQulPYmjwTeBEmP/yP6jbohbVYsqtkmbok2844vIs5ldVVGGf0dbDVil
WKrYCm7xyJjnVnOVOEJPV4bkt56a1P2YR9ATC9b0cVo+0Z3GwWvurb1AkVCbvvL52JPGfyDxdxaf
S5l2CxAXqvzW/eTEjOEM0JM5/sDwSSVdCMAxZCniOSNo2jtBYOP8k/s57emVQJ61Rs67iHD65ewh
JA2KYJb8FFOcUlAFXpyL+pmwB+n+HWO3KUjQMEYa8iAJTPMh7EQwGpAhg4S89tJ069Zkqo8EH/5R
7o1akwL6Rdu3wf4z5llRBQmKqAFEQW86a0exYXRcnijFSMK+E15hZgz0PH9WctNbi+LOlsJsEKoV
ZjI1zxk9a87HuWc/Rg5IEBKFHiMuThwG3q+tPaQT8HQPSP6H4bLgnzCDF32TRJVhFdWDG2dZ/di2
xdJE0pQdNJZqhEdFheZWoLAXdv9XVbcdVpIZ+TNuvhxvYvPTcNlm99ixa5MqsGqs5ebafsbygKle
15K2SdoGCpkC1Qphr3btJo9sTnzvn5H0QyrIcQroq9B3ldPU7CrL9ed6m/Q4QBhsdYYiK5x1Nevu
rVlzU+CAnArE3GooTHnuE2lLDLwStyaZf9OLn9PRbtBQ5mUEWZH8lXUVQ7iZ04o6k4lTnV6cUDjO
0Ssl/lQChYxhk5GOQXHAGAXC/8yoBh9Akf4tWqiUNeEMDnHKZXG1bOWcFtbCV4zw8LD9nHrcyf3i
QjXo35oU774Vt1J/rV7FtLNv/atwe7DUqyBe9s6Z2/I2KBisdUKLgFcGV14TFDhIcLkBvOjdYt6n
1kyWYOMtD65bOnogyHCwc6G2mH7cHTt9r28lg46HppYkVAh75mvoT32Mj4COad3mVUUEbu32DinK
HCrHpLCLf9JL5d4JYcW2cd/f+1PM20Yb0Px0zOyjkcb+q+hYasOSFayIbCzoxc5sgvC++M/CVSr/
cfSt+aQa5X93E31vlbBVoD2RW6A26MuH1Ly0AEOvgVW1XzbGAiY/xTjGvAw2bj52wcyMJ6YWoawA
obZp9zkx3XpZmebtwAYVR5rSBqL7kPVbpIXFo4t4DaYm/p1IZcVr1S7x3vPm/uiAuYa1pFCxsmh/
kB2NJ5FA8oAciK2vib2NnGzz4nK4MNAqnD2F9bxLs7W/1lmH4XYJ2GvJpnsDauXc3Ab1Tjxa2QYB
Fc6k0ahJoHVbmFWwXvRM+NdYlYqWdZwRiSpiEsScGE/8Zy7zAh2CkF9ljujAdD9ShWpFTPCCUNkd
uxAMJu7wgDAJe8wuTV/h6w5ZNHFwEOm66kTOBKkTiH1Wx9g/nf8clwNVaOXZWxCqO7cS9JYVtrNP
1MRnuUrsVGL+I73gaWxpNaRLHwsqWKTn1FGHGBwii1WcdtVLBfhAy61Hs71iGv6sCoK8iqA86n3o
0BQECXvwCCG9zZTgMfGdaZwfYsaGQwZ6BA8G0Aq+XtYkeVk/CCKgB8unlwx6GvrlkiYsKI0RnnhL
EiKQgHh5TD0cYaBYA8nvUHeRO6665GN0FK9A/yz/r9Ws+PlYDgMaHFwfC5yxVcNydbGorCk5xdzB
SHojWpQnc4H10IZG5C0uYJ9pm8XNv7bEHBiTukHkB+66fH1x0zDSye12RlCYSyKex8SmlxMiYToR
mV96ae/6vD5wqj9b7FfggRCj1LPdnnbCsHfksemo6+lqmdUtb+dtzkuymL/p+iUVAjOwH+RLb6VV
7uwmfy3Zf6FiXsg6tuFaOgcvLKOYb5YB3b6y/yYxekzL3NoVW/cCdGSNlnH95DzeqrS9FwPKiAao
d0ViijZ4mVZwoCml7RXDgoMdH139PukSmCB2TC8IAOb25pr4lpDibUVfHBaQ9MCfNCTOdp6hSBF/
uGbvBuHBNGAbLt+IZIOotVjZN1ocVH9X9p9JerusDY45GU2mTQzUvJq8lOH8dxRCbfrOu/IwXlN/
IhDVvlgm0UPrGnEOXpw5PNuGda81mknBTQId5ix6/DM2yed9gE+qXP13Mm8/245kZbAS8YJz33mv
lvTgzn3Uw41WQxahdqXS8F4cMPzVZL9ZSfnK+QtKuCF4ZfnA6H2MQ3M3OgLlI48yIzFUZsibDRhQ
sAYmuFdWMm1WZl+Da39UQ/6iwuBF/4tanhsoAc3HwQifb+XsHpgoM/n5In5jW6svsjkPBvBjBWUk
YbeIjh/0cbrzHfOuDhEsiOFpzb8ywz7BpYxqNf9loHiA4Pc4VK9rYO56NZ1lmR5jVs6Ea8eBt/Xj
5TyzjZp95yPUak2rFHdjQqBV6FPhjwaj+/bTXMIr1tZzatU/bT0h8vN0uMXFr/llfP7lWdok20k2
U+uhXEnpJGe6MBU5PzDuJr4za/rro/yviR0qFMUjqlUnx0rdk2/hkfiJQRpne3pQnkL0OH9VS8GB
N27aZo5QfN1SPKcOUAaexposHqv9GPWnzgEEIg50fsW8wGIlnMenPiUKMc/eSmQHXjc/MOR7Mk3v
PlTBrmuMnbcQyY2AkZnLps/qSC/9HUAdpj88ICP7IhyG5D4R1bxrM/I+yVStKDnRlLikvFQawQCr
HD1reA2YErvOtwYDuU64Rfu8DduM7WV7n2C+TZ0KMj8Sx/KvOa37MPceLWjwfhoge+23I59aVn0T
635OBvwVbBqY7F38tti0sIQasZySLI0kiRZaqgmV8coc8m7wjcjxQN5VcMzRrtVpEOkDY+b4bvJ/
TtfhKHY5VNCm86wwmGAj0eQvrd1cPTJ0DNM7MMja6qO5IVGb+ebSDw8L3FQn9ffmaAGMLre8qaeq
qf57vlIYIWyzPvTvPiCH00ATAJRkS3M2cjrYsb9pq/TFAlVuzpyTmAst7XzlLdWfeTY3F2pxeK7h
UaTeE3330eFYoF9AIrlcS8vXRMYtOnt6JWuHrGWL3+fInPfQJsafKQm3WY1ZibMPvPlL7GVYT8zN
QB6vZdcni24pZOEE0mr4RjV4DlLrfcUuyl9Sk5r4shf68urIebkryA/Cmnfi894LIyeQF5R64EXs
8ZDXC3BuM3sHVqyK3oivClzwkz876AysQyIS0LZ4Gvjzeg45MvvOnmkDOiRslN2h/k4WkBH6621Y
wNoaYZyxm3B/2Ooe/eB7xcLSYHWpGfnzJ7z46fjoDvK5MYNLmcC4ZyVP+XA3BhOr5ThaDU6bma0r
EBacR0dzCrf6/w/G7GRykHR+vcd93jG1mKWzyV3af9QUwQyHCO8awhG0CeXGMd7gE9yLJoj0mabP
rLwOIF2hZOUKpxjgp4fvQky7lm4jD1ZNgPlUcb8tkAsWvJ/2AHaS40PfVkb1reuHvIe+NZXtKbGc
Q4PXUn/WjgPKMYNcONnVkyVaDCiZGVnMNu8GFyd0w6WWNIhl7LRGrTl5L6pgUTP417Fb9mKFGN1k
A55ay92Oacztt9Ty0PTDa8YvExTLzlN8W4bxFJChvjoqckP7qsBje8DtbXHPkGhbUluk0LC9AJ0r
2t0BvIaRqcgiFFjXHUqlG8aXgDztaFrKc9l5G/3CLcaCvVEyo8tkQkOy+IIJe3jv1k6kFQRl3l2D
KcZdhe+bW3kel+M0Vid0mG+G/R1TN3etxYWKNalikINd0B+Xk4YRVBN+36Zg0clp7fDQtLMikx0p
FT+bCplDGGHoVIRfHgEIdyNfLPkwV1Y+rGauPgVrKMd97btnfbv06aDX+/idGPP36NLRA5aG/7gs
Lnqk9Ogu7kfVJo8FftKVbiId1WkV1CgYBc4mUvesRWyuf3QSJx8sOw8WykzGUdlnYYaRvlVmzAJ2
1l36Sp/kzc6Tf4wiu9q85JrGzdR0q/1G+nfTzz1ZeVGQPbPh2fs8nKU3vOhPmF3L1XHXB+r9qCuN
P1lPhq2Ckd8F1ZNMwidtGtaPLiuku44cBCskl0/Ue32aVpzwsKnvBdAM/ZvJNUg3TcECqrGOBYEb
bj7/QR7E69JzqTGLmQBmKdCmFkdSab5hInsg9Xefdxgb0bCbUB6NEuKzszz3/YJjqLw2NYTEOLf2
OXYVc8BigMWONcewK4D7OB054kSkad/d7CEUpYr0wOdMYtx1SLBEER6rYHwE6rOfEqI4Anidtbdt
UCHqijZ2/YMp6ckxL1lrs9X+IU/iYDTry5oRklwVp4WP3/CZCFMuTEziEESQRozRiUyCIJUhvLf+
EkwMivX3IvuR7pBPXf9xFsqaZcTc68nwpOrxuQuI5qCMMjxAlXH1XVPotp14TNP0WZ8O+tL0nPDW
8qnViD6Ywty60dn203gKqThG1h7MABFwBCeilymg8lfg2kcik6Gpr1tvcPazHYP0gwFFiME822el
uSZI6Fn/7xd88R4NHRJVjr52l/J913Fx4lu4ZRqqb//VVzAoiIN2IBKH+V+tvTTlpRnhKHDissm6
K2aYi7rcxvQWc62vqv90uZ7aIb0OCnkSjxSUQdiSmhSRR0INoO6zY6bys4H8vqFi85xv8tghevr3
LSKmrKiudfk59DGmCkHfS8IOseh7JdfPJoj3C+dmqLqdyShHlzv63Kwzjd0GRsC1Tt4chAx07mNw
P+aUyaGzadYlCqXx3ObZ1V9TAolI0mpFBiSPgG8sUAXnUjw754UrbMYXqI0UIslOJDqdnGA6pZMe
5CTsLxn/ojq4L3R9RzShLn/csD/rL1kbFtN8jiCkbRJmufqgLFTz2KbTR7yGO5T6J64csiftrxGC
wRCM91XsHPW93BfFO+IATX1gS/Ks6xKoH/9aZqjDRKG5dNAdy1eTut813oqAz0RCXPdcWMDjmz7I
ahAuY8/ugT8RTJX+gv0+vOiThVXpidHMr4mWDe3BXt+l2IWIOyHJmg4HieZFyfFr9O0pEmBQhqL4
NDQxhqeU3epRtxiBqvZz3iMzFogFgR075cz2FlkMDSdx9/s2x6gC0IloRwJRYLJVCdi7mmUIOCD6
9CAuT3WF/9V0rj0lAetE2NzpX3e0qKA6JpFrxFmQUETCbdqLwTm1g1bHI/UGn/eoD/+hIl2Vf+rW
ckjWc4WWEgLwf69LStgzyNSzfq3ZDh/ZaaIZsjEmtu5zzPXe9gthOuFOV+wLcCSLU0a/70ylbhYu
4Lsu5FZzFOafuNsnTb8fcUAyu9wOXXAZg2tLN6V9kknLSJt8Nb9BUp/n3wGUTVdUkQXt0xIkSMz3
he89z6t/bHh/lUl4yKr2wejspO/tdcPnLvPGpktTfX5u2SIF9HasDI/ziBEJ055bInouSubPyT5M
mwcDOIG+0XrgxQO/sFD3ugzMeE4zFHs+FWMx0LUS1rrlWt7UHPlWnv5jmbnXF69+WkQGyZBvtUfX
qJ/RtHvzVL9THi2mFHDKna3+82z6CJ8uqWlwZ/KOokS/5HN8RazN+10eQjEyJHMPPvZBFnAXQSZS
WLw0UJ/0o8Ci410fFzlvvzAfKz1si/s95HVd/YztuDcsC5cz0SuIvQiZ6YNrTTJL1XQ/RJNS1HhR
CsRGDuuZNybqmIc2CLtFzOiE44OaYF/K+V7DD0pKrsIoDqbnoSl3dvrfI3x3m6DnN33Ug+pBvxL8
ELO3T7ZqKMWBI/By4Z1+yKUBnTzb+CydS6yxOigWxAqJYZXBg+Nzl62v1N9WMd0gIdPilVunztgj
yq1P8BuzM2KFNUhG86ikFnK4s3jV55pKwwPPMg9CEFt/unK6qd67ehmKl+qqy1x9jbIYxY4LvlJ/
0lSHK0w4TE8MYM5VvvBbCIdnMl6+sbOcAomHSfFZ8nDoX5d7/OhNwT2jOoCZNgGH+psuficGL4XF
id0+VeW0M1brYoaPVplGVIQ8foQOgXH8r0jpZp+c2h+Hkt9o7/XZOfT+02plO131GxyJNU9g3U5v
LV0EQWEHUjcjaYcvhL3wt7Z5N7kK+ZD1uWzTeBBgoZsav1s+dZNpqOVZ/1H6pdOVUUzJUjJb0+UU
FWCeAjlrhM1CorunSdm32cRyNWaxUSQnxcinDdQD61JMU2Jr5l8I309cTClNryHcMwKPq26PQpuY
XV9tHQ17RUi8rtavSxePwvjHNboNn0pYlAd9vFpreyVvh6MxbI9c0KeUuxbqPUvYNgrIBlKd+eFi
iQ45BUNwLZId853HOM0DOFWXIfuj1f7xw/UpQ4cjWhYf1VXaxk3CR0y95klx2bIcOurvgXXonzz2
SNaRp9nOPgUMjQKJIAvkKKZK1M5wnjr/yim0WxL1oWcONM/SCs9mFl/0gaCPYFN4zB7rmxdnZKJw
5DW66ojXPZOEAr6gHjCwjIhwuhxAOx2zZPlwCGljZfTAOvRJN2B1Qc/K90KRsLfthsFU/uCGJfKm
gF5hvpvU8t7b6MEZacxqfZBq/CapN+onRHpSqLMbVtRh3ql0jHPDfRs2zVau6buuphCsgN7p1X/d
MbpY3bn72BXuqnSMhko9Egf8xP/u83kxjQ7H8TLxdxr4eWh3npyw2QdMRHgmQAse8gKqIfYAQHnA
FNb4J9NWcF7QrqUopeBuVZ6zP/bUo2A/0niWeZFeeEBqw6JLXs00uQ59+c086uA3/x9TxByS2ryl
Z4LdGvz6dBS12VNFFw8U6r/2HJ+sgIV4Sokfdt2trhsLrrk45e16U/ZobfV5WwXDj5WkV5QpJwdO
QRyKZ78aTl2MXgl8apQxg2C2uHWU8aBHi7oALEZ1YGsDSmNmrBbH8J/tJrknhPsniFndI8HlUO3e
Gskup+9YS5qz86AnNVbnbXU5hQmWRBSHq1AdVqtCd4cR2AkdzAQNOPLsHDPLvGOEvls4PJbKJl4s
/8MC6BQEwxOrpbvAdB6b0OBW7/4r2Abowq1I3vRZaJvte1jhy2byNNEESvgzugCRjvcwxPVf3YZP
3Jesam52P9xDuSNpjfdcFdWOoJYt+tBTl7P0D4zSYZXUv+vy2CnsBwSLFw6P6zxlf0tDPkDEuPDj
IiZFnywvtz4jBKBCfwXdl2tPf0pPEnpruv+WrHsMeI9Lx+4PmD/JKiQyFn/LpTfVeznh0/TEocmX
B69ZuE1I3Q49nsO4+O9DQ5x3tmrvGJJTaqZnT4jHLvPPRj6+Isa8spH9mkDl/tdzTxjGCCHjutDF
wH8XNRxP4uRvZl+fASgtexKeXiEJvvnoBTeDvT4xZdzmhoP1LT9bLZGYTOZteugeaaEefziOJIGz
OIw0tBrdmlNyDz1Qd0MPobipZDb9WD15cXqex/kP5iAPmeXVHsrxxTyHCc4agRzmzvE8nLfxU1rj
Z+2pf7IGkasBvFZ5e8tKdl2NZCXgv0GCe+u65YUAM54aClUxV9mjEeK/gXhxbQeNK/Hcn9RwD90Q
45sMjTssg5eqLC/xnH1MI8Sinp2CG/DHVpJsJ+dMiX/E4vPfYeJjk9cvod+kr7qjKib7KeFpUQ15
FOypb/0wvQDz9RH3d/d6poR9ihkBranujZCyslcxn8DB8baolfk6V4DnQ+gLuJfrofylgfg2WiKS
qvLPuGQHyHhQcxuWlyFAPazo58l3Li2H2WB34q7G9glEs46Sfvw1/O41DftL7Dv3HqOgKQj3Cz2d
KJxHnHQR+s+dfnIqAaTZ7cTVMRexmyrrb+Xnj1nabvtQ2SSdrg8OY8RJJmzmmr3ubSCxf6beSPw3
javr5l/lPGwFo85pDOkJ3ZN0asSPCoiJBdeaasRFbWjp0HHLxvEIFQRGFfHkS/o++7ZFjnb53mRI
hRAgfKPdOncdX2+QZ+QDjeojKIwznpq3KSHpyzcgM3ndFOkgBQhEzlOMRshq09cZLd9dMjElIUUE
F87QZ5tG4oVUVRfTK4ZEA1vZ7xoW70U5fSrP1zMNoLId22XgxyndkfsbuIT2GTPBOWn1t/TQtaNo
ePXJREEBgycJfcddimQAhxu2iLK7dAvLNvRtoBeb6nPxO6TS6q3yW4REE0vM0rSRijbksK2yIBYz
YDuvz3jhh6++12aHJl0xS6MOYuXhm7pz9sJfUeMMkQHGmm75cuipECd7bDfMnRjXvb24T8LqPvQ8
TBfFLiJaKvrx4oJ4Ncpxi9zttJBQJsI8mrnMWDkzLKId1iPmuSk52ngsBJHSlnuEaA3nuedPFYht
ChsgWpm8w+qNEs9ctqmnPtqhePNH0nFJJ8AGj3DFbyGjcH4SThHxfx+ZDKO2BVyZcyUa7BQSYF8B
lhYsMOzSc7SHLIODDqg3AyL6MP7uJHCql8pyokUEL+HI5DnE42opuCrCfnTgkqPJPJCRw+RS8bF3
9C2lxNZWQAIUhMwVa48najihEYm3dtkgeMt7WgYZEWVOThAJN2z41QvimcjiqmCYwM+V24Dl21BS
RlXZZRH1zSZvpydAIB89aEi4m1cG7PQwlcNqL+YutouLvu7TaXogikTcoUA/jvwHoeOUO6NCT864
WGEd2+t7NYlhGGV9OO11maUnYngpjugXLolhRHPFRHEOFWhXeZyCkbciP5jFfHAorfVP5Okj2srL
bx3ldGUsWPnC08CMI07Kn8Lxr4k7H1xvfHMH52tWkPRDhUCYEmQIk2uCk1n7WeVdsuLVViY9ti84
4fXSCYwXSeAHRXJZPCF10xymEXvLpvPYtmqjOk/PO8kxtyUb5bby60j/h5ayPzNwWcfSDE4h5Akm
8dlDQsUdB5StgQ+FgOFU5tPaMMomC7HZjLW2GXIaQbdpNkFntRdIxm9DGw5RCagMt7c8E0dR3JFp
9JFaseICZDPb4eFjlgAwvNln3VAiBsvqi7W0yQERZfNEY5BFKpVUaYO8Dk596sz0H+eSryfI3VOQ
+rtutMaDLJQ4WW731gN7hh5inERBEJst0vsySX+t0X9eTQPsA95uTVIk7uazjOsCYmFzGQ0b/Hsn
SFvkTb4yfdxL0dwbnXzUiJA2KD7h/B/SZnoqQGYQCvjQuPFXZdMRE0qF4jk23/LAeVkKgv+GWdCG
WaSA6PcwsytgMeuBeExEOQJqEOb9zWxCOKWeeSFOnRAE2luzXx8nL7xRSDARdt2/a6Od/kP51KbD
byenaFiBEade4GyLcJ1uepfcJsyzPaYIA18Jpv129L/4Pj+LAdhsDtiLhpeMduOLxngf+B2piJT+
e3eJb80qL1naPHIoHa26uw1suvT8VrAPkmZRRkQG3Bv2ykrQLggWzx64UwHJzlBmeyaIlv249P0P
TgVAJc6v2chLl4FRdFKHLa9TbFHpobgJOGrkah+IPOf6YHVDssYzYzdgiuQg5ViN5wCMJQOKg0H8
9NItJ+wbG92S6SdlHJd9nLSULyTWWgWO9YVGYZHmc22AGfDo9vRaBH1PeUdg0aNiNY674nVJMGhz
2WcTu0SVF82h0+D6oUSfZ0/JXo3ymtv5TrXDZ1kWP/zNnlufMoQMknvbM0H99tuub/5lGUlITA6s
OT/Cu37IR4fEqZo6I7eQ6i2lcKLGQJNsVEdzmZ/w8aPX51f1yO2Nm5PHP2edVtTaETYZWtHxMK+M
2XiJ3Qlcm1wM8KL5RZSS8qT/qSfWuV0qLa2dQUQA4Y1lXtkHt7g0r63Tv6qBtQRy/Q/DoxaeWZNb
3Nm4KaKxxMno9ocyRFa1DPgZEIY5D5ZvSUDyyTGgaJlskGldEBKJOhwzXWPov5rsEuZnOh8BRtsh
JvFo0yS5HvCFTwQ77mUFlEPQXaiM8K5cAXaZMs49HBi7UrqPnK2sIoWO48IgAM+oS0k56Eya2FJ8
IYvEVxN+54yCFunHd3Opn4YJUKs/zsRpuEV99Pmd7Y0ZqOYYI9p6Qx5B0PwkT7ab49c2P9Il+2vk
/+PsPHfkVrJ0+yqN8/uyh94Mpge4yWT6LO//ECWpRO89n/4uqrsHJU5l5oUg4BipxGAEI3ZEbLM+
FadGJH20YUzqmaCha1IM8iLI8TALCbvZtMIj2b9RZGUj57gpJLPHEydGiFeAffVxlEvKXR7q73Vf
fCMA+xK0eMHJu7wOPENfUL6rHVopxcM4eZYQGETzpnjKSipHJLPBGKjkE9TAxfSifhtlxV+QGrQT
kDRMZf8WJd47nBQuhS2BBoRFKLiEhx/TBorYXEI4JMaLlufJuh7ilVZpLTHV7lGHcmJHWljYrg4P
WDIo3SYb6Eeqmi8VJ2m3SY4EOF9Jm6PUXi+uOALfljAO8SYI9cQkIjlsOsOO5fDmSfo4+alvW26a
fsthU9O7btk2zVUtN9dy1kKEo+qUqrQHRnkrB8VjHxt4dFpEyiwRbzEOxliUntWKJOKacIZlwAAl
x9DgOJQ+h0Z5z019rVMB2+LrdgOXuIAQP5VycOcL4bYJrLuBqNbgC04lcP8rBRXbDsOUqB6UmJwq
sFDVtioayh4WIi3E+7gm18xtjdu40Y4gbm9Sq9wJgr8lmHockVmaUj+uIDU/UbkE8MfNji5YTbTD
dFv+pZIWOHKDJ4rku5ew0jbkXV+lqQErLHsfsf+NLr52monnTzywkX5oevMQEFVYBBQYtLI+EK/Q
r9w4WPchYWajgMBBuCyMAYZl1WNZqj9/zTUzLpxazgyw4OJNryg7qyW0QBZsa+tthahh6FL4l76F
TbhLYuGQGRJpCCN1HU2c4IHwMwfOerrganudIBNC5nP/IKGavhA770fRI+2q1LFNyRldFoUnPUrD
ZTwo7wFSzkcTRyHsh41H6X6fZuSLUJC+Lo2mXbWUd2ceGbO6LCOvmKb7KjN/pimOuyRqRby+IhVb
8DEzMlissHvocqVfN5LylMTxj1wG6VxrRsrENol+lb5DHZjOqBvkGvcmSP+2eSEUcIgMeTsM4Q2H
Hv+GtN6G6uDmVXL7H3Wfr6RKRPs53WJWd0IHdol0FYBqec8GlVboNXUGGZsIkvZPDYSMhZ9I6rfc
6OPr1Pconu5GVrYpQD40yQK4QSbA3PkamMNxAr3rUYwL0uwi5IviEpGusdBWqDOU710+KD9D2DH7
MijihxiyxKGgnitaqiDqyEx2MdOV1PBJtYioB3I04fiQojXn1I2HGAmkoe9lMKlJ5oE2vJpRlpMK
Q/6NhgAHpHsP/RtTIw3McN177H43KUEI1xjE7hVpHQLYrOYXVVGz3VCM3oNggA+QCwHEvg8XEwpO
SCi0AE9Npq6VPdVZWS+kphVehkrX1igIemuNN1n4lr7lY1xVVgKzVCfXhDx96gxhPhDL5oSnjsN3
3+qI50swWJ/xpK41K3gTC/ejN3uQTVzJKKR2fGouJanZe1hpyhufMoILYVddQxwtsObhwO5ZwsEI
CD92m5paXGgHK72IrlNVFDeeXr1Tyv49xEVOQeoNSsBP+P7eTKG/5ZiwaSXhXbDkhyahnC6vTG0v
j3Vyl1CQd8XbBfdt1d4h4gWeMUa6IAYYZunUredS+8gCSTYlJwbKBzia4jBCGs+V0bGwAhCXeGIt
zucLUYX1CmXy1lKoJc9yRVnzHwTyIuu9RqZ4GXfNM5lnJETp45Wplq8hM6Vuo+cBbxn1b09yS62v
nKwLM13Hmv5mmthEfUJT4Y4HZESOZ0yggYh1O5LFzYaARq8uIxVAtNnUhoMRctNUdNHp8/Cql+Fl
5R31Q2FrXtca0sioBkU+19lCS/RdKovcsPUUooyeHrygLFBTNSb/nVLAbMU164GiDlBQJr3nh9RY
7OjGTRcXCBeoR9H1KLMjLwUiirTQK/GOeUJRfaQ5xsilD5IUHtCQe5ehGOuAiIQbjruy0u+DPD20
YrE0QXn5JuZILNt7UItrrNI21vKHRE/fhr6+s3z5taYOCm6JtDOr6oiv8hZ5763LWHUmQJM2ifsb
De0nTtGpuujxmW/MTlpqRLzwmWhrwCPEKkvqSsREONZW9pKStVFTQOCiDjwWpE/lGq9DrXwtmEip
8ePw9G0DkKcSKwcjc5/A3G7yIMCmxMN1HOmPhudfNwzSAiDHCI0GATIKuklPFh7ERnvQfcCnXHMe
tVY0V7pQIGjNX8ith6xogMbkBVHyYWXWCoEhXBxRfOwr8ZpC7rWUmQcCmnj/TfFnqAubnswwkiSZ
wmTe4fzlTIwbMm+0vRW7FsUSvkOp4LUpZB+poI6HUEubZVTjDjHrLaCBtWa0wNyoyiYWUlCD55Yv
hqC+qEP33aoJtksp4Oxy4r7XuOhNcRlCHaWwelJcyx7E1N/Iw7iBBHQrkQhuI4d0M9ZQTQg5pQsy
oDkdmkUO71GjzDAJbgeVzEXfq/C9Dkeh0OB6CuWPWCedsUs2sU4RIZ43MpxE91UtuzU+2xdM6bUv
tCSuuQycIN8LgLIH1O0yVBIByu8HlRD8FGVWpVDkMhhumTdER2qXsBCZh2kHj0PBlQqeMSbeQSqZ
jhcqlYkwIpAdeo9BT6Q3aMoDKPBjY44UW9eUw1YZYZigfIPiNNppb77Ksn6fI225oHjgZsL75INI
LW7idCZVBEaOk3fQkf+w1ngKHoMEDhgJ3UgHCMSzTAY2iCCdZuYbldBoYuTVK8CQfRS1D2kQkFnq
781C/mb21UsqGg9M4ec2IYylugaZswKWYTCu/zmgMp8gHdOJXfJQDp2xoVjPWBoS3NdeLd/cKiUV
IOxEEvZyAiqUSmIYheehVAQ0A8DtmC4wzr/+9h///V/f+//0PrKbLB5AIf8tbZKbLEjr6h9/aX/9
DTm26Xe3P/7xlyBTfqeqHEYlfv/7+x01nPyQ9H9qrxPHBEX7nVYefT0/WgRfi1p6P/909euny8bv
T8cjrXPJLuRdRek10nActyjcW/zZw/XfHz5a+Ai7IZcJIYWvuV7fNZm+/7NHT6P1aVSCSgW1EiND
aVFms/EzJd0olKg7558+9f6LMZen0fr0dEFKIGJHJazrGOBIyz1djCqn13Uycl3iiRQ4nW/o1PAr
vzfkCa7ohmUk77yquU469RiW2R+OkPz7o8EqNnKf+/JOjTk6Vq6wFWJklc6/9/QFvxqg2aTUwTaF
smxKuyxxv+Vy4/j4DfC6bAwqQS60cWpsxN87EAksNUsxmh3U2hhEL1KmmPPz739iUUnW789WFGAq
MmUzE+T9A4kRZTkOMRxzLNv6fAvTk74YIcn8vYVWJGqRNpm0i33zqEjjNle7g2K4ONMzfFP+ZrJ6
lCNuzzd3YsZKs3VMdIG7caBNbi9w8AOEVq7xpVCQp54gW+Tfn2/mxDeRZiu6lCgDFUMj3ylipolL
2LApyYzxaCz/7PmzZa0aGtGXrMx3uhT9jFPQdsgOXnh3aZr5X32SqVOfVnUfNSZ+DOSdtbDfm0lN
VlcFCr87pEVsF3JIdle7Zu/YxQIZvC7xiCRiI/mzns1XeqHgsTaiYUcmzDW4bVjReXWhZ6c+/tTh
Tx2zojrTVSUYyKMFsVGmy7Km6imOnAJ9Ou3mzzowW/Jiyx1dUbxhZ7DeEa4og1VtIvl8/umnFuRs
sRswwQq5Evqd4Q3ButaUwG6VUdkOVt1cmFsnmhDna74uDPxxTbdrMIoUKYPUGORHSnGjC5/4VAOz
Jc8XHotStFoO9zXuR1RFK5jTRn11fohOrD1xtsRNxY2qWqpaxNHIYe2tHs26ERGV808/9fKzlR20
ElwRteDla8E7GrWWrYLBL9ZlxQH1z5qYmv40TSMzrAtNqZpdmEP0rFtpoxPCSPJod/75pwZotr5D
q0/KrpSana4NlPa1sQARDXbl+af/MqVfmA9xtoJLwFyIrYz1zk8IbLqrKbEnTMj87ZZZOjpUHJL7
RcpStMqN0Bbq0WY+UJ0GgzYg1VVeimQpnn+XUz2dLXiTakL0W/QEypp4p4hAs9Xszw6E4myZC15l
Rq1XFjsiPb3DdQrBLmW4tMxP7IribJmDOtbcVqdYunZdMpQDwneeB1qMojpoQeTkZd2boKCpLkem
deHDfT1YODp+n3ZoY42yFjX5DmlTY5FpEFzNDhLtn3wKyZotelMyyHU12NO9dDQXak1aXZImln3+
6ScmnWTNFn1aqW0oQc7YScjVZsO7yem/4bzFVWpr+rdyVV+7/jEbxmURAK4wtpAhlgmZ0ZWXbypF
3arE/c6/y9cWQrJmFqIB7Zg0LXtzOBbHyIy3rSvd5RMh9vzz1a8nBzohv38oUxZFZQi1bDcVcIpA
PNNmqG3wfKV5bQ1ajgiIqoMYwMXsRSgUUywPvXKMKYjfQqmBP522EZ4BdMw+ZEAvlJwUP3XSmHDq
WV6spe4qMl2FaFfQWOFDPbLrbIdu7KtHUPsivjugUgmYc4uwIWFHObdoZUhbC6a3Nob9mnJmtViT
gK6Ri9kr30AsBfpNlucEhfs8y9fw/AJCIh2I3ZY6DVE2kH6DJ4ZKZu33k18y9igVi9CHIJP4mcy3
ICDtt0PC0EMJgYoxzx7FJq3f+lQOSXAdx051qXH1QWwhKTwU7XtSAJhAwiwlD+nXyP/Hb3fM6ted
83uWD2Xg+fXsf/97/ZFdvScf1X9Nf+t/fur3v/PfDxkR+GT+I7/9DZ77r3aX7/X7b/9DECqoh9vm
oxzuPoAG1f++BU8/+f/7h3/7+PWUhyH/+Mdf3zOGZHqaF2TpX//6o+naLIlYgf+5ZU/P/9cfTn38
x18btJ3/RkTd+9vd3//v3+///r/+6sd7VfMUSf27quqaYcI6JRV4ui50H//8E+XvpipKMhnZhmYZ
OosixR3r/+MvWf67pkGTsHRR59ouqxjpKmv+9UeSJumGZVmybvBY6a9/D8HNP3eaf36Vrx0DX9k1
nUfN7JrokYzml624TyoEzyeR4uj502D8q6VLLofpyTObBgo4SSnGFfcS2VejjuZbpDpD527OP176
ypJMz58ZtdaoASJElbj33ht90f6ADdO8NY/lN43ERFxGi5wOQWN79i9c976yLFODM9NlinkoN3B2
9oU3OsXkN7R+qMAgSY8chYMg4XdsP8537tRXmRmxVJFAnaG5uRe8q7q6MQgCnn/w9K7z48fUh6nB
T6enjJw6OQDyu6+batnBmLC0W8rmCWZeukNKp959dsIJFPAZXcG7J0/9oSbMAl19UT6j4BrdxJv8
jdLzKZTw43yH5GnT/6pHLJDPPcJ2uoOY5+DXmoSwtL5uA2vXGdlGi9rrJqK6iBCW0nsbev4KOoQe
5wfquO5SSsY4rBKVTu5DEMx5LSI8VHzru/zCFJ1m4levNjsFgfMxWyMTxX2vhS8DFRY1E1Ug1xwN
rPXgmReaOTXgs+OQFLdS7WYMuO+/qeOzmG7PD+2J55oz0wC2FJhshWlwyYL225999XT+wSfGxZxZ
BhIZexghvHBD8VQoZrZSP2cTeswiJza84LkyTkx1c2YfvDoDYRGP1KkoH6YyHklOIZI+2H10NP2p
QAC6bAQv1mg6KHMKJVjxLhO1lSc1j0mUOgOBcJLKnA7/MflzdjRW2yYlzGNQalUgCAP/vmnadeIJ
TqCmR6SXcf0QKXS7ctOLwBkRkLZIwlRM5hkAmDwknE9wp42XfvnUD8+mEDh13O2y6LGq3vI6XMLZ
vhrE9Lphqw/7blm7Bkl4/VXXR8AbZBupDqfHvyB5NSJY5TqrKdlx950irHHZ2ChCHGNprxrXI3Bt
oXiFsrfoy2AdBt8TEtxqE/+zgZiH/G20nkPyVWulvD3/UU+YY3NmHdMO/5A5huI+Gh/19JEbSxlc
mC/yqU85M4dh2JYTM0bcEyxcJCPQs9b/KVUQH4wPDVGXoskWfcHSBlMTAFFrSIvMU2RbxXobRNpa
Tt41ZYDRQ6kzFSSapm7SSN43RogHhyzPXiaLoVwOTeucH4wTW4U5LalPZjatvKLJS2Z421LX0+4S
EuxBNi5SbidZ+TJyyI9U44JN//LIi1E3ZxaXZdqPklCLe8V0n4dQWvluRdD3jcSWxWgJgNs+pNDY
I5l5PZTdVZsQgEDs1dONvRLUpP6ROUx9GcJVz9AY3woLHPRjyI0KIbT16LYAAYZXEljtFm9jJpt2
GFIxSkxXfVVB5eh1Q941FKkEtDhSQyXaIVDMFmnw4EWowEEYl3vusTrageJ9Jz25JhWE1AJlaJ0l
RDjPj/kpczXbCNAqa7omYcypzF7oI+iQaH3+yfKpuT035FI89okgiXtDRqDZbGyFI42l/hDCV/LT
Q4L2bXevFnc10g7hi1TtyKaAD4MMGWSPkrTbwPw+orCUkDbcFN02DG5DMrKyETVyGWbJ+dc8NQCz
fQCmoFKQ+TvsOTdvPLU+hsL3808+YbCN2U5gBSHJNASb9zgLzKxBC+UYERbPzJ2iBxf8LifG2Jht
CgAJw8Dq2G1q4TqgWNG91q30wsicOisas72AcEIbVQNzo1yl23arbMJr9Ua5K5aEEZ10HayG5+rS
vvP1pv9rO/q09PM4T0NkHbCDgmiH5Bm0Gnm6yH1JuFXH7s+srTGziHqckoda0UrdP6vCh9DcYcvO
f+wvvQWYE2NmvDK908fMo85B2Hc7ap+W+WrcR8dgHdi5060gXdnJqtublzyS0wL94phkzMxXYRUm
dO+evkBlDVQB6c6aMrZ4WepPUt8fUVUmTv1WZtS9wVwPieJbRzd6CiKI04FrB2TawDC0m7aYEBhr
uZCduNX2mu7CSTIcZVIyTEkKHa1F5xo2JIKdV99Q44gyw4NIhV2VvJOYuzSTgz5OeEIDCVS27pXa
6VMm0YVNQZ469FVHZxZK4GKeACQW9+HBPVqrYBfe0zjZ5zXHY+GnlizEG/W+O+ibKTxPHoGwKTJU
Npaki+jJIvp2/gPL05L66j1m5kzPh4rMo4QBX5rr+Ca5g7S2Jetxo2z6fb/3HIpS1uHKXyI7uJJX
8oFqQ8Om9ja9FTfU/q7Ov8eJXd2Y2avcd2M47frI1bNedF20atuWYqJv8Ab+bEvQZ3arqMdRkN2I
bdinIn7bevfn3/yEPdRntgqljpB1znkkCmSmC3iuFxUKrGzCBs3GC0brhDnXZzZLVQHlBqFLaqT3
va0m3c4Lo3LKGk7uhs+nkzws8w5dGnEPHN+JrryNbodLwS6WqOesSZG0wRVc+MYnrLo+s1Nd70vI
Gssgh6t8RXokgjXGXlYfz38H9dQYzUwVJVtlpQSMERkH5DHlNpXxDqnDKxhKe3fXH6RV8G7ck7ha
H/JV5AS7xC43N9A2t9oOnqvjbSk++W7sUkeze0fZFQfr1tgVD/oKxpodXhjxU6Og/D7gXiS6pARb
IzcpihMLLoCuu9C6S3H0U9NxZldEUUUtfSi56aBLZkQPvXijBRMkcrTl7seFof7aZugzmxEMStIY
PW3k7UsnJOgGBRcG58uIKvuNPrMDQRaXzdBgB8pldFVvmyPOUbvdxXcmu8ylbfmUW0Kb2QJ/hLJi
AtvC6FG9Y5PsdXU3bWjNEpH0lXDQnfMDdbKhmXHIa651hQVlu9vpt/FNsbNW/cZbB8wsyuGv68dL
yQEnJr82MxC9VcKTIxGRWxFME+um0q/Pd+HEdNVm9kGQc9DI04M9j3QSskqOeXJ3/tGn9kBtavPT
8ShuhqBru4lBvka9ep2t/WvK6R1r5W7LvbQOr7hsO/GRa++qXkcr/9jt//jLzKyFbFUh0CP6Jd/q
a/FYrbV9uwfgt4seBCxA+ti/nu/lyTkwX/AJCkd1Ti/ldX1oH6xV4iRry6bQ48rfc1tamZcWzzR9
v9jLtdnaR0yvKouClvqVseqOuj047ao8uOtmHaxzJ9oq6+imvRsf/d2lcTw172amIELrsSsrmky8
2155K7qP86N2atrN7ABkx8DFPrBw4p3aITeTX8fecGE3laah/2Kgfl2eP0080PoFwo1sFcO6c8YD
MkyP3hEuyEFdpbc4BYTD+V6cOj6rs/Ufe/4IJ10d9xNYOV50d+6TtS8ezW266X+mV+Dck+/SsTwi
KX9hup2YA+rMEPiIhqVGzcBlpKD4Q+iIE0mdEvhSQ24ALbB4YrOlxoU5d+L7qzPz4NW+G4QZzeni
dds/RdQfnR86dfrSX32jmXHI26poyYHnnr2ol8niB+KZ/CJ8tvgmLfxltfjAb8JZpeef6eKZild+
mUudg0u+4Jcdr32n2lSbH2hkLJRFd+HFTk6emeVI/IDyskgZ98o96grjlkCtA2rXqV70l/Yuf5Qv
3IVOGQ51ZjgaZDyaQqWhbtevhmN4X9aLch8dpB3i44/mXWwnz+cHW54sxFeDPf3+pwWhjFIhkP4L
/MUpt+mNcrgmc34TrvQb7a5iRI2dtQ4dEAL34S3iWY/N5kLD00L4quGZ/YBwIFG2afX7pz1QIaez
n54SPvNb4oBkWvkrin+dwK4X8aJZvj4Sx7FjXuCiITg1yWZmxvTTzCwyhni03gVjKpoHvFkCBY6D
ZeW9UOinUrgS1Dfnu3vCqinTov00zJFUSm5bGqwWbZ8MVHrfSOm3P3v0zNIkRZeTjISlCYk6jy5A
jGGf5tqFo7s0fY8vvpMyMytR4lrwyTm7y6Zof/s2suh6u8jh6S98509y9TDuysyYhAqoZ6pbsF3w
BfSlrG7Pj80JI6XMTEkNFzN1ASLvVdOkHuwQ+G9/9uCZKRgUxK85SfLgHFXxrVtfcLucmiezlV8q
TRKCgR73qb+PKT8TUqcq+gsG7NTDZ2u9VL1KsSb7ZcJFlCEDtcEtmPULG8IUwf5ypsxWNBX1nYeI
AicCt92Fmm77Fgn1yaYhQ1+KJISnH9HjXKCyQP4/S9mAIifdxei6CVvw5PZoBRSG7YLAu/BGp15o
tsaDJsgEpeSFGuumyX66ZOeRxLwB/QOfM0WG5LlWLm4OJxqTp9//tMJb5BzzJomHvQZ1dycEbwos
wNF8r5fTNSOxx7WevMacBgauZySbK2tzgaNreX4+nvi0v5w8n1qnFFPz85iuBsnOjb95zQvsnz97
9MwA1BXB1Waakigo2S4K6Ul8F1DicP7ppzagX9GeT28eG7pCXiBSyTKIXwF65dj6TjYpACIwQk2M
U3H6o04NStazPDRgOpEg8jwnR5asUyH45MZCk0F1S8FVlgrLOCQoJ+hb1VcujO20pr+wgL/iAZ/e
EJhzRaoQa90XiRqF2364dNQ5tWTmxQHUOUHaL3l05uTLepldqU55b2yqIwCYxdrfiAfY7btkmR+D
C/Z8sqhfdWZmYNQxcxHgmlocrvXhIURlSIcmW1/q0q9qj68amBmZIiyHVJ8sY8dcD9RbrcqWfbkJ
yb8WTHch+NXaUqJvQgptWhqdRPuZGg9St5II0gcJki3du9mq28i7CqKjOiaOXFP3rvprGO/bQjSO
fvutVC8cf06Nxsxklej2WRXlWHtSwihFf0iTH4lEPaCkXDC5p+bOzAQRs2yKCvDNXoIt1NfvQnch
DeXUBePXlPo0K2NNQ3dNTIc9mgAr6KMHlCAcf4mqqt0tS+f5ABpp3fzZtjSvQBglUApDjq/YaFsw
XT/8+slt+gvr65QJ+NXFT10J4hzllpCvgDawo+7ybbl11+Yuv4k2gWMuwWS/mC8ASraj4y7eg+Ul
h9yJjzOvQFAkbSyRtBr3SJfbVFzaplxf+O6njk2/vK6f+lTEiSmpRcbncdw1NTO24Whrd3GVr03n
vOU82cTUrU9NWKgjVDo6iwwbULBH+ZFwtyMuq3vp0brwaU62MTMXAukQcHjVqQ2ENZ+rWwyvMzqA
Gi+3ceIm8Msj+LkfYUTtbOH2+5atksBN6AggZbpEALwMLRwU+BJ88zJZNfuJnZvKiBnWN9qFLp7Y
OX/1/FPruZZ7dVmTsdBipITXNq0dsxwv3HJO3eSk2fpvQsq6/a7HwKz7FZC2pbt0+Uqts3uPls2i
uTTdpu/xhdWdFyS0A3eALKWdyRpcI4W45Dy1RtVqUeK/vtjM9NpfNTO7a/Ru7TElpu7Y6bKwk7Vh
l7SQXpzUJ76GODtsdKIQ5CU0L86/N70mvxX6u9tWL+dXzKkUCXF2zSh15V8L3kUbvjBfUQBA+ORW
glziVd5tVpBmWsCbvWKHWpDX6/jmRzfppYk9mrjiwgpSx5PI8XkI49Yu0mMgP+T97WiBZ4MWJz0M
IYkPpJ8YUPD6sHcE9EuoX93icbr2AlD3m0amimvYVJ5wFKhcHgzoFqYPEJsDz7gbWtUWqseEzQL9
BDhB8DYudP6Xrf7q201D/mmiQ1lISmTYpikyrMtVvSSxe5E42ZrI4rJYRltzodiaXRLxOD/cvyb5
Vy3ODJRhBUExeCKxRDVBou7e8xH60ZpV3HxHPxjENCS/9g1d2gurYHruV+3NjBUkttpNKQXfmwLi
I5C0LznzThwTRPn3oYuCToTfJOD4WQy2skJ6Yj8uQNIczSUagra6Bz4jbG8vDNu0mL7qxuxQYlh9
5LkarcEkdgZbtrl0Z2vjTnx1V4cD6SSLbuMfi2/nmzu14mYWSkhCaYinaZGCzdAH+kYttULl9PnH
n9jczXlqsZKMno724RTXoXZ8GS6Lo39tbtWbZJ0cBceyjbVnK06yio/mnf/BiT7bnG96shn/exxh
PP3+1XQ1T3W5HPu9RF6nCv+D4JjdlQ+x9FOj5v58IyeWFVndv7dixbXCrQWP8vSt2qVqWytgVBvE
0B0wR+tiS67eOtzn9iVn/9cfzJwnIBeIwbelyoBK441BooJYKMhLt5f68/Vc577+e38iEpsSPaI/
+m2/7A94A7/l1+3mOwrS2+pmuO+PYC1X5wdP+XrFmvNEZDfOyS+tm2FvhO9xkB1AOypJhdjQg6k/
ohK+gju3lBG8Dq0aiLh+LEwq1jV9GyDRhur6lnjkOvGjfTFITNphVSO8plvJLfKty6T87sdImqYf
fY9a1JUhOxLYxhElrbYWAcaNSxX40fmuwP85Md1m1geaV4tSL94V2HfL0UOMCkFL1DyWbfwWuvCv
ih+N7K3lAdY9GCbwQQs/pmjUmsDXkLOybQaV01K+RXKw9anvUvJylWUc7qT3Cu2cqLH7GnrsaCeG
5tRhh7jNthG8ZZeGa7+swfNTeto+FOKNFcWOVtyLervw4h+oMC/KTrzrB2klefmtByM8iqWViPiI
T66/LugrmF9k5YPxDoobJULdUVSXVfTaBXu0653ARGnqByzjZZRmhKyvc/cZ5QLkBeFY4JwHDgIL
YmGmr5LQ23l9SNMdGueLidoNk1ALSMKswdjli4ZiTH8ScihMW/FIlogfR+3GAIeLtPtViCxDnlgg
GK/dAT0ST3UiVIoa8ynwrpiTwJIip6pqR2m2apXaMVyrxKw3JqDOXhec0ZPtvJjkx/EeS0+tb95Q
SwGWxvijexCU+N8Xx+jDUi0mV4BZHVrjGNQvlXrBWn3tPzKtmdUnIb/QYKFyCo5UqCMi13IIFPkx
61x7AM7t58muM//MXwQO5feOuEqUUYQx9Ps0fU3Co0axodG9nl8KJyzIPGPclIJ8bDMWtRsgAJmJ
SzN7GMrC1sGa/1kLM8teNa2IUiwmsBqvq+JNj7Zd8B5fcgr88r58sXHMc8ZlylapNMIEIkm+HGzw
NwthURBxCleeI9gIV6+7JVhCohHBEq0zIkyAxi707dSGOU+hlkCPKlFO6/7B31bciKdrg2ALxEMs
J98XS239iuKWTUxkugoLF6b2yV7PDH+nyI0G5whvqd0vB8fbF3fBBu3hxXfDlrfwIacWXRu7u4TM
vZQ3wsWL+Imd+n8lSud5KaWlN0DrbJaASxGEZ+DFBJTLXTiAtzw/bU6Z6HmKdCk0rYpziUSh+qXz
XsXixu3EBYEejgfaopQoFYqfgubn+eZObNTmzFhAOW7wcuGhSdK10aBbANKRzL9Lx8RTgzYzGM1Q
ZKnqV8Pe2shraaXa8ardaFfpJt94B2WNjJrjXkXPysP53kxr66tFMbMYUhQr1HATrxOD/AqG0KYO
uC5UqJNH1cZXPCQW4wvfSTmxlc4zjfUsqFtKyMe9oRxM9j3BkihlvEkLwaZoepVb37ruYAaAddJr
SjoX7HWkJi8qOPlZgHjAsJrotGmHClhnOVqL1ln7w2jdIypHTqrW65LNt2r0ZWJIThwdurS6cKI5
UaRgzhOYe71PFZNc1b2hf5/IDBVVmFUi281o2qn/zWzY8SkdDnMfUaF7ObnW8x+CiUiDMVABTm0K
KkFyVOxxS6ImDeIMCQ507OAj9vGVLm4QdbhwYjlx9ppnQ/e9YJZWTWBPJdFPWCgXM4enA88XM2We
+zyqrpdxRpvuL/IOfVdOwsgkHpqlQs4wWpsXouQnNsx58jNJkWZsdHjv8vwB3FYvOshgBeOqlwC/
bt1se37enxqm6fc/XZvRQPV9wN8Eit1tUcLg4oRz/smnTr/zlGcP7dyyE+iBIbzp5TsURItavNJ6
i7Otkd3K9apyKcU00C14GgDH1l6wzkKwCpRc9AGgyba68iXCIAb0AEotfLd5UYV3t9Jt4IMOisu2
ZcbXWbLS3ILKIctWoVWET6E2LBrOVue7cWqAZmauVo3eHQRx3FsiThN3RRzm/INPFFyYxszCufG/
xydfimv8FVwfox3iT1f9HWSg8ardcRZeQu5bpGv1SiD9U7kuV6ZjXfj0Jwz4PDXZ9KVQaKbTXhP/
dKtu6eZbr7k537kTozZPSnZrMiD9YjJx5vc0uxEuHb4kYxr3L5bfPC15rEW0fCwu9KUko5KQLbzy
LureEukaep4SeVN28re0hI69kdybOH+71ZCKQXfrcUBaJLiKc1Rc35RioIAKtQz0XfmXMYpreSKy
CbY3/ASACA7jPe4KmyInkk1f+xoVuRLZlnVVrEMPpJxFmbqV2YHZLCXdbkrb+5m1+6B80D2uam7r
CNDmKpB5w4crAOzb+eWtpBGIWUo559F9nh7F8YgMaD181OUmV1eS8KpH98F4I1RVsCq7l8IMUIfL
niypuBG86LpTfUcDaqAjcSDVh6TdGEZ0q3F0qULwmCv5odRfh+46DJ+HxqEYywrvNfOtLg+lvvTa
Z/EBg8JNByFJU1+ZA35aFGgaFzoCuYks0PougCGsuOgdHMdwr5L23aOcdK2jTKYfQ2B1tWIuFRXC
fksllWtXOOS9b5AJgXaApagfunoPYRCZ9CC/YRCH/ADfe2y4XHs3Yno/ovfmbkXhKko3XnLIi+uh
uA+KLaoRSIUuO4ReenPVh1vgkkaINgXwvO46kj0YvI+Rus+VHyk34zg8jOl91xb/j7Pz2nHc2sL0
ExFgDrcMorIqpxuiInPOfPr51HPTo7G6gAPDNlzukhj2XnuFP7h15apnRmL7FZkeJu2KajraZByx
5HiZpeIt0p8jyr5WuOX+1f7r34v7CrbcvMSiJXImKrhJkaBvW4/Dz0cI6TQ9p47ig6/2Ol9da78V
A1eGqOYlEq2dp2SJl/OY32F8xJdl98ZH/7086651SG8m39xF2+RNeY389pdi7UrupV7kytGgJBLm
I6R2KOhmWJfaM7WwESISqiJa3EW/PMgrEegP4v2vwycclbk3u4ixvoUt2lw4avxRmE//41u66FiU
7aKJlcFbQsZ3Mx/Lbb6dyB4tX3GSnbme11iy+//+ritsE/OsYPD3MSqUQbiUJt+Fd6Wbr4Xn0Qfl
5Zz/ap3FxgLZLmzJecxXeFSsYzde4Vfq8TcFh+D++yKuPc2L8wTZZEzscLeAXvLaqJ29THj8/Fo/
XYu757Xy17saQmWsS5HTPNpPKwZZzGACQImW893srDvSUI/t58huB7HC9OLn/n+RA9Mt85LIoeY0
vMqJLx7lbWodlvCXRX5llG9e0jZqiKRRGE2sDyiKFmlynKDPijwMvVSFpHScH8ZlndT3uF0flGUv
GK+C9iktoDHFTVQ+hXRZRbE5RgVEOwMXivYJGRVHaEwEV3xVaX5JpK6dpeef//XkA7HDJlACXJdP
g62FKzH8pZNx7YMvNki9IJ+cQKvdzRgAVTNuUtiJ/XstXlEsMPWLDRHXSto3bbfshLVmY7zCgvk4
Yx6Bse5icK0Nff70T3fh67fOsXSlM3NJ30AeuFCNihYllG/XesG4+v+m56rbr+q9sTVX7anY/tZj
+oN1/q9M5KJkTFGJ/b8YyxAkMisJh/i3BrtBi/efI8lafFTqTWxVdpOeeB60/mq3DNDAEV29iu08
+gkQp5nQKCfd6xaGR/NnhbsM1vPRaBtYuSJ7V1UHoT1aMm5OCzpjsO2HLHXnbNkvDc7QMkYNJkb3
gqOKuBqrH734EbU3i7qCamiEJ005RjFpxm/SGleWzCXBxNKFWcqDM562vlOjHQ3D3xbMedH9x9PU
LppeyTBJqRqyys/L5Uxewa7SS9ySDk3AtPeMlEVXwh98XOW2gaMwXP7fgBLmJcdE0XRFwM2IGkj8
LKMbvZR+2blXmgqXHJPZzCqhRzF7p3zO2nNfOpo5+uGDhL464n2/PLkrYf+SbFL0UyiO7UwyYpKT
zuS/xfNApPj3Rr42ANIuok9URAqeK+oE1be2m8jYqSPi9QYmQCFfUpvfdKNxZ+2ouRp03Rvl7A2C
OyjaNI1Q3nQVHljYufdnWwZ87dx/X9a1J3sRuhaIZjmsx3lnIiBXG/CcnxEODXuSxqTapPf//pYr
rC3zkngSjkGqahLHegPdRFl1p+aE5KJdb3DfOeW/MJGuAO9N7eLgDlEYr5SGbyn2YMC259kaaTaz
NRqRK2Hza5Jype+kXQSsWBCWOUnJJJUXbOF30lrh7/A2O+XfyTG/IdFfTwdxXR2MjeUKD788wyvr
8w9a4a/jq1Tw1hBK7g6Lh72xOjPfhjVmCQ6C8Y68zrYYSQfev79MPT+y/4gil7wUbEf6Kuq5Rb35
CobKsfRHc1JRScJhARF569UqN1ZCq5temxrdmhHqZem3Od1pDHnQpKRUFFdag8789CjrWyWEbjId
SkT0rXZGTPtF7QaE40+CUNNVir2xOHbF8yIfl/ImMjwV9RTJn+Fgt+lDMr7P5W9QmyuB9w+b5K+n
qGCMhFV8z/ykyw+RYnmm8RsH98oLugTvY3mIwJxM3qgrr8UCCwLizq+Sgle4cKZyEdcVDb+V9vzp
57g+rZbV7OFrbKO46iBL4zSAhUYX5C35QPNn1pD9Okq+8swusf1ypYZdHZ8TPNzhqi520Gb/ZaFd
C4uXkP44KLUJs51zZKg9/MO9yJnWyCIzSWhd0z5qJPaN85sq15WC7BLob4gkakYJbggXaWaJ2OW6
TIql35Dz1x7U+ed/La7JmjPch7mZvP/A6HwOf0OWXLvuyzAtNI1Vyz1Fw0ZbgYz1QL762W5w6ObZ
P4xdD4Fn/kqzuPpSLpJO9PTpfovp+euqvfYCM9otmGpBtPXkVbtp7METVzShmWf9O95cARCal5Lz
eN/NrWIkZ8RYaz+ENsgcXvsjtli/nb9XgvafIcJf7ybutUbEAXfePb0J9mmy95Wd2L+McK70mC9B
/SMKfkum8tkiM8DQ/n49Pv6GjvqTH/xHJL6E7CP8L5gVyha7EcuFMJlbW5eSd1PqsTS1cN47tPEt
9ZdnlqNTVgE+NmCB8LHCOq9CRtBuUaWck9sIrzAT7ar8YEVv0/w+1W5ezzsdBL025V41WwtanoJX
SURrddhqOXjsculiW4qj0klHONDlvaXraxTG13qi2XO6rJSxOw0Z5g3GOmxmlPtmBb+HfqOH9EBz
GngFzatF8aNUXk2R9qACJMHtptDXpfLbE7oCnjQvDQWkvp3yZOTpv7x9PITe9/N+G9n3IbjJXxbn
eZf91ys410l/LZ1StEQlsmKWzstbbN/5vr9//Pn694dfScAuWQNqW1l1P0RAWxbLna2Tkb1g/OhF
2YdafC3LL32VK/HjkkCgdYFSjzWskwITumopVqUAcCRhKqffZfPLv2/lWv715+j66znFAEvVKeFF
7OiZ2q298KwWQtS2cH55Wlfg7OafafhfX5FKga6mZ+AnWvBOGOQrPd4McPQzV/CkBNfaCnsZZNvI
sSfOwnOE+h+rG/kiuxRaUdNVvBF3ltJ5oXX2aftlgV1JHP7U/n/dVN2PzSRCdt+lwb05IemrYVOC
otYvr+Uctf9j+V5SAADuyZPUc+G65IcroCMG/iv38YO8HPV59ZNb/v/YOftznvx1I7KxzFE4hXAM
DdRk6floJHFT8FsH6088/a87OS/vvz4/D+oW7yYWWOUOK5wBN/zz3Bm0VeCPI1oeiOVR46put21g
syOPt6JHab+jj809Br880CvR/k/b5K+rEGaMu4SAiXpgBow5RDdWbqcJthrIsZHFp+u4JM6/ohGu
rI5LikDYlwvebeADZGUrY+meYetnCI+CYDgLFLU8b+waT0ytatwknryqE10xGJwieUoD95cldCUC
/gm9f92yopfj2MZEwM59+Tg93N28mvbj/S+b+k/29V+v9fytf316g+NyblXEwKoIfC2kISE9RUpy
VIoX0fqeytlJsTZWkTIuVM2renbHglEjHvGajOPYdolG1+rQi4W9qUhPqjnBrdsI42eR3KXT8GpF
gZ1a+i6Qho9xeE/be7AIIsTsePRQz7aT3vylBP2Ttv7/t2Jc5jERQP4gqKxxlyhPioBKIHiDAN/u
3PwaDAGNqHWD6KOEkVfBCrEApGENDHeJ+ZG1rVId//D3RFZBIiQtLqPjVqpkRjPJOikZWzBRYmhU
F4szQ9LvqsnXEQaslMq2gnsLFz9N8LNRcPVOcqT4N5LKfx9RxmXmVKfg7RQp4J7EhuEU4AkOjqq4
EczFPtvPpcbyi6yb+p+RyrjMozgLC9nq+Sa1ecoiOPxJ8VudcW0Fn4PjX2ssyVGUV7SGml260eT7
pH6VcaBsep32dHJoom+hOeSt5DSD3yubWL779865cvBe0kaSSEOjIKF0yrEIZu6jEZmq+8za4Wf2
y+lx7diVLtoRs2bqHTsU2TW7cSd3sb+/P8luH+9v/30P//1WzEvSSNMkbZYp5rRLrIAe1F0n/DK5
vzaSEy9q2jJcYiMY/1z5Oe9PXJJMsgYqDTqWul14mX2k+PPm3f8mMWVeEkdqNLVxCqXJF4+ZLRbv
0/RY/m+SJOYlbcQKe6zulHPVpN0lymMyPer1L/nblTNAPP/8r9XbVqmYdNmCyI50kpfeNY27pgh/
i+5XFql4fvF/fzoeFrMmc2zTQqddnKyWtXnG3fufr4+RJ2zCk3DzW2fp2p1cxvp8bqpB4gV0w1ZB
ET/b1PLjv9fptXHyJf+iibOmQ8iZWUkseOKo2BFe74r41CA6shSD0/S4AsfofsXqypS+rFrFOKHc
ykN/KKXF+fdVXNstF2liYoYS/uOU6qL5IpRP+W+OO9c+92KXx2IsWaHEzcnVU6Fsonz97+uVzStg
NDTi/9/3r45qkWcYiuws9l/j9rmPlCHWhcIe9y7mKtNreFd3q1o7qoGDI2aV2gKF5WQDPtMHr2xX
oXmjJK4Mji1aCxEmU57au5nyXtZ+to/X5Xio061uugZcB8vvTQcnvy70U9x7YxvfccWibLTBg0if
WugE5TpJvD5yDN0Roq9G2nXBVzTYwoeZ7NrE7VVbfkzwp5ZX1rzPrYcEcZWfGktmA1ULDxATvvXy
bfLVqI+l14zedBqll4ruEkVP5+s/NRg58H8oPmobJTkl2I6jYpibditgeds2Tn8cu31mOoPA3dk1
KUJly4DUbxINTC8YCWkT3kz9TRHYVX+kg4hHRaZ7vdL4S9n7wrKqE3ldPygYqN+GirhWJ+TKpHI/
PM0/hoKV+Q8QQ/mls8aV8MmMtJr3mX6nhwXbgZzS0ZZ5IzWfhjVgQ7av0Gcr98bPUHu4hWXJNrkZ
Q3CAmGW7y8a4Qzmorm80/VPk13LZa9DpRUv2AS/NDKk+4c4sFL/Q3qsb+bb3k9pjQzQPSbkma9U1
APkY2GKObVckK+2bkqzwYAWFb9WezCdjT9x+meijBy6/l4CrAXxrAz3J77iw8cgEJmJejWvdAyqm
E0wEZIxbIOObPPTkETNcFIS/x9FyLeNlYlum8j6k57ZovvSTVtsQFB76cyvtSyrRmnDkj3Yl7tXU
MW4TwynW1h41SavwRnQm5cNiOOFwO9Zv6YjmxX6ObofWb7q10KDZaWeyWxduvHiNsB5v29nO78LV
0L0soZdFOMXa0WsIGaCxl8hdSne8K3bWc22eEsk5X0HtY1OuvkxvQ+Q0gjfeaN3RRBMZboOMd/Gw
zkbXKDaS5RrqCbSponm16mrPQYTkd31UZ1xSVoZllx8xrPbFmylS0/WItaktS2iI0SKRh405rbrA
Qc1zrF3hmAGVthxM/7pyo0/ryVqH7VPBCkq3LTd9B/60bT6DHNd6G6UMa98Fdll+4Wgzi3a/jUG3
u3PxlDK/6UgAn4IA41T8gQ6meqrqzRKEdp3ctvRdTDdBxT63k9Qvyn2UuoNkD+YTzSPtmbZ99KKj
blf7c+4mny2LP8ROxG0Xj6HpWPKLbB5bCk7hbdM7UetibDrXgFjciZWj3VkGDp0+YCL+UwjvtBUo
pCh3JEzOJDfEq2/w9PfsJUXk1tiMBttvLf+UyH/c4HhvmylPww6frQ/m52HjGJoDuSyw7vXFmwa2
Ey9hr7UPbeaxXGUUnr7KcRPwrjPbesG2q65tsT805wt2+ILoZZC+qna9TH7whHEY9qStj69s/p1t
jNgXDYcRUfp1pnTOt7wK/InZLVrnd6pTKwjM3AuyrfduIz3icoYpNfEpWJvRt44ydRl9TWistqhN
aPjOekO8ksseH2anjp0R2FW0EsSj2r4VgP+xoNYOoeyjZICAkNn6de7U0GMsppjHenCQiWANjf2p
ah0BQg5/RsKjyAlWbX8G82OuJ9gyvkVTulmWTTvYxuCaUuq0yX6Sb9Fu1IRNmd8qJlpop3bclYk3
JJv0NvxMTMekQajYqkIU8LW9May4jAo/rNBVmo1GsMdUh1brzlQckwl77cgKcGmIPbY2r+fkqKZ+
on8F1Ux5uxtAjcLfodNcP599OwkE7UumuP3jlBOBHCMAfYTi41oxkP5eiShCmbb+bjKwwNX3W58d
aZc09vn3noev/ikH9Lsgge9xXdZJPFhYXUve0jnF/GQoa/hOyYexw3r6hSXQKQARbYKeUDyKSHb+
qIbbnDDvVRs7X6uCPXyOhheNTgPfodym79GpZGWnawtEwOSMnVekW9Xwc7zfm9OCqbL+lgV2V9iL
7C7rQHbmxxoy+XhvNHf5tI0FZNe/9ZSqqstsc76prccBNoCyS++EPSYEDwjHOPzBVHeM8ylJCju/
5BRocvW+ZPtKA2KwbxpPu8Pu/jn6muVdPa2br6V32OdIsLljiutfWNnzrDlFRye2Yo0rja1GKRQs
pCCb3hUNxRk1Ehj2fmcxM8UhCOcBLz4fDW1jSwqCx2GxarHI7rnQrCcK6o2fAePrY+KFPNmyvGtw
ABrSb6OOjypjtZhUXtNvF+Tx1SFw9EznDH7PJl/tYrfrtTUwglM+u63o1kwbvES9r/VjF3/G6dOQ
7LXwPgjvw24fB7dB7vcQrPCZnPtjWT5W6VE2/TzbTcu2HB447r2lXg2i21ie02vHQTjkc++EuIln
hIjW2qtL5y7Wsc5QcuFMhFs9geSYih9Tfl2kDzl4NU1/CF7n4FXqfzL+nyH5Yl96cTls5+wmDbzc
2EfGpwqrodqWMgjp8IucJBJ7N+DaZJOkz/Ly8FTCIp5iZOLYVop4DCjGszJ3JfORkccqxL0y5QA2
gu8WZMmEkG4PQNN8WIJDKleHaEZMLgW2lRabpb8TFZUrHf1lKn0LocbBz9DXKPyuypxSHTeqyjny
MeNYnFj1aumrexy1naKg0pk+RqHd0JrzOp4zB77QbqVaXItT5yOisWkLcFNW7oym5k9i48yZvmn6
74B7hyWLQfopU6ydNIydbaBGkRmS0/fEXVXDH0O3G/EB7z67ExQ7EPS9Fd9o6skQbzKJeMMhYAgm
kiq5E8XqoTKFU9QKa7ODbzA/YCBvZglnULfXWAdjJrnChK+n5EQJN4ImbV59NVNKGpD5zIgcczFd
DQX9eUGRjRM3DFQ3JPEuNMhpwmhLIE2brFhJ/WkYwUfRtYC/s67Sz0xSHTXRt3VDD6827bHhVQW5
UypvsQA2OCttox/sXO5tM+SY1WpHafYp92zl72rxU5SjO/Syb5ismEXZFfGfBpmRyV47kI6SmOj9
g9LGa6t/i7qTVezwgbbVXHKSCbMv873OK6iPEs7NiZuZiSc35qpKn1K5dOP+VlTr59gY3mfLYPkI
h6kKZYC0Jnq2xDcOgKDp14mYOXEovcqFwiQ7fAoVw84mbr8/KHANo1DwqzxYRRGbLbXDMF2ltN+B
xjQLEnLceV8XTj1F25JflLvGUevI15vAE8LnMq/3Q+Kl6XFpHxThrYhuR2zIYhiZDTah2sS5KW1r
sTm11maSzROjFQ8RHN7jU8UCzppHOXqOuOdhfNRbw58x9jKxptf0l4hNKkeFZ8EL1vFfDpTKXQoJ
NHbqR3x4oHKgir6o+Et7lAX4becfSI/Gn5aJtE5NE7dsXBosmmhh+Rgrb0WD4D8iJiISRcIPgjx2
Wd9KwsmY3vrqq9OwwFz3ebPputsq/MSd2Q6S+9IIV7q0WZo3QfqeDGMXnQPgcKh0PmkomC09GdFO
Mg4NMydNeRLk0ZmV0VabLyvYmsudTMVKZ0UV9pWxzYZbAeZDlTplq9pnw/sM6/MFMHUwIt0+ASHV
JXdETT3dKtXrnNyoMoUEnPYg/+h7YkSt2sL0My1HOXkapJuhm+xRGN0YWbssnDaVQmYYEbqsg6Hh
e5egcDe3j8OAXzAxLxi+svDYwGSFXTQMtPrMQwv4VyyRopSYyDGbL8/t8SQonDa970rVq0GVZecU
kDcwT/G+65+m5C5H4jzbSx0g8l00xWz587voiV8BcHzhqWJ0Lb1jM5OH+2J5WvQbdXpMhdcSOrPw
UcbYvuyy5lmXXmtdIgE4NJK0aurXEbm489RvrgMvQM1d/habyO579bsNo3UehZuapyZ3gj1q5Olk
y3oi7JruPRwEt2xUu83QDhOttclT0aKcB2psRG3c54CSlrrw6qU+WSbdRyYBuIlEm05J/VLbWPnJ
UnpbZAmG8cSe4Vi2Wl8YNUc2xlVMmEwJHeN5jGjc1TPkDYMN8lZGIE1mr5eG1Tmyzxk7eGyOJcrY
WLesS/AocfSTBruoh9/9NosvSbzT5qdM4dpIa9sw8cPqO09ux+kwUaNgwdtNCjZP+zohno88jwQ7
sHk7kvvIePCWYeUaRK45+EpUqkZNsiv1o0rp4CGSjfFihz2HpUKlHg9y8Dyppxi5jnKTjDCL8pPa
S/YsyYjZnTI8ivR5KwnlcVb6Qy5M65LmsDxG7gwj2kgiVyoXuKEzs/WutpeKOWnZ3lUkU33b0QGm
GbOkH91Ur6feM6SelBgvkKDe5+Noy+qnBTImkCqv1Sa7MV4jYJKYBbpmh9UI1vBy8D5PP2IBkkz+
lKWNJZFeqgfUPI8KNYuKOhPj5W3XgiGtJqepSsdU/dFKVmPXOZI0OUm2Q3MLvvTMUQJ1Rn+ulWg1
1KK7BF86TYCMNLVU2VHVk15vi/KpN6L1Qi0i0l9p2vI0nknj3YT30LEKIn+ghBg6Js2y5cSV7OV6
d28aETY9KhtRdmqq2aUb13JWr/Ss80SyxkPbQbzEWtik35B0jBbJFZbIp5NrRZztc/wYDSgPWdu0
P2gzm2acyJcP3fRojUcrX3ctAs5JeJO1IXf1hHgiDhDU+YmyotRLlWEfLwE8f1DkrbCnjA6ZJBgb
YSqcsDa9iWkcKFUKTmWVCrNbq+pLzzma0+YQVJ2Ucy5wkTuT1t02M26EWcbqeRW0N2qdbnSje1HH
0sVzhQZeCrOvdax+r8wTRdXnXPkkR9XcoWlmONF4mgaE6TkOe2pko6ips4abtsx3OOTasqV4QgLn
Rp8cEXbiMt1NeeRnTcjXS9tBNdZqvWwXMtxSu4ka6UbVCl+oFdys+m1aqJQ71LnNbiALgZIFVLl2
lmhy69zcTDoSxznJETMRtaHMkRMXKIBAtE3OmEhFpIkgukqwzmLJ6YT2pjfJfGr9EBsFDPtobS08
p17CgNJ0WrptYWFSbYJRIhlJJJCodYZeZbFVpcKbOmE7xsHTNEYvxji67ZA5atrjIZTZGie6VBp2
X8qbENKBOhONQP6iyZCFmdOiDpdWw6lUKqC8HVdXOUtP/BgDW1EmFOvEJ0uoX0aSA0zV6McsdpcT
jF5ahTQ1zm1JGj1UTNbGWR6gf4rKhhHNrkoFO6rRsxCeM36iDJgqd68yEarO/KB76sp4m2XDq2Jt
p3mTSc+CoHiasLUmr5Yzd9YVIstjG6RbqzecMfpMaGd0uYn1l+XmmbUukZ4wToxYyJYQz1VNT04V
ys/CsVIkJ0JxPVBP5yEoLktfTTHa42N9nAk1ytiue21wIxmRK01eL0phhwAz6nkV4DFUs1a0/NsM
SYoXwz+HAU2kC1amTKmDdHrue/05bFFoRyo7uNdqyTGy7pCr0Q2Ojq6pvxS1b1bnUFivkebz+5aO
UTsbDzmiiRD1D0p44m3Z4UIA4Wm0DXW8Eq4C6iepOjZwUEXxrUSXRUimkqL4PKT7MmJwABPihBCl
SjleDXRhBTFDoWDkdhvI8cO4b2TyOtlcDwExY069grdWLY9FSW7WLittvM9M2QvLz65Y7snF7kVU
QtvJciawsbrAY1xhywc63BBtcZBWxbQJrB49jcnRxk1uAJMz9kMwEAItR5Zfayv1emtwLGN0CgjA
UTDZ5vRjREAq6V4JQ/jZysp+oJcWYd5oYcnVycIWt1cu+WwNF69aIfL0Qn9IyA5i0ToF4+JI1iHJ
91Kg7cSS6rn7rqm+AqFzBz1zlo6CZlI58mNXMhSonK8qWmKF6HTpsK/O0ho0Gq3gtqGnirn6OlMy
N0gVt6xHB2GwdYwhXa9pJyN6iqzZ1iTh0C6qU1XHGnCwsjKKY4juM41bi1w0ftLU2yV7ZWI7zndl
pduRlsn7pErdRNK246jez4NyDCh60zK7QQocMlhnp+fsfpHemiD9k/x3aXhQUnmj68OLhiyD3DN7
FcbQnliRUkWeVt3UiQWqKAY8fA4abNm+WiWqsNK04XYAuM030y6FA5eT3xrBoYyo4BJP6ua9PDaO
KGU4u4tbVabdU1KSi0KxmqDjqftBNz294pCYZrtZDFcaKfRTZC4mndg/nrSm3Ld0ZQ36M8tJTObN
QL2jWAKAvtoRO+02o5VgZWSPRVthqVfuRTmg9yJtTaU+iqqOnvMikCUZx4ZHNIbfFmWXlOJ3zKFS
RbehiRrsspnokChkblGRHdqAniJ9CCHdGoxpxaJHkoSiIWDSULyN1WPBSTDP1Amy5qXlR4Kl5Vjt
RGmfEQ+X7Oz7SYEOfM7YTcwbVaCUeXRXRc8Kki1JZzoiZl/gsu3ceFfKYzfQmdXfW6nxTLJAISNj
0Zi7WojWCPt22pSt4PamstH7wjYU1Tban4nKi8QUQDBSTSP2pkvp99U+QyGhEl5lGRDn2f8vHRyt
OjKVdCQaopg4+cQ/R8khCwrxalG/rUh2TGGfZXCtQJ1XMsTdanEsFR0a5Hd6rfTFkh71LX7BxGAq
1uEzRTm3h5c59YcoqPxQp34moe+ldMUg0ZHj7Gei0aUaT3HOwd3eSVXnjGp3T788a061Tuc+/DYN
us8iOhKFvI21Yh0N2CvTgYlyz8h+hMVPLPgwVb5RynobicYaXZyTbuz7kZwGH1c2/ZlvanKUFZuu
yJ2eakUeoQaPy2GZvMJ6KyS6FSL97EpH7Yl+Yhw+9rh8asVblURrHSrPkATQVWdXG59Lwpw1xc9C
/hIkFVH3ZjDVdZ4kjBpi8rCvBnmagTg8vAi6J9NtFdJDSromJ8+ttNPAwGhvmniQY4psFplVl14S
6bbaDsdl+YmDymlVyw0wBZoq1ZUI0WWyGmjuWVG4F0cO4mIkeguwL/HuVKttIdGUGkavJszFebaJ
SNAyQHx5SwNCZ443TG4uKaQvGv9Gdq4W9zkU2nIwV1n73C/4TU5veYdUbnCqYqb6xQnbYreM7yGP
0VaKbJHuZt0le3MQodGQ0Is4YYjDplNToBfU3JTzVpc6g8SaCdBcVEVxk+KGmahfwRKsLdM3u4am
NldogFad6H1aCYldjHcmjYG6o3mg7Vo92NbRvO1oV8amvOrUbJfUTH/gBOeptqqmng45SzlqvbKc
HMGQ1hq2gQqV3wTzXTUbe8SwclKZ05jxesrVda8/am3uNkvodgKBoOrcaVSPYs3sRH0XFoKO0Lu4
yfikwqtWPA+Txv0IGLig79YqtR0p8qPcZvd6+GnSfB2seFUCGxE4WRtQZmZYuFpBwmf+NMZb174k
0bl+yV4LJfaKEkEKTbMjvqdrjbs8T1yxHTdaN27T1jzkpPoiKmP0EnY1soBpMVJCJYdKBLIUTH5n
GYcM3QxZ2Ai9uS0Dxa2ZhQH3cY0JQVzq10EumSnQCs/D4bAUKECEkd913as4TzSu08dItDzFoshQ
K93TuuatMxQO575yJToWeTI9FUNEkXeuBY0hXufqQmmJ0lQuQ90TcTSSsW9LHoYl3LfVEPpj/jbK
hT/K7WrW8IhMvVBII1sSolVGLVZJEKv1bTnD3q3kbVLuLI6uTrothn1ZvA7Tq9q+jw0qHOGLtCAq
SNtFh5sV5PJKsIrXROKxSDZe7CntjUQvvCjwwOgXDPTS46RJTmW+V+JrzAC3UTM37TK4gTU91E9h
3sQMHWTenjnugmlrAT1T160cU7KojjFU3302eiWbC03BXr2z0t1At2+B8PyQqk8DPXHJelEHC+da
dBKi4r0MJ8fUJXqS0XrOmFmJk/SMobM31M19LIoPEwpVcizcaO2NRPZZ6LEXd3AZpqMgjXut7PxC
vw2WvZSbqyCVv6Jxnw2HnNFXXfcHSzRbZ5RL3VW15ibEcZaJ6KOxaCSNy0+eR4bdSk/VFHylRc/G
G2RnaGY34FiwaEBAKp/y8ljRyrZSeUuexmOoVy2FkZHiWZfdZ0O6DvXuWEZ0psk3XUxQ6Z0TooOH
SMigQN7oRNxIaT2hAwqhNcwdGiZibcaGYoKhNfS91XEVNuValm8XRodWtTL/D2dnttw4lmXZXymL
d2RhHsoq84EEwVGUSGp+gUlyCfM84+t7QZndGcF2imX1EOHhIYkUgYs7nLP32uzTW0ssZl0TIWrq
HzQv2oVt+mbip++jxvEteT3w5/R3oj0dxR3XBX/WPq4B/hQFTvhMIw0hnzO93ObckzpItXnb1HPd
zR5HJMux4b37obYWWnaATGmNGDmWh9mFSj/II/odwVufG7YLtUCRgTvkVP91at8UQSCV2JEHDmYL
twzrVDI4vVKewIWtGoVaIq1EDi2OnA/HvtrQUF+DG5i6kZY50I3pd67fIOUrITUlr8jo9P4rMJ+9
4T2lFVpVklNr+TIZ0Zxy+lK9t0w6FKC3rXYxcC3L7saiGaTWrq1gAzIFx+Db8/FToclmjQN8a8PR
mK8EfnUyE2Yp/z2UDTUfUoBvEs2YK9Jop+w8CYCgVZeku6T+1cZvQVOsFDILa1xZdH1Namwth+XA
OCjxPvXfPJYKQkdmvv5RagOb8IZ2U3KSPNcWOnapvRvctwb9uDwVVsno731j3eRrqtcZXZuuXleY
l7zuthTYtIrmkxDAhPXWY74KZWPZCBQevNpOC2Oh03+Uwo8O5J7Vn3qGag9YIFKfBvWgxs2tKbcr
jDB2nIAyCHjAFZobQfgos5LNpl2nETYLKQrlmZCrs5GWruQpTjOuRXYCQrxpu23biY7YlxvSMZdM
jUIzBTG3XzpzX1blq1G69zi0sHyFGhGyQ9Dcc4ZQOZUHH2ZEilKofijtdF5UU2x0orUdx3SVtibT
p0iE03iA1CrNrTJc9AQ2MmPvsjo6EPy566poZ+rjyg8Yx227qrutUHI21YKbRFfWUkMyD3Nk2HOK
H4tlo2rLEXgr0cGq8kugfaU8RANbufdKese35NGAkJRdFO1qxBBdw1nzFhmFrh+0Zl+wD5C9/lag
QyPQ+YvGj7B6soan2P1kRUchuFfbVeNjVL7V6OBZ7lqPdilEWISmpcThSbpDNCCV9O+KO1O4M9GU
WeJaqDd9d4jKGy/fq/GN5N8E0o04fHCbbLE8VU1gZ5bnDEF49LPX1Bt2oxiCocBaYA3hS5eLBEh+
6MNzocQz9JN3mUalpEgWMd1Kqn5UAPVjURqYwk6Buc79jVjQ9eWk63QmQTf+SS8hbNClLKJj3guz
qUsw4h4Dds2m+b6jlNMoG8ataxG14B3V8JhTtLaKh9zQD00jHz0pufXUlditcr6lbhWuom67yRf4
fg6Qu0b8iIbsvUqfQ+Ew0pWxjGjXQ+NNAnXpM51YOMiE/CY2p7tKdrOyF+D+I5toHqLoV05m6OhR
0dx2Eee6slxLhsATjESgSNqNLyFkGY3N6B2m1VFPJNrYKdak0Hprsua2V0v2ydVrX35YxXNuaA7B
lI5n0TkrHnXzlFop7bz3yk8Oo2etqmmDFad2PtbbKvGJADY3EocoVf3MmAlJYa43hsieOLE2lbg3
rX0b4pHr2JOIkKD9HDCJci+m9dxINadzi5UXPlkkf3jhSs3fjAqNlqZsItTIQpa8s/zT5aF/rwbk
Wc/FZZFCvroJxZNs3ulfRuTor7pJC8SbM8sZ1Jc4WQrxWipWRbZNxMEmEmHoKKqzCZ6XRU6Rapvy
EfrwTnM/5VB9jeJjxclOvhWBiD2yM2llRxXfFaQNImd43H66PO7k3KVtwmr9xEIcPowWWh9WGS88
at2srD4Ko5nn8Uq2VvHwJhm28OWrTiLc1tGqPkDclE124PPxS0LkQuxpNddvWT0EKocxGoV5mDsk
WPFN8q3JNSanHKESo3DEXsva9TAsTYZuNUct6xk36GSZ2WJY2t26x7dIw+NrdKmkLoRuFWnKUk1D
JmtIHbNGXejvhSLPvHrunlqKLLn1mIAsyEm2X7CjGvNdlfGfyGEpuu2wL4rZljYoe1j2mxGhmDoF
vCchcsZ46rdTxKxeqzc32srxBlG2Fu2orDW092R3OzwS6L43lUODJgo0Q2bYfrBtuocYlH20iHF7
hfNcOgriXV+xkQNIffCyTZNzyqBWOpcizBZAzYKnVlgb0TuLN29d2BVZUJs+/+VN6DAqJ2ib5q5P
Vu2DCXpWfOZIEOmHujtonLfbhdRg7OHzyg89ZwF25iJ7Actheo2yVZ3v2Fq4qCSiOVrq4LZ/zdrl
+GDmC9W4j7V5wJn3q4KqeQ0qIf1e7macU3lV36vKpkPuNmza+2hLCwXxRLzVT/7R3IrvHN31vXXF
Xnfpvc5sBSF7KfYpvJdZcRTYCukV8e8FQaJxzuAVg0DMtIEX7jbB3ty0d+hl2vf8abhjXL21B7bw
hTiTfv2s5Lt4zc5UomlvBDLdXGo+83A9EmuabKqlb9Nmm/lbExjjFbvbBReOcc7j9ZJC6WuaGdtM
IGlM5UTC7Cnp9KAJ7am9ZiU1VApj2UmsT9PtT8VAEZLCiY/WJaKEhJqVh0i9JoD+Pa/CsM40pZCs
tDicPvewzBa183xLd2Y+/UNbxN6Ls8M1q9mlgSL/8RehbBt1uhll3E8x2fvqsjKuOVsu3roz1ag5
6uwbkwTK3o2IYKJcU5XfTlQYRqQ90RriK4Egl67VuYxUKc3IleGJtGToGNCBFXMfuOGsyK8FTnzb
vX7jgTgHuwaiVwttIHRbw73tETs1mbQU4CkQqjgzZbBBLXpDieWjJ86GUiklb06/xaJDK9ijCsm0
ozVxjeXgVvWEU+FSNi1zymv5Tk2uaIW/vVW/+yXPpOecj0bR95DphvyGUg0ylc6Y7OLmJ68WjDTz
9A0QTr+5a7VTh2IGrDGHP1raQzAzc5R3eBMK9ShZC1Gq7Z+f4Iu/1dlMxJ3JKDpZOA2/IeGbyeON
Ft5h/07S8ji/E+ZP3rxe+hvr2lv+XvxNIf6vY7og2byqRBx19GbZBDigtbGW97YxQya6jncT5JUn
djmZqqrn+otjlnUwb9EFOewkFj9/8Evj3zyburqszIxy5Ld4bG00WMsRG4A3uyPtYJ45+fzKxHVJ
6XxOkDW6SFIFS++3W0R3s3z9Ks9vaSHNfOeznX08qaBRWMnszZ7i17tl/zKuXOULE4d5NkMZpRoV
XVAOW5XGYBInK/JYrujNL46Zs0mpwBiejo0/cTRpeM+6iZv/Qi7jvkZZG+5lm2bTrNka6+ipfUmu
YIAv3rCzCcu3OCJ77YARc4Hm166Yb5P5h06w5r6er66NzgvWMMM8m66kQBYMbTCgpqj4IpVwyYqK
NCW1yx65UdZynFKztRYJu2IIV41nfmjoZVUj2sbujnZZbixKeWVQMq1+6ZyLAzIDZToZlaTvYlYj
ETVE0vV7z2InJbbwAF9HdlNW2t15pbwoigDkXsbJRbqyJ7hgpjpn1hpySI+7Q9ORpy86XdNOQdg+
eNGL3MjvQa6V3+2on5+qSzPxOWV2iLREjwuGXWuDDZi3K85o29CulsEBwMJGvnVvYbXb4U1RzbOt
4Fi77Mr4uGDVNM6xsUqqNqmkBmBXsSQBdrypboJNAbOkX6EntD/bVbJUZybPt/5UE3A7bCdeBSDJ
ZbxEXf2/e+7OGbOtDtUHrHy/Hcx2rhi1P69HOko/X95vAOtv1hDjbNLScCVKisaTpxkDRZAjompR
vW8QERQhdQeVqnF4N4YvNFxTsrzTd99/p0vJ8kEdbpK/NDRV+ieXeqdavZv63gw3cWEhb6GVplNf
FnSypoJFi2FRoiyn3wnGhwJbTG/tjMGbZg+aCwegoSdWv6sIY3xaUnH2XAfolHaW+B6Eh8DEanMn
jIemZU3xbwPjidBcBCqfRdLdWu5WUfcFTX9Z0mdagHvVfXWp40phc9SNYpMb5iwKaL3EK2nwf0Xx
G0llUOaXiUJDbFj/fCkveNgMY5o4/2RB0gNdq8MGGmmBmoT6BtLW2A4TcRFUn+ogLAZ/2fkP6Zgs
cw5XqtDbludf2RJdmJzP+bp0kjOhwxS27Ysbz1118rVFbZqBfzc+zmZmOfNUX0jILNRmCPZY1/oZ
N9Z+KWfi7NfPF0659MufzcMq6IWqKzEje+6TiDQC9XmWEiQtj5AgdMdq+lXVlI5q0sMbOqfNQwfB
IUS0tR+trXwl1kstHhaijCIMGHCcFbehpj4pXX60RKqqsX4wU/bSwqdJ7K1UJXPdEJ4typecV3cG
zQ63vsYqv/BZzlEX9Orw2Pct2Zj+csp4UGpz9vNluvTKZ/sqw5MCVUmMjpbrTdLeJ+imf37hC9vp
743Gn8etpWRdaujdNkJJnYAaz1wf5Aa8ylS0f34LabqVvxlG54gIka66xYXptiKZtyHeCF0ErFhu
1FC1dfRMIbIMvdToKE30uiuT26Wzq3G28tKE69IxkoASzLTZc0E0nbt218biw2Q7EW6s9bU5+tJW
4pxx3FZVFpU+7/Q4JTu/00g5+PbHizePHIb1las4zcm/uYjnuOOS/L4oSXjI0WcY4y+s+yu97K8U
EC5dLP1sfAVV15SFNE1fi+Ith9FTkFoULNNV56iOugsP7iJc/jwcLn2Qs/06xxOYSTlv1TFT5jQl
aiWbSd0VN+AFUptxDvMUidJMxIYwLoq5c5Vd3RT6lc7e/iconksfYXpK//TQVIKcVnEP0SCasQ9/
fZfY6vezevbxMoVFX7P6XnAXExD717eJdK8S2oqPkgGWMpeApZh++zn/4DSG0vNUsvuInOtgiIvD
4GzC17sqc7vp4j0+agzlWzBDx48nZlsoTdfs3hc2kPrZhJ80ZGepbsLFG0onhi5toAQsHrrswRBh
aJnXzqIXR8LZBKCGAiDeWOm3UHUmfiSHMQjqc1QG16aYC5OnduY7DVtPFwOToZzbzfz5Fe3CDYG8
68Ie5ycUB7Z/cxVpemEBOKdiJmVgWGLGcYXgQ5s27zy2s2U/+0CVast25FwjPl/6SGcTgax5pdDJ
Mi0spVlZwbhqitt+8omhsvlfPf/nLMxIFgfflNJ+i3ZeLyaNzkzWr+ArLowtbXpg//RgNmLoKwLK
rG1X5E6kPkfaYVAr20i8lYgmxO3da/u9S9fpbAoIY7XT+wgWDcsWaSoP1L+x4/jzhMfzqVi7Sg85
/gkj2FVy0IVVVDubDegPts1QSTybw1ycB9QXWgoqb6eryd7TLf7NCqOdP/xqlnkm6ovtIzt4Gh8U
2T+6nq4dsXzTyRhq2oOAmStFqBVdhdFcmEvPmZe667mlNJ3Dg2gVDeHc1R+loln8PNYuPTVnU4Bs
iW6GdgWumb6l8zso9s+ve2miPGdZ5kOo0XfkZmAZcITZ6KT3PhhDdV0CltPm/TJdXKP1XBhp5yRL
oGeFDBGXzyC/6GaB+upupAks4NP7+cNcuAPnEHtZj0yPjvN0kZ5H+uTKMBnIjj+/+IU7cA6tV7Sh
ULwK+lsYSwGSdNXOUIP//NryNDJ/M2LP8fSehou0Mf+FU0p3uV1sq1Vuu0t1US2zByDT684ZN9IB
DxBE8uT2Won40tKsnj3+pk5U+jDwsRSWf2WlrGInmx8pSM8rJn9kG3NkOFv3eO0Nvwttv/uoZ0+/
WneaFVldvxUrzHTSYIeIj3tvF3roDYPP2CAWW8RQSS+jjjl5ps0Ct4CuIBTBVO2dxjjb99Grha1M
qwANhIDag4qjt+6k1UuPhMLvhM0olzSKb1QBAHqZ3GGfWERDjJ4Gq41kLEziZKXp7K4S19JNucUp
ZoR9VDdzJc0I10OfEslzkH/bBstF3FrroO1mGb9Q4+98BYWHjvxzRAZrvI0NVHrxTkBoM0QER6AC
8NCT+qCgBqgCreCv6gmq2qJmr3axN6xFN1036E1GAXvIg4WKNLF+ZRlpfuIupVCmhE+uez+01awZ
OQnqe1cNgA2+/zzaLozk7wrfn9YWP/TEIOKgvc3d+xq/l3BlKZEvDePvo/GfXtnQU4RPjQffrPxQ
ENnG5WGUUc8bybFJqJvHxUatArsdPEzQxsxTaQ8PiOIqL7hX4BGa00aa62scjPi10ulaqYlTZ/W2
FP2lOQSLWElv1eQjwiRYdbXDeW8xBWSk2qqqdpH5Kk5yy/4X+XJtguAcu13JCdCrdpK4wx9kZLsi
+SJPbJ4re8IYC8zTNMNklFkWNuSictcNGpna+KhF6I5CtIq5zX2TrSrLQ+iV4J7/knRrXuvCzMSX
4ZZkHxqircZvsvfas/9XiA7perR7waSU6va13q9jDXX0XZZoa9V31NFc+cXez9Zpr760kbIC6YSK
K8EgTnTy3uwaPBEIy6Wsuk/V1oZn6bTYstz0xVAWY76V2ydDk+0MjZ6Rb63BnTWD4QTkiTS7vvDX
wqTyxZwYDWsl3VhqjCgFyEc8OqFwn1nCXdKQ205/3ie+spPw8wOc6FFv6YqtLnIN9ITj4bSSOvwX
nbdozNdeR2lbYvifjC9F78TmYKekVA5KuIorAUlrcYow+riDtkpymuy5Ms+JhmtwfinlWxvdyNEN
PTVMyW4IKuRdSaRFjxNTNb8s/0MF+p5P8mhqHyk+dAsFfoxgyBUxXxXL2shtGOefuUICjtkvxFCd
pa24xlRru6myiI10IVHFayEGpA2ru56gwEGW5UHjbXuny9xjOMqAZsn9i4kExoTTVsKjVYxztc9W
lnhbwFXxQrtnD9cLJ3+IbXGUnLh+8NRjTRu+HNAkq19pPqxHEQGy3s4z0NxKmDpJg9MTMW2Pon2M
tEVY6feNgbhJ4MaIL4IbbFxMTJNLutQw58ZfYXZTSQe3/NWJw1Ks4KMY4pV9o3Zxfp2WmD89g1D/
JIkzfAfJHi2l8DGOH27+6cMh9X1h2bUKNgpy2MxkllO/NJBDc9BcDNaUXSVtUtLYEnFT++5cjriP
cCZSV6IwDyVCZjhYB6HIEZ1RHxhfJeWuhCNTyNlyTFpc/PTjqn1dbsJOdTovXiQlxdcWVZGMWc+Y
wyLdFup2LEhYY2MR5StoWRvBA51rAc3WidGsOZ6lxnxomrlaMQio4Bo9zg4NZUrgxEnrkOrlWrLt
+4hwmhcQwitVdBf58KChlGmTt0x+d1EFe8jlWkbdUepPKmdzv7jr0PFEHT4LwSQ8CG9CpjlRld6O
ubbzAsLR0XYSyT7zJGvepsaszUFYkrVWSsJcx5s4dHA1qnCfDs9ZZRLd465j4pXUoGIS0xy/0299
BM8iQUxdpJxAvXbmsyTR8ukhXGWKoyOeF9H2xsFjhvQ9K8mcc8ICa3q+avBswvW2DevVGjGb0Dvp
ctO29BLSSbnLopx01k65MVGPNpga1OG2Td6H1MPVs0qKjz7bDeWjL5rzQlaczNw3DWQtb4F8F8eS
9CQKTK98+GoQqI7rj2og2FHCBxeDL6Ful1ke3BMqSjZvdQwbdDTCg6JVx6El1zE0bLUzccDTMwju
QnHfVWiohHHVAq/ognYdCj3QnmxeRmiOrHWS3VllsWhNf9PDclP3ao8HC9evKQnLyUajD8JMKu+D
ROGPdBn5rJwhytSlUjd2JiYbya0cTX/NxVOOX6uhjwb0SBRXcZMsfAPvsq7OR72kkcCslSFm17/q
1nWSKoLawiPMsO3V4mhpNG3JLfJQ1YlJ5rRagE/4VZMiWy+/XKClQmbtY/lXkUPuydGgkfrr97PM
t2ZhzIxsNOuRIjsmxLlUHCYhY1u91HGyL8VPYzhGPBoCRkNBuLHC+iaXsKf1i0R91sXOLtq3yrxN
m5WY6/skbdetnC8ysQfxAJE8WDEfWz3IHBGXvbEyCu5BpNGC/xA7tOndV1sWWwh8sDLe9fQGhxci
dmUuRnd19iEUN10Ob5hpZcwWGg1w0Y3vRea3yH/C/r+QBeLucdUl/r3lvYnVRvfYwUi82L3kIWdr
s1XZVQ5OwIUefRmouXSQU2b22FZbDTVVbuovY4QoNAgXfvLq+6XDu6+a8j7Rp2nPYPQiAY2UdS5s
yFyDFjTYJruoKPyqqyMZSIsubGd17mjiIc1ZT2R8LZ+tQs0Sk3PBI9WlOExray7CL5EhFTdcDP0+
ipdm+mmkq7LFoYz6f4zfZYEcV5YEBTjjmBBhFiAbi+mvtFu52hlWCtEBk62Ow81t7keRbEEUw/iA
Qqw3cYdKS7NOrbGtELZjg8sD3I4rJe8dvdRvGpTvRvUsxBECDKSPKZLZFFhSDxhDD3aj532GKg7B
5jHsczZ4T1KNUFjLV0nFx/kkfgB0WX2XT2IE+VfSH3qgLWpAZQsvYZesWunUe9vIS3BcbKyEI2+Q
rmoUOkYvrfPh1KpvYvE84EYZ/XdLV+Fm0FZJ9JUKop8jxkzIsoXXIJY27lySQxEzJ4cSNZgCXsdE
iycO6TaQoDTIeGba+gFxLQJyI1tkkf8ZS8q6rE6J96xCpKxdzJXMclL9NKQJlCZvGWfjh6Z6KC6M
T1OyZoJWs+NyZ13louPPBFuWsTuoryEntTRGMp7428ErPxJckUOSgMnAWEqj7d3rGngrygA6ELlI
TIFcx2mcaVzTGjtIWsZ3ZauvNesQqltXkT5obthBFW311FECOmPvpbiXiydRejEa/+iHCZ7tdJfp
Hxli2tgqlqX3UvAbKMWjFYEYddMbq/YwqtJqaR+a/F6DbjSkxqIb9YUXTQM23/YSUnD5pi3f5XZj
IroeZXzVChN7GGE72Gdox/vmIcjedR3jdR3vy/G+FF7SbLTpUs7oD9tji2rvBjDFrJcIn62HeWxh
PLbuWThXIlpdfWBu1vXNAOVlVusti5zkhOSDBnKwdMVP1UcOFYa0giYuNxoa3bovovId85DTYSfT
mRiS3OQajRT00aQm45c1JI4cm7MEDbyO0pE4krmksn2G4kVKqps+Z9qr3Pc3AfAnxfPv44AaTdVS
HmqRf7o7Lz+44AZ0jQzGWllX6CKzG1nSbpCmsWRPr5byxNbPpaQt+hCRSfQymmxUXOndqKpVV6J+
D4uNi4NPazFyRhG25KchExypA+qgIVBJaUUELcQoH+OIsPU0ItX8jyunlG/Fye9Oimf11az2myj3
aUIVDFlfHp0gui8V9zSo4bJCVxlICZdMcGLjtsjHXVV8GNGbxywgxzqJ4gAn2nsfPWRpSrZRCraH
qSNOLSLNUVsfRlxb3bhncUNd+iI0MLW0YN5DIROSpSWmC2y6OTF7ik431iLOCL9CAnit5Gab+MsC
42S127op14ZPLQAyjGW9iS6gnqL9itMOCeNal57K8KXnCJSNay1Yd3DCgpoYdpYXnuwheHTBtVhZ
eqfhEA6LRy2HxSiOsyDD88aiWgjh2myMmzDCMjv1sW0Jew0MA9d9kSXgNQZqqX5euSY3AMt1XIIA
GvYhnWXmo87K7RKxdIbGr3wdqSmImpNhbrQyKFC6++B6k5waKFWk2Y2wC0Qa2maCTc9dCrK0G1pv
liO6Ncyvof8VKzudZ00YTl651TC3aEK2UmSP1dzEqWPMgv6G4HZ+O2gz2TGsyTiMPaeL373gOcNh
Ibi7lE8tFkh/EfSqBU2Z+CnUX9Xm2FmfCnJhT2rsUCuXIQ8NJTQhZ5uNkzWIuq1iLgUd9pki7oJ4
HzMhugnwW7OzMYfbeXuscWGGSLRNvFmevBSghRyNCiMx9hZYcMRwGyeFG6nHZIOHWEYwcA7qndg9
YBEy2k1lQgwgcbO3XsWenV7wXreWrY4gAMKDKbOf/ojbFnrJoygefO9dUW/K7sktIieOQVgxzzWs
NGqAVepIUCxMmI7e44pUH9uHQhPigE2CmqnMEPD4QvpvrQg9S+nZBqmQQugtmIKWVbexZMkxdfcY
CPIiYMdX3ZjMZpZi4KoVd3WCJqu1tjJO5bod33DJcaA2bCN/zKpXSz8K1klCv16aOaAu9SnO01dV
jTFvvsTEuen9Af06I5kpMOXkzECrvBZ7/72KsRK25eRl37i4YJRA3ro4KgLBO6VpgZepOTSKfheI
8H0syQ7kdu5KR+xvs5LdsmW481p9UNA2iCPfLUY7VzlhH6niYw2MhLLcINRUepJtpwq2ICk3EdCR
MbeT/FHJT7lPIDyz0JSpuWJsFuFNSjUqPRmN0/gHQXiS053W7avxVCKViG/L9OT1Gwl0sPWkR1sT
FU3x5uG5NE3LJhkhD3ahhA+hPzYe9hzz4KInbIVjU6+K6tYD3uW12dFQvYeUxCXYcTKuAXgVmp3y
kXIQKwpgwkeXGF922Um05CtDfggASOE4K9BBJNKHWw+4gduBgwHbCGuv5BvVX5YpDxIsChrEZQHq
j/xCb55Etq9rc7N6kqKKnqG8sFBtaHm4bNvqwRSqrdToqAB0YIlfnJ9jv5qVWMH9QqqRXYJK0aiT
G4ATTXeDYQ3Do8+urbFliiOqRUmqYisCGYpjsFMk9aJFC4OkJPLYK4ftSm+sdV5GoMM2LcAM8ikF
dZH1sZ1Ytm4EnAzEKZR4LiA9scqF2yCdZz+fU85C7xLVd+jAkUTtEwtzVQDrwKl7GMGUympmEHNt
Rps2wSKm034ffUwtM9d/q1KYaaD4QjZ7zanRc6ftIs74Pb4phOT4vuLboH2IJxFqsJb9hQTkUZZA
muB6kXTzmI/SrGc8RQ0bH0psHL3hacIWTQkp4gLnmY7DmoZY7j+A6rJhPKyJTLoL449yXAdkNroV
EprHIpV3ptkCvFE2vXcv1GTGGoXjQgdJgCJKy07kMqnlIXODG4U811rbN0O8IJt3MXR0LPV4EXQ+
OXTmWhW9dSKtLCoWYwUzIsSB7y477UXQwXJLrR10H2Ff3wdoNpW1kjy1ximAillZ6VNdq6s489a+
2+5kDuA/L5aXRF7nYUqZoQNpMXnGskW6Zngs2vvi6G7GXbrO19XCXUJLOeAImksbLD7H7N7aSIty
3+yqu8ROnGst8Uvl5PPkpU5q9U6lQrQ1m/pB93D6JDI2V8zMI61XyV2mdTo3E/IBzM/CBcVR4qtG
JNlhK+gK4w4VxzELiYqwvL3lfv18dS70Bc4Dm8rRKnA26kSrAZoJZdzBFmdQ72pL89Lrn7Ua1chs
2yI26J7iEqpH8QGGrD8wsfKh4vGkAAFo1LVKrYA2ZAXqfiyZ073XYLiyV7rUxVGmlsufij6k6Wa6
K3H7FQlMURmuRMp6vVniq05tF3N4qeo2NXHgfpojs58umnIBfYFyIacW8Yr44mL996y2L+qDJ7p5
j2xIBraYcpot7uuggRrDCjMeu/zZg6qnuLAb63pVko5epcUiBiDSsSYKHVbyMoTFFnMIzMK5zn6y
qb9GfPI/D4RLle+z2ljlhlJf1ziTlQBkYDGDhXTlAbwwBOSzNko6SqIxTOojHc2qDEasoRjmg1/5
+Re/0Dr7lpX+6f6ywfaTEdkgW2xx5uZbf6QzQ2omaRRX3uGSIPv7nv7pLUK3RhqtKXyCyINhIkIu
lTb0m4FGeCcpsBwyZZ0kUZeN3t1JlJjNMl42U6B4oNhg2+wmh/QSKmuwJbNIkD/REq1qOIK0mByT
xsmgvRmyuEqHxv75omhT8/M3BwT57IBQ+MQxNSpXxcdm3vTKriqzhVV3ayBGa1KYOb2li1Q9BUPw
ofkmeJKT1qiPVmosTSvegspLCALvFWRBDVw/J4LAXMhfXki9Nzr5vuUMHCUlwsnMaQUIqJZDXfMq
tk41XBlXdEqldPT43RheI43iTgdMcYgeVdldkkA296BgM/dhuLnXu3gRxlA/xv6dZe0p0h5K4dfP
1+HS4DjrDQ8Rdl58Pd1WislTZYveohkY5LvY//x+g//86P/L+8zu/nlJq3/8N3//yPKhDDy/Pvvr
P26CjzKrsq/6v6cf+3/f9tcf+sf+rQ3Sr+z8e/7yI7zyv97Zfqvf/vKXRVoH9XBoPsvh+Fk1cf39
8vyO03f+T7/4H5/fr3I/5J9//+Mja9J6ejWPGe+Pf31p/evvf0iTuO8///z6//ri/i3h59bpryz9
rIK3/+9nPt+qmh9Xpb+JsmSQlqWJhilNksDuc/qKpf1NFlVZNBWDoFpFnVadNCtr/+9/aH/TTVGx
LNNSDUlVtEndUWXN9CVBEv9miZoqWryWJRsyfeb/+8v95Qb9+4b9R9okd1mQ1tXf/1DM75nn3w+H
qZuqomiWIuqyYkmmeO7nqOp+qJtGAGSqC9oCHo91n7qW6SCTixYi7NL7wIBZSRUgnmg91r1EGtmN
l7hv3180JFM/FNgf//m16Rsq2lzECyWOhrmMAyn/a8zy01Doyv6fP2NxptTVij3G9EU/jjo70kx5
+f3Vf7/791frXLLWagt8qDG1eDVSRpr7edQdY1gyvZSevv9V6hGzi5AYzvdfw16ubkNq/LHoZ//8
DrkBOpHLxr9+KpeHcReV7vO/X6NriXwP5DLZYrvKTobXhZsyyobZ97f0DeEjTZbuwWqeYIxHN4Eq
+idVAJNZiGjF09FPYfXk6gmPsW6bXaAu2kSAgBJaxhZUhbxSpv/qp/+XNUDMxFKRVioEaFJgXITc
ihVTPa/0pd8A0Wig9538RgaX7Jr5SirRkpqFKK/z/8PVmS23jXNd+4pYxQkkcarRkmVbnmI7JyzH
STiAAziDvPr/obv/t6u+E5etdCcWRQIbe6+1ntgmCa+pSXIOrdY9labsHhtHPo7U7achGMyd5Hfb
BFlOOOD6Y2zT+etqi2y7TwHH4zPKOzJQK2bpiW7nc92EP5o46Qg/yrvHtqLM7dzuXNpYu72ZNlID
oKuLxG3qhjdNUDm7Mlict86aXmenjv8Aa9wNYz3/yoBC0/0iOwR1rbfF7Oxz/i6Y5LfVyHzLajl/
a1kfA5dUjLInmDaJnfgyS9IFy8T/u6xeWssWP+2RvOiwiNVTYo/y0M4weYqyspganKMwy6NjG6+x
rHG6mkiIYQ/waVeY+K2kIkf9v++skYPM/3ntvz+t2CCHru5f5r6qXrOS/3TCvl2OuYkPQUBke0Dg
Yg3H7L1IBABKZraXuhHyvgsnX90l2Eb3rTE3BEFnjERzYjcUsu4bo2qa7yYfHpcpHe+KhZ2wK0Yu
pqY3WwTBex2SciC0nt/7IjpZ9sSHWs0oqoygDVsPmIA9gn8ZGjSX2mMUzT6bFGp+t63kM0/rl1ZH
2WHIXY7ayu5Joqz7pzqK37m+MSIjXmKQPVupc+qotrfNpL3XKZmt04I7jvvB9V4ro61Thd2daNT2
d62c3n2op1gQKFjGeyJFxcN/3yU6C/HN2+PZHgP3VQwWp2d79s4N7pi4kvbFYlJ8qbumIBCVHup/
r4Up7sjS/uzwxx8XO5QfzbIfBQkiZS7lqU9MfT+uX/IkpKs9JLskqudbwhopadbv/vtit6E5WUxv
/3vp+zuO03ZpXdx2JRx0otviIUnvvr/InhH8uDCMinAo3fe0vUSnu0c9ze1jOqY2rb+gOram0m+b
ZLI4OWapfujr+kuVQf0m6V+f0swme3EuaA/HNLS8wtZH0UTdxuRz8xGFCTpF33Ck6qL+TbmEV6+v
6zomk1KQW71eMjt+c2TYvXz/UJi3RCQFsV76auUjB0XL0AfGW0pcxP9/DL0xWf55TfXheAMupTlY
Qpm7qeQu96amO34/4aZpP0ZZQrnInZ7hq7ZoFWVB8SOU2SMWzuJDS38rBOW9aHkcl5ZgrAFj8HVI
+4imtoFntf60ftFzLbaWTL5GeIdMsGJdHVBtECj7fc8r4Y9HaN7Ok1UFfxdvzn6pGbPhHBPxUPhZ
AkKpoF1Cht8/93LOKLAZG0Jfw9F788eAZJpmfiE3mEieOH7DWTXcC14DaFIeVaG4bnnfHr3cEgcS
FvjRtc9TlVcvprP1nbKep/VMb+mABDarfUlruTxZuY3/c1UZDH6y47GxT916y9dp9u9j8P0EMHl4
U2Qr1aIwxBSnbBRKxvfh2ATnrmk7AjwsJhw6vKvKTh8qBqo75Wf/vpW58rf0Bs6SevunNYzxbhEE
uApmQjQrg4k8J0a9ZRPW94lPwRupJjz50juqkrbv+k2aBf98Y6X/fvP9R4iSdi4t5Hb68kfZEk5e
mrtg/aIGFZ6KkeyHuC1J7hoDwtnskEZON9Ck8dwxOYgq7He0wwmuKizvLS/Th6FNaWkFbvxEkX0m
P3ffN0F0L7OwfZxVqc+zIeXFH0P7mtU9lSp+3iVs6/tsTut7SWjO+Z8bys/qa6Itfw3LCEl+a1jM
TSueA0BEz6V10zaYnyrPTKfBzRld1klAQOkoz5MNPoG0NScs1b/r44hoZUOOV33qeao3jsfyk3Ok
e2az7C7x0n9Ix+UR+/5TYbvWHpa23/yyfIec73VJC9qC/EmfTuD3evf9JR5QDEy5p3YmNJ/ac+WD
K1r5QAyeexuQzP3PT/97XSIx2xVWzHy4dQ/fV8xWES2ptGzx2HABpYu8LI4LrJlJFdCIqzjLLPtu
0PpNJca/rwvyMwlQ5EcSwm/qCj7A95+WEUKh2QmOohYAGdb3ZtyquJol3ccAFw9y6X1GvQNjIZHU
f8Ju35gp/jMtDIAaJ+heq8p7L/IWtFlH0229IwN/gf3Qk0+opcifgntvcOPH7++rvvbPRpK4YIuU
sQunG/aONQO+1MvZHobffkWws1cL/hrJnmKKPCZbHTDBTH4ymjomYYiDSjKLY2ME9xNkPkOzumug
BrUxpiORMS9Obfd1WH8kRRLo6VhYD/kYPXz/F98vsTN6r2EBtef7fwiygZHLhIjuqerdAsUPia0i
btr73imWm7la7r7rDKB6/m6Ygp6wXNbAprTTc1szu0gsd3kpa5uiS+m7VtbM712PA+J36YCIgdSc
+DomebnrRx8akHKJt9aSBIx49gk1queGjnFK6xHRUBMSKWK6mnW4GQMqU/HaI22+X1L0Fpoj7EMJ
xuFZKX0qyZWlB9KKiwVBqXO09VMoskAaMw/nRjcWM1JBAM2uiv23rm5PvjM1j+769tefPMNUrvAa
cWoJBrwLopDwxh5+h/YKkqVUwYo6SgejFwN1YpMCDtKFc4pSEzz7nf/eTSb7Na6hXiawwmviEKvk
EFyi+qbYm9aWbwC+H+qwCH+HNcpFW8r7MG7/tl3QHBxanqehLvWLiZIfPZ/cLz0TAjnodrga4w27
JcUR2JOrz4VI70unq2AvpNW1r9qE9FhkXVp0p++/fvIZuIS5/aup05HSuVHXMZRv6UyvO0tdezsV
0/yuchLnq85HBCqROmCsYKvPfMWMxx5/r0a3LkzIeCxH/1xHC+EqqNGQKjTus54Kf68smixCL9bm
e8lzplrNTF/JP50MupzIchnuZX7wGaIiCDs3+P39uqnr9FylGfyYLOgPPlFbJynL4NFe1vYVywyw
4Zfvt/b9xaI6v2apvButxiGWETpKqxZmWoULpsXOvcc5apD3BfTzTTtfaZgP+05FjLr7PpVnYZrX
Kij40S+75axwCyJvSNXT2BlvJ3onf4o6mhzOQG6Qv5C4RlGeqrx+sKuAqTlbNmfB/uinzL3+Kcr9
zDl5XifU3Zxy602IT9cJEPOkhd19E2XyjrYcGU3ekD7Pve5INAj7s2UcFhFrOAmrF89W25Pe5Kn8
yC4qUKZp6zbV7k3c9g+69oLfFuIPRlrWz85BVNGJGjTlmF2XZiA7oEK2yMPWnxJt//vdImYoBy0s
auzVv75v60oWxX1D9m5rWTSwM6ke2tBaHozAxPrPO9acKu7ypE+eW96/yLRFZCcfX4KACrWR0Q//
57uEnO4yoOHrit67DeKKBOSqY0cuE8kMTLvO0S9094BllrRFP8f/6v34vuFsNw0Ow1RaB+WO8rUm
N6127SPF6vR3/ab2U/M3UTOvJMlpQkdLbv/s3DirUfX7/Qxech+5hb910mE4+UPXP/UC2dosiQEP
dABrhmRoZnshGZZjYZsvKJ1aO/nvbCYKKJZ5fXVbUbAaRPOByUH06rrOj25VXVi9H41PYa7m3Wg7
yyO+5pcm9eZ3ttb0mDgT7nXMpjeojqvo5EaE0Tbly+Jk832W9/9+WSaPIW3T3y8qr87fryf/+8PZ
7WwyRT/b3j9+V7C+9voL8aQQZpLm3pvb8svraS0urgeTSq3xcEGbnNV6Rw7dTEBETZ7TdyHQL9Fd
kvM7JXVr7kyV/vvFDheidUmm22nVfYrK9l7tIiIa3x0+OSQpa0JxEJGG1aw3aDUs0W1KbP0oV21L
U0d3SxsuJxfq6m5cFwnRmFXKFcJ6XkjmwzLtv3Ka2GZDNr9zKrRPjfaeXG/4StbF6PtL2trNfcgw
tlgXqclBbZGHSZIT+Qe8TIUctuOinh6Y5ru3Vip4bmH9bockLrZ6gcsT+hF0nNhLLy3CQGJ+4bjY
zIaz/73XUgesWNU8HwLbYtTtDssD6FT7VlljuXfLGcFcHXDKY+lz2ud+akpSC1xnq4pwJKyekHBb
k5E3uM+9rLr7qdTOdVic6nGWyd333Vo2TXTs8s7aGx8heyKy/FLP3u9EcenRCshdRrxFGlTvxpnA
DgmFViqJ7cccP+9oBcm+HfV49HhKXmM7tnb/XIM4Gc8DNdrue3H4/qIrh6K9i491EJnTd3MiKtSP
MpbiYjukbcuUiE1vLXhHA1RI27F7GLR3cUsf+R3Z70wJbAaslrwx1cCuRUG7qVAt+uqXHPqZyblg
4iyf5LjUT9GU3wSUAn1VPwM8vPT1/GhC7TJ864Kt6ZYnEzLfHGu5a0ukBTWyWD8ZTpNTEww3BvPe
m9iTBsbvxHCS9WHtdGaR7awZO5iUKK542JA+Jw8x7lnhKUbk0g0QIMiDE/MbK5s7wO15vP14eO5b
CBHGI8d37h8WVzLwzlt1sFPOVcq9mTOHwQYRnNt+mP1zRujmYCKS0PlXLkCiYWWB8ZDR8mzPzs5J
GzLLSQhbYptx3DSAOOutN6eWj6qoaKsbRbrihBDLTmgQCmQTA23rJpU3HLzyTdnmpKdlHj0YQlaZ
p3N0Smkuyz46yhIWUzC5B44Y58n3DGwvMsV1NTMW9oqtLT32jQlBSe2B/WmQFhrJSZuH+aVcsolH
tftVD4g51M/B/Vm320qjVXIryA9+eGEKkJF46SFqjKATEOfNPRKj03IAfaMeC0v7bb1eNk/9pkol
Uwhy5AZEyltBYUZpQ5HU0cc4hTH/q6/CR9EWd749jAeiUF7m0IYZWLfrxvPVOOA1vOGig+orqNjB
l6igbMa9aVDo1VF7Tt3sZ9QG9x2Ml5w7wJlKuFlWCdXFWrbWMn3SNtvofBabrgxb8moJ4i1mF82K
SPQ5m8Mr3YCvqa/e6iy8Nh1eiIitynNABykXo3sZjowIhY2k1DoXHfAfPc6nhCYJxbNjb5d5fBs5
KG8bcgJtXf4Rmkd98ggqDPxfQ6WfM2IId87A9GKJX6yl1Ds/Wn8pLzikMbrExFTwoIvsudLOdmah
R5tAHnmdNVzoBnlCDWwSYkdz1zXsZfmKpDBICxA8k3AvJR6jGRJKTIxu5DtE/0Xtc6FMdj+wpDHu
Ow19m+7GCMPHYMUEg2Z3MMs5DXnI7Bz/tRpbkG8tQCqzDsWzunM3IaeLjV+nH8Ly/QtIOHdNokXq
h+SJ0TGfZfalawABqsR/qDMiIZ307Kbdc+R2JKcPpb9nOX5rp+WjLImV9Vr6AzEcEj9T0AdrZvkR
f+cus4efXiG3SUqLYMxEcuO144MjKASI13+qgDWjQMnfY8Lg7TkilSJD3wxNiOr+Kx5Bgy4ZDgSA
Ucd8cd5N5l+Gpf1DJTMe2zB59IORNxLS+3K99KvT5NuTkU7mX11CXdPdcO4rcvqjWe/Dtj8PM81H
F5kNgc0pwn4LTkBw6SeKKjNbf5xm0VtqoKtA7nufBQMZjXT4UlE/Nnbo7eiQQvCZlt99b//uYUpx
2VFDRt1yShqXtGlNLvDUX+fAQgkcp/ahHoDI2OoHC/ODMxNvGma0OgBFRAOkxbKOf8qygw9WCCBO
SUu6cl4ku15VCFztjKNIsGwnSi27z99yuhe7pPcoaMUx1+1DGBaPluOiC4CSHojsx6AooesUpaQo
+vCQw+DdjDPnqhr/sMryYzAgzB86eOWpFdCFrV6TbEHUHOzq2pUIqKU4Li3cWc3ZxELXAujqd5lO
OQfZQzZFp6n06R35d0MrbNQN1fsc1HBwLKapPBuj13b7lFTgwtXNUcXLUQOcuXjJex+H+8Uim2Vp
ACDVI4WapNEUDpyulqC4rSufzdDgpxJIaKPQ4A+ssgdJ3nbhIJFuLXXfRNz96mXyneU1Ik44bf54
wzIencwiJTrtJgLIDGQML9st3TVNxSdXtlWarOElvjQCep8/lUjPFRtL/xz36pnPcjgHKTSiNlmQ
TiPw7x2X6zQem57eegGHi39gMM5jnUhMFVlxsr2YoKw+/ai0TY6Z7X34AjyWjOP3PgkJAU5bliaP
dl+nClR/o33XtGhgfIR3kVqQjydoX5QOkp3LcWdNBiYYO4ySnZV5IK9suDwZjoQ1q1XV0WEmRBtJ
ICKuOIDcDKgOKMD0rFZ9WA5OMXbQNyH9LKmUQLag5hlm62AHOISaNXimSobsQZEiWkQ2hCtR7Hx3
YRLSXLW/AnuSLtwWVhfCbTDcfu3fJVcgJWjkE4urSINXJGMCEgvugm54RER+kzsz/dE6eI9FiJMt
/0QeXO31NNS7tM+Y1Picbifrxc3dd1vD0OqYJ3eOSIAOS/BYcfjiLEj1pijJKQim8zBSjc8cwsdm
Hi8h123jDdMHXIH9LOyEekzUqF1pRNWxfo7jTRzN7iGjdwiiWJ1j6csLI9A/BN8+VbZPAngTkkIL
IwShsUfKebCg5PWaJzWN+0EFV3LdyC/E+HNU3aPVIwiK+hrmQ8l4RHTJbddpdzfO2HX63PoKxPJU
Lu51ssGNMSP7MVhVeUbDE37VlXeNQyZams+vlN1n5TncOz6BhMyNHTBxGTRblDgp3Qt+sWCJLAIT
TXCXi4/EtW/bZiiALnBWBuvGttBcVtnV4oRomjjLTcJmEzRIcvH42U5zSBGY3HAtWV95iPCLXKKa
513H4FZFk6S7UEQfVY6nolTduipGL4GKH0ObzrVTMwzyOAiOMeeQLrmqgTkYyaYH1dIgi6Mi3o8c
1iiRky37CUHaMrxJsvaRZ9DZtYMBpFyh5++y5yFbuWYr4nBaLKi9GTrRtDbXpPloqqk+WJmCUmKw
WuqWII4ixQuVOIiCEs1zOkzzPsmLXZGht28KaW2kDy0jd5e7UpcfJfacAqdbXXbRo+gvrfORxMRQ
Ty5FYlOX26yf9mq8I0iQigcfCG843XhWO97kAyjrxFbUH9O7N+WEmqgsvFOmuzZmwPHiDj9oXuF7
MzmNjSqJbuaOqDEJsOI+GTELzW3k7ei5n1WI8K5aQM55wURuoAsvpLey4uCu7aYJZDSOBEyVIYGC
UgM/jhYGlg0GzykG7uPqEh8ZKq5d6RS/elpyTDkM1hCr/plwgR1Lv2CT0aztYtgEa4mDZeRo+zjk
Zi/19iolAW2REYxD7z3roF6W3ProWAml307dHOxDC7ZvmyQXnG3UAtr7m5USuHUr2OHoSBomCrvJ
X86QOVxqcfryoueTr7mEjaeHzeTFj8jZbmv2YG4fyAVTulchsLwq607jpA+6zWuK5q4nDLnYBesF
1754T32oCqGmVnMrvE3djCkpXn6Yprsk8Ib2cOa5md3g5xglZ4uu+yWX2R+ONckF3bze+JIrJwf/
uS7Ei0yhb/m/TK2QewQWCAwpr1HZS8CciIuZ5931dcXO3Bfg+YJp2y1eBjNwlYYmluQZH95GqvHC
tYuD0xUJkuI/FfthgZVj07oCfITfcDbpcQSlqwbXcumiKFMzoDxB2rrzA+ZNiqPXxqgIb71pYKOy
0Toa6FQcIE+1IV8kRfjS+uRiR+TCb9rj94PZ5cg1c+0TjN2k16xoyjcwQFUevg4DbRgT1OKmHu/W
p4VU96oHMWNjytFW8pqU9Xs+q0PNx5q7hD26sXMM0+jQMGrYSsuoo9OnVy9i6iEwFpQLEzl7FPPO
jpt7jg+N8G5J4Kw5L83RZon8W0Kwf0c5Eyq36H7TwIhuB+83SmrgOUnq7Ois3VJQTYBYwAjlu3aT
eCUlTdJC3/DV/VQ59xyK8ZjaHZrF1X/lrba7gWBvyeBn1xLWQbGEV+228wPoZq207hOT/g5keWd5
IVO5zH60hn7Tt8RyW+VwWOx52ixoZXZM4H8NoY0FcOYujeffaLRPHY9CIV2aeITkegFmCmE/V8UT
WwHDAMpC6WU1WfH5GWcL6XVl8ezZ0W0yAlNvw9Gl7TL9KOhd1PUBgeugnV9xglDSoql+iDI/vFvk
i9st8MJRFNvM3ehn2NcBOqTpKBz6vcjC12AFBg1gsbtwkUdyBDCiIshl/eJuXB9kO5p+z/httMMp
berHQxlk7iUcmFpqYIFzCdyveJzFMTQKc7GXnsMcbTdmwHHvywRtTwLAqbGvY8ucXFQnl1nsvg0w
SyZ1H5wUJ/SnAI7xjDFJLRyslhVu2Y0W5o+ZvGqOgV89fBCNzOx24sw3tzHc455/e2GcoZrqrSFE
VTYy2PoWY8N5asnwameecgUyz4/62yG1yCDvxEZ5tP08G3UkWKJsAwvOW5tJ4dmDP3cIsvQDyeSM
/Ne9ygRUUUytu++Baod+jUGkSrfEUbxKP/roqv7dwlftal0fS5G9xkVjbUeP91WJ5GegoyeEBM2W
Zhz+To25ZKz9S2/TL6us5U4HGA4ni8I3RSZ9kBWTzz5m/Z9Wz0FPM1J196VOuEftNfYCUog3Eau2
euR15EF9oru6b6suPSgAuGAUMMQVMTA6G+ylpOSq6LLyOXrVdlQChhPuTiJePY6lLF5S+BSrffPe
pVWzycKJuTDjrJuxMmhi8G6reTTvYfObhZRNtmTB6jiZhZEh4y2IpssUpBNC74a2FXpqM6riNAFz
ZsWcXvqhvwrh+jfcCB+rVLwYo31f2FdFWBz10O92GZmryx4TVgIGwC55KPLSPOf98DRXeXu2ArbP
NcXfCZG8Ozgg7PRHZOpys3jE+Bq4OT5gn7PIYhDqI3Jqsyy3vZq7H72G/W5zPlTlVqaNvfd9F6s1
x1p2Ks6WoXxunNqckggDoyqjL6Nwhnsm7R8jk2/92PowCVIG368pcnsUydreO3ckBI5b+uYQrtoy
YMpTvRWcNfAFIoRY9/ESdnOYrTetDUHQzobbsqpobGMQlqwXC9sgOfTgHgqkht3Ql7uxxm1ZWOiH
Qcp6Qh1ECbTOC3PYeDaVRWCt/GsAMLIAvT4m6MzpwfRn4Tt/nVKc9TB8miFhbMqxd1utiBoLLaHd
VgHR9ynXxK7Sk0+3exOlOAvp9G5a2f6t5vjLiUNKVQebRpsXZ8YGl6kJGNiOhKBIUAPAWiz/WCpr
D6BuPuskZJQtu7+OuOWAGSGz7t+yIn9qLZBFua+vCb9nkBr3mjUN8fy1qGA2tV+q4PSBvQvqZCAO
HqylA5vtr45h2tjWW279dF/R8aFd/LfqJognDt6zYGm+pAtULw0ek4GdaD0Gi9bHyjE4b2VGP04k
qJwHEgAgIb4uOIhzL3oMEmT8tPJWEIP10hZQ2zP80bY7v7tNxyMhuvvQqotbWTYkdubLYzVnt6Og
rNNC/dU0WW+DkBGCFNi3W+ydQ5yh9cH8vZezbFmmixoJg3XvOrhcogAYqzuVxxpSaQhQr0LeczAY
2gI3sPdWA3AsJgDfGP1YWCkSx8l+Gc3APsqdDuTFrGmGjAsTpTF8iT/WVJ2L4Ucmc4lpGRBcn/HZ
WR5It4S0zNzjCI1uhesx2c9jB6ozhFmwIWq/t6fz+rcLI+BwizPLvaIJVbKkjgaZtGQHxqksOjZb
nIiJwa/eNP3PyP5rcgrTchr7zTBHikE6FatKW3nIqaybwfypUcPCXUiqc5cCC/fSEOLVkrIY0e3e
dR5FJHojfzd3BRVKbUBhJETXjhIjby70oVvgni65T9dwMK+Wq0CsK6rYHMJer70bdgtUJRcSv/qH
fEjOHIPCPQL2bCtN8lmgwNu6Q8vtPC7HxgK3IqcHnpSW3VOn20w4aKE571TWMXC6VzdBSmU5PES+
5b+ms8Iqn9tPVb78AqAKYqEktS7vWapdQwDf2o+pAVnZo8Xnv6qlQ4ElPQV/OCMqpFQDs2YHn36P
N1ETFxqCjiWMNGfnkcGEHtm8TLRxOYZ8yVGLjZEdWbRt5CJTP4RSfmkFSjD0H+nvMMXGEeGUgblp
gwLegOfwiwdNyHiRG5L/gu6VC62OLQ8SGi37DquUYWeGZHDh+J5sJfScs+3Ut4yygdStD0Y8eRcb
FuQt6J99IZLmgpFigFIe1oSgts8zFlOd5/d0LZZdvkAK9efgVPbiXZbLNVeJvdfSg9pCa8y0OXp2
e833kaCCTfqEBuC29qIHr5wCOofyMwiH5y5sroUEvBMzpPPy2t76k00fmRIidVgvx9r+GtwFqpkO
NQw+rrJVpT+NRUSMwi4Irw/l2wRYruCI3VjDzVLjhynC1No74/gcMtMj/GLwdgW1NMon8ke8Lge2
lr9PAWgMkGcE0sbDZ94N7aM/HIk86bZznWwrGnV0TdxxH0TMBIISfUIxndD+ddstGfRqA+BsR/zX
A4k0WNFp6l7ov+O7adGvAT7bWko+Lt4CP2SC+icV53glf6f5sjOGrdXL1Ia+ytcYaUx32WueLXuL
3Ae0USn6qyp7LTHN3Ei4bU1L0SUqXFqxNMsu3MYqybdtwKeTyezFcYYTQ2laGbZ5ZI5OhRFR1afV
8Dpqj0FFkkxoDEWIOkbZe8z+Y062b1Jy5F7lSQt7pwRmduQcPCFkfV1C7+joprmA0wppQXYPtWl/
AZOCDdlg4JQGCl/IFu7grdzXefGTuI5P28hXYCegeqYGY0WG56bLWuB2cf57tkR2G5XeTWPyd6GK
+VBbxUekxFEsQQqQk3Odo+/xrEUbckeg84wtba7pPNYDiUc5lhPP5cyKjc8QDMG0Mqrg1jd9tfdm
SW3t+I89OPuNI/DilVP2s2jjjyYEjwJipstqdx/mP2blYMNSFEszDigdDcnDWDUXwxWxeHD39FRW
vuzOuDUzWNtRd8hdt3aXvcqWmzoSnCXLLp62tFOOme8fWozfOyxRf8qlvKZ6ck+Zx9rnCnWK4oV+
Mtm7PPadf9ClSXcE0lFw1cEfjzSDmzab3kWKjsVL7FVTC7wRxTez3+5vGYXgh+mrS3s3OeB/83g+
0Iz8IwxBNF3cPsRmbsBN426frEjRCDtaeUHijrSHjYnwurCDdUIW+0l15dak6ohsjlrCfVMt4DKd
5XhwCwsXW6VvvAbNa5vs3Tmgehh4q73NG/OhUhfeD2xR5IZHPzLBSaZzMGmHFTN+RXiDI+P3avE+
Gi7WZiRwkT3uVRWR2NqpD4wldsRN2zvXaTH3lSHwJBiFcyyaPwA/TtXU3Iiht55i4xA3Aj98UTHt
tpzPKCn3XtGbM1XARzIbsS0T5BcRAQNey2dYLfS6sAAmSvBDF3zy694GtblxW8ZDKV5ntgk0D8Sm
8FZPPeE//TJw+pLRX1sHNy2aTuC5v3sT3bgqOReIZf3ZTOcFAWbQuuTZrKECeGzTmdo0qryOi4Sm
YsK25kLqQYSMaadknfeLeRcq5lUq07AjIS22/fBn2GlRjCCVRXyMQDFRMAXA/erLEE2fNpKunZyL
26GKP2IdwyuYErVbKv/qO0hDU79eNnFo9rpjIEVj41eKBX2LspGTnvYPKjLx3aJGVkS/R5MMg9QP
rnHvoe3USbxfgKUninHGmCLrWOz4TkTJG9sxPte/Y1WEuyqjhaDh/RS1j03Zq+lyxMtTo+hiDB1R
XSagSncFmqkArFSTsJe17ehf2yD+ihiDIgkZaZ9wknU6A1MnSJuTZiqHepDpyOQRDORTN1Fopl/R
VI67JE/AW2UdMi1//lSp7o89b2vSGwgpHldQv9KRd+mhEVw/DUeEnngxYwTHhin2JkOzRi1+yXL5
Go6li/aFqVlriRtkR0xiJyq/Ka4O+rYq6GgPiBIJyY5fSoZRm3rgnuXsC3YoOA0dd/EwxKSh2P0v
GzfyhhbRx9Bxqzh1cpONY7KtOxbLJVbXEL3WhdYCp6OR6pvor0C3PHIkPcWNc8eqVh3yfOAsiX+O
Ccor8QLUZ9DsuWnXZ1LKfZaNj+hQR9j1pbcL5vxdU1lm6CHOo+Mcl7ruT24FuScnfR1BjH1sa47l
3uCj+q7VM3j00qjn1rcDAr81VS3EUZ30l6Ax/mmZpptKoMem3U9zdSHhrJmagwzdH0Inrzmm0XyZ
jn7u/fFLdjw9Q842/oHEHCYA+Cu157jw3JkOu26zR3T/VGmEB6TpPcwhAyVLZTea7vlWh268S8Jo
K7oKnJSY410sghALnUNbwWtuvdLFyZ5W28Dh0/Fgm2xG+rCmg8gdRyNDlRVa4k5jc/aQfWUzq7pb
Rzd+1Pwgae6PfmvSMb4ZPYBbWrkhUVayQqpeVXdJ2J6X1g73/VoSkjvhdHRwlwRKcO4imloE7TLd
oELl2KvneD9IgSqhMMOhD8+ONu8lXfiNiwba9qOv8P8Rdh7LrStNs30iRHSjYacSrejk3QQhbQPv
PZ7+LoDnHvdF/GfCIEBpb4kiGtVVmSvxEVchXnan/DIG/QeyEFK3x+lmKIqtM0D3SHRyeZzBXFs2
WDE0lVvd8p5lPe68RpCIWTLpi8tTO+GzaLzSuJGdt6+E/qm5bP0d51i14USjqpe3ojRf4rQCfp80
P4YFLpPAsR97ogSNdBXF/OjsG3lnEmNcB9ZvPXR/RC0rHIgR1tlUO6uSlmpG4G7Z+Gwr0B5vwgL2
DcG8+aMXIw0W/oYWOJuey9AKfZ2Pg0PirPmm+ePvluiSOalFkLveHQ2XcsYsenlTRkgw0+Klcr1g
RWvls8wZlKKHpklqxmR+9l+aqT9Z40i9J6CFDDWyFrd+qriQqBx0KiWVpKuh/WUSlTs5wQvelNsm
j/2da49vRonKsun4RKqBdoWk/9kFrrvyNdRlXWS8xAhSgkp/Z8bwlVclXq1QWyN0MOyMXBN3bKGa
+dapSrIXq0aX7fbGGg018tTwM8/CH3FZbSlpCMfNxwkxC/3/Ycjh1Fr32QzWIFauz9i79JoKNnJM
DyonH60t0IeFk3UgvZEdC9bruAJe4DTpNrXEtrOSCqkvQ3NaVczuWYYMBnZ49W/LjOaj6yaEjdFa
DgMuCiPnqossfj03RZCu9EOHD5w/JYtxw9w6pIVPY7MqZoX/RtPC6eIqiKpRE8B/0tYp/PlNmAc/
a6bEN240L/Ehb/JEK9WPhVoLxDkqlMFhYNjh60x2IqmfZFK0tzBe7pqcZOOMUZ0WW19pX7CnmIx3
reLjRNq2WqE8tLmbU/DEGdgF/YfWSWe+Vb/k8wwDbV1yU+pltGO7ux9q5cP90hncFbTwe/dDjjQQ
idcs752hyVf5fM8Ji2ZjK+1Lt/MvV1e/M+NLxfQ39V4gW4+rJwuZjJbxxyu8lqG4qA4guhgXMf7Z
tlb15Lmi3JcaGdNe2mEzPbRFEu/RCNHm1CqTDr5D3ojwfobxwJyg9k+gZwZtaIG12LN0FspDxRth
Wi0Ju2nz3AjN2ISEXzLGWSep9QVcCAJNbDxOUYHXcy7HdGIgg9p5tqfvvHS+mVZbJ9f48hoD2GHf
PlqRSjcFqnwZsMKALimFdZOr7pJ4UL5s7n9lRS6so7NdVPktG0xsho4+bo3Q2tq68M5OUZu3uIh/
xVOTbCLyeWk8P5QN9IJkFK+i1X4V86S0jMl1ZCtCfGjK9AYlgb3SNO1YoXSvxgbgIG3qvT5Un7pS
RALbRvkEkBAzyKGyce+bsrbIFqWvYja+eR8ZHtipIcg+HC+E5ZSr3zkAPnoe5pnhMl6WmgWJaMx2
Rm/033bprIwgl/sA83tMa/VEIq5/KrzJP7kOF5MqwZnwP/n4aVAUUmDk8SoenXciOEu0luzUTAYb
xDpZkAYKFP5VPGyysrHWiJ2TR1k3K+RC+RnZKNjwUZXr1Nayc1Tph7ZO2h0s9RroA3o8V6NkvB6K
BAtNiia6z+KWFUATu7zwtC0RHPrxr2cOwdGWqNFCzPasjMzlM72js6CjPEtPUUz4blYdZK2Pp4SM
Cjfw0EDYNuG2mYPnpZkvF31Qb+MAF8AOS/+YzIcOWe+W6YTIj2crSsGUtsSxQjWk6ydNQ8kY9gUq
iUFXO9AnJNCiOmw5c8qcMLxjYEaGyawABd5mPsXWhaaYQl9kM8KImybblgWRsYU7sO9EG2kTSL3p
lFHtE1a5la27A5/4sL+wb88vo4EQrPfz8XN5QcdofRvjGbgfIMC1k1c920Tbn2MTeQKyZLG+/j8a
loYTIHdtDbVIXUbIlGuYjLwnTN4ApFDclXxk8YyF4XNpE144H9Hm4hecvzNiYKNF5IK3Hlwzz9GS
jT0LOkgWri9J/fLH+xtq3T5rJJdPHv6a5aMvmNiuR4sIfdGke13yGpYTySdMAn9kkbphH2J+FoH2
ev1n+ibVv1I1rXUpp+8igt2muEU9tUgtcLs49XFowbsiJCRt1D4k7JoYPQKx0wtKLQuH3Va19Skx
hPmu0I3EdYUPxpZ40oLePlZ6qi6ootnzao63LkmD2LfS/1m5hf0A2TNiQa9nSGQxfs7n21jdQ9h4
w6jprmuvUy9mB8FUw9IDOk/XX1RFDdyr+CNrpSReE3ROWPj6hSs34j4/jTsz7mCqjEZ8nAoS3Jmb
cpx6BTvN5Y/Qmd2xoW137uqxure9hj29C3yyo3cZOkW+ZvOiCF0t0i2ZcA9l1B79Qf8UWH0+J2OQ
hFL25m1bRjkUOwwgvpum66KrMih52EMmQ6TsV/W3wuo/6kWSL4aUGbVL7o5farOUFimo0vmX7Nq4
y4SMjlqHXDyLTW19VfhXrjvB0KCVP0XMaxRTPV3ZyUuFQBc5dihOKkrjO26B4Sr2nLtxdqykbGHk
DX463vpy0zjD+A4HJVszRrV2zBVx2EXRNkhJF9ACTJRkojB0ZfQNE27WikyUFlpuehuAodA/plqc
EOsG6wls46ujU1OBQD6q0AAJM8tTnXXUedF9NBaOg+ZKm3v93Ao90x/3kQ/safaV0aw5COE2Bz3u
3W2cwfQI+0G7z02udK1G/clQjphfBlU0oTNG3ULsqhF52ECi+VD7WMq7Ei0WRXCxjmw8FKqzs1Xv
Dg5EOcc/m0ERnFC81CuznKCD6Zm3KoqCkNQ8+GKxyM+2bg1bNhxoExItvTe14rYnWfo8zUfLqXRU
v7IOCutIv2nlhJiD2iZ81XSF8wov011RJdZGulP3nAu0t6Zntc/u4lBs+qDalmgKmXbp6g3PVwCi
0au24XyImh686GDH27if5o069ghfRRc9FCQtOaS9yhI5XWD59YMck25T1OiKrmuc+vMY1Qy/sRAt
1oR4vSxf0tLzvWVjuirqqjxe3/q+coeDnjNumyW6kVawS2GEf2rjhDt5Wj06i+8ibpxs5/f172VF
sWNEzrbLVYYHWgCUFfnGCGBJYed3/FPTd+1dX3ebIB6pRiAJ7EwZ8Y5PbfPsda8dzozL9a0YQ/7J
rmXe47MWYxPgWWS7txW88V3DOnKp5ofCoFOkejQ713MY3Vb8lO42H5h5pLVbXdBsqbWdl/TRBwqY
ZiLfGf3DLWv8+KnE+8yGaqJe3ORmE/10jZ+LecgKph+90svX2B0zwIpJwrCJocwi3FaD+aGHVXde
Lu82cD5MPYUW5MLyMcccO4rlhdFeM1lHlitUc7KHoS6Sx5Qi+t4u86/Gfa19Je/p2qgX1NgrpIna
/rro9304PtBX71NCnWGB5/AAyVlEZVDJ9DwGASCiaEp/jMndGMIWM/xm3C+2piZzrLvCmu5Zy7mz
BRpon8ZiV4jTZtq7PkSzpgi7Jz53u+Uj5sw2wDwvIYDPH7FEoMUaPfbdG83xv91ETl+qKp50r6uf
0TeY2ERNc72cD89RUTRfEcaEtZbo455wSEV3qav25ry1dw1f3RFwAVOWKU9Cn6g/wuGEQB9nfzwg
ibNuWtX39BjklrsWWhsZjde1kN1d+yicD2Uq8wmEd7HvfCDBQ/+cdYP6cuhIQA/0hmPvO3SEKYR2
i991MTNViHbRv4GEDGSwiQjh/tQQSZAlBGVuMZQ4jVTI26PqrNFZDgxp0IDofuj+6O7LsRBbBF3W
Q1aR+muMZvINoJRBeNc+9CHw8cgg06LgLnJsPM96xfh3E3Xt8Ha9LZghtzEviSJ6LUW9rVLMFkNg
XkI9zu5p32b3ddf9MAILR9pyamTHgaKq1S8uUpd1bTjyocOmLgm9fprmB68GsArUy76rO2bPA/3+
YqgamCoahZcbHZuI2/dyNLAHPEb0irLyeTLk0Y3L8HsM0PC3iLzPKunkqfUA/NHj4v46RdtChepN
MKfb1pOR7kJNi1/n71y+YPnOzEUKFjT9TT8M4WNna6fFeKrVhthHKcNMrXTVW4VGZwWW9KzhuoML
5fnqBtGTcdZbpJdhOAN1x9Y4g6tEb0vNtpsC/dTOnioVs8+xw1nfOFbdCb+7eVuNrvWaJewnZHLM
WTse8VxWj0UyHZcF0a4Se99XWrpyaAesy5afPaiQDzJD8yDy6doThIadWRQj+9Gq31mi7Nb5bB1x
NVYxs6r8k0O2Yl8G2TNgVFzkbVodK9Vkz8lYt+uMD+5GuSJ9zngHDiEjgMhwPhkwmk90OM2nYqTa
n+LhoZuPAkFVN/dEjcmtUVq3+fvon8QQlh9ZXMf8rD25on1ffkghPrISREtPs+esZe7d4iwqDe9F
7yrxOrQm4HEWac/0voKS8G01+w3rec3LQQ9UEMc3KIuKi5kn8MiyvHhzDfsrpfv3u3zNDLP7bars
WWfW/Zayr19Bx+hPOXvvgylStZYIiddXl9+1eBsD697XRHiu6JXOcvTp2YscSMq2132nAAKnOsBz
NibFOtSD6oft6DAxTebssfGG1c3YTE0xbZZlpBus9iawNHFixkIqcQL5QOlgvRQigc3iGTbnw1Ir
Nfrb9L5QOvh3Lh0MfCJGT4J9PL2niQk5GogqutjINnZWIY/LbcSg6V3H1fVgOZPFNBSvv4cOyvQ2
tqKa/NwuWvu5F62Ww+VBmJq8wyvY76LcJ4dSo1hP42Pu95R4TgRZtGvdcDMt1YcSPRVpxH2LWee7
PjpksQdFcqqKIjnS+PvwICkOf9q+7TGOdyoLBDoANp1/vYArMa6Zcxft8KPESIxqZF6d+8GI2b34
wXqAWnxddVVSojTPp+js1xaEYLZVb2UTvMWN4f2q8E6ZA5p7aAgmveWy4M+Yu3ujSpPX1pVbFl/q
yvk8meL7ZMJHw5THfKq6iKmeT/ttqTKX2tIytuXETHcK86+R1fIWhE54H2cYJ6VJGZJ7iQMUfFbg
TWbrb1VBxgA7ymfXZpLdi1zs3cToHtzG+t0qiyrewlaAggkOZ1IOAf+pZt45E8Hpy6FTGHgVxrbH
lEtPi85hJzBcq9mP7aaAUf/GjPkDy/J3DIsxg6X+DmFxhWNzZXJPFkR5yAW69De4UlswZ1eWV94N
2fA2jr7Vr3oFzTNLUuiRcCdoQlg0YnUM9vO0bl5kr373UnyF9oMO6XMj4kEwMfaM8xVf4ZcIjWB8
+KdYhuwT52dUZeYajF0INqBiqxKH2UcpyJ7tA++XZUZEEAbuZy96LGl+RH+Z8swNHPcudofP5Sho
P69Fjwm80nYraIbzH1LmGzJ7/+uNWTKN//HGGIZSjoEURBlSd/6dOJekVcMG2HOZkCTOukAQY0dD
/qsyqUVLr0aHnFTVJjO0+GDA1zrlQkqs/c7wjm7q7M5fazX1KR3YpQX04ldhmAVn28YP5vc5fWDF
ezvv5BX7kntyrm4XYoTVIaUe/QoGhlD+yY9NuKnLnZiCJMfH1Hf6PjIj6vQ44WW8orlTynsfgW1X
zI6CqtzrrY1tW2ur418PUlYGxkBnuDXsMrnkVarjBECg0PUyufi1KeneV35wMGq+bT5HYZ7uHbCZ
2CXG6sIw/xf9Xgpsif9vkq2+lny039wSbXAeoVMfC/CxtJXoKcwOKuGol39+Z1amxtbDXb+euIdt
aZnGdJgUwQcxYHk3rc5FQL/J7iSc79lwrpf9ANAw7gClJvHjci7oUyIeTPqaJkS//8y0+yeyi7+z
YXI9OC6MI6G4KP5FiusxifcxoM47pljpjGAuw6PWYHl20APKgOpfIyB6E4wjnH7uv0xDgfEEUh4r
swZchF4cyAQSKnZUBag5oV5KN/zjcCmER5XR2+aGDfrdd+i8G+AwF3soSg2wPBp/SXsI2QZn8NDn
Ctbq6ExQ/4si/wJ1zeABvAIVu+YcC/QLsPT88TEdkCnliR9jXOjFM6P0ZxGK4HuyvHmkkg8XTEaj
5kRgYNnV53ZfbTMXxw+cgg+NmfyhbQxxRJvF4LvwIA4bSBRdbe6iLvQN3YSuEjnpfRsOKR84v9sA
3mgZ4UFHwpm6qIOqBwrS8i6Nm9++r5cXT2AqMBE8QH21bmOZ29vlsBvD8dil1uf1CDX0kwrG13aC
85r0Qb4FYd09G2lRrMY2MNgqcxhFEjq8mXq3y6u6qAiDyJLopuixgkursS6Nr2wsnUOyZazr7WoR
Q79VNP8zG73NshlsQRXghITCvhwW9B27Kh1nhSLNwJ7QhMIc8g1ufP3Owuxrzi5oh7LphHDiEobW
tJVLv03K/LGX/vAy30aWtYj7I7Nk5SBy0fT/CK+R+j8RfrbjCF23XUuatmNLWzr/ysLLukYWbdMM
m5wFdgtGIdkKJ3JO+QBz5foshazh1RqR9XPBjMdPu2v66XE5YhADtraaMvCqHk6rEquiZsTjPQ7W
8V5zB+sQKXF2TQ2YyyS/ykg3aZyPiJBabPiGJ6t3XD7fEf/qT4Gh0a2JfUWAiMDGr8ufrdv+VpLJ
i/Ti7zoTD3E2dg8q9rUNS9Fw6ARRz54NU6nGL/Kg0+S/RTdnvZt+8JrYDe2upWmre2I4JJZMV5Wq
5WFUqXxq4u4xnnpodvhwGKNIeZh6SzyJoHk0iRVg2XHANFBxvGWqh9jRRLBJRFc9LJ2F5VyR678p
ogTBNME5mK/aUeXBky9x+l43JAg+A2gQDDCy2AjmtqDaatyyrs/+Ond95tO4K4t5OGS2I1NSd/zM
oh+Robvv5kR4y3K61v3jtUwiogsFhpGcqCswjc/PRrw+12fLuTGJJXaI1j0m5r0bdfFTrdr0ufIk
94yuxFsyH0IzqjZhY+Qsv0QtNn73moUj3WNmuJ/LM6234MTP567P4uHVbj5CvQcuPD+gwagvTan1
GBCg0i/n8Fj/B2tTLgltf7+FOjaAOXuuKxw+t67xLwpiFUlRsYHImK40M2QkrU3rh8zlH1bvYmBb
28VxtQYaOYOogvj5CiDIDcQfeW8/meGk3frEjaJzk9kmqzp5UR2F8LI76RkOroc5Gquc/Ne0l+Wu
bc3vPKQHvApmmMxyzg2db7vQfl8v2itHI6MuRaGZ90e4P8k8Clge4jELTvSYbmp0s4+tV74TECLP
qmNJawLiFRa3OpbvZ6VpI2blALJ4g9INiKNat5njbWRQ2NtGT50t3QAM2rF4WJgWIszZwGjpeyAp
bX0kUiutxlpcqTB4SmMGc3DumrVuyOLRtTfZ0llkG4Peqjlhtnh1tQLrVUr/UkfVtYwvlsnFWLQk
Q2i+aRA+soM4xVvpedq3xQJPp3I8Zpbob8owG9EQJYgUA2OqjssDStloc71yAo9hzogWj2gbWMyE
ff3/h4DNGG9tuL7yCaZS+1KDpLeyfJ4sWzsmg78iFKk/hcMIQgNZHSpGUxdorYXZPZa5cO+z7psB
Oja4oqLm9dAUgjtF46Sl57is3U1QWCOJKK44ZD7WuxnXpCV1fSdqxu7FfFhpXrdCs+3TQQ3Ch9rp
0WKgjzqaU/Ry7QgxuaflX0v/tcu7Ci0+XdK/bP2Lm79264Nf109MFqatO+rcyObG6jB/PfZZ90b2
nX/ivvm3F4OhPURdEBFJw5earftffN6F8/vPK8UhW1RBVjQwnJni3yt7rMeWGkSzdzWju7XsAutm
PrqS+22GaBQ149mrk+1SJAzu5D4wNgToYU0v0041E3gH/HDPPtEUN8sG2cNl19cJge5sBmiSJ8Z+
RiTN497k3i6kv/L8sn43yuolzQz1W0QvrTddwtzbL9eNmJvbyzOrn9Yw8tgVxDqSPGkXH178UGJr
+b83Iva/NyKOAzBGSVsgWAMH+T9BgyoKDDPyhn0h+5PbSfM1t+VwV5WKvJgiN18tTOYbv6qCDfWh
+YolPFyZou242/OqGBzGosyuT2y7oRGZRrI3R/1z4bZYKkAflbgf3QAOp8NDhtCSLKW/IDROieQ7
GTR3vTBbktL647rwZ5sVysq3eJLqI0cbNB/Ql8IKzxNVmLzH4ACxHM01vZNeymBCpsiH98s0a/iz
dbBmsBcgj0zlkWraYQRAJgfRJNNO9HsErISN5ZiVynacmxDzHj7G9beNYhs+R4W6sZslYMF8GLuh
RVKc+LHcCopgoPNQkZ9iJHWzn0oPYYGnzsuDsCYQ6/Oh6Tj/VSY7/4x/nWsRWyhdNw1qG4ax1lyr
/G3fKKqwamzH7zeMo8JdClVoIGeUZB7WwUoN/HqFrw5+U7zEAj/jAqUReYUPLB14A1qg8n2p18RU
8KwAAH3LXZJQtPnQwdHr3poRZqXWoUru6vQ7jcPqvXgmaGIE1YxFWHSptw3NWDvRGWnRCubyA2/L
rkywpoCU9B4wK9U3XO/ho9fSq8kN99GP2T1NXqvuAhPD5vJsOYcQVt1F8zl/YAKuUByvrLKEEu6U
5oruZvXGuP2tN2PvU7PLI5lAXvyjyMwYLZbfnxAnjrQy0ZG3c+P88V8vi65J19CR2BUVhbnLPCI4
cLX5Z+7C5ZqGUP+cSGhJMisroEew2prwnknb+NHa5naYGNdbTLvRyyv3MRVxR3bBYO7avF3LubOJ
UqldZSmsw+VweYBeCv5jvDOWfUxsSYeVstFf6CmGA2PDyEe3U6QEEY1BOCNnvq9lfkxJuM5ro6Cx
9akQiB+0MNDvVfRDj8L+V2jIX21Gu2wYLCo0kmvuC0TqW3xgGOMgxOxqTaASmIu1CQ8aA8uueFhI
XGatfiatYV9oJv5eGv4VjrsNHy/QPrNDPO+6/ahL7y7rVbfXjJpneoiK2mwcIqAa0G+u9i78OPwW
WGKw4ofuPXMgIgQcpCvT4J6W+Uo4j23VDPFxnJzITc4vR8v5vNhnk52s7K6gzvVRADAzH579uQjO
SSdgrolCnq70Dr6DuV5+ThGgSQq5JtaYoKcdRqWHZSusY/DaKycTq+XQgdzuMTjaVi18s47Bd7AW
bdhRlrh4AOefKnLrft1orX4bNTZTCjMghfGOzBrQejM/JysgCI6xeEaaxA2xdVg9es8ikZKb9vKQ
FED6iPCw/mMFNv4ZSswlTftH6I5yYUHQ8/h34G7DbExKsl02fSq1XeoRm5Cm7lM21v2Be81vgiC2
vZdaP70s/JZTJmB6aihH+n68q2uSfymmpQTh0unBZamvk7r8PU0zUiq2socFKYXoM31wmPlb865K
Ee+ltxFcuVAkKE9h5+AwqR6oVYmlRJd6z/xIv6e4rO8bcViWUPyyJEiNyOZtZSCQt2f+Z0Ko3BX5
2LQ6BMT5Rm3/LAxLu1yfI135D1T7vxINeL8sB4SxYB9Gm4Af4V90axvhZMn8H3iwhQfR0CHyFV79
TR7E9cl8BkFnQ5unHM5/vl6F9dtQkd555ek07dzdmNt70wIgwxhr41OpXUJm+1/NPFXsZPKiR6J+
GYPhtVrIdnIccOfQ/YoBLN0aZm1s/+/7sZq58P8oSZhQ2brrKvp/3LeW3/5vCzxyGz3J0LPdqV7L
V7rLSNPTjE+RhsEt4ZkpW6/C37ShcJlPa8WdCBD8imyblZP3QD1OZvOMTixmNuzykLT1rxRZS6G1
XrOXbW9ve8HQ28VEc12jtEg7ZGni/AwnuU+qW1b/OfkKH2UJz3a8qRp2dzHD6jBVPcsds9H/+5eW
wLH+59e2ITEj3kIWJc3/KUNiJEdUYpJxzdCFdxAu6sdhitYWE3SasFWxyVUdYOfgQR8woFy3rB5q
mnXfZuPdpFIi4Ga4VKYjYQYOpG/pqCFWNut+k1hp9ZGT1qbmNQwjDQIY1+6O3KDie94Ipv+Jb707
8gJUZTj0E4bsMqML5Tk86riqDssDP3i+1ZX3c2FpiYlwWqY6F5Ri9cM0AL2UpYMugM4S1x6QXfA7
gTXaIEbcYzT3yDEc72HBTp/KI6ytqxzWPkl9lXjFfQP767aXWhdwy/K6zXI8I5w2Xl1j9OuzHDpL
iZGtbaIigDSqabBhxs2Chasj5OcU5+FxOQQF428nDQdnUbjWqqiM8g6wBpJpbwDlEPgAuwTT80kU
H1aKTWpqPPOYeVO0v25MHC/H3yjb8Aumw03DoOYHseAtysPo7rrroaibIBg5/Sm16dvELT6ahei3
nMOKR0/bgwE5WXK8T5TjP1FpYm7qKgJm50WrCkRzQnb1gK6CBn1pyn+8iiLjZGbWnB1QOfeInMY7
pVl46yNZHJwQVcVJd+ETpEaQ7SetU1vV1O7jUogUZaO/Xn+RaBo+g6FJ2cNJ9C2xJOYuNoz1VNUI
d+P+YAdTdegbm5HMvEFfHpbzeVIf/jrlZfXxuolNHCx0cHDqNU0vvF44QMYbIrLI6jTGcOtM9u+q
SLznUMIZo2kLPNCO3DMd5tO1pWw05RadNioVO7I3MxB5s3x0daK0KLSc/XVDt+ztUj/748Mu0BPS
iTQfHReA4rK5NY3LGCXDj5bdPrqUgR45qoq7Jonh0jmyfTB6tz3lbNhxlMKvXV7AZRLcqdIY7hlB
2ke37EfGSLNn1NPB8UXz7bJzRkJ7avIM5gFN1FrOBu65WDHUNZ+GGJFPaJjbKgJDc/0wpKYCfWFh
NZJd7a/DwbOdG8PszYtm3zK6fL7uSYPgZionvAI4gW7yekQ5k6Jq8NtdVeyGQoZPC9SwcUwIBUXg
7JYPMxmN4yoIi0MXg+bAy6d2TNPap84Gy2RC3GEfBlEaL5CHhmXMNlTP3pti6L9UhYEwtn5XnQo2
Gj9d1I7zldhhF4Q/0UwvAuL7WhSjv8kJ6lwAexVU5DtPLz6XIxGH+i4qYyDZqtLAsNAAjAMTd49W
PviFxke3JMpYELG8x2/TkoOGN3YMzY2c93Ph3BGh0cqo1f1VyGZ3/WFVRenldfzfVHTNR0vuSTxo
FBu1Hg4vukDF23pu9bD8CKEgwbaV7FT1uNJuMZ8Sh4r38GF5AVlas+/nL2Y7QlO/m5KtSZgv/J1s
PGOIblZpOFQrt3WHczPR/l0Ju6GrblXoCElek/YE8Qu39Q3pfcZVn9hUryVX3qvVW9a5NX8VeX8a
AdIclwfggH88U2TYHRH99/McIeL3X0W9j1XdNkx7hQk9O3DloDuBszGL/3SiOWgdeqtFyLkcIaha
dUanv0g3F8trPWvBbRgG3vavQYredDRRYohqBzzlIW2LzgLfLcOEwt7PCV3LtrUemYfRNT6XKmcp
fMDWQC4kRDaNmudJm4zbQen1c67jNZrmZ8N8bnnVL4rfcYEkshv18mk21OkzwxvYcPmkM0k3/f5W
0zrnflm9WoHpRQiijq2ioyO5rPb+aOMLWdo9wmqrrczC99QagSv0IiHlbojLrTd3Pwq9Ng8UHqdl
35vJuj0Zvr5als7lQWPghKLC09al0Yb7uHUf/1qLxJgA2Bvtvy1PjyAWM9DiQ35OXL/emjYpJa1b
femRXl/fxus7uLyjY29UR5u/1UT/mRYhH62SnRFXfs009nC9uzYu0SFLS6hyuTBDL3poTKGeBJzj
5bTtSRgckUcrSvkaHPgivfEnMVxGyLtrOYsL7UT80lHZndxiOkVJlJwkCY7ruidLrV3mzEy2EqhG
syeyPPaNXr7ZNh46Vkc1UY31HiZiwObBCn3d+G41aMghy5ZHF0UIdzjUaCm95rXHvHCva3FwqvX6
m50Yd+/QgpnfJ9kGFQab4rIajqMd6GsHrwER2zNaUtO8+9oNtTNAsXZjdo12dppJ3WSZuCyb59Ax
/YMf0HMepNmDGEAhPs3PhgDJ6vJsOefjjr6+OrS2T9yoYLT25xcvz4YwdXAFdTO+FV2vI4L3ZkiM
XRjRLFrEt1g4boe0tbGQzFkDyO01JLzrZQlYFgOVDv6FMd2tBzRBL8VpWWEWineQ2qfcok3jm9Ec
NzETN/58NkyVRFPATNEuB7qd4uCUY3/9bqnX2h9dlyRIy90yNq4D1ivwTTCGTHwI2MLDXZmGv5Yt
bmgP/kOu/cyCEnifKjJrWxMNCWOeTm1PMvQqj8mW1fzVsvb99TP63EP7UoJ9tzpth6zfuvQ+sjnb
cqePahiuRVLpA/2xTuWsPWuLTLso27p4rgdi2yLjMJ58lHV5l2+jCMnOcrg8DBiw1mTc1SdABf2k
kveIHsrBq4GYEV7bbuNpIuDwz/l4UyDftFgDl1NoFW6u7cx8wofpVwjH6ILql1iT2hqPWWhEIQJL
YixKVIXnsGp3flrj4IgB+/Vj8cQNBw1CMb7PPVLMMdxhRayeGktpDA1a51Vwmd8Buod1sXz4rlTp
Lupx4M07p+UhdVmU9aE4XlcGzzw4ltk/JEm/Rf2V/uCdJrBeKyHKFtrX8gaHTo9jW6udGxMt2Nn8
1o1cPxSDslib+AsB8RAH0Y1fy18PkUXzWKFZXo1csdzX2+YkIogH8+/Z64l+MabQ3xDEJcGDzNxr
ppTJafmfnLQ6BaUT3QV9GGN0FORgRLZ9TI07bSmDnDrY0vYrVuEUdu8zmTkgFHDPUqBul49x5s1j
Z4vwgkquy8zL9gKD78Zo+vE18aMLaHG8UL0vr9pUD+eCKOGd5U2vzhlD/QgA+I80r7/wvIO515Xc
MFi9KsujvJHwiHGwz7eaMAjkU46ocN4U72MXBnY92QY57PWjF9Q4GmdVhV8WButRKBjIGI+q1Wv9
EnrkEJRDCB3dajS0VOY68yL/uUixXea4+/g8wZa9fhJLyGCC4Ep3DD9TQp7AIOef1KfpesrkdNAA
tCB4hmFSzA9Oi+b7eohp782xEKEpjzpmWHSN/hBDZC/SEfZJpX9kMr0sneI6qW/LcVA/giLC5DaN
+YMUoA0zaDK904TOdmpg/IZZOq7jDscSiZPVptGm5P8Rdh7LjSPbFv0iRMCbKb2nKC9NEGXhvcfX
v5XJel3ddSO6JywCLEmUCKQ5Z++1T/QP511Jh3/VoopDIsqetxLL9pT9FVvtswwvsIt0GehOe/qt
UmRJVVwMGGirX1v8IQvWLo3vBXV6DT914BUrxzbrNeYd2iCVUn6l8WCdIIMFd9IvWa04WyFSHxqU
oHMZascxEn5bNnzB2TT8c5L5yTIwTOvc5+pDLe55R++DQ2YGm6pjZR4ZSBMqE+qwbAizcrzcxUgx
m7ZFkHnoWQ2fTtJdLjZZUCYSBJm/FNWZ0SmbWnXgb2nqW6YgBiwUB/qDuEKojOm7Ipo/uzLpluBP
vV07OSN4HIMttjc/G1yNy6CNsNuPGRl0huWcTYbm+zO0lhAIZPODrjzdcYglTw28+DMd1FcDMQcZ
wMZ0JlPv3gRDaGA+dCiO17AkzaOJZOVKp/92fxVdfkckdYOh2he5Kp6osMQda2azwipkRt107N0E
Sp3R91ve6IM8+n3+9yGkZvTNsxog5ppBK9XyEbyjT7CKAcMuX7YTISV1wyoHIST/Rb5olR7Uj6ny
j/IQK3K2iXqG9WYCUO1CrmBne5EPjT0zKYaBAqVZ09vt/Thu072PjBb8Fx4iYAdHyHU1VTsegqR4
soPJPipTRn5osVOz0txPhd1wydLFDSPRSfabV3neDAmZKSvrs3It5TClyvTsZDrGLOuxbudm//s6
liKtNiFbPIMnlJducp0w1e6hGgYwaWcKXzW+EA1W0Jca9PW9LzznwQNqkqhZO98BQFUPvujJe7MF
EU/L1MWo7O2un1GcsHwvU6pbv1s0FIXJEBavdlXo79WyCe33QsPyo1PhnY1qgKFTuE/wsO6RGo1f
HFXIqewD/BPqcra7YEB3RZjY1VdZcKsHdSfvykmWo7IgY5mPiw90Ax85kGZu2L+9hHWtBFzHSbWe
mS5Lj8AnxynOSoMuoxV2EnIAkFrUuX+QUpk0sfYmM9cFhBdjXSP6MOImJLeN+3GuTKrB0zivwxjD
Xzn0qKEdk2yHbm+D2T9X3uScM8W6KXVM5i2b2rHOq5dosJ7u7b94NPCgjfWwaXBLLmWzW/a+5bPf
L/w+11T0eouyBOjvofHxusNsu/nBSfuOAoz4eRbg8rPuOsNimqpHiOjt6m+fkhuoJ0DdB/mZpX4/
PURsRk9G3F4Nw9ra9lBd5ZjhB1SDHLNjxT+CJFpOobMFWFxdmQCjpQrxCR8GwPhZ6B7huauPRZVo
j5PIoCxiSzvIczrAqIuKllm+aEWZd0wm65tuQr12jLjZT1OhPQ9w3jcRFd+1PHSdOj60ah4s5aFO
jMuVduQ1TDSNtSkckWxgrzla1s/e0OmFiKAP+VD7PwiKGx9CccYdLLqj0XgxBpc0GE2hkYVHUt2s
7jrF+3he+i+1TqUcKBcjh2+DI3XhydyVNCkuVCh0UHbu42jp9rcCBs+vvxD81ft9kcGcRiEc4AEA
xy6lOpiaPsvGfiYvKZwHYrb96rVxMsrkuvreIC6/f2WPSmst7VluRa/dcuduK79eHrJI77bQJ7oj
ws9gF5j9MZwC5SxDXoxaz0/2OL3KkiXE72EzxSVgid8Xvxa+1tMMBhcDxErOB5WlW+cor6+K7Run
LKqv92tZXtbyQaGJ6NbKu6YZ/U5+jaZX83Geup+q4k5b5N5C8JlXsLztxIxJWrPCLZb/6rViRCiQ
0i1+zX2pYx9DdLfXADzNflSVj8wR4ebyXE0haNkNs75mf4/JKqzDfQqDPW5uMvME729+S0/yuTxb
Zj3I+MMk/kdutGvfSEEHZy5bYGwztkaPvmgGICGBrrxGY/pMJc7+7oFziGt1fgGTs5pLFmm96vg7
Y46Mt7YylkWlU5lWi2AzV3mAlFyMLvAsbbgmE7AZUTCQz6oQY1DdBttm9JuLWWSgF0QXBLbLyjU7
goD6mg9QrBQQI7p4lzF8y2ss9Jx64bA+OapO0209p0UUI8quYvIvLSSCXROSF+ROTMu9HsUHO8je
kMzrtTK8lXOQnYLQAw0rvsav+zVQ0vJAVNfqjyFWDrZh00WnnBQHqF/1ujSnYj2KXWDXHOsxmiGL
jMnJLtyLb7c3djvcvuCEwNIMaAVwOUHPYYuyCAclYu/PLCxNSRY0tfunmgPrO7jueKuhip3u34AS
G2vawHumZmyeUan9MM3E3wX8kbYYOq0b3k15KY3UX3dKUJl4aWktVgQIiRNmA54tH3ZKUds/yOG8
q72lvLuzZiZkaZRTcqvdyWtUroQS08fVnmBn1rHGbe8FZDbc+WHwwcv/e7kd7OH/Vtspv+g4p2wd
oadUvP2tyRB4VulGg2ns5zT2vhJpAuC0mbr2Mkbch70HrcHAT7cAUbbNsBvTryPMz2Cpfw5YEos9
ECobEmLamIIUxtuoJteV3JNpV3hctomTZns1KM86gpAHeYpaYLnRrOqjmbzpoAyp+9CTl7Gw48n7
amTOd/ld4dsF+DqA0VpFdwB0iAJJ1GBsmzgDOMFrPOkdVY+2WiUD9miNe2ZNFJa7sqoQL3TilNix
WULXDsoD6g/ISlH4lioUptyaHxK//NJX6GG0yIiX5B18V1w73Mdq4IhFNbGaubkjRCn+yaTCE3hX
VKXdNV/cHnJFGbdKzm5NlpfCwvwgD63ay/2tUYwLx6UzkUAlAfxvMEAbIYABFXBpHmbTMwEtz26p
hV8Vv6C0Y+Y2t1mGbifDrGM6gehj0WFOS1B44zAXb0VM+IwCtb8InIY0ExrOZt6XDxNAWKWelFM+
ZM8I6/QXs0seO8Wbrp4YeKuEjgLhWD1JSEwpVCjNp7Zt8ZZM0w93Sj7lGx6U0tkocEtJTHc+Jyhu
iAIIVRLKcYO69taPoW6jEWRTgS9YMd1oPWTqusZJvLYoSmFyLkkIdZLNvTuQql+UaCRJ184ZQwuz
W89ZASwwRrpKgo66zOWVNAKmeXSBD8aFVpwBbL3b7MAu1dR4bJhgebji0EF/ggMA7ah8NRV6CtPP
4Xgp6UmPwVGA2cRvIIY0oq7djR+Cb8N++2F3zBLsMIGDtYPnrItehaonZFLaFhTzj0yo/wuWyjfV
iojOCD96AH1UlSl41JjagWb436KhOBl5olwQhfLdIBsLsxgewSL3SvE2YSOqxIAiWn5z4gG0ZAEX
oyWLa9vPqrssXD5YAhNafIguFBDRdkqzLl7EieocMEeDY4mNdAXUuvtM42mTUcA+aSqpCCUgnWKl
qKRBUii+Ss9UObgqtdSRdM8+0DdeC462Fx2LRLO1k1/0gA1E66KAIzGyRsNTNR/sxEWRIQr2OD+2
pHZWO7sBrqDYav6chG2zoJCuP7gz8T9ND8wkBvcRuAlmaJFPRb1gfgiI9MODACDDMuZn6b3RDOQZ
8zRXe9MuuMuqyd+wmAEUZTGFQxJZajlepFiN8AtDqVAKE3+R6y2KARLEkmio5HLvBpU16gK67YSM
OC9ePiETcZDOJANRHbWzdxQA2MHgEMPs5LjuxGJXPkxUgpr6+O+DovGnAN2lT0MTT1OJsVNN50/V
ZBb4nZ1Di9rnjvXhAQcnNTOKnuCtJNSY5oVlU7eRBcaCytQKcIa2Y595IM/ZhsBr++uSEI55CxcU
0HmszsAenJ96XPxU9PGrXGX1U+IexFGpjGSBY1NX3PGroofmznSYlAxa3yJagwScKo+e/v0X1Lz/
kXp5yIQZ7A1TF0L7P9OxXR1M/KTp3v4+pGNBeUK+ViziQBs+vEYYpdPJv9ix9uuzot5Aw05D5bJ1
jNOoauUNpPaM8Dk/xcRhbJs20Ld+Oehsjw1s5nVFnIvQvymV9hRFbfSm5qJeqsLJIPlvS88MPM08
pdFxaAxWolhIrwHem0UhXkZWhCMPlfHBCOoJpsitA2RCrrkS3+ZwooGRNpS3xsbezH7/AXIfobTI
q20tg7pCEgFwrpdTkqqsUViqnmoSRS17eFbTt8JOtStIICA6Im5S9ypo2JRMDlZF6CBm/HIt46fG
tH4MLBCO6GDdUzyqDpBMnoV/PcOPmiyxdD3KAp2s5jdxwIRUAs2tNP0i5YKDUze7iRHGcrvvCM/Y
Y5Erpaw9EyG4oVCwSfqaMDTvJ+AcNnhYGjBzp24Dr52xKiyIZ1Ji/wS90NniGccWLyZCFsTzSfW+
eNTVZShrTgLfRiWbC9qHvQ5CEMPymULK7nXMLXttoIfAxJIdenEU4he6mhAMl1rkbtDdoqQVP5DC
e7Ci8plvgmHcyCKbnpVCwIpzUUXS+/9AjfuIaGVlikVHyQ++ynIugSgCYYkCvnChuwnmXN7tAzjg
dFXZaU4gMbfeEbw1F37neS8x/fVlWOcqlBnH/arBgKew4mCZB+u+hhzqrO/TRWxmxtlQWFNy+Ubf
JuRQ6NQWQzX/pLVq7ce2gy6oe2is0fAtqMGmt/tbTKwKOLjc3VZJ1W/kSkMZaALk/qsyxNnzaOr4
cPKpXE6U73dKXExXykfr3yUwK0TQyRB+hPEnz+IN+VLiATqOooM9RIQFGam5cGdUrUpC7wVQ34VN
F46hbivrMb8fZKGm0BEYhE2vHXQ5tYzAdCmIDMp/jGf/KyuyUXS6ro53RWcLq/0hk2mdsmFVyT64
aCmBAnzuzkGDQ9kY5+hbsJapYWUO09AcuaWbxuz4kJqK/GDZEZJNGylcC9viuzmF0+4uRL7XyElJ
PbFtUolPNspH+SyfuuoRECy+Z/EsV9sv9z6SU3fWgoUlTL25RxRgxD9CPRuBExrFzUinQ6uxNU2t
IaNOnMQ0zMqjkff+I5Yb8Am68YKvMXpvkAlvI6RBa3hT0XuEH2mRwn5f//s46Qqn0W8FDvoiRyWT
VzNsnbWxjSqF1/+2OG6VKYo1jTHv7kTKQwIy0WB1L1qpHtkaTg+lZXUvXlE+MbtmBNZFHps4JKXA
YJZ6quJctQZuYZsIQPmsBjmAL2uMD2P3DtS0fpZZzG7wzmBXbTNSb1HbF6SdEBJGbkT6rs5zsc/E
taQ0WXoy9OHc+/6quUuPJmO9R6ei30PC4ABAVuybp9Gvyg+6ksfObMKrElv2Psb1jQ6moHiiKNBq
K3P+1hCRmQtigF3m/QoMSHv/vv1sC2CBiGtpZ7b0vn4kE8C7FXq4bCENk0phCYpL9a0DoYUzYLZo
Qk++sWHP322BqoPSEkY1sPTkZMWDfmKOAHKfJNVeWNs3MfvBlV1rCM1STcd9LkDKGgmHToXaUEpr
ldGtH2MR9yNkt2GgNf8hH5Px9v/8eHXLdm0WLFh5mATFx/+3j5dcNBV0cUCipdZUpyyfxpNjO+P9
WZ7B8J4slBx/nSp1JEDEe2XLJAjqcxGWzVJ+DrMZ/Exdw77a/nc5FVidEewGPZoW8tCLEUnXZv/F
FlUsPw/sMxEEoqwFkdc5y7Mz+iLaOoCIpQAFjZ9nJ3cJSix0/pZ9g4Fq7ZugbA+T7RkqISA8JYJK
gwTpaysDWFE6QxwofDLd0tn7juYmwgidTs+hExkbl1vpANZOuXiEQi47RbE/o8Bct3rsfWdW/e7o
lbPIkUWvUlezjyMX6hbe3mNGNfUIC84+1mZCCRghOHuFsKBgCk5156pQ8GQ1QVZ4XYAc93NqC5hU
JVeFNRT/wQ3fIxjDEKHL4imchSuYEEo077gZsyqqqao45oGGhvcfUjppFf3jk2YvorLTxbllen9q
pePMC+iC43zV9E7Zyu2g1efIUlRQdJlmT0c54yO/rFeqyF+Rhwq1k5WCPnRdtEb5UDbPUuxVZR0a
eX0eILCNlrOpOyGTGWd+B/YTvuIcO+JEN1Ogqi/kXN+71W1i/IxritJm6Q9Xr0A+N0ag3kHVYhwK
xuk7u8PlJK3rdhAc9L1UJP5WAcSDDe4U4n0Wd8TNdU61ogA4XTwajiRY+yWZpKpKaEPOZVtMyRnI
18IbIUESm9IOm3yGr6fJ7GiSYTrWFnV/zOZvUT54P7VkeJh0I/tS6AEEVAKtXqnGRqs8KYcbDt1s
Q1WzPxt14O2cpI3+Q8zu/LMKIQZaw9EdC62jaXuO+edAiylL0f2kT7ZFCRCyAkN7LXAa7uPO+RKL
Jq98kOfjZq2Mr67rPVKKNd66ETzW6PYECYsBp+A2X1RQzuV9yVJniZhQefMCNN+BOiYbTRCNxPm5
dC+kmSaUFmrtglxSuziJrl4yMq4WahLUG/mCPCdftfJRP6fTY822bu+o5XNDQgec2pwPwkpL+sGj
KJ0VB2sgeJsC3Pdcc8OvBoXsRToO2q2LRU0YSEvmk67zT8DIMOc7v3T0ZyQ6HqbQ2d1IcamlHQe2
9CvWKu5WbgBNx1KWbq74G3kYm9a0J/uNLL8c5KlM/e16/Fh02i5Vo5eXOmnaZUOG+3/cVN4/9any
Q3MNg8KnY9J2ZxT95/CJyZ/Bv9DiLbkNyaVDyfDkUf7cpCqiuPv9wdbvM8gNgQlCjA7/6lvXP8vm
r9QooQkylonRGxujTbDHmeaZ+Wo4+GaULhWLBJPG1wkg0qiSxDC2bm5DXq0/lWhoWCfI0kjiFc1K
ZeW25w/A8rYdP4e6VK/WQL7miCgTnIcaP3oVjJUkD9q9PJQPU1sR5Zf1D06WtrDwPI2NGyS6u6lL
gOm2hTsc3Za2ftqmAE60iquTYECKUl36ODAjbx2n0rfBKDlVzSs52vlC0R1MKNFcbuAFsXjg8n7T
U9jgnVk0F1ndkivIyqDNmUPD+73KjA3gsHmbdtu88ewH2w2ICGffLkkIQ5F/UoHJdoN0JjVkRDaJ
Nj8mlf2FJUV+L9GXhvHFmxFjh4H1rn5lXW9+8Wpc6vqsjIewcsZHr1T+o5CoOX/Kdqlj4Q3TdPxD
pseIL66Wv02mKD/6zMuScBfYlb4pfT24Ut95kTW7v46kGVvFEXJA2bYezJiwIQdrVOWZ0/NUPPRR
BuwwtXvknsK2nZEMRYWDWFQPGNpC6XWCryf7nFsF+nYaaxjA9+yZIla1FAwitNrP6Zjt5KYxpvWF
nEmEMhvsjQhDiOgZBLbyKJ8lQffrGbYgxHtklLDI2WJ5uqHj+BYJOlUgHtS8XFHwcwC1lOXO86xp
7ZT5pxdM7X2DV9nlp3SIyQqcOLIamAw5voOV4kzzulYD73UccVPrlDdhWx5T9K8Uj1IuESmh90Wb
JlTTGz7fcjcMfbYCsY+XBdiSfi98tdNAHlKlhTtZAstnrHUGBSdaNEFPNqt4qz3doWUUv7hNXRz9
JDfo7dLEtpSe1CAr0o96BUnaarQO5mzYQQ0QD804668U8TdZ1x5rFdeqmWbmxqGCeJalLvmQoI5b
5G5jrnO7ZKs44tCX3EVLIf65DIBsJsm3pEozJEB4zqUU0ZAiCox3QoOVviVTFb6kvWluAUBXu8Ep
w7XepUikc+oL1A+wJppmENP5A+FjmH286yOzAGIaATTvTfUSp1P9bJnqNiE+7amRFfS4Vy6yqi7R
Whh/jmZJZlvewdDDMHPIm9Lb35/5TAHsso+UUeeN0U3TVlJudMjVlNjnF8a7/FQiXSCmFvpNTXiI
FQnMbgpa/fdtahQesFp5ad2L+Piwh6cwVff+3Hefbp6ANyui/iHrFGg+ReHv8BI84Gsp9lOb+Jt8
SrOLMiD3DZxhe99I/fvmRbfcP+tYNnAeCAowiHWmVtW0/3lLzo2jmEaYkLPdgTz3HDbFcZWHG68P
vKN8cKkh1PDu///YROEROe0XuuBfpehKSdz0ko3R1yi0nSumwfIjcc1kZwX211yfSOxTCFK3DDzY
ZmOih3LBdkDtxBxe9Ak5XJ2Fc8Xtnzq1epKTQEUOw1hz1RZK5J/IcNOuljAXaaIwakT+Azhy50Y+
yj2lOhBRQAVUwimDXuxYJrbABAyHF6gvlNxfTYMmjS4q3zkYo5UuDu+9HQIPV27jI9rCU2awY12b
jRe+FOososkt/8eEpY33iBRLv9Was9EMvf5itUGzNGMvvVl2F+4slhJ2jm7/9/LW1E2Xm8noN/Jc
NaD9HxTT3NE5QhU9aI+z6C39dSTfjTiyVTrJsin612u/3jgiwwTczmIUibOiKgOhjMhNN5xXhLu1
j+NA6ldIzMMlRFJ9nvWAQjL4FaIXpOSk7TwF86E3lh8mtbx3fW4PvY9PCG7Dqy1W/R2rL+BLCAIK
EQxfdRm77Lr/wle+D+gtF4jH/Y0tVCt53qenQBl/Fpbv3uwpOI0kkCwl+UM+ZGqhL2eth5PcVD0Z
x5l5soMQWZwW0qi3Ymtf2KS8VEXT3JyKIJ67uUT3OkBB6dAcptgGUSnsRxngPqJlC9bSna+tA5Eb
J0lzTqAFxxD7duRYFHuHEjGQEV9cAzxvoJN1V9D0fu6Ubm2livFmTU2BGAbFNVzmd3SHZbJWsltT
ZcNJcc1LTDUKoaVtfrAO0B4mQj/WHRSFfZhl0SsJhxjECIa4f2EQ0ewSneqzOyvKnmDKnScq/kH5
9X7PMwW1RHC0/XbsnekF+Nlz2SrKZqTtuGKi98oFK6b+SCtbVNEQF3IniI/I3YIkbMApLQoa2hQ5
+Td385+NnXqrbALjMkn4I0E9CJ7HRlk4Yo+s22/3H2wNOckpYdIvAyKddncyEBnQh3TEwlcjbm5q
bcBw6AwsX/OfRHuCu54yV1vev4FedMBtEOU+JKXyKpfMoeuPOz3qI9JEFXLxmjRds5+YtgF34kqq
7ie/i29KXJENzOejpizUwV3R1kX7gQoouMRuEuInr6imVUG1h5CSnMYo2Mo3CEqjX9bmiNlWUuIM
E52MvQiBhyyMrMoftL8emN6eUXBnC52q5753VZrLMwW32Quj59xj0FUmvAzOyDC2GvqPoi6ym+ZA
+7ASM9qQGQy50y8Iby7ZagXWmL0VnQNL2bY81J/6x31fFxKIaxmDTiU/oHKhxQrd4ikjx4Z+52US
D1ab/3oodeo5pEZ3cXMsgqS9s80k4My1+iMeRqBM1LuPLDFVSjaudsmznAiMluTeRegFP+R+M4Vn
QBA3zB+vUvI3ApHsteWzeegFfVg+qOn8nXoZMPuuqZejH7Vb2xxAzqdzc+qyvn/G7aaTTaxCJBKH
Tmk5u7xw4J5bpbDumvlWLlmqz/ufiDSwF7dSs1OSYgeyC1iriVUYlG5yQgVn+Pd3LxhArPqlfjOs
1njJZueJTWWwLoOhfDPx6hB2965NariU43/NckzeDmDw50UdjfZaHpYjlv37sh81hNFsxrKO13EL
yjJ0O0jNOtVVOpALPxlCGkhs5Gy0fFs5z2AGN0Bb1R1Bt4W7bLPRWFMQCc+l4xonJC6BYDF1bXm8
/2LTZFyb3MTmUIH5tbT8fhQmLSSUeH4tOiKMg9I8NFVI+A796ogATyGFEQ+ueGgzTSUEQS4P8e7I
pVn85KdsxU3D9Ba2gYYlxFzTfFCOTld1GtYnNEDCceeLZT/bOomISBIb+5Sidxs8nWu5BpQlORB2
P8j6nncWl+Q+UrkwCi80uc+74bVv/Z8VHq3zFGR2sxFh2fLvXETRxtJn5zmYguRYhkK8SMaD2L3v
AuRa76mX3ze3dt3+sOX1mxRc4nXA4J4K8Rwz6VNt6dc0CM2rHXv90ekSmuGgv9FEqPUR2uFemoaU
Un1Ti6p+xT0UOm2zBFc8fRLn/arV1YtJ+i2dWuzeSd689V6FkyW2xxXVMsgzIcfrvssiMiFUe6fa
RUXkiOa8RMBfwdGqz+zYrEtt92+odj8G+ubIpSiQkEL3DWR7sQ91cytBSE7pkNWujON+4C02XZ9j
NQ3tI4zjz76NuDvEQ6XNxrIrLL4ZAzTpaFqxlBYhvYrKp8m6D1VqXUOrKLqOgJCQ9rUDimlRJ9a5
AX25lxeqIsbyTgma05jdWr3JaLGwNGqE4LSyo+wccJsvprqGspga1GM1oYYO6Hx7iblU4OK8Dfit
NxRbQT+LJjllq+D+4LXJV7PLmwM1tZA5sx3v3XrZsicuG0VAuE1roqCkiN/KnfIap6gbhSpHtrD1
yJ1X98uuF3Xtzq3uFSRKJP2+0AjCwpXOSgfL525WEtTGBisdb8jzZ0Bu0YUgsSeaMNlz0XOTZ645
HTymA7k7ru2iPGVORASEUBmovouIfiLfLDYcDHF4uQN2wagMoIrJZ8EA7IcWaHXwG9LX05J9jXR+
4cemL670P3LoMQnm+1fNbIYVigv7RGTbAF+18lDf8Ke2Y2JsMFvUGzmnoj9eBVoHjrLrw5taV3iJ
/3qm1oa2u09VM6idBdbB51j8iX8ruQKvflfjtD536gSTK8y/uRoh253dfSnTWD8SPzEg3Mqig8Mt
fIkz8jNxh44XZOzRMmSG1vBr4FoDP2R2k7exAXGvcrJDimUgUF7eNDxoYFOfxokEOWfijho07UGq
11XBLJS1JT+DTDSzQnMU9AkEIgIPZe2D1FY33uhLVls2WeFmCPV+IfYIh5DE2ANxFqy1ms64BSFm
t7p6tjs6kKwX5UFUf1qz+r2gY0byC/woTHv2CXDA1k4r/Xxf7c3aT4r/JQKCigVqqDdX0lZ/jbzV
7Pq087poLZdXXqtU59DQvlUY7L9V83WYAKnRJhBN5wkXG7L/ZK1pTXlEG8a63YxusoqZEZ+8oTMy
ruRhh0Zydx+pBpN4OQ1XReYkGJKpudnDXtB2Xo2q6C6NBTfIJdFoTKuTYtf2o2VWb/IvNnVI4+rQ
LU+krDiPWVvcz3u56/CeAVdqUJzk3w8mw3LQ7fylKKDRVnX+dbLohZMG1zx0Qf+pNrH96mKDXPuN
qqEE7pJDNOwJ01I2ju84j3VB6iD99/HbRINdYUB4tiPyC2jDDleWgsUSgZr7SRSi4LutBzcrnlV8
qw9GkbzWAnZD+YQFlm2++KziNrXN6kf61CIv63atOMyVuOd9K9Hu7mFle6K0+mM56SsLZ/JZegKo
9YsVLWUoeUgsIurydqpZoym7IQrit1CNtK3pGc52TAPjtSvrw9iTv6iO7MalF599k7suAGQibRJi
m9rxl4Q1+PtuTPrjiHJvwbKrIRLX6Y5K0DLOtDi8eIVjc1LOQda9eSOlLEYYUpPEtS0v/0An7mMq
B+sge5jYpcejIf6LfLUM0u6BUZSFdP2CcggAANFtL+X41ozY7WwEVZepSDLy78LsSgf+R4cQcmuL
AMkqhF3ruMGHH+beQxh49i3J8idJuGUO+vN/mRNBUfEc1afRxNfL9sy5zn89Kwb117nfz4KQ6FjG
tF//r/CT8myEfCiGkW9JlCTfKGnCy6yx78GrUb1ZWv/WRVmyUJk0YGGSvKrY6AmDtsnfsQyr9jZX
yhuEa6IHs+JNxZ6xGXv2juP0jbPdWXp9amt6Q4li71AgsgBO+WUI2UGEJAuaUcoap8ntBkyD98uw
2Qe1tlDLl7jy3KOblDXjCgwx0b+r/DZagWUm2KUsTXidlHEzUSkNrC5fJmUpbnl87SMBeSydIJjE
UDduY5//eibPheLcLM7JZ8S4bILQ1xayPm6NgOaD0c2Ectl4o7d/6GNYj/YY1Ctp88OF2VxttkEb
P6XHHSRjc9TM8EApk94BubYrd+rJndLnYmNVXvjUpYxO9zF6gn+GXrJ/yjIbfGA1ftaqPZ3CsAPd
bXa2YMTbS/nihHxhNSmTQeIJq6sgxO1rz+8GsWtfkXM6y5na/aVt+u7Ydz1Z84VHsmypadvOnJuV
UavNQ5ZW6dbPJ5MLeTIPCbKsremP6bV3oP5ZpCY+AzdCpAUF06UzfDOcAffTEBsroq2jr0r6bqZe
9GHn10FgkCE/TJtg1vkVE8t8IqHJO9opcSlmvx6UkMzYv8rBetiTOd1p9W62auS16iy26/UyjhLj
RlLRz1rK8mtq2Qzn1QKJuHGa0VIRRGJ/qQDiSnAHzYN00VXYkNXGZ5sSN/E6rdphJUd7+dBZ5XVI
fUpJU7u571sB+7u/NnAE0GiL3Ik+XSa7QyrmiPtEgUVxNZvR3Skc9i0jBnq1X87KWBzHIXyYQkQG
Syol3Ul+vuWC1Rm4ZZK8Igwrqg744ueFlGfMcVG/hwPascBynRdaE6iRumBlaGN2HND1vg0EjpkR
Uk6LjdEOVYa7VsgKWN7ZmoZl0/ZUmgdZPMcPYj3Vs/+oKuZ4qrUvsq1JKYPAB6Lld6HocspzqVln
C7y5+dUg2BWyctOK4cXe5HK6mok5WfJjkhWta+uoifJSS3lpAFKGcWy8clc9SlWxpRXlFmH1sCFD
MF6PSZEerD5dWYR4vnv0UDdDbjo7dSI9Ks/Mm9/y6cy5zo6ByKVLESssosTShlF74+tFc/BnV7my
Mmd6UriAqzOLspIpk3wiNyGlYqBUNpsKMVFEIp4hMeNPdGtlYdREQiUB4AKPmCHiVrLkyp0ZPTJ1
vThDWX1Q9dDWTU/3m4SqiP6tEDeH05bI8vq5tFtlRYQ6goohe5brhWF2iqs4ai09gP7iqWtrGsfF
jJj7ix81t9gd9J9dhP6ks218U6TbKvoEsEIrPwBddx/8Cf1FNNjFw6ByAYphIA0JBug9o17fCQCa
2X9FK6Ru6MixB8u88kOJ2G5OThWeEj12XhSyxakRRfuO3sBG69ntZQCVbxDWoU6kRnxU3I4aDObB
TWrA2HZRK24FnKIvo+nTMYFHp0mjHyKYHweuM5ExxZRNMF3+jv6RhYrRd299/1VQ9/fJ4Kgnuioo
P+n2LKR0pcIxphUsQGpjMjcKWUx7TDj6tqook9F5M05NNu7Y6BOl5u0Dq9V//PNJGDonfyBVRFHE
blLL2rOXU3vBFRwd6IV+2vwIbDxd++i3fntBK4PCo+rhf7AaBNvXHEqd3w/hWvM+2+mOpUX6LfNY
SYcKg1oIOTtmwtmOoZDeDPhPZ/EsFOfkM3kuCMg6U5WSmxbw98rHav0BMuTgNLr93bLOleLzK5bt
Q9egTCPd4iFstP4cF2aGN5rpRjNU4UoZTpPhzg+Z9Wbj88XLGFjAUxEPW3MxfPbIFFwvdYJFRS67
S/j2go3nk9E1/solBBxYNraVPvaztSQ+DAmieiqnlBCszdgxsE+dlh7rGiocxgzjDQiKwpBQB5u4
Nx49I4tOsuTAJ+6tu9Bynwcbh4ivR2CfDLCFKNtmCpnD33ZGTaEUG9sseyI2001Vdv9H2HktN440
3faJEAFvbuk9Jcq1dIPobqnhTcEDT/8vFHvMNxPnzA0DoBgSRYOqzNx77fqn2Zgk/xb+l9Wa701r
e69h6Xy1ljYy/RyIt5/bhxoqjavQ6Nal6f3RUZf/GOx2ePUmcKZ8b3DTu6ilFaeAbkoAXJI50z4q
kAjLr1HjkjdR2RrhHGX3bPGtQ6s6od+36uxG8WsfMhevQZ0T46lbb4bx0hOE9g4pPNk5Y6gTP0HJ
zN2lF6fvwiyTXUEFsox8P9rbn9Iqm6Y6wh1nOijkO+0rIFtXA9Q9nUJyaD2lvPR4Ds81lJg57+RX
F2n9I3E3OhmD9Ke52LS7wU5oys5HkzwKIuTFsncxD04Q0jVqumQ28ysfmuhYWEFxczpb2cvGqT/V
5ZKlDkNVAribYTWNy6DAausRwylLT7fRS6LSMZ3Lbao2Cnd/X+JDzTV2FAsIE+mu6Sx9LfuNBXwF
Smwua09e1NOMpoIpvJovYlJ+Sa1Y3RC/O1TAIqVaEZJZ7VbayfQra1cIl9wc9IYhSdeL0EnLZRH1
IeS3rD3KI5JESE+xJmRE+NfUcEdspf+MwYBQSKT9dE/zCvDG4nd7J42bQ1CTnSP00dx3ah1saoKP
N5nae4vYBlLSN6F7zKLIWSH8T39ExdJPFe2HWSF8an2jP3nkC169njjl+w9Uhw+kKRDotdoqMYhH
SNTZgB81CL7nsjbOmeml4XTQmU6d2bFBxatJmEmKX4Vd/uMALeku9hT/ZLYZXKlMGR7MSujrzLUB
cKsqw82MZeXcVRi1sYhp5FxD80cHUc03mm+UxwqiRWC6yOJhO21lzTE5Yb/RO2tayVMppg7IQqit
tDpKEVjemQxkRjRMtM1RS8p3yohNGJzzKbWydtB6FZfefF/cVuZCdrD0PGyOwgzJncrZEj6qo+os
g/jjbnS2YN8tEF3kx5rtOgUwoYJo+0sE7+7CiXjTM7CjJFDQl5os4yJvfObgl7ps3SNF/yZQ42Fl
EOOxdMbm9zal40NzuH9VjQR8CVHZfzPpyy6L5Q8o201Sp52YySr8cYS0c++jisye3As8V/fmB9u9
ofScEyGuiu89qbkWIHWH1tgXDX0/wmmeo8IuttPcPZE/ZYAdXdNEOTmG212DsMarqml7UaPNKOwp
ehhAgqxU5P3fSB56DYNCuUQiGUlkSr+B3fOeJhFP+zFUkk1GHflhacmClmW5LSzT3QZU9QdBH3Yh
m0HyRjDvxm6WAKcCy7zM3aR/M5wSzHBYvMIJAL0oNMj6CKaO8mIIxeWgp0n6QU/EZKkKxz1lwVV+
Ukots5D4puP9O2zOnQEniE+is/RTb7v9lq0y6DwMhzsopHwsSsW46Ap/xI8If4r0AYdvBvtiAlLY
FbW6iFGmLl3CDVdD09BLwfa34tJTfjS6v8n0Wf8iL6yO3fNbvI5eB1D3jAU369+m/hwVwrncN1QY
vsGYD/B0ATDGa9XzyJmo2n3shDuJKnRzPV8PIM72bFPC1/n+Oetex6ONaNnN1zOSY49E+/4zqPB4
UoiF3lpcLHhhMyJIkFnmdmKvsrqnFIzMB9vozV/I+Rd+qJMEnmJ1MHjKzxXCEpR987OmV72cGDdd
ZXqeNoLctlJH20CQLxg3K8+Ry7ai0OnGKykbIHOwN1EflS+aUFro74gA/cJ6UzCK3RTQQ6gtzR95
X//zQBTHAvU7BkDnK7eshSlA5NCaNElhrfVPZch/FLBQvukWIWuTNjZPpj6JteHhk8x9fGUZoOQg
qeGrpkq6zfmvkYWbv4+C+b5o/uk/H5f13o7F8iVm57XxndgnysmvV6nowxcMBiQq4jN/L6B/haow
PjNHg7Y6RAC966NFtgZMSTM4xZnSbSybjdTg6RR9gprTgUC6Y3dh7ULmUg+kOLdLu4eUmccmNWfc
frEL/xDVqFO8xhim9M6/9hV5Z7L5qJMsgP8SDfx8GgtUS1EpyNZBoUKIkLvwCWz/GZFU09Sl/4WD
89t8YrhpSUCXlz0Ln7FobZGpTQYGJXXRZjs7oVQKw1nooenfdYUmSEgaTBkmj1GcW+8CzT7AFa+6
NYldblKqmjJ4Flr70kJ7+T6hFltERR5eRxb0i+PhIqg6d/pe++O1a4to6SCGbPbU/XeId66kOHWM
8Kfi28mlz/KTLtWwAmTYlp1eeLSMKl51I9heZTCbRefmPihhVzzecQFdAMhvNnQxFfDOZaThDueM
JmtzYxt4ToVybIt8Vumb9UuHhhxzkBvfipbSL8hgYpg6c4kg/OUzHL8aCQlN0sFJMPNKd2vlHQe0
WDO/aY6Ii55TM2Kw6gnSNGYHWq5pL2qbkurYxmLf5eCYaOlcRN+VFO8s71WU60d3HtPKU6Mjibq2
zKXEeXaq/xvzGdc6ZU1eeESfik3e1POrMvM/5Q8wIbnMStNvw9T1CJl7e1dj1lxR3hlvajOMcB9m
CmiH7bb3nq2eMsBpXeUkh+c4nVO+Nzc6FeUxnlvbHVlc69o0oo08TV1soA5eWwhz+blifzAnk05H
e8SQELT0PQxcdGvcaCNS7mM0GuROFanAkuaGMZTidk/hZh+1htDbHEPuwuMbepQ3qVPZ9yPe/mKh
5BjfFN83xGLqDO0ouvqPQ+C6QDWRcwydnx+yTO/OaLGbNTAD5XkMa55d6hefGjENett99o5jvjpt
cANENL3DjgHrETfZTQO1uEmJFyPnJ+uQixAFJSOcMiPTjg62m4XMcGqx9C1GgbJYfmDoZC+bJFWu
8pMT5iOcR5/5m2LrTFPRR0QZC6ReGJzOY77IIaRwyFuxCGgpso9pnuwo9vd137prYLbGh0G2QjT3
jAzlHWTKXnaU5Y3t+CAL9dzb3rvMVhZcqy4lgQHWU5AXtzII1VvtkcQw/+VqPis9ZSXfTUX1s02V
YY3zlO5R1ukGSsKt6HvmXDY7jrwmhTGPNCbVwBbQJ1DW5nZcopFneq30kbHTUo90NzrB+EG6X/G4
bXCTkZiqZbcIaeW7PjDNskpf2+vdpKzdYi+zfcy5f5V4NiEVw17KN+SNqhSEMZdBtG0qY/d7hjkh
c+loFu6rGtUrSErvnHQEpxDD5N8s24MC1jYky0TiY9T74KvRkFO1RHoO9AjWWtVeuZAZ96axZdiA
OHWjIeGRllOnWQrVGKssmHAqzrJ4zHlTTmNMV0AKAP48pYDyd2mrj8uKAKNT2OVY3vVBIUK5P7sD
4Q9DGD/L0ND5rPea+NlN8/19bctT572jU7kvItJhZDpmNbEHcgUwxZJeGNR4qlrMXtkxrKYv8h+b
m5XE6NNnX3ePFKBgBVhHUj7hFP4mLSg0UmOMNvKx8oY3Y99XcXmxKpqKOVIHOpHu8ECizd6k2Yiw
jbPEyseHurarVRbaeKETcanmq7gKFe0Siv6h1CYHj00ebwrXhs0XeD//FslYtTS4IHM5qyG5P2v5
t0dnauZCDP1IUvXn+zU1SAksBAiZYab1aiou/gxIH3VLok2xQhMRkTnhaBnrm/fRmeFVfgqkeN1r
RHsSwyl1EA3NTspobktFw0nRkSHrtOkvCUqddt7udo2aHTuHCLGkYmeoB0b+zoCPJibLFSKJXefU
4myU7G9524j4cirE2DPzTYLwo1CjcuqTalVTwt4d6bQWaFjqw+9TppH6vuyLhZZQyWO0q+lcgzkn
u0LdpqzJD85EDEhbo4Xz3HoLyjRe665S3mNZI1WNIIFp32gHO/v7awOaQLnvwxjhhQcK6HGRF2b3
oMT9sP7raKzj/iEgn3g9ltDcoQZfZAQgIPUL6iT8L2kB5CrFVM+Ox0W1SUPbjiqxsM22eKAy7y60
5PCACRFCCo5I2BR9M21zx0/WSdZoK6G22UeAG9kL6KUBq61AVXbObYIqwQ5VzXb1VD91keIfXXad
S7MbG1rj4pRmAbu6AJpq4yrf0t74aRVshq3sQT5FGVyY9t7ERwUDftT7ux6jwTHXUQ+P8xEW5lkE
hrBTnsofyIcASGz27KDCYz8f/fXTua15/wX3x7XTKw51jz5BUD/6xlAuhjgM9wVNvaUV8VbEfUdR
R73a7iy/YAZIz2FHP9JbyEhfc7Q3pLEENxwfPcHN8xxuGhg5e84D0Wnt5W9LKHcp5U2vkuYrCgT7
mLr/Zna2YODjIQnLSItVgA5syNS7k5EknEA1cEH/kYmLiznYExYVr7uu6Hc4wuM7VSvt1CePdlW1
yBp6H31Q/xrmrovZPlhpN31qntkTFNH87r02Y/GWEJV5LeZ+Wsfw5I0wUjj7vCGknZtjgL9FQ4uS
kIaJSdxt0V5E5Vtv8lmP6NcCcuGUTgBlRTat69iZtnar1rtqbtl1Rgdo2W1fZfhpOLk/exJ/zp1R
n+Q7yzC32rTMw5aV3lFqyjvVPF9rNZkFZDjkDx79aL72WXSOx+7o+VH2FWTDkW949lX7zTHhTbvr
0dC4rionNPdR0pdvohKvABGJ7KH98yqyR/m8h5Lklq7CMakFN/nGuVmgXnsIy0xx9ZXNdPAQl1YO
n5kFohnpTIYz8MvyEueb1iBimvvE2CNDNmrZUYnD8kkhfmGRzzP2PEkx5AUMUfNzEgX5HNzZ7eVf
VmNa1C5zMMWLhldjZPecxDe6rF9qD93dnnvGfkqBzN4sPgdu3j6LXttrU6k98nV/HkCfH2TYrlyD
SxFG+NbZZMhFOErtx75TmPTJK7umdxnf4B7Xyaw36wko28Yd/9WT33r6W6hH9tlF/AVOiOeatagZ
qzDCwZqouwA1w1NhDb/krnPeYmaNM7ygoem2IxMasKw64ut55Q2VNj5ONQJjxi3ayoqGfDu6avUY
mulermHyDJfovtUn/UyiI9BgZwxWlsVGMXGTHyrM2l9uyuQZbdnCU4yHKvbdiymyGkWeRx6yx7bR
bdToYvTMm6W3GigAlPD6R0Sf6P6AAb8RxTuD538/gDwYBtqDuf/HgxRtk6Rp8//+LX88QD4P1PmA
yNzwSLkdn3o6xYDpKuV9MPUeSUk4y73V6clsUXvO98e2lq4zIzf2ZMKZby1BRPLxMAWgmYq02DIU
bpZDoWvr0dG8x2FKt/ITGUVT/XvhKxi49MjeKB3nOnEobPr+lXifVNK5XMQSp8SpQtYgWzuaxAov
A99NTzRm5duuWLjtZN68PJ1UJmZ4lolhGLIrVmomz/N8Y9CrC04tgxaBSdPb6E6jFvj3zR0BM+M2
L7Pfp1nqkV3XYP+MfNLQAzVCo+IGS90eund8wG9RGw5fpgE316dVuiBYYZUINlPwpz6MFlQn2EU8
uRaLpNAK9zy6kU81jC40tzLvrVOtM2Cw6lNrnTcVgsmL1+ATRGZIm4Qv4xVe77RMLPQ2Q0o8s4B+
uRStm98sz8ITRUY1du65IPLresuLYT20SXLClIGGacbgiIrX3pk+tLDb+V5zkluCe82HJSY7OmAs
1Qb0cGk2r0Y7lAci0osVVXANXpciS46UDGH4j1QvwRG9VrKWLh3XWQQCVB7xteW6yx2I0Aa/KPHg
6OcR7kik9hla/jR8lUeU+sHvIyruJ6wky2j2kykTMt4Qie899nTqSY7WzfpT75DgkgyYv4L/x2hf
fqgSJ4biujvjtY4hUabzrBkX6lbUgFtb4T7Im9pzV9Jw4hLkdc206RAMeYNNgO6c3PA7CiZlZBs/
1FGDXyZ/alMsKBY6/GaCEJYQsCxnYbRRlUYx36LJX48KHxMKJBJn3Sy9mgMBwUnclt+zZljZ85TD
Z8O3cMxYfQ4IANnY6IjAQxfrO4/HHPhPUmLjAW2P6iYTCd3rWbXV2J66l6cW08Cl0hqY8YbySdJI
VM8OMHRlzWokknvRVSO59xakLnkhtO0yOkyt8fvUwlZ3Xx0iVfmuxMnMBuEJKyM41bRg69waNP3R
kmHHjAuQVSwdU6H4hzjO26W8cheYrVaJFd3/QOjpP13Gd2dZdfliei+mlc2c67HFB3Y2R5gbcu9U
ApdeoGIloSSfrH1JkbWPJpLG1IHO7P1J+YhNkoHOqHzuahZ2x+h/T9OCBqOCMzMow+gjDxA8KPEU
/j4qvDOrUPfIhFOs4Fx0V8sDEdtbZb5vwOVfZF/MREEQCyV8SPRSoVcwffMmvb7J/XZhxWR8s48Y
A7wCRuf8h+fa+18rIFgLDGwkHjiEHlhsLrx/usq0slDaUmS/pe29ZZIGyBfiGlhVvcn/PHInI7zf
h1tqBUuhegmBtHlB7DMvCPNrFIQsEKGVPY5SYllkw4LGgn+cHDGtTTZbC93mcni/swtcDRZ9sEWn
OTwonXhQ2XkcyXOHvNMiAV+rJnwn1yRBRi2DnO0f4F92gNdO3qTJtIee8YPGmHeV9ydoVM82iaou
f/nJIbhoY3aqOOkFBMDKNtxNzCb5punprUiiV9Py/Bd3dKhZ5iO01/myhxNzRqearpius0ugiplv
IvK1SAp1IITPp6T12Ss8mmu4LhSYE0LZUOVGHumh9oouOTx3KqEYam9dJF+74Wye7C1614KibFtP
9+rLVUESm1bzKGumpof5Y9dvhccIGJWYiZ6GGz+NzIvtqvzHTvLctvq3+/7VMXQE0BWjxUhNoFxU
9Dv+wykKgwXTyt+svORCOKhvNUtjA6k6jjujTf7mM+tHe9IIntIO2A/Da1La7YaurLd2KqdZJopq
JOfCUF4agrMv9ERDBlag0EjKADNUIfAak35LlkxBakrWPrRGUS1p6IU//epnptbdUm00dzdm0fjQ
TV5xyCvvQ6ua8cGYb+rG1HZ3BTKqi6VfN/SRsvwt6JppU3qltrey9pzgVIIZ32BYqVxtVdnV57wo
MHgvD3xdi0e6f+oCf6Gyw3vab2OhYU0ovItfMgEuRuPJtLLqNtD5vtBCaO+D92RkQl3mQb/vPBNI
mhAMlNWR3k2WvplNmW/I/fiVaxWNKxwdaxX73U5zRb0sCVJhvKRQT82S6XEcy/OUttcwrPflZKt8
7Kz8gOcVrNMsc53vJ6/AqhTzZxUynmy75jOBKU5X1ntyHV7KukLvLxKDBNuphe/fl63HENibwzn7
VYJX84dblQtQ/8o7gJ1skxgkbbkK3cMgJYSyqVp/SYybe47KafpdmlohsRRe0/LRYVOIVSVsso2q
/mz0aA6F0LvPoo6G/0gcMf4dwAzoxvN0VzVsW2Xd/wfloRWVkaGeMQ4KARzrnmHSyhxfnLqMkWV3
iLw0+1c6Z2FV86tnpulFN7wUZKGRf4xavY+jkBdrHkeXUx0/olikDrpZzs1hPGMtyNfasefVWOTB
yGqJdgah94vOAJ4X31C0BchVQZfYq9fsUf1vnrm2a22X5mHxjY0OoKciF4ekSl7z2i3WcqLrGsju
WK+nNSH05BqFOuGecIf8GTwSD4NYhrHdnCdBuF7S+j8HDmLP9+QBwIO2DP13LWlA61tsR8s2RrMz
8jlZILDoll7S1humd+Zy7HumgjRTV7P0m+TglKxIHVFWNdQFrXjSQaUGlCJlxYbcfebFBHymwn4W
kYcEU8Pw24Xi0qhYfkYb9UztpoLxc3dlKEEzztQ3GcU1HTk0NlLopMcTcn6NT8psaRwMEEMYkK2l
bJjpNabOvsPfqs1Qt9HPEcwYbXNopcEGQgXSOBdiatjozlNhEpEQHCrNrLaD1jHDdjOWX+ljmHyH
4oUUgQ3piP5FHgUJLTE40cYiMzymFl7f7G08cA+NcC+2lcVvseWcogFek5hFKqP2UiRM+obA4ONa
YzM0rbLZGnCH560Vg40TaCwNlSgdJJ+c+QOuU1jayVQ9oEmGPazUNQqK+rOZKJcCrah3fbCtHNuN
oQJsvUopn3oiC5ecuKVw3tC1tvNP/nxI2lrdnNjO5lm+gWiSkQ1PpcHz4a29Y7uRcDV4Y39CfP9e
1QiKnNB6K4c0foqa3lloGJ4uvd8lDxN+ikU7mjktU+RRlqjU3ZDSnZICk4zt+s6BHbW8K179RAVo
1tsQeKN6mZmtDdiDdpkOfxytSby6jzCtgBZ26vp3WrpWedbJ1QDSOn9EYszYu2luBNV+8DVG1YNU
4DItKvcaYHFAIRFVp6I6fFzrjSC0/B5SJdWx9IfYIYC33ov5+1mQDryImpwc7BI3aedb+rJnC3U3
l2aIZa6gDXbdbFdXI6YIMSC0ZBZtT/BnPE2xbpaaBjdFrS6tRoBQRaIvLCLUUY5WDsvG959F6DBY
InV7xW7B+RjyCQ8lw5O4vcnrQN6FIHuryV6wLH9qXPzrlSbwkNwF3CxvdGoHDLfYC8M1wl7rydf7
DCdAcRRE225GEAl3bq7nF+0uNhx3aRUhUCV/FDt4Q+IUkp6wdkgWkQGDgR37C0fYgL6lYxjCg7fr
NdaoUaWf3lZzEu0iz0gLQ/MxrquZcScki6ouhtO9A6QGSnfTwknbDS2gN77xn9K73s0adiSdI5Jm
XqfwyzdIyY4HMIuS5tyDFdqImesuu6d2P3ykFti5kO4X6nrfA01o/4qwIO5rRPjreKCiF/TWdkwB
mmOoFphfAs9YxiM9oHw2iXTaROikRyxMmRdfssxVEHCf57NSZ+HsR1J+ooiYVCd1PsM2eTYheL5C
dLv2SsBgJ0SOJp+uVjJej0fNPqsFoz5iUZcYvGica5lOpYgTyPvzJh0QNwvDPGGpgZ1sxvlZ7cqe
1i4ywX7iEzrRNNnJ39uN9Q8AC+a1JFQvG9xmLzM7S58tpVLxGiN9+ul6WH/bARnP/9/da/0rJguk
Eztky1FVxyIr659pnQ0NhXqqSmqziMF2G/ZMl6dpKWN5jSpUl2lifPNdzV9rMy2sMBJn0bpVdhwI
+Trdp5h6lIcHSVsdCkZrXaqdE09LvldZsTDmhAFtTqdITCaf8zpo2gT22DXGlr/cGPKoafNXg8Q6
Rvw01T0vHTaSGCtx3GSOMnozxmytuQoiNNDmZ1xOISOx5ijnomPV8k5ojPTybtjo4+QBZQ3ro0sL
6nVmEqpDRLOrIno8LkDdclnuFlrf0jmsIxDpuJvJ9cxDLt1EK+qWLpYgWhifSmdd1sEVzKp+D9eu
vbp+dyg0BclH0em3v46C1Nu6lYORcOaeS+T5HYYuz3MmL/J/myMU2Ak9TPON6NNiF8JkAWzEqUR6
yMHAGGEDsAS5h7HurdUgcrY1CaQLFJnwMHowgnV5iSc+XXKwF7hRg0olRLSEjOFJEBcw/77EZZLu
qt5e/kW/MOND5+LnnZmreDMPuLbhiHhptLLdYtpxafA2HRPGPbhm6yTXODbL03YK8nCdt5VL9PcU
X+QPEi0t85UP+eCE7LpdyDsLbzR20o4XEfezDZRaW+eB5V+mmg9EMTvBKN0mpmzpbtDgUMZ9DE1n
HvGpvAWrcD4Na/si0pjsm1rHBZ1o/dJUc2sv4P08FnXyEASFTXY9WlbDOQ/zgEDuWrr5aBB6DAtO
MdeSeCV/wFQr9gnHkop5G4dskycfkKvI7TbKdCstb9w9jRCa666kwsc0tDPLHs5yxvY4q5Tup5cu
usxe2ErbXYWv4gWO2BO3TnxD91TuJT0gw/66dEHmrYFBU+Wg9Ld7Nd8rs25J3tTWECykzTqIumIv
FxjhjPqmwboCOOim5koHQ8qqbxOb6CO+vJ8ibOubUSX62vRx3KTx4K3TjvR4cwYb9klHZzuoFnLf
7pteeZDiMCcbPcyxSr9tQ3V4GCtYY4iA6q1ocEsxZKzHcTionjWsKhBb8dDZn64y4o02bPNJbe1g
ZQZK/oZLnA6WVSjUNRMCFiVPLsqKbbi6b8y+2CqtIMECT/jJKnXzFQgPcWL9D3I5k7NJiMrhvoLT
15iYHPSEG6N53Mt1V1Gtdn/fXoSEks57IqbFSycd0w/LCx/DhqFCPJQW2DBUzdikyEAXzsFNbPPZ
ypTT3QLRjxqY/PB3vsjdgI2Sie/xfNmSmzy58at0tV11up7vBMgC/F3+sXF7SgXytOr9/WlqOnNc
OJsst3WjkuzdZ9VG4lyHrrNWGI/Lu54s6BzWXi/gERjLRUnGh2dV41qorv4yxZm9ceZTLsA76EPe
Ga9HePTxwa5kgZTr4SxiEOtizo5ih12y2XLL92JUS8ZK/hcu63HeeXO/TkqR02WCJpNpoxwYDahM
6a4ZIJ6VohnXUiLKGJgsnsal5XOQomYfltyKpStc0pgQqzRQ1E8UrYxIpOqzA0qxgjl1lC8i9ImX
qGbMKMEbmHzqe1aYTujrMiEjYYF740P+ITHHFwRFs7GhiSFch/E2C8mlLDBPomeFBlU2qPVGPlpu
0fIyXN5lXoHr7v7K9dPCq18b+iky9fXdiMq2Nb+14QHZifruJpW7jfMSCx00sXVlKRQRohhJtDDa
q9xoxnHEejHwpu/lZWdEALFhy1EeUqy1W7KVqqWNNjddYsoD39N64Gel4Mw2LbRXIMu3fZllB7cb
C5LJbI2tYqcRLOXES8xPj34ooIZbNUVvo3lnQtQ3vRo/t14eneW3Vwczs82g48srnnwSTm7Ea5PN
iUBL/UhSYL9CcKnik0y7Y+rk7cJsWnXTVWW2I5eMj1Xa9WsdWe+6qb3+VOutecpZZdflQMy3jH8K
Ev2ZtqD3A3LAc4FK4wl1TnCYIMjvC1c9BDMgUDfaYEkNkexTrQtPKX6oJfNX400bpmE99Fwzam34
fu+1VCkfHGQsf920ftzucDpdsslFaT3GLzq7vB9DMILCBDtDwGC5qBVTpxFRBdt6XjRduX52FHlr
V4rhAi/dlvRdVr8VvzbQz0HFglpkqnoUVvJLWsOY81LNle74kPRfnlkqP/SQSBAXVfiVZAYJJI6r
YP72pDCvy+p4V0XlFGkLQHknucAVUi7K+81FRw5A4TF6q7jSVuRQ4Nees4Z05ZvcoHhGwJepaqxj
QQnqRkn1LNzC2jkW33MEvK81icZmyKCiTLtdojn6QW5NnFPvde6JPcVw8Hr1MFIGLTw33RSppZ3H
KLG3QGWZHgPkK9UXJlp4ktSxgUbYvymUk0CsB8RI/VDR8rR2PR7gVWU2zgqJ1B1yaIdFcdQxcizx
stpMG8BjtBET4dEXPAu+VUv6D4Tbo5ddmfOXU53o9E9hnR8a0+0WXFL/C11JUOr/9MlckJ8WXwLb
prtiabYu6V1/65OFKToj8NnuoastnJ0jFzvchuQlYdRiVa4PbQ7VoCqNess80tipZtE9CeJV8T3u
d1gsZkR5Ty8peuXj11xrP34yaW1YmXrzS01/Tv1B36jK0B50M4yvJWx03y367ykCHpH0nzGOgsUw
CWPXtobC/CV+TnFhneUHqJ5LR1RGP4rcDU5qPjWbzoy7jZyvFCiX19BqsiNuFOyZ1K3J4C9tr6an
CE5spcQqwrSC2E0fXT6QH04todFIn7xn+dG6b9IqZVXYCKnF/YNG/bZp0IAt5SbNaRETQjLSiSiY
xbBDysgtrlPvOSiR27Ddce9HEDH4rcYsUuO71A0BoJTBCTYSrUQ4yS+GqTb57x2/hF0psLWImMME
R/EZ4RN9gdaziWLTBD2GytlMzRzaPf9FvSzuSoy8a8XKZXSxQt+3McMq/m6qYunGNS6z+aiPhP3e
Jrqzm2TaIgTj0zjfGEobrkqfXYqbmj1JQOh1ZW1uJE93U6NJ7hlh4ZB027x5NBuafCl9S5omTvc7
USZEZL9lmYOZyzVuQ24o2e8zt6Uu2U7JdRgNUEp77sVQmuylGlZuuGptl8N5/Qy9peKFl65o4rfB
byh9U5XL7txegCr5YgxiQlRPfloZlBe98d33OM/7ZW459aOiTRWlOUQ8McVnmvJrrelId5zmWEJ5
U7gzjaXQCcpFjsP0pj2PHS9o5drrqHX8az4Cywnm3cZ/1Vj/+go5juFZ4MwoPlCu/4OflPlO4BcD
mSyeG6rrHhV8befqz/nA8PX7gRVX2ZvJDMuFcp+HWndJdX3at0FpLk0tTE9W7pPkQDCC4DK4j3GR
Lw0LBIXJOiw7YGNZtjv8LV/3vRTX7LUFT+QRlF5wRsDIUCgql3Bmqyf5VmBmXkZ6VD1VDrsKMy7q
RVOOrz0a2B/VHweJ0r2GQtWWcUwAvHzlgrkzU0OVBQ5T3weZ8n55sWaUtjFLhpmuFwf/MdL5N4jK
07geOSZ4R4d6leP/7dnnU+CnCDXTY1wNv+HJQa2dqlhdZMIpLpb00gYIMhdea5UFW/Qp2gzG7BcR
nn5swhdZ45HWgxU74npWQTF9DJ3aPVeRssdx7j8aU+8/5lOr7Yi8Aj4+3ydvAnBvM5X/UCnjdJ40
G0J4HlprkRUD17bqZMcDn7qmvMreqjPGz9N8VioOkAIUZFRH8QiwSI9d2vqk4WLyQGJgRKd4eR+q
ykLXz5BQyyoxKS31MRtVRt4g5B+R8ba7qCzFNie7jYzZ+Eiok7hMQ1muQGomJLU0/IzEB10nEWOW
scsbOyRsJY5ikkpnu2pCmKqmWuGj1H/SMYlXzoIciXwv7dbDVK7RxyUvkySzJek+ZQJ9n3+4avkd
OV5+a5oMH5zSvBiFVV9zkG0XCCfLxlaWSajmCNI5aoyYo0QPVpU8mn9qZM4Ptwirb/Pd9wfMDzXB
fq3i2BDkMOL/07L2e+WgacyJLn+0CATdOk2/N+FAPwhcxPIVBk2VLwpq7IdQZJcYy8HnfDCRN7VV
VBuuVFfwPnfdtJWGcaUtri7pZFiq3LNjFM6W9lSLnPeXfiCDyqRvBLAtMvHCRTW7gbJrCBF298wO
Mdu7DhzIxDhikik0/KpVCH6aMAuMPu1Ki42jqU5fk4+cKSuSXwOUEKdXfua6wH4cBEsIrx9TK3KC
P1p3YWveOoiNdVpm36coifmq4qoE4VpU+iuaiz2zHNKzSGS0glOVKT8DxmabfE4ezezws42bRSkS
SPrd6B346iosaEjtETJHwtia9cBvLD12KXq0rQpTXzgxoXomed1Lnwi3zm+3jpnZ6/8j7LyW5Da2
bftFiEDC47W87a72Tb4gKGoL3nt8/R2ZxbMpUTe4X1qoahqxGshcudacY5ad04Oo008gCwP2pDzd
uKG36naVwwm6rLO3kVFNzODgkIaXNIZnZ7fJWecmk41+2rsueY/5yhQ10tnhAXzfjqGXjZyAvy8d
3xI91Tdp3xSXvm24D6i8E8/g/JmRzM0KFGRivsh42VXatuEzZ2ugwyQOkg90mvPqOShyPPFwi9qa
KFjcZsbRto8CNvDFbUzs2WWC04gPAffudELLPp1A1746joFpktP1xhqdZR3XvOiHrZMUE1rtZSVy
NmkS845V237W1H6srculAuxR4WpJautPPNCEsepfLYgdDj0XI15xQCygnrTEG8zjXhIw+gL3SZP0
3cELiLVojIWuwfKS+QkZhRFei0FYxzKcCZMMnWwNvLp/XUr7NBc1lYljXEWh/dkABXH4c+ah9x71
oL9muXN2E2IYdSAo9cDz3FHmr0at4PMLgZsDdPC1GGA2YCSHxX+P2Mpe+Q0DR5LOVt7kp8QneARp
89wyubsyMHmxR2O7+LDMir/gElAVl6t4ML4sc+psmWEPdVS8+lZhrXtquYPl6yTBdLIf1EcXxmgf
43/B/spy19kkLJBdLSrCZfFSGO9tOj/QH/seN7NP00nPdpW36ESu6MNLUowndB0NNMe02wq5j9GV
S8iPoWR0h+5tFn6H3qysnrqxe/eL8SETU/g34zwh3+W5XZjN6kByI7nGwy0m0QW3bZk/FENebLol
3/OdFTvuZjK/5qa9MrJlVXCidcnCEe0myHjOOms9WMsq4Ec28XHlBDEnc09vF6TK8MIRlngnSs65
fy5dhqkwqgPnPemzVTcvLNoZxwqLBs8tjr9WJrNRE/dRd2ndah9ViJDwSCUcbx+hGbXeIcwwtZHW
nOs7wESYlVdZ+LmANHCZrPsvVrDK4k+08us65ERI4L3hX/1s66Xt1qdFlrjceSepUmlOonFXpuSy
6NrKWd6dIvfXoY7iEPsFC8+jlz57JWGOfV+IdW0FqBsr7dn3ivAc9HTyAv2WeHa41hInO4vC27m9
eTGzkz55zWYhguNcTNRTo4XUsbf9jY+M5lFgxinEV3Ps6lvVrsaENEYjGFeRPcxrLSqIGbXS4aMJ
O9xPAIuBysPpyu19aPjDKR2+oD2ctr0XSK9UvqXb8zELfR22JWEd2fA2jGl9zXqtRuPqnnn69GOM
gWjfyOHGvJRsEropNiF2Txi+ybkXYq0vLCNz1WbHydHOXSGDN5aJOz2KQVY05dWZrUdDJ+WuLsAk
pN9LolS1eouo65trzcQxWMm0wp8c7frsBjLpCCXfOmaAq1P/owtKfeVZ3XcUK2UB6sq/qX5OHRGR
6bEPg80b+9g/I46rDl6FFiOsp4PjpNFFD9xP1Wain1qubC831iYj1JNjD8VhgTH8UFultYVkXzzn
ZWVz0sAeN+REJzp96INWt9J1aY8mAJyGaXDpmg8mrNJda2WYHuV76rswZ8sN8z47vY5mQuI41nif
wsh3ivrBVUdwxOMU221MEkrcjh+tHtA8q8Ve2TnvvzX32/4gBEARyAzsDGWVP8xNuPVbPzp4NR5W
haC0qrmhnWcEZMp4G6eq3Atw93lt6Hq0pYrSr1VJLK+arnWtNu98aFG7mOH9hh+ZeSfW4PYO1xyw
lp1yomoLm1tAIBTBZgHScTgiL3Br7b09xYSvx91VfeYMDzkGypdl2jLKmkxwt7YzXq2xCs5NSS6v
UTjIzaXu+fdluxByYP9TIiKPvsBOddJ7fMezAS1KidHfjr4GVbCjc5edO5sDG7XedPW8ztmkdDDX
JGhF5/scTtXuDQJtMjis96bTv1SY1vns5mU3wg26jj5EK4tlcNC7l2JxtQOGQ6wLLKTXXjUfxyj5
YsM86pOheJ8qcb0fV01sPtGzKl7gyzIXkzxefwIvAsUsXcUQN1aBNgcvuZGkezgvNPlbn25G2p+Y
jjGnRhY+k4yovXYTDxFamG+RDZhnsWfv1SRSaOdqSb7J8x4KXeiBGmvpWKnzBLfyvAld//u4AJ+n
ObW8kNcTb8qWHQ6aF26w+uMnwinqsfhIGluNVTOLhxYQfLmJ5ak7q5NknQ4enw8Zhenk6gyEe2ej
2CmksXsPJnEh9bR3FZYoTCL/yuBrHxYFSQZ+fVVtdUBg37Sxz+/nUizChPLhH2IAE9VrB5vbtQ8B
cSMGREhfx/15jjkIK3Z638D/Kw4k3FBIJZSyof+VqXl0UW5jrw/TRxd8xmS2D/e2qJmF3RX1SfE4
zfFZYUc8BpDPuJGPSlI+122+WvLJes6ycnt3RPz+9lODt3/cfbZueobjEiigW5b5q5zEdHI9Tlxz
hF7KqaMIzlA8PBTvO3U76O7QHmglru5kOgWpK0HZWFl7cf2BjUHiV0oksUCPvfRl0eeSH12ZvYQo
h+5XJaO80itwutmMbuDP+rt7o1Zgdxjxbdz9vF1tRCe3b+PV/TwJ5IryLNE2CszKyR0cVpu+UOhq
BxQQIccKEnwNMHB/TIn7hcGGeMkZJxxDKrxd9fb7z8k2/tWhsm3bJCfZIn+Q1qwvv/+3x7Ruuqij
81+f80hMm8UYu7OWCyPHd+QWK1cK0ZHvo90s+eyKZN31TkGXAMOig7xpbL57Zt39JQd3viFwkEuS
IzE3Nwi+iFEFDg+leRiA8PRWuIE5I7v7fTnMb95JHURQCII+pKeIRtulpjfKC0it8EKxFu2iAA2v
3pMG4G8xN5ZPse6QYaZIUfcxRYmZ66gmWCQ51fBQ5i2zLSJ4gzJiMGfrHyiDViaKyS9GW/JcdMk7
ZPJp1Xqp+9i1/ZNTplQI0Wg9t2Sh1RVaTBTw9UY9yHW5m6KhJ/umbRmfGPUB9Xmw5fZG9dkt3hVO
zLgZWqvGykU9YzgIjI0JNoYaCggNpJZTkqSjmk3kPBwVwcqtx+YQluMfthwk/kyxh7r+132MQjtF
ee1/sg2DoEgPP6A+yAapZrpwQxedx1GGgEjprsWIP9oVQeUBXAJmqAQjTew8tRbD9pIjOXGfmJii
utJv6iqRV2VQfSKEk8GL7VGFpeTAtm6+ayOzQgBNg06AqIjFdsKdEW2hXf8FtIFacbRd7EIMMP0u
W/oVUT7JtnNJ5L5igZg395FeXcNHjFOg6KHl0nLV+Qbp6ivFe0IOCbN3DqaNWikaS7O3vRkzQSQL
cK2Crypn5t+J2ujOSV0CaFqKITsKvThoWgBeJ0pjZuOTqNbeGMDdCPmB4POYLrXJ/+esO5xLscsb
cqCeJ6kNnir66gXxtLuvm0n+l4uMa3+fhjRF5q2wfzq7cWK65ZKuRfurf43NYCbmUe65QYWi+T5x
Yfl07pGGNYSkLXxREkaKjBwdYzj8/AHHod1sm8AYSO0mPtGhMfwwaXoNtJL9Q74lyHRZ+3KXVBlg
5O6M67r27Q0kUGJTKqPdpHMAW2Oc9VOUGz+u2gzsMUbcjVpiKnqoxynRwRlIoMBYRbhXcuuodv4B
KsvVGaIvwVxexsjtb82IHMFbks/756BeTtG4X+YQFwNCxNjuog2g3uCMQbF6qYfxFTMOK2E4HyKN
sJQn+nGENnJDkx28VfgLoAnVc5N9FIH3onaxoUIHbCDLf2lx2LYiOE1+0N6wdvqrJUayRTVLM5bt
GGuumK6qXqD4A2uOHLT4M53y9skaGNt2Xh3DQ6RhVYuY/8Uoffcm450D8C7V3O6tf8m4Xa9T6HjI
xEeG5/KlnQ+fXjZOD57LjJwJh36syNp7Hxgr3HkIEoqgbtekjAzwwPIoqKSDvu1QO40CNbfUH6XU
feQJYnXGLmCvArKe7iBkR8QXX37i6osROMe8L3ElsqwR/BaluwyTzMZecvPSS+2oQ62mFsAKmsvp
vpjh2oIWakuwtWynI+ZzUJ5pyFRL48mGxrTyk6Y+uNzuO5xVwFSCqrvosWuxjdra8+gCESnaqXmF
tG+vtRHqlmcEDeb90t9EDpJ8VRkO8mVX24KGMrptKVgM8myL4Mc6+7Md7YJmFPu4qEKTo0K8iUQz
X9T03a7sh0hraZkp7xcHYH2dm22+y3pSwksWyGsaoQ+Na3wu1J/GTWT4hV1pcx+C4YJxAHcL+UhF
bn9VF1oZfC30wXwSuS4932iBHBKAwHhMJxh/1MZplmhnFDboTeQ4Oobbfyl0jRPfkMCZQ9jztpTw
eN0uXQnyE8E8IfPgO+riv98as5Wdta90x6RLC0pw1I7tEb5U+FEKBFH8U5jKJdmJiZG29woTelsE
QbEYOGxVPs06RvFqcJJPnXOem11j3ToNP4zU0KmAZPbFajNaU7JR9woFZ76tE+8SsKcntIIpCdv5
YqLHoFaKaAx39eNAybYflbZnFA9Vi0vpj8QrvAcl66qS0b5lBPACSVvh0s33SmrGAFmyvgfWNlrO
055P8/leT/cziaSUqjaIQM9fNUELPUWK26YcU4JTt8HeXnyabzg1Nz8lRBYnstHjHGBnQLvKIVgr
FplaZjnKtY99SiSj10xvjUE/SCZvqy/0qz16vUbyt/cSt82uuiK4abIiD2kiDSC8tkqbpT6tXEGb
f35HjRcpHoxzWOZXTdOSfUF/6MdVrN+WJHROlky5IMSO3FdS1DPUUPiC0peQYc3aohN7Uo6MrsMW
rl5yDi82RACKHbC8/rEeAFIR4f4zs95kYLoil54xcdm+RcNgPS9syM+NtUlFSfjtYjfjrpumAV1N
GPM6aE6BNgygs/i1ONFGqKTwp6YQMqky33rRUyXoGLXOMpx/vh8xxv75ft251YanE+BPM704wId3
gVYTjCQRTpZ86c9puru7VXQxbbvxKfDkz7kT5dfkP+qvMjCq7UVqT3vU7/JdQI20jQfNvGQxJLp0
ahhNICX9fc1o/iL+JyfKspkjUFj7Nqrtf53sQqEZNk3Mvbk8ZMTIfF0GGnAsTONDEoh0eSdYk9ec
/29aiTPZmqzqauECOMNYNHc0/OuXlnMYnIjW3Jo1dSdC2pAMML246ZqJ/8YPr0YpmVZtbJTAJnur
lZ9x+8P9rBX1rtLRgbbCiS+dxxZtoWXYKElg58LzbKaEdL+kMj/mLjnH/pfffwZC/3cqIfE6OnNd
xyDi0Pk1d8kNOFDQ3Kv3kTXOLJxMBiYThRp94a9qTpA0gU5RIKhKVG1SdzpGtNGYkQegrST1ZGEC
uUCOssJ1rapD3bPGg+0sbFfyRm8bmUMoUdCTDKHgzN89l2WBoVpeqWCKcBL5qugAB5CT5T6MMYhB
cyhuBDQ0jzW+v7uXwKy/2230qZoXmhVcyUcJGGgBTFVHFishx4mhq77+idr0/XLcNF09rfVSK1bg
+CvJMKn2bQWIqAihNSueFP4p9gjAtE8oNaRJgYfSnlAPaCxryLT8K3Ata7V0tN+WyZ93lYuKu5Bf
5uJapMa3pK6pwdoKrUWNukFlaUxxj0y1BrqF+UYF8YY7vaXytEUm1ioCpjZmEEGyaDC1sl/bdM5a
NScpE9auJjQ2yDYsEsyC9eKRHbbycxdhvUygoNQXD35KizfyXhJEXK8gXNJNTYbcQ5A07mnJsf4l
FoBzeKvxRjEJFJ2ArNv8f3VKTGmW+XlWlRFe2K0wwAnD8BzXFb8cwRKCNCZi5cs9+EIIlzXD9GZy
+QThSz+rL4iH/tL6pV7TzIlXHSokBbzDqwythwyOK4J482khOyEMo1N4RpGcPlQyJhbmdUYYg26f
0ex3uxYX6FLjJkmzHjFgWoOCY56LVTNj7+7qQ0fk7epe0JTdPBB8XmqycZXQhJzmz56ElB+pYo1Z
rIXMjAiI17ipK4Mu6Bp8KU2zPoYzj50ZiaT5RV3RIDa/RDUTzqkZLqoqnsSsQaeLP5VePfI761q3
3tEoxubewMo7Or6ah0iBkUmyXqYo2NH1+lQ1TFq38ZZmnbOWb4FPM3cF4/idKp1Vvz0Uzs1zMyoi
IyweLOKjN8hZ9O2UafnNLIr8MgUWhCMzZLbntsNrY3bFQ+DWr+qV+qJPFwYB00uYYZ0ochHstZEW
QCGbAcUIuAWFlUm2QaE/tYs9nAIHB3ose+ioRdIPmLOfod57p8XUaL7F06OPU+eTZNIcjxGwu9nz
2uNgsH2ww/8Row2+hl2l79VVYYz6fiwPMY78g3J9MwN/1RfTAzkRaC8zZjy0uHK0QwXH7DW+xLB8
oWth7w8KXRAcTFihesnR7oDQ+urXs/tHiwwsqcv08vtl0fq1m+AxdpYbg6WD5XN075emX49fMY+d
eTjag+U8GImkIiBAM3Mzulm90RqPlpjT/X1FjM242mpT8mlHQNIIc9M3rCOcA0efFVGtAxzGvdV9
MJ3DsqJ/LfsLQecN7P/T1KKCrb8LO6nux6zQ0KpLYut39lrDjgHrHZLRAHJyBEeA8LkX5XYkNjBN
lmd14JzcfFyDiJoPio1b0HfFfpPvpsxsIWQ4JRaN0JFPXnmK5UsxZs9uO3o3Z6qdl99/gIb4NS6K
HHDHcH3d9yzPN6xfQ8EJARsbksTiE7yvbHqKy6FCq6eXxG7IbjgflK/OHa732OfTsAJ3Gv9Z2cyc
e/fPIfLYLGpSv3O7mY5KpIzkhY7plBzKxtwCS2+flINKF2Z+CR39VmctzO4QlU3gPhhZUoJ7apzN
kODhvevFaFXmoKGW4BZ38TqUyP4KG8z6vvpqDiCIOQvSS141uLZNXbq56/iIR+NgpRFUOGuqiO9Q
a/Vsxkx0ar/ahICa7sc8w7MZRUY5KUKtXTABXrmefr2L0br62HSkjO2cABZUVyYOHC6AdEr/awdu
R9xcBip7EO93e7K5QKHqgobBxFdhaesWqOabC0ngiswSlxJ4TrSONB/UZ8lghIwXWrSIvtls1Bfv
6/2j589cmGEmO4yO8edU5tk+7bT2QMPHeSN39GEZCJORMvuOcc4qd2YGVaBFmosr5Qp3KxRPPZTu
rFlnqIERNObTVTGqfeTR46Zn+kLPxGI8HFWbQB591BcVjSImMwRSpBpqQ8lNidZxQ/ulufSeXyGc
mE5m773c9bfMgbCSBLW3ucM4synwNovymltGBo9f/iVOelZ/sjsKlwFIvK95+2ZozX8a5GtnBvg4
R00wMr4JIlWVKdmkU7pJbCsOgq+VlDCNgd083PFMBAsTV2JG/Zrh/LC7e59AXjRrV01RYqZrCJ0W
WgfyyzzXwdmR0n71EvIEHaQmC/apCTGynQTZmRKhq7pW6j2o3P2x69yvHakaRzEJ6zFwBQb4eXkF
VWw9Yvu3AVRztRg2zys2rI16GQQUkncxjxGhY/z50S/10O1h3O3vLTkeuFuf2A4jaUQh9DgJx+ni
cNzcdwmC4rdOlWebRW4aME2RKLodQGs5hU3QdJJ8WL4mxGekZnExacxcZqkOg0AsCPAiaJoDu3Oe
IshsE8v0TTNM8ZAPmoN9HBL2/bFoO54pLAytTlWDjer4+2XF/jUXkpXEN00XCZCvewxlftH+UH14
AsBFezIRoqVRXqM1iYw3deURKvCAf1SyaIT9SlfAoLuG9cAUkfOadeDaKILmjZAv0QYXZzIQZxrC
vcM4PjIesy6/qt/qJhMJnqnojMd70nhJDNBeB/I/FoP5WffzTTVjVINGneWYZmX70WdWVo0dvDXP
fKtCMZ0XG2fqGLr6FwqzclUtsf2YjI24Ndoo/eSV+JLFYK5iHQ7AfYAQwIL+GIF9oqN3/tRcxq1m
HbcvZlnM/8P3I6x/fZ6O7+jSqOriWrVt75fPMyFNdbZKKHZh29dvuq3la5Ao4bu6Kq1au7+nrkKf
XB0v+qZ6Fyj96Rw1nnVvZYzyZb5Y1orxxA9o4ZBBqdLDkZl6VJMp/l/+FW6a9JSb8YtyRqhujCU9
ElTqwT7LyUY0AdvvM4+ORzAvOm0mjhyI16btT4dVvyqF12OqoyaJOIrvoNc2b83sfQ/hQ3slQuEo
Fl+IRXYw8bgRlMRofhZV+6rex51WgMCKe9wavvfGhIRzhL+f22l6GYCcPI1t9Fy7A+cubC7HPhZg
DoJhpcYusdWYKxP38FU1V+7L7H1LN+NXa4HXu8C0UNXgNI501xJN5lMWDw3psxd4F/170UDIA83S
6IZzYXe0VnQGd3fA7v1xx0zf7J1U+Ke6Th4UgFXxcucM54ao23STGwLEdcSAT8+DaSfS4HJvyste
/FAMyIrZElZ+C0wpqH3zo9RjbzcX/bBTnkgrNMdVZsCBr6PmoAyPytM9ePOHvVjF+t4Bz3T3q+uC
4Sq9CQlOgYOASp8UR2KwcsKCX7S4u5naqEtpLExns43+0Jt4X5oYLStbRjk1ztcx9okPRmrJWvrS
J3p/7WOZ1DfFzAX1eRC034butphM0Y3AZQJB0Pej5VhifZ9T/34pMf8/t76MGtYFEkIKvV8LFA8d
n6ZjQT53uTd9X6CFk6HAeV9wZUUjP29nBE0amu+e8NK3IsrMPSUCbKkmdtf3n/ZYCvtSWTqhFpIL
UnBVtd2Pq/t78ruFeu+fvy6MUVgNWkqAc9EOK2VKTKoqvaTt8Pj7f6on03J/HsykWtJ28aQ7gvG1
bui/nvGDoGFvw1J3umcjWp0ebExgK9sixSKsyTsD6donJNjyxq6SkT4gzwIowrPDTMDVpsUEsAPu
U71EQmiPUVoi7J6rFyRQ1QvMPx4450Nz/OpSmempbBpOI4IgvA2ZKkDSZc87IGsQ629xDbW+PwHi
6VB+VTORHcQgTPpHWuDF643ppJr9zWDbm/hLpWnpvqn86TOO2ucpLoInhGd/DlT8Ox5Xez8WU3Ah
eMO5XzXySgky7BQU/citKnn08yd+kXprW644FAGin2wpmm0g/Hcf98yll84+RPjhgzvFMDiD8DpO
YCxdk6jBNPHKD7fonK2o9Wafy5eoN9AqiDa8wsxiuBh4M5YNaM7SRB5iUniRr1RQHz+S8KElsWZb
mHhwFDey6IV3vt/8v/9BC1Ou1//8SXP61oUnTDZA919ihYk02lEz4MTyi8ojN+ryPJC5o7upvxtN
fPieJHMN89fGH990rPEfVhxsw2KYP9qx+16V84UmePCgOj9tmOZbPyN0UvNYj+cRrr3S/daGHhE8
R6/0Xtxa5CZri9NtSpoZXx1bPPL85K/UEOXZHZLnSg9eMtkLU1+U4CFoMm/zozTuaI356MJgj9Mj
+am4J7jnRy+X7ghcgmymzyg5ShWaKBgBzaWJpKhRznZ7zyAyeGlZ55Z050XVN/IPslNDA/gcLBYh
vqFxnLPWOtSTJX5MMfVijJ+UwB2a780MxnFfTPYfHdaubex1ATJHDexebDoTGr1sF8imKwqHW+9Y
E5GUwZ+ZXkWU4Rr/RhphT2TqpEbQI94Rzum+RBje0p7UUZ7iQzsvJs0z24R2g20wZNJDGlyRnTKk
PM9RST1DLN9D2ZUDpnof3K+BYT2uzOCjrFiMZDpAA+0G+jroKbytCOPdojgFflmt7gZVeS8HRYxK
xHbORV2wtpvVXivNvejCbVvoFWkA8wMOJu19yX2gi5FBJ8mIww+h6ck+hKOxDbo+ek786lu5TLvI
MuevHBiaTYd8fCYw8r2Lil08YtW/38WaH3ATSUV40Xg2+kJ6bGFRWYc8sD6UeGhJAnv9+5vd+tcJ
k/atwcGTMGLk9ML/hbQR6RzNS+DqZ1zz7jF3ZyZEPZrGvNV9NEKksRPQdFBG01zSIFLPfLUTfbzo
5aTh7/JAg/twcTGCPcZyDpDC5jr1Y//C9PPHW3FY3jg8UmIgybnOFmJx/JXzpxi0EaoVaohCM2+B
0OJti8P9glt0vNQjAYkk/ukfQ+DePDqEI27NT9rkB5jsxV+z1x0Kp4hff/+BqFD0fz78yCIs26ZG
tpGM/FrMYeHh856t6Vyh3EJB2CAXkGPiwJ2OEx6yj8b3vrbT+FVN6+g2H9Iue56JtHlK7Eac3Mr/
Sz1MZmHHxwk4ompg/+ylqqu8SPBQiy7ekgPgsKoOZngwZxc8zdjmB/WMaFY63zxj0Pfd4rsr9R5Z
pMu5KXT7ONWV8cZuO5hv6vIQFg3TLr9EitO5IKBlpRj28zFuY/Mcy/sKls2wImlsOTGovzhSIqAv
7YuB2e4jd6dxG4Oa/P3H+W+Si687nm+yeTIecCkU/qkoMfLYg4oMAKeZ/OyVyOhV3FdgAhOBVDG3
jK9Tx5Mj+jp9KYnq3dWIu6UHjpi+yXO390zbbmhpPubYIKUQgQwNsyIOIJDYVqVPaFPYCIaeEUBr
lSd16uYUDjAeCBmZC8NIujcQtiINXzW0NN/VRdm9Dpi7n0PPprFeiuRmGpFNk6IxDgoXazr9J42P
Bg141T6h+zf/x+zE+VdJ4QsDGYjDJsN//zU24OmBe9UAriiFfyiq7rMYO6ji06JHO2xLdNbV66LN
gQD2+nSk3BkvTt+9d3nUn9OY5qraIMPY6s5k/Zr3l6gx+/tL4e3hOaE5jUn2DRzfv+nE1VymXtYn
QN2+2SiVUgTtH8FYaHstCWpChsf4ILQQEp7mFQ4tJE+SkpKACacTvSB7HW7WjTguMokcOwz+QwgS
vKy8+MxLuF9JhNCS8GP7mCCGWvdEHQ6Afp+0IZcHu0T7lhk1Rswx+E/Kb4yqgOTzGRRXob0obyWU
IrTaHmEzTkaOtNlxWyxR3ux9fDW/vz0N45+TG6o6hEg6EfLojHyqul8L2ASrRtk1WniZLf73smTE
0ewCYExnfSRdAskzmalU6bAENQ9vCAIcRJ0xg32e745ulv4f9UqVZ2FWEYBQ6VgPqWFoix4RERdP
jeM5p4T4GSg5wQYkLJkwfnqpDBhDgVV+q7RrGfUwuvrZvGhM/b+NgWMyz3b714HFbouERrvEHrF2
ojK3VW3EXzo/26l1afE1HCdaBSFN691TaIpsDXlT28xiBoIoLSWtVDMoc4nRZwjO4u5E19FbMW/m
FwdTjOWhG8UhMtk2EeEeY0n54Wzt7YgX1NdqOVtIzc3NOnpi2oPa1Jye8NQbK7rZ9OLvzT/8G3ya
aNXN3nojF/IbQffOn8liUFcG2crwDG1X20mNPMExsnMwkHjOJvE8MijaCjfO1lE/ZjKpHIpLH7PY
2x1igdR6MoZqN7TAC6jY9unUWU9q9c0ji6NuBXWxXxmjWT27Ohl0flLWW09KDI7CjMm5VWkpc+J6
BzoM7WOlolLQP65SN0okMZUQtXR6GBAAnLIWI95dgVXM5j6sOfoxYAQRLMNzlPe98frjRAqDrENT
1NCYfdy5B7tliODZ4Uy46gjlW90BLppRJHtA5R4SAi881vjqbrOLMlkfaUAvi2/cvOk8ElXw5zRG
y0r9gtR7TgQV92pIAzlyK60NIunnjJ/UWZ1e1TnWj/BSLK3fHSqhh5vFxT0b5MPORRb9l+2YWHzK
9JuPjA3ykts+N05xiKUjCcCjdcgiu3upICSjxONRUyO9LhtvjU1e4qRrVIPgO/bEfCxHES7ag1k0
9aYf4ptDnsd6BB5c+dRAP1fhYqa0ReipX3WsCaTJxP3jzyvPa559MKVtgQ13cPX2OR2D/jj0jbWD
D7wanWbbz4W3N/LU/MBoRxRhOhM0KoY3j7Rp28xe7ca6D/W1lmVZwO8gRIEE37zYFXqQnVqpJjQG
9Nd6XgAItgbjrbD9ak1WKGKSyN4FbVZe1ZcBW9O2cRqDUI3/e09dWU1fn9GSHAVuiGviEeTaFZlD
6jlzmv/VO/qVned5nqWTCmCyC9A/0n/1BJP8gPN/aZKDC8J307lNe2GSvIrdzr2aGEKvQn5RV+q9
yfKx/hP2JF2eWmB/GTjwkw3BKzBcX5qyTs54Zg5KLAQ2gWW+Gaa9LmPe60K0SJ6XgvgQ1CfV0jnW
IfJY3ReyCBnO0e+ZZCphzyOzCpFXlW34f1ce9PmoGWLEJXjaprL/MvCIwvhb4vOctk+L7VmkXNnL
dSzIMpY5E6OMolBXbRYuq9TLn/gx9duqw9NA0mf50S8Onts+mK/E2FQfdaavnC7Kwdi69tnNMGj3
nbeeAy98KKwquhouVrkl64aDZdKPD7G76mAk/pAXY+r5hyWoQKdW42O79MNztYTVLamW73mXaRcc
ffRIqIsOTkZvWyXc+PpnOY/xlyQzs0MrepAm+bhlxGK9MOhHVSlt+pNtE6Zke6+TmhpJF3SrucV+
pFZbO1NlnpvRfVP4KnvGKIP5u7uTSIg7WM0QcD44PUEOhcGMr7w+RfBFkMZN3v/YzoT7TzUGqE7M
WCjsBZ0YBy2AalX+TcDb+O6cC8t3jhqi57XOSphv9K4inLEG1aUXHA1hfUUXuysshiWNhpCCPY6n
33rIRpyHBnp5s5KY+ezDVtuvSCaZDJJQHWbtg2vqUl0KOpZTgI8CH6UGR8rgjwWFuGKOl/qzL13q
Eq4FEXS8qrOo+qLrY7Oz6u49NAmHcyd//J5XN7VLjDIA2Zthlk3gPY+G3YDxxAvWJNVjZRr+o3on
9JHJ5SNCuqFyb3W4PIzEwzFTRSsWA2J8dL3KJO0NYXo8UK/hrkn2P1MswcNaF+m+TmY/+yTah1iu
gAgUdVV59k6IbrmJlOEx7DP642mcPWKyxivtPwZJHJLlgorAMkCzWt0m6Ze33O+6p87P6yeguO+z
Q2IisesC82E4LKvW9fNVB0Z63zPEvzp65l3Lpp23qZLGtHlTPQ5FHlyKOLlDMVLC75jYWvFlDp0L
lPropekhWrk5SaFQ93VO0bVc5og19xk6ze/qVR7hJXJHFKGQxd6Xsj1TUER/TJpTrhNO+g/xwJJs
LfbFTof0wvabXrRISAutfG139euP/crCFK+Vc74rDK9+ZF4617V10MEybBW3OvLbP3ps1E+OrsW3
sNNiZBEa+eExhREi2QhDQjdQ3GjpucVxuB8yK3yGUQsEOXJDaSpDGsoqkEpAzqiJv7QJfpurj69B
jzE7IFnn4ER6+xGkxW4Zu/ab1XJOpPO+nF0xVc+2BZ9aC5pvlicMDvGZeDSX8Hu85Fe984fLFBbj
JRP1hLsqPOjLOF7yhN7AKqus/0fYeS23jbRd94pQhRxOmaNEUbLSCUpOyGjkdPXfQlP/eOy3/vEJ
C4BdM5ZIAt372XttXuXfaSlmsIz6rYz8A2F18cWpTOx8CR9i3+zcTxz9fy82jf8JwegWN3vUBpqL
0Ur1P+YEfUgdTliM4lCExiUOiTLyTdZfAt5gwNNGfC8mZ24zitNFmFn1Tq7bfi3e+jQgoxAQ9auc
9k6x/l8kuZcu3qIFcthWNtUaprXAXKZsYvhwBzszr7jiJzjC0frm6g2drNq3WETRcdxpuiCqAWCd
FGVVRbHx5dep1FMpfBB/UR20/7EGoKPqtg1LmDQ/80/1j1+FEaidzjS0PmgjjSRJZ4zXseVpPjs6
qy7G+GTlxxuvlSHYc9zw6yiTbOXbWfkWFNEbrVtvwyiCr/NBwBNlXaV6dXNK5w0BRiUTyGuDMXMx
ITHKZZPAjEm4q7wqflYfGaC497o2xMuCH37dcYfEucFSRG294Gr5RrGjBGTaNS1lN1HO+BgVbx3M
Qk6k4ynNmUosBP+vLWpC8VK0PfEzx7WxLiFvhhbMlAAW8NSHGyBE1ER6lvcslB/xvLSd4JqLBNMa
LRHBYxyiXhfzqKq2XnhYwkD0Zc3NmLIRpHklUMvoNcG8UihFcbLsTtvQl8fkZojfWTANe8MoXVDM
WbNsKXjblqVorlrv1ldv+OBxYe0F+gHhtmPA/h/JUYdNZxAIQzFLREYlsqa+8oVvdipmT2/8clt/
Cp0PaWz1NPZV7ZU+Ne2KxWBYtaqqk0JmN3ObWE5urawnm/i4qgQfgaqMr3Bf2oWVa1ehl8GzU7gP
9Yy7HPonNU5/xP5E6NOy0zvEQVwhs5o6dqSfddCcXtFG9zwHGLHKlxqK4zG2ISHMJY+3AppKDae1
RQcg1Awrviij9SYl+M5zBX16TbFWWehsBzr2ljZMJ9g4/7gS1PKrV/vWXq55FUhBuZ8pG9ztyR09
if8+6qcunZt1tcUvsypTcvUvz23jT6eMZN2SkKM9wmL6+idhu3DtGuV38o5gnvI1ghIdnnZgHIxM
JbE02wnlNafRKCPZ12mb3DZ18ubQUA2xS1QWhXKPV1jWk1a6nn1w3Lo5wtzWTilGjNNgfXELV79d
KRrntfXr9mDPyNey9k7BhN2p6VNlPQ70hblAqPZFRHBAfozkB4qcaL+clEDfdpmZ7+g8QC77y+/i
f2jj/C6QijzXNiDlzKPo3xWjZISrURiOfwTi/TDmnb1S3aLZSwlScya85FrzhTfMZNPMRFNeH/TC
XhXx2OwzkTswL6UliMJUYpDTDlGx2HhhNr0PNG+BsitenYrtLCwRhn72vPCIrOE+Hp1oQwZ7AKwT
xht5Lci0aMPCdYlVr+bOqDPczLNH18+8KymQXd0WxYvmsj1gaEdABQsjq855XZ1kgvDUfJMOJ31N
AEMBXJ3lZ32+uw/uT7kqkX67KqbiGlYVJmcQBZcusmPwG9ES4TW8yEvyxWxEsXasfm5L4q/JF/lX
0kjbx/EkTvKSWqgLo/faM6T+npIiZ3hPEoxATdwk961I1Xva7Ulw9VyKEnRNquq4A+Qvam2NmyYA
/VNZIJPs+DMBwWR7LgHPqD4Z1L1OeHvP2XtiYGNcRc6Prs7Mk89GlgbbRHUXRU+w1Cor5axQXf7f
j1Dd/Z9nKJ8NVbMMDRacquFg+P3T0UX4+6sRq2Lgk6+XkA24cz8tS7g0+NJDldMqus696sUp4ZHF
tPrClC/NF5MPkpmyOse6VT+6qIUsWTjqUyangvliYpNjMalXvF3/9Td+HdEjW9hdgDkFQUUYJqTG
RD01czo4Mdv+ofrnyJzMz2uBVXwURjwdZCptwvN8uKklaiPeJsbc2xTr0Nl17AJwN0dW+SS1fzt9
yFmevOkp0t5cXxWn9aEAO/AOrBpRGlKLzjMKM4lP8cOcPpGGpcpgvnCbmjD6cQlCcGslSb6y+jZ5
yZqx2Pt2x01GmijhLJNltWqxhc9vnCdnElvhu/pZ6HMMTlWOfu1fFTS0dtE0pnrC918eK580bpEP
67qPh7d2TNa9JcTdqMJ2HAul3pqtF63lpnSiKn6b8tAgK+jR0khaNlxXVfLYSoL4iA0X2MGL0hfD
fWm504Mela/B3GpOb1O7DrpeYT0vtJUmt9/BlDEQybRNqubRVUpCKSA4Pw7Sra8qyrLMWVOEnnPV
mVc9iLG70z1afWx3QkaT0RyC5Chk84bZ0sN2XSqlgm1SGDyo1C3mCZsAnFut2Zd/Hola4y0DASzl
TzumtYcnHG70Xj/hZQNviEaxKuYnrnyBu/iRcH85pnbTrr1MFVv+xZgHjDa/IOeNd0R6aOdq+ZHh
PBI5iuC+MQ3ChuXry5jE5WlklsK3F4/1zqsVGAieYKinpOVaNqpO/PQrEgDWhudGfgiBAy+lbjI3
DRKnA+zuFSkO52io9uFgx4c8gQEgE2E63xCqKAp3KV1LtcW6sGwilWoD7W30fHXj6DGuJ6Nl7QLw
5aEJwxUFUBTBaRgN/LJ4Q1wrzqqS8r6XQbwKVesjrbUvEjtq00uyNJqW3iJHKd4i1ew2NETEGJiT
8fGPo5zaakMbVLwbxkVuoFvegANB9A9ZlRCbNnA6LQKOwr/izOaIKJDrmEtfs5DHGKeNu8nRnw3D
vyaNsL44BaIB/1VrV+IM1YfgQcuntzxkmCvNZDlNeosRYWc30fIC7sXfd2Nfn6MO6IfTfJO3xEJ3
nkmIdtfbYC6nlWlnOwusOOOrN+TZMSkg0YS5IIaUnzU/qL+0VvZFpgm9KqUpmrKWufMBJTM4y395
SZQDjC48L5rntZN8if85svuNSGzldPupZDRPvkDpnLaGU/ywM69aVQjKy3HSg2GhKo043w5xah5y
m0dAiIlwFepq0O5TCss8tVp1SYPTYl7TG0I/60m4l3MgOWS04welpJhUtrXg07UIoPLPKzLzEmeF
e/3vGze6Ojfm3+ZqumOwtvE8GPWscMw/btxQoAcvI3R3iBwjOgyi24TleBdE/UMwxtE3yz7A/8GV
YJBZsxu6a232rfusUK2N7rU+i2VlGwxk68lkTm/ySETqeDsK/7km/3RAhfzX36O349tk1TR1eozm
B90qlxXupDcekCw9rVyce0V1Gaf4WIgzsaaFRXlOrXFAd0swJc6nnfCmna1RUSxPWx6xKwi735sq
puQz0/UvTG7qVRjreIDm3zgwDk47p9xq0/dUdpYUyixAlXF+azQBVE4FYw3UjZQkswEDspysKfHn
whLZYVLWfOuSJKo28g88xkWLnInGPtVJvVKey9AwpmfXNfuAcYvgmzef5qb5plWRGHiC1FcWg9XJ
Byl1kkd44Gty15bDrS/qlcdQDAe9ztuzggSOsHfXN5SUenZLd87sUNWUWl9ORTatqHpL9rcklx5o
RGJncGEZMhbWq5HmP3jkj11QNw/cRRcxvkM4GEb/CByCe1cdxLf/Xpm7/ZnGNvFpKNZcsmx5aaYg
1vGkhpNB/LAnEeV4abvt8lBf11ntr9uSTI/MXdzmcV76eS3yqLGmJ4aSKYDFN3X3l6bbhMa28Rtx
kJfiClUoH1x1H0410KogazButMULBi4LjnRQHPp+wpzSRFc1a0FypvSD6iBFQr86KrlhPXswCuUD
Ko1swQhaUdatUrhg03rCBI5hXDIbrlPcu0+KwtxoHc+fIRbW96obuRhaynql2AYQgq71j/JIz0Ll
qE/NdKSmPbCE+Rm6MEcGuZpIn5tOtXD4YJyQQ2Et9/q1a5MuRDFIVzqbprX806kFKIKKtr95Lsou
0U98hC92v4ynafgInQKATOI2h3SojavjVz+TOoUX28B+HmogL3ZfvwrE2xXKgHPHAkDf60pPw8RY
v9ZpnW5qeTupyHgaiHgbp06GrReCrKyFC6al8fI7xVOTF8pvpPMPpDHpeg9PJEKocU6NZFqZRly+
we85AM9SN3Q7mriTgQvaYVTfCIPylKgbgrQdL/yoZr/a9BVfQx43fV++DXYd7BS6eTZhzfNZVQp1
lYYO9PigealgU27Lfqq2ILH6V7PmYTkPO9tWnVZ9GanHsYFMPRgJTCua+TZpDyH+5mIe+yw76aHB
4KnLJn4Xmg/2AQqEkebPiVewEFJnN69kPQofYnetaI9RX7NP4aawk90bupgeMf4COZU9R7cMP7uQ
4ABAMt9HMEXorcGTOb8wqqBTPcYxIn2D/pBoq7qqh7WNXLQnNIYTeK5RkH8w4PSmxNEx71n2LnCM
JveuioheT7SFRyMAEqct3ENbVP2LVsQAenWPgi0M3T4cwQczgVE0iyyjhYvQ7ROWdWpN3YTW2t/X
hdVZ31lxwfNixzOrv24FNzP01fp4W17QRd10fnmq+lAsEUCiFbVZxjs9Lmsgy7N8oZ2SuN4gWe6I
slVHZ8613woQ0o70pEqP6KfLWbOnoztv9G4GSaFMGfHdFmCXoeu7wDHsY0/N3c5Dm5knOWjb20FP
rAc4GQY1vcMWgCESqTUddDpzQ1hGj3gni9UfIcK0JRCNV61b61qqvtXcqqSIYZV1uxFBwvwjbzyH
6RMt6nKNxwiiuA9LPmAFtynkmOaJvg2pzzQV+TVsCOrZq+1Pe0LY8+DkYS4I95G9g3y8kOtLiPHu
0bBQmTNi1/dBXbkE8sT5NrKn1+Loq7C+mpZ3XzaG0spzP9Jzl2FXNlNRPEo8hlF1SyNyxSNwUprI
rJZ5q6QzhjV0cXxq77fRqNm89jZfMaE8KpWhPJcMTVUCJI8B8LBHVurrlkKhF8/Iu3PZerC4Eboe
7R7k6qxL+4UYjoGj8/1yHFTqWb8WeR0eqzLUbXCfyQui6qeWkAhyTCykXCKJhbFiBG4SwyfJSD8k
9oJxOAFkvKPntv0ewxGUB8IWm8bzV2mipxdjRtRHgOnVuErZzELkvW0QWr+j5WUWrw07IeyJQMoU
tNzWk5ntlBwLueOZwzJFbaKX0AvPYwC8IKVIYM1gINkAc2t38z4f8vnMZGfrL0WAMuevcd9sFqmn
46TQ07MUTsfWbo62YtqMeOYC4flFsNs/au6EqVEoS8o5NKYLdbmUe6kw08gA6uoPUT2khcN3zFEu
acBC1SL9+Dhl43X+sL3hQ2vYjvjRVSnnKqoaqq6nAprsxxddj+h5nkHSZZUpi7QxCTzOp/OXHSxg
t+w6oyIepQjqcZrqTR5pFJ/fjuS1Xoc+FKvvPNO6h27SmjN+JmqG5p+brOpPJxiyRZkG1d6OS/c+
sqgpZ/NTvHUNEl5mVOKg98Fw97nKzZx2Wab4O6g/o0DQde4ZA16KzPik6hcMv84GsfmbkdiMhA0y
PG/XTddrlz5hr4NJO1/kQO9v7IlO9/WLhVhUjT5p7eA74G3rMVC1fh1TpLWuJ8d8pPsO4UNCp8qY
lEbUMo+69QFg+4m2JCSpHRF1/aDF47cgBQPGXHFaKQQIVnLHKwNjZdZBcLUdbX8rOgv0Rj0WFRDB
eQgpa+8DSKV4EA6ynqQUO8zD3jekJfpaJ6NdpaTZVmOILjtW5ptc7E9TDA+pr7fjZDBlD6xxKf/N
Scperw74hOKZi/1iWrk+TyJGs+X9YBWENm651Sl7D33nWZ+Dkf+SM2EGkm72eLRd4BIZp0GMgBt9
J18rdWm8KHl9KduMp46R4Y2l2K1NDfNOC1gumDRgicr2Tl7fr7toNPnKByc5paS1+skqu3J32ymT
x7WOuTN99UeTAY+c8vwz+pHXXGPYDqGXi3uvnL75PiR5eZ9Ftmer17Bi3ojWuPSZx0D0//PfqCJt
2Y7WeFdik7n1cwadeaoccVUgjH7J6/hjTDL9Yz4IVKz2A5/svczQ1mLlwKS6lBhJ1kpQDHvs/ooS
Ik+PHAi9frgFhxIL2h35C7Ecq95/g4l7GeoQE1kDtN7Mw5/N6H7VlbI/6FVV0LDJ8lkNQmXjjnWw
lKcEIjx+TP6gN2HBJPOC28iq4s7xh+2UZt5ZriwpaFMW3Hxg45vGh1wYApfO9oFbt3RjBMVLYkPQ
a+mi2ZmxFS1Uy7fugN+8oteXF43B41ObaiuZNdd9nkizZ4DqzfIIwTrY2+G06VAAaHptx6M8+vWC
z1RfkST/iwUP3/LvWy+CPqhlDpNZz6SkCKPT75oZZro8KltFP96Ep0BNuOW3AgdQ6oXNnRnYGDCZ
WayzhpmJyWZo3UTDHIqtIc5lsw8lwLirAfxdRBSJnuymTE4OPecn0Ps3Iakd2vFOlGa/t92RBhKn
Fg/N3BDukCNjlD+0txhmMztwmor/Twvtap3jfz4XbbeSKS+6RanqQddPITrmor3Iyq6KiNnKzWg9
Q1VU11htaGkC5bmYAivYS3OSiwNoF1jZxGNYPASJo3/jwf7rANAarRMiYdMZA4bwGkdfOp1mPcdF
A/Mnz6tNWQjr2c4SB6R47u5H+pWfS0gtC2WE/KCWPhGoRrMOie9SiBBqGUVn7ne4xsA7a/phVCdt
tkHgdGdRzlUfijjZVgTjOzWarcr2/0sTe+EaF1GzhYtpfCkN44Pvidg1WfmDKZS56TKyTyuKrBZJ
0ScwESsIAv+8iNSMQK/jjfp1TR412ghE2kxXho7lUbh8vmWcSsdRvKWUyV1SWWOu7EltXkrDfU4a
0//hw1w3kI8PQY+f36JRXN5E6CUtFzXj18c0q9/ALbMMViz9lQnhSrbHwsPEZVmb3onlfra3vc4+
Bn3Wn+sQTxPTelq0JkaXGvV10rRc1yaCznwqcRZBTdtBlk82Inv7A/qD/yNNvmgWdYZtSDtj2TRv
xN9NinmY9cgXfz7KTRHwWdKUDagSdVExo9hrqhtfRSWSqwM1oSiq+CIvAfqgm9Cqy2QNFv8DGN/w
DOroJ8v29GdqL7OkN3+CnXyfHMrToHsbNyJhNIdQE9oRGL6Oe2WGzuYdhIB05KfXbVeHAFPsaZdH
wWTGt5I/UKSk2lY3BAHL+V11k6n8GxPgz2kpX2DDwZ5oW/xsjmkZs4nxX64OPLFNoyShc2yz0d7e
OhpGpZsX3+q0VsaYbWgbhSSk7C654HwNWDQbIMN4Pj7dglWeMfyIVTPasXMPAGyW6hN446eEsC0N
tlDnhnrZOfWwkRZb6apl0BJz74req5RiPXlJ/qFDwwYFQdEinNqKR/C8OuzwRu6TxMmeSkHhCpye
/igVRHJ6YIzDelpXmfpNdIEDY8eiPZUZ69qVsrWd+sUaixxI3kI4l8rG750CZbaxP8sr9jA5F20s
X3Q/9w6/LsWR+jJm9rAMcvwfGVVlxd3tu1HpJ3TqAw1Pe5yWAhz/FJx/vSiISrccKyMjNDO80QG2
k/sKQc/pGQA7+tfbpqS0wrdsTvGGJlRy+dLqvthMg50sCPGW62z+4Ms5DkYDRHhD7R9jm3s9Xzem
xnURkC6L9FVjEYwtKxuBu01ew9T/gbld+RiHCDdWBV1pgOoQcAuZD0auKL1o7rIRS7g3G50tCvmy
WiuA+eKBTgRiyC2QrdrtPSyu5CRYcp9SRTMOuUoi7Z9L1pQ/kL4wHjqR0azqYx6odC28y23KCGXx
tX9nTuU117z2VHhWfC3NyL0fUbZVK8SPbMaGv3OdErqQ9nELVrdTEu3AKrK3nDO6jldWp1suKtB0
a13FR3Pk9jpMXc/iP82Yv+vGC3p49xcrgfW748nxsPSiK9qWiilmNtD9EWAIqtLMnUxvDwYwkeYx
VrTuUa1d62hFxBjaqVs4bWWtY0pMV3E/Az/keae0KPiGfddhlGK52zprHcnmPqmTTaXV7tFLZqIQ
ctYK0t7XUITiKR8G2kUF7xzfh6FQh2+Obpvsrt3x0jAEwXNm7Bq16GB6UgcsUWfM9XmAZO9qTIrE
tnL86KqhPyI9XBXbV77YHWrQrBX7BI7rVe8KuOBqSeXLrLNUYzMuu0ShxBazWA+lm+QN9KbQSSml
SA11JU/TIlXuy5f/lmzlb+6XYjv/Zm0XB5lGKETnF/znXceajIIFRacfXBnfTmY3d4lL94WS6ldP
BMoP+imWXay377eoW1IQbSocZ+XyVXz4dWRSOBX60QulGPz6SySglat26UaxfrpdlR7kAr418cqF
WaasY7p3hU3iCl4IgFF5FHKN5o6EWYOwk3OLlrwMLcHjdRLquzX4N7BkGoo5/INxqelStnAmrDNs
gQvFJjS3nMTEkKgl428ZWIzAS8uX0AwZYOqBs+T3G6zSmHKLoJ9ZI3b6lNk51MB5tmMMo8oOKz7L
eTg7cwp4ovRSKtBkNOo6jgOx/ZOs9JlcMuZIoslDMfXujoascFdbcbMTmWbfouRyO1B06U+LuhkW
vrUAmZUVxPKZuw6N4y/54Z8rRQQnemOCFbUf7UYNum4jmgS3ldUoRycpntVB9GsgdMZzllDBaOXl
tVe8fmETVluAfQCYoRXqPRM8/9RWVbhq0tD7+O9PivNnjsFSdd3UDF2DVeHyiPrj+dQWjYLJlIBA
lsParCpSqHPXam2OwQZl2kc4ZwZXDjOKg+t5bH1eJ4gxw7asbmvPlHniZ8aNNADaTGd4G77Uckwo
/7Q1I7IYDEEtGu9eyehtZY6tZ9+8oDqIl6qGKNAyGK2MMfpWCxUab2D+HHz1JMy2fC/bAH8hMYlt
yhxnFVm8mZ3oLtJCZ/Xp2fjtbPCD/PAZHxnpV89RI1aKkourPArMSVyjAYJg3iviGsxHUdMWy9Rz
hpUiFPNxwhW5iPXRukHXIiBmBEwUDNa1QU1hWl7YZnkAAbWD5MvIl4wyFx8m4QPP444gdEWwlf6a
Y67Dh/jvd4436Pe9gc00HdCQRXoXQIvJaP33pUWnuF0LCDTesg0f/A2hsw4QCPb/pBi3fpj2r7mp
R8t+1Px7ap7KY+5h4i9KBUmYAOFsrH00Zy1IdIn33SoO7TyqxmrDtHHK4/vYtL4NSo/6a/neR0Fd
p7yD9tFwjXIhXlv866tRyR9GWmXvg3j8egsn5tZLWJn+U2t19tZyLbEjRpQ9hV33VfgQ5CzLIyY1
b+iYYhINCUY8unPtu0IVuzOjSPFmcYPbjtmADyws8rNI/Tvia+UTdeXpcUoMqjucYHyPw+CeDt/1
SGcb9D5+55mV6AvEaP0gT8N6MNcpyIe1PB3UsDlMtBAsiHy2n3s8BaxsgDB9UszoRy5ob++M0EKP
FDjtea6MtqGuS48k5aYJtfiuyNyaZWM8AXDKlY1NzR/ZcSYjVZtai4odylqeula2x/pcPSqx95Gr
6fDxzwHugK8KN6sNhiQKN0w2JYsqSod13SWPiY6pRHIWp6y/sJYovwBj03epnbmbAVbta5lAEs2C
hCL7kS2dmdNxyQ7vQJbV+6L7zU4apHu9bxceIY06tLyTbwX2EXinsp5LbphxsVg2dLX5QRnvIuiM
4FvXFNgpuPE8FHae7tpKRPs68/u/rImdPx1TFk98ctiqZeu465CJf//cNlVVG4rKaH2IB3Un5+5j
6tB4rTIEkKfMNSzGtsygvVJv96AZzGWj5+19xcz90KKLb5I++W4gb94CPZQ56pdI22WeKg55nTB7
UIb6oR4JlHpjEC+mNMnPtlJAhJ71ycnr1mWdlq/OZAfb1g7PIWjl8wQLfRX6tf4QDA7dafMR2PgH
uxL5QlXV+iMefrT9aL/fxgL6lNtPDsG4ao5otyayXNM2J5Su/kkbzJr6hR56z4w5CNPhTsWAcCaJ
SlHI6H/IHGXPAnIT206zDeE/LSMtzCkzxKJidpiB4LFuC7VeWllpM0ljUqko6rCRp7lrlccxN9JV
TxdUhBvroW6yh18Ndm6roJEXWErktTZSlb+8k7r651tJBRHgQCgCJvtTg7HV729lRXKndTBEH4qi
iFe1MR5lAlqL8HR1RaEeCOJh9s7Tp4A7VKZgQJEso8rQ8s/0M5Mo59wxtepHqkQGW40WWLHSJ0Hx
ByvrNbpMj9bGETaICW4j3DjNDKLHKkv1lV6lzcYPJ5fhfOSdWSDjF1Xz+tEZe3PrJvRE8Olnb93O
aB8GwR42mHGjsqYjGRtjNewmd2VMwuhX4zS93HyrhTGXoek4ekmv0I7X3knTvbTayyNXSVlzV/3W
9LvLLIyPpqlepTA+nzVurV6lUjCfsfjdurG15bFnHGXplNqEIAURy0GAHl1Bkd2vNkkws4tsYoCX
KEYCN6PVT2Y/8zxd9DXCIBBKR6t/VbTA3A3RZ/9sNSyxj6D9zJ8Rfk0mnWrJTs9QMiqz+C7/YZ3Z
A5TnjA0E5AXJI7IjquUVIv5bjxLHfWCH3sXpME4OISobDcXtqdJ0CspUK97J/4o8TcJxw70+mp5F
WY4bsu4kFZz62ONrKRZqpZPsCROacTCnimxXq9qdFOercgRdN/gtS0+0+snQ3c0N3mM1gPwNvcU9
C/h7D1Jeex7MZEOwZXy3EOqlJnr71g3xZC7KcQhf0iDfq6BjIHGUKM1Tn97FbI13fazRDGeA9hoy
YLPSTx/3/mtdjxZ4ngybYRx0yiNUwwWtJNpGaYJkG8yghLLRHg2fGy0xPiiyharulHiwdwq61yXw
FHtp+4b7RmePOjj7381d/tAaaPh9cZnzp5rjZge/D46SeWB4an2n2P1znpmvKdO7o6gib5n4UFet
bF6h9F2wl9K1mPKNXbJtzxrjIoWKJlNXJt1FV8kRDVApDd2IVqzyWyghbX9iPWPenLiF8F5Hy2OQ
oZLEJs1nLtX5SalS/Zj7nn1pNVTdlnh3nZU7Hm3lQp1PEyedn71tFUBY0tr1SImstPaSvPxe2GH8
l/iUOy8sf21RSG8azsyYIzwLHs1jCfr7rQOf8VQaSucctN7n25vQ49cEIBQkETrOg5BGE+/OqMbg
1BBqvKEVkjD4EkV+9mjN1+Ghf16nVP6LasTRviARfRP6PSTZheF12WGaA1S0jw47M6M/GTPBo1kk
HzUHy27y3M1NlcEAqZ/4UqOkswgv0im7AruvFtY4xm+9CaA4MPwSWlWzl2e1nnxeT53CeLBomsEO
lkOi1ijLaqwexZBTFl3ZVvcHYhyecVFIJl5KUYY7L4RiJq8l8x+UCn0+GjDOArspHVRTBC1J7aJd
4YtxNSYToLWY5uRQopwlsbOiGd1jupZWzldIH2eTcsbvLszt3w+mdrpd0ThwDCbGoxspq77lR2Xi
Do7HbKqdEtCt+N8r1P/JSM8RAR2mJLq67fB00H9/iyG9tUVgewO0ShNAyAzaKojb4Gxt823bVNaG
nsF+iTf+cZy88qKLEh233+VJHTxbVqM/DAUMhw7nhujZVLS1OyyK+VTXM/o8sok1fZHsRe21Lz0b
TiLN5HMD7c4Ay/XmjA7eiVStHromarZ0P1RQlH3/E9w/M4LAiTZL8+tYWvY925aLNFz9cyafuP+c
DWX91gVBc8niWtvZSEBrecfgrsVUQst+BkbWH4csH9jnUcqqIyLswzxEadX08hx4VQYTFLynRQXs
kk5d+9lUSqbAiT18BWt+YEg2/oXjKMk2//6W8RaYrqWbNl8xvDSy3OVf8iPJcLvFCzFuUuH9kPUY
8sXNq/Asj0bd2EAb20W57Zi7DnyLr407N1G7a5ci1PcKzi5qe1clzMz3kQn5Kmzs5px3kXpKy9Bf
BRpoi0lgzuugEjaLwRqr0zDYwbGfSpx5WJaSnBIUW1o25/yTmfjPo9E5dzL06VgOqSebB57wUnIC
2NKp+wZBNNrhwi2DZW/XCzumraNMtGs5v+h6ByM4NtVNACQrA6H03GA9f1DwZFybqoyh9ozVsiaD
/xfNig/uH/ctS1WBJjngXXWyQJr7x4cah8ZkZ0FpbSpxn7v69OKF/jwpyQ83e9VYC2VLSK1cGUpQ
s3bFZW54/lvoDsa90EJ2++5qdEmsSyspDWPQ7uatdaYGW79J6+fOoiXk1/WwUTZjixe0stXHzgUp
HehAg6Iu71dsoNN9bT0yCS8e26zrngy0L7RLqz+FutM9JT104jLLyq3NbWKB6pmfozQDr87S4yIY
cp35IZIlZl1/52GLXoVQq7eVRUZOzFuhGFfqRWfIwtsvlkpTFfsQ9ONTBwuP7KgOvJL/q2LCfCGh
p+9vpzZqqjaXUavtcHWwSi+EkzrfK5NiHEscew8C4i9b2y9vW1byPIrhfl9CqPRL6r6r61AMJ69E
EXZHdkkkJkJw+HMj22TxWQRgtZNrKsaC3aosxnhBURTKYcMeKWczu7QNc2oXuE+ik8FY1aqrhz4L
GA4NAAInCTenyqqIdP+cRv43OUed2678dqj3We18kxKD/PN/zuLUdBlrokbUdjBD8oJ+0RbR+A5u
X1/02hjdYzHW74lCgu3wcMQFbkGLZp0njHV654tCR5ek39lW4m/MSq23kpI3hFCK2+B1pgXf93ws
jnbQEAFNcVV7fqkuwlov70ae2zuSAfESOt7FiKzyjakaxQRMcXby70aauYysMbhWMYHSRowHP5uc
ldwXDll6hDuSfWGDeq0nOgyZVidvdf8sH/jCgzvvD32yU1hDzJcJjER7D4vU2p4zmqXpFHTFkoRC
gakWKlomAEU2576rbTEpdH9RM/HY/vGd89glWqahGtBdZsn4jyloA3iTaB5FardCUJrlOqL1sbYJ
hwgpoev75U3BFn0E9H7eixdmesANFRxq06xWxjhaK7NqnkGENcecdfhNGMW+dlJyL2et4QCrQQ6X
s+RQcIlcxAub5nFP+Sb841zx923nfWszZbgMrGQv0/wSUVRe66l9FiZ38D6K7kWtDGulq6JTWemU
sMU23l71Tu8pXpeRV7Y3w9KkbvLY1a4NdIOFu6A3bVZJ0+fPox+3dfHsYn1M/OLdQsl4sj18Dn7F
jjjmSRmlyQ3uFRfhsG/FJp809TxFxk85syzms4EzuRFhNhb9H2Hntdw2lnXhJ0IVwkG6JZiDKFHB
sm9QlgNyznj6/8Ohe9zt+aunagZFUJRbEsGDffZe61ueGgbwo0PtZC5YFNLNzXWsOuS3EDa7rduq
QH7saoTXKbe4sQMPkhtD5UVJ2uTlyIbdL8jchshtTkj2FJYRGYIoGc2i8qNj3Vu3OEmSg2mNNkEM
hrl1aPMzSVVVDy/a+GBow3iGNvUUtXiWrLyaD3OIKlyEpHY5VdMfEXIOm9EwCKTP21PijF+R/lVr
9jv1Grr4nqTW+shMcLy41qTtzKVN0HEpbyWS0iFIAxklLfwqnviIDtXVTswtMon5OmMAuQTd+EVP
J4bImVqeZMFNOlPWVLt/r37+q8ClzaHruq1rtsrVSyn0z+qnDkdD9S0fU4ZUyBQOPnrJqk3UWTkW
HQOdgk7SBfUEedHJ0F4KJ/rrUTHUu+L199d/P5KvDEbzJtMm+xGuiRI6n7WuqL2yS/0L61Z/7pzQ
vGueUl97RwfcrU0lqs9NEJ20JZOqFLQyFb8fH7S4B2JS2KOnh6gielO99aoItoYehGd0iMV5jDuH
Posy4IwysrV8zyXRSwscZ2fR+G8PpoHWoJ3s8Z3NjKeAwED52gkMcdrXMdfTDe+0c0mxmx5wfId7
J/frRwZ8xDnTYrpMTvUuEzmShM82hPR0L6qctptU44QzXQH55SLLEFDrwVVhi8ftr2BnVobFajZL
7SnFWHQaUAJvGsb3H4LauObqlmoWensHcDH5+7+/yzJ/7O8FFkNd7LBLdYUFEB7dH82sLEt9C9Hs
vCscKuukzpitLmlvQdTdGmHXxzvRcsZC3qqts63auIJ/q883AEf5yuIe5OaxcjD1Gfy+jBKyh4C9
UNRCbw1sTNJOcKtQdj0DcB+WFqfsZNZjimOiiB/kWRYcl4yhJ0QW9jU07J86KQI3KOovudWYxzzo
Q9BbJFXC/D3mjj0f/nik9I16IEmTu5VTh57cZzZYaFealRu7LMke5LSKCOKInlJebWQwiVUxjSFg
0loVMAOs/OqbffM/fGMIr/5Y/U2b0QStQsHFYeNO/bPJVKllGTaxjVYZluCouiHEgMB5kxuKPi3N
NWJpx6tR/D1Exq5QIc90Kmupp+udtkKqX0KTUZpbm2YxUk49Gl+TQVX2ja04kG+VDTFiIBIB3h9y
HL+hC3BKQjpE6OMaHFJ7TbKjOa1++bT0SDUXiWywQj6UbEHG50zXOhMdfVntdQzDJwl1RTVqEB7H
5h5CBjNOl9wtw2yhfrFskGBVasg6p2LTw49fS5Iy3tpfTGV5Kg/cI0C5iZLMdGvw127A3FJnTAfF
fpka/+1h1jEn5ZPvjXVfPuGCSjaBqQKzWyyV9iQ8e+GGNV3yAOq4eB9LO9jYA3oQMiLQFxY4fQYE
OE8NW4aVXCVE7v+ANWDe4n5sjhFqt01CPCYc38UnOTVxse9HHGVhkonN3TuxnBKmSLqn1vgE6wXV
XiZZdOmENRGY9ibWE8IGTFCfvZuBF6SyxAGWpvPVt9JbNaAQThtrupZufkOUM3kokNi04qM51ZZO
nnKRup/9iIWv1imsRtFdtCpLGA5n/oUsd/eRYKFkJZMV0hH2QhC3uz++KIdcv79rCBB4RbP1lI71
W5mbTNWLMEYdgxMnSGJ9j/7IPv39kZmv53nhAN1/h3QuNT6zmMH4cVAzRj01J7d/Y3OncWnQmzBW
9JZJvUGvSa+K8CDaBtFpHb+5o+nXm1atnmWBBmnrKzJhJlS9K87zqKtenbvV9f5GFh2d+zHE4sIs
pNkVkTPiVmqaHfqpX48KNT2EZn7oyXLcmUFM9qbuNztjeTQuzzXGcJ7A+W7l5Zg7vU6mRzWempHQ
PROMRJC4Kq4Qo7wVFff6YCh++RoaNXBPioCatOoWBTxRusMe+NxVBObL1M/qDT5ivDXGIT8R7Z08
wHap14S527sMB+TuHCbu8IUxr75BW7H67VWNbetL2bXtysJ/2Pj0fppifpO+tNjQ5y3+62tW6t0T
YPO9LMmLf5zFNCuf6sTem/GI72cIXulMNKfIh70l70tNrw6e8sVR3HyfSXEQChLau8v5VOmkamYZ
w31/S0C6+Kn6yjYkk2yVOnFx8kuYvdy2MKDgTTjQ8W439zetZoLmMXvRzs1yqMeo2uZ1k6/kcwUr
zg5oJZE47fzamyLGsxPH5zD82ekm8baLpK426aH68hJQw37t1mOD6TiZv/jkSVWAjt+IghAH+Xyr
Oz2LhoLrbIkFJIxkndWB/iDPgs5RV4OLiS/no7GLFCe+5MzvbHPu2IsUvYk31JOBVvHku1srG4Fv
kVqLi6IQ4zHuRg8ygOE1SxiTPkPND0gJvyshuYLG49RGHSO/NDjK+n+JOI/Kod8PCIz9lQ7Pay6V
4FkdE389Z068lX+40bVf7rNYQsNmTwlq8o/Uproo6N3Ir8uvRTtWS0S3uo2WxUEeRk1Jtm6bbRvL
ms4MxtCwLMrze0dURDMTwe5qLtWprPgrNXA2fa2LFXCqkmDpoVnJP4us6xmGXNEENueeUApG0VXN
YAhtDhxmQaMApZMU5wRqmD/y1zpHVkkYKOslQCPzixTYtanCzQAVa+d/vuOEQv7g8G5Y0TGZWtgh
C2pYIHsrNTJops490QCDPr8G1aisUOIAl3Weg//kJaigxteR6M11A8zuqnaERfEjyZ9BHhIt/R89
ORQ7f95NHSH4n7CZSDCGcxZRzt87QpTRoo1qZZdmke9NEOu6ZuiIRfHdQ8sUiaChUv8yj89zUIit
1sYpwobJ2urVOOzKPgApHsKVIz3vza9bcZxN0DUW3cTP8YRwfYpS/v5+ffIns8MaTQdIV+HpJuPo
rmH68JHPGKxOo/+gTGq7/22iGsxujhikpDsoJslKujkKu0ofJ0e5R3haC+8g6stkPRYqG2mlZvul
krM7ORZZrPB7Ru6xu7s8zChR81lJMG/0chR7cyirz0nwI3dS7ZNTUhRlORxZJW3ua6BmFoS09yYu
r0ULaAXqU2AirAsiXC9VVWmPd6F7HNdYA4PaWJfYWo9Jo1xk6l5nhO1qSBTzAVYrrTBcvs+2riy6
joh+ymgmb5qfP8lcDpQu2aYzEYw2xM9cTbRjNHE6kj1GJ3qasuzLfTerp3ghtbl7lwqsQkOc6UTM
euWpaakVXYuOtzANP3XcftQkal/T1BKX+jJ64xwP7AXyTfsfb8RQFd3xrvm9/zIzsKdVHeRkdWCl
OGR58gUtQXZHkDQqi+1YPdw1M7HSHOcmmfdhxK4vUGxolJRUjC+tg1rxWenDwdr/e3EtG8R/L64d
pJMUfprNwFhY2p/dS61v7JI0nfxo+UNxLiszguMVrRyjbR4XHuJfd99i1OyTbGe6i9eYKMQMpJJx
zlNUfpO8TXdpZ64sLrk1wnK8o8gKJoQBrbpuCnOjZS5U1eXyGhPGPlOI3HjMcBboBGft6lbTDn09
kvW9XBvytF1OkR/VnqqQBqpWjrEO6ym6yUeBlkU3hB+I8bXwsSwXi/tyC6E7nzyqc7iBJT5t7mti
3fWCO0jZnBHLCiR3Bf8dxJ3sf8H5pXPz3TcU95khQ0fiWKbtKNmEF9iWWLdCDx/CgljGdgl1sthI
8OtN/2ti/1+pEw7WR8eA2MCGlk3tn4wTC8GGbqRhfoyTJqQWzd7YeYmfQj8C/AJ+aTnE2qh68hV+
O39lhzGJY9sZaoZqfPAhyewLP/bciJ7oWDprmUCVBfnMVK8kdTF2sysb5bW1rOXOmHzJ0wxx79LG
wTyTHqwSnSl4VFM5TGBTW/a677Tw1H3Q9QWWdxNtH8/7KjsootIQ8tX+D4nXxZhhXLok/Clb+f85
U3y04lYOM7IeZuc090m0kvsbeeirdksMVn/696tZs/4L2Cx0izmfri2LL///YyNjDKFoRhDFR8WZ
hoM6RuKUBnSvl0h1qjjIzVWHlHwhWM+KhdLOCH6dYldWjrDmc1iyKztum1dpROOEu3/zmr3pjdJc
7lnn3eSZPSmwqKa4cgUWSSdENyLa6mYkBTlamfqkG3X23FGCKsmYgJwpjqCgxZ5xGeuX5UDS4uP8
yi2aiUnuD99cLNNuaUXPsm0RwvTez2kM50WwH5wX7opp0rkc8obp6fJoVPIF3UgPtxqst7v9TqWH
m5b5Zygsy0Zq8mSpzJjUPbi5sQyJfrkqfdX/NC1Jm/XiHUqmGbIKRmzS4q8DQu8VOlkccOj5hpVM
VnY7bVuaVXyOFzmw4jvHdA76k1T2Dsylr/JRN/pH3QBcmhV4kj7rDDF0nHWQnnzD63raRfDyeSd+
tzcSH0uKOQTHxCJTlQ4VWJWZUlcegmj5hUMbSkE63L9T9kTu3y6ThXV/1lZ5GgJEVsKjWyasywsq
PXEgn/uM49Z3WLrZdoiw0mw+9Eq6Iy1oeLbRsKI0Ix/VBFHzbrGXDWAXzoyXMKaqLHxZa16yvFWJ
uCxoDJYCOz0U7jICPlUEBI/Z0TgyX2ZDKQ+ziva5M0Ww+v1cl8yIoGQLvE6wfshyaQKLuhV49jzR
WYw5dFIYpSJuHExyATT93gporJ5cWnhrgzYkBKVpGrJn9J2KIFYdd3E1lpgDpvaHjHHJa3sjS6p/
/0z9N5dN6C7dAdoCkMgIefij/TJFNZpGWjPHqs/OWm/pr6ZBDDVuzG4jPyIMRgAl6sGv0yBBhwo5
dzBa+1S4zn7QlD7c/Oe0Qj0QWLrKphQkWWy39iVcDvIRhhf7QldkvICckE8zgvjZEeK0shAY3ULy
0s+GIB90UWLLgxiZr5khTiJ5qpSxcvn3P4Ep8Qv/uEsyP3dZbYStocQx/rxLduQ1UEGkIWFKNmZn
E3n73UemLhY/h371JgDG9NgwufLiDlPwFBYPrhGUqyzsyx2JEOV2Vm14yVoU0jJe+CV1SEM6NZN2
bWSFX6ws0eUned6bmXEPKYBHpm1t1Ppeyv1qK8x5vEtzKiwW3pzZjpfhz5cLmjyY1keZEjlgNh2h
PvGgnRqHYErLSMRh1M/t5M4vk5kRDLRIlE02CG1u8Lamwisr2C11ighU1v+G3RJYg/H6lY05Yq9w
ES32G2tpcNih8Y1Frnm1Jv1LTmPtKNN1ZEumJLpmj0v/p+u7uNqrZKH3GMc4dxrSSjsUyGxFvsY5
GViLv8VNe5KOlNzeI5yuARe5JpyhiFANwuPI+xkgcwM3PbUM87G5Yo2SL5k1wM5srLqV7GbEE0MK
DRqq1TOz6BvdeM0Q2CGRODiq338qWhypSdW/+1zAj6XNzWhpgkwtXggricuV3Y2CoCo72sget7QI
ldnb5Jvho4wLcVSr3c4m3qWepeJeatRJc2kr0tKlupDxJNPWhzyLcoIkELoMmvhsMaf8oI1telT4
h1DRmgsj3IY2Yvtaim48/efpu8s5URXkBqsq0MRbyHK8Vd1p3JhYNaT/Ru5scnqCsMIV8myEWfje
7w2aYTY7hZH3Ok8EOjhGRrvhYxoN0ydBazVM5fQsP7ISfZTXw15yfOIip58FeScWfHZHB+IzLtX4
wa8avnHsZ2TpvU5omUUJtQrYQkhvsMR3FcOiOLU9ggWdoyOD7fvJ0dbkIc31KvRTAi4rHRmpi887
pcgKdSEuOjG9AdT1tajMHuapGz7PDaHhfvGKZvZFrjL0L8prmscvSt3iZktj96MvHGOZcWAeKxAe
aHEMWkgdRd9tY/JWVm1ifxh1Pr7mk1Ns3VmJjlmsdTvZNqu6JiYYtoIZZNv4cBegRVfcsqRT2Far
xgcESs/VSYuPlV7BN2Qgy4VdcYibyNrIEU1tqtVFUyv3Q3O389xUR5Ttxuvy7wktaD6KoD8gbhcb
xG0DMu/EQiVmzeWhZOPi2IzuQkEMHpXamb2b++G4WXHoKiN8xlp47UJIIHgFmBD9FXkfVOrWaQrr
5KpVfVAYCt9LtqWKy8kTRlg0V9sqTx46lNJHeSeO8xxkvm49p7UVnwsUBns8IMhdlS5ks+92e7Ba
2qFQnI29nP1+meLGCOL1oj8qVmw89m7ArRHt7NCHPwr6LbT92VzOFhmadDg9WqzOh1vkzqUiYvvB
suvHoUzacw52UIcG9Cg7wsms2Hs1QUZU0lD/mNqjqDOSbsw4Pri0U3aNT3u4E01G/T8QBZrH30pH
iV/qHq+Epkzgl5z8oVvYKwBJPEWf4Cawjx1WAaGryJIwvsr9BvvGHyU54cvYNCAUGNuWHz1A0nwN
ErQssWZV2wJkwmGI/X3t6wzIBy6oXQlTz6PPmpwhqU6PttbCvVskb0Sy76xu4jruy7TYy58jHcTg
Zf24zMJ8xsSNS8gfQ01GNAzEl4gplQTPtdak9tv9e+PY/zpb5L5ITIWDqfFYdWyUS7e9II9KNBPs
qwQT5csPl6tF5Cmx2b7lovkgrvcQ5Fn3NunNX0/LFwzGXins+HZ/+TBWzyWUQivOHsxljyUPak5Y
XO3T9mmMYufUrbnnGiCztglo1hrtBubE9y4mdyjtEMlwLd/U4LMs0GU1wvqkrfhUGOu+pSaUXZjR
0Infsot8d99Ad2xWN0NaQIsiCmgzznp5Y8eCdMOF+kVA3VZq84KsUncY4A4yeKMIGwuCpd1tGuM6
a0P7tY7NL1Qy/QtG5RhVpNtCf2Ub2reMpYQIVw2I6e2QwFqRMcyGknMpNEu3nw3zXbQ4pRNe73Ty
UGea7OApI8O3Ma6U1zjKdswIslPkqFQi4E09GtY1qtmpOxAJTyZPCBlM0ruC8Luc7bYKjq52yqfz
BFjYsgIM36QzjTuhIT+aVB2mR26M+ykACWrSVj0Upgg9U2nN58EIzWdgMIJc0AXGDkFYFCfsN88B
GWpVHwCeXAqE1LLKtRr34odLHxvrzDYf+6sdd9bBV0ipDbEcwgiZ3zo1ByTdu9MXO8JaaIlgQrX2
l2vPAjV6vv8N7vAQy+pqZOlLsBDE71MgkuqcJHrhr+wCe2MX/+w0PTnKrbZJc4DFiSE0wMpdubQ8
5UEYJd625TmJBrO76IH8Buhey9+VnhEfryWDp4YSeRig8nrkWVUEPJri2ZqU+lAXVeQ1vUlri0AG
EYfEA9T1z+WBoVG7SKlunKbqDneowxU2k+Q3lzYQ/WWfQDkV7or4FQ+2QkeYO4iWlWT1KeQsuIn6
5iIMcaLA+g5j4usEqQzS32LWx4BSrXLVytZKHJbP8lFeBe9Fpt5Y1+eToHDd5IR+f1HCwTP1F5pY
zLJrKsx0tHY0J/u9A5rsqKGC290t9pOozrYZulvHDwHnG05ztQpXUGz42knBXw7SwPCK1jZflcbo
Lr0A2mTPTebdB9O9cPJTU/OD/w+tFHfNRQz1z9LUMRxCXjWk/qqFkuufzcamL7p+zCP/cP9PMTvi
rwTE9qll/3IsIrJiRGPHeHgJlwuyLEE5a3/PhJjeVfhNW3UGWCpPs1QlRahNlpBEdfO7TzrYiLiD
xc2Kqe8jE+VwlLuYUrOHHQbP3IMQTlMPNgmSxzY8WzNmPpkPqEVPo9VnoOms/Gk2FG9caK2ic7Pn
utk0AZEOFm2AgyxdSTJhHW0YjbM7x09F/mGCyYRBSuY19P6OLTq8Te8X+jqBFLvPaVSto0Dvzmqb
4cVVaygl4Qi6wiQrxyv63lpNbYk3hrvVWvHb0QMiGB4YnBfsTviIlmpWPQ/JOu3Ten2nQsaFFt0x
YYnBRzx2fQHH0c1e9Ma1TiHNhJXtEKRZaJnwEln3RY34ioX8XZ+ZYqHPRrRT2Luyzadbj+9KM+b5
oGtDua+7PHgE9R6vaaOk7+EwvzF8t26+Er5LgZY8/BZtKUyUNndlOimGYtOO8eA5ij1s7EpY9hq9
DDScdjpIyToJ5dHKDSJzF9RlvimF/1PGjeeVBvKyZKo/Lcxgarh6Y2mQKdBUFJfeHqoD6prLjITp
4qPp69akIAcbvYrIBJL99Tqq+rOuv3fQWadV1CqUdJ0KnJA+MWitxWYkws4Hq5Q8ybPfB8voa2+m
mVBc8SKe4o4yNMWZ0NBYEy+mMs+A9Z2LZgGCmfFU3nQiBM2FrdTou6I12+vQMrBCgY3W3qzdq6Td
51WcXR3jOFkivt7BVPiz2CNNxg29Q/pkpLP2LJhJSrylCx1+W866vWa0QwNLmgwSW5AxWWp40Yiw
wweSt1tFW7iJlN7N5p7ckhca7kCujlVk2v1zmyIia4aazI92FSgV0EsjCp9zhYlG7lvQVcWZAJf8
kVlc9mKO3zpT8X/hRh1kMzu1KdsHjGpfpIsgF/P9TNan8mupeNVoqiruS7+EnlixftLb3HkPEA6u
M1vlRmhn2kOkkeldltM7KFdnb/uIGJS6e5C1/eSqxDeMvXHfnftASO6nCJXeSSkzb4qjkBVR2K+8
Lc0+rdR0p7V5+D5YpheVDzJxAGHxDzvtk9eY+Jmt7WiswpNwPbcfjIe8U6K1cEBbwZRZzMPqpkwp
KmTOFzUvni3CIaZp2Esplzy0Rl3vkkV2Oi+iro45gnffQ8ehnqLQcNWzPMj81czJGtaRVYH+rg19
Ek804xTaNrmZ5oTNqFXSlZzf0FdLR26acrREKK6/Vk2t9tBoYj6nd3/K+sK62sBWpi5+DPKp/tDg
5efL1pPRwAsZP84nnz3oVChI2uw6O7a9VaywMGlrp2GfItc61Zqax/vNlWziKWDqpJnt56IZjOqD
oB87DUZQtWN1QQADemt55C7PFbBvMMCjLVd9McBotKvL7xcrpBHuXO1vr//9AtMqPu7Cn7FbK5ld
rvBWYd0FwvHUuM5bsUAaCfweoXeF9r7HzO21he0eDUIrKZKzbyJW9JXrOMpjYJj9sY1xprVhpZx1
yGirke2gp3IfgCeIpikNMFNLv3sa5Xt9BluQlFm9L9rmHVQutm68Ol3dpt8Q/sDz87NwAxysv/tl
orH8PhVks3Ertf25/aGrH50/J9/9MMeHY4TNM1JW9pGj/ySqJv6cNZ/SRZJr0Orf1kGBGW6ivdKX
3bbVLJZvVQ13mVqF97lrG9Or7P103JdC/2bXUHJ+36CqWMMSmk2reFTUq54U8aGummYfq8yU3Ijf
q+1y7k2GIPBaZlHX6ROtgenQFBkJHaCQpzOblZWfVXT8KmKrF3/YWJGhklgIrWvjYU7SmI+RgEuv
FuUDnVEQ2Hb9ZKo9B7tSLknbaNaudj27FJ/kPyCEzvBnyhr9kOkWEMVkc39D6U07XuwvnUulP+G9
pxukKzNJfxF+TkEX7xgGyLHlBJgsJVz5g9DPCZXGWxrGq7Qz4udcuLeAwJZ1pOVM0pZHeTarTxN1
m5J2+rFOZkJ56zKYTmpfTqf7eUa4HqDskkDoZaP0cyywOvk1E5E7/yZ0sYD7sDPvIZ59j52rFRpR
7IJheAOiFMPa9yAluNZyqwlCtF//cEnoW8VTWj/cb1dDYOFzpJN8yBxcfjIfNRmq5eYhnu7UvzlT
mD/M44qyQH1uSwrj0XGLkwIQ4IK4rdlQE39xqjRiShheeksUNxMX7C2dCewLreFVydk1boeo71kj
05UE3Nv/xFq3k7Gu2Zie7h23XBfuoRzqj1oV4VkETX72Mc9sSJV2X4IU16CfpyVi56jZzCh917aR
JsdxIdtWTreaS7VA6paVL0OafYKR1n4gk/6kxLgWhUFZq/xMWC2ep6rGvRC23Q7e4+tcJ9EDHi53
hSUmOygBDEhNjbDXtiJ6J32GkMN8eCFEarq6UfhTPj3lsFxQtI1bY3mVBm2e8TpwrxmXr5h1IOlm
9q1n+1yaUf8eugL7bQHnIWzK8AlI1E+TgAHHTlioRJlfUU7XZL9nbI+BFdPRqsd9VSaAK8I8ON3f
kdSw11njiI2L7H9l2HWCbFVjbJCCdfQy1QrXo8pEAm8Csbwz5mumEp8s1T+26LDvc7sqo8JxcHJK
tNN9TOxajPAYJq3tydJes84eL1qaGStyPoBdWmw/pcxMTLiJShMPfzBoyCLcnxkV5iNalWKvhBYN
MOF2VydFQgXPljaKjbMpMPAlkukTX+pJL95G/spjtDTNMRYQLFaza2ra/tHRDCQ0gFfZAHf21WJS
7jGk972o0DNqIMTHeqG+V1rd7hn6dih1kQIGGvASQ+2mHYIs/z61lqexW3OfkUAb08OjV24bAt+3
6awbn2qBaSjIhHLpBIJYML3HoTC+qdPkPJWxHl1ylOx3p3+WiEermiGxGaga133fVcf754eWpbXD
aTm+RlG0lTxVus/TTlnY4oZfqo92HGSML+v2NqnwqJlqa3s5LpbPNfs+9YubfKJIUHAyqXBW5Oe6
F/hp4Vrqw1iP8keHSOVN3iKAj3LGtxXSonOLuOAYt45xx1zXSVWik1LvZwrNtvsPiT9nK+t5S1Vp
xJiVglmabIY6GuJjO7FJrgvB7BwOmUrz/GgXlrs1Hd05TwW/npO29nqMrPQrq/Aq6kecp9GoXMsa
t69b+e6LXqvORquG/Jw3XNozQhnEqRkcqQgx+PIoTJpfj2LN6JFwASspi/BzWirTA98NdzjNPmO9
JtljZOwwdr4Xgyh+Hslo8gpndp/lc4h9q1/Md7U3kLr/wp5AVUKXVT9xIGmCCIX3OMKxMzZogsEG
Rg/o+A1Dsb4oNaaRWZTFIbbV7JVw1GvTO/NXaxE44E4YN2E/VtzqlwIzympm4l0EMWmBJzN69cZB
zC81d61bl6sHCVG2CCw/Y6DTV3irmq3eaNxdkyDwWP1RbFRTcoINPFCfOMNng6g+iQb44xXC4BfL
Mf+pffYlgnleTZH2AZPQ9MJIY/KyHFqfBpj8gmUuUXNA9AUb801t0dbpunJ4YosOGbLozr30tIoC
BHzkzw01e4Ig0BpPd/XnZAaXFi7rqlT46EVmaO3kVSavN36Nghy1Bu+oFe+jKmkOgzqW1yma0rVv
Tv572tTXroq/jqMYnwm87fh3Su2l7Lppo81zfmlYBI9dShdm8N9S5UGK1PqWlKxKc7hh+5cqQ5ww
KUxcV6g57MYjEx6KOkFlJ0SnFT8nbaXKTZULTVGvwgLjrFBIpPz7C4zOUEgjVs0R0/vSWJIykFQZ
3jLbnh573uoVEzgda8ZCRq5N4zEnEXETLY+C5Tn5SD4X1PMANylZT1nXrtqlRyhVUi6j8IN8ThaW
YTXwzoFuQvUBxF6ppv7R7SvExnQStnST1Ncuqt8TrY2/d2X6OJhCrOCb6CcZrNkq+O8SdkNM6dJ1
Q9jLcRTODY/H/EZdnW/R5WERrwftao6gVFmd7G/5C3YP28scfz5Y6ZQ/ttncwn6hjS2DyIIYL73r
vxJg4kmVXKIW5Ehrs0+0ZRSTVKXaWxQDAewDmoZn7dqO8ImJ+BrO/nKwMZd2mIxoHoex72ztJGL+
U/q0Fw3niT7Ig4QfK/HMiqMyK7QrBHlS4URv55bornUDm2ZdxMCCLhVRSk6QZg+c6KK7IxHcCZ1/
yXG9yGOtacWjkWovwwJxRW0ljrQDOw/MP7ntLnBUJw13MZvOnxqyw6YuzJ8zD2CLip/LlxInsLzW
nYdzHHHPDC0KhMoH3VkpJKAUmhN+YDt8ypRnY7CJ9/I759YRbZ1As34v6jQ91OqM1yNXonfsoJkX
2QvRVAzMCFSd4OKQeNa5y4sXeIT5NswK40TC03RGyqBtVOVxKqPo7DB3f6qD4XUeg2c2XdoWq11x
gdVSXOSj34e6c/JD2ouLiLLDvXSju5m9mbp9tZUFPyT8rTWH9Vcauo1HUJxt+8lGB8tzpngvLmES
2WtVaNpjWZRHTbCHUJWRLCeJgSr9cF+OdBTsPlS+xLHtFaUGgN5F+d0nQ36LRSj26OitHVPI/kEp
2TTlvvOuFFl6Z3WYlmVhhZnJTmP8IKkT8mC0io2IsYZfyxX4oBDnO6eOemdGTws92hljVk2/AhjQ
dLdsBg8MGmiBNI80XdKk+hymjsbFSiLrMFCxUdksExthPbXsjAjMrD43y84IPam953NtPkdZv5/p
50dJ0iATM8UhbjtaUEv+RzUEf3teI4BpSK0XeojmAHm7YMXWsdyncXkpi+oH8e3lLkNjsut0+/13
F9aJVAJl3eoT7a21nmrJJ9DdyOKpPTbZiDDWpo2yVRzyK1w5J2uN/gfZeFiabe0UKOLtt31ZepjH
EidU2F3ROIu7qzkYzGqFIbj1rK7tMITQ6W/AAW7QaRWbmQzpwmvjdV2ME5QyK3yOyem6f5Exb7cO
Anegp1tg8iNijCjIseMNXjp1eGWJR7X2UsnGLSi5jNmwlQgBO8WWRQbYmxyBSQER4I/wkti/hmKL
iEg+banZNw32MSNIHe18tjDWckyQKGznxzE0km2hMCZpfBuFkRlXm27Ro1hSyL2Inf1ZP9UwYE7l
cpCP5MFAdn3SJqaJzxKjPeXlsLJF6t4oxIxdUoXZr0g6KiZ9Y9KIhBLW+F9qC9YmCHMALBXeV6dH
A0+dJkNZAwI0PXZv853pR7l+tVJH2Y+KVuzNUWMclXXDdbDqaF0Vk/8Uqi4cuhhb/3JwKW62wjY6
5vSL1X95rrbK9nSveedJ+R6G1RuAZYPFFDGPRij1Rp62mCUxAk00+0OFjJSeQUDTzftS6XyM74bg
vxpoL4mbuR9jDoVwedD/9WD5EmwvZJWm9eX/f10Ylf5nra3XMDge6ARZ3+fafBqbsvskqq7e4Kho
zkqquuemI5ynsAinRj3/MIR8qMQYJdd+YSAzoSuOmSr69zTdp8unTnMTZ5/hsaZqXIeiKz4RelCu
2wZlY7u4cIckA4vpmvTMVNT2tV3uBvEm4ejREJln0SNek6cxZR0sWTJlFn5gnyAmsrT/4+s8luNW
omX7RYiAN1O0t3QtUtQEIUoUvC34r38L1bqH5554cQdCAOgWTRMoVO2dufIl/xdM0MsIRg7TcUGl
Jc9ltx6jIQ6hYOm+dJjKTQfl+Ri0xBDXy/p0mjv3VJDcCCaAbAkvHKeXnmAbX8qjKtzXbu67pnAf
JY4bibq+VfXwkYnXtO5Z8Z0CRYTXdkaDLbrBfKblCnyrQc3oFMFrHY7NKR1z8TRWAwvhxdjnpL3x
7qHud5dM5bHH1et2RXH2Orx+4NWo2NH9pBpGQaY18FPGPcaAugRUGoW3eFnGNY77x0hxLsGsKNYa
Wb2neRL9uu0xZSBiVQlhjED10no54M3Jn2HflczsHqhOkEL7v/eiNgzu5xK5R8lzXS26Vm62k7z+
zF4oEL5npibL1amFyZ4+1w+79qqffAsm1VR7hG0+xHbq8Gyz9wWI5VURkaeRpAN/5YZ2IdNO7zK3
WvlmjATlUci+Fd1LaVfjxaL5epnHjFAGFc1E6AJdIycA0+EFv6LTIARAMmUNbnCa3ExB2mEeA3tU
jjCzkH6Z4U5tgcUly5FRthNEVC/ZzGlTHtATNfR1F3np13FCQhNuT7MjTOSl7eP6Uf6NIk2tdvel
rRj1lRv0x9C2hs9lR8TWKHewBAfnWk/of7qedSKDjGfWsic3JFBTDqjgYCzn0Y8c6CWIi3yMpYFF
49Qy3HVMdu5zjix7E9gEZ5GdHCO9Ed1nIMBgjrr4lZOOuorVynnqEfbuTIsHg1E1wQNyPmM1pfjS
h15Tt5Cs/8y443+I0fkDAfjvTlwYXInNYzgvBNySvo4s/trF52C1wWtPesW5DQvI90tNmPQ+A00h
pB83Q64ydUQMwF4nMn3ZdeGIeeq2CmqmoUvoX2Oo6dmsW0bsSDH7daJURIRFgmV90C+6EfS42T+H
wZT1T1MXbGTPwZrc+VTMmGtjDb123hmIMLoZqYJX3B1ueHPEizxajAVp4S1ojzAbn4ZeL16CihSU
udDGR7Uy6kNFdX8DYYuVqkls17KRe63Zc9UkpFUcMlllc73+T+t0T7Prxue7cIbkcyMkYQZjYGzT
ejTTOHx0ivF0NzTHCck5Qy8ET1uj2PZSgaUQjkJkQKAdKmgGq0n33AsRPTPKrYja6GLi1PP21OcV
k5OQvv3yXFJQ6a7Ji6xWOhDc+w8oX/DKJ6sOmKgtUoV7VkwFmNEOk2gT2R6dzsSwaQNGU/fZJGq5
DpX+6qi6szNTUzt9bWbsDrVfVygNPNhJd4Uhy62/MkMpLtR0M9kHXnZt0DtjRin6jUwvkv31cBFp
6m33rahYed4/MrsMeqgFirWhBq/6Kf3VS2Z64cUzejLipQCBIMQXwgasTd4Im0sdZjpGgZfObeef
LLoSGiyacQ10b+HsEAcR9yR1tX1tXoWVfthKlzzPoeOey9kGzElE4I7e3YBqnickbPaTa1YuSAOO
ouV52Rqhc8wj+0mLwxpF+NK/rfVwpoyd2CfLMVGNJy3orzb1xLb6fr9wtEwBxLOM9onXp5umpqWv
aol4kueEpqWbUu141spz1BhaBShCO6b9qdPb/iSWjdyT50ZH51zsUnsO833ttA9dg35Y9izuHnQv
wuCq6GIvGxd8gswWTb3GQsuHyaymW8vvrLlVe+GBs5NzdDXtK9+cA0IDlxn810bO5RFcpqd8JDck
sA8GZczL/SGjW8lOnfyOuLlfahX8nhPXYUTT3u7DWIsn8MNAJRTOBjb5wW59o4sNFFJI3dt0zvaF
QbbZHLCC6exyA9ZzM0VmcwtsO9troLl2oW5bN6sxvss7hZbvT1NM6AKCDGVwvcymFNVYxVNFJaVR
kz3Op/IhiiF9JZpZbLwgePHo93zD/9PtRi/Q9nFGFViD9uQHepf+gCG7ncgmll+/zUPXF1Y9PlYq
1TovSIyNUhnx+/IOdZp/F06aPfMxeetSm7oj9mjxzZjGo4Hab2NXAoOujKAhmx3mBqrdqgxh0Jlq
8d3mqSpjK0vVLbbc/IdOHbTtxCr72QDEiojbGh7+FrVpU/tgSvfyp8JKqVFAbadzo9fkfi/F8QEc
mVJ61SEGv5wkDQL3SLzXIW6Gmu7EER/u8B0vJlLQVTrWysdcD5+9yKLXKfaajWjQ23XzIk/LWkgO
S2sgGXVwhpOKuxL7zIbsLXAdZqo1a2xDNQ4QlDkSJql3ojnVeV1tjQEpnoy6IFqo3tCsY+GaTv2b
kq1Hym2TUUYvkalic+DeXbmh9aoowbgZmdzdeLT+FIrXPmWd+t1aZvXCyj6UqBd7wHKAsCrqH1Xu
/ZRy4QReTzeF49uALrNfNGjo9MYDCgzDn73MRqk+NfcZupSNW/20tXTQPtkQRjtYTcOun4IlmhMd
ZV23JhLA4Ul+WymUwjjLjaFhIqrNobnFHTBhE5aJ44WrSMlwECxO9qrEbKGE2RVvKvG9FsHBklhD
aHp6kYdTncenroaVzxMi3FgBGnfp15QxkJFOMGgbGvp6yJNglTsKxIPs/HcSHiEHt3CMPdSErj0U
cVnvjCKwEBQNkLgMTJ5CDQKuInIFVuiS640jKBoUs7GVYRw8asWT0VCYXPhWXpKEx/tXHk21X5eh
9yOJXf3nsiO69r6jDlaCmLw82mm51Re59Nzl+fNyZM2t/i1pUl8towh7bhug0SeoSQrD5HRWnsOt
Um2TPt/IP/TQlgFuvWhFcECwu68RKIk717IH1Tk5V1BP3oNchASaaPbpiAAGj6X2kA3t3H2aXs2f
C00mdB+QGZscL71va8VTiPvsEMeec6G1QhGQVfp9TyvNdJO4rraScQRNqBn73JqyaG1123rRXSO+
9TaNIbS1s4iy5bkhTTGWpiQbhuYUP1J3ec6N3l7dw0qcCkBSbgLBzywwg+iAHwbwXNsWG+99r1n2
MGHywGx783VsxmtOx/obQ1u3R7ia7IB6sAhVHDzXNPF+ErAAFBjxs21VzmLDqmhpEk6Wj8jsqbTU
G91E5BRMSgipu3Cv9Dd8mUAGNsp8lHvJrDxHxUx/CHvOozGb5d4Zc73+UKea6gk9Ctakz7LJn5jV
SdREg6oKOSzRYmJUZjZW2SqXBtaibWvgR5hzequMCQjSIWvxwxepX5qW+lxCuObf8OtOK0BUv22Y
6QF87jBISDNDxsOD/9/h6gVDFtBLQq+ZOvyWFbO3t/vfwIABtPuqOjBSO+tpasuVp96S2Yn8JCoo
eUnNfVTNAmEA3aKlGJmkpb6JsqR4lHtlTuDm6EIyHRbOaq6TIdUE086ozGyRoRpw67tUu8gxh5Qn
qmO4b9WpOHzZ3VonRqNgLRnl3rwThHv4zeK3NQEyAttSfjmLWtxVfNFYzW+m9wrEtaRcoW5LSNmE
AWxoNIdcuycxxDKgLFlGQMDAcrFRSqG5Usw7Xc3dM9ItEjnKTlF8p/Ym1l5lezOmdieHkUZHSiyv
jLvrjnySxjdoltwXm0FuVFh05phq9Gi8FVFNEA9ZQvcgmkFBCyyDQ0ObQGLDdIf939tc48uoDBsX
12ucVbFUAVPb3nhujHwHL9iOJem+EfG8gt8JnEAUSnFAvP7mQT8AYxiNG9kJFgBht1ZMgvddR7yU
TISjhWegvNRJmTU3mXC392KTF7nXqYmsg9QIdjhJD6NSbjCIfQc9nz9WqTI9hyK4lqogq6rFb3LX
tXBrIX0LsosUuNjkim14vgKzSopph4I1X0mpqm7RK0LNRI4aRCfon1Cz5N6gZNNBxwThY4X/05u9
/k2dUp1Q5vIPzdL4fP+8RH2j6NTvUV8bT5iInKVrZ/3euKL9c//cVLJ7NSLTSC9iOaAOlDEoyXiI
6Ta26eV7aT5mNZLvR1CYvjxUUqKk5eReBfYGlS5eyz8tYGTuqk4XBAG1y55LIXiYJxetdsckhfC8
lSrmP2mtVguErzkPrP1XZVchlqzmN29ERpw2SbdOcxJaGLmdI59p+4wdYATanG2iutWv946hXYBT
YUF0jyBNNQK9yl4ZT0n1kQQWYGujfytQjftKWHbvFDmWmicYgntIVGvV3vEewB7EQ3NEM7Ijjme0
/Jz78u4KHQMybAX5SqNRirPcC6tJnKPlHOGO4hyS2PX31dQLVveOizbbKNqW38lLSTEBK+9Xk8bl
VJrVvkOTex1oWW6yqnZ4TpH3EQjFfs+M8WYWowqf6NZCwX/BuUqFUKF52unZm5GHjD93/Es4nomS
YpjpzLJfidRm3RC4xtVVp2AXkRrlm21hXnHUmmdqlqvOsxGX1JlgSJFrh2ORROIsObjVP3tlr6uH
LkBfWz1LZP8c2eMt1J6lWVCMrTyQr7g9WC97LmtizIp8ZxocymAq4MkIeYlvQKq4tGhIY0mf7Ewp
dtFUjxuzVrvXulfSjQX5bZd0Uf8aq7BKI2IXjvLVFpy5X4WzuMxF0b0mZnsds8h9DNrGQkro6bj5
YkrkCtMFJXPHpzZI/6hhbL3e5Z/gObZaq7PW6/t5oxL59FrV3a0At3FWeZaTNbB1kU8jXM62g9or
BAtaG5IUPZqErbeX9t5Bp0zrtPWDPBKDOuzL0N3pY/7xJSRRAhoXcRN9ZEuRCasnChRVr6hYxm/C
zMQb0AiyajQrvjZYUI6wlYicbyAd4yl5TlHq+plquB9Y1FbNOASfoCBIBUS6sEj/ci2l2zXn9dkw
CBjA+vi7DKxyYbMABFrqkCj8gQcYtbGpklk7mFX+W/5PyeNHgv7zrl+JpxJNnqQaKBlBK6HN9E9Z
chrkRmb6TjVR7vYYJEc4XfqjbmEglA05N58f7CEyr0ptf2O+MB0ljbkq1kT5BVc5XsbQmNcW8Zcr
Iw90gl34bKW0OFsazJmgqD1TEetSM38ox1FZewMmzBDI2i3o0uno0Db0W6/Ob8TMkkeRPtpBP69c
HInbtEnRRdca8h8wtaHf2QwXegARS17w9wtb24CQ0q4Tg7yfsCLCxJTmld8W7XhpHbSrsZ7E30wo
Sug7I/EbhYTvFsTDD0rtrJ2qnokXzmnQLM8bkSqPddz2T15LPn3TEg7J46I6JQjBwcGA360n5yHP
m/Qmz2fL+VyZ+gOgTWeTefHMzL+PDpbWmjejKl/EMMYfhBCaIJucU4uiWXZC46Ckh1pq975oXigv
d1H0fRFUcuOcNc3oTqIoXkksnAAj/88m69t/H8oXphI8spWjkywColdl+jOJHWWEkniqZlSRf+Xm
AxGwfZJQ60M2uJ8KL17FqCN5MpYUQnUu6X+QE8porfoBsagcXGXSM1ZMa+55FEakjpki2vb/hNIt
mtw9labCj/TI3eOHFbQPsNxoRRz5uq33Fzl4fB3KV9Gp/n1Vnwoi+fqI/q7WUuWIw7cuqPJrU5mJ
rwV9+BYHSXroq1ys5at9VlQbZTjd1dTYL7R9W3dSbBuaO8eY+FG8kFu3tc5WaYkHrSr/zAaCmS5R
zC0FbEKMlxn5V5kD+ABqSKEPe5cwty1FIA/sIhbhTlsW5ZTX5NHAkaRvyCPKeXuPxoWWdGdJP4Bw
Fh3qhnC8JJ2AXHt9tpYPBNOivhoq44s8T6stW1el6px0CwKbGhb1E6v/B8OMq7cY+MxxiCZAccth
ImjyJ45Ym62N1qnQVccnj5afnR94NoL2yh1EbyMEetQT5E0uhOc7S5kbpa9Av8RIQvhH8+iaYKzG
zCSNvFEau90MUzYwKjCbSo2URIS6I2sRYc7AEoIHSFW8RJHoD6MTWn5Y49rPp67AQGG43ObBLa6m
4Mz4Fr1oiaWuTKN4NokPPLooxI9yL4RpZFfTA9huGs2LkFCBr+IHjIBXjZSRh5ZEED/jF7uZNrEM
y204tu67KLPkEYKxi4qKMGGuz1MV5e2qS5zmbGi5jePRLd/ienS3ccmkTXY5lLLPV2He08XUcdoX
SSx2bmTw2yE38DVa075cqyE97umi1bS4TZ4scjbTuXF7YHUb8AepMJIsVW95KDfgon3nNaU2blmX
9J+7BOBHtm0mJhqsm3+WlaIyZ6/MIxApa6O0RHrcn0xB6mZXialPMQVyZ6JczJkcW158UeP2aFvm
r3x5lBiij4k/ENXaTMbvYqjzXyz0fwKss/7C8/5OYRoKhsGyrpHqWtOpiz3ZWj1Judav/9tV+/9x
LnimZVHghHZgsQT6j1cfhZVC3Y7aiihecLWUu68WcSyWx5CTPMrSuqmQEGqiHV4FakMRhgWt7BvI
DsJ/egmGV8zbxAkJJGgil7mlGdBeG0SEz638Uy0AM6k2k+fvurMxOTc0b47VgsgFORXCaGIi1y+x
kgN0IitPb+SoEWxLUN9RolnpobqbymFw7hY2axWH09FKPNaFC7i1betHxjm4LfZwqfV5PLLM2skV
hovzhLZrEc0Y60HErEdUhyv5DBAmbYOKyAw6DNo+8RjcG31JaTLKxdDYbh1BKIY3jtxFiH2vd7RF
HZBk0UP42UN9BbZC/hpZClrz5IT9sPu//2Km+l+zCTZvlSwbHNCq7Vnmf7MS1aYk4dE2mqNCjWSH
3hBzRJCYp8Ar50s81Bql0BmTc9jHZ7yLiPHIezhIR5mbU6FrpgIEg32shfZUL4Ujs4+za1p1H/Ko
L8z0qrjDR5EENxSO5TvIvLmPGavZIclk+lV2zpsgqeoxRLVxipnV0eTHd4VAPN7aEMSjTHdfLKQ+
hJAQByJo38ZtqB7ryABAN1LfVvQtAih4DX1K0i1cuo3TJ89TUDlnAKw7OSILjZzBSghrr7pa9TDl
M8Jz9DHC1a2DFL21bePtCw9ndlAZznG0LAocM0ymoSwJYx2KG9DHeKWDuTmYelLctNRKV7gR2yfI
2eEGflzPbBXVcood4gLdEhiDXYpr3rrqTStnJro/A8NWn6XHVCVRTydn5nlRHdE4RfcjfVk8234Z
bl69oJdWUUI6zQtudH3bNF18qgi13tuzqZ17K7CPhaa/QN0oHsVkGJcZxIm7yKUCqT82i1LZotwj
pXx5rDVO4p3MKEKzONMOGsYA9IPdnOmqLIVSoRzBzuukaVgAnpZxKx+JZk5NggexHMUrhCLLgiUq
L8wfGMY8b/pOcIznzzhvwMeEDZ3QVN92yqw8Fa2HyV0dDzpi4k3cO0R2y9T37p8Q+MEOUha3fApk
NOSXQh/U3X1PXYSDErDg4eHce7XX7HLTK/yhTadLk7s/vEI0F3XOxAgMMm4u92OvLU65nq3lKbkh
FGZ5y3hRqsY8yy5mE5MCW/eAu/Lpz2KAPDlEaj0t0Q/yz0IMp7UtbTCT4TBgTY8MIJIqq5TRtT7u
lZ489lhCiw5LydhHfhlO6LdN5TOoktfIrc33OU3JtEzDCIq5loKca18dJL6/lQrlVId62NcB1Xc2
WXgC4n2m2/1noPPQd6cacY/AGOAl/VujKPUKvxswqdr9MaVJfLISEdNvYU+PMaDFgbOfF32NMUzI
bRbNjVs6IWYIQfhFXXn9DszuuxXbMIiIlgC3A81ixxyUwjUu/wouDbDwsRzzDf2txYGrWSOL8Tbc
9QyOe/xkw1rOROWh2dv9ui/m8Bpb5rt0eZedCwPEmDwQpfmwMRHRbsjoUi9xl1xkxUxu9CLQNpUa
e7S/828JXI5fU3usFgOxMzMvMhLSTjGNV1OL4M3rCKuTQ6Uu1B9OZhvrOVCtkwqh2q+K/N0y1Jbu
BjXuCVzLWuu7fWcZ+D+V+JdsmQqHkqvtzVcVXPyjCNPVNCoeY4yVg0wImehWaJ96p/4GbrbZWslM
iLxDwAmFHI0blY4Mja7LqObVbgRHhtwq8VYK4BhMloR75aI7lEGYvAwNUy6Q21F3cPXygCw2QWnb
3MysYippP/QRYt0vE2auRO9NTETbkPaPTEBQHbctYv9lL+xCEHhK61wju302bWN40JrC+Ba4/fNQ
qj02J+T0OW468tpS70g8jnGmBOtu+M7RrXJ04p9NxG33chuYGti1VMOLaso+4oYRj/Ky9dCXqCa0
OX3WbKoFwYRERU6524HbXx4OQ6Kv72vzcJorXy7/7jnT2Uw3gUrbKhQ4mQZKjntzrEDQd8Oh8Dwc
XMtFWBXKfL6Ssq6eNccmHSPrcwaAMJtJVeUhYZdMXrR2qi/y2nJotfudmSHxywv4wzhcWZ58ZkvA
uiqEsruDp5VJLB8lCTY8me1jyEXbgei/EpdONwLrQ4V7bzdapuGL2bJOrhh+mO5KNEX5u0q7cAW6
D+Vvlpv7hLHnPj8y2iF7Z1ISraZFocGfBevY0mqRG1SD1GU6ejh2N4ArLzP1oU3a9IEWH2YP2bWa
EMcaffEI8pNSHn25YxjW72SEtdAh3A/Ed/jcl82deQYQl/eT6UuQdri2wsLbJTmtV2C7+NUUSg1F
iBL4/37Q68Ar/retFOCLZ6qAXVxP5Z/h/mdyZuAQQm2W2Besd1uufjyLblwd26Gpjv2ykYdfG3nO
jW3M+PnQrMKJH99P4qo8agXutL4z7H+fNDva6TPbzJe7/3q/PJaburQeOmuYtvLrfJ3noiqOczIC
Ovx6ZW7E/3zH+xcrOjtB5pL7ul7VWO7N6r5p46g+htRcoWwsJ/vlWJ6Uh3OJtd6xGUoztzjG01wc
s3/24PLVK71ugYb9c06+hbgSvvvXu//zn/9zKN8nz319mRBJ305M1WFQ7PqIDvjvZrRoXWJciTc1
tLNlnkHcSt84KSkQ7FIoAUaTKXXxd/dfb2iVxNypQbLr3CXXKVneZKkUNjYAn/gEtTeASYfc1s+e
Q5ZDELmfXA4ZlBdWL055NXLnYDbZgxU3tQ+15CFLyIlAmvM5uSZxSNa0y+k+gIyz3GpdFvFDjkfZ
F0nnrIwwPtMD/1ShsMSFZ9IPds/AtzamHZxE6+ZbDHekkVu18JuEEAlFEDWfTrcA7iF5OmJttJax
GZ3i3AzmpqdNwhhTQp6nJOboxIFMpeW7M61k7vC0pJsCmyKr5ldYxIQd4hpcVbn2UmbtGxZyDAYR
dl691teoCc/jUqXBvBYRF5+chTadMueDeKt4G+j5JjP7j6ItfjRNWhF1QFA2ufHD7B31hAQwrye6
O5yw8vm6ynS9HsMfVRjFG6IqfU/tUz/oe82nDn/LC43F98lEw7WemgDS18F7s62mJlShRtXbHwLP
2OWAlak1pm35SezoMXYID+e+gE59G0TCmja6NZQXfZK2i3U/EONcaucqS0hZNfRToq2UWPk0QWMY
XmSt+zz6VmRPOpziyNpj7jp3+Utqls0RG9eLiGj2DyEJuLP1adfTc5m5R60LH00aMthLsVtqg4+f
dFfbSbUyzRJmLibCoLkKPlZEg7ThrFUS2VfXEcNhyIxtMTi7Tqlpppr9sxlREivn+Ue8IlrzvYvr
cwG+1WuQ8AWi2ydYmvKg+dGCe16r+byzuvI8NFq9apGXo4uLfLsN+7WpiX1TKw4AY+uaNt4j9yX6
2t7R/LSgFJxUWCiGfvTVVtt5enLVf1LAwGdVYi1F3oLdg4pE9mEGCZXExMGfojJRQ2/idme7i9pV
2g6trw71r5k1FsnQz0ESv4AN25iG9zSG/bgeyVvwyt9mpT2YzU899fZpelIbUiZQHL66rJ+Loj50
5uAQamkW/qxrr84Sq0nLfUvL6dUcyo9+ZkFkGuMqCK2X3L7FQ+9rSo0UH7Ce0Xfxivt6TQQeuVZG
Rz9d5COS/vgQ992NQNlPgu4sLmsnGN9hL+kbaAUvjTU+JwVxw7X+DpHwUYF8VAzqO6y4xDcg2ILB
T6d10E+vLiw2nwYJrLuYbkmhr/rSId3KM9/LwihWPbSSyYvojtrH3JsKAj7ia1QFOz3H3xpPvU8D
B1H8ugS96LfC+yyU5rfJpGsj8ol1+uRV5AlRH3SqkKn4kBcVmKygPELj3yujMu0oZtTHxnSr40TE
AfDSf469Pn7CDAS+Zxmb5EaOjXJ8kntfL8jxUh7iRtHWYI0RIS5DohwXQw2z230clCflRo6Fmt26
9GCXd/5rN3HSVZCrxj62vWkyfX6K4ig32ERsLuXMWaWW6QH60nL+5/LIkXvyPf89/Oct91eXQ7mX
378CZihmRUGOto5f8+sXKfKBb/D1K96fC18nUa0w85Cv16HCbyE/F3n89TEhjov9fAwR8sYqnwFV
rOLokuB1f1bIva9z8tDhR4BG/s975Mv3//319q6wPkwt6zaVoPtGcixPbJKD1L+78iEc6PTB93Fc
rGhv6HuLHtT9aUmvtQ+qlRMGAcM/BgoFkQdRdcwHon5CUyef5vI4bNO3qAayM3oWE21hHECwmeYT
nfDeV/M2gmlrTmspKoGpTgJAkdECRNvt+qZ26Nx6vsi6TheyhPbymJFuChn+mhbkwsyYzkxgBKEo
5j3ShJ4QZvrOmAu0ZzLcZNdZnikiPIlqi+FTnrPrH6pbNleLRQiVYQK+gow+lI6yLtbRRUZB2W2k
xJ2S66ZXhXNQJTLeJU52p+B78VPBDJY8KyCEQ5YdDbMsDs0iy4/b2vHLaaoP9iLhz3srvWiR9mKD
l8PmFtJcWcrCUGLidvyWkYf4LRxXyPkhBHEpf0MDRca8BkPPdrPgFCxCyS+5vDznaeW4jpePqzYE
A84canelv7XMVkNbmOdweCOQzhBbq8ALGuaHPLf7l8zC0Ol1xmI3j1FnYiw81RFhiWNiZBdzSujx
6sJPUH4/8XjwjggrxYZPKf3J09Fpwv5DcRKxdudxOrOC6x6Qfvh2g5XEKFLvlndCvVam9yKPVCWP
XwYobvLovgGkMPSK96Q6g3dz0+RnqQv7nJgPqjVZt8xzy1UsoEK3QrFuLRFlG5w8FdA3DjWtIpuQ
MO6VPFTcQjtHXbEwhPQtjP78yZipwABs35p9m/er2LB8zyT3T341223etUC3LvJb0az83SCWXHtT
9HT3NFQspXigsSmxpwFyz8JtGfc/wlFYP5edOXMs/GviB0po++fMzhjW43uxhCZBu/Uz7EUPNViR
a+yw8pBMH3NJT5IviOUFc8lJL5VjaztLUymwCblDeYF+W72j76OyP00saR/L5HGIrfQ1pob9qM/a
qxTA9FNhHCZVSZZcGb+boSNIeYvjjvOmS5Fafglger1yjrEdvMp3dHmxJtCnvJV1f9W0WHliuuE8
k8d3BDVSPMc1UjLqSdeuj/QjhsazRJXJUw7hF/shYgaBqeQH5LrxDU9aTRsM6QmsMlCyTlQeHJ7w
eMG6c52lyW7o1PAU6OZ8djFkbjK78F7y5VI1a8uBRGrdPA+N+ZpQYCLLHP5qAZO2q23VOTlNcRbx
k9gYZF3Tvh96vRVdh844guvoL+i6lE2t5SaFjJawiq7S3kzRLT0kT9kNbeY+lgVpeWbaNz9nI2Y+
WprhUwcs+VzPWoCImBcqLT4BWfS+OWZR7BujhCqDeCJKLOumKx326cRQfSrp1g1lHtd7PgAtENat
wNhzm7byFZF7xaGfym5locDWmJJe29TubpWHm2dQnPRgz3l/85Iu2I7RSH7ZSIIhK70QlB59g3+3
DLz44Bo8oJfzuBSpsxX2k9VH9gUMfHYPqSwDOFrMhLCqzY19sQ0Dk6nDrXdfXI+uuErRXzd76QGa
OJUWXNFbLyVtY2Sov8hNx2q3QW+zE4uI9eu8gOboA4DNN03jYm/sUsOh/16hzR9wAlL3+UH7FC91
gY4RmGCrUR1+k7Ims4U3I9zupfdggQyerV56EIPPwvJuWB4RLdiTt26sKTyqUTS9dWCHGT6d91YV
7Y7rkSpjiHrD84SPpbF60V2l39VlAXqvcczjndSFWiWjSQeggoQXQsxgGPmSzCG04i+jQ+5h5x53
X+esbID9Lfs2liCRz6hwx+dtP91bbVoZXFo7nR/orWyDNi3FOg1Y6JcN/S1Tz5R1qMa4nY0u3f5n
Dw1YBudziVn16nDdRer4KDeThWzYNeZtu6Re9Vg69kNsG8wocz45vStuMWKbTdMGJpYrBDo8iNU9
SlPlmmeltQY5hxfDBDHErXEjWcZdCwqKW3lYI52GyeUSV9BpXF2pCnZVVvu8YKLyvHyugBsJd8rs
p0rY9bXu3b+fd5QjOcnVYLrkRqw/B5Fg7sr7SYFYuJMK5aHIAo5W0yyNYbxH6IhfFheGb5FFcaIR
02BJQ+/dqu5L2cV0yzqd+i/xDe8kunUrijA9YPPsRZ/ifEsQRPwdJGXtD/gOrzZGideWNQ7Mqfi7
EYv6hBB4WKldVT8ryvxznLNnbREZeYF+GYq5/j73OhT7lqUN4ZZEcAtCF3qv+GXaYtg1i+RKiq/k
YWyVf+QpuZkxFu7vCqBE4BPgB8XvZR8V5EFP8XKA0mw4Uxh9ki95sKKfIs+ddirhPysIZ78qNx7P
Ms4PntSdK7UQpobPBDnZIq/2ztI7o3kNdfywvplpa7OyLC+uTQyJkdtm/eG6XXUIp+5q26bxx8O0
gj95/KWw0gIj4gnWgeUHlt8Ffu+zwh4+0RdASgU6D9R1THmSIwfABMUi15hX2QAO40j76mFQkupQ
56+RWtrppRsiWvpoVAM/00A7RDTntolVTOhMy/RBK9tN3/S3YXKqdzdWjA0W3QmvZwW10AMsl1T1
2zgOe2ElrHEjKtVWmj66ZV09Nu6jC2P9cldBzboCxkC11O4zDejrgg6lRUUC7pOsz4ad8dGJuYWs
QI1UrWNl1TBJOnZBDUdhjo5OPwOhgQszLIoAWSMdjTl+SDRkCWO2cSwrRX7k9Dd8KPoaNBJIgKUD
F6eju3dnyC/y1aER5obeP3MnlWBQxR3Ln20DfELPnd92qFBgCUfkk0Si/T/Ozmu5bW1L16/Sta4P
9kEOXb32BRNISiIVbcs3KDkh54ynPx9A97KMbVKnVKViESAFEMAcM4zxBzyD9HLvxX14dBNKyPgX
bfSxWN5EdbWivSU7ddy0gvgFfEp3DMNaJANrPQeyt1cVr7hxdWpwxliDG3cZyN7deDXcqROmUhGs
fqmQIbj+RXr1StI7iH+9xBm9f3ure7F6O+i6cquO7+Q2gc4XDPtf+3PFQhQIWfclOexWeECw5W7S
bRJcPKZVeXg28gbvxrEo5ADP2QWNUyz7SHS+9OmPatCMT6Pf9yThqnTEFYBNbTVtIlO4k1WU6Ket
6SVmlFh0eKeu+xYVOEdEn4d8hmx3FcmLqV33LZmfWMd8Z+KE4fq36sUiepTdxNxkOQiOKIbFz7pA
uQa4BuDe84qNi5n4Y2BA9JfRSaDCIF1TUkses6gBkZQC+Zi010aOy1ZQQJnoXbUpJCH+CCYXAzoq
L/c4+CJIR8Ibu5gk+iAUAlRsU37SqOReS53SnqR+Y1m5pnYD37XUkB9Ls9GoPoysVScNLnMzp2cS
J7sLb3w3jPt+vXPbcvj863ukOEg/BtvZF1K9xTWoS/ZWC52nNHJ/BXT1zxLXqfA5RXjrCgYNyHNR
sVidj35GPGVuI/zXrd/1LwVppZsQ2cxHMtjumjqUuJk2OyWKF3qE4KIWtOpxeqGu9iLi8Phql0Ti
7mhiCTB+yegYb10nM20ntmJwhag1SQoGE5Rnq/tA3+uB4O48S7CWpUuJF9QN7tWghw86KfG1Tn30
Ifddb+k7rf6cS91jbrniD0t+qi3x6GR6eNfAx71NBQmOPsuXf7YU6mZPSFkaG1clkYABwkKcuMqO
YXSrCF7XSUcttNALHD+dVkXTSinrsEafvjHtm76RlKzPBdi72KGFu2nNkInutcwa+HZaM8iKDhY8
q9zr6cPQJ+ZRoR1AErGiGIlMm9xFrJQlaWljUSBaJD+H6rOr9/h8F6LEBE8SPpRZoduZqmbraTOO
koJiYRntxKwybzQo0RQFvG2NueVz3mTemsdQX6dOP9yIFo4tYKKtz2phLlPdN1kKMViLYQREF0j/
vRXHpJmFXreZ4EgPdSuzIEev9ptV+lsA9MCFHaYCqa9lkETQtSPShHVYhwmS+oa8g+YibwMyRgf2
pes6U7keP0DLxUiEGyPMj4VbD7teauTGHlUaVr5nCggg8mkV/chR3eUS+v6Qm0l/0BwN5GCSpjDx
/Zx8X211h2Swig2xySKkyv0d3f9mGKky5agoNb0oCJyjthko3VWVa0dfjHGkAr58PbSIQOQqrIpp
M0EVeFBg2CJrvSyZPYPa9WrSYpWM2vv0VogO4qJY1IVfXRdV7nULxWdwnF6Y7KCBMFBbxAFOXPqN
u4TVJBxJ9lX3pLaktTaE3noCViqViH98wSSmGAr1rkmwrxxpF26soDwFjSKQXlQQwVUaGj9FWBtJ
31SlUW8a2bsXmGgfT9BnNbiPS70/DqQND6OhcisKd9PnUxmq49vW+O3AE7BgqLVHXbgpVUGEo4Cs
IQvTiInZIN9paqOtWeR8rFP4BUqCdvMwaQtIciPtT+w8RP6OEZpX4hiQk4RP2oEVo/xL4WXcB1Bo
ZQkIY+I/iXpnbdwUepQh1tDhBMFyjIRzrnz4qQMhuBvVw6PGhyjcI+bDQjEAfCpsUdUR7yQMPx5q
UG+aH6of/WSo9p0uPLuD/CRI5CvAI+LDSAMUw3gz/ZbpF0g0kTjKqls9QYvPSNF4sxyM/XS92EyY
iRgS5WnTKz6HYpbcgczo79zyavr/6SXP23xZaGUers0YmYQJQ+qmnWJXZpQvNA8DCCwxymOi0JN5
Zfop1VxEIAkpBqkhALifRp30aGZGeyegbTNoTAKXuVGsp12QQqTHUojB9yso88s5QEDQcIJdtHBx
ozAbHQQN0VpHZnmPMFa87os8ptbfmzd1msLJpMt8yRMKbC6u3KaLel1damiKxr68SVJW5BizkvIa
IQ9THU8v+lvKmTexobqvXihsNwjv5ORl8+pITxN+++0NCYHotKeNzQ2+Ks0W4TOB4pIinECBrK6E
pZTjbxSAsb1Ok/wHiLf+ML3UoiUjSlxtxClep32VYvaHrCiBpKbCUTLUAHQSawq9lXqow0p15Wjl
3WlXEyY7iWkAukLTK6jHaX3bLJ1IVq88cwg/gaqZQDOVh3IyC37EXJh/bgBT5nbnew0LAFAF3cgh
j6kp1a2WPkKtGHUaBG2rgxpbp52vLxNoBRr1BsvfyBamEcjNK9caBhYr01DxEI2BQ5qt+6zIPfyu
qfYL7nCbgf9dToqWYliYu2kzBz90KGVWBqOezhAjQ2RUhb6apHR+7UNy46ZWwjvVTK8mRRtJyi2T
ziUHvxjIlJ4wHsRoczHZNBST6/XEZxaDDo10Sf564sOGddfvJlcJS7f0gyF0KKpAeJp2DYnIAOrB
ig0Qfl6Ehi5eTcSCLuu/mILWnrbCtEo3MaiL1QRoVBNT3MsZZfJED2NgH0Wzn2Q2HFbXV16X3UON
TG5/Jjm7nOm9FOjCFfakN86gdbfTi6CG/S25gVukkweAHc1PgpbUSbDbEitd5aVQ7/yRrY9k1HMU
hMYR79HuQ4PeJN3CtpdQJp2Gf6/Ov+MtkJwknJrRwFMQ/I1w34y0X7xJ5FXUe3i9FEFw32Qt7kTj
B2kJ30vJGvUWPH3Dcqsq1r/cWSabl2nTGhQWqKzKN4qR5Ve1VmxbXcyeweQsPVQ2v/QCVGjZEppr
vymiQwmYg5tCIUGnWqI26s93v/a1WQW4u9dXRWR494aiDxtMjtxrR6zCK7lF6rysXOE2BsOFoGU8
7DMRoJ1qCOCRIFDIRuDArAy9nVRY/p0XqVv0zHBD6wPjVk8HtFHhVxC2aE7H6QjnAfOL3Vu0mjJw
J7kSMYY10GiJsB3U/FoVcQD2Rz2dbFTWYWnhkz0VBDg7ariJkaB8NAGPoFvhN9/hyzASOxtNU0rQ
ho525efSz5dfm7lRN3tGDqFvITK1G1UF7COFwdfpDUyNV2+Qs3pEBAWJkdo/OvKi6mo60Il4gvgC
2JIRTqHUlocLaShu2iYUd7qsxbtT7Gt+4qJAImIJXaTtWjH07FAZYPlT8uSUkfZqHhc4+xUsZ1mj
rTSz/QAIaTQzhtKftS5cQEGuT4NAMm56rupt9OjG0MgfwaE6dGROvveVuwVI5yAaKwzYwgNngIxz
6wp6sg1lLdnJbtoca8EEsVdGPgvyMFm7AuSofkyhTu8EV+2eWZLi0jS+S0bk1ZhDWoa+5G9rKxGv
eg2h58l/Q68ztOoHWK+Td1dwh5NTe281vb7WElF58r0sW4SNLF0LKoo3hcPycZTXqKUcIR3sDzBX
VbJoNyFLPCQjKHAMD7VYHElWkk6E8Eo9O0XVrA5M4c6Vl9M3w3pskLJ0jP1M2Z04UyeMTSwlO68G
MjLxQhVBUq86bLcsaN5X4jhnEiuruY6DCPWsaTuuBFT6BZZWnZv8/DhzjUdNUZvdxI5xR3ZMuiGD
lh2FCMM1X3CMXSg4q8moxc0R8vSGgUxl7ZEbG5FSI34e9rK1ieCqUMSD+Ac409q0KP2uC7VZxj6j
kTy5JRuoEBwiRyZCVRbMFrNfWKXfUtxSoPIGuFu1Ur3tBgbBqiRUB7h5a02ou/U0Hk5uN4WHJ7ik
aaRHRpwZkDKEsIrgBY6qs3S7yj2KkdruLUH5zCxKXpaihxZNbzqbP71LI/n1p+kLCG2UW1EA7Rdd
3vp7j5osyxSYW5B+01U3YEIVR8ZJDpAa5pOo+NEx8guidbSW9yVql0MdycfKx56YRHi5ZbyWblO3
/mIWMga5fvhkZkmLIxzvEq1olxkl7puhqdC+Y7HfGj63L+6H5bTsnxIA0z5ZoATlf520mFAaxivV
kryFEsPlQJ0gWw2WXtpodA1ARN3oljwA8N+cWUk1QGjKDQd5cgE1QjJJgKC1hy7qrJ8JPPCHDIGT
pFzBQnBrVhkA8LZHvl/NmxtEbxJvFcmys+w0/wdnRDNPx9HdlKVsK2aKtGtHqD9iszFSmNiCmj4d
5gn/L4J76J12H1dicjOdvSj6fgXHXmAOpMPAgQBwnVU6tSB+1fTiRRW01Lje5UIlXFe5qW8bo0zW
tOb8k36SmsCbtXL98HoSnyDXUW41F1m0CI+vnYjciY3Iif6Qi026aNom2Zo9AsQ1dJCFBvXjmllv
86HR2oVYkzpz4idQx/oRb3ZjZxpYPHSeqj9Qhlg1mfI4mQOMnFEWgskXTVL7ZRx50TIhU7QQUsbJ
JFXyj9M7wGrFx7aBqIdljrxkqHHX1jjYWvzvAXGilTmZKUgAgm9OvhekGEwM2uJqhWghkxgadeBY
0nOrd8XGQQ9kI/VomZDURF+48vR1Wyj3Corf111eemtBFoxP/RiSYE2/QVz7avq5+yQNqrEx81DY
wUpKbmtDzpY1ON+vBljLrFc3iiINa+pFLfZIUfVpetfKxSZEwQeNYmYOWuibm4pM0bIfQtCLGBAt
DA4JfisKyfqhzwMRyLvCOeZerA0wv2oEgU7Uj5liYZIO9n+jahhw9aZHtWZcw+njppcHu6gAcCGY
YgU2Liqe6/q2GPXT4BxoG3C87nbaLWl/3N0iO0vS6A7HkkcU1f37EEVR8lPRkmEEBIFOUkmHHNIN
gndnQScidSaiS6nVwodCQt82ZkppT5tZwqyrqfEPBBC3baCG3NYOFEvqe/q3CARGCDjsRY00c0ku
GjkrM6/2SdkqMAMAV//6rhyDWB/89MWKZIrN5Gqv4GWi6K45JRoxrbxKuB/UGyn6WLGX20OUmQvL
Z4wDl9Ysm8pAomgqDPdBB8z1ahjrHzoyFtf5qTIy9P6uSJrDT/syWQGG7XkLzIMaUKNdXqy7WKWO
oqjgrVurZ9XYGlaGAfRo41THmOi2ZnPl9oyZOTic/TQQF0qBHkkE3qKD6SAaSJCGWn6PqY/15Khe
ZkdFa2wj2c2op1H+7LTOWcXoJthgyOtbUhuLaRJ7mskyhuzqICfZPrL7NUgb5NBdceN1PeJ3wLhi
1CvIAUE8cp89pJlISHQPWQsqqDHEDuObyHuOEqzCaxZ4ewsQ6yfj1gq0aJ/ULIHEWG7vNSSBBIy+
IAKz0JXCXrwbxoKuKle4kQ2DcV2OFVwU0cGVkhpeGmnwY7q308t0qzWLr/aidzitKVC1+JwrssD0
Qd73YQwo/deoFQaAJpEeXmjlIEI0LptHkssVtsgx0J5x0x+rw75s/pi2cDlfFgiPHkqYCihXoGx/
inp0IfK9HJefgy4ekPMEE5VnqXGb645x6ywNIKS3WjcYp5dK154yQwd8/c8ujKmvQi1GoEgMvxX0
66mif0sGZOPLSG+wdXBZLvmet7JiLfspf55FJlUiZaxrj/28oMfQIMv6GRYkSUak029OPAXTcRcw
e5ubEZz+xHTv56e/vleOXykjxLemr0wfuLqFt5uSGwdTIS9jNnV38unBrTG8SwBCTDOZNBsQcpng
3xTQkLXXPnZpVVFNT/Pl0AfFD3DCKFdS8g6ylKW5UYgfqwgw1yB1+kOPBNgK8YLy1kwCGDxZkt5E
vq8iOo0M4KkO1VUiej1jimWVGf1NqenNvjPQrlb0vL6mDIjAjA5Kf5prwokEpo0sQyVq8QNiBctp
9gLvPXmQw34plBqTy5bZO0RNrI88Q15PYGXyzMpPWHE7jAr0oYuxL9kR2dD0vZWj8zsdyUDd9bTp
SEL1APh+af2za/qH6Ru//t/1ErpXy5A2VgKGmAo/1r5K/hSkcUqlZNwn63Vto48EsQKG8j1z7qd8
lO7PKeGv26qQt0JkZSzRQG51EOS0qn7B/CdZOJYRYhiEdFultlAOC0N5iDIZsA/SN1+zprgqVdf7
hC6Muu6UILoS0LFsdLO1dTkTb9EG0ReTD4CJ7XUZWcInz6UO4kddvTnxeBme8M8b7bWMCRWCqOmi
Qs4ubbvyrtTb/fTLkOuPoMqFzj6VpeqjLzD5Hn8xeiiI6cE83kaCAX8yAqM9ZhSCPQCt5sFVROYn
lXrnVKryEcBeuJNafVz8JKPDE2iBqQW7NczfiNHoRH6cNv1GtVNyMmtthMdUaSkeQs/aT1vTC9Tl
eqlkAgor0ynhJOFZF0nZR0PrR4qbwtRnYIDOyQQkivZ9QsYroadQhza/i3AgrzSl/zJlMf+Y1Jw+
0TzkVRB+4KaPxWZCXBlfsG5n4lep9rTrV1/A4mal11J2mHaJsMiX+RCC/GsD0/ZdSdyh++Qccpr2
ylXK9pMfJLu4+wHXXfig5F2zV9MQotG4mQtxtqlVU95Mm0zYsiXQDW0LlhtNj9JYCi3ibROax9Nh
zmoSKPw4qSmNh9lj4wbdNdol5b0kF9KNUdhphdaZgSDqvhhXckKUy9uwtSow/J5z7Rrth4lPFKp+
vyhDV996WsCI7I/bqoKngGjCXEn6/gpNalQQ/3FpnUxbY6d9tV+VhRt0lr39BNFIm1Ldxqb6Ydqa
EBpUFaL/BXBUKI6A1ZiAHdM3/NxUV7VB5SS3GopHIdx8P1ZGoR68lq71Utz/UkqtamMUf1J/REZX
L1N8i5+AmNZLi0Ho9G7aVwXlDnxoBjgyJy/U4dExcH17XSWh7pbIZzWaKT3qJsZjIcSbrzIqWwbq
Cj9qQzkamdA9gxKElBjivmPKibIMVKE7gPIC2RfL2bOeNdbSb7XiSkIB6EPZI/e/OSlUqGEcAY7U
/ZNBtWKKsCtlbYW2GzP0nGkifUV/qH0xk4GQo/Lmp8N+2je9lE5cHBx/0QtqsVESMuCRpENhD5nk
HRz0XnuoqLce3iYIQnndXunVr/2g+w8Vcux7qp7K2pVYb7XlLuCRLnxk62yGTo3+QyEzgGmEdjVt
11Ubb/C1UeyMhcMhDhEZgSaC/13qDva0+esD1L2R+G6sr1459MtJR3qagE4vWQ0SWWZGFqHPOU33
Ucxzb4quzq4ySVlO7NJWcevrtpR205ZVMQxGQZ0zjWPEc3NnpyKtdUOijnYo4EwNwqBaIWTrLU92
Dr+WmNM7E3XlFaaRKjJQ5GI9gOaVEDv7AnCFM0jl9ZRYPmWXW5yBfaGBtgUCDWXN3P9C+WNUq00+
kNKDQxW0pa1pWCyfVOcqr9kWABEZe5BKXihWlW/jqnMOkRH/fCnjMNp4Lpogp06pbHBcRu7zvqXQ
svrTuzRHQEvwO+mnHaHlW6Jd5ckTiYoxzw3HfTRvsUywPLwJlKqAtS7elp1L4dfVjV2vYnYcde1H
T0b5dNoyEqAlPm6Y01ZnyN+tGu0u38/VazM0xCWqy/3n3jA+l0aR3SuoCFwXlC3A85NvOa3R89hw
NlLVNAAqM8HYF5IMcY+ZbaR5O9SLuwcoMMEGuRJja6Aq8bG0yuXk8xmP+6VxP6QuKdKQBhzT+Qjq
l6us7rXVlM/3dDLCPysfuZ7jeMlNzFXnS9EJ+s/7PN3dqkHAOBGLCtfY7oeL+OuxDbQA8hRz+2lA
Vnhcp8080J01xBXZlsjCrdHsxddoLEROm1EHkU7DunyZBU7zSW0bElkFE5cEkFoEZvba1QXjtmyA
M+XUXl6aWvmmMXTda6WiQHjl5kz/oEnjKt5/inEPiYoCxQ8rz3chOcOnzOuOxSj7b4wmKj1aAAgr
d97R1BE+0kYrAN9o4kPShjdtrCvfxjeCmp/e9OOeVvVvEjFTv/W8EVxNewit8NmrES9Ap9W9mnj7
VujdgBQ17ga9Th+DHpnsUYc1dxzjOtECoCEjQkGOYzKhGbWO6Z98BO+Y3zbxouHVrnmsiL+r3q5C
lfEml6qcxGCT3ekYsK5gTelPTcLSEQiM8zlN5bseDesfFauTDIQRBqUC5BGsXQrVGq4CZA9va7GH
4wQd+ktYFEcLn5GnTogcW81zzY5AvWviUD5pmniUZSW9kxt8EkJcVRoSOh/dwncPuhkmp80mOEyM
pv/7tftv93t6ezLEK//9P2x/TbOeb3vVbPPfj2nM3/+M//PPd37/j3/f+F+LtAQAcfFb9vf08BJ/
L+df+u3InP3nr1u9VC+/bawT9IX6O1Q++/vviGJV06/gOsZv/v9++F/fp6M89tn3v//6mtZJNR7N
9dPkr58f7b79/ZckKdONOt2n8fg/Pxwv4O+/dsk3/+U/vv/9paz+/ssy/gUDTJI0lVIR/nW69dd/
td/HT3TzX7LIetQ0VVFReAs5LEnRLfn7L0X7lyZKJFwNeHPQ+8ePyrQeP9L/RQWEnaYhG6qkW5b8
1/9e92/P79fz/C+Wt7epn1Tl33+pv/HTBFlSDRVimjoy1L++3JOi5kvS/7FkHJLKqDPWleZR2xuG
vqfv07tTe/mtubw+/Oia+MtV8dfhZ7S3wBDCvu0SY12USeTuywhxM2ZNRfm5KdBXh8vIondZSZXh
vWHlqJ05ozi7oHggCEJAvnHRSMGReVEOakkZz6tEmlHsXj3fn/fx9YWduW8KD/P1fSt1UQ9aN9HX
Xk/NZpH5A6HnDVgsXT7+mRunmL8fH60lEcormXXmv+qNbgmGeV8JiYR9qjk6ogG/gNQd91jJXD7h
uQua+V5mJvQAYzxhE2Gvsk8xIKyXgHshYl0+we9MyH+agjLuf9XSTH9oxapWtLUZUS98cnxPwYda
xF9QWxVKbvb6QkVgs3u4fDppfOB/aHrK2EBenQ/HwDLUyl5b167b4Nkrm7YSd8Wy6XErIdemd8z0
1LaTF3Vv4OEWiiaYXoExMb6+/BPOXfF4q1/9gsjtkTjRWqSrGF6XCnoZcDV2pGMZEDr35vJJzj03
+qfXJ0kJVojrlbaGQGt8covCWLMQjraXj37uEmbdQ2QCry+VAvtfxfe/i/T1ZJUQtBMVDX8KJMz6
zeUTnX1cs54Ct0Atyz0NORbX8RZOp38gvWKA1QFbNVisNGoI2qtIrxukDNqnsGpWl8987gbOOowi
aoMsk3NtDUdgGNbgDAN3lWkWSat3nWAu8iF3cKl6qJ5rXXSBK4VhGEP612LfeecJZn2FHPTCmPwR
7CQlR3ELFXAQHgxqcO4bfeqZzkie9Q2QQ+CsdRoBZDiq3freaA/XUMpcxEFesHLuvFEJWHnjdGee
iDzrKRDlIYUuo5NH+nUAyVxIWbPukG5p7MtP5MwYIc+6BtKWjtkyYbOrCuFqUuVpIuL6KEUd6a2q
7d4InnOnGa/vVfxTtMgdnFTwlJPD4TEseu+YZ1Vxize6d3zflcyivwWXK7WiZtmy0MGYlXIvvCK/
zWARaiapkstnOfdAZr2AZ7pZaBogHYtI7XcCC9yjxRI4Wrzv8PPQd3zsv8MB6J6Ro58AaER9Rrkw
W18+/LnHMAvwujFSqhQ68qsRj6EL23LNyApd3Zfq7H13SJpNBxANT/BHIi2llk3or9Gn7hBpFXt/
eOMenbkIaRbjoQU4C39wHkFeUFvOvToQ176Z1dU+FCLEed91r6RZpBtyjwqx0IEyJ/kG7HTID6Re
lJu+0aL3TQmlWXTHFmZpAdxCGxfMuEaCQW+zu6IshPBKyQdL3FeCZxm4WpLVf99kTRpv6qtAhIyv
YOKrGXZT8Jhsjyx4tUoQYVTeiPQzw6Q0i/TO73O9kgvDxp4BVWSEnHQ8zK3aSRfkwRtzEdRq4b9x
sjO98bgieX01PetWtF5oa1rcZMZGrBEvuqYyDT49paIuHUKNKtK1KVVS93y5WYzN+A9zKWnWAUSd
6xgAPxybVYgnHVJXHcqvpTx4aPsNRQqNI5Ajl34u8qprMZAz+RPmxop2d/n0Z/ofadZB9A6ZBBMM
ho0eeb3y1AjjTt3IVpePfm7qMe1/1Ty0poJDI8PKUkQuZg1RranWpos5t+2iX+5+hODaxlsVI07t
AKdBBjNsmGbwyQRmo70R4GeuUZz1ICTxtQyHV7SoDQfuuj5Y37OuA915+SLPtFBx1n/gRKFLfRfg
jaH42Cb3uOQVZpTcC2Y62F3s1G+sW85dxqwDqaVCN9F1R+VIHILPgZkLt04TuW90T+eOPus70NaF
nS8Ylg2xTAyWtYT4KaDxoi/fF1virKco/bzX5K4wkcFuHXmnGlixfsgzRe23iV9niJ8MeuZ+zWKq
jW88mfHQf4gtcbzWV61PaUfyuAw0XjeBe8DKtKRsLBfn3wFWtdkbzevcWWadxqBi7lbrLA48oFxr
HfOsFSro8sqTsndO2yaxu1cXooOFTih6j7rlLk7xPmJVEfjgzeUGfO7Rz/oAXRI9oWOAsPF8jZdy
JQUrVPrkdzas2RyBVRQaCJQJbBm40EL0pI+JqxZvPOE//3TTmoW2pGeJ2kVk/H1DGO4A4sgKsHAB
Ven33BrTmsW2F9RVphT9YAswUXaCqOSgiqhMvu/os4immASjEqEEuwJzv0SC3Fz0Yui80S7PdL6m
NQtpM6GuCJZzsCUkUJW23ipCdxPH7ie0Ih46U7CFUN8YGehI1HMuX9GfB1AKM79HXCAKhdg6JQ87
C55F1F7Q/+tQkVMhX1BVyZdk5N841Z/Djvza76fCHAOwoCS0dito31nehs1GrcIssauWavLlyznX
vGahrTQGmWV4s7ZCgN9bmP2sJQqfb6wwxkb0n90T4t2/X0GV0Pm1g46OI4nnNQH4WQjD63bU+1VU
5xMCsLiWOsEbje3co5lFORK4iEYPwVjg1wR4wIq2gkexRdEyXjkpzgtZF71xYedu2yzkGfGdMJSU
Cq4z1vGQKORyaXhd6K0uP5Yzj96cRb3mUOIXUHxbc08R+oKCumjiNLqyqHy8MVqduQRzFvgkbgXk
7NGJLmq3LR8cyQ3d66xOou/vu4RZ6IeSD8OokfHDgfuEWdXwaBgZxCYHme/LZzh3BbPo11D5Uk0M
5NYQS0jQoowCKMuq3zj6eJQ/tF1zfDSvRiQlC1TZCcxmjSLes4tK7KIprWNWYqedacH7el9zvLRX
JwmzAaXIEtzRdAkqkljIKulvXcK5GzQPbs0EROJJkDFbS0R6jaOX779Bs+AOsWoCbMfR86F0F5RV
b91MP9QmMBZdl4M3HsO5a5gFNXRoMxVlsNGdKn9PlcRcO1C63nn7Z2GMM2EENJWDm6UZrwfV6/HE
1r395fZ5pj8yZkHcVWS8oh69gE4utqpVPHQVpiMgszdNpn4sDXwc3neiWSjHHkrYKeoJayoVNhTK
QxDmAOCCL56iAGaL38gWnxtujVlIlwMqPqkHzt71pY3idJSwLQBT+VIPhS1czbXXqHexr61yR33n
pc1iXHSwR4OKVa27umf+ENhmoOLU1PkvmHc9GFa3uXwLzzQzYxbteWl1AZN0CFG6heoZzvIwlGTj
jas4050bszA3FNi8Pm5geIEKOqAOvOKAHBpH+sLojcZ27gJmsd7VqozegFXbg0RVFdNGABDLofOg
V16+Q+das/x7VyXnHXyxzG1sDTXae6vQ9E2Ga/nYnqWFWFjaTdybsX35ZOeuZhb1ku/IGCfHte0C
cNpbAe5WZRj068tHP/c4ZmGPpyBEkF6r7cpSPpdYynRl7C8SU3jjVp05/lisfd2rd2WPQnEvVLaP
sgy97rPiuHdhFt9d/vlnRiZ9Fu4IXsSGlBjYLTHlWXgoCIIJ8u4b091bYaC8r83qs2DHllgoLBO4
JHqIN3kBkoZk1LFCSujyVZy7SbPIppLdZiVz9LVc+OukdB78XvoIEeoN+dRznZU+nvfV0Gr6+DAw
Reht1RlEG12FAu9OaHKDlEZrNw0wBXMKgKjIpN10/oA5a13Eb9y7c09obNavzt24Wu2FHNmOmB4e
+j5KVgjJAS7tTWOTmVH9xgrh3HlmQV/nkSxGaJ/Zqh8cwzhsEL7hWjNZX+Ag/OPygzp3klngO5Ah
jMYvarttoGhJxYA7SoZ0g5zdRoiLXz7JmYDXZwFvJaOuhxBXtikF3/Va8/d0OMbt5YOfa2qzeIc1
WRVV4dObNO1BKt2jMjRXWd3dv+vw2izcMaqzAgf0ro0cJXizNF07bfo5ys33/XxtFu9qq3atr3B8
U2hv8cvZIAy/x3P2jZHjzPPVZoGeIjiFAq9bMfShMSbCPKjNjpUm8hylCLnv8k0aj/aH6bQ2nv1V
SKAFlxkDTBtmi81VFasLt0mfHMQv3Tw/1HL+xhzlzKPWZlEveCw5MEao7bBmQucMaxlNPQe398tX
caaZarPAVlEDVzqKHKDkgSC28hXWepePfO6Hz0I5gymppxmLV0VC1LtMtzHTBUSZ3+gOz/3wWRD7
UdV5dc0Pl9MHMaOEbH2//LvPHXgWuJEVFNkQ8lyl1HyRnfwQWsb2fYeehS2UorDrW72y+zKQHoe+
kvFogKd7+ehnGqQ6i1pz5OSLkVUBUDyGHhj3Kroy5cw2RPFOhg7yvrPMYteFTyNkqiis6Y/vBgl9
YFF/yUsQoa6YLzIhel/DVGdBTKvP8wiNfQQ22mxJtS9f4tPdvtE7TyW8P0SvOotes2yMStUaYd1t
TLvbeZDdFqyI3c8FUshHxBXWqbCK7oonJ129lWk7ExHquP9Vj4EdVa7mXl/ZXu7eVCI6hmDDF6ng
fLn8aM4dfxbLLXXEvk8c6E9etvWpcawc8Lsos/RvPPtzJ5iFdFHXIuVVTmBG2i2c1S/ANlAYs943
LPwH+k5F/CI3rXJdxMptJ4dfwG5iZKm9cfgzga3OAltqfUNROqmyrRbvHR0fkm2udvob0Xdm0FFn
sQ25tkGIAkVIZQDjG9c1XhLYpibCk+Qr5fsewBxnhywyLmsWHYghi62PFRhYpxFoPODKlaflW7O9
M895DrfL2lh1qI5VtqtmL0LbfER84xOS429M988dfhbaDeIrBYJLwjpRfaoi45CM9DcuZjVqbe8K
hTm8DlK4Qfa/Y0Uhe9fFYGCl3N44ifl0+fBnmtIcTRfEBj6mnlLafa7cFIHgr33V9O3LBz93e8aT
vuomahd2IKB6Flsj20gsdqZurqN2eAOHd+63z4MYrnHvKnFpo4WFBGChfLY6KX9nA5V//+29B/Hc
jKvSRgr5Cie/fdqmx7yJ3wjhM0E24n9f3xpseWBQU7Cww9a590x9HwXiY8rPxwg6H9aX7/+5k8wi
GVH7xGpUTpJbPp4kVrY1TfdZT+NvwPQ3l88xwRP+MP7MYXBoR5ShJ7WFrUupHZeAfzVJhgsVa9+U
VrrOYamsEkx7KM6ES9TsshUEnpELn9uxg4jk5Z9xpqnJs8G8FRR6XLXmcXnysay0e0E1HktL+fC+
w88CHROX0stwnbIdQbEhJd10WbYT47fSd+Nh/nQPxwf4KlAax0SmPVILu638tSF3yrJxyjvU5RD8
M33YnsUbvcmZkJkj5HwUsMuiC/FH8+DJqf0hNt85S5Znwd6OXDVwK4XtodNdLwpDD25yaPSLNpBJ
EP4/zs6sOU4Yi8K/iCpArK/Qq5e2YzuxkxcqThwECCEEQhK/fk7PU4YJ7qp+S7lS0Ei6V9u557uu
HxYhj8obwwGxQEPZ8dFBkmU0eHVE8/L549eaZxH0BkJYFuHsARllGg6tRQU/dKpk8/nT18boIuZL
n4IQQny5Z4H3CoPeJ6j3t4EjLozRtR+/iHZqetFIl6Icy68CvfWbDlWLJa6Qmwu//zwa/zFKl2K4
gJZlAgdcuZ+N86Vq/RcGJ1PDu72BhdhVTbSUw7EqBGR6xCvgvnLfwyAVDiqHsbp0sbbSA0sZHEts
0faTlXtJ4l/ulGDNn/jjF6/U1YU5ae0Ni0iGx6oLSDIGqNJ2APfZuy17gWKgOr2w81p7wfnvf6WK
1hTgWg4UnxCAt0Ui/6Gg7gOV6e/reuA8uv56/igDpYIUPYCEejtZ/7ahfJ8U/pVjaBHAqS4ZHBRK
uedN9Q1q86deiudoKh9Ef+leYm2YLoIYl/zSxZpb7l3cBYYNw7a9vzNJC3xKsr2ukRaRjGPXsYiA
MN4PUfIaldGdxdU/a/q36x6/iOTCBG1TihpTKtoqgw82XE3CBBznYLgujy5VaSOpe6fu0n7fpOar
MfMX6TdflJN+/fwDzoPlH5liqUpzXWwOUYDb7xMYZlcZrWGF7Ziuff788f/VJ/7r+YvpuK7Tep5q
i5/fi69z3MJPub+vnOGd9I7ewrz5axXDOZv3oBbA0k1lOLHx4NVQX/l9iyif6jAq2oTA5ySVfu4N
wWnS5SVJ8FrjLSJcOTzpQtP1+xImMyPNYtJ3AsSpqblwnrX2gvPf/wpxQFndFLfmPeDUwyj2MP0D
XKoogv66S5w4WXQP9CMWwcDgrhLVPybDH1KvvCni6qrwiJNl6+PAzDDURu5DVeyHlN3EXbqfk3Tz
+ehaa55FigKQWiWyLQTKmku33DQmBjtZpbGWF7YWKwlqKajzWt+Fg40j9nWhf+Pc9c5E45D3Xn1y
pSt2n3/FebT8K0QWKQqOwSZxJ1fsSSO/hhXqiN0IVoKoX79yC+8ustTIoDwdCMex3Dzzjwkckxtv
9pufjTX8ko7k318RLyV2Bj5XUhs0VUeBMRqB3xaN/2SYd5VYCDS//w0F5ne6dWIlzr734mAHd9hp
1tELc/W/RxLsTf736ROZiBVMnzs6nF9dkC0PKNYUl7QFa49fxAHBHBH6Fl2c8qIfYIKbkABQgS66
tAf+90CNl4I63O3CX0VMYp/EvEakjXspk68d5z/DMrhuVRwvpXTA2PkQ2UsMo2B8BjX3Cx3n1xQI
58/jYK2RFtFcFlYTxsp+H/P0B++0BwQ53Amue/hiqdG3Nk4c1QrUPDjyhxN5/lE17XTl8FmEsBjh
KBuTsDujAXKcR7tw8oyi7XU/fRG9Eo7lo2B4eAKnoqzk4RG8qEtRdT6o///kg/rj/x34fWUgLk38
bl/XtnK+lvHs9W1Wd7IgT5GriLx1aAE3SjiMJfZxiIsY2IXUj0TuBSpMjqr3GxiLBGmh7R5VSkRv
tIaP0k+TRG0NszHPwzTfjLw+troo5U1pUN63d2aw/B4JHFe7+5T4Z7rK2DTVc1p0ISAr4RAnm6qP
XLvTBtYE2wjWovy7iYOgeByDyKnf3TJq1G/GY4pzyGbs29PZHNPLYBEd29uRjFxvNfi6diOkl4ZP
qWl98ONs0cPcmROrDjhEnsuDTqeWo6xBRO5R86JOj11M0uJJGUO9W7cvwAsB0ZMk/LruXEoGWxMo
/HLMiQ5u7rNOcxym2u6q1WK81NuFE4Q+XluLvZ+mJiscwNiMgetz7F8YMCtpfqm1k25Jogb3kDha
gb1ThyQAb58fUS1fPh/sa89fJIEaFdATj12MR9dNoTx22A7lgNWhI2N7XbAmi1RAo8pV3IdNZYxr
niMMFeFnyGTw9PkHnGeMfwXUIhXItpxgOjEhWo2scwh361sseectTO7gcU9Aj1See9U9LUroFsHL
qxFFQSkaC1XbWdj030A4gNd/oS58zEpvLMV3LnhXISiH3R4G9mEJalgIkgbEwd9xPtJcuXKIFzO7
xytvdgjGbFS2odlSpxIfQlHzOwaqo9983i0rk8tSdTe2vS4cOqJbAvYH2umb0Bmuq+yJ48XsLpSW
U2/jDjvlLnrholVvzex0MLW3+rvtSPfn829YGVpLed0U9jPwmrhdZX06A4gJ4gNuD53Iv+ubmcBl
qHJCWMYiXn5+/sK1Rjv//a/thxYcNB1TYsJPuh+qU3pfVXDmvu7hi0iH3X1RzyWmNZCIYAmpvAgz
p3avW0zEiyDXLorxYQONPgHx6AYObc3t2Azut+t++yLIAQsrmwLm+vuQqxj+vMT9gU2uvRDWa82+
COvYtP3cDljMNQVjR8WTGvfp4yUJ4spScamr8wlTaXXe8iVtcgMC0QnLoB+kst/UCA/Dq9pnKa7z
gLdRBpvjvQNy3wdFQcHH3Kp2vDDLrTTQUlUX+oTXtG6w74viyTk2Kfdy0BR0eEHnsSJ7i6NFRKMY
uigi8LD3UGyNzWMFk7gkL852axs9dM5LObQnJ4knfxfBCbe6SSIr7Q11wrC7MAZWMu9STwSvZSze
W4lfYLv5rnQ9s5nHtH4JEurvPu+ktVcsPnKoA94F3Gv3mLNOAFPdFpG/p+rS+epKJy1FRMBPwSRa
dnyf1k5wIAWtDkyIK/ciSw2RbkCgmRrS7gNwcPcwspMvXR1MBxoruKld10CLDBWkBgXQMFfFQoHX
kIMkBxBKn3s7f/38+WsttMhREii+skgrtFBA9V0yprD5bSf/8aqnL6Wb8NbE+r3Gyl7bngIR1tY4
hW5hXsoujJ+Vnx+d//7X7BC5ZMaGENNeQWTd3jVmSHDMZvrx0oX62gsW7T+7SqKY3+d7eERXWMjq
WsOTugmm9EKaWomAaNEB0TAjwny8YCirt2FsDnRWryjp+XVdDyxmCTa2dkzVzPdC8gG2xuTPPAI5
c93DF5NECZrnMACktZ/cYMf8BkbBw4U1/jkB/GMJu5Rito7jlhoeR/tZQxoNO449p/6XiAKgUPpX
jv3Fom+kTJYeCjH3aZgQ2GZMGvYykl8ZuYuWT3VjJ+1h9q8JRRFxGgbhfKRjDeqyZk4X/7mqD8JF
H8AwqUgiUiLEIscBoIunic4bxwWt5PMXrAzQpbyudSqYaqcwgveZemKdB2CH+1R6xfbzx/+3fP8f
PR0segH2KGPiSnxAyMA3dtKDx6fHHubdLu3yvjO7LgzuLSn+uECuo574wnvXPuu8wP0rc/A6SZwG
WsrtAJTKgTRjuZusI545DfmF5LT2ivPY/usVrOKecv2B7StViJ0HeOpetCTcj1WYXNk551f/9Qox
O2CJtpztp5n96np26ztQ+9pivnD4v/YJi/yqLLydlMUPx6I/gZO8FuJHFYfyYWZpN11II2svWeRY
WCMVBRxx2H6W8XvImmNH6bOo7YWV1EoKX8rrgsnFVTpKSlEY3RUgxfaEvsRqvKRkWNkRLeV1lT9w
TotzF5C6QO2B6G8sHd9qIHO2rHGirOBtcGFEnUfOv2JlEeydXytQQfApWN3e15VbZbCyR8meB2cs
GP1c2kyutNhSbpdGc2zDAUt+T4+e3VQK2tcsifx+OH4e9Cs9vhTaJZMuBJbP+A4a2Y0Hp+GHQfgy
n2FEcF2vk0V826jCWb3uAQ/2StOBp+65J98X4aWKjf9qr/7RF0upXRQQ3wD9gmGFKocW9aS9C1/2
AN6PKFTxwgk+/wIoY9y/u82+lkWCuqo6od2rF6L6TbBSnB11nae4NAkuiyyUgeM2BimSvQlYguud
BhWqz1VYm1+kDYLbSdTjjQUiDBV7IM6kc0phZeu2VTC/UA+lSl9kQWf7QF0IYk+1oM68Ia1Dh3vS
EZnm5AwvvrCsWOnApYDKhYt66Qvw5gZDmmhjmRmTP0Mg5vFQadR8XejE/yo5/r+Ro//bZaGmgUoA
PmBTkXz4TIe/4SyiwLIt0qdumN6Irr8rIQHTnO3e0Ekdej42Tw2k7MC0AdNqbNdlHlNTzoAqJGnk
Z3XaXKpuW2mGpR4ynKPeP1f3b8sC93FT2qR3Oqrbgw7c+vW6UFlkYAp2yjRPAIyNNQywC3eDMPzS
OPbKSFzkXuzpbetEutmTeRAZKHXHfh7f4N1/YQ+5kh3JYnkLV6K2nAfT4NSGMx9lVFaO29RCkrKZ
296ZgSMB5uk4pA6M1j9vsZUkuRRLAkoXRoBDNjjcdqJtABz3ruxbEA6gLRhRKXZhalx7zSIXU5xw
AsJFmn0vygqWqQ7ysG9vBOe7SA+Xbn9XRthSL+m5ZaUaqZo9uLTVM6T7wUNCS/PT1J5z4RBs5UOW
vn7QcpRqiuDOU1a4/9ip0HhQ4aGgoWrnxM+T6eIV1dqZxtLTr6Q4Vyoka/Zu+6dI3iDjBpOJ/BE1
2Rgpjo2XAHXpn0Z56YBv5WppqWB0jPBwZMKb/QyoHPXoBl5BmTu6QGqNmfHarc/6nUmu7a1FsMak
aJKZwcAZxj3xeASSJdx1SQqpRFROzL0w8tbGxCJmQzw7quAiszFA792ZrgryXnX8kWEHcCGGzj/4
//Nu7C/CFm5vfVVZXJLFcTjuosor88pxLx1qrD19sTWaKhzoEuXRPYg3yU5WtspBZ/vzefivPXwR
l24kPMZiVmy8qbpxCwKsSnSh4VcevZQ0nh1VB1QXFQAMBijpwo7B6/ef/+qVPl1KGS2cDqsBLrib
pvJvJR0Paf8o6+tm66WQETpPFzcGcBoVte5vUD9Z70zlPJWs3l3368+p5a9tSBHG8LQFg31jFMyQ
E8BpMuK4ISB79OPzN6yljqV7HxyCZRHCpmfPufzwq/4N9ZMnWD58kYbsCid6MBOdgB4dP1pxaZyu
ZMaloR9QAKUz+araM+uz3dQV5sbrkR0HAuIyLoqSCxl4JUstvfwcC8Bo0MoKTqTkVpLgvpiKO000
SC0E1eziDuNuzri6zskzXhr5mdrt1UC6dIPTDkfv+LmyBl6Yybz5vLPW4mQR3xRS4p4BmIqr7uiu
nMKdDfvv1z16Ed2WGlO2JVZcDFhONAlHKmfh0+cPX+mHpc5xQgXH3JUdmF4i/lZo0GCmt2T40eIs
hXD/abIKyJRLcpmVRlqqHme4aQ3TKCqcjZbuZqRW/SkkTy/pAlcSirvY/6SQowdxE6abJOjA5hs9
2u+A5fujpgLYhM/ba+0TFmGvwEvhcU9S1MTPmWm+eN2l+9gVzWa8tOALotmDkVxJ9551yHTbNnVL
fsaRgQwECgl5Q20I1bEDq3VYEc/GTb/oUXb9Nkbh8PiTzloG+xErZ3lhHbv2qee//5XhjNN7cK8Z
z9tJOZbHZuJtBe4dE05+XVsuJnVeVWOUeDTeqHR2whtAG6zZweUdVfSfv2BlJb7UEcoRBNWpEGqr
Ohh2NsX0WBXtqSnkR+jqneovlZiuJE13EfxYMoZEEBCplagp1ljufVOXPBuUc2iD+IJwfu0lizQg
4ikYihEvmZRuMqf1Tv5cHe3svabecGHW/Pc7gFb43y4PqIJ7jEKxQu3PO87nx6Gc3uIo/MBhz/vn
ffLvURUtBYVdkySuS4pxC6oPqF+OA8cdE7i7656+SAFlYhs3cAjMalBAnHWNBJA4JuO3z5/+7wQD
UveieXAUSLyoH7ejO/CsigqozkDDymkSXCrTWmue86v/CrpKaq/D3fm4LeDK8FUALltmkTvHF9Zc
5xPm/1/kRkst4RxS3Y9qghG0xAAFkH5r3fDer5IDF8GBl8krjS8VN659yiK8UZ5OZpKEwxaUm3YX
upznOH++5J/479iOlvZ8RPsEBPVxAAQRsHcvPAUEUvB06P8oD/V0tf39eZ+vvWcR20r3MLSL7bAt
PPYESO9jG9NbJvqHYLDP54KlCxPL2nsW4R02KnJIj57Rngf2j7/DFfET006TxbzY2OqSeGmlV5bK
Q2cWLWBRBD5YqLXapKg3zJHkL3nCrUTIUmU3ozSmAH192MbCf69Y8AVWHH86UV5YNa79+HPj/RUd
tKVt14lAbcOUxpnjB6gtmItu+3lXr2S/pWyeeQ1UlR22Z12hFN1aqSx8YlVbtTsLdKTcBVL4l6z4
V/p7KRkEO7sIvBqfAqDEL9AF7nGe+Tb5YYnTh+QozKVKjLWPOjflX00maBGPY4T3OC1Ou/pQn4wA
1q6hySGB1O+6lluEelMjsQCHLLeJMDIb6wkTlOxBUhz9x6EtLlyQrg0u/38/JYUXxdiGodxOjZp2
LU1AuXNidldaT18Xhcki2m1LomiWWm49nAUAEyh+zUF915b0QUfTu9d3l9z71rp/Ee4zbYO5w3Hy
Nk1ZfyYF3rSNW6OKqXwABPcP76cLG/iV/l9qCXls4zFOCrGtGiD7RADqaz0Lnslokpk07oXYWYnM
pZqwCAImvTrCa8ae5qxsPNzT1Cr/fHz9d/v5j3lrqSNUnp0LJUucnEA1HDe4jbVk15SdzmFgfKc1
qtobx7yGgTmi3PqUVkG/g0GrzLw+3I2hca8bH0vNYUHwKgVd+Jb245+IJBXs9sRz2Xv3AhaGUX+d
60C01BziSgUXFzZNd4ETZunk/OoYf/m8LVeWAEs/v8bzvaIBsXfXRwrE9l7zLNVhcSiGVt1Oc6m+
QRPu75u2oLvP37g2NhbZwWPQYs5w2dvNhWFhPnje2N1GHuPJhcSw9oJFYhBDorBXEekuocm2G/qM
uVcuKONFQoDVXj9aH4+efH8/V+MmjYfNdc2ySAGA11QFjXs0y9mSLClRfNT2Kr4wUleS5VJvCHsg
lInYLtgY1AOEvLnjUjy6UXwhIleafCk1dEPIkEjbBhv4h+xM6D8EvPryebusZKylCpALr6+Z6mLc
KfD6jfUM94IzaPXU8fqbAIYiz9e959xyf82MldOIINFFtGuFMxxQ1mv5h69Q+3Io21nT+xEri4ub
++i/Mp5/pLClbiu2fsGnumdbOhjNTe6xivli24UoTRoyyUIPo4D2KH7LqfTTOMhIM1us0kFxLHwo
ycYeVI2OCdBadwIQxwZ+rH0xeIeBVVH/gxANaSY20fXYZFaWWmpUZVTEu00peFWnaSi0Fx0NfB96
qLpCLdjXAOU53UvncWmyyQc9CX5FLnxJSd26vcgnwByN2NlZeHG5sf2kgawL0g4L+aLqnMzECRjN
DRlz6AHE1xCkvYyxWX6X3Rz8Aa4AFd7x3DvxLRy62yKrsZWcAbM2XncDOzJ6I3Tk3luejihFtZXB
pqpNW2fY87AIqh868YRzw3kdlCqLO1ndQH4Y7TUP2F65VD74g8U1WlNBez8ntAG0oiVwrO1i2+5w
eqrKvDa63IXOHGTgDx8ZTec3ikKAV+7JPDHljkX82IHeeR7CKclZpY3ZFAVp86h2kyxRYORGwZb4
aXWE8dW0T/jg7yBL3TQi/C2kvaOoscm92NwDGLoLO5QcFJPe24ntez/tN+4kvbxK4nxwa9zFWfZE
Iz+X/W9/uK073WcdYJ4BzJPBgLuFMyyoCLu0p/uhZzfGPsHZJudejWqS27bDjAZHatpklYKhpe4w
MyhYdzc/gpntG98dcjWobBjeS+T0FoRXiAIfZDC/R+r34NW/gXN4J847yqbu594/mURkouG51e5u
ZGgrGIcpaJLEj2n6jR1bZJ60/yytvIGfUiZldax8tJiQWWS/DqnY0Hm4S6ZvuqQntPk9ikaOoWnf
ZTOEWTtgapYWpNRqfkT1Sp+dZfP5CMGGYV31BJ0vHL6KqDsYwI1z40zDyRvHIE9I0Z2oXxZ7CLAJ
y6KGyWMgQtDlMTZRw1zWWPXhkE+ONkXDD2Jj5z49oWndTGNWwTfgXrLrgl/E+seBm+e6VlEmdXjT
SnZX2CCPa3KaKNu5Nrn3i+m7nMqvNZ0+SBQyWGaLDWruGlS0apS1OvTVt+WLGofHcMaQ63uSJbiE
2nJG37s5/Olx5zVIg/dhTu9ZXOWd1bfKNRvq+F81ieD93Nrcdam7jXv6lsAwByXRm8YfT6xqMC7a
6Zej6yEDeW0bVP2mUM9tUmJ9tisFfJ+mELXtlhzcavjWpN4zqcgmEDLObAfm7gwj29Tch/6rF8U7
sBy2pg7vuB/joiZIv06a3acueyqBJLEAebM42YZiAmWj3zhtgwP9I4nSHWjYJ0ZbAYft4TTAfogO
clNS99i59QGGFttKJQftmT3cSm5Bqs/62rvty/EBhULlpqu6raLlESDFvGqq7wi3bGbFQ1na18Id
NuDo5bP3PbXpYzOZnQN0O/R0ucV8ijRIIXnj+HedpieBRwutM48/BF13GGdgEhuxhYb5UQ3OTkXi
VGJIVYJvAf3ZgiOM0vK03kjFHspKHhT7iKNfPmm+oUxqz6sExTlYlTXhjV8MeSSDV7+i2DECu9we
RVo9+4l/dAVoNyW2LYAi7P1A1hvU+t35xN014AllfYU+TaRmd4MOaab85N169S6ZukeiULMnJvIO
q2wcYiXvvhCn+czSAIG99PidTaudBKAga12uzxnjBSCuR67nQ1n4z62BWINalPGhuhPLZT8tt4Eb
P2I2gieMDknWkVDsIuUWh5iCJJpGqNUQQwsYAZsxKNRmwt50Y6KpysoR/nLKCYLvc1PwZyDjUpHx
0czFVimfv6ga9zkZpDTx4+gnwXNtTJpksebqmXuV3fS0Q/c3kuVjhTJrW/wOrZQ5h91IlOP/qu55
aq3zGHgKvslVD9rqvnY8xHXrDqiOpyBC76uA0NegBU4k98O0A7SAsrjPohCN8y3VYJ1mKEqAj3hV
B3GLinpRjFlCRvUSTBP/1qYlPG5BxR75ZoadWpdNVLRbcNorBjSFnMdbiUP+xwLWuGQLKnMpbsIu
Yj8TXDq/JTFOsTopySkIRufeN12QF5phiTL1puS7wSjpbFsvhWAmnL1m3zrh+JM40PLGgCR/h42v
X+aQ23ZvHafqXPUf5HSa+V2hqyS3bcuP1McTN75hLj8S1oNNDl499hxRbaf0TrSF13xETjioJ69u
g2fQtSHA8JnDQPsWjvg5GGp+FoXPvyXN6CJNiOBocC95D0M/a7YCs/6HZWLyNv0g0nvUtL01berc
jjEggNtx6EOE2OSkasOGBBWY0GKRm8Drwl0xKi53NRtT5HLlf6v8pP4+F7RD2DBMmM/jMHTHMfaq
ZzmH7q+yhAEFiE/UkLupTfs/ZTsQdwsklPqOSjDzUbW13BS6bDYz4+QonSg4NZXxfxN/CgT6kXSH
0nPtqUIv/mig14Ft3ChPEziivwpXj8HjzFm6HzAxPbZB1D/Bs4M/27bvD4FKJWIwiBKej12EM7TC
SPdQdCY5zrT0silok9cKj0KUxhLrhmCYvw7QNdQ3iQ9aeV/31QZcnB/SCwa+bQypoqculdX3M2LN
z1ycO/4aHV/tBpUO/nEcwHN4UHAaNhs2YSLubdAhvoKUY2KyAXuITDdsHVDMvlAd6rc28czXYHDj
l2702hucsIe7inO9FyOtdnDg9g9pGNsTEub0M5ocOQBFoetNM47JISjxm6yFfu0MRM7TNHG+hBYl
ATaqIeiN0YrIH45jc0xz01dpPF5vutqGE65a4pTczXRqwzyeg+aPdr32MawHC2/0id5yreO3mJRt
7lDq5ZBZklyHHsdbesxg2GHRBLTQhsAt6yOc4dZMc9iRx3Di0H0v5alKAs/kM5dIvdYwIp7gEmKc
HNVz/bsyU+KSDGvH5E2mafDKqsKl9z1gxSUKdMF2e+fwpa42gCB6cZ64pTcdG1P54dZwLHCKzMwA
ixwMapvtdkaVlpPNkxGPIfS/Q+aZGPbieRTCKWwHm3TcZtLGLcssFlQXfxgGqnYyl82sL+E7GatJ
bW0rcOR3ZIEeldwKH24sLdNQH6UUCeKxguVYmzdRk+4i+PDkXWR0K3OA7pxhynvhUJUFQej7WPBy
8lTVtf+DkfI5hEtQPpa9U2BD1xfP4FpNAIuTIkLu03H7YoxfciwAk7Lsj2UBhe4c0RALmMKpvG0c
2tHJXSyx2S3hRIqNQhZ84rIsqjtdN2GemtnIXWuNsDkQw67zEwseZe/dtkz9fZqEsV/nqBDhwV0S
61R9KAVq4rNuHBQfaW8Y0xvua08GkO7AQnnOJ79Nq9uKqSb+0gWA9naZ6EY13OnJt/fIMYnd+VXt
sa2uWie96ZUOnQ3oksR90j3VcDJDY38XOKpLsEb0JxeotZF8BTignvKyIRqn56ytf5bmLBbUsZ+k
+6DteZdV8MyaM5f7/NVtsLTYGFqALd0yM4ebIcCCsXWxkIc8k1fpKYVnnd3wQoTzfS3B23qc6sCo
bWABxd4mGIwGbW5Ks23axMYbqolsDryAx+/Gdrz6QAmWqg+i9er+FX1j4R0DnqTKSUVdlRcI+Cl3
ew0jtdIdsMDyIA2EjhbgyQZ3iFNU7FDuGw85Spc7chv4Y8IOHEVXagM82xycwHaM39nAkXyErWm3
5SJyQLMXKEPfabDrQ+hFmmb82fuDK9ys1MRLAcsJI/arkj2cjUBTaS1/RkV2Z+9RMzYkee93TgAy
IPXSY4VKbfnSzICi52fvUf6uPN7LY9n48wnlRiVOroKieXGTStCnVKDs49HVfAbYrVAmHIPNgNHr
3ZS9rMnvBuIeeltHPbF7EbWTc3CJ0fZrHZDA/w6JcpD+9nRTnLxucm6gMZp/pcyDmYBG6XDpBgVE
U4B06xtg/Kb5AE9R8sZwQIYrbKC+oi88Nmw+lZXo1aEqoBx69F13Tr/VpR288MwKjf28i73GRFnt
pkOTpW00TDcekIsdsriIsJHEbVKQnnhXIZvkjrBugtU6hhSWtx10vXMMl4C7urOz/0yNK4cc9SfB
vOWYPBMEEt463VbNkBYbTJEFzVH5BUPv2mmFd+OenXIOoq6F/UZpWou85HAwqLPGShHvWS0CcRxY
O4ybSUUJFogsITGdAY0BI/ZXiCz1FicG2QGbB6gUfdJH5hYi0xguhSObna2t2uClhOU+wcG4hTKk
QAaKsdUtXZOXaGD1De6fIeYpHHmwCkqfZsbdq4bdin6xYIXLAjv3MTY882ahIb/VUVHNTVbjQQgg
rSYSfgPVUGKHC5xz0zzVrho8sH3FOa0ppx9dtQtTvxh/us7o1yYbddA3t9oMJWWZARo4PcASAeda
BtZB5SlEzmRPaal0dK8DYoYvA8O4Pk7jrNO9amE1vOm1X9g7ArToI1xGy+GlE6LAIbPFpSWBZwYm
4F+0Ctrodp66xD3hSEAWOx44fn/TlypgCbZRbNR1pg1JMLqrsmIPHkEN99FAkCfvOx2NFSqgwbzE
Sja1Wa9l6h09kg7jQzj0Dv/pVyZhdxEjA04dOG0Z/S20lN2dwo05g3LblvO3wvHq8Qtr2pCeUBRW
kyOsVSJ2r6QPBvK2US6LUGfgkOJjBsPFYL8hJ/U+Ac5cYXmQeEF9Q+vRnodJS/wyg5h8creDgA1G
No2W+8/cSZMb4rekP+KCcPLvXVEBrZxLz2kw+0LKrjd9G8OkCvQL/YEtY4uMCEjkKLIWNcwEebXy
2a/Gbzv9JRAJqJxlUjHvOcTRtPsHIUP9Y+gE2J+NEpnhvUwgGa+zuOma6n2CdtbB5Eb6xuh86ONA
Hj1ncud3+BLT8VgIOvoPfNaDtwfj1jzG3ciPA06Ypzss3yL6g0xdVLy6MiTjq2ss1KtghDsKja5J
OeOsQ8wCVqIZjbxZulnPudM+JPE4m98O6IQEegSPo5h1U6S8Clke61JFt1XBffveyFiUNyNJUDyA
wze4omYl+qrZcVaVyUc4qsJ7we6mMP/h7MqW40aS5K+M9TtmM5H32s48AHWRxaOKokhJLzCdSNz3
+fXrpZ7dEcESa3utW20tUVWJI48ID3ePTY8wqD8Q6mjnkTSuDq6rLI3rWxOJZF6p3pL8mEInj/ge
dC709fAaCTmAvo3nTpHBg2VnOq+Kgcyj8HVjoBcYaeCQqzZoSJaiMEU0OqxrnLA9Ml00eEM8yABZ
8V0oBpnvRpBL+Upa6ySrnOgy+JLKckAOykaSVcghK+saD20exhJEOdnKBEyguKR7QSPe39OcwPd7
Lq02j2Ppwk5K08S2jw4rNKadIg64aJG0MYxnBZsBaCWqmfdlWhTOCNRF1CnKKGES4y8I3tS3bVTj
Wk7kvyS8rdBtt3xE0OCGpcdj1Zhr+KDFLarT+WknCGvgVNJHI0TJ1jUJ3NJHL4oueY4T1Mazm7wL
6sl4RGPiPZVYaOypjuuJAWwhOBOYr1JWkGd4JE0pW4WtEkCOlOxTqCMIKQE4OX2d9dtkxGr4KEg9
9BtXJSn1cco247VThG28FkD5bwxCmaH1GM2z/lqng44KP5MZ6mkDWEjtimlKu53TTLPYo/SmxHvC
TNkRr0sD2j/AtjZuM39o4Bxyw53q1BcPFUY5PScDoqDBz4I0RoWOTWhqvsXJjQMnb1EAuK9cGbBb
y0IzHCh6uMcgaojGpiA6MGyojdfnZRJuTGyxu0P/E7afgixt2ngjsjyKcy+ANQ2SUF1kuSi81MZT
jl7sjUy0J1s+VMTnjXQa6mUz4Fzk7ElH1XMwZ0xf43TPyB365jTtJitEl+CduOBYvVOMKPdL53QI
ID0+1ST/Znqr49yPY+SygSeyEfYYfg6rW/G5BjGDD17AHAaMCpfBE+tBUNelV2omNvqGXqonRrxt
tRC5lzaIA1B9ZXE+byydBd2gCW0UHwdHmxSN5WRtiM+afmqfkP7O3R0UNoyuqBmFuaIQ4I4/Iki5
sns3NoWEc0rS8PFDXjpBWaNJZJjOewZgtkVMqEX9QwbQRMKyrsU63dlcDfS2iB1NnsbCMeopEYm5
4kWXo/FcNqiPFpl4/zmp80it4rEQENeM9RwjmlYBoNOg6xN0X6u7EYADZvCzHOBO/KQHLNUPugRl
NF05QIBbdN8waT8cweVMiqe5h1Ws10J/kPkmYKl7NwHdJQWiPNhdb3Q8RuFDmAFQ3bejktnVmBFb
Ab+VGTIZ7mah+14O4VRyzyRTwIU3Nmk6GIQkZRJsa5eVGpqfuOmoP/clXsEKCsfR2Ze5iCt/6svT
4UAj17L3QuoijbbQEwU89HoRpdVqjLNEXom6tWxd2dkM9aoC4J2FHoPgHC7osRuCY1sWRbOZiJL5
Jkcu+xXmk841toQ4+JpnibXruZqCUXu5qvP0yUhFs6upqIKbInSRdeFHD7U7oUyJzAbo8nFK09Sr
0b/eg4Q47IAmkqx213WIHOm6Kkc0egao4aJE23bt0BxdBiTR7qfSsAitJ/ECg+tGmzpWPtoQqWaD
3huj/RJheAIXerfrgofBokEiislDXF1DoFROO7gvsvcsh8D0losiDT91FSmzp5rpeN6MhiTdKjRc
kSviAlxFM15Lo7uoqSuYbpO4sLe1ooF7D0kZhS6WFNj00LlpjqGf8JLO8pCtMX2FezUGLpEfBInR
ODWUZOruSMJH50NB276K/FEB3Pwx0DKd0I+nT7ndqqEX9sM49NV8k9giaVd0LMHE8DIZdVHjh1Ey
8Gssi0GuKwhYU78v1IiDtQhotKrQZ4R/Gt0i6/yhqNGtApsy5PGexSZuH/u50t1TAIcb/b1o7ZDg
axEtkC8OK/Ni8k2B7GsCOow+22BGnBjcJh5r5xaqmQYgcFkXZfZBzwWz9wEq9Oa9yosxiNDLQaD8
sBqHFvvnDnZGXbYtUos2U1MZzsMxZsQ1R+jC5mKHQpJSH7U1YRatHVklwX6YHVnYdTKFQ9avHfjh
y5t2gJZCb7DZTHPtE5Fm9VUcQ1PnTUzod5MWaMjg5YPs1Hsn7pthEwbQxR0H3eXJRxcGV8YPIpsm
9xU61ur3wCtDTCMxzBqxaIDcajzKuHXqd2XDWP5D5A36nYw0TIkPin/WxB7CpiD/NoOEJm/yWcXu
jzqdO4iUCVrfPPFk7IqbyR0y+r7vZUKu57Id211ZgEuJ+V3yqtwj44TDOEtJFz65c5A36zwg6PzZ
AfJwDxzJYKE84CtM7SHjncrNwOAcubEF2lpVntPrPL9CdUciVhA9SlLK42mQRFdx08rpa9+bSDZe
oZqRPjpNWHQ7ywcFugFye4mpnNsw2E08VzHONge+au9h62JyYNyCJ9eFZWMP/Akr673RJM1K3zGS
hPkVChZZAPx6Mu11EDHFPDYLyBNtANj5KEhRIrqvdBYwIArCVRF6DfMkzt11A55nI+7SjgxmuJ1M
iALfprHwBuQboaJ0fHayCSJHz9KWFd0G0VWPA7mYJU0+WdukMWrifciS23gKwvB+ymgzTAC14SSB
plgJAlqFclRhJrk29RymKKogZACbB8BtUQJgt2UMHTxiqU7fp8bEg7pCya4spD+zWNXNKuxNRyYP
wJ7u4vWgeKcfoZzMMhyzNe+Sp9JB1eSA4KCujnEdB/o7baXp34kkYuK9pSInj+XUJfRBk9Z1RthN
wvzjC/wUg3GE4jDDAYcGplhlbEWEbPV+KPsxxHpOtLyhfI6qIyk7ePWk2KyGdZo2aYXkkZCA+Ele
ds1+ivQU3yoXUPcxEOUwPk9daWNgTQ0HnNZlGuhV00JplAmi+sc5BdHTP5ExxI21fCbfND1xz3YW
vF8FMDGYagDIqYOakna7clexSPCNiyZgwxfTDDzetLkJ+L4Kkh4Ac8kaMfRXgMVDE+0mSUTgtXCZ
p8gFAIDVfl024ejX6QQpBCYHalfXAHl5dzvB4D8P73PQxpIbWNF3+qmqKazB+JhNxbrq2nZYww8p
z9d5MpEbYK/kIcZekXqmRpFpFVFn/JQ5LVLXcUA6ibxYut8DZw7fMaB7aEYwZcClTPTghDzrkVK4
7oA6Wk6Z56JOme/DSPSokplqgj9Vx5PtgHleoc4CMvI1QjuW7idXJ801NmGGvVEGbruS04BC5uiW
DjK8NBRilZyivUPtYs+5M8hjzaHMSBT0CKhg7xrezyJUdXYDDxI5oU1BSaaZ+GhmIJ337hCOX8oU
80z6tsUxdOcIolNfIwwoVqjFDIHnqKhEH4rTPMUmDkv/G13YmZ02H40Qu4sJ4G4Jo1SfGNwjmobk
8lufmpAcEbtzu0lRPHo2KUR19yGgrmIjUOYYVkCKc9QV6ynnHnzpXRd+jYELuNkrwPwvgRSIiCJq
T8dBfTLCJvN7ACJIZpoJhE4+maF/DCkrT116ioMJDa6JN7Ea7uJZ5XrHwMmN7lDBVonf57ic7cya
oNkmsarETSJxPx4bEOQ92Jw6kxdkc0N2KOqWaJMUNbnywnQYPpQOD9LbpAroc50qifwtbpzKi92g
c+9p0ZL0pqotzw8FYSreQoFWA/bNgIveBcaywK+bqCi/JXA/RmY0wkRgV1RRAiVFVTnTLXCtMt2q
NhTy4IwINXxRqQFVFIYUtFwVAq7QPgh0GfSbAaPYhBMh3/FSkY+AE7MYEV4pAy8dEC6vOgeUPq9P
EoIjtp9N7EMiP73juqgKf1ZsTvygQXzkTZil5GoygXgGTA9zCcsdxPAIv6mzEYlEcEYq2n/IVYP4
0JYobChPNpPFSdxksXC3XTEWw7sEjjChF6UprCl5hWRrYyF6UUeRa+ts4Q2J9RqNMTomzxGLvszz
OJZrpGkB8QSEUmSXp205f8W2FQe+5LjjNSI70+9hEEbddZigAeBtUDT4c2eqso9yaptkHQism5Rk
gGFBcSAouyrHQV3UNuj7TBA/mjWOjVGtYH/bIayuWn6Lt5ZYP8PJ/I2nFI67qFOid3osReL68KSb
ch/bWwBaVYa43nddVcfXkxGd+jEOlbvvpFU4V/IIEABoH5M86h674arig2tXGvhCvxejHMNVUyDw
XRdTxPccbvNAzZJi7m7hRo1OIR0jsgAG7yaV9tN8zgZcMFLSK0VTOXoK4XnziIPHjVe2lim/L2vU
PPzUgOVKvAwfIADnG/Y4NzVXfuZmQ7gThUO+6LRoPuIsYHTDU9SFfRgSdsmatWG570ZwDFZF64yp
DyzC3KNYlzneQOf4e1eqIvMSW6LSO6Ns+g2tRoZspWQDqzC/RdhJoN1HKLG1Bl66D0XfEJTsHFWR
B5ZBbgTeiqhQ36c1QSOwdIC7xE3nyomAZYTtb83noE9XrG0pX9VV3X5qbZDEG8awK26VdNxvdkRz
GJSfh0bG265FbunDTMCk+xpezFAUD6AprcKwc9x1NgwzEjSkensoZfviiobO9KXOOcKAaapiVKhR
ZrX32OPT8LqgFkfbQN1MrRyGIpMn9Zi2mC8qH++dIYJTWeYkqMmhl1l/a2oYBGar2sb1/MmqBDp8
uBN8l+EIOoBXgZSb+RRkzPZzB/BPnzxs0BJkRHcHcL27HtUx2I2H9WOfGCKvg2QugP/MmePXcaN6
oO6ayXfgcQNTK9BjOEfjmErP5fjRGXEueQ5iyGbyQhk1wc1YNlX5NFbgemsPQL8Z1jQTSC29Wss5
cpA0A16JPYHDuJ09AMZNlnvgrXTgWA+kKyqzzkcu7cdGdBM4lQUtaFTB8gHb87yqQxTXArSVUb1D
VzWzST9dYMj99FY4x5laMAcl4risyJt03W7CHQifO7Nxn8jalT5fu1vEfB73wNXdJqveD/buXu+Q
8K3519LHDIdn3AWy2++4dAt+oUhZPzYNLiMIPxCNB2D3PUpQb9PQfsdtXbYPLWDVboJIqQ3FOltL
1ErR3aaIUJ5EXy7POrJ5RpmWXmladWtEDUhKctDQB7itFJ5CJX3XJiDCwpjt8jWdOIjnHvyCm1jl
EZr/TSCJIit2m03aam4PBQ4IZLQuQnhvMNUsdnA1hA1c34aq8wH5WuMDJCsutYD/DRFwaYgVjnOL
2nitNgV243QVWTneqgA8BZzHfIeiqNRXb7+D37zgZZfSumqmhjMmN3NoK/UODjBxtqIZYNxdEhX1
cEHC9RvS5NJdECBkZbLBFRupQ3fVwiprXUVl9P+8idNj/IXPWNaib2CmIja9yoDo0iddhZmnyumC
HvB3D2nBl2wrWEqUYQBpK3ojeSB3XQUmvoNX0iUrgd89ntOf/3IDLXjBqNJJsdG8WoMeDFoAGPcX
ltnvvnyxlQRjH8EFLgKrCkCqp+s+8LCl9xd2iN99+2KHcJOSoeSMZ+POmfRUa9B/di7evT07f6MV
EAsOsqxpNkAQgmljlXG/NXl0OuvlBPcginABLL4OeoId1IGivHt7yN/dz2L9Wx0OCt5RYoMu2uKZ
V3VzF1N5qZ/uT5X3me1labCm4onJfgr5pouDSq0bUpnChwm6SL7JLMdBG1Q6bL3ElI1779hojj/S
ZiYBnGBiFu4tj8vwkeOyohW3xeCEf77G//g6/mf4vTj8eQnNP/8Lv/9alFMdhbZd/Pafj0WGf//r
9Jn//TsvP/HP7ffi7nP2vVn+pRefwff+a9zV5/bzi9+s8zZqp2P3vZ4evjdd2v78flzh6W/+X3/4
t+8/v+VxKr//44+vAG3b07eFqJL/8a8fXX37xx/05GfxH79+/79+eLqBf/yxjT6XZZF/f/WR75+b
Fp8W7O9Gc1RE//jb8P3nn7ju3w12RJgooJUmww//+FteIKL+xx9c/B1WsMI1BDAI+/NDTdGdfuTy
vxMuNDgskhOKT7t//M8lvXgp/35Jf8u77AAyWdvg06eJ/+/po2ClyalSFGUBwUH7WepuU2RCGqkq
RwirVrDUQKL2Ncy6FRPRTkbKE+JGVPuSf8R/o/ixbd/jf/r2U5HtS917o31ywRPQ+ejBBOaXx/ev
a/312l6eWT8vDcxJARdzbairloKVBCZ4fdQb/Ti1n+JsCvwq3/B5l7UkW7090svt+H9GMi5FnxdB
6XIt6TyD3VeIkSzeio8qxi7RsKTiUFq8PdBPV5zF4+bwogHspKmQVLGX+zMKU6HTlBMyhtZFGFgD
hVk5VDs7AUbv7LcunUOvNEN+41qLimDC2SEstILV9OCuyWjdNXCrds/aGD3lwxncQe6QH7lAjLsJ
Bz77FRQ929HMyXpILFBZFCo9+F8jCkLRaAVqHhC8MG1R8iyDwb0gKnwpiDk9SIHGyZjq4FEKzKrF
NotbqsTYu87jiMqCh5ky2Xgn89umuRHjbduwC+MtpojGqgGdUxsDo2PXuMtoYFClc+rtSo/9yG9R
6K68HGgEsDOPFPkFLcXLo+PnJBEgdgiX4/0J3N7LVxciW0ptSNhjXWY7Pep93qcPZU5xf54Ene/t
mfLT4moxUwRKpXiSeJAuW/ZFqRjJQO+v2aPhNWiNs4j2eRFG6yTtzbVoq/gWiF98hQoeRGio1yt/
hhztNmmTufR66sqbacjJdVH1zrPulXMfwk7yC1ZZ5JemA9Fptt2VbnR7BVlRuwfFhG/dKkeGWCAj
Af0FPgLO4KA10WhPfGExPFQgIz4myI5AFSmQK9DukivWYiGe3qdWp82NE1dLvlwepUIQgFLNfKhJ
+g7NMq6oW39StrhgDPfySFY/h9EaXBBBJP5ZCniHoZpkRevwSOc+29DWIWsWo53h26+QLvbWn8MY
wijhBmIT/Ho5Y0ZAFdCbqPBIuKXbomq/odvrtM7gdHLIG3BNCSz2fDAOvoKd0e3mKOkh7xYXe/cs
3G/+vF9DpeZAaQXlS5sgMwPVtaNrj7EAacwr0V2jRPXFerkx62xEBzuB8nhiFSDLPBhuDMCKC/H6
wpLj9TUsHkZoRNDSHE1QRlQR36c9qfYyld9oH8B4NkMF2LFxelO0o5P73dy0BzaHaKcHJsV1PaHS
9/a7ObNx4FD53yfy81j8JU4OUxCcEfqURxBxb3HGEfslBaCRBuOFgc7fNyOYbNiJuF5OaarECNIs
ix+UqUuvbeitzK8tcK0tVqbjHQDqFZB6B9WzjEfhhYCewFC3l8yWT4/3l+3kz7nIfi4rA4/Jpd/o
FMAtKM5ic8gaGGghHWO52lfOSH100XmyI3QAThvcmbC6sArOrTUsZ0MIIg1s1IttM5JxF4DMrw81
tKaeYcVtTy+t58Wx8+fNQVUGZTGF6fLy2ClHEQ22msiRQYOQxUDMUfAWIEWE4MFhUzlFDm/Pn/N3
9e8RERn+mmfNkwuJM1DuAyoaz2bMHnrpXkIzzm2G5pe7Ov38lzkKjCADfh7lh2bK/H66H2OIYy4l
imcXgqAu0QJnG9GLgES7EypvDSHHQIXXnUBLCJTYoWIgXyLQ/95+aGdu6LTlUqZdrAOUuV/eUNt1
phrahhxHAKKudNZyzp+CcU4vjPNqrnOCLRd4tlSnabdUoEeV00RtNHWHmg8EJYtJ7tO86jwnQUEX
FLiN7N0jpksILkZ1qXHt610fowPn0ygpSmZwIS/vcmAOTeEnZA6osUCzMGR7jeqkk1DAqO3V7Jgj
NeVnKAAfoU4+sqy6NG9erQaBhEEpQRA6I1Z5dfvojdzyssqPju4OVTR/BIttFaEADP2YIOuYTI+o
R19qyvF6o8OwOF4kMThgkLMsZlKK8CgWvMawKfPhZFifBDWHZMjXYJj7KNBAEyruqIxuDYBlcME+
p/DE+4sz7HQNiM1gq3+aY3yxZKa66EAJqopjl5ez57C59ZSb7EJEUH95IE45Qghi8IssHSJRxiwH
SNico65S1OEiQCEAFKEFr51LR9WrVSM4ZhHGQq4nIWNc3NOARKFldRkcZsm3wpH7PA2ODSoCF1bN
+XHw2BBxEhf55ct5C08Ql+QoUBwhkcz9gUTurs1maB8QrV14eq92z9MtSY3sliMBhlfRy6HSRhW8
MCY75Kb4ENHqzhXtBa+GRbSuQSWmp0zLUC4lCGKLIWQKAlQZl+4B6OuukukViUpIP8hVkoW3tpi2
b8+H1yHWaTwOqbJhGifQsmeF1CxTidNDaBLFt7RRm3qO/KaDCKOm92WXQRdK5ZFVZuUOf61DMEKr
xdinPf6Xg6Jqs5yC2UIOQzfZFevg2SaRh61CBrrPhft8PUuEi7wOu4rhEjNisYf3s66oAyrDoY2D
Zl8xFxXgkJuvAQ2rZ+ih68xrmRWroYUSWoFctRqiOLxzkIyuR3eWsNRW8Q2ACPLYhS1/fPvyzl0d
oBSiicReBH7B4kmEJ9Lm0CdH0PlaNLVKRg+Jtt4MNLvUjuvMBAM8QwigE5cy/Ho5lInDRkzognKo
I1Ld9IGT7Kg6FY5AwGz3c1yBPAnqOf/y9h2+XjpYM2jgif5ALu5yebpkKsggApzrg41AgZJWJn5E
WvH89iivogIhQAChmFdARAC/nG7+1xmVgO/YUUIOlYLLaiWaXZiHfhJMV7UAW/btwc48ScEVnNIk
rMzQMnFxYDqDIJNF68JDI/KvPOffmglrVYIdAmFLRdcU3JYL4durCAH398uQbIHNmkRBr5hHxdEB
j201k/EWSpnvjZtuiyF6rtt+p+Nm3St7Afc/N64QrtAaKT20JYtJIw0DKQ9Su0MtqzuaQg1h0/H2
JGL3I5mDBds7HytUQD2tLrlqnh1aSsxUQrXUy5y3mhvIHUGwPmZl8c2AdYpIeg3J/7Zg46qo9QfW
lx9FOE0X3u6ZJYlOItgZsSdygwn1cirloIRpKCSKoxzamwLSTx1BXR2PT29PojPhxymfZxRCIi6E
WsIzYMhyeCYX5DD31R5qb7Rh/Ap4yB+D9r5q3oEI5aXjQ5s7aNYHXjm4nW9fwJklg61fUXCEXWyR
y62HoBlJhgMnOaZFaEHjdm+h5nsIi3YDR4ULh9uZZ4qUimiFfJ4IQG4vn6kYmtjqIXaPCfZo9Eca
b6oKGqBuKr+9fVOvQ0lhMEux42DmIJxc7KdAYGoQ9EL3aIldcw6dYTbUn8CjSMDE7SI/r8kn0c0f
3h71p6H3i2RVnIY9HaOS0tPTfHl/EnSMXEgIcsh13GdPgaXBCjEW8aQdP5ZV9BHOob3XwfDY163Y
zFZ9yWaDJCkIDmBFwJ7Jqk9FMv/gaGa4Gtw6XAG6XIOJs2UZGMBdfDKC6B+qStzZaLxTE3zv3r6H
c9OBY0YC/8FchFjq5S2ApJIQDbD1aKm+Sdn8lIPMNtiTytH58vZQr1f2KeaG2oESxXAwL0IdMHzy
JEBPmodxPoxBshYQYk+7yj535r4pbsNGXdjFXm/Ykp4OWEMoFhriuJf3hpC47yz0F8cimfZ9AjPH
hFkO8mTDIVdvpnWfFxeKaK9nPGYCwF6g5og8XnV7p6jj93HnyEOYFV/HzFmVzTx4NjRXbz9L+vq9
ScRxApMPmwkXy/emoZkt58Ftjg6cqR+cpr6GPOxphKsycbL1VEIRVdj6XQueuNMnN2DKMA8t3Nda
pmu0GI59t+5vOhNfgM/OvGNsbZhI7kkzIpbBeW3TptdO5hwSU4AtCimbs27TuID2OyuuIA/pYeuV
imespnnXk2TeXnguL1kMpxgTRwcAApwcqBWZ5XNJczNQyFSDQxfjRC5yHFrp11xOnRcAMkrnnKyz
Vm0TprZI8/8qXovBJYIs7aJNMmQyixkusqKLWGP0Ia/AOJzB1/IbU9ebt+/xzKt/Mcop9Pol6IGu
WoAnyIajaYp7a2p/TIod6SVcXMzqrw8FTjRHJE0Aii2XbN1DSgmGRHRkJHrIyuBjbKEflfJGxpdK
MmcORsAQCsobgH94gcsDOFUJ2EW0S47NpCsP1a8fhEyAxJzwelIN2l2UV5RXKQwp3I07lrtwjN7H
7aXK15mHC8c1zFxtgDK9Oh572CSlYxeExzHuj4T1dywT3xzae00U795+uAsW0M+5iuDuhJwBdQd7
b7E/UVloXSEXOUwq3/E4Ww/omqP0Y2Y/1H3qpSCMZj3I5p/namPFhAA6BKvyEvx/ZskCb+dYKwjT
gX8ur4KVidDDOB3aunHhWOEkt3wesB9HkT00BZUrkP3bazT3hTOGnS6Bba+Pbsn1qeCMEipOhyXu
ChzEhWUNnQ8zt9Eqtu1uptOV0fI7lJvXTX2yzLlE3Tg3poHDNrZP4qJIvbhl9AlQCtXZ7mBbNJnS
hKLbjusrpkDM5PeqSh9mtCm/cNKeHVSyE7qOwhxu9+WyzSFsTTSOjoMkNlyDPCJ8dzbz1RzBxFbS
Wm7dhhmkZaFdvz3RzhxKyCNQmqYGLxolnpcjo2laYGpdp8cIsuJVQoNg1TFoWnOYD1wY6szyOQW1
DNv/6ekuqwgJ2N4dVEjuoRT2cydgoDTb5rnhZFij1eElttiZG4OHhQSAhv+c0tuXN8YyOI5w1poD
gaZmq8G29hySp/sTc/nq7Wd4bnsCPMNPgTvq74CDXo5VG6exec7YYYQPCTxvmm2fogdKVFzPs3gc
qvArmZsvdTUeUoErcId36GHMLsyhMxGNBlqgwbaARxlfZtU4dpIuq8R8MKluNTzAiIajTW9v8qYQ
dwwQ3CqFDMS/cO+nOPZlnIv4HawLpEZQH8Gw4uW9y3km3ajHHsska96BpRjcVC46u8Oggt030Oiu
57TMHrush7dVjFpGn8CxrJ3Q1/LClZx9ADjgOWYX8Lila3mW8A4q+ag7iH66y/JgY1LHhyvOugtD
GNGefHIc2IFyDmuw6EaF8Q0sA6COr7ei7++SCXZhESx14uBSA6vXeIcEJ+N0VYg3XXcZd8yidZLB
EfRQMUjwugjax1KwS9jna9AeYawEXoyeNaeC8HKz5ujSmsVjOx84bDlguNPZD5C+6VtndsA7qcLG
n1LePsJ4Ylpx3ZdrGDCId5HMigtz4sxuhiTSoOCP28bOvVgOkZo0UZD8HU0JDVda/aCmgqQLHam9
soluGt1tQzE9vP36zzxkDCX4z+T5NXQfBxHVkF6zA3NTtodHC7ultXYvpA3nHjIOZJyIKMxgc1ke
SRWk6rADctoDDBZBAG6uHPm+BvYSd59bsqlb57okysd56sND58IKP7OBIhRAXUYhBAFEe9ryfgnu
KKmKtJpTckA/0i+w7X4odfwlkOO279rvbz/Ns0MhfSWoQqDuu9zRlAFLbLAdP2SzuGdxs8vitsAJ
WOziuPh/zBc43QBawfmHc34Jpc89MPvQqeMH3F976Lo43ELRRz7M6MQIPv+g3jHQm7YpR833wiM9
F2dhljKUdcH4Qdq0SNMdvOcOroP8MMGo+q5Cx88vbjGh5yPi9W1c1NyHqCi6nTsqDo1L4WY4VfO2
zaJ07USIveDAMN7HQVBfiK7PbGbG4JDE1oonQ5fxXz45MANvBnbgJoTCgo1okyhLz+Xq88mc0nPn
8EKCcnZEiUAP6xZB3/LAVHaYWz1P80FG7nWb8tuyts9hQZ9hXfeApiPxhUd/booZrCOsVRSE0AP4
5WweUGqf675wDxH8FVHRuCrn5Avpyy3EG+/fns1nb82ctiME7xyw5cuhTvXcBH24u4OJptbHEdEh
VTD9V5ryecOy9onAvfTw9piny395LgL/B9MK6DNa04FN9nJMJ4iMLuQQH7tgfG9Ifa8heyWZ2bw9
zOlrFsMgREakqjX2o1e5vulatFyXTQ09ufUjeJvCizqFSaZsgaO8i/Onnl6YJ693d7iV/TLi6ee/
7EJw0Rxs5mLEMu9hLzp7bTJ4Yx15A/qEsNS31YWd/cyTfDHg4kkOZUPyMU3lA6uaB9sZ/u6kiFt1
QfvXOqaeki6FWBhwF6gEyDuWBTAwqqBookl55LXg6xpKljXE0+TC0v7ZunPxzgRq2tjDwWRCkrfY
c/ISctpBh9URCs1kPzbyox3nbIU+SHA2tDLa0RK8ySl30lUMgxd4W5hw2qWDO70fIgtAFky5jdMM
yb6lY32FDoaz7+QjXJYQXnpx2RUPAxb4Z1kM3YeKkvhWt1H/kNHB+AN8fgAtlqDa6bb14eBG/CCG
WDFBMxPsdSnbVDDe2VROGUJOFtndMBX91dyhH4LMCwM3ggzW/kP1jTVlBzuSNnky6Pf83Vow6fqK
BPek76NtIol6D29laDih9VoXmVDrLFf6Vk9jAYcyGNbVLsWGllf8LhS1QOtj6n7QQxLtUpiowHMH
Qr4j+mS2Podh17Wtw2qfETa9y7sS+jUi4P45/DdpZ7bcNrK02xc6iMA83GLgIFESqdH2DUJu25iB
wjw8/b/gqxbFEKP3iX3TuzvsYgGFqqzML9eX9D48mWullc9bE/lOsghkjLms6OeH/FJUSZ/TWX1K
Bq5jTY+eFWbHMR/FO7yCK9HSuUry76rjODfQUJMHl8/DJXDKYizpzTzFc9UFptrWXjeHiY8Ny28n
782tNRSmnxVTs0tJZ24BDckPald3Wzs29VuzNQTORqQRl77OjuYcWfvJ6tT3OkzV9RWqXisS6wGq
h73PZ3CEk93G94ZiwlLTYuGVPbRxuBP9Zm6k7DnW7cUbW5VL01iqW2MsrCuJ0M+PlyuDqfMNsG2R
VVi363/tIEUf1ZlDPzePV2/dVHts6Mvv063hzP98vTt+Dgo5Q5GKrdcyIsPzJDxyvXSBMTE8mim9
acpiYfdEu+GVPVj7PAwRGVHhWhXTFOVTLcMaGjME7XNC+qAaoH8jEySx2blpSpbKMVp6ZZvB3oDI
LHy6GcptHKq1R7Vs2oYQR+6mzOruuRqXL9rktIkrgY15qbIyyV2anpIDgFrpWFfZ2yjD7QkLmp/S
NDSe8SHLfoIShFYBamo31gmk2raaf88N5Tgl6ZafBFKOS25N7DRbqt4kOpCviXU+T5+4W17zB4QP
qnpuDgnTMU4Kc1pOnSJ/j7hxRHZ3Zc+8MMQqRiIaQupvfioZK1mrQglUUODRCIAoJttE1vzj68Xy
N8L5uC+zJWt/UzBEg5+yjD24v3kurPQxnm5X8rPRKcCI5l0l53d285jLr1ae+dDaESenO/bUmwXQ
1tc/4vO3YfFZIOpU19CIvoqP34Zua/loQih41CvUlGO3i5cfYDE3nMhvX4/0OXIgxrO5J1Ii4Fs8
HylxqtnCGUs+SU2Nga+EWZbavbMLv1ZOv6Xr9DBjTwzbv7gyxU/vkiwFgiPcLBQYXua5/AJyfZQC
2hGnlZzL/WkpHxujWYKvp/cpamAUzhibgq1FCHYeXhq5PsBdoKtkbsIgUuWgi9MHuxdXLoSXJmOq
a054lQM655npeVpv40Yan8K0kjdwIdMj3fLOtWBSPQ/z1tlQmqVqpJNAOK8eRGls0ng8lEcVbEOH
JWfbxqAdnWdUoUMXH9oM/J6y76TuTrNeDYDmBTLLnHqdZnYbNXrtFdC0xZsSVTQ0xrRUbGQKeaiG
TTs9qssb1Ef+Xa7uuNOsugHbkNwBXq1xkLQHCjduBqjUxgWgD4t33XqtzBc5qoDkJF5PHWlNP5dx
ueNvytSdmWk3Tf7I/ynmnZVf2dQvvVlL4Zzk0qau5bSPn0jfgQ6qB9k5DnSmBslUD75tQYKKa3Ds
Xy+iS2+XjAr5NGdN7p2LcgfIWQOkreYI2iPay30d73IVWvvXo6ifClO8XeSGf9s/1gKo9nFGdcsZ
HmZt8lilLfHGMkFsTQHMSMCvMJZ9DRV9A0wQJ2yYHXZX7bVpGvwkqlSvRDn2kEhT9K2dpOQgmSJ0
m2XRb8ExAIenRZ5u5aK78lw+7VLrD6ZoukbJyHvPU01pCZxSw87gGA9ANrpSfgwXcxfXSJZhIF87
Xz4XNNfhuLxRuGNYipofn4/h5OXM6RceQVhTv68UHBUl2jYfhzH+o3ew3WCUTHeN2eSQwJXxQYvz
8Qlpiu6H8kibECfwjQkIFgR7nIS3VZsV375+h5dWCk+DehjnlE5X1MefmJqhyJZ2kk95XN6bjvLc
Wsr+6yEuPXQe9xozUW7g/vBxCKeNnLLJUvtI6XKbOPXW1qpjnhC2p3wHX491YTrmqnZHQ0lR4FP6
AfIUyIdK049V0Yw7XW07r69088pV8sKXbMpoeSzEtqvU7exLBjeaVlJV2kfsWjNPh9gYgNAwPUtZ
pitDXZwQuCYuXPJagD0bKldrZ7GwGjoqtbRvEBYMjfbf9yVeP0cOF/FVXHi2Sqs6dgDITvrRapFs
NzJ2mUuxg7Z1ZR1cemqrqgSVjrK2Fp6tA7R6OfQnRMptAjNPmpPhNu+d/q6MqsH/ehlcGMoiHcQa
QEv3ueNCH6nUp4qkUf+bfkdNNZFikDe2ek2js/7kD5EXJzWfNflrDmrQeGePrrNMIWcgqI69gK0e
Rp1nrO1+RdFtZkJhLxY5nZzSHuz0//AwLYUzddXXss+ffbdRaXVlXlfhcbbNIrCH+ltX2/Ztb9nN
lZE+y2vp07JUCshrCpf08dlQKXjjZKYCcwSehMYVdEoMiqtVT62eclYvdvRjqqbFbQD1vAj+664D
WrT7+o2ug5w9aTp11/4priLcbM9+xJCXPTC21Dzaw3jIypYinAPVjwK21Ay3+lCcvh7vwgoyUXzA
cZYRSX+qL/bAeKBHNvZRNxKAJFP9GmNs2Vf2r6/HuTQvFEprLzIXd+U8Nw7bbZLwhBQnyn2oHzPA
/xGUvLFsPeaVG6AEvh7wwm5MlE7zMlPj3nd+Js2GWkiQfZ2j05BTLOUk8QUwxrdSWqZgqI1rIeCn
tBurxyaYZIZEtPZ5iViJTamMrLQ8qep3MGYPfAl12T1MFT48bQ/xMzP+lxlSUuSs0Q12m7Mts5AW
wvIiNJHpVvXjVFTI6kEhnaaW5BgY1GvljUtLhROU64jC9vYpYh8kALYYchQnjTBHUWDaLEO6j7Xm
6es3d3Gp0MWFCEnnuD4PXmINWlCcqeNJV7pHJx06uKvazTgPB1lEd4uRq1cuPJcGXFvnCJjIDpBa
+nhwUwsXbSPRt9br4pD04X1vY3bu9HrpYbWMfZfVXZFaXVqc1JgsOnfYbBBMfRwx7m0E605sH0N9
piClvLV53+JjKe/zvL+yTC7ua2ycxpp/Zo7nQbJEztSREt0+9tWRWPN2MH8Ky/Lz/qZQXovxuQPc
pBTzFZO/i1NERL6m57gInOdqrUrKaRtWhiNOO3vSJ9typUFNOI3I1ZU988LCJBvIia4YBCrEnx+f
ZiSHUkhLaXfM29SLyyVxC6M/SpqVXzluL8yJuikF/DXfTfbx/ItLaa3Mw4pjMB9wgG1yM6HaU5fQ
VGMI9IlxzeL2b9fs2XFA0Q11LBoJ5ncu/8itrhpDe9SPqOaSu9qKjJMDz3kj1Lalf8aKDhAVE5rq
RHQQC0gzelsNtx2b6nbKBK5GpbfoeEgUYZZvF872H7KWR35By9S1Lr8LXxGxCHV0msmRBZ3LRxRs
nocYWdSxt+GRxOpW5GJv0drtYl6zVVM8Mr7eJy4tbKQU5Gd1jmwCoLPXYU1QuvQ1H9Q6k3iJhk6T
YHZp9SP7cAjquxG0qWMB3m67JuISolIMfBVNE16JXS+tP7pvSQvJxCif9AOr1YDRRkRhim29G5ny
Dkn+XRPJ76/ne2n1EQJBqaDsiL7tLAjLjHHMFOyBTkXX+ZlVb6VC8wcl1VxLoXPifxhsjZTX2JKi
49k3Bf5+GvvUVI8YzoTAHfpx2wpn9uJc6twpJ4/59XgX4n8L1gh6Ooo75NnP9uDJrApbb0zt2MPN
wRe8Dbem3PX/PRv0YZT1EP9XZjsDm9v1raQfm2rwRPNYGK9fT+NSoPzvaaz//V8DWEOIxNHKelq0
2gfLwpOhJiGsahhgC5Rxwnknab8j0XDldV26gpN5Qp9GxzlpyfN0WmKUYc83uRx70NiVB+W2wG+J
rbaSx+YfE0bGtoxDZw/jD1slbZiDrHLqXU4DjhsO2AClgzkFTlECO8R1xDfDuPnvhx6/C7kgm8Nf
uMzHZ6NnVtREadkcNRE9tSKFLTI9ICp/srThSj7u0msAskJtiOv+qvv6ONSE1TTOL3JxbO3wd6I2
G0PvSUtku6VrvKzv/0x4DbhzrV5JUV/aAw3SmpSVWcnQTz+OC3VPGsCpy8epmTZhPaGwaXV3KeLI
XRbnccjAL3+94C6OSLRJgYObLfHuxxHDCHD/pCyoymK7wPgEP7WfuozpQC9boZ/ZLTbcxpReOdwv
PV8an61VEcJMz7VslYUQQ9ROdtKTlk5uHbSChWqpoQi5VPP32TL2oW4fprq4MvClrXat21PIIEnw
aZsQWQuMZGartUM4sEo3pW8iniiWSnZ95ZO6tN1y0FNj5IJEVuJsByzA0E6R0qPmSa0/I7mjQ50u
NnZfClauuN9emdmlDZCMO4V7c5XHnV/8uMnrameP6hFHadkzkO3txyIar4RKFyeFYoVeKcgn5N4/
LpcxHBaN3L5ynJHY2xV+mkUk3IxWbi/rlOTKI7w4JxKCq2Rl7VE5W5wj4OtlsefiqI/hO9z8p6we
379e/4Ck+MnnIRIXL5K/9NeoNPh9nFJWD0qY47J3FLqUesUgHBc6qe3hEiRvpUn/Acre8RtBPbow
dCipKoCyYpl/Vqo5eaFmF7fqoByB5w/YmcjRLQnc0RMVFN4abjh0cm5vdVZ9JwPQ+3KvqZgfqa07
W5QIB73KvHyWXmgB/yeaVPpxM5Ft6M4XbhJBHYCROwXyoL4QHZabv9YUoKMXP8FQ4qadaWWlL5E3
0BUvqUSu1kptEeDnFR1wF7JX+zThdSYM7kyYph8xUQ+/EbxRx3D2jEZrArQKpVsWsQnXAxzi4kgl
tN/ccGXI05QYtNrDEejbaI6l58TDr07qb+mHxApJtBN9icJGra523mAWODSSGUOPWLrjwD/Fpn2T
5onwi1qSvWnJJIC0zmNqjsdkKr+NdfooEownMWqwPH1Ybgxn+D0Tau4tYUmUAedf5lD9yGdOJCTE
vyBhf48rhUZPCEHT4DgecN1vdo94vDIaXllnAMDP5bc5Rg1J7eiOnPOtbYIVEO1ITXVWVS+t6gcb
Xx9M7CbTleyxcWuzqbeDIT8JsFOYDGOJDuA0dJeJJmzJUSc/CyOJlF/5XLSL6SajVXmpog+Bg6/O
DeIVoCiQ7l1h8gpYF/dNY72nY4w4KMXIzjHu6HqY3Tk1TG8O02faSF6qEi+QfCSNnJTNnUrP1yaj
JXevNVPpN324kK2a2n09lT9Iyr3g4rM8L3KNxGNOnnRjPkhtd59OS/KIh468j6b5zhHSs6Sqt2NV
gC+OW7dttcrTwF+/iCL5rhRFewqnqNgqclYERRPlj0rsZLtitHFvS9NgsjHWTYzkBhzwP1Nr3YSj
dFqLXkEyzjHzZhIWhbB9GGul7zidtZoxKNuvv8kLXyQpcOQZtqrQPXh+CsZFEkbIHPRjNFH4B22Z
VRgnCWDKKax7q4F0PxhYn3096oWjYe3mQz/mkIih2P9xHwhxUVAqJ22Ohj0gs6kjBYsQ0N/G1kit
7IpE4q++72zXobBCvwsbkgM862wjVeyOnqSFfDVOUc19nNbiuMRq95pVbfzP3OnKPbjxaV+ZqRGs
TT+N29aNdgDQO9711tT5MjarN3UIq6lRK/qApCXzRWdLN6MpxC6vGsRbXRP7w2ikdwmtHXi3qMV2
aUIKLGYXepwW5kGIefDbIpndvMSt5usnemn7/vfOehYtF9jIGXGvDqdugJqsTz+jBLfqr8f4LPAk
tbwSaNYiA8mJ82qhSjXdsURkHNeOKAi1N9pkPbYo5cwqeaMwTjuosP3RkgOKHqmPt8sDfgCPyhwH
EirpKz/n0iIiDUr1hmh6pYx8XEStMeTk0QoDx8qO3T3LMIE0cqQaWR7+98ORDhayhTSxrEDA8/Wq
cRvBIDU/pR1l4DbTMAkAEP314704nzXjuqZ217bsj/Mh2JgEKHztuIAHBvHBkeM8L6X6/PUwn2XX
q6D9X+OsS+nf954wtLMer76jnRU/TPBembScsjD9A/LntyYw0q4BbfU2RXErw+TD+u9Llf4bGUnG
ii2AoPhx/GUGTj9JanYatPhP1LIukvl/+BxsSogsC7rpKK2ePUt9NIx4kKKSNNPsUYzHT8T/Hx4j
I6C9ImFmq+fhmdkrMyaZkXKyKkBhaXpCtr5wZFD3V7pXua3RPU8unCa0VFdWyvoxn21of+ujtL4C
NUIy8fEJDpSs1dCWpKMSlyeyC7U7jwhjsYmtmuK3qo2vLd2RVz63CzvMKlV1DNTylNXPA0Qpq506
y6LlhIwdRLqj/FKSJPj6oV4cg8oipQDgjfRDfpyYYuKJAwQvPjXxkGxSckYA2aLp+f9vFPXjKLU8
jTmRQXnUQuGj0ZiJf74e4cKnvMJsVhwrNZTPoTuJcnW0ouhExGV5IsnHgIQ8ggNpMa58TReHWpmo
a9GN9PTZIzMTzSJrkElHMy2TE4lX+8ai9Xc/lrp8ZagLb4fPljWnrld1bs4fn9uMH3HpTG15nIYO
3erClVKbrsQjF5b2hzHMj2OMtcjSxUnCI6Da17Yvn1TO2mqc32rVGLxSmrzKuda/fmleZCVpQiH/
YH3On8n2IsM1MI+1aFTfEYvlK1YjXXl6l1Kg0Ie0v50ZhkPG4+PUkJvCeu95ScLODnjzbvHw3WhN
f0wkax/a0X3dSA824np8P40/Xy9IqpL87Wd7hkOh0uJuR9QFEevj6FGt1qaDoOJYKXJ3Z3aR9pqW
WMcQnKU+MLC7TvYa+5B19T3IIvwodIU+bnv5BkX2t0pb+9EiPtuUBtc1sxt6djZcjxd1OZTVH6RJ
uvN9EcPo2tFDNb4uYE1csyxvS8jgbZTvxtLcYYJyO8U2vVM6ypocCI+PtBI6X9L6IokaV9eEtjFH
MeMDWasYV80JNhWOAe1OwsAWtzulL17UHoHVFGf4oI730Ww6tyirxJA2nqlmuq8oAqqTVURbeqrb
u35QEwAEqttVsvocKqN86Ao53zo7Q3armYKVLm/rwfmlPhSzjzMZUit54YbyrQy1GrdBet1QSrce
9fJ+I2hgdevaz7az7VrLyfKiRfK4khilP7T0XmQb8ivNxp6H1MXcrA5s0ZtB6pijZyP2Zjdz5+R2
xPTKJ2OBMeN8F0OFwmbEX9p3XbpLVwKoo+Q+yDKJalpvvkmTpHFv0iDoIg+9SZxp8kVhGd68tM5W
ZYJbFWBOgIcBPsqNVr0l6ugEclJnHqLE3JtV/Njw2yo8auI4s85tvJFMGy5K5wj8L2RsmfJm9tAV
/JjJwR+MDLiBzA3IX0Sowt+Uk2ca7JUbSdOH7WrO5xW1o9zXOHvv8bkdfLUr5wDMMN3TTWoGzKB4
Rqze+bVcmndyntLrSx9ZANon39h1GvqGNS4bcjajjwDLoRgwzbQBVTzoquselD7KNyPRgUuDVntY
1FHetCOm7hm3q6duJntl6ZhG2V0uuUKDlRxxK1uddgxPW+LkZixS/Wi3K+IdTc7GtMMKnze7us/N
SAWratV+1NZocapWz316BsL3FVLsT6nTup09NzdxpolAnafIU+oC5XyMnqzG5X1PsZoOgxhnZVGh
1+uElW7YNeN9hKOWN+BZ4srcE3x1kusN0MYabHZWowvs8CCbdCkMxtmcv4OPWV0ccRVWS7vxnAYB
PvZo+DviCeelMHyDaMLlraptcrxamriq1GkeZiCVWxB5YI+TJzSnhJYvV1boppPc+b1RxBs4VFjy
UvoG6qodbIEeVW6q+IlG4Qnon6p7SS5FGCka/U2bKD9Dp9BfFKM0DxapQpdeLNoXkpLPU1koH1ta
6CY9TqkSiZltQluMj1Fd+5iMSe1Xajl6Jc0ge7zGcJjhBuwKXIx8mz4Wrx+m2atyaQrUSS9/9aSw
8ciO00CRkgS7wS7H8bfMPfh9QyDwVfYbuxIvcgUeMaV3O1B6LI50Q9a3i7Bpqu7b7K5HiLYDXBvf
p2yz7oLbCw5GLIYh0hMX0qEDwGiIghjugF9Pw8KyQEA+zhZeo1bX7TpLxjGmH6sAqPa0LZIYJ1wF
lIRd29nWhn7khmPY+ljb63suhNGjuejtrsRJPW6hIZuzo7l5k+REeryMqgHe5Aw4pCxdjwV8VgeL
PFuB3mn0xKK7DMATdEFdDywMTDsDza7koKrk2U8zJ1+NkKwdFjx0kdoNaMSCXgMD/zM3zmLt4f+R
ngCKm2nlEf662f3BN+7rw+HSmYuwFsktDuEkis/OdaNNiyWBnH3sqnxPfcGVw8Ms/0ad6jv26Epp
Fnw9oHIpaPn3iGenfFV0Gv7qy3xqtO4JP1wXWcsRV9+joYdeZs/P+LndGs64rfP0aBk9Ozz38xUw
F9qBxhb29e/5GySdH44qGh7UWURtdI98PBzh/yVCTwzrmNQo81xdJm+lkn49YvA+UYx0dBzNOxlQ
RCXL8a01WXjXlX3uR0ax7CO56TdmDjfZaWvwYZzLT0k1WdAVFslVZjx9LST9ey2XZqw9cd89ff37
L6T4nb/qhDXkpNP07AWuTF1TSCVBU2di6WrP+y6JIHqPQaFG/0S59KeOcHed0ivjXnyNhOrUTziF
qWd9fGw4VS+94wzGsVuK37FUPkhSdW/k9pX1eenGuqqTV2CYTCr8XGWimh2dcmVTcC1Qlg3AsB47
VVEgX8V5qSZXOFRebxWh24/DFEyoFu60aew2cRPi0vn1s744Z1qHQaKt19fz0rnUVXYpizg8xi3+
k13faLtQ2BSO5NK+EjGa60XkfFkCL6TZ0oYsyHAfny/uJ2Olcos9OWTvZNeRUe1CS76vdBKDPl5Z
tXGnJpn0q0mM7ptTSfWPJR66Z4xQsepMsLKk7yiFM5VPbLZ2aD840zL6edmVgQ5GwRWFPYC4g4xc
pv2CNt0KQ9epwdq7S60Sr6hmvZNAWEyKnaEhrLtyM89JlrhypdDi28oLNqPJIIVui7uWL4ZI2qeF
+JYDd6ZsGeskufNa2Ul1VUbulKIP9EejEItL422UemzEMUepnmzwIhGnIU61UygmCwQKrvR+ofTG
ru5jxS3LSLo19VE8ajD6jgmJoYekiOndQ2yxSedq9LVwdugUn82TpETDHw5jxpoj6crl+3wBGJQK
SSmsbIBVOX+uYBGNg7UZX/KdRAyMlh/s1DV5xnmsvg5Bcw6VwlUFjV7+43uXkWYDa4mTpzXdtNWa
rn/AGvwaw+l822cU7gOA3NYrPf87W12YKC5JroYjeNL5R9GlBz3pJK9GiuOZU/O7Xe0EOeyvlF0v
zO3DqGdbbQb8eKpMe7gT4/irn9VnY5anK6/oPKn9d2ZUsdZ6MtmE80xaZZZwZ2xpvJNkPcj7+Fa3
8kdpuUPldV/I5fvXO8L57ruOhlIL2Q+JNeD+Z8/RkoZ2svp4uLNpJcchnDAdn9xlXRbK6GIZ+vVw
F9bfmoahOU5TwUWdixeFkJtE0erlKNcDMDs47hsRyt2GJMCy/3qoC+9q3XBldLYoqbiXf1yHtSFW
R1gx3DWtYj+lUlLv2ozg5OtR1sP+37scz29V1gHyYsWvxi4fR2GHU3BGVAYAidrw0MRWt6nLqPiV
K9R7kGGkv78e79NFnF4puLygoKh2oo8+38JLpcllPIDNu0HEDwPI1jxZci/F49xTK8xwnal+Ludw
cAeVV5po9X8V0PMDVmja37oLOrjzBod+StPEsCv1bmqc+UgJL9qIXEr/uTLP8+Pj7zAAnKExIAcn
c/3xwa5daWlFKfdukGK6NSJMwpeOm+1wo1bKZlSB05oKzS9RMe4zB4gexhe4q47TtTPz0zpCFkeW
lM5GKk2kj85yVJXTUV/Jw/jBmZNXTMNOwESuFHkI7M+XEWDItYmG9Urq7VMfTdPNkYyUrLtXQuUp
b6V9kjqqu/TJ6EnzOAccsfeOSmFSphJp4Awj6fgrp+G3BKdk7tUPzcJVUi1p3TUV7p/DKYoUClR/
VmSHUNT3Bm9VNxfqAfvExDXVeKuUXMe6tzjO/NjItm1lfV9a5XFKmzu9cDzbHO6TJXyc59eW3uC8
mh/UsX/hzvGPbs2BSbaksKvNmKkbKkpur4nH2SieYLscWjkMNGHsiMRbKrhpn5T+XC5eKB+M6KWp
ahfDkpMxp5s0yk5Yl9wO4c8uTANEU7tVYZYw98xsvTKqD2ZmnFLV8IuJ36NM3iD9cqZkq2A47dm0
RhVZvJ2T8J9eVn1dRIHRaTuLKy6QsNjraGAcC+KBlMt2max/2FxOQxh5VhfvGw79gtuY3Yde2r7S
RL43CuVAseZtVPVvckobFVeIxFbcPDSw5elvw0TaFXD+FfqOmubWkIxgCQ+Ytv6DVrGAVtm4oaFt
TRMGQ/8dq+2gjdFPzq840villMZuPRSBGSZvpR1tzQTrGqAXk8DJnoecDRNsquy3HIpHZ+lu+kLZ
4PwYpDqBhCSAALwZS/0q1Bw7a9WLI93teGTyIO3oznAVHY/bxXkqldqfm4dR03ZwAbaztfzQdahL
Xaq8dd1vgu19OcvbLi83hvZLDNroMgkk+d7QzG9l+GOsW6xXsXEtsYxtrPoW6b5v4526vpSEZSjz
NuEjBFHbuW3eUODFpdUJzdtEL/ZRvFgef0tPVZ874kCdvHJDtFGhFu/khlCqVlffcOdU9OImKsK7
CPvzxZiCsnjgwXs9t1e1+uFgN7l08ota5a0bVdafbF6QEJTfa9FultpwdVFxVpFZm9riiOHsgsGp
juWruZHL9MnuJ5p2heHOlXJD6pTYDzdoHP6AZGwl2hSNdnrobIzD7ZQ+unFPRsEdctzNc/OeTPKR
C9DjmrMQwxDYFtf3rH8xGv1hrMNvmdV80/XSl2W8qAZMbk167DCEjzt81zvhGdLiKTjH20n9pISW
h19NwCuJ12HHhqq0uJeTYpN2qmtW4rbqZ19qynva/v7o4u+fSO12EwFQjGpcrXNp72SqDzitRW1h
l26jWj/6Bn9Pp3R2Q9f7oRVCViLVJmvxfWaZ92Gcl761ZN9J8XsyzlXZeFhGe5sjTtNnzFmset5Q
mvylK+FDo0K0mzlBDPlgIlkjp8qlcZGLjS0QOS9LUCoPkx3tBq1+WOySVKR1SKX4XijzriS5Y8nx
7KozqyJSsKW2PYXtaM75O1oZhoB5ysYi0PT2Wdi48fIwICU+VPxBGqjcsNX29Fx7XQ0HF3mVaUUe
/jru+rR4qH4kfppkmW1hHfos8p3SILlA8FoPfISkFK02qHNzV+r5axLTeNdM92ofk0qL1W/rVy9r
0s5SOCp6xZ37H4aKoMW8G9Nka1SauUW2bHtdOz01YborJXNT2OZrBwlMq+uXnpYPV+VB6AM0hLwR
si836nez0Dhz8WKOQyokhhc7694m2X7fY5M91aJCg9lWboQzMOjNvvMj09xmcV/jTm38rEplM0n9
DonlTZ8O3tTXGC5nvtVHOF855MqsA51dZExyjVzrlNJJ2Hjr9md2JNqyXLaDLhWyO4TKEZNezyhx
T2tV432hV1fObUFNv8K7tyUQ0B3xy+Ryz32/EjfyXH+LLXn5u08VbYrFcxrkIDU49l0pbzbQs/Yc
6KWXFGLfiWbfdq0ItKIkNCzEoWiAgGh95o5r3rJz6ve8jPm+M+l3lDnvaEBoQK1+Jkt1bHr5pRbm
Q6fOu9BBfFQa8EVSSd+O5OU7144XkiVFzFXEmDHshRrgz6OR3ToyeWmH1tKbycKV2W1x/b0d0ENu
VQFoxJ3MoqXuGppuZ/LxdhD5nuVUM0gllim7JUufTacTm9qKe1+iJa7V7acIb3k/lqgKpEqjxx55
MDtzbe5uuTt0dvGnqur8NlG75FlP6JLuSTqh6gZ/Mq4cXc5eoyPXPAxNsDhD+sK51gfdaAjwUKF9
S1LRPDAE6WTNaA5GY9rPVimHjUc36BRtlU6uX/UcrzMsxRd/qbL4ZsQD8sXM2vFXRcss/sVGlt0Q
pYYuPp5oxiDR+tGgrEWVqonc3Fj6d+72006ieLXRhn6+jREabxVjdBAATat3c5w9L4Pa7YaZJKNb
ztXL2MRs3a2e+E0i/ZEnS71rckUCnxDJJg59kjk/TrFs386JxiUUrNkuHaI5WAZDX0ie1uI2ntg0
RwGKgLSieKwCMBryNh2G0rObpfiHu2YSTJaydViMY2JQ/sxuET7dI8proLHOT0R548rbK4DYjJu5
FfeT6hxJint8YjcCH/RBoexA55w/q/q2M9r7zGl/SxaiM1ueMQFX1D/C7l9bp7LwJ1HtQFbim8bU
fy4J1iitUr01k/2nTEd/PXPBsm3lNN8DzTz1UwswXam8eu0ptU0/LPV3Ehc0zzpPUhRtppDGOwRR
tDUWA+UKUQaUEvdqg5Soyx9zUdmBZCU/ETbkbpz23/UJIdrKuqB4vTz0/WCTknUeoaGW7pI1P+gh
D2S5eqgQo+DIPcLshmnh9s5conG3H7o42S4LCTa5T18zx7zJOSvnYfSmRmcEWdkXsCdGlVemyp4V
x9GxHMSR2e5GkDiS2h6jJXxRrMW8bSVH87UFWlBUSWTIw+emt/t90uU5xt6y5CsC04is9nSzDOZS
gFgRKZuyLB0cCdHfpBzqBCr6jO0lmwtnQjBFOq2WBKDrOT8VulcuTYDHWFBwYSvE1Lt1ZW2VQt+m
nbJLBcW2Wdq2Y7VZtDn3RaSxYkc/zZlLVh4pRlHBqrdpX71oS3Ezc9ZHEZ/r3G/n0XlzoocmslbZ
GD+2tYJch6yx/o1L0XxrZPOQDeFW1tWgmgsiHWNrOeFm/fdcMNfQpZiH/UCvaBYBVO+9JtMDJXTe
6SNGcUp6PTws9BwWfesnVoVHeDj8SMxls77eyg7dqG53g11to+E3fIjb2Uj2Inleg7GW00jqy23b
wdaTVVzForuhQUDAyVUtFAH0sTw28hIIKl+TZG/lilhntJu3xTIgJfwuRLxri/6G2xz2lc74Le+b
P+HobJU8/T/Kzmu3bmRb109EgDnckpycScHKkm8IS7bIYiiymMmn3x/73OztBfTCAboh2JY0GavG
+NP440njpUaSzvHtdf1sarHTekwaetP4jjoQkZnJf7a5xrBRJ81xYD0wW/20VyNy/KOTCFcGEuu/
EQUte2oO+2PQueu6+qRBuLRe8DBNaWJpr5QEsVTNwXTsV5PZ9IPRfNvN8qMPsh97USS07Zril2eE
ojn/HG2tjBD1ww7sc+CrsNf7I2hFYvGjyJUhrfrIqo0h9gyR5BmhE5CCV2WryMrcbymdg7f1aD4J
evTmsNjnQuX9a7HYiTFlyeiKS9AEt/tNKPvhuavmq+/3n2rtPvpMono2b+fmuRoCwiRgCZlhgXPT
vwadRSd0s5f5rVZ8lqBnoeWtHho85gx2tAns0PZRsSn3kBxbPx56zzoEs3Na2vHJmZyYaw1hdHYM
5oo625PpdPdaIC+W1Zz3i74ETmwR5Jyl8tD3D21OaTG74V46QkHGHbVuvQZNyOiYp0Xrr9vKDjZm
f5YGqU6xmVaIrSaZx/LeVe3RZPkWnh0tc04xkYfzMJyZNIBuuMWhXbbmAS71CJUYC8xUleveZaRc
9TPTtVImIFASkddzXMtfRkr4k8ajSYJXm8YkgCRa6j3q3Q5wwhXVLDLu9I0yNmlg6DRrjD1/oe4b
5EOVffhNcdR4ZsAGr7qx3O2tX0YVJahcLWqVsOApYjTMiap92mYgWvYGuswhG+51yESpr0lV5mGl
hsvehQptOi5KpTG+iqApD/vS2vJK2KzDDc2HNInlScUdjupTNZnPjbE85GOLC3db7ldX+/3vWMHf
IxaIdjLAryhk0UvhwP0bkvA07IhbK62ndWh1yuFGfAZGT42SmprSQ26oel90qsxMrWayqvlHuTn1
KXXs5V5rLZfrbPbLlaqmv+mcuTzWWwq0W6/ZQESAJW6qlsDryRXdfZEp8s/EkJ/IkDPp+ghzjzq7
MR7KuteO/35if4FLnBcCLQOKwgGbg0P4C3rIMZ05yOb1Z4IE1Hk1tF++Q5vouuNEfK5lNv8tOvY/
0EAsWFjreJPR4oDx/IWZzWI2rV5aOfuWZOf3h0/XQns9LBu1aN50XUzmQJXYiqV0xLIR//v5/gf0
uQOe+6iMPYzI+Q+jsanEYriVNt16a/7LW4vnTB/+DLtCNZiru6FCyPDvH/jX+fIuEsRLjpQDbwgp
8k9A3/9SE+5RxkGj5vJ5ZxtKVqZpWH9M+mXsxwdbh1w1vyf//f/3MxlCwv6//0dY/t94EowI2rtq
8J/wzUR69+U3iE0aWlUHlfeStAo0Zdb+i+njb9KSM/2/n7rDbf/rTBH1S32gyn1SJTVsY4Q4x+vm
1MpXKyhgMO8UTW7+PRHyZLdO4vSPhjCf1bz8l1v8N375Hwdi/d8DIY1ozktyAJ7QCt2bGeXMxepk
ZNqPztRfBnnRgiLOx49/v+h/4c77CrGLDomb40bD0//1JkGwq8JJ3ZUFf6Ghq5chvUx+mf0pbWN+
/vfP+s+3ljwFH20lLxLv09+xHLZJE6r3gf5kZpZ+YlC3HS5B4SbS9UuGeW7iv1zS3Yb6f+FDTo8n
GZByl4nruNH+Akt1ZxpQjbrWU9ep8+YZd8FAclk10weXYa11ZawoqEPdaN/csXqz9OKUluoS9Ba1
pIOfAEnU/hdtyhFmkCrleJkbjyI6/e00WsTQ6nM5ZEedvKWwJdRba73jYBg3Wuteg7q5GIuINeK8
GbWFJcAsGV09HBi2/JFZwf3+D8ZiR7yBaD+cQ1osJ3qku8AR34Cb//T5xFolbW9EearJ99UXN3Na
n5G+H7KNjsHbscEikmyyUvt0x/ZZLKIg5nI5zLoUidtttzbqbdVYzzUh28SKFw9WiZ/E+NDrr7Vk
d52x9RftGYuEHuJhj3PvNwjGt7+1NwhNEmSOd56rYoefzpcOS0fwiH7pGLQlHKlI0pKL6NeH3Lbi
HgbdtH721XabW8Oh2PRLVf/KgCtSCyXT8mFApbglhRijKIJ2uogmj0AVzrrx7WREmawB4ovtLEuk
Prr91LAECGGcrKx7NWvz0Le/6lR7Hg37NExrtPpegiHtubLkdSgxXmR1jU5NHQaOw9teslJ7Mf3s
1mgdoIE66RnVaWWvW0X1hGQwKouLMBs9HsYJHFK/a4enrewjMOd4yJzsSHwF0U2XLu8YO94g5TLV
jS65Xxy9MQJodXhgKFg4+kCfsySQfnp1uou1aXQ5jDEKwQ6iYXzOpB86ROURm3kg2WCLrMoOov1i
Iy2bAmrJYKV52/9CrsRP5i1jZu56r01MF8FOEWiRSWmRium+EBORTV3kKztiSxiYfBtc5mm9Bqq7
3ZbhGtAf9T5678X96enBxTK+xkFEjHQi/8w75F2diHpM9IZepS9CkosOs9Lu2rVC9FToR6YdXN3S
vLj98DIs3YvYliokW3CLCukqanizA9lLj4pXgqFuMdOlo5QoaACxZKDACQ2T8RtBP/0w18f9KiHa
i0YZvDEYhIrjq2qmRLbZly0qMlX76X0w2oP07QQrBhKu9Lx2NIStLr41AIt4njRxWlXr/fBG1T/U
mT0ChhE+c+vV1huuQALr90sLLHiYy+DUbPJizuWLb832j6nq1E1fBEFCC9hyuOpzcKR5XnRZXsax
SS9O70xv+WAvN52wGJM8p/rrlAWoDsqUASpPlq66a7P56aOG2SGe3Tx7s6fWOYBfFcehX63D6KZd
wjAg4Hbg39AWuvZeViJNssqcDo2wrEM+d+uPWu9yZpJVmv7IkJQlnnLZHDU3o/1X2eDd6itWlyMs
qpwQgeVLHjuLNz27vY9Rt7D4dFsvvHc5eYDLnVxadiRZv7gzfqpB6FyDXWp11p1Fxbi6kIh5DTe9
qVJdoCDzvKc02PyXjvxU3qq2L69rKQaQYPuk6NERLaZPVtajwZgO/c4tdQjdyLKFSnBsCaBuD5Ea
je7SBcWTGWSXLEfdqlR1QCr35Zkt0eeu/ttZ6zdbq4+yLS9mux1UaR40DGbHzByAuh27+QfHXDrv
cTTKDyaE3m2MiYnEYL75iytveOl5AHWb1r1pYnT4JO5Vu3qpXKbETfWTk97JzAIT1sN5rqJ+fHYp
+LppTZwarNdBtrG/oBXVkfFYLO6vfdo2Py+zPOYLUTckQC+JPpB8A9LPP1akIKqpv7G7SzY/Si14
G8X03m7FPbg3sPufcrSO/KNuy/uhHMAeBsJntdDmoi8qkSBIyuDWZ6/d5IRaMMfg5LEjxkQtH3g+
DM2714ruwMdlrX3RFwN5WEKc8dfYLH/MxkJ7l7pOpFxCTKspDvIswrVyyulpMoSNKyNscv/FH3jW
l98Tl81xB57u56pSvBxJ5nc/Rrl8TcWu/TU9sHAjHtr7/RShLI+cVK3RwHntF47HiEKuWYYfmvoq
lfeD8+JqjPplRtIkSS1MH3GhH/fP3ozuaGYMRiI4TuxnmnbFwSExqLFvN2UTSysuzpxSAjs18WRr
bkVpjXGBRZOjooIRK7EQfn/yoIlkbxZJb2c+2odL3ZrTpcVsxDcZxtfa930sBxUj2qbO8sJxqmLD
ytHdbieHZ44f8a1iCvl2p4Sy4euOgu+/iUqtu2y1zBjO8uEhkuePuSHFI9+TenoZZfWaNGAR7hTQ
jjuAkRUKX9ZA16cv61g+K5R6dHNldSMtN6zJSuFXmXb3ROdfamrEy32ZOufIF3OYGTQ6IgB73L+3
4ingc9y6feUfM9We+dPY1z9RnYZi6ENnuXKBR5k/F34e758MqRjJ4mejVEOAyKXd7P1Ic6Hf8yWb
MzPmWPSl+FDzZ0n5zReLMIZKgjStlPyj3oYZPlfwqVcNcxsm4sM+wkzL/HefHrrDf8v02kRZ2sFz
1P4Zed/c8EWbuk8JZWJvhf6j7YycSVGCaV9T1/kQJfLs+O2xHsRVOJuP0NW8tun0mtXGL2e00ew6
9c3YNB+9AL5Ky+mZeVPsg73ECGraxGpv0ThnvyoVDFjlNis2R2QTlVZe9IIhmMXu2W23Rg9FOnwB
DBEVQzSfJvTILbePiZ04JMBvCw3Mg72/PdHVpreuctYdZ9j641KreyUy+lZE2ZHaBQ6IjypM95W3
mAdirlFxs49HXpZfSA43w6BauQ7KoWDTqvI4mZ1rQUOV2hXWQV5sbZ3W0BqEVFHl24vJ3dqHODgo
B2M/hRkQq422tu7SaFpShKl697gIzX4mktVhhoVtkZLPZlyMRDX7CKgKu7qznf6zFuKXhMCKTLNQ
0TKUv2pz/UDj4YUI4Vm36lQPGbn4Ukl9jOdlvofox6YalG/+qi3HoYUVaBZfUa/MeE1Ks0H4jonS
nfQ22ixQKObkjefVE8YRdxkw78Sqjto3TUqxImSuK56/anVS9FrLk5E7TpnUhCNGWTlvz6pbPnxh
P+OAKgCyDe2KE7XLnsqFRd7O1U/I+N+aLT9xkH9SbqQ//QBv5P1iWfgljc33M6TNmilDTCwtDB5K
ecsUKN8r7a30Sj+W7qbFmCgZEVVP3XvTBx99X/nvY5rWoatnVJQuHNhxXYdb3y3OOqjhuXGgRKJq
660f6WIOV0PoxcXu8le4fpAZrX2pRW3GGnvKzdwHAUzcjmrrgBd2sXkf3Zx510lmAA7trrLFyj1f
6eiZuUrIO5MEdeu8Yid/NfT2Bmh7fg/sPPilHCZqhBhF3bMPEH+qNCs/kDR2m5tgwL2ZskxYTMAM
F4ROGaRMQcNdZFm/wYCVTWTk7Mv2iPA/yLuBbdkDJkDfPJI6Qb4wiKHnAMNlBhBBrmQZ1wNGKDnV
JXDSaKA3GzIG62Ay8/IfrMxYrxszXX5WaUB6fcYufZR6pid2vyy3WVa5S5yaRndTbNqz51QbNBvJ
P69BUZBcrwnokmGTr4TotW+t3023k9qcuFO6+jPWBeFrdWVhpvTTUZZsppo3MaCWiq/0iam/FVYx
vjXIct3IRL3+lRdrddIwSl7zLf81kydqKP93Y0L4gfOrNyIcfWSJjPWNTeC736LqKRgtV6VsPU56
K1atS0rSjH/qc7ocq7r3Pjme+iAnxwvNkn3TNCs9UgvhQXY9IEqQpS6O1eaBK9e5T+806A8i7yVM
ZTGModd7dZjmHvtQ4USbIdibNDv7mjIBX0JnaZtQbLidnTSDTVAedhADrwQj0ewwDQYrTAf16MHT
Xf0d5zfWxPc1PTaVvYZTndVh4Hc6hlDtuKxdUpuoICBOoLWPjT4du0aXodK1P/VgR0g+jvPQHEqH
4sgkS8BZKQdM4P0uP1jNdEKDRYh8n6TLeLeo5trmxXXCbsxciCQvFfU7fo6pHu9yJmr/CRQI7rix
A9jH0S/Z9bWH3JmoLtzhtFQOBKGZh3otR2ZwZhhBZH2dre6hShmDpgzjp9sw8MaC8R/dOW5XesJs
Ri4x3c0qOKEEvxROc/R8+cK4ZVAc745BA7Damn6UqHw3P/9UC4DsoIqnJZinsBuCz153k0LWP8fG
PPL7kYm69kYY6dSy2GitiR/Ssm/Q5b/jZYPao3CFiYNUPRSOcda27bltnLciSM8ZfyZvLmqZETBZ
jEv1qoOFXKSVblxV2sM8Nye78s8k8Uf+VCSZcl7KEaawa1p9D3yw4yBlDZXdFJnVDLjqAexO/WdL
8EloDGs8qPWjsGEi9vOkmj+KvvwS03gzttl5zApMCcsqmFneT4SjNDA7jj9HwxzcuXtegbYM5/3g
grz5NeaLDcnQtOnJG9v1vfGnbzdQcIyl3fyq2TNDr9PXq4u9iTSEIiT+oqMi5SHARmRuXaS3bdx5
FDZZc5oEI2l7MP9Sr+7rrLysLtYLs54gADxr9SIzh8aSVRBZs2M/EVr65rjT4wZ3HmbW0EwPHXTl
JyeN/jv1j81WP0+Gcfar5cbvfHKm63Mt1SknBSTSe+0lq+kWJzVJSbwQOhJG5m6hhZFmKv6sQ/Cm
6Smh1frQTs6BkfZrOGCQgmpGJ2qTweDUwOUdauCZ1wdzfVL5i/FVrDInl6+MhrL/vVOaFrufV64n
XZVxpy2XtGIM/DgdXZlHpBO86Nt8bFBuWFv3QOTKswigpXP1PPX9IU/Za3vvO53aWwfhhZ2uhzZo
13Dr/lHR3FvuRirmHuiQnRDY38Na35R5Q6E43rYV9Ejb3pEx9CKs7jczxMDh2w091HpTpvM53+qz
3XiXrkEZkY805TqcFQzAQQ0+NNh06qfgvvSaOM0ZPGCKn0gCl3jlVYu0gKEfAMFmoisWt2Vtj61v
/bKyIY9Fs+n3G86ipFJdfjYLAX+/QY9gJSd/IjPRhy54CJjqkaSyzcndgMM3BvE2ZvX3OMwzEw1W
77Sa0sQIk5VJoFpWIZkNByv3d6V1mZRFuetmCBa2lnu7ttfbPg0KlgY9sZSTxtVM4IBr0rvnnXuo
OSImm0GDi402rrSTvhvfIZWeZe2PkRyW/pK1pJm30k5a3JC9Pz9izAgi8vOry6z1sb20b6KyjUfR
jOZLrnIvLLbUOMwN1JjZwrYNU3eD7g7UoZPtydWrNrEEq6Pf02JS7NpVy1pbxqXtHPCAJ2CZiTf7
z4PJtrOh0aqLBGKvYqIzjP2oaMLUoCB8y7uZSc9MudDgW9rVOLRZA91rnHLXfAD8zcJ+KW+ynUHO
DHXWKy9GmXgtPEg0NRaxG9R3Vs4wDnJSYG3WIZ6k1yS6J9fI1RnNvWyDOnTO9KM3pksh93YZfn/n
XKIUbQkh6V+i0z8CjwEjw757+vaN8JanEeNMJ9KeSOz+xqsFY/EQt/v43WQvj5VwL3br3omcjJWq
efc09CfWfN3K9q7t8/emG8F+zDlR+zszdxYKltF5shllvfTVq5a25NyYeJJG/8vsBPUCzr64l8Vd
MFmHaUjvG1m/DUX2wkDp77Go05dUKiOSMwvgStD6vgoa2Ba1Q8k70PrwNIwpDQ1XP3jDkswtO5KV
nsjK/bnC5pUEncvCB4ob5guRGRQrhXUMjJyO0fVv8WlcKDpvAleoqNEe6jllh6auLEtI2PFOdOln
1+c3aKbf1w7Oi/hdpuE4x4Dj97zsGgAmjQPRGEN/pQS4VfmOn/dz2BoplY140LYmEVb7vF9zXyzk
ELhJikTJ8YDbJ+e1mQLUhoTqp/JsjWQF8TKvucbuiUhDFE9brY6QVZ8bUTs7KhjDEfJLtnjPVElt
58/Mp+8/kGGCQA/0pIT1urnpafMm0MklqUdMj2sXS37xyJGbDlLNlStPKXelW16y+ac5L3Svw02p
vy6ue+ryt7I1IK2bCDsDltHyMMM+IhVF3pSLG8WkV5TNSwakqK1BMm/mrTEN19xox9DOEcuslndh
ItPzaMnHZdXOwNR3LdpE4emhb3dX5qc+i2q76zOKj/0RVHsFxP6KqvJuce2zZjnnisGxZjpGw9Yn
+72tm/Xks2r5K/SusxXo82r5ZnTjwWQNTdHc1dV2FHlznzXWD6VPp5H4IAxayM/0h2HxDisRsv88
/ftd4fhOwepfi0x8jmJ5kn1/v8LiHSee97TN3xf7sx9y3sqtaA7zZqAimsXJXRFdmNpPe9QuW9NJ
6E9oUzKZVvITNm2OVqbyFlh5FMDCADBi5G/e6B1rv/yVmyYsK72L3Cirl02PYAK8g5YjmRpVlXRL
+UNwz0ZpPhWm+sLhhcxH637pHdWloZUHV7Z3VtZWEcM1f6A6QebV3Krs/z1bayOb0Dfmg+Z7nEF6
SL3tjLSnjN1+fnYkapUg606ZBXtpU+s1ZQFNXUE6+7VVxEZDU2qs1WGbmeDET41gmA3lPiIS+Cgj
bNfxZJESZozmxZuMW0ZWPmCT8ugNUh9RQHvtau9LDFI7umQ2+MFDt6BID5b16DoFXuX5ZE4l7rMy
wRJ4KAo9onh/bhBwMl3zqJX+52jUp3YOzNjMeJZWiXQN5UVKh5tGNdlBuTElBa+VFOrIHPqHhmcC
v2KsL99DhsyZ+PutM4HjjC9Lm9BMGNLtQqR8DxgpXocsTVJfMTChRQhMtI1n36RcK8+vWFOG5dDz
MY4yD5m2vgyGc+dsxkcHPdZrzXXNp4PYj4VYh6jbRGQBAqb+8tEyD4PHU8ixjnzidSK4hHkU16pm
B52I4zrCldbnEvV9DLLqXJQxaZHnaj0ZPEho0XJ+8IS+o3/ZIl7BzsarzEMkDO2BvAUS0shOXNKe
83D156DlhGa/fbZ58OvVjXu2xxmkZZcXpNK5I7c1JP1pn4J9RyjksSWpv6N+ruUqwnVyY20Qib2l
345mRcpd43n4qfb6OvUR9mDwrrkdorujIwtXs74xivIqfP9SZf2dUQ2XUavvjSq4yaflCGT2KQID
PJ3OstJ/lRAxoa5pN9uy3PSVSBzlRy1v4NwK9hD7yNSiNPQgcBZspJEHzpy45W/8xzea3uBWFOXF
wZOMZqWUPBhtDuqNpbmW5xLh6g5Dmcr7qIu9l3Cqzy0fT64znTICzYxZO6RLfb8B14WqaqhZIJfK
P1o2PaVj+dPiGAOXSCjB8pIxwqYqL1YwPuFnv6YGb42zLn3MtomzPEtSmzduP+IC35dTBDGeyh+N
qK7wkonWeXGNfEda452P6m6gT3dRpnVInpgMdwJAinpJYlLuA0gETHXD4V1nB29pO8DRVkb6JPcx
UFTHxpIdhBnsKy7GWQqhLLsH6D/O3WjuPMsSrboDX6S/Guw3jKmF9ILgGNF99bqTgPy87g+izUK5
FilE2XxLAM65ndPbscN0XIhvlE/PVbqex8WOR5D10O2auG/dR0epY+AaSdOqU63XN202JaLHWQy4
aZfGcTS3s2FvcVB5l8JiOe5r61aUcE3buismt6dSvjbQMfkAGKmj7dOd9tWm6ELKoiFwrS8NSttJ
1Y8ZqWVL7ny0KZKrUtWHqRLUGy7aQ1jfvrxtusrnYmu/LbeI/ck8+bN1a20Paz88FaV7CYYAM/jw
PZbbu7OmV5ZvExW/nshhu1Jk3hDLe7s/ZrLUfjWz8bWfiHBs5BnzV00ZtvXdjcnurOdvwl8glVkH
PKi6oj9j5jstmrrQ48SF0T5Qe4B9NO0hV8AEhZEnILWnmnm5FAaocUakNNPH5nRH9sgm3BH7nMXM
UVqyTQTmwGAvJJBVGcu32zY/jZ5rqcrxXHbyu+2W706BC2kfnoDpr5R1t0xtkrsB22z2A6MLU8Lo
ky02mqx81kc6Brvt7/1ee1qIcWWzOemrRO/jkTTWMSfbdoefC7s0c13wMugsmvSdfyb0tJ7oadP2
ltarCLTgWJbZejEmYCq10/7pcB1YqvY1hND6M3MWQOi04qAYtopxAG1Sud3WQf3atzObPe4KfJw0
b6N6GlVxqqG15l41INUzQKv4ASeLgi6wX1OtY0s2L6Mz8KYx7ZpN1dDFV+eTgJox3IxLmL5tOrSg
22Y+K43xj+6IeWiXYW9ehkJG+2rvLuWvrDPO86Y2EjkAkwa7PE0ACHFZNE8qswSloPEW8Aaze0hI
NAUip8zIGttLU2VI8jf9dXDtaPPEQzaVQKV+XUXB2IUj516v9oNqdvMEnU0USPtGz8uHPvUO+zq1
r6benIOxlv6DzNnP7aH40VZ5GRK2SoCaleLo2IgBYGhJeRJ9ld2nNUya2dvnZWKcN+b6gPyPfQQj
d9jBThp7YqTXHAYt4cJT3NgV9PhEai+s6BQRs3apvfYl1xsRrXtFUVIlmUSFxgMxurEYSO1w+v59
X/WyHJlvT0LANFEGt7lDV8PzMuOKsrFc4niXNaUGRoQ6RUuNPhn42BmoDV1/PWaycyJ75Dw1b2yo
naobryuvdWMlczB9FOk+d2i3u47KOu3SkFYByWrttbbzP84kalTBvnEwu4oKDo8lW9XPXkrK2Upd
e5O1frUW69wItnuntR40r3nRh0A/KK875zK917IFLssUV89lkTSUALZJk8b3+X9wX01LthflkKsx
U+JUu34soL0vIqeV12nJyYfrrI6tGzmApjEYc6jlxxwAQLTqIaiR3M8jWIPuz4Q4MJtXBNtj6TTQ
XvV33RAM6ndX2mZowLL/EqQ8+rTwZzsv71GG3+atxnIvX8s1vdOy9A4o9urOaBrsTbLH0lZu+BGs
uvmxbwiyreeDwfAFiGN7q+mZsPw+r22mnpVnITFFUrq2F5Mtp6+di7tCFcxVHGj22ZyWtwUfXyKo
+FBazTkeFUamP9uN/LDa9ZG9eY6UQZWJ7J1ioNqCW63QJczivHCH9kiTxcExI8hxVWficS+lHBHt
rNXRL2HxJjO/y8lDbL2JsJYiKmyfTO3pkWDTk22PRwA6jBXQs9L+GIr5gMLkVNBSD2a/UUK3pKkX
6RX3ye1kjl+lnh/wG7wbRf2OGO82bYHmkMJNseEt9mHKhRkySP3ZRsh2XErdoRN0G8YxBRV6ta1n
GC048qelD87jOCF3t3dtvb4MH5Ur0YZj7IYQ+KVcwXM+nlSWNy9I+kZyTLaLrBUcRzc2CULoV81M
WS53EB52+UF3/3laUCKwLHUHaJM7fFunHj3BoUqxBIwVkqaKWMOkN0qGm1iTh6s796JJeRKUAFXn
CDXVECj/1gqhQn2rxD3CPFSvrV9wShZiMMDx9Lw3ordwy9VdOxnyktsj0lMTbB441YJcuLFly+aR
LiyrZs/YXdxglgFvlCLx7A/T1tdzmCIFblBgbeLYVQO5qJBC70Hm4JI2GXlBx+UmWKrs4zL6MFxE
L/h/BrFNbuh6TfHCIFbqZsPiDd2VdLFw3CLRbKP94Mo319Jw1wvIJnxYh/mjCBfa7StxfdbBCsrq
UYEg4gPJ1NPmwUrkmFtPg993H6NOjpGWAuuk5Na/uJbWHYtMo6tI6+W06EGTNPmsH6uyImxal9ZP
gB2gymDijQ8yGYucwRJyTD+nDLlKpyF/KtbhPC0agfh11+Dg84FPgmUm9ISAtOeCh4HYWA9smpXK
00S4mXskjLJpDE2x3VMjzdfeE/XVn8j7a2s71k1ve2zMvr2RRvHbcrgKMhfVgxds+qG3AdFXCl9w
zum1mzUA6MqNQWC+mS5VsshvTGqvVu+8uUgXs14vntM203iBgr2NZZQ3y91oMcSlEXOSGXaF+Ntc
fzfF4J4spgzYocX0Gv8geAcfyLdbL4VuZcsTTu1huAOgtdJEYtKIZs2grC7Ao0Y22NhFAMt+3HzD
R9S3TWZsTz7ULT6tZaQJW/rHfsu976rqBjx+Xv85byOpLkDHbWJ7W3AvanZkdA39POLC0VFDmpEb
mEN1wFpSX9cF4fHk5+Lq6t0cN+my/GaWu24k1ZZreVwGmXVW7hJMiR2sb6NlFXDW/jZcN9NkEKmV
0URZXVknOQ9pRjHm4gOZvPfVkm6YauZ4u1gzKN3uNPBJnoeX8DL5slR6enbsWbUhLIv2MAzbEpLk
MAB4DO50dmSBBYXnen1OPURgEBXDC5HDNgEOmf7oZHCXpOCkZPBI4R78sn+qWFzdqOi25SJQUT3U
WjMS19s6iJYdwnwLNTlPsh7Mz81vJSaHbIx7zuzJSpm8ACxYpV11VbOzXqdx+nAatEs+dfQYaU7a
UZGujSqfBBguszstFDzebqgClNRC5FYDsQ+kO342m9F/lgVi2bBkqGqkPF2+lM70x/ByO4EucqhH
SjcehwB1eC6G/+HszHYbR5I1/EQEuCS3W+2yZFuyvN8Q5XIV933n05+P1cBBmTIk1GAwGHRPd6Uy
mRkZGfEvIGNRg2leh674OYiMhgmy3iu4OQb0KMr0stTSTI2HWYYdyzxOSUkahYwilihgtK0Zb0I1
Su8lMSoaNG73pKg0PmYIhXW7HM4AKkBybGwqx9HTOUtpHlKZDnBTE0azqvIXFDexJKyoUa8UR2+O
QRgKaeE7g+ZRntI638ctrpM2ZS+UuSuK7MHxBtHvULJAtyiLY5/mjuakv6U2aQ681ShgkGQo5INu
DcknERnqzo326gJ+CUmV+R3KyARoEnrSYZpJAuehMNii0JwvAy3tfsq5bCPH5DzrDZjPZYVlUEnz
SOJ5YbkWsIvO9ssnvW7yJWCuZhVXJRwitRi2dS7FqzSHDOfJOZxWYVd8F7SLRRbGHwmcDWOtyr62
NJWio/hYhks0pLItzW9SM4FMk5075hFrzPqtL1vtw1Fh3pDwB64xC5WKPjcXRCnWvRFbzryHoTlr
08SBztGjhtulj5JVls+uptYvcTVEOwM5jqPIecDGwoifJTq/ABI8xzvJqlM+5sJolr1CCbF1VEAY
AdflA69pnaiShJRTrPCN08lzPh5gCOjIxiGXiqhThQoLbcYfCURAgqACIjYUD0jO1SgsY20ulXY2
VzLto4QWfCyTLpcphtQlSYZEMosvFerLjoqytmtx8XdZEK1TirsIivd734AXHGWVQccIem4UoBLu
OgF2BFzAwA3e8F7+jWQADdAQ+pPhJultGA5i32jFT9mqenh26K9EIjhS5f8VC99dD13tzYuO551E
KIZQOjgbgrtzD95hhHv42kLCwW0nS4O9g7oBZMbrkIYC2EC/kwqnqUJU9q0iXvgFutODU9rvgv7g
g1ehcpWAbV1wFTirNkiqVWIpxcyUEnlHV56yOoEKJCMZdiqGBrQQ6qte1QOpa2l7thL9StfHBSNB
QBUsgQRNKZUSaxuML1BNWCOoUzEWqgDkKFzYmx3CWLOgYqZBlv+uI+epYxdZmbdSKvXU+UDdDGkp
qWC0QHrpQXhrUIIphEJztNy5on3WSxSngOljlQJcxVCLDTvU3AUJbFxF9hadHy6oGL1QCUNMC9S+
MfgfXR3cK/h6S+hC9c1wAlc19jOsO1PucrIa9L1sI9iHMbUptVD3yBM8mJBU9Kp+pvP/GKh4vwqP
B3hi7PCBfjV4QNOCkRdWkhzaLFiOfwOK410qqz+9Vtt7ibXUG31ntgD54pGPRFHPi4ZdFUR3WqE9
txZHKK9e66rbcCrpkYtt09DyFElKips/moVRU0lTqxstQXvHJH8BlJ/9+Qk1TqyzwW9vKgknIBrd
eRvtXSV7CEofUGpvQHL3GpqOoEKxNfoDP89L7b6LpX1sPJFXfFQpNzDeE7+lGtdz3Y+DZchRbxWQ
E0I/uQmKBH0eqGQSfrIEPUR7jm7ZiMVxq/TB6PWfID5nKP3MtN5GdsDf6CQTMVAnqrUHNs174FCE
VFVcJEaMp0RRrupftUR+HlAGqVARhln6FOXt0c8TmtLKUvGbH7UoPmtfenHLblhHdrS0hnjeFvkN
CU4yU2v5kyCz8bv4Ic6kDb4NYAxN8Pswn0dUu6f7KxSIli2tOL/rduMwcg2zewx/mAYtOvRxluMP
CgeqwrX7Spbza/DSI7eq2NSd+T7+U9YgL2rNjxaNlADt0rwj5HHastQrwqRZohwxbxLpiL7A0i4p
vcb2XYgJQDBQmMqdlYiaR0l04K+Vco7I9a2o8xuuD4nLzXuq8mrf2cWd0ae8NEvnBR2kmwR+lyXx
UrCIHpT3U4QzqUe+xEl1iw/XOom5Xy37vat5+VnmR0ndcSYKUhGrpTORpTeq1d9kSfc8VvP8lidZ
xvsq78tkkxTyioAwx2FoKaW88Og4CB3tJnbqEc2TnVJUL7YOPcwjYQwFIGfNQ9U0GrZDWN0X2OzN
uNbUtVl0h2GsfaiafK8E1VLt8rfCjl8AEIrU4ymcZc+Bjp7/IMLX0pc3oYHEV+1yvJV7V0tu8vE3
lcMa/YJdBcg3t42VHdLkH6HcZYTCHmX61Fg1NcoccZyy5M6LLCsnEACvNu6z885FJq/2iPSZYyD6
6Kn2bSXAazRR/dCGToR8p/XiQmVbUGJ6Nnt48AiywQcX0j0spBwFwOHD0/wPU+2KTQvbqqqabeQX
Cw1CyKBb923ZEKKjoNkC5X336hZSu6fuA9UA64mK4qzmpOuF+dvNSKir2HlVtR5VTiNdham5yJ2U
96mcqTNPcz7RPxQbxUOCsM82qe88u+DqZl3T094kkN+KxovXncBmMxQVPg6mcZ9Wxl2q23uAf3br
F/O8UOsRkWh50i7J8VDKsrVML8NwXiKMogZK7i4BStGtFf/kUgdXaAMVTZJigcY7sCHI3OPhMHGF
UBGnmOkF0dKCqAnGUUD5awm6bqB9pPV4kau0Afwt9/kSkPi6C9AWCE8w0Tguw6qXgc162s24vSWa
uX6s77sk53FMcbStln1YLsqCzrWpLwPlrSfqBqkCiVCigavtBsIzjMBRCqCnvhnELSTQgZcihHfQ
mRb4VEMJkSB1TpRjUaDlwnpIwaAAfQep+ExlseeLSZY+H1dCzd3bskTvS9YebZoe4FPDbaV7O0Wy
90kDkxE4Zavfd6H7UsB5xM94QUK5HnwbA5H8odOoLQIW4cFGob570QNnJWkVTMX7VNXuzVb/qJmM
qFLaKioiOM5LawFWl30S+0LdVtTdXYr0KBjh414vqrbcJna1GkmPZkQRlljD1OIy54Z6dkkw0K/c
wgEawcSaly/kJlvr1XNnvRY+LGml3uCxvYI/N3N6fRGF6YcTOS2PLHSnKW9p4JDHP5BZhWD3rbqg
QwdAqkepF0X6GwVtykVqeTdYBm15rS1t5HtqUzpBVFxQ59rJ/CGhNWw7LznparCP5XvukjkIXB8U
aSne+G1Vejv+eNHgCRIWS8XA15q16/1h2+B+CVs59dJd3iiLwAAHPgKyCulNQqI4wikjF/a7VqpP
VZz96Ev9DuQmD1u+HBuDZWWkcYeNcGmuEm3IFRKFTFpZANM3kc/2gGuRzjTZgenhPQz0uUd6JuV/
7D/S9k1Ond+mjLor3cyI6uF8XJIoriP6mmWxsGIVcnJ3yqXhrY61o9bH65anPEgGysBFfR8AZ0ll
VDkFDMR52Ui3fQvYwHiSamORBmgJW9a+kHBqQVFuM9Qy3trtMVKDtQlSAGa5s1UG40Hm3nN6swfR
0VI5BlfMMWmleCPRIrZKfZnbgFs1VPjyzEUQIVjYYfnWsztzyDy1Hy6rxr51SjIPVhyFqXSp9TjD
UxNo9HjeYx5CGz79IaOiPqPrvY05PF1nrWQqSFzJR966D7VuKLTFfWpqmbZTx9IVv6Txm03X2MdA
tmB4DQsw4rBnEQfh39Q96nHeQqEPlSfPMc8TRRtu2ja5SWjIKHxayQixt4pXijg6NixjPcv3kW0D
SDap1kI97RoZYSHH8rdWztU8nmIX+krreaugllY87tZsoCgHwql25m7kQ5WFt894FZMM7niZ3DVk
L3WpwgGwVpWmbaIiusXEZB7myJAw9vi7xr/Xucp7Cs2ZYjYNZg3EZn2vJcHWYX01L5yn/UA1Mljw
t3XHXtKWp54sL8ZlV1lMG1XLNIMM3WUPrmwejCQfljL8jdn4DUIR3uOltgAAcRuowbZmQ/lMQJKj
B9eiMRUSyQP+JJY1BuQ9ZMqqapF/0IZXQ4pvTRK6lk81eJ9ZMCzHdRhX2paiG0U8UJUuZ+HQ3oMq
gxxFAxd0L+Gup1rvPxjaaPHnrPDCmimquOlrD+1NEyJt+As/6XUCCCEM9WeTBeb1RgOaFN5DH8L2
tyMFYcy8xrHHP9ekWyXnMONhGNFILOYCpBXp2j6GlRDH4OBU6gAUPEh3w/hT69Ifkd8B7h42pPIo
2IDgwlgB6MMYtKLkJqxamNDc8agfh91Kar0fYettoakAjHjNTWs5/sMjO7nin3L9gGQLfdzWvY8I
SUbijnpNvukuWz4vD/qlw8lSeJRVHsLCoX+wlYH2FyA+iF2QgcBgCGKvj1w1Ncsoo05O/e0OLVey
R2J7bMaYBBUx4HM+iWg95Dy8HU/FGzOsYjSeCNvCv5EcMn6n9LaI0z5mPsT4LJV2xaC+IBWzxDYS
Xka/AZRIqVDeR4nfsHxo4zAZjnm0B6QhZhxrWOw50JyhbqF+oIlRD95TqEWHxgenK1GraXXlIDGF
tg9/I0iyDgL3JqrcntdS2G8DWPYphYtlQLVk3sfaPu30E42gjQsPUe2D5K7W06cceZZZ0bVvTqQ4
GXHQOuYA0GJD+mFkxTFvHECVdBFdlthkdgjAoA3QiG1QyzTtM7HWIt+aVbV71AbYZYW/1OCGBUWz
JmNEq4WGWpPEr46ZC3wE2oewSY56694hNY/PtRmipJSUL7ZZz+qMtMtWW1xYQqR7dJ+GGrncpknL
58EeXmOoIHWJ+FesqbdNm77lCGRkPAwzdXjx3QQRSIvmjVFiD6cH5SkzQSrCDqXqWBW7xszuTUda
V536xON5iezmjtyFXkvx6VkuAgw+dDYaJfex3u5UshTQUZ+2G24Mkb8KX9yR5x+Kikd17kHpCN0n
F43/QNLu7aTaBkG1JuFcCnSU2hE6koQ0mDrI05aT3425i+uCV8VlewYCm2eUWZYrKnXFfQFfg977
Z9NHz04S3Vaqf4+G4Eox3MdIqretD/QmdhC8kiT1dpRBGnVAxKg23xK1rRp591rJV6ZdUC4UHAEs
spW9zGGipbMdi4gSf1zc14egr9HYrdoELl2ULSqjXY/qZG1ItA4QrEJ7RqezTZ1nFkplPgsivK7a
FggOikCvesJVLihDVrAfW2BIjQHyOnEfESg7qUkLWDdEG65WqmTNeyifD7GCPBAmfagUD2hQyKcI
7p/V1px0I6XcEtUjrsTBGyHcerr5ArsSbfcYoZr+mHU8NvXxbV3T/afYq1hAbcDatFVxbw7dvvKz
uSkhsx3aoAnUyiDOOUU+S/3qNkKmFJV8PDDpqy39IrnNZHlT6uiuSsot759VJGMyOq6JJpBmo2O9
r2P1kEnNATn6W3mwqWZqmzjQF6ppezOzyRdoHayEJ2+lbhSooqAVWUu66WsJPUvSiEY1UWkZC9FB
fKyAUytGctubXDs20XPcar4ZbRIkYIimNZpC/OgwW2aK99sc5FluPNll+hKWCtlXcxNX4bMIi6cU
RR3aSasuDG89v9tl6COlUoACi0O+iDSUXILnyuwFD5xnmrj7voY/UZAGKkLdtnyhxKYfN9Y/TZ7m
KaposV2uayMDwxwTp9gGIO1nsp2c2sD4HKibS3LrzynUbz0w40YWrpNA39iGlK48FS0oAV1FdcEU
l+reD4CFXyZRnzHzyfdVKnWaKVP7MtUJTVxxWyNvPLs/BR40wlWV/3Q9EKpDeRpn5TmgAIvsfxjT
kE2kJP4TP5ioH+R0WTx4Lu2pA7jWx2x6Fwp88Fb7xi72iA2Qf4b6CntbmQhdwt3WZc0CS24hIQpK
asLd7tpmxF4P9SkObmzlIddfmS8lbaBb4ndXeCv+UjFEtqgdasnPl5f5nKs+Dk5XTqD2oJ/54ljo
RkVurNWnTndPKIwvg/C+TfTHOuiXl0cSZxR1VFJlBVq8ro8axJMPGonS8nS7qk+kINWBF8KwK6vy
iszB+a5BRhOzMFRsDFk/UwUuw1Z3dcqXJ2h5SkJWDWFwpPOVnF0smjMzByXcXpnZ+IH+koAdP6Cm
ydh3qoh1WIo++YCOF9LNb5vilEi+tNBS0PG8WEEyltpwbbOMqzQZS0cZcXS9NnE8FxMdg0ry6thE
b36coG7UEBLrp97ZiO5WNbbMtJIQapQFUWebNWJWZP2VX/DNZL/8gHFD/aUjEYAKb0rP5xjCJoJ4
lp1CIzy1FX9xeb988ym/DDQR1tXAQ3QQsorxWABbXA8BspOKBKkHqG19KwcCEwLlyqDn6hSWzraR
FVlTsRRECOXr9OJCTaKhkopTyLN0VuuAOSFPSF6MkJC87/ObBFp2xd8OIQ7/DxMW2EZhojbqoEwm
bMroqOkWE/bsNSg1yhftocrCfZzuwYfcdfylDuD+fxhUlzmPYwCyxGS+du3DFUn/GzRovK1TR+8J
WEW1AfqigTHz35WkvLk86HnQIcAqCjLCqHdzdiYzTSjhmlmUD4+qqnsfvabAyJTbdtukiSHhqWpe
8y7+ZkBNFcLWUAxXMNmdnFDDHqLAUxv9Mae94FbdM4JXCHfwBHeeL0/tPMqh+fHXSJPjkRpuV+ZG
qz96TZpvgjy+kwIlvuJv/c2Vwa2oCdmgsCmEoUwuKqqK6M2bTf8IkY0c8kFO9F0s+6tct1Clh3jk
M7ewn2cG7hSdE77A2p9fnuh5HMCN0lJVbkuNTrcxCUQu9i+t3nmUj+UVHy/FPOg+H0gULw9z/uUs
G/VGi28mWzrx9et5tDpIj0aeZ48KcnHwUm1Aqw+O1rfzUtRXpjSRlCeOW0xJjKZ0JvpHU/Ejp1e4
/KlwPEKQtWC/O3W+gdvIm/5dCyJqJ9ecRM5D3DigaSGFTs9eNyfnIKc5j2aNVzyCP7GsDGDiOzDm
WQsU0HLvBKTzNN1cXs/z/cmQNrcwOY449y6NRYohS5kXj6r36QbpC1Bx98onOx8CQ4fRJ4wKn4kk
1+Sw5V1sAF9BoiUzo09nFJhU+4d/nYWNbJMM71ixTO7dySkT2pCUhcjyR6UD2UwZxF1XYFIvD3K+
w78OMm6Xv266qm+EnBtx/ph1yX4wArFqRARZTDVPlwf6bsEAY9DRkDUZiaLJNjB1mWdryEBt4EXc
b34E6qf9vDzI2Wwwexxt9jQkxuFamJODZNRppqERGT3JcfkJHQ8Gg9VhvOyGj/86EMw7XSEw2QgO
nbmN5lUJGNJKiic7L9fSIN8UwfBCQfnyKGdxAccWHrC6sJTR2XTqY2EoQ6Q0dasAd5VOkrih87NK
DWM26Fek2c/X7etAk12QocLQqU2vPPbNH7RN+COlLFEVwTVnhPEP+pLZ2TpzUaGFagrPHVP+ut0S
YTpaLTLUWq2X3tFOTTFHiW6FX7YJzpWWxz8v4Jfh1K/DBZrhDk2GHmcKh9KD075s/UBbqkNEg0e2
rrnvnoW6cXbgVbGDGUPdH3myvw6T0xkucEIve8rKALWB8s6FGNNU2hJxjmx4avA3CxERvDzH83uS
UXnja+wRw6CMMtn0SYnSqVkVyZMYRXzMF9/57eYdCxo9Iewyk6rkQ8o6NKd+N+aLSxvy8vjmN5vn
j8mqzQ3J68fUvi5yigJ7rxRm8pRHJUxeRBqgc1Mir2g6aUtlJHwpeAM6kf+QyQ6v+88KE7m5MBsU
XIRFewtSSOZmLfk8ksAImK5UG6kJr6SZh/SuYnSfEiwoBOHjWdkaw9aPW4RBKgER16Uim8AEMbKI
Jnljfobyp9Q+F/A/Rn5lJ/f7Vm3XKoIpgH2omHqo3zbGq0IX3gQsNldclw5OCuc92UFLHSsNvIkr
1f1dqv2Jw/cTJlIojM3IHholkkbw9tj5CyLqwJT+pKi8cSztrXEgu0aQ7Fy/XDp0qWkQoQtROcpb
iJHZpii1aA048x0uFpXg7GeeOccedY0kdP7xOGtUFLgwLJMYNVZPxy/21z7sBJJP8RCaJ6OMwLwX
UDAB8KCaOwKkL3/9s7BOQCcQ4rVDOq+RE34dqlCdQHJVyrVe6FZ720wQNo5U/Uou+N0oBrc5Fhlo
2J/lYX4KSk6vrOAJD8nk1sHVd92Gye/LUxlvoK+xyVBwTdVl9Y/ApjW5oQYsz+U8rfIn39ReCir8
WoFGeUlNTtzoRfp2eTT1PBRioKuSh6mWrKLOOFm5VskLW0ZB5WncTIlubQJkEYOPrKMcN6KebHOR
haCkUiIkFD1aeB51efm+QVdGB5GGEAytBNsx71wAt6SQdEyeAVxi8/RIKZ+rQm+RAFld/tnnh51f
rdGwEaagijNNH3Ots+Ecl+lTb4ZiW/T62FkNwnXUo8t1eajz289kIIKbCgaA99M0ruEt2A6FYZ/k
zIVtWL3LrQm8nIZFBL7i38eybM0gnVMthfv26zYGqiUlvt3bp9rRsdzy7stg2GuwsTo9v3InnX93
ZDhJhlHFNJSxPP11KFUoBYRuYZ9a9Dqg3SGShnxUMcpZIeAnIcT3z1OjkkKigsEMr8LpCUWN36V1
Vjknv27uKk+fgYBbDnq9MET4cXmo883BOGM+hJfMKAw5mVoaDp7O81s/6QUgYxw579EuudfQFL+S
fX83kKlQOLVGvVjbmFw5NgpeZp+r2gls5oD2YHhvq/IJese1+owy/uSvQcGibmAKIXhNsAsnU1LU
sJDCTNdOfM8bTGnRaltlhYQndbhzEeCxpRLRkuoTjCAkqmuVmm/m+V/VkocMBbGzI+A2WpIkmnUy
YEFjCUGnRipgzYEOvFZ0m0a/8c5gm9CrHTfK2USRn02oFTkGJ6BfIycy7smKtgFJUijElZxlOq8/
g/G2obpHssTN8fUM4PhuoOTKYMMQ/mzUbSSX+6Z11/+2Hf9cg7pN/VAffaON8Vf8dQ2WhWnGWeIh
lSc59L+leye15oWiXduNk0BlETYoxtJjQGSXy0meZJlui5x+H3XioDe22Hq9XG0M12/estIubgw6
5Fduw8mnOhtvvC3/mhdNIVEGsCcP+HP+dNNmV4kECGqmaGAYyl9FW9z+00L+GRCTO7I88gkU6CcL
aUjYYbmxqR1S1LrpMIrnsIXP0IOj+V8GMuF0cDPiqDgZyDMa3YYOaB0wwfkARH7fdvJzqITXSmXK
d0tIE+T/Bxo/6d9LGOsqpJ3IOlAxi0jL+hxeVaj7GytXlY+oiY2PDJTJr0yTy50XN+XO91TzlioT
smZBHsE+doY7X4fa0jV/pI4icdMFVX8lk5skPn9Wnp2r2BSFuJmmK195kgOOl2ZsZPiQbSVV2gxJ
cs3F8rvVQFgXJxBBY0i1x///r9WQ4rRMIghgRzuVdypyFPgbe8gwmdJaF1UOkMc/XP7Q386L76uz
meSxLvR1RD2O4wETXexCFfczl4OHKOqu3BHjH/FX5P5v6XiJ4cRHrZJc+OsQUgz33O5U49DSY6fD
WXzKhbyP/UqAD0qWDhkXBACEbaR0eXly3y6nbZoaVW5MAKdug1VNX6iz9PSIXc2bbdDRxXzpzsKZ
GQad9HMwuitX/HcDUlM3ZP5DIWWavYQkx0ro9f1xiMrHVhiLTI1nnl2d+lpK57Kk/lsD6s/S8uFo
HhDDdXWq/RybSDtZXm0dNJniVxE/8My+CZDdjHvc6cq6uiUgWzMh+1cC0bcTBSRG34D/0h76+k1T
0SpcRsI+qHgCruo0Du6U1IkWYPKifagVP5wW++zLX3OMOdN9xB/5/2NOoi0d46Hu6SscYDw/e5m5
9VP5URqcK+2Caabx36ICPuIpQMH5bNcoAuk4HS29ox627s7BO3crtRbG94Cb0a7LkDqq4bj3/L8z
hK8T3rRok0SWfG3C0/bQ2S+ZBMfOM4SP1o6F5m+GMUZa/g6Ufl/k8ovSqQ+xnf0syBEcN18mDjKJ
l5f7u8uUPESxeV+wvabHtm2Nwpbc3j4kPeSKiGxzr7SG/SvDFOC97kv7ymX63efVKeDx6tZkrAgm
CZ4sN2GoyThrN35p3jSx/4pi8LAkemSryzObJP5/ltUg/zUsajUUdScBKayjWi31wDs2Sr3vrfQF
hYaPPKves2JYFoXxXFTFPzq5jpmJCZuER7PC7SFPJpeDOU4DVSDXA8JZrrVdTij/Hz4Yp1GnRk3k
MaZnsovatsgQvT3CZEKPuPoDg/Ui+8W1jNfLK/jd3jDH14XGo5BEZDqdHLpjmyF6IlrJvncMRAsA
XgE6A7q8jADXHy+P9124IdTwBqXhzttpMl4ch37bNlj7dO6PLrLhuaCWLf9wtGHpZlcujW/nRhVP
U3jsjhvya2izYtBekZ14x6AKbn2dDqEsCsTKLDjz0cvleX23E8fSkEmhnP04NWcIG9je+Ey4R8RA
Xy2PHvDoShCawyOznQ9Jv6JWduWO+u7GZ+uLsXyg06Gc3Pg1iV3Wt2VySEV5IzxzSwHkX01Mx+3+
1xjT6jKqiGlrgEg+DoCwwCxx+eHGeXntvvtObAgqnaO3L8Xer98pq+padjTZx18TCXRHs5Ndl9qz
WK3KLca74b+9lP4EDbrWKhueRSNyfB3Ode2+JBC6R7np+lWR+T0OTIO+QTr7mqX1d5GQ/ollCiwK
aL1O4hNyVKhSdWZ4VCVQeFZZrco4e7fD4PnyCn53qmwC0hiPSCGmu691wsww1TB8SJHa7HTzqDhh
MpO1YFUUKvA/fJMvD/jddh8L8jDI2PLgcr6uodRXZubC0T1CUn1Sh350m0teWrl4cGgfq75148VA
/S4P+u0sDfAyGNGD1pnu91Qt3AGuSXswUznf+0C6d7FZqnd2YVWINMnDsVD9dHt50O82p020omfE
A1qbXp41APBqfKweLCm99RLx7Al5iwLAUmmUp38dajQYgUJOAYaiz3RRUaIFbaAXycFHn9mUpUMQ
9acmVtQZnk1XcqPznfl1rPED//U+6VrbRzbRc4/IeRkLeYjTB9UwGrh9enAtTH07Fq1qxSQUY4g8
ifmJ0sJ4JFU/aCYmVf5L44E/stwFbJYFFzQwYGuFSdmhiB6y7EEzn0tVeShra6W6ALLrzaigVZTq
XOiIReEv66ME7KJFre+b/n7IV5G6QcBVKX8RmShhwWp5i/wbRT+qiT0rzWyOMvRsNPqSsjsDhw48
JfhTcVmMgidqF8tUFuvLX/I8MrO62D4zX3Iue5ok0BoJEr2U5aMRiTW56daWlLfLQ3yTUjKGjanm
WDkmRI+r/tcXzNS+gsqSiYMFSYHgYo2qDjkE6iUipNozAv3yQWrwfQQe230UvVds6rzIXy7/jPMz
iSCfSYmLpsif2tPXX8EdFCX07cVBkZvgpskbf63gZoB1XoUcQDugT4aW9eLyoOdnkkFtOgvj21o5
Ax92eRn1CBk3hyqWka/o13jVHZVR+qLDBPHyWOdv3jE5AksylvGozk+WOY1FkBq62h6p3sX2ZyOv
EBdGQHI1YFRbJ6806K6MKMaO7dfnEcef70pmS3GZg/N1TXWkLxphDOLg6zX6mRKKwlEJqmGW90q/
kGtfgf8fFED2JfpjaQ6RxY6tuaHd1/iPytDjm7rGRgar2RSZCv5tX9aXqh4md1rSdns9B3sfWmW/
bBHcXYaDI/8q69J4K520fHd9MOgSPWAY3IgvnaC8+etMBY/e6kU7991KfW5aO9wE+OQYs6I/9XRA
fyOe0hxjvY7fcwm4sF807sFRUvHj8uf4LpaYurCJxGASznIFpNZU+LtKc0wpHvuBuy289DMs4t//
wzDgHihzjhDNaVoc9qjjY6kqH9Qu+wU7/sOXG9wp/hEUSSqiAPsEqwOAF0jK9N7uIy1UPLcQBwQQ
bhyUJjPH2ySddyUCf7NoFLxob1ncXzbgua8bSgpLA6k7aziM5bBDVeTod3RVsxnllP/9aI7vProw
4xVGD/3rUFEf176vU4Vqy7R+sNTUX6Eh0r5wyKSF16H0+s8fioQAGDPFVF4T0xWk+4Tyglv7Rwx0
YWh1wp5lvfdgmPHu8kDfxVtGohREjsV40wpNpLoK134SHpO0FwujwHe2xPLJGHS4UAbmi+5a1aKf
ypBi+QjW//Lw33xCeoSUV+mc8JKZPgm5JgMlxxv0GIruScIcVM2Un3ltLC8Po5wndgrjCK5qRlHJ
Kb9+P6/TbFfFGuvYjqo1agvtxsY3/FZPMWuQSs29QxGkwMgmj/dhKato5fnKqkYokuZU1y58tw8W
TTRanrrc0RjWhwi94PFdhMVwJYf55pblt/JGtikKAhyabOsCLn5VtwOEIAyNQN5l977lX3nuf3O/
6fjtsZdJdnmwTtYjsex6kCTTPHoZxitQLPH925poF6U2YqBQaC+v/7dTGlvmgFxpjk1htUMoV/g/
xdVxVFAb0x8kSC+P8N0+1jWD6rfBJlaY1NcvLLxUKWmSJkfbbh6wpl/7xOzEVsAOv/XUM1jtRSoM
VBzjK3v4m6tUFyzk2BNT6emMe/yvjKVxtLAhGIR4FSAShP/DzC0QKJ4FJX4tJHpX1vKb8p8CnF+l
9EdCDV5y8tADSZv0th+pxyyulU2nKjEKGNgORFZjbp2Gdie9OMle9FaDRoMsgr2MgApexr56JSp+
u+i6CVNiLO4C0ppsI1fUUOB8NaOcu6ErN+d/3PzO8g9GtQrthwENXLAYV0b9LmaMj1zLlFluEtGv
6+0nwvHQA4iPfiQjnRMJJEshpkdJ9q+xcYRH884Fb0uRkbRlMhLt8CISudoepMBJyNBRnkWUSe6W
gxtWv7pWaOsQI49NU5jWSRVGsa789NrZmVpVWv/9CpvX9hgjbX3yvfPIyGQlKMuDE58E8gbkai5m
6LA91TKYU3wdBR3rsN+7AqOW/hbCG3imBubo5SM2jaF/fsfYq4ecQ3lmesIQwVeGyg9K3qmWeqfG
QtwFvHFmWsWjHA/ldBENdEyzKL3W7OMi4pv+nTsyNlaVYx0FoAfm6ZONVodxBEceqQC7U7KjOwzo
MSdlNxfw8VohJJw+9PTRq5HPl+ImesaRF1UMFFxU1EQRS8Wm3tXmLbZeW8uVK9SWy2oRuoMyl+Ua
lzNHtj/R4kOJMavCRZT3KUr+Dd4nLtZ65LRohoXxA07l/UJtymibosIzL7yYLx4VylpkowFTyB/k
11n5avQJoAnHLQ4KZbkfdapHR8v2Yk5sj4eChr4JKoklQlkhruFNnt2aiL+uUsTaFsLLAXr5WOmY
Xge/GFnQhyyKURlF/k/MSBiyhYFz3aZHmHGul752m9rU4mA9anco1MU3oNybPfKTznvVetVCRRJj
bun2e1nlw6Jsws8wykt2iQTXD71EeQewwECfpgxO/kBrj6VM9kmAxiRK9GIRolu3rUP4CHT9g406
5M9K7fjL2K2CPYvkbBop5AEsDO3YmXr2NGiOc4M+A4aJNbHIRSRg1kmut7VrkX5IgYn+iFRWdxkS
0QtkvYs1aD544DyIqHTgbtL6qJZj0KEtEc1B4BNbkXXv5/6uSxS+twHDCGcj31hlkRzNg7aWNl2M
DpNvJ+48yTrn/0g7r924tWxdPxEB5kneVi6lYsm2LPuGcFrMOfPpz0dvYENiESK8TzfaRmOhexZn
HOEPR8tohk+eCW1kQ4E02SEbon1BW19eeaoXtqUxBRVUtJHvuAED0RAWLhJQ4gqOMT5AsG62miFZ
vyTfMpCcMfTzx0dwjuCc7gIVngg9SsVQbmODATMtIbma75hADzPKA34Iq6vCtqg+tAU8ylfD+pEo
wS4mWYFIvjL+dMzmx9AmYQRyQZJK8P3+6k0aY0T6wLUuucxDzt2vbQPcjbZeQaks8Zh5V4+rlTB/
HjzwzcTePLEAntg1yvTP37yvDJdKeRiGTm2ii43vGOL0Rfbp45mdPyr/M4g1sQ/o7NCRfT8ItRis
B9EIdZDrukPH6KFAECONtZd/HgZmIYk3RRSAOvM7VEOisG/9XLpUtfAecjWAeWyb+r4wlGYlLFlY
K5B3f/ufNArZL++/SDE7Dbm9MnS8hs6u8hnAx2OUGQiQn8CdrqzRwvTpLBG7glziFtzZoeEdY/MV
OLFhcGI1Hx9d239M1TXa5NJA9jQIMC1ZlY3ZQ9AJX2jRUJqXcigx1G0vUmJSDauNXx8v1N9y+Wyr
6+xzheWCRkMd6P30pf4gXDUJQkcV1NVciUnrTyX66GOEbE38tSzQ6eD+u+/bz3ZY3dmGe/z4J/zd
DLc/gX4ZEToLOS8Mo7lWoq7JTxgqrBdSte33fo5SQ8SVvClxHt+Gqh8crF7VN12I/bwr9HRnZWX1
0ulusUMfEx/OEP1CzTXyuzJhVazA0x8jfI33SHkEJ7eYTG/T3NrqvmFuBILSRyLK7int/OzJqpRg
a9a4nuDWh2GzIooVfMDCchK1T1fnX4Te/BObrrCK1Bx8J4SQsQWZcAxi40FOvGElal44DW8Hmjd8
pNhHE4FHw2lD9SmO40d/lB4823v0LR/rQTOsVwZcurXefNkckIdENaXDQPIRRyjufXyc9Aw5kY93
yF9i22yHGDoIbspGnAV5XsUzqX3ZBKS+w+Z0yuZUyWI7/ZXVu+GHHMsPmvmoJSeB0lzX7AMJvLz0
PQ7Eib+U+iXvv1N8/vg3TTHxzU8iHVBIxKA4zCsliCJGreZanoOsjJOhmrPTbYxK+iE+x3ZyQHn7
2IYYHOZpvHJeFh5jgMaUUIHnWpQSZleD2nltQ+XYd3rZKsj1Mm0yEwMsy6vct1K5Eg4vLDDDkfiB
PuBlmqfptT26kU8R0UGzyD3LeZw+kJT8I5l6evAZhcayPLVfbyIMN65qW4vUwFGz4Rk+/jmJhk+B
shZYLJzDd8Oo7287ZIWGJqEg6Jid3aDl0fj5J1tpQ6cq0nyl9rAwcYYKfNTWYL1OLa/ZWAD3/cIo
fAetx3oj29GjLhn/SOSd5o3zPkUMgFV1XDTfD2KXpoU7qBc4IsnCK9YS3rZMMUQedbvbs0X7nVAH
jKCKvttXlZfvPj4F5tJHvo0MZxNKomR2OtezM9F30bwKseLuKTZnndWeDG1EI3xIMcWix/FIztcj
PIW7ip4U4txWSK4JvCjRREnEplKteIsIZgvABrLdQVXLRN1iZt/sssQzj4Vlo5xsxs0xxh7sUZIs
OpQBXjSbXMnzQ5vbw0OlFEglFQmCDR7GlVqAgpbZyD2+on15ND1lQKokkDcDRj87u7WGezS2qM9z
kiaX+QxdW86c9loZWfHLRStF3sgxTneGjCat2lfJsSxHd2dZKcorI7qfPDIqYfwJCEN9lJoIiRaz
0b6U6vBUK8016tz4OJZxOcnxo5o6oMWRdbgqINSyF21X8ZsS8fzxmtwUTqY9oatUOgGF4G01v5rC
KMu8xG64LTEU9PDwaCr3j6VV96pCNs/FBD4XHHNUILkk/y71dAWiuXDICPkVfgDYF5tq8vs9mbSI
worKN8nS1R9+35p7Gcj9ttW1+N9jP2MiHVKZocVzAwbNREe9M2vBMevFf0JgRtL0p1E+Bq52Wb3x
F+5dAymzSaqDP6jDv/+sHJeMySzeuIQl9AsMdifXp/TVjrOfja2vlb+WDhaVeNpIlGWAVsxGQ7BX
geqdmJcYKB+a4oq6E6W8hnNdCv/eJR3zYUrLrwsEmR0z7j7BLt+6yDKPfoFPUYRZgiGeECw/BYWJ
sqa+sRCga4v6Yg3qSg1q6TmF2wusiNcdLbDZZWkbQ0w3yw2cokEiq4+duN4lXXvXFR4KoOI/oScX
+DVr+JiFYQl7OTBg4k38UmZbNUBtwg3R3XJqFaF4zcLcIPHzjaQHyMLhTeqrj7oWPo3RGiL29oyQ
XgKu44ASz8B/eb+ZdNG5WBvpsRN0w65VfsgIQhHRfHwT3H4dg9gcQSBUYJjn5egu80q5TYre0Uys
WU2l6u8GtUl+xhHK4bYvoxaA2657j4AhOml+G65cBAvjqxQfKISTzRP5zhZVpQqkyw0CFlU7fEMD
rdv4+ItmxbBVwvZIdmOfhgALKa6SlaBlYXpVUkG4ZJT+VcK099Nbejo91LbsHT1CGGpSbhtoeK6d
0dsbAT7WpG5DnxeU8RwfZCqohtht0Dmap/0xFe9QWXG9bbzS2GBJtQZ8WhyNqZiY/IAx5inhQC8g
qkqvcwJs9BrORpxLybYtDWhva7HLwvzRkAHgR5uekG8+VpKJBGE5s3UqX0YPrUUKHr9HROmyPlsJ
IW4zFvAHNDcBAqD6dsN8yTFv9TRv9BxUEV5zod7ZoPlRnD73Wb+v/TUm6EJpSVD8ANYhAJHdUjfG
ejRwYlXcC1nvCC9L7LT2W2Hq4QU5r+5YmmG8q2IFmmNp20/FYOMHIskU/irTXfn0vxvkfRIx/RbA
qBoIR4tI8f02jTPkx2D12het9uFgo2uTGe4dHgtb7EZOpSIeUdDFxH4LZMbYgLtGvtD2L4WNmiOO
d+PRwI7l4ztjYZdZcAy5gcHIcznNsguz91297AIX8x0azAdsJTCy8NeQdbevG989DUCFDfTj/N41
o7BFVkwVl2QUXxSrOaPrs4KMX/oQCLiqQjWdxvl8bkM7AuvQgvLFmOOglNp/iY6Mdx8ejCH794iL
z3kz1vS5b0p3iZQj6xwHtVPY4U9Fjs4R9iUbNZcf/EgjSh3FI5LTd11U/lZK89xa2tpDtjih0y0E
xxmw2/yqFWEjq3qqVo7uxadeF9uYlu7HO2PhNmdfEFjSs0Urab5mGjpFeY25neN6rQTivs/1fZ7g
G0VghgonTsHnqnATYF9oO5PyNCtF6IXmCKtIDkodhYSK2tj7Wba90PbMNgod7ALpwZnDCb+YZykp
dwXoKFXDpAfH3sGzEHPGHohyTu2KdjPo0hMA82cpxCuxaqKVQ7xwf00kf7hZ0JImEsb7X2ViuWxb
sYte9hBkGARg6+5KMBKRYCz29J/jjZuO0Uo9aSHGB1lOCZfVmFhK87Kd5lUGsgrGVGAtehxY8Vlo
RqXd5pakv9KckU64oLeHOonrB2tE4iAv+Tl5q8b//NJCkQJow0kmzqCK+P7zCRcV1c016ULTTDuh
peMd/ZzcryVz+/ehQG5Qh+DaBjo0z2sUkqakr3v3EjQyqFHpDhr/qdeClX12+/YxtRCD6fNyL99Q
64VCThknDONGT4kXfgFviPD1148P001LGTmWd6Oo7+dNGnCibFXbvfRV8+SryTdE5L5SikCcNdqP
jXbGbv3eQBTENLvPH499e1cwNIBYhFpo5ROCvh+6M93BrKrKvRQGpreIR3FddWt1wdvrdxpEoGpC
Mooo3+wd0TgHjZXhEBLLyEPLCq7OQV8dIyV+aZtcW9kaS6NNCjeIKRHI2/OUUy/iAX3UjtEK/0Et
Knycw3NZYkuhWtePZ29pe6B0BEZK5xakUft+9kRj2RE6/O4lGTrEwLFsaVT5J7pc54/HoanA/9P7
6IB+PC8xqoZEsUKeTeGgxxwnMPUX1S6MgxY13ZHWPJYbDZqkSga32uzJkAb53vOG34Gfx3cVtiCY
C9V/krD6kYfoo5qAHMPc/WyCsbEroz22Xfc18ozHksZP0FUuLeX8aInyGjf2odL1E/7JOyiRW38U
T7LbfFHYkMQmYHhzUEJjbWKd0t8rkUz9oAqfq9a8hA0mRLH2yQ9bzMB849yCXa96f2eH8q9WqWga
8196t7u0dfCieeZXz4UXZ5k4NHZNspEH448wWzTvikurGK+lVN3Xtvp1bLNTkyLDbVXPimoee2Zb
6mis4pGWbojI6FLkD3I2IndmgaGshuHQqt3ZqFB6say9CGzepOi5VcZrH0sPhJQnSfGewrF9Ttxk
a+MIXSYDBqtDcrHc9GVEXn9QakfrQ7ogUarvYtRVTReUiabie9XsrcE75Lr2qapdNAOkASml+KGg
KNoixthir0xnNM9prcctNhtqt9Vt874TxjE2on1oi+8ZsrN+qt4NKO3rRfg0jOX3dBTnBEv4cSgv
WolgNtYkrRffM53oXoQlnsVSj1KPv8elzsRVyvjPMhLsM8sfjWTs4xHPUM3fZXhkCQWBZ81vUMGN
7qxaP5YDaV4RFlvJLb2zqubnWsWNSE2NrYiK5+nbVK8+2/ho2Li91SlPV1ZjptNiQ25qQER1UW7S
frJ5o82/R4T+JEv4nbZNdDYl72sTdNjgND/boFZw98S0vSryAUs1fZD2aIukO+QAvF1VFu1Gw9IR
79PUOvYWylppyeON9vSwa2RULVEkDe5IE1QAs9IrjsjVPjcNDAagq39LuqnqBlAF/t2gOrrbyn8w
Dpcw50g0baskGDGELnigsh8RD7ZiKTinUEVw5Bz0dlNZUdNvgLvJD6pAfL5O8QehSpluiiB2t74l
xqeepcCTwXoKBtdHKcvw9ENkTAAGkJLI56PqD4vdG3YDwj6PGXHns1yNyV6KpR4zEk3+rBmhdpDa
4jWlK4g55H3ldy9mJM6xKe/aQT66g3v0/PHFMPMTes+XWkkfO9U/NYl/VHNpO5TKPW7fB3y8DkE5
Cbfnxyzs7/KoFhvX9l7VXtrGI+7wbAa/Mp2yUB+EVv0pvP7Rr61LoNVf+kRcAp4Wb+gePSRRIgQs
syr8Na0tXNydR4zYqtVLmrY//Cxyilg9whTKQNuPvyNu6sFCZBrvuQzftekO8fRsUxRBjgQ8XjOW
3R4VK7qEg4meM5D+WlcBKSVOo9O4FoC493pJsm1Ovlm2/8PrAR/L9h/6mdgsyN45N1rqHlAHest+
QNH+zkLgM1SU76k8vgxuw6Ey7YOBqjlYrnvQmHehp+zUVHc6zI5qIX/2NeVYA8QyBu0C2PdLnSlP
dhOxrfVwL1cCP5Rq+AbkEnkKL39sVP/FjK2nzsO9R8P/GB27R4QY/rPskVZNdKL52W76Wr3TRfiK
Q9qD7ta/QOgDEAV0gMqTg2Mg+mz4w0Ogvoul2lHxVXJxJlFEAHi7Reke67fN9AO9QqGQjWlArp26
WD5hxf69C40D7sF7LcH1XRIh8JhBNj9TpQXdhIdl0f6EU4GhRGJuhW3dN4X5fXJQET7GElrRffEB
ZkaDhal1ftSa8tDl5a+ITdIE1WdfUa5y1Hz1U+Uc1u59GZn/AQ1/il37xVO9p4a5SNz+ETul5zzp
A9Qy8NKsZRTSG9q5emw99gBqXN/stqY7noXb3ieB+vd/0+Td2dfMzxqerFB1n+mbUOKvxMXVxFll
FbdlC0inQhK6xUp+qzc4trDx9poe45Es3cf6eNEl/4iX/TlLmmtD+Uc23VPaxh4XlffVIuiZpq3s
JpP7YTzDo8VjhANSK/4r1kcp884xb9Mm5Anzr02lF5ugxiYHZCf+RPRxN6lMLQR3zLOhRWIluFh4
8bVJqRmmKgEuqeT7F7+us8DSw9K6pGZ9r0XpdyE1ezm1V0qgi8PQg0eGkjLzDUJZ8SmFpJUlLpQe
Cg3c1waU18cxxUKYBHz8f4ewZ2JzQg7pPFBfuiBJg5B4/uCbmOul1kle1bX7qwMzi14gthBDU/6b
AAaz6CWLSjdss4aNwpb/XcQJjXUpNO7hvJjbtk9p3+pVcGr9zD+ocjp5H0X92YiM6FsEKeKIkLy5
VZqSB7nMkJmhhTD+VrEq/BS7VfQ7oQp2P4RmepJNCkY+dmCPdRBLx2bAFiYPMsip0FlOyqBGjodX
x7ZUIjBc5oAHbpoXK0nDAnrxXR40b7xnesLXyaHnBGFQXwYM6e4MitYHudTz7/QUSjrBZr61fYw1
usysjkKFjKkOUv8TKx9iDCtrDmWkIK4h5HolXZzm+u1aAGZ8B6WdIs039YnS1OvA1fPoqmTDq6Wh
AokSi7cprfhSRB60krUe9Xwv/x0QytLE8wDzMG9L+m5sFmMgy06ZKeMeL2vrvkvC6IljJO//bU/P
h5r2/Jtvg8uLNYGBF41vGOVO5MlTOpzqpBTYOX35eKjFaSTnRgJ3EhicI3LlvAl5QZL4WSjF7yHG
aiUpXjzJO+nG8Af1hzXdgZXxjNlx1UB0sisC9Youy5bS+d2gw1Lo7BrLzX4nh+XKNplfD/8zlZRi
QRXQg58XkUIDp5nSbQCedrimi2OAjR0wvG2XrAkRzVObvyNRzKGODczvVtMgEEMVDVp1HUpP3rmB
lWzZpCsX6uLnUMIEtUiBhLrB+51ReGHYIoAawfUv/U3Z+JdaQl6sF9URi+i1dG3hiNHJgWxGQ37K
2t4PhhKAnjSWBDoebUM8FJX8PNh6tft4B97UfaaJezvMbLeHlZ3RUM1kp+q9XZFQ5cIxp673BKQP
VY3/hlVvswYLcZtLZ61pNUdG/x2ceeTzAKneiBGJXg3koIzia6QW1rnDv3Cv9laMCpiU/cQfJsdt
3BQ/Q6WLVmZ3aSlhWuka/UGy+3mVySh00hE7jK5+1z/KnvdipO39kCv3wJvWOEmLY1kA71A9RPdw
nuDjUKkNCGknVx8BzCTXEOAsjoJor7aKlchiaUJ57eGyT8xacETvN01kuVbje13mDM3OCo9lvoNP
QVBX07d3V07D4lgW5XDYBBTq5huUmJhyl5uo16FWTnGh/dDy5iUxvW0twFKPpCveGp59aSYRNv7f
IWebdaiaptCUPr7mFIc3Qs7trRRguhribKKaK5fX0pNDu3OC7WMgwCl8P5dBr1mZCXr6qskk4ko9
BenPhBj/vhMBQXOpcAIEha3ZknmSr1Z2kxvwyJq7uk6erMZ6oKp1yCx95bAvXJIgOaCTa5OYCCqM
778o0aS8zcAQOWHmF5g4oSyTZvaKFMDCG4OUNq0YSFhsgPlLbXsirXlmiitxO46G2F4fPaXQt7YV
uhPlwT4JxXVXGtN/scyzgAQpVn0SoiIcpUnz/tPKQthSEljVFViK8VLQKb6XxtjaGZWLxWCk8pAL
bbwUrYYBDp7hey0I3K2tF1jeNKZ6MUbZ3Sd53q00jZZmg84qQCodKCpF0ve/SwZQEtu4f14b3Kyx
00RzXnluTLC+kRw61qAcPr7Pl5YYyNtfsWLaYPNSbKkmQBlzO7vaXfdH98FoldXrx0MsfdKbIeYx
f631amT3TXYNY4w9QbikWyAcEAhEmu8GpUife17PlctmcVBeqqn5RmFuvr42qC219+P6aspNim3P
vS5hoaSeXJH/Aj6/cvT/yvfOtxOtfo4+jwMqmLOzT2Qr24Oe1le9jigtPgG2e0rb8bntit92mjwU
6cEyk0PdT+ZIQzj9cW5wIq6ixN5VA6Km5U9Xik9jnhobLaTZHSU/4si71H32iVblufZ/EEE/aPhY
Bi6fYeC8mjCHMOflynoaPO2SglkLShOb9rheg9ndNIp5edFR5E+q9WRT8/cvT2jzYzeTXekHyfda
GMpb3TVr7BzD4YhIYH9yy+5rOmC+VkkGtsL06fdNPMjwCCpwv80gtlGO2autD8NGs2v1Phb+/4Gx
Bi6VuBguNNp885p/LSFBYYb4XSY+gqCmD+9FTqxyF2LcvPJy3gCXmAuovJxVmPPkmHOmlIdWZhQF
aXLVw36P+ehT30wmP8Pewv+Z+3hnlgOS1Hr3qEnRIRrju1HUj4EW7j8+XlMQOdt6k84TfBXgZ+y9
2dazAtmHolOnV0A4sJ38s2r1wwY+T7dVrSAiIMMJzvROQ7NWL1g4YxM/BmEa3qFJROj9XWX5vRfp
eVherfaLWZaPrv/HGMbJRNUaij8ff+XyWDrKhEDS4MNM//xNkgWoUbRVnaRXV6oxhO2acov9c3N0
k1jblUYm73ScCVeqFTc9smmNccmYthMlkRsGaCaNniHKvL52QascCr08l/II51RuHiYr9Fbr0yfL
9KpN3HyR+pV7c2FhEcdhVMC17Gp5Nr2iHNSubKTwWnfmHYhGWGLpt2gc7grh7wJd/hY0U91J81Y2
1MJUE3oyx+B56LLP47S2twpaEpF6DalpfK2xkT2U8DLCzZB64S4cKMX2Hg3+jxd4IVTDJocwlBAb
LPGc4dpmSSpjuuc69JvKk+ZT0La6VD26JeS8krrYysO3ON6EYkI0iu75/Nj4A2FqQ8/OCc0Tlht7
Q3oEBiPX5cpsTsdvdjxhwZOvABkgq52HN6UOdxT3OASwFJbQrEbjtS4H+VufYIj78RQu5WY28Aj6
jzyYuG1Mv+XNIcmQshRZlkTPpE6FsbVVH++9PsSJM7OlhzoRwT6r4V1u2nYcP/tRluB+WVZPPYaD
a3iQ5R+jsZCCRjZyS7Mfo2qtCOm+pU5cyN3eHiP6JkPVbcoCvqGip1iOytTLtSIX1Hwr71GpY5xC
C2+N17uQd0yNZpI2E3oW5dP3s6JbcdTSYPB5FDLjMtopjojZEwR6Wt34rD7JlR5RKC7SlVBuaeUB
C0AqIs68FTAvqrF22zpEjqlSL1aBe6Umn73Mfvl41ZeOK4gUZUoGprRgukbeLLpVB5rgCkodeDeb
tgqvZXaBjSI6a9d7a4GOMaEC5tvZQCkd0XIuJzKr96PB/mxUiE/xVZSwE2O1SLdqSRtg20NF+UVA
FmLD6QPm1Izg3HExvwi64Pupug1iXRq3reybr5ikantQPPgLJ3SAaZKLYPL7jOSzrEHLzUDv7OJM
NDQO5aDY62Kyee9F/cdvOwyg8xKvbuLWe9HpGG8iWZ39qqoJVJ7BfTm2nlyUQP4TXqLOCOD2IiHf
yHHzyXSLaqvHEWL9XT9Zadt5tjWRGr6LUrPdoCraHikw9ESoIth6NQ0Kxe7KY2F45tmoJXen0Xo4
UoSp72AeWMeP13LpUnq7Vaet/HYthdT6I12/qxp70nm6Nmj/qeUz7edfVSpnK8MtngzMH1lQhIlQ
KXs/XCJCA6MOX3IGN/86Zi6W8fVTlh8IcocN5Y4fgKH2H3/h0qHgOAia3zTXbwoORVT4ipb1wVXW
sNHsdLgIrS71R9U31ko2y0MRGiFwxeGYhwxu3xexjZ2Dk6T6z9BNpnaz7YS5/fv/8EnUacBIwIK5
lTyho62GKbXtMFeLfeUGxnZQscAG2Nr9X254BGnB5END42meHT9h1kHid4VyzevUERhM+H7SIwZt
OnEyHDw9PXuxcrGT6qzSV/OSbG39lgReaKaghYsPnIpn2ewXWLgLB/hN2E7da6jWGPVwofWAB/iQ
D7+MVqtPrWQMAIpSTJHCxP5P7Qz1aJPP7Eu5KLbRkOrXQJKCFzShpKNayclZ9sBEbAstrleu4IXs
lko5JoMGWCphzbMWtw9qNS414YxSn5w8N6/uzTpa4+Te3sBI+kz6fhr8gVtATqrFmlK4bXmth6HY
dWF26DL33qZ8MfbJw6oCy21c+H646aPfXBICXkBltjJ4GbuS7sOuPgeDfoRFEADHGX4AJHhQsuyb
OSBU+vFOX4iHp6HhnqBRSq1gPp+iGyFxhp56zfD4MWN100W/tRhth3o7jL9DCc0AL9+04T8vowp4
FO0Tqq9TOj+7p3olzSUlthFpaoqpWN9pWztn9I+/7vbyZRTUBSdnSKBc88Ka4dWVmSN+fo3ldJ9X
4lHppKMcmXeSb57+D0OhKoNnI+pDN4Eawa0FzaQNrnmDaSKv01b2/AxFm/A1V4KVwW7vQUJCmseE
hkT0N/egJ2Vpp2RtyKOiXlxZ3NcSRQMouivzd3vYGAehUq53jYrrPCEO1FINwyAcHT3ModSN5r2s
Bisv1tLeJ9iBojOJQNzIKQFAT9JcK9n7Ufqjq5M/aSIDOUYphkpWs82wb97Cejy20vXjFVsIZ6fG
Cko4MMum/0yXwJtTFxFixqmVCQeoyOe06rZ95G5H3w03cle8FlWb7YsgPPWoZehF/UqfeOUQLNwy
OEhNhQYqlhQ3ZnHeKPCLMmrVctK+2Db1L1MBg9AfOukaQy/5+GsXpvntWPOSHS2VSERuYjoZBp+V
OyIyULY7M0LZJe3vesW+ZFbxnFv/6C+Ent1kmEYVGJgDW3beMLPbBDKP0nXXQAktAAjt09h3Z6+t
vw9irSy5sF0nVOOUmSBEwcM9W9A08gKa9N616Qs0CHFpv4S1veqyfSvGSPrOCFMapN6is7MJuzzo
nTXlmUk5bvgLX+2sfPap1CWTdwWYlVSN/pH59JeSyw09JR6C9s7sypQSXZLVUs6vjfnVGEN9auqo
gLQQodST84TtitfKQTdw0WnMSaaVWwZhoRtYb+xZSgUGwXasRkw4oZCi9TjG2zI39CdXq4B7KlG3
k/Uk+SLLg3xGOwddKboD2wEWykOUlyE/Mmp3SZH5J6PJYCrwXO8zXXh7Ve3xhh/wCuxTNFg1Jd52
3ZDg72YpK7fMwlEjaiRrR7KXi2zuHmMoudFJeqUgSmreccPcZWH4xYvlvVnl+8L0VjK4W+gGTlCT
5NR05ghW52ovBmafih+p+lPqpY/1VK/TK1IT726IPhleu0k8b889t4tr766iDrZp+m5TmYq/05X4
JCOk9PHx1+dngwqqgPGJAi1iYzSTZ5ddZwapJLdZ+Zgk3UMa5XfZ2P5XGdU+zUKwsPCnU/2z3tU5
QrotHL5cVbYBeqFPhUyHNCoxanPdbDehBUTovuq+5v8Ic+ulkaJP1Ih/o/j5qNjuMSnkfUy9FiE3
3vRazZWdkAaUMSwNVY22uNol7sJ4Yf6IDIHWu/E9CPot8ba3qcCjYl+/LYOK4AP9940b+1/CULRI
Syk/sAJMVi7FebYEh1DwkCIID20So6vZhTF4tdaC1BwvilEdonw8wu85JXWwN8fyMQ6bC+Jw3z9e
iHlI8j9Dws9CHI2ccn6KC71IpDT05cuAy3rq5t+gUG6UITi0YfD7/2+o6ae8ed90O+n8EOb+JRuj
6iEYvfwek2dAu2MY7vwx0FfafjdbTHBR8C/ihL9Fv1keUXlG0I44MV30jvpe9uT6/sounsc9ExeJ
TAmaA4d44gK8/yKrkQGPK3VwyVwr33RxfTHpuG/Aaaw17Of3xd+RAJJMXFpqXXMGThGFoZ8oIrpI
ZW/tqzzLthUGbydfB2pqGsUOBdPy+R/Xi69DdojSO66t/PBZA7MVmW9Gbqs6vhJqR1fCHr4B31xb
BAN0Zj59PNrCav3F41BiIki+oWO2mm+5GZi2q6qxG5KRsqyxMsTN8ZpgCJN4KI/VxK2a3TlZUFdd
k0FIhvSnIzrsBX8UJfpZ9xV9jBMammvx6tKqvR1w+kFvdjzRHD0tBDEchMADMMc4u2CUc4qB5be2
f/h4Am9O8uzrZpsRGWipVywgysI1narLz65OfcwY4Obl/prm9NLOf/Nl5gy2VfUZRmu1mzslkvCb
rByKPdosCBbWsDw//q4FNuu0bJNmIo0SAvPZPrR6ykuirmInMgnZLCV40PruQdPir2h/AF6Oj5Ed
HnIbKKWEW1lVYRMqrUzu8o8wwD1N6mUws2aXiWQ0nstlJTvIq4C5cPP+HEeJtLNN7DN2PGbptsnK
p6ap/wuDwb+LRrW42LZbrlw5C1tqKs6QoChcOqSq77dUVfu6ktpe4nhV96DHxTNC3P0myrxfst3+
zON8pe+8wEjkwNhkdhSTEFa9qcaE8RilRRg5al0U9+5QTkhwNz4YpoTMbK36P2QXkWFl9Osffmqr
58Aa+/u0bAeg0B3S+UNe/7Bs4J9eG9bfFMjy/37Po387kbDgKmEBMAtEcTtocl31wC6Y5UGO1c+i
HP+s7MGF/U4lcorYqIjZFNvfT7snJNpnrZfh0/TdxEysRYVVspCM1JV79Pq0AOOrHPPsqDkk0U/Z
jEEhPHTlz5z29MpPmYf7PAWI9gMooScMgGPeVjIyM7ECRFccT4/sfVLmrzj/mndmaCNhPAJFGKK+
P4QeGRQyIb5SWivzfdOp//sLEDKbphyg/vwshIknElVKEkcbrEe7KhBhEftYEqe4tD4TgH43teZu
MLyDbkkHoyj2Hqyc1uoOluE+CqneN0m3U1YVDW8S6Ol3QbBHDYaMi3/PbkCC/tyNKcM6aqQcsO2h
T65uaj899aN+VEsMdcd2/Nb8LQ0b2SbrVwOChUcMOxp6yMT1RFTzDLpN8xLgiRBOSNdCghCDaReI
6I93wMJFrzH3xMx8Lens7CrKCWk0S01ixw0rZS/5Q7stsVe5ZHXfQjExxPXj8W5qctO8kqYQuhCa
cr5mA6aeOugKQr2OrhYn3N5Ok2diomGP4cKMRsF143b22VKR0Vtd1KWDh3UDLQQuf/icszc7IEIU
uhdEDq21k1WPr5VZfR+ktcbmQmjAcYJ6S5OCtHLOQ2xF3w1h4gPmTodXKGqOVYnfoVqfEln9pNEd
t6GRfjytSzc5geOEpNUBvs27l3mnN2nht/ibmN0et8tdI/tPGfeF2qc4qq9qJk27/21fbVpFOA+y
CqwMb+V55cOSmtC0fIKRrC4/WWMMireFj2ZWnzG8esHP+2rp+ScpLvYff+fisbRhjmscCAAONx+a
elIuShE5rZq8UEI/V4myt5Nwb7jhxS2xBFLoJ1rwLaE/DutP97Q9Zx8OCg/xDXoKmJDMw74QQDEt
Bdt3/qpUQXIUTmYl5eMw6uonCEzFkUd12NW6WTxpoyfdNXKCOLRryT8jHYY9sMU1gu1tPk4Yge71
5AIO0olyxvv3RIgoMiUUoB14QNsoNX56jYHVb7xv/fCSK/YRTbpdI7Vfeov4Cl3ifSjXd1HjHiW7
+jzW0Up8s7D/ofdza032C0ggzN43ZYyshGdvdOTiIPn6JjZemuEO5M3Gh5SXrknhLdyTKKExcQR0
k2f9bLiqSKKMNmzkIM10p6jNl4om88pDuTQG7zVas5M4xk20n8dRNroiM5xELT75rv3DTapg5Qwv
3E4ERoCNgVGSt8/bBiYKEFY6KUO2FRzGNHrs23Eb99nnj4/QwlXBV/DSTm7UfM70M97kEUYUp5mC
NaLTdnG6yUX6n4cN9UYI2GIppN2yj8Ljx0MubQiyMFqOEwGcqOr9kOjCSE3ZqeP/4+w8d91GsnZ9
RQSYw18q7yBpO3b7D2G7Pcw58+rPUx6cb7YoQoQbM9ONDpilYqVVa73h2pZK61oS2pOKK01QC0t4
BlP+g8Lw44gL5xPtg/9FnD2W/M6wA6vMDEyW1H08YJc0mU9+PlEdilM384LneoT42K/hYReuU9DH
6FvI9BYok81uGITOmtwDDn+t8MhoHXU7RfFlQK8lqYKVAvvSUYgQDh1cAeQki5vdpHZjexZiZOHV
6yMStSl3s7Y55FylcWC8iJQpQ9HTphCn43AIvuVffOP38cWeebeQ5LYJY2mow2s+TK9xZu/SNj+R
0GyLpnoe6ZMmYati4ZqstPWW5lYjaaFPKqgN8/LFaMWV3atteB3t8LmCYS2QhFnSPQl508HMkFop
jWez71bunqVVDIgdkC4FeFp7s2O2blPfS5I0vPaFtbNK/4Bn11MdenuRqJuNdTEn649FUw3wZf8X
Upu9jCM9qLo2z8NrFgDQtMCfhGZ+KDrrC3IR0EjM5yzTn0NL+uvx9lkZ6tyzXjXzJFY8hhpE3Gph
/TaF9bOCZl+JtpIDGzq07O3jkEuzituM4DdBDMT55XY1mYVkTeSpqLTaOeDPFLwxXH9WkQVb0STv
z7i36ij9/jjs0oYFNYmTDgh29DBmYbVkBLtgIw6rFLyzgpL8N+phU/aZmWJEVw6IHTyOuHTMI1yO
Ma2wQroD4iphlyZpyzFfmuZ5GtVvFNufuML8lThLmTa9Rxr9/Aew7fyLNm1fFXGCtHE/tN/hCL8E
tHHF9f9Ry7MnShxf8qq8tJZyRYVoZTaXB/m/2LOzwalohvg5MqteJyjG6X/ARv7oyfD/xbfkzkfx
g670XTWnLBCLGHq+ZVFkr/qUfwB9BXq6XulOLW0HbBihfQCQ4+iZ7fwkqKDR6CEq5nX1VGnTNQR0
7npF9nUcDS7NYZujKPF4aIsLEzoLbQ30zO/6fT1lEX8omT1Ub/ZDkz21vnqIrW5LsrN2k6jsrXlS
S9rx/2PNt3tdyaMfa8yWXDVXI1a2YWSjn5JvmyrYlxiGtO34wY7r70hCPnmIIlRVuXLiLN5m73+D
+I3vbhMatXrYwFq5Dmb0qubKc5o228myoOaZgeU6dHGEMWKBjRvy41+LVl0rQy6V5TgD/vcZZot2
0ILJtKo4vKaTvVfSYxL8hXENf/RVkCJafhJ/rzJfUEnf/LtaDE8KoT8rHqfw9m6/gIJooMlXYDFP
qr2dkiDaNRaGJmXaQ7II62JL0IwuVVueunJMQHmDXX+86pb2LS9katociPyWWS6dOani1VheXSOj
3wBh8V0tr7ZxT4H7caCl5Y0gkAkuh4IsY74drIopRFMovFkSKXuqG+WAIybDjd+GSFsJtbi03sea
La0ki8cADSISlcoGfG+9Zg6aDyRoWV6fK7/+T992QkMV6ZzhmRtu5fRY+KZgMHDFJFch355XHUwE
+VXLn7hMm/boIDsjx/lJS6OVtGhpmAIagDIrdWWu0dn6Me0yVNLEzt787rM3voEpCSOqeMkHu9nz
pD4E/JU9vfnGGu1a7IvZ8QEsiL4z7yLS3nkZGV+XXoL3mfMmt8l49aLaVBJeL49XzMK7RbwdyOnp
ON9zliot7fvYSGNcMJFmwoLmGaDkMxfDwdGLTzQ5V66whRUq8Ee8rOlkcvrPUvlEUgu0LOFeZYH5
1UJfs2HFSGH66qBXs7JEF8bGXUmJjyY+kJl5FqJWeg/BO/CvsRI9KSQiZaaGbjqauyYuPlE3WLlc
7thA1G94HUGVhLeLTO98nyee2lp9LUuoi9jBt9gZ+2s6OHhUeZklfbSlqPe2Ce3vy6DL47n2Nady
O6fMvk7tYHxGuQhLozhs25WbaGElgX0EMcc0U3edP2loEhZRPDUODWTZ+SGFGNBlgW6cHq+khQ15
E0X883dXzRB3CJMUDSrYZiwfrFYxz1ii2IcIZdUVXp/Yc7OtcRNKLLJ3oQSePpBT2b/qmGrYXXkw
2vCLl9L1bzP7e+hIIF2mYR+q6YfHY1zK/m4ii5zmXeRcSau0RGjyWsN4r/vo0hTyJi37rS2NRzX/
jLzEG9WsfVmkXx+HXppEoDXUBcEPQfCffV5Mm7zOLmT7ope5fMxl9GW80YlWJnHpuKN/DdUJAg4l
k3l6G9Z6Jvt2YiNzHV17r4o2DHcP2HSveva5y8pPsg34azBeY6XcDpn+5+cRGSFFc3qJwjN19nLw
5Lhs8RUcrqNmnloreUkS6SPKvRco9+G2LNZO2aUzAhF1SDn0jVCCmMWLp0i2PYi4l6Yr1B2is590
6qwbyfGOk6YiObsmB7EWUMzzuxU0lHkWeHUUXpsp3kyyccVj8Zzl3XPc1HujmdYArQtL9r+UVBNi
FeWpeVE5yhO/ht0SXD0NZQRbP2BY3Y1Pma1+G2zzSHJ4ac3y2UC09PGKvR/pTeC5bogTIk6kiV2K
hq+wK6T7djCLp0iPXPy2H8e63x1Yt2LXhx0l6RVapLdfNTC0TOoTVGHlQtWOU2k3Lx7a+Js/j2JC
LQWGw+MWuvRtFC8YUj2LbemihxVybEkOs7TAreFxlIU9CCmCG5LnLIrM0Gxuw9QZhoOm3sOskaWt
Gkn7MAv3vdfu46b81Hrlc1aDw5S1D1iW7k1j+vQ4/v1B/j48Z81teD8JO/gLVYBzdH4mA3xRnQxj
ospYk1++P8bRI6FbReVHSDTNK9p939fJgOeS0MB284JyDysE+3Wh+Zx+tcMjCMXHQxMXw+3FQUoF
oI19gHArGIHboXlt5MHAKwYaLP5TrtUvUple1AqsvrkGH7z/irdKTLO1YoVWGcM98VFlT10Ex9Tp
q5oeHw9nMQZ+NbSLODPveplKJBeYq1jSxbISHFfM5FtdSidwg9vHce53siDPIKLEw4IH+3zd2/ZQ
0ImapgsOhfGGK8LbhjKahpPToBWg0RfQ7WbVY/Z+efCAAdXEdcSdd9dEhdEx+IGU8nKrsf7l5b7R
rOhrWnn/DE0THehbwKOPSseNu07fxNFUuBkagK6fQykvTMdwg6g3tlptNi55brYJO9V6pmtfgryV
V3K/+wMIKQ5kJMSVaQgZ7tuVpUn14EH64Z7KZWhlqQv3/88nARdhvgm9Ei4F8bneXRx+qGO3DdNS
CLMhvZS6yKGjMLj6rlsaichiuX2hQdxJKZtOOMha4/lXS+unM21X4zkv6jTfZI6+L7Dt22WeZ7lF
qMcfMLbSjR5SnJM7blpY3pMzacgF2ln2+Y9HDxZclBK5VOiriyX6bvSpkighgsj+tbDNa2jLB02r
p02uh9e4nXZDqH7583iKaElBXqUjOr81Rz+APVsEHIJl8FeB2oESNS9RoW8DXTuoWb9y5i98dPKd
/ws3vyu1An4hiNngmoQGTfvO8DcTzO7D40Et3CwsH3qsosdMI33+FWFRY8LWMKpoBEM6qWwbZHdD
PzxaFKddGWnISmlbULQjUvEqPixq//3xb1gaKfAcmr283O97OdFgT1qZo+wvhDSFQ86wKp29NExO
K1FbZM3cQ6nT0u9r1fCtiyz7ys4sbSzF45h6exu2Wy+3xkOrNf1r1NK9SZL4szaaaKoOmFM9HuvC
uWkJ7xOBZcTUcN7W7q1BbibPlC6Is+9zVXkyOzRv40rempn0poxps5Kg3CnaID5NYZuHPK4ZnHBz
5FFZIQ87VaNyGVJU2HGW1RHeRbE1/iZrwVcgB/+EsXG0JmtvIN4hF/EJVdwXufW2Qhb08egXZpqW
Kzph0I2olc87O0rcZl2QJcEV1GAL+sxEFyyxVpb0/RUI4A33O2F+wvk7h/OEvZ/oxVTx6uz1j1Hu
H7pAeYPqu3L4LoQB8grTmYSMn+vMD1+K7Oj9mnTHYkU+K3EwnPxa05+8ybR/rXw2laPsNkmhAQdC
6ffqhS0yi9W3seeB5zMuQ6Ol2yTVap4jjefqejshI0JdPISBjWKw2shnOS6c751cD89B4mUny6xQ
pKix8MDrPkai1VG+cVvZoavKvXdU5L5x0UEcXBkTrkjPotepGqJdORTRdipLfMq8cTrXzoSJX2Yn
B3UMiq0dh+kxxD15E5AYv7SJjJ613USvYRVJPJHqaW8ipbfzfXP6T5wnEV64YXTW1CL8pBROuK+6
qDw9/kr3ZozoOQLJQewVzB8sutlXKlCjAp1g0HD3ghNKIPSj92n0sQP+XMfoziJLrv4tPHeU6oeh
7Wkrb+PykyUUaMxjrYQuaqrUm1dKLfeoEcR/FIRYBP4UPOa8BDR4sdd3fYM7hJP/bbWlca2dQDn5
WlI+D06HiZsPlqgzx+glt2Pl1zTkKVLXnmW9lIrW7sM21k+AIqp9HbXqSuNzvorhpeJsSi0TowgB
15p9sx7dtSzW++FMa4oouAQFiRQfCq9RVqbn/uRDL0ygtARgSwAyb6/rrFV0oa2lXAKvdPZt0mev
49g+T7699+3w0JZ9/u3xgrg7bQROh3NAgMcFRXQ2thTVH6cse+eSFFp7HDKv3w9DvoKrFP8nN1tT
BBFOXQiGwKiaV9IiKw+jXi6oXvpB5ErWwTBfHRAXdVh8A8kJserPc3xCskHJKalziyLt7ZecrFDR
xUuT15ijIp7hDIgSa0eW2Uqv6G7KAK5gJMoDiZ7fvRhmU6VJ5rcdzcUo3haSvc0bBaNY/RA00d/9
5JsrKY94xc6+Jbk2x5BAjCPBKRbru4zO7wPUUsBRX4tO/xxZH2JhwRhIl8xmi4KODdbEZe5XiOAO
C1FMwMHi0rgNWKGwpbW+gbM1NaVtXZTFYci9fOWmWIxi0s5Ei4Msa16JcHoQOI2URFfNyHaS7AVb
K07W5J7u3rHi5HsXRPyId9+uUVsjzXrJu1Z9ubFHHLFgD+d0T621V8diJAivwleIuuNcP6ExgTtm
GFlfUdf8hDxOkVifGuNZL1bqfvc7C3glQkeCH8llPof40NNvKs/SxmtZtZsp9T7mHUxeuCYKsvyN
Y/M5g4/UQFbS/KXZotAppHLQM7sDKqDN0kZRA2wrR4inCr5aa0iItQCzmWrRzfUSiQB+0ltbG3vn
58Ioq5WC+P3e5esJ+D+fDpO9eZMzU/I+HlKWtqqOe+AJWwQxwGO1guO56ue3tCTAqZKfQISjNTU7
aZsKdV7DGqbrWKFFH6cHuWGR448dVsr2Tw91hMUUvE6JA+t5vvpaCMJF0RLKSm238dofwdivITru
zyFikKUC0xa+UvOXezcaHZoz3sBFrR31SttPfgskIOB9nW6n8VLnaznC0pqgwA4njWeBcgeYxug8
VXNEgK8QHP+TZE280x1UmKrEUZ/bOJGeeT41F0Se003voCHiKaO37TCYPubwGw5NgY71FMTTSnYw
/xB8Akh4gD05HOmWzT/2ZFhgPlS1PBc2wsuQYz7wI59p5J3aJBmAIUPJCuv9n83w76AAaWCuULgF
U3N7kpmmFDI9WXkeh3ajDdbotrm2VgNfHBnEZLIyiAekI7dB5EyatETS+nMlI7qMeDFKi9kJlr7j
Nn7xIR5weFe1UVm54ZbONEo1MALJGQBxzK7uQB86ra7C8dqmyjfZaTjDtK2iUyBKgwkXSr9JXAVR
+EMlRz8ef9b5iEk8ucfpF/EmwqtsPuJU0vuRrIwlJsNma+JuX+nejvz8Kst4l8hB9HkMsl+Pg4rP
eHujExTvI1QZyC/v+IF6mydZ5vQj4Jr+axBEr+2URW5UyH8syfd7eO8iieG/u//Mya6iJBzGq2FP
1tbRe+9t8Mr82FATfHZKVT5Mg6duowGPnkCHKwwq+1+MlQ1M4dWkmDyvXdedPGLdMo7XYSpPRqq/
jiZCj1q9Ru5amEiSIBIlajZ0cObG9o5VFp0f1NMV7lCG1qDxuSiSLbqzf4+1rbuTVb74Sjqs1BEW
ZlLhzhcHgnAZnhd80ylVerQDgGRV6ojeKMK8vuUET2NjrfXDFjYJbqLiOcB6dRA0up3K0ZY7pfOK
8eqMg0kd2bq2hv4R4bCfOkoThp2/SWb0FnT17vEELhzCN3HFLfduCVVygKNU1Y7XKev+qWrl2IjF
+jjGwk1J+wZRTLJOkb3PDoDWRPcdR5CU7MKadrLJMW4KFBI6NoFb+O20cpjOp01oL8CNEPx0bmY4
gbdjChO8wKgqpW+gY86tbG2G8YJ82tc/G5WIgsSDKKyJVtu8iChpUupxtKFBQsnkhcVbYHakxYj/
SOOr0wxrTZs7fiMBYXQKxjGENnI0kf28myoz7JpCVVFiGHWwFXrm0Npn9Z7LfEipY6lgcSJbxqDZ
zD6BAnpLZSN7rpTwh6+b/bEOkGMNpyD9kk65+sJ0rbnozadZ/D4hiC+4jaBM5p89muRRzbKkveLa
+g0XjZPcVv9UabF3nPrD429/V18QsUhTyFVVWm+UUW+/RZ+H1GVLW762fX+mNPTBqPtfuT3uo9oI
3doED9o3uwQqriNLf+NbfaEUcnSK8SKwH33eranE3OH7/vuLUMFFCYw36vzBo5SdmZT9kF49Oz5a
fvK3U4RfBm96MZ3+gzYg+AjCOe88pL3tXVYPp3jyVzKX31nC+5vn92/4zQ1D8ZcTa3aIDG2UWnUi
K1etGb03FNDq/yAeY+70sm73dVhPO6B9NC6CKv7E8YJylJLp+9IfMWMynHCrTsGw8XG++ssa/PEz
w+yfQivGOCoAOOnGCUrFY+ZIXydr6PZqn2qXKjeypzFXh03TKebgIvs1fJXDzNh7imoj8TimVNmL
ZtuFXvlXrDeDyOjwOxqU8q2gOrO3xmQ8FEMdb3nfO/uinRDG7HKpfbN7BZ+zbrKwr5uU8FDhgowN
RpchRS6PJ9I057mYtBwrOC3cSmr0ZZxi52UMvB5Pa2mtmHN3VP4WAqGCDTcAkMS8BNH4uTyYaTO8
6u0PL/0whWvg7YUA5H70FW2a3hT0ZudkpwZanoZp9zqFXbXzS83alZ1uHR/vnYXTEfkrwbCDl23z
er7dOki3T5VuTvk18MzneFCMvaP0+RZDnvQPr8/fyxG0BZVJAOl3or1qBjUn9Dvt6kj99ynq/mnJ
P4xYXQlzB+0gzo1Ezey7aYVl+2pdJm/U2bGNc55zI3/icKAgJSs/JMX7ojjJKXXCl2jKV56c960G
EAYUwUgP0P/jITM7ibIpdzrfDmjkdNpJTxPXNiR3xJarQXka/ZADb8/ILLem/T3j+QDKN2ouMZXo
x7Oq3mVI/A4uPFp0uLxTdZ39jq7xlFyTdAp/mulilhq3b5YzuRlyR8SsimwH3FiNsWFEkqCtg2Nl
FgKAIrGH06/82/zO1vuJ4ASOPWG8d37//anLhOVqkbfHUFk5xFWBoHh/XAEgoYuArA5LHRXMO5BV
iNF4K8kA8lAsHQQAeoSUpgtMcEzdtz/bKdbJSOrxM9uq3POnPrEP4k/tFyv5CUCiH6WNpq/Urn5D
0u9+GJPK2wHNqHs9ETT4RzQSvEuNbmEGjE+L/C00eQJGzBxGeXwkZTMiYtw1VBgy51sjDBr8L1Pr
udhXbhJ45HxKkI77sPwEmCNz6k0gWKyIa/CXMWsg3vtV5ubmP4Uk7bp8jSgsJvxuEEIMgWMLFPT8
QtIL4AFNhrW6YvrP4eQom0qLldOY41WD3YPmKt7K/XOXw4r5fBdRnG/vEhR61lpZmvi+mjgLuKM/
7dWg2mIDBvCzviQ0vYAjfo/97PR47S/G5VkrYDTkA/MtiDxsXwR1h3tvEzyb0vQSlwZNNsoxAqhn
dONRqkf84qI1UP884xELWLi3iJI75RlztueULgn8vMiki22gd2+HCLGbvkkeWNAz0o1gXEnWF3eM
sOrgM8MXvWOjJqNtheHYSxeQ9PHB1rJxy8h/eUbxBbYKxYlkan6iUu89NR6ebrrdoehL5otCquma
k6/taz03P+pN0v+orRbWA6XufRgAUk1SxCKMzK5WrpuFyREddpudBJebV+Ltohi0XAEL0koX7tS3
zJNeS8V2wyrv3LzNvymt+bk30m1krqF9l+KKaiAvcNVgaYh//m4xFqgUF6kZSpewspyrbqcGLG49
OqhWrb0UXFnbspwyOj8hxsEeDMrt40W5dDGQrIuryRDLY96DznSgGgg8g5Lzym9qO/3ohvJlGL2T
2Awd51jhR/8kubrtONqw9921TbRLgbRFQbByoN0lFqJEiQwGkFYxC/OS1mDadS33soe+VPR3aksv
UqCtvLmWliYMXIiiZOUAZ+fyXFE/jD1dDu8SY1y5y0NV2TYjiAMFC64Dfq8FcBgQZgXymxtTQvbC
yyLUqDPF+WmngX9sHd9wUVE03NDq5H2ldmjatdjbqoNH4lx0zk71J31lRy3s4N+XJj8d0CQIhdtV
Ujddlk+a7bGDJbfHEVUHD8BlGOhrxNKF4xjJBjpK6u/Nq87SrjbM/dGpJ+bA0A6V5++lkf6smhwd
pEektl0Z2D34Q8w5aYCwESADmzc5h6Ty0mFkPuSi2uJBuzV97ztyml+zJt9PHugdJ9rx6P9o5PZT
Gaor2158uNntQx7LWQW5jErY/M0vx1UGRxzbWzWqXZqt3wZp4GGWRCvrbumzMkDxX1pBdxW+KG1V
xY9b0LVGc1Ib+2tihK+V1HySWvNX06/5Gy6Gg0RB3oLNx13yrNmU/SNk/hADdT4WWYdin3nF7PrU
Sc4vOv0rcLrfRYT5Z+SC0aiaUhMij75dn205qQq1J/9Krt5IeW7s86zx0xNe4VCT+0o+BnSGXAs1
mW0ywDKqYdi5ta75zwFEhCcE21uECzt9D8Qw+e4DCdpEgYTbvF5kR0wwsy9xA3uo7if1lPIwxK6k
13H87ZNdM4b91rOnArZPqOzkxDZo2w/mJskGe5toWeEOlQYbG323A5lldGimUoUIH6sH/LHSZ/xG
Yb326PskEa9QR5/an+1Y+Ko76JRh5RQzHFkBZD+FaX7KOKy/+Wg/vhRGawHKkawnxBSTfRJxSMIF
j7etjXm5rzfjoapNzzXJanZT72kbT2vtbQ9q/NAXevkps5rxa25F43Mr8YRNFUndaTUdNC0rJVeP
jXxjOHFxSgfdc5ucgyccCmmbJWq7K/Ru3KhJmu35dNHeSbT6n5WbQWz12aTaPBbo51C8AL4xO3Qs
LWkVG0XqS9tJblo2h6DERbJr5V2N3qUk5bswnT72jXHS5f7S2BEJRfYR8Omvxz9k4clw8zvE4fju
iiyD0iukhsVsj6b30lRJuNECToZQNtqtn9j5RglM5TW1LOnn48gLxy6RRd2M24L/zb5Amyhx5QRA
uwvDKw9558i7Ht7PpgwkZh59uxXAwsK2NQXPFdAHhF7qyLcjjVUUmJNCra94NwnSIf0OG6HZY6a3
24686fHoFq5b5lUozcLc4jk2e4+WyJL0saVJ9Mws5TUs7fiUtENyehxl4YTlzEPygjYV3cf5CQtb
LrWKAgpZZ5vGDmap8qKFer7FRfhPraTIc6mAw8ETdG+LD3n7+SoU/YPMr6H7mP5TVWFiHgXmAdjg
CnhlIWe7iaPexnFaP2DpCT0wzgieTxr+gf4XIONjI4t3tIZM6uOPuLgFsIv6/XYGpjNbGHkwtXYM
WvAS6OUVSTIw6mp9tCrpr7TSPzhx+SJajY9jLk6cMBCDkIdW4LzUL2O+3KtW1V0ToTjW8HZ5ipS0
f5KjZE2N/79M7vlZA/iQJga4FvCQYme82+NYguAd3sCXqsi/T5aStk+cerlryJn8kqdG8zmI4hFs
m9OdTbOMtuDN7UPZtdauDzxlY4zZtImqpt1mvmJtmCLzecpH5VW1x2LTIOy/kzGFOmjegLiXH3X/
CYQnmxIa2X5KtOhzBwAydXPLiz7jMJNCdY67nVMKcpFROYcodg5dBXQtxcVE1ysM38Jwo4T6Xk3G
eGslsn9sEig7gIPA9gdT446yirA5dipuEk2dq1ed7Y5NPVIYmOwXbwTKpdp9eMriLn0p/DDblEAG
T3nt0SgCKhe7DSkyUVvtCa5h8qb2lf8S1lKhu30rccP0crU3017blanT7wI5nnY9dcEvfgMfKrKM
YNMmeffUjUO4k3ovex4lUF1pE6fXIjCrJ6/VU7eq/egZdd7wilZoskV3cXLzvpZQzerrVx2O1U43
A/K/KfxUOti1yLKk7ZPUio9KbSi7gLbhXh8naEIanjJaG07b3EJpwW9wCUp8GceJZJJwipGTbe7B
5Y6bEXeZIer2iq9m+5D+9daRPW1bx077qti+dGwVLcAtRukOE1O5172xPpStY216SbJPcWNOW7mM
7W3YNii+5IbjtlEhvfi2Ie/H1Cz3cW9bbprHkhumkbfxA9U6ad40HVLHCA4maHTT1eSo24xFom1C
rTDdyI+HFZjM3QkrdN+pw8KnR5YZpNbtqlbyMsayKswhWab+J9nL+6+dQyq/ebxT59cU0nwcecBc
KQVhmz1vHxu5TM6uBuElQqh0KmrP9R3nU9mYVBmMt8ex7hJ2EQzgLl1UQB481GapHqdC23ejFFwM
oILRpHysS7VDIt37YafFywBf1g366HNW6ACCko4FERQrF9f8ZBI/gcYNFRQwIHQhZ+d8EEWqVLdK
cCkz5Sgl48cWgUo3VpyV7zo/5/8bR4BMfhN25tfxZCdSkLdFcKn8tH0ZLC1+zbzQ29ol4FxvoFSm
FSxDV1Kq5lM9BmsCInftI36AIOVptD5Jre9eJ5GtTZUyGdUb6NqtorxOzVlP1I2Qu40wX6oh0vj9
Vs3PNgotYfi53yfflFWZgoXPzSNNCFMKTAbXwe0q7sLB8UkTzbPXCzbLWF3gsjxeVdrCEqZeJNCu
grt/11cuKh1Cu27kb5DlNqBvKXhY297O3Sb5PhUFx/0FLqZrVtM5youdsI2q+x9OJb0UxUG0OOri
zZuiDY9WQffAtjtujpn9dzOc6LTtpOTEz06Lk5bEe8XJXStpN15duIb60TGjU6KhIFSuYSbn6Rx1
JBA6UAMRAxcg49mlZtpRYhbQc7Eyzj7knh67mRJ9ygK12w3F+GEYw5Vc667FICJS2+ewodlATjfb
GV7QAMHqfCGba6a7Nhgq16u6jxOu8K5PVuRarfYZy2MNXK+EdHK05tF+v1bo+SIQQ9cTiiACibdr
BfQU5p2qXp4bfJVdX2u+mv34vZsMfWXF3DUyxVDfRxJn77uMQbHlvLNo+J2lIBqOFJGHXRBZ9lVJ
vOBz1afqETUwa69OhyQOjbfS1MV16I/HPizTlYry/erlt1BCw0wIzDbCIbe/JRjacYTuXcK/QmH+
KbLaz0OkuEgQrvVPftfA3idKv4eNKgASfA7gwXkmGCtxrSArNJwRNNpUukRv9GPgp0edh6GQP8No
xS2ccxIHLlCjPVXVTZ5erOANP7YXj6QixxXk8eZdmnOuOaq9AiJ3V2wAfECFsrLL89S1WInKHEVd
90Kddw1ItPSZhVID5qUUS2Ho3H5muzWR5UMz+myHyjHKwmMmj7hpxVvTINd/PKjFWEA0SX3R2aBC
exvLlKoxGuKxPnOJWx8C39Q3dpmPz4UUR9A4sE59HO+uDsvECksJIY7CDr5L8YGDFtLoaPU5ptN8
LTut2k1Brm17Jx+QwijzDQdV9ckJRuUA9UPbFInSbZPKSTaeM+DMqIbOsQrsbPf4h81zGH4X2QXP
KjAkNBHmRVk59AoSubo++0iBuFNgVycPwtv+cZT5A4coMA9QEcBhgI00R6lCoVaCQJIgsxgh+uoG
yvFhHj5H0/Bqppnk2kmCNRcV9JVpXjii38edM/nw7lb1YUjH86RDmvZ+9snR93U3RxRCMdduuYXc
6WaU89OxcKLEn8xsPCdmqLwZemjRjXm1PFmF+GKgzBg6ofKlKPG8NFKnOo40kwy376RsZdhLnxsM
P/1MXL6Fhuvt6vbAdSuJkUznnsfOobBt/YvVKBlEiSQ4eTKq0nIpdVvWqbFS47/PqcDCAB+gYUnH
AUjMbWRklRSUgOv+rFrxV0R5/A47GOC7SVd95OlcRdBD1+QGxGhmZ6YpMhisORDfuaO3tBDolTSM
p/MIwggvDntj+/nZGSpn5bMuBUKFFdszISPGH24HZya2hlrVNJ4z23PV/nUMc7fs19KKhR0pIP4w
lykl81ieTR7yXFGjqNlw9iP/BfvLvydNOj7ejgsD4fYG5EcTToSaZS6VEqh2lKrtOcJWwfWs0BD3
av2Wp9bPx5GWBiNESuE/gly872FLmTWobd2cNWhwnxPa7G7uednfj6MsnOZCblvsPhJqcPe3E5MW
+YTaoNOeu6lId475k5pGxGOyvLLmHodaGpBQP0XgW/QT55WMyhgttU7J1EOpLd1c1vGl89ZgXAv7
FwkUhNlZ0qhOzCtdUVSUEpWU+hxlNgoCdozfUNW4bQ+V0PDCXaNV7d4espU8Z3Fs1NaEXhlg/vmy
AMo+NXZV1ucmabonNSrHTS2tgsyXJotCIU57bCQemrPJ0oLMpN/W9Gevlv0n/C+6HXDv+FhVMtCc
IN49nrA7e0zuHoE8+E0RQ9piju/Qps7SS6sqz0i19v+0dqj9rPGBpxURG6/R1CCBSU3mu1EHLWpp
RpRvY3ogJ8ko2700YPDdyF76VzTRpq2VyTuhx5M2rsSjvHBrFDPWrpHZ9xHzDZZTEJSBxwsd+dvF
LFUJEsJjbH00m32TFj+T/os2dG4xpCt7c/6cEJEEzwI6m8NpcCeTYPhSF1ddY36sescdvaOVvWpt
ts+1vempApVTdfpFCd8eT8jSKmORQYiGlHWPWFUd+Av9ULVn6nJH2QJnE2ZjuH0cZOmEo99OVsNz
hK7q7IQrkJVV89Jvzo1fvbV+c6mlD3raffgXUaho8nCmvchlfTtVWq4aQdIk3bm0epeXakIfy185
2xZHAr0RuDkV1LvSqdr2aOr56H1qYj8aPEV2etRnO2+wzJXLe7byqJ7BU6e7Bx5P8CTmohZFPOhF
MbL/60Zpt3VvfEt8IKtqzo0a2muAuaV1YKowbtCf42U1J+d2qjoZWTZ1Z4eyY0o11Mt/KR1GTY/n
aGFQNuguUHFAVQyoZbdzlCdy07D7+7PExeom3hMVfV9OSmG/9zjSwoCIhBsi0HmZA2e25jwzCMqs
17pzmn1JRipW/2Ip/E6teIYBmrxTfmlDqsO637fnQKu+ioeYJRdfgJ6sZAeLX0yAVVgFNMXs2TiY
sAosTtScKSl4XDplt/G6+teU486tAKN6/NWWor3PGGfzQytYNqrB7s+NkXtPgePa1L7bsJGfqrIw
Vzpwd+h1ljj6D6Q9AiIiNEBvVwNUR5j0fVefbT/TzrpVxDvPafO3qYn6E23qZBc4v0oFHRuuQmMb
4P36irFc9SPp0nCProy/Cf4fZefVGzeyde1fRIA53DJ0UAdlS/YNYVke5kwWw69/n9Ic4JuRB+Nv
gHOmLam7SVbt2nmv1atGVGtELWk25a//fTUc2EgY6CPpx1Da3+9vme1KFANxqeisyZ8pELgQMno9
RYD0d8ytch//7jdLhETqv6yGK1F9/n6tvHZidxwIVxx4itVF7OPEDAsnpmfMfBGu+I138asi43LI
r+wrxsP4sNN/yegYUODUXUyGTyTCOlZO0t5I/pQo1akI/PsqfrZsaLK/Xevz/PmyDsNo9spyXfLs
mc4vcBYs435JlztNJDTClo2vtm1Epu2UrcpvrMKHEH1aWFv2k1JZw735pelrzRJYrj8mPwRcAGJu
HjU703fGZPVh3Gm1T4qn8icq3f5Wa2uwjVpYu8WJrN5Zt+srjdGzD3UvDQvpXolTOpLS7l2MWRMp
rFWSWQMoIk0dqAMNjWPbRFCOd77pFLOvNM6tuTZfJ22hqj9VD/Vg7Q1L/BxqsFFF5X6tLOfk1M6X
bBuIQJVgdOLzSs60cLcvdlmRbe++qIpMLqUQL492aK1561eK8io686TXDbgNI+1JLQNzUzkeKbc1
oVUor4atnGC8Ce1RfwY5/xoXULeNRhcAW7QHEvyizM1FV5Jnm2raWtpEyJ0RgL/3ZCN8Zmrux1o9
gaa7+jD73uAZweTRJklQOhBkJeV9CSA9XE7P6ajK4cefAIdeVkc5acvv5qB+lVU5gCzJmSHdwNOW
Ye5fZLWwylgZdWu6uItPTpx1/W1OXP9V8ZHJZdQVYYWX7BdzUVmLURudO10oLrMHPk6QT02RsUjJ
37mmF5n1r4otwGSz043s5E3nMfRacfK8EbKo5SYf82NGeN1k+za/ipUygtWGepyF/WAc1KZ71tzf
8eb9g0ON7SEw5X+E+b9AoliQItSzpZX3ziDu4OA8tPF63DrKlol9XNwxymYRNP0I0Nea/FHA/DZM
1lO8LOe2T+/tvqr8bWo7QMWzfWmnv/Fqf7XC8u7k8AunD9X2ScMXHeywGOj1SnkwdLLqjsLa47+r
l1937u+XkH//i3S0m5kOgwFo7OReDevoiG/4ytb8H6uL6DBSc/yHYTUS/p8dl8Egw0o2cLkyaxgo
VK8BTvn35/hVyiVYnUolASjaf/D/l7SHkEUXV5MSnyreZD5jpYrw71f5B2UsZ8UocTHmIZsyP+2I
aOq+lXjHd5bxLhsczXLf5dcJpPMGwARjeptHOs+N/zrwK0nF/nrZT7ukQXYYNyawGUpTzI6PTR8v
qZ5bu1pdissG2MBpaifj1VUW/c6IxW9P+Ac86t/tAK40NEo0vGLKfxnGKkEQ9mzSEpTZl2Or/Uzy
wgeSAmzA70bzzSGV3yReQEfmXqu60DKT3YR/wTH33Fye9snr71eKZOAVE4qlARRB4VKmFF73hZv4
XVzf5Usa1G0TGIUSuNDuzvPenjT5otb9IVOyHT72D7d3I5EY/mx9V7ctqNf7sWm+G7Sn15vxO3/7
8zwF6+6Sh6FaIn0LRq7/fjrAdJxmh2L7Ra8K7wEeYBT0OmY7bygVUAp6I9Ckolj1mNygpy/Tvimn
5Dq7rnGj5W0W4vyt+xjc4MkvdSs+zjDOAM3c6/1hsCGeCSrRGg/rPL31rjs+OrXS5sHiasWJOWPl
SanbJTRGsdDRu8avRj3Wb2UOpW1ccyEfpH3lienS7ZZ2xekKzbMXFfSA4OuZgHuOpIc18uyYH8qv
8TaJN8VsKfaYc3mzEn6FzlJQX6tgM/SXWttIBA7ag07hH/C0tHsGNXa44T7NW0OBymCNs2qXTvW4
i8cRtw6Q/4PQJLZ0mptztJU2WKxz1z395tA5/7ANeB4uM1aoQ6bxPp26BeMD98VgQTjoJcGwaHCq
VD+rUQsSj/vtvXtt6ttwafQ9wPvPhWje7X4W5Jf6g8iGSB1y1Ker0BRve1BYitfc4os6pZ9CwJ1v
VGftTzapN78XSu6LPD7ZC7g0JGIvZQtpsbk8qICqRclCu2RpDt8qnVkfR1DrxokAGmxjq1WW2yu7
iQRXpgQpA+NAuGZ+mRQxkK4Q5M3FH3VJzVvv1m+e2LRdXxhMB8bFTE+nXe1NQ8kDvcdItyOU5N2i
diFl2Uh1u4C2DO5X3MNmlvtpasS+1Q2L7yajExq5RnZ8uvSwXAMLcVM61psRl9rRXPUkHDwz3Tkg
bfqGkjw5onhXSvXNE+aD4W43a7yEwEtGltM/J55Ij+Mg4LheGV1z5gnbi4DMW3PbF8O3OutJE5XF
E7C/dpCo+SadpjzAcjthsnn7IWuOdMBe3VY/AlkeuBYM6i133esz7S35tle3YdvTHXZczPKk2sp3
cIPv57H+4XTxIevMS62I7+XabP5suBfV3eJgpAkl9cCsLds7t3OuQtlemRLI/LkqHh3gNSBd3C8r
1EmZcWpSk7lI5oNqcbXc8qGxtsCr67NqlfuJSyZu0gVA4u9dFQ46SVXjuk/CMI7GnD1ayfrDi63j
lrlHBuZRRN5zrmwisjUv27tJsfnCgJ+qaQ95HF9de9nPFdzpwn5qS7BAa5WZBzXPj27cnkel+Do7
1O0RMLABc3fad+SngnYa6VrK1mVvzUoIgLxGEdQrwspsLlMNtXkW9/t/P0C/FjLQ3ZgrxnpBmPqF
DwVRVzOm7OfLbO1cCsv+qJ6dxg5WxneEMuztzfs6G+VvlOc/2UqSyjolOdoxqAJ/iv/M2Evqbinm
SznpLQ1UVnVcp6QG1TyOTxBa53utrmPCz3I5LXqfvrrd0PzGLfg1+0yYBnW2NNhkMj5rDjrx6pX4
WbuAgZLfA9SUXlLLyL7AgyjOYuuts+LODWQtW/3l3xddmuRPBpPqiuxYxeUhB/3J7e7tHmytTM62
lnuZpkkhtgbS7jcOya9xLwbq/13lc1HQIYxY5nKYL5PT3POP+3oaHs14OpeGu2dO+jch/WdJkm2r
4E8R0kvggV9mA8j06vSI5c7t3HcHc53vUCdU/cYRZbqt952av+DIfs1spjb/fTk/+3cfV6ZZAzpy
SYX3uTdXHwbY/jDRt8sw3aRx+rIY82PDE/9Gav/xOnK+VrqsSM0nU1O0WTpYa+Hekr1BEefO/0e0
9I+rSNcJmTwO5q91l22cZ2pMzi3Tj9PIAJed5O3JYnLTz/uiohNizoJMi2nF701aQunMpEmlVu9L
s1APXuVMX+x48vBxi/W1Mz0hG0u3yZ/WfnlJOj2l+dRpbnC3nGvNmHk0jrAL+BDzMEdbK6hQQ6jH
pm3bY500ZtiLJPmP0v+xXX95RHku/xJW2HGTcDfufNcxjholJPcCMfVxuCjtHObC/k0+5pdytbwe
lUbZiU6q4heY9t4azTEBD/w2HrPIMPsvfbHtpyHZcVWaqXQoqyHzzMZHS02OhXCO/106ZdskySCT
OvVnFE9nThJmzWLnP0jN55P+8YRETjynxG35cND/sqJgtfSLmXf2baardwslaV8X85PrVi8KXpfQ
fsc1/U8HAZw5wEXAnwD3Vd7PX65n1kntLmY33jUAnwZVIZRDjHPm0+Sa/+bMydGiT9ry4+no7Zez
XAY5ik9XKwXWldbZ7U6AMnGkhSfLfGWZtB/KNCfCXxw1u04dADWOYg9hO7Tju9fG7c0w1cpFpfMx
2GjBPJeOLfALqvGpWG391GWD4eubol/NLvshkvyliTVx8Tjjfm+u3sVQa0FACv4hpnn0NYDV90XO
JOUyVks40k7ia7RvZjCh9strPJCgmUytj8Bo0MNETVSLsMf86XYmH6m8KlDMIYs6pdFe1XbMuzCm
9P6cp1lxtrbNODTm2u+FqszQVHlrlC66eiN4o284kMfANdox+5PTBNi52a5dlfLqGNn4rBZreV5n
mdbUtWwHqlh9pMNo2INVWoV1l2FFHaUNWtJcu7TuAPTpjDKhhZwZaPqJdTpicuNhGUamYTyxlrvM
djOqvdb3dey7o0M7+DnP1WpfWn1+m7QF8WxTgt3LmHZUgAMR0YmG35lQJyZlx+hSl03Ao+djkOSq
erOCenyrbFtIJjHqceLPK0N5oZGund+u1XY0vKw/jl5xqufJitw5zh+q1avAUN/6sKpFvtPpCrpP
EqBvnaHTbjdlsW762WK4ZJ3aSGxxu7cZD/PHJStDq3dtP3Vy65Kpc3XOyUT6JMFJSSZFBs7asD54
Js2SdKqu3HC3HAY8doa6EjdK5tULPaOD2rabt0Nsb1UAGtAQ1Av5QDsXgDhbtRUZkKyVzHXj3kCS
FFffh1wJClQo1FdBP5JKPLfTQekLoR21tgQkOB+XnVJOr5qeghALJXdQCxqRvJTU4LAN7i7PK7EE
tNinRzDNdYQnW18nxY5hYMrUbg+bTxzS01K+0VezpmE/xkwv1Y5BzziAcVPZrrtY7+e7RZjzLtVW
xq42c/aetnRyvzESbD5btdFuUUbMKh4Je5gCLTSTjeRwRYa1qFawTrHxAJYpZsGa25OdM8BGaUCl
NyuBjCUxu12dp6x2XtmHViCXQ2lCrSGKQnvpq6192dRBD5JOcQZ/qvP8tfIK8zB1iUkjX52px3ze
sv1C5zN9q96wj0W7NqE5rM1TXdF9SvpiqMJK9Qp/8GJQRwetvGl6Ti54pQOAf0l5An5/X9sFwpOG
8ZwBDTz5uVj8Vl182V1LzB9UoxVUhH0uZX16Cn3gBGp3n1LKrsZ7yQS30D9b3tQQ4sEF4cs/LBpU
bAfC5iOwMUXxRrqSn5f13Vwc5AQgAXPd0aodpTDviDiPlPW7BHmwjji6Pm912E+xMhmoioCWoLzo
fMOsA/5CwDFq7xXsc8qPcmIyut5RlauVzndgMrOfq+JNy6uIfF6gbiZ+d7ObtOfKfraW9qCJr9T1
A61VI6gRI1J+aNy3UTQ35ZBfvAqgBPfHkgxBYgKHMe64J9Ak9IJOu+xZN+8BepCkMgxo0/b2Fk8G
SVeb6YUvo/d9hi3YQ2dXDKwzqR2OhhvYEPrK30/ad0MMhMWH0fR2MXzUjTUE3HcSn+ZOIx4GvbJc
xyBW4iCmwFTnCnMOANKSyl5AGo/PXubseHzJXaYPuLrDcsJD9IHf8rWl8uNmDcnY0cupRVtX8v+d
5eZRAYiaIJ1yrrP4pNs3sz4EGh+3E/XnBD+rawgYq9rqGuv5HiE4WOQVaCItHjVtVO+SPLu0SU3l
w1qnCDIonc4fI/M9Kxn9eJqRvuS2gqlJ0aFscrpSxfHpz6Jor52hXQbb3Zex9646nd/LQc9uIVAD
V/iqA9dJB197yIinsUqHhgfWlP55bqoonbWXcinPmT44fj57D4XWRJBnH1t6H2jRKa+da+2EZj3S
3/PBlnxVhHG22FkvzgLVmM6mQk2hLU6jOZy81fmhxNVOYzaQWdUruAeRXEKDpI4zV6FuJD+M1tyr
+XpMqFUyTKQG5Zjc9mNydrf6qnZoQg22WW6Bc/stLuzHwiZjZuURMPy7ztR3a0eyyiHf+lbU7SkW
xfOSFL7l9hFIr4HjHbvpgECpaXOW8CpWCoa0cs9v2NNmHBmyYYk6FawSxZ/sl8G7rboHPgZBSJQD
K93OqeReZKJs0t6B4TCqlMxEgwq1A76ayAeosNVaIkla6vTrAXYzH3UDghiHQM2PoLhYy3wFCQhq
aUqWxbhrGuZvk5X8/7HP7GDse0Kbaj9mwt9cbVfb76CVDAiXkSb7enXYy2q/5WOYLmuQiGfCPY5i
z5RnNc4BZewbi6rgNlS7CrwY7koKK5gsUkbz4g04Jl+K/gKgvSPc/dQOtOWr1qtUPMZs37IaCygk
8tpm3j5rCpmaLlhApHGqdeep4s4BViWFERFEl0lJQglW467VNwVWRvpRA9SMZB3le0jpYxRAMP+K
GQ45xnk9HjQyaN52r84/C7UP0qGPeD5TmOGaX2AARK+xSCzG6E4H8HZK3+w2MqSO3xfo6lIjpI6h
igXKwscayreEFL4isLGjgcy01BkVNMtDflKZwLKX3rd6Rph646vVqaeF4U35NgHvSrelQTIkvpIi
MtbZGN9bNz4gCqo17u06F/Tuxl9QrC4KBZD4SdWEX3Qf9Zw697467SylaXA+gEIOQ4lpSfVdn9GU
g1ZpFDOsq/E44G7wI/Py78qk3QzslNn+ZM8wmjvdxcmgYhXmBkW+ujtsZRsp6OU1bxiUcrUYnJV2
J/WkShvyGRFr+V5jHe7Ru4qlg1E03qvqEOUi3tvCOhFNhqumR4ln7aXoSWlQ1jf50BmGbZ2shw0u
aCdu9hyXyhXU6pZdvKiHbUwOXuoG7I7CCxZjGocIeZ/AwKsGesrmt0J3bqyK4h/L3EyvxHVBnSYD
k2kfJ6bW69CKN1LcVBCBuuHDda8QjU0HcFhZhrd4dhFUy4+VY2UlmTw2EqZHvtjOY6xBAgxqNUg3
rOxIybFv7L0hNh+QIdOK/Z5boGtvVOJd3KZSprIMHFKtCj1myoDyaVUcT/t5cF/aQXaNAMuwvjcj
KTiDmtwbOQnkad/z1Ft8dpQ62PpYMiTNYKZWgB2l8Ymf5NOivAE34oe8LXzHfeo5kWlu3fMVffbF
W+9N9WQX34r5pMbntBInBWLa3FVuZlgA5CR26zHXPjUftkcgd8gYtoc3LwkBoivxhzyjCSEDYHGk
IXpr5qeSM9PZy/1aTrfS2mzIuVwV7oM14p5YUv698sR84GNJ6vo13UKp+ywVuDiyaskXAEV2VLjK
pd6xkBz/xVE487db8jpn+9lLLlN873TvVDd9c3sh8m+1XG6XUr8K7Ts36ZllWNFX4Oo3WbN82EWu
XqNlS+2LmmaHHgZ53rcpMRMdqt/2w4f+bJhwcIuf0j+R9OccHXcZ/C55ScoX17iVN0YB3c95TimP
pI9DubKKWkeCEXvutqnWMOmuhfYFRXTUF3VnwxNP0eOo6MxxFDuHQ81B8JR8J6h8IQQ07kiVyC9L
0yWv/bNN+0CCp4iCrzXiA2tHjxf/lYOiXvEzAz42BuJNsRLSnPFB6gkwun2wO9DribUGKy7GuNiv
23ai2+ai5/Y9PkDq4MoflJyJncJ64F6SQr0QzF153iLbdopqPU0JJOEQPjCajy92cKy68OX3r3GC
ajIuDT4an2zy+8YqqE8UQYfjwdrTC4urdG+4h1h91HD6luxJ+n9G2X+1mvSmWY+psquNnVcl5GuJ
D7UkKreUt59B6BDrcKvMa4CQyUcxKMNIdYEOQDZiFgtQxfPYtPtmMr6DTwV21LM8d8WVw8U/pIoY
OvdB+koau5pCxmoaywmRkOe46UKvUsFEKqQYCvZMmsNM14O43CJ9Ne690g29Btw0/r4VxR0mNDXH
PxWBTZ2meI+Ln7Yi1TzPj0atcCPtN1Avo1hxIvAXdtLQoWZYY4RY+rp81aL+pN/g1q1P4LM/NRtJ
6PUg/QQe9MOztXY8p2bdy3uZquIJGdJwJXADhG6EprdKF9JpumAcpx2Noself5sWamgcC9qNa3Ov
bV/kmsrTyldR8oReprjK44gSS/EwpQtYLhGML9IRByHgQyFKz7JW7XMG6H4eE5XRdcDF5z99Cnnk
jbe2w9bXuxj1pNpsgx46fIps0a4rh2clefzwqfCu81o62cv0ZSk1Kcko7c02d9vApLIUek4SHfgG
G8JPakOwyKsdlxe5luyG/Kklsc2rpWx/SLfvf+vEy0j4sna6L59QhhcuBpnlS/AN+KurfLi1PRgR
9NRab63Z7HNzimgi9seOYS3FeZSfZOMME6DFNX+yHYjmQAcTYyU1JQ4idpwZYm6UgyF3ge5H4Wti
vJvdgvTcctLE8OI5z3H6U+Msc3Xp60DDeVa26cofBIgVbPk3e4l3ROr7xZt8jDLCy3/lLgLvgAoe
mm+l0+3LJb+RStvDWRd4o6hmf3BrKeu6M+ylTkb2eJEizOmUZ5pVTXQ1GtVG/jNm1Fq6qltp/uS+
XY/a4dR8MbJzmdBhbxcPJQEbZ8vFkqCsWf21f0N+OSu8n3VLxBihFOBZiLt2x9k5qpb08QQOfjdm
hyF7kRKIwoTBESy97M2xeuSoOq3tw1xuN3xHo3g/eHEy/U1fqnM6WnvWorfqJ7TPC3/J1Ioa8PTI
PwXYn2MiAq1OD/+zKKDVft+W4kPE1uq5HbuHDgA5qX94RO6UFZD2Aw05JlqIoGM2pARqYjt5QyjP
fXPHmxjE7vpvvA1bYJMKKrx3rZXqF8/LOkmbZjpfWFweDwutVEbE9+eZcs61hzrWDp76Yy03fzMH
PB6Xh9zp6snbihCJ5qhzPOPmzVZfMbAoFI69lCRcwFOhYWhYgHHaS8Ngu09mvkS8IUf/8IdYZcyU
owydYb3j12tKY5L2zA/oSuk28TuBVudJ4tV8BRjFpzCGT3BMqALZgxWRRg299CffVUw30mTGhDnW
B2BgNUeQPeChCpTeSAGRZ2Vv+Urchj8ja2nK4/WNs8kXSLEClw0VhdeaQa7AS4zac4pvPF7TP2yo
hgFc4nmWb2/mr+BDSR+KT7j9N1cyAqk/pcEjwf8RN3IpqWR4FumvO/Ymw1Euw6e5JKoVvBy5J6C6
+6l4roZH6QDxdKMZ6uDEiRVsArwvfByeUdKhlqQS1vjR1Fy5u/JactXw9VAD6tXGRSftNROSSyfO
s8dAag8pp+wRyfrv09IGBNyZBtBOh5rmsFgnPi/1xiSXCS0qca74bVqAhTIlhFd2kOGJj5R45zrd
SXGR9rtHexIfOxKhTRpgNKMEwWc9OjoDrKbf44MgEVKBrli6msA5n7VIzDlt2USIPDSLKp+Bu+cU
r/oTyyPjsya3Q3lvLJJ0/az2Rhq8zk3k/knxRCvhtcHv4dv5R8AEupDUTyP5HGmgODRzp5CBOqNp
WU+d3sKpuahpBSTkvfanSMjNn/AhuHri9bQQ8LxWBlzR0zg+zygoRYx77ouFbtVs1xGWS0HGwHBf
BStoN9sx0zqCFjOo1ETeAE8vd5yPcBtqo97w+Wmgskw8lWXnMc2JHbRgWkn4bhHm/s+Ny3Ev+NKh
SO5YeXYGClj59KypdGf5NLlVWX0zDPA5jLfFpAicBvJxYRwptl5KOlvMO2SQXFqGn3pvi9WcSvHg
CHHMFv1HIa4MsXxY8MkiGu407cz+1Nv4PMTbw5Q/uNhJOpzDuSOUu1/jEp98unFFJfWBSeoJbphv
+DYcAOn0CGJZuSo8d74WgYwlrUyv/WVqw1VxLsQ5O/nUakc4v9CMZUV2Zl95PJ7L2F6IAcBysV/w
2XDYLfdpBtKJBZNOIhdcLJJz6eMm8PWX/xleFfXParBIDQP5ReJdMlvB1Qb6AwXFhzSlipDnNNel
/wAKDiQfDK7ikbISio0TQ/jDx/liZSKWLlufm+FMmuLHsthXKW94TejD2IpvCB/32LSZO0G1SoWk
yEO7QJblfpyXmHZIGetaxTeQpOUykZenIds65Ib7h0k0FWugbBF8SCeBJWYuQWp3m3fJ70gRGw6B
vdTvQthU5I0jQ2IPeWaQVbpH1PjGImnoN2zzL1JgUby0tYQONl7XGTvul4/sHMef0yuvUU1bOMJk
3puPavy2pHkkT6qAtSPpu0tCbC8zGyzR/0SMZGEwMgspFbtMbbjOs4xRexevAIrg5k0Yg8/6tOTT
yPA9KCTPWAAZONUZ+NGmir79EDzj1iQeRdm5LDEngJ0UaXGUGUn5YWdi4pCzAdKvvPyixG/SSWvo
5ES7yC3EmiDzPdmbfHyUL3NBD9xQ2M9GfwtFIR7ksbUT6UcJ/d6mgihw22rXl3ovZpQT+7XOcJ1T
a+SLpESwzfJxF6N6IAohEfSIsLENi748S0vYrjXEh0nEnciGl4YUhFo7bG1MSsm9GcXEDygFiOtz
Xz4JcVbTf2dUL5iEAUoaMBzI1oQS44rl1u+xsoNZvnsOWBxSDzpJkMdDYBLmaA7eHjnINauk9rZJ
UVlxGZWFeIJgsvfp4XyzFOsHO29jXGXUhtQ5tYVarnypd/G624XES09LUG0fYk8n9/o+NMopju2n
tSBYt5+VWDuzC0687bqm3dULjRltf24WPRB4ZcxZPdX2M4B4vl41XzSkiBMgmguRndoMERXYyG2U
n4oZ0zhak98Zb5w6/S698rqSsGcbJVD1shVNqKVvcmvjRNwR5h5qr6AHRnp6dyNqC2so9VVcv9Ll
FDXJH3IBFE6MzMWhm3k4dJKXf2TdMpHB6naWK5kryW420OFKM8njhzRLHUxEIs9FrWLkVfdoq1Mo
1/7PkCLzXBkcrRZuT0HbYrXkgWbFEZUH6R+5ikm7VRsAphSlW3o/xG9j9kLhi2nBhRRoP/vM7jyo
y8fOgD92lv7hSgP3QrZNckd5+XJHtzz9/6IIpkkqHNJyihkJSRuS/kjymnxrdr9qrZ90r8DThXGx
HU2gU01cMoEKUcgIuHy1B7KJuSUXsl5SmU84JI55rfstYsT0QsOwP67zbkRNbDjmTGGHm2VF0oKj
AKDLBPrIDGNL38tAj63c2tlnCtYfyNh1YxE0BMgMUeRBTNpOLZ1b8gEJcX69HouSoy7PWj3q+4qc
q48xdPpvqebtZ/Kp6ObUc+SaJiTDGhSis6Sg+JSRaxqE3SMwtmQhgKD9SCpIVYYFa7D7eErBoKtB
q4+R0MVeE/rbx/1ZWzStSZg4jnSxNzwBZy1u5MnxyPIIL5MOI3OVFxkLlkXY1cNVqkapK6QyHeJc
li4EyBuBMSrE2sP3eZz92dF8abDk03q5erEGl2UgFKYrPlysJBphAOa0cy6lQugaTkT2Q4qrdHTm
+W5VsYHJHyROUcq5od80AtqEYtkrnXYjX+WjIDsaJwUFKE80WWNLLw4llTvWVCdHOWrPptHK60Cw
8FMqNAJ9d7xjt3A4Vno8NlOVaiiViZaPNIXqjke1BqJpdAOzTOdgtNLTMBBi0pASuO2IoRlDrMJY
d8c2Hy6OgOYDrCbUrvwWE2eGit4J0WFdYmcIzelpboZ7B7li52rqeK6+AmWAOSh67Rni2lPcWSEZ
vV2qmJpPm+adpphSF9qJdSDQjNwK4ofi51Lm8qwldYYL/YMDVXmATHl3mKEKiRlj89bB6045rF7T
UNRoT9KFtWWmIQdavcAdQj1PY0G/YAdsQer4emsBXKuT7OwDZdVmOJktHyI9mTJSJzIlCJDxh3xX
aVs3YHkITpjMgGtZ/DW27PNIOn22G0uuMsqE0ha53fEQV95uKdw/DIyTgX0hEjKo8K9OfVcbOjZ0
2810ahSjgEoEfFV/6CRi1uLKrIM0ik7yvaIRwNHrQyWajzSttAn0Yb1CmRw2mnUny0UlDpvAEbbc
ZT9xAofsC5UqeaDNIpVhWNPGQe1gTPJbgCT20poWTg8k03iW7hFUjxcN8F612+QTSKXjVuZpIa6R
ux7rdjgXLf4JKaSku0mF8wd3t9ONNx2iUPBgI/RibcALCb/MWPYhnaq+XqIhOAF6m54t9Iu0WCvO
EeuDWq1Vpka2fZeOV5ThhTpCidbUFv1WX8TdAlSfM3+DMXFspss6KXuP26Pn0Tezs1StcoytG4wb
afY5AyQyaKwg7rCCOOuw4KOsyfGEsD7csPexWT22qfHQpO6t4da+nrtnBnyDvm0Dq6GDlCeeTBM4
Mi/QnAw1AExNXQZM+gQem1lQ5zJycat6/R2jr/fJVAB7xzmt6nB03T9E/Y3TwMiAD+EymEH4miql
JgcbmZQYbmoj0jNhhBoHnvgYrZ3Y1AEEm1+8ter61JKYr6kctMq8x9jl6/CtSV/libbROC7ElDIF
Zo7jUywn3eJuivq+igoSl8yhATDgL0kfKvEUqvMcFM2wl75PrYBLpa7PWtY9O+oMHxr1qxxvsG7A
DjUqKuLlV1IBPt2eO0qad126vtWdTZ/AF/l5uQ8mC1uTIjTqKvHXNQ0yHYZeXK4y7665Yx50daKv
EU+iMKbrIKfCinLo/VKjVEkGOE7bw2xQ+HNxaqRlgrDDsFrITuDsULwwSbP7qSuWUHobMVi+rrlR
Iy2fx1Wz/bWd7ja7e2kx3KnEFHO19CWHtUBixb1NmhMWiXqkMQuYYOM642bZliBVlUSmnv0x5/ae
wfFgIjDNine3KyK1rU4wfFw7tr4cKAf0LZmmJJxBfEszD4y44jamCjwhuhqVjVqbEt8bkuNoiLDj
pIUueUiD2LcuzcuW11SnF1phu5pSQGttNxnL6+nrMd7Ko7xuWqRRYgND1+vHsu132qhc02U71JNF
6hgwON/wvtbYJ3fdHhmAa3D51cMgxufW7t+L1cOfrjGFFAVykzAunY5KsSJ6XmQtzffO6J1wSPs6
oKz9tA0jzSHFs5NTdl2rmwryXPYs2ryei6N/ymp7YML7KJ0ciI8xQYC/90ay+GXbvSe5pfum55Jy
nDWfsUIOniVu7GIm29v5TCSFFpbdwLhuTBS4pvJe5OZ3aQRLS1MCOpPPubu+6P3E2EZz0Wj99igv
Sl9ntHRKm2XIfnyIrquO+8HhQzM8Z8xPukGVuddaz5+reLhTBzdid60gHzy+nNIdxAXJqVrGb7Q1
BWBCX7e2K9BL5f9Rdl7Lcetat34iVjGH2ybZUa2WWtk3LEfmAGby6c8HnYu9LLus+lfVXt7LajUB
EJiYYYwxq42l4UAj4fBeQZXlaLGKjWvVV5q9PpXDePG6xM+dr9WUtRuZdYwVDie3xATWbzPn64+5
6A4Nzq2D2dO4LVddDWJQ8FanIhaFFXe9900kzwYU9V2NK9TY5YLrGP+YjeHRsKMj8oS7WIhN2kwi
wA7vLFcChfpvXfmCCNLGmQl1sMJ0EQHLFPsuukVkbasDzAGwGVr2rU+mndzTaF6+WHoamgRSXRnt
Uld9S+z0IZnT25ISh1pYb3qSvzZuf1NKE4BPmms2mAJbfZQbT+nNrfwgVgm52iioxhTuyo30DLPq
2VFWX94TDinuUiOzjokbcIdzk0hEa6btkDxnxUiyH4elGmuMpFwXAiloPzubap3n9icVUqb8//A+
dysiqyBSVqrmHPtBDLcy7pQ3g0dnU9ddKUYvTxj9anIfpaW3idWZ7c9MmZ+BIrG9R9/jjUiXSJkT
Qmj8ctPB0ijrbmp1uG3QO6ylO6Q6dSnyEjY6BGEF8JcQNa+/lObYHVOlsAIzrwx/NWKE85Xu3BG0
zkn9VYZxWtP8ikfvNXeqIOYIykCvcEEgLPFpAuGkr3pg4vopsQgXVdlNBBBexYgmgnAMNeRMP4qs
Y1dWD606P2ZFe86SGlpNf6iw5SBXQCXVT3ZhnTLGPqtU501rm3kZDcPYKYz2IL+UV6HiODvd/GYr
5Rk+dSgtq9VPIRLTD+OaaNxpOr1Fqp3CHeANBeUBg0aOS5ib801F2VzVq1PU50czdqhiKyWiMlR4
cTT7KyAzTi9tP5wBuDBO45HTegWvoAPxNwSZJ/urVxXPaWnecG8e8YtCSC6hMMwDktm7zhqO0lRr
dbSNM6oINoc/yjWfJG4IbJKM+oBu6Wp48BdU2F+thJVHLXqiWNJcG6r92AzwtcyejaUPGv3ttCoA
/02+u8UvgLCEWG3UsQ2roT4sEHB8x5zFmSPSHLVCcb4PpWKcNIewbPUgVGi2ML4sXbLMfm7Z+esA
+SHoFJ32nuiN7nQPcK1jTiOlsgF1X2eafUPLVZqn5gTMyWhueMkUoO1iOgmjdwM2a8tq6L2vjI5H
bVW61Gn1rckISQbbEOcSVKGvN+YT4HqVGl30M1O9r+vUDW9q2xbnwpqHE/L/030ENGZvVmV7nAEy
3vQ6PmPfk4mybWRglSybA21Qqdm2RuXH+RiBuzD6nejN5GZaHRdYdzrxg0IPs9q0wzGF66BOcUt5
kFDcB4hd3+ZpVxbBvHAah76dfMNJ8fN1WnsKV31p1AJM4DQXzU63mhUo81ilEO9bUge1Ma83RcKB
zvJ4uBhx5hzFPGXHBJjvAbpJG1RzVHDmTPdk9hGe87KU1t7rR/urza5CUj3KQ5Em5ks7i5aam5VG
T261jFcUoep7145z/KhKuaZ14vBGDDvQYareaNEMRaOohqBIl+SJXdCES7Rkm1Qrlf2Cd0Ze31YC
O2rQ82+Jlye9j+4TtIVv3HlEnrdKnJWMuTpfB7e2om2ngCICpuQ2V1udB7JwRvJkwRaoCYrShHpF
XN62RKf1wTZX8hIGfdx5F00w5n236bRI36ot7akzc6mORqIg8FIQGGtpCh7EhbJFdOcFrqbEIURL
i5wguIiodBD5dobBd8AgbNTZMvx8qvWDOWbZVYuiEYZ2n79mbCgfHBQFNUXkd0ut6Tdd6nihQtNb
f11Si2aWy/TcWA5N7bQCioZdesi0WMjf64gxmi3nJddR7Mi96S4XMQZVL5ChLfUs6IFDB8NQrAGd
D5N78mndXeQA7tGRCN42opxv4sF1n5YxgVXblFCEPJSNxMbWI+3n1KTFfVHVzR10ufxUJCa9rTPt
Ne0KcW80kRU26/ScGz14RCdRQg353zDWVrTGE3JQwwjcsO1HwdZBerN18npbVn1Jo4vYXN4yLRsJ
SXEMaPIs1RFq8jvCbreZk7aBOpvrhovfejQWPbktKmxawQG5E5muHUsrmQOkhYoHjdPrT2Vl4YqZ
TVBZzgyYLlKPNP2mOIM8i58OKRDZpW6RElaXm9UTTUgluz979pCde1TbX8Eoz1uU/L9V/TqfbBq1
QQVq8sDkDfrzOKu70SUu6FQxn1TZ9GhFNXLXJaAyKcPrKW3b6qk8p4uHqLuLsLKBeuZ5pkkXDcA4
VNgfYJHKmAQrXWmOXUJ5rQHEDTTALV7dKCZd3dK0Ll4t6s6JSYDmqEswxb29aZ3G2rXIKmy525Xr
bCDfnaIUtBk1kUhf3+NzigizzLT9sRyJwETxtTGN4ZBaSh8mzrgG2aI6xMPduKWlFJ0L6lWEtUlX
GHdYfg66MgV1bOjnyCyG65DH7BcDdOY4d9p32Fr1T6oX8bbx2uao5p27cen6F2hj+qQm3lMuOMWo
6+2rrLFDJymGc7M0zXa0awowpuDcme7ijxECTPTAEkRl5E5EFecUiyvKOValn5NpTgOEmtptbg+W
P8aswarjocGTbAHNpUQfbeneaNZQhGJt3JNRRD0V3t7k0hklIt3MSLJM3hSsChKGsWo4e9tkL48L
KVWrr2FZZguJYXY4pVzD5txiKayi7gM3IqsddwMnvbfJP4y0qFpTwiIg+GpYr56EMEVVoAlR/7JR
7A/KoqOZlQK4W61KF4RsAlawLOkWwRVIeW2BLKiUebDUnXsiL5yjwGClhGOrOPX6TDHLBf1MjyYv
hHI1Brk7Y4wzLQ6Gco4PcadQ/ne9dFsUgODjSeuD2GiSK0LmazgbRXWqyOb5saU3h2KZwX+Xbk2V
2RosGCvV8hgtgGG8itMaz9l2ytznOrb7V5QAsyeMEbAyNQGmYyW6PwkOTV2yMVVv7PZFpxPozBne
SUXVgmt53igu8LaENNqmT+0+zMGWkRrUjfoy0GYGAiSB/ghO/oj0xBKsjdPvE6cf907hdpeyrzAc
zbruG5twHzzWV6SXx3vOPdhqpCcfo6JQ8dBj9cFI23bLvTvvlqWhOdDKHZS66/KSYmrfVnwwYKBm
HDQS0Dx5IygXkbR3kDrV+yQzKe5zbQk/NxocjLb+OYq2CtwC7dqVNmaZRr4i6i1wK3Rk2Kh9nYZa
DWqszlOamwzuGKIRo/hLUcLEy2ajlX01QMibeh62lPF9xTZ0nCtvOFR1nMabJIfwS9IPlgAC0EGZ
9uTEF8DokSU0JNrH7jGbyVXlwrDvm7JrwrKNHX9sCu8ao+3iA57MNhV+5HFM7AK40HA0lOKXEiGA
7SloMjtO1gSIh5qHOoasOEd43MNktNtB74bdBCIKPdYVzMhcDdc+s9VQL7lx+kKvb9R4mh8SSydv
LRsVV4peEDDjZsS6lzy5mciPQh3BXk9W/5YMdRaoXQ8UJ6lUquuNfVCGtfCrUjPvejoCbvt86I7G
ulJQXRNlnybjArIItpdfmOlyAUBOIn9Yar92xmKvDhrFOpGm1EiN4r7y4G7EjUWANwFnnBt1RZxT
QBxuivFsrWP+8G/izx8kR1MSj/5DXPlAdDJi0RoO1Hg6rth0C7Pak3SLG684I7H4WLvOVzMpj7Gh
YUb7z+Rstb/SZlwN42ZIESXrA21GK7JocOHuXDrPSXDTlAxRX+qJSGL90FszPXqTUz7X6tTSN7Rq
goJkBS1uYYU0ea+fFWEbT/9ekPc+sf/lPcoFgcBD100pBY6qxu+8Iagvw1DnpXPR9dnjKsiSLRSK
gYi2n8CRdwXZzUgvdist2eE+p9lVcZcCgcgyCQ1vabcdR5nEIwnvJjWiQPqQpLxmSsOVa++WAd4o
nY+VUE8b8jh9Cq+59IrntnO9A6mVr1OK3riyVupnWu4fGZ3vM0M5GZkvxE7+aLrskGZxFfqP3XGw
QKQg/sZ0NJDgnbvspqxTX/69lH+jCaJerxoWwar+h/ROrQljyRd1uMvbxf3SGHV9kF0Gqd+L/FLO
LUX5gSrePFbTW7lWySeaHXLv/PEi//f4953/HwKYGItlHLPBu8CsizfFtJygNAESophqpo9Gnn+i
2PZR7EQuLzh5SE7E7BDdPu7l2WVyeZ3cDf2Q30xGQuASt5+p6Gpy/32cFgxBR7J+Te0PiXjoZHFq
xEN0SVRQweSOZHfPJr9W3gBg9nYiCxoJDOw7pvTfL/TvM/zfoz+oSVSmnS9xYQx3JUXGTee4XzSh
fdYq52+7lE4osL3JmEHS/XD+4qFGxIHuTXc4649KTYOKPL/mhvIdttonQtB/oQhKMW3Y3TYca8P5
8MZW1PQ8jRvtkuADCqf5Qo9PFO7Xz8idH+Uf2Bk8BwFeem5ibT+qyM61vUauESEBACCAPt4UsEzy
ajQ1UOMEVK7+yDWfbeZV3LYAvf790v6ynkh3IXti4rd42sf1dK0oa+H5xXddtasXvOaluM/E/FhT
Pfi/P0nTNIs2Ciom5mN/OehjRMP0sL4r6IQK9O7UAghJMzgRJBr//ai/WWkaCNvwm2ljg6CLtD3/
OdxVv8zN1OnxnWE3Sb9xagQszJUcut549kanzu9XcMLoRgDBqoXkFdJ8O6ae5yihQZTm57rWgWx1
u9dGnQa/z6eBik1p7IfSqU7ETah5pZkIvXolt9hSa6hmJYegCU8ZUWULLMMErU21uk9W8Y9NCcGc
f6T8IzzTP1V6SY2lLQnru9lQSYXzqR+TWUaPCaomn3Qq/uNR7Mv/LKIn9+1/FhEnmh/rnfJ/YP3+
bfcZnDEpzCn7PUsH4D+PWPOpcoTaJ3B8KOUU5k0re04q48XQxSd74i/2Hovxv0d9sE5lHNlDr3jK
BYQLOtfIgkRVaHkSqQc64t/7T/vb0tEWxUAcAnVtlJt+n1dtponTIlN7B5knLUW4ZuTG++3qNYGa
TiB4JGSNGqEGgK0EsrSAKbQQciVp+sn5fpfx/nAhMO//DeXDvE3yZMLtVvfiRlZxby9pIemgCso8
GSAiSOtQedZ457akG2M6jQJTAHPrKZT9W0+tzhlZxQ0dvpSwHe3obIIcBjgTw/31ag0Sr44fX5lU
+CN9AoUuBUospJIcKxPHvGkIMGFOnmI6Lu6tKrG2itnq9605u98iUcF80b14C0xlCbxswjdPvXnr
iVYETUYKXSy1E7ZrXW/rzpx8kaNv6hXwBv/9vv5yc9E2hXuZGxOt8I8WeCmzjtEbzqVtWsTOABTZ
wvnkNvmLu+MhUweFn0oNZH65Zf6z1bvM6pcaBQ9a5dBzkFRCI3ZrU4E92asUEZaxPK2xG/x7Yn/z
33976gf/PetIYpG3si46vOlDPwKxgeNJn/MJrJJQozZoHDULEkj5hyoSxCJaSW3z36P429FzbdWi
bQ5Zddj9v0+9GRCQamgOcoe+2KlVxifq6KFV6q/9mCUk4dVv/37e35wgz4NTiC4KPgIG8/cHlspQ
R52rZXdosAJwL+msDM+jcXe91s7nrtVzCuiUYvrcRSN0ApVc2WNgj7TJ+mQkf7vbPR0OtYa5NvFb
fh9JkqtlU3SWdYlA7wNobpprNpF4GAJBHYpqJmVLFdGBz9Rp/maAUASQbSwMepR8jJxWr5p1btv4
Lq68mGJnH4W0IeufskyDl/zvSf65s1FscCE28m419Kk/vF6KsFNeDTMxIrgWhaZjsdpSXrDOs4Fu
65p8zemw6qyt+GRx/7w85HMdKbeAeCddY39fWzPK4lId5uzOrZfLNFUH3SG8ssWpNb3rv6f4p4HQ
VHwXtpNsQPmHMLmp1Z3V5WS1YWH1G0u2Q7LHzzTdrT8XUpciHzZ5ANrXkHb4fUJq5Wltq9nRxahz
NxQgFfw06Yuj6wzwluKo98cJQ2lXyUDd0F31fS2IdecISG4hJIC6dO3bqpzMXTwJ19frt256tIF8
kTQzT31jjltnoFRvL8YaijynVxdyatQK6yo9j26HbISbUdvQzQpgBCyZdhlMf+nUZjfpqblX1Ax0
UKMF5UTncnfqshtn7M6t5Ubf6XfyvY4AYqXwaW+I3D2SjCLfDuXom8qz4saQOgfwO6picfepYNlS
Y8xCrifPbwyQyqWDbnuhmqDPHa99S2JRFZClIhvYZoPUewNf9//6WulCoVkWhxO/2v2ook0dnrRl
Yq8X05pNinukcSpv/v7vh0gT+9sF7KBxiWGnQ5qGhONHjaZCqJ7dUfC5pJXWHNOqrl/aBZwHei75
uffGdjclrU3D6vyzJhh/Wn/5aA05IYdm8+RRPpzMOlLz3jXa5lKmBQHTRF8/FyE3KM+SPXWc1DVI
qCLNdf3JZffHeXFMxOzwuzmapmZ+bL9Rt96Q1V3VXFqjo7LXxHWQqlTF/r2yf9p52dVPXttSoxjB
pg/B4FQk7JY2Ky56TG/eJdquqrOBsobFE8XWrJWLbY+PzYRmidXvHUqOnwzgDxOESKbnoE1Nd04b
5aYPJ9ZIBr3vFVFduibT1E3t2VDxZ8wxcFJaj6NmHL9SvPKg0K/W0Wtzx92NuVdwcK0SYKiKzAeF
UpDrTXvQhsU6RLOWfHL9/vkyUNBCUccwdAuRsI92kjGVti7F9cco3w2ped814vnfC4GQjf3HVUfS
iDvAQyeXFkW0jf/dek32WoCgMur7IokD+gaCtHL9mhqm58Q3lZccctjkZe3dOU5/okQa6BpixM30
o13Ni1Uv39K2vKk06qvej5o/BvRO6LOESEt8m5TdL/L0uyaNQBxmz/jXh06vLjotCeAsVSSa2xs6
y9x1lNM3njcDQ2h+erm45r236ZJim7fTIaqAfxX1TVoOyJ9U4fuAhDjK5qGRO7ys6eAvkJs3qFdd
YwBiqKojr1eErN5+yXSU70EdIPAmUN0o3uK2+VGL5s6w5gcnoZ/AqkPnAc0L1S8/q2Ph7Oy2rUH8
iYclLnezuTx0qrcdE/cV5/bJXKeAPh7bLOmCsjMP1dKHLrKCDumGvIn2XaP6iqivbPBvBQh9K0kK
XwELXI/Tl1FvXwotOdCkm/5TzSUBYtiVWjgVCjBP9TaFrbdWogmSor44eflmpukdbQyDsTSdDYU+
SrDV5Gu4CPRQOXnq/NBE5SMYtVOrg77i41xDzpVC6nFczZ0Josie2hdDqmyZKZfIWFi+gpIY6qVb
SzY6U0AFASgILbunU2m5vgF5vOmn+sExaJtE3uOGn8wyyL5d2ukhTrIbqxr3sW2A35+eJq25SZ0O
ELIJXj7t9/E6fslAX2xWdMp3Xab5Ohwk11huZ0QL+7p7zjOALilvOLaSW1Da2ymlV9fQsB28lxzO
YdCt433n2SgsJvd6ZL2qiXbU7Tps4ch2bn1WwAVMaryz6vll7esTfTIhTDRmYIGaVHsUTjrwBvny
o2sUGszChByHQ5uhBO15J7Ps7uYq3pbwgNqqDTPgYnlD+Tpa7oG9hPKlKXZxE0fOaUyGExvb7PXQ
qWfU8miWWdpF5A+Tc3IF7DUkCGr6lsd0Tt7MLlwzpweipp0dyoiO04S667Ubt4LMViaIVrrpZVqG
74vZ/Ois+IsNvEZE+ussyl8ahN1kcn7QqviyyMLe7FWHrAc90vbpYdTNcwNo2AI10GXRo2fNpGDt
UDPmp6HtZVLfL9ZJ1pTZCuKmqONdOzWHGvECp3NfBctZ92DcxqnFk4/CGUlHiSnBzudHd8XfXBT9
MtYgolARV1r7zkM6FdFcBzbF9AbxySk2jHtrZy6uiVvf43JBBS9vamE/liay82l2v9DZLGqMXWYX
YzA5GThFIZARUJRYe6gzoLEa0AOj9r4giRHX9qYfAaAV3pI9OMDIzzmhjr4kd8qijns19SBETuWx
HmZUMgCT6PVZTrItuYgbeDz8bMrOkhFmgG1O1m+TMh/mFRlUZaGQFevUG8WtgNrrFAzYiSBoICsq
vAB8a5DBppiKPpTCgAnMNiOaDqKTADkntIbXJAa2bBsnw7rvaD/CPmjcNtCbnwuV/h5iRwtZF+mJ
M2XnLofdAEERDQW9dFFmv5W21OCY6+MK2If89CzCWTeJuLuTHGyMdq0DCMCynwmcEQUaDz27Ve6I
3o5PlvfWaWZgO9l3Zkjzy/f9A+3d0PUdQ1Gxeoog2bjolJS3ZF8AxDbf6VB807tpkFt56PTZo1ql
FKoAmqoItNX0WhB2Hpa2Q/I1DkoUK4rO3CbRK3io1zap9sS1i8j2eb3cA1fcDPG87eBr8qCsxu8B
LaC3PyqLVqrLj7VIjy5wkckQ+wJhW43XIOljrKpu3dMytAJWjJoKClfwrMhSGisaRSMUjay9G4GH
1sqvxMp9uZzMMYf4m3YCXdPBNzgvJI0l88juHFjQ1cZGkGJeLPmS5SkdlREFZiRRoBY7RvzUV/25
tKMT+E6/H5JQ075lUQKyn57pbbKdeUYLaQXFOqR4tFcZx7GK8g+CztNSYPN0pBXjhf9hgWwIk4oz
Xusq26VcQhYSD1KWguGqnUB57YXoCf2+CZmy7xp/EyGeYKObU+kITOv5QwZnk/5CBb/Tv6D9ERJh
Ux3kWzMKoA4Ksqbj6/0z3rgfO1dTURF0updvdfQ0OW9FQStjsUNWBiVPv5+7QI2Ve0uJbqUNFyPW
y0PbDL4WPkuM4EBsLffj4mQIpaBF3GsAAsFqKLbcwFpCa+nuZ4kYsqEayD6rgc1F1hXXni+z8PSi
4nvB4VO49m36cMs9Qw3sGlcP5EY2cjqoem8WBy5lVbVn7vbAEe1zrEWo7H5T0gbrkJvfp66aoXnN
QddNd1kiDmaWQ0F44BjAuNzqOc7r+i1LIPgtBlrEzqmmEgB3cC0dSC+FH8M60PvmO4cyKC0E3eR1
3rfaxpj0G1uIF4SyAnk6naHdqLl7bDmbeVEe3I5fBCy3Olx11k2hjPeFohw1BEUI/YJ6tgDd1sjx
gB7Mpu372ZSGQ3lmQO8WninLa2nAAxqWPpBmRTaxKPR9i1VAGEvPy41cSZMEIJOpO7Ckw/goKIAb
DeifYdgs2X3MYeW9y5PcGSYEcAe4S3KSuzVjj3MPnBoISQJHoQDHDojhURH9qRy0nQYdXCNiNOQ8
pIiAdcjgaOZj8W4sIVrQzxIbyqicNZMjU52EmmR+9ZLv0wIjvIK3ru/l6daA8ECPIiUHhhQ+qoW8
GXUyQGk7lkfavD4edmQGtxovFhTXd0ayHZeLN0lIwFeXIyDHolCz1hiPXBIjN773nXqU1rP0fpSa
RHQWh8L+4djuQX69PYu9V+vhyKfx7X1NixEjyo46o4liCLicOKdovmusBlFXIHekHU2hlrZfebYW
P9scKvmparFvjOlnR4sOWxky1ss+aYV7z+B72CiNV4OW+bqY2i4e7k25g1fkTewMfF3ebFRC4LgB
PDM6F0r4uGsrlPWKu/SsskGADO7acgqY/oOcnHwokowXjsoELyql2MHBW/vloGftFuy67CSSHJYS
UeY0//8urpxq2znosDwJIJZ6IkDp3GsCEmUbX+Y1/qYzG8ZTaFe5QQ373E1NmPUvKS6HfHrjFHel
6YXSxhljc8xUyEF9d5KLw0H3ha7sS16lXA5by86tCU9ldjcK8Dr07973tjy0XS3leHSppvbI8igi
Pqywkxd97DfCSy904d5TQH7MPJv4CpC9qjSI42ioX9c/1fUFw8KSl3B20H5fyo3pfpXHI+UGkOvG
htIAIZM7QYPGIsG8Bo6Fe4OwWw95S1XopFtci67Y5/reKKcnOR8LphUgzl/yk427/AJ5fhpqAxIT
XIpB3NCSdS8kkSQvEMouaVUq51yG8eCdBSTBVLskQ4dZSCBHRXeWMyBhVQx3OtBKmlppQdFF58Ub
KAnU1m3ce7+akQS5GOPXhj7x8h5X+ullWG12Rm0+yHOURgg3GahEGLz2hkXFWd2qQD39LJtuF/YE
0MfbMtZOquPsNKgYiu2EQ1fvjXbIAi64kst5CTM3vkUu6TIonj+l0CFGWL1dZVxFNHxNPRgjossR
+RQJvbemS+9lz1Mx3tWeEY6lOMqnuyUwTshKYA1vrW4Na+IUw0twSIwUEgBgXhx7eAORKfE48Y/I
Vm6Bxl1Fkry/TtoMhPRN5zqe9nLJ5N1jD8O3ZLbe4npB3IhfHLz4sfKWS6/OZ8shZFrVFBs07AdL
TBKrco84OKQupXsUdXHPFrxWrXPo1fWpoytVONrzHW1A9tLQ0dSJGMHYRkYeDBmi5c18bsfoZaKf
UeytP6CT7WptclCZITBaS8TS1eUtAZnKNbFHIp9GPc2CPkF1UeP+YA7Jruqk3gKgxMjZ9lXx4E7N
N6AhR6BV27JJbqNI7LTOuEcENLCN5LXDXoHd2E7CW+UrRPfJOeS6932qo0tMsLmkCZg7+0AxfdeZ
EZpPsAU8+hYIVNJtFb683FK4QcVGCPIP0whIaP5ZxOV9bWg76r01Q299LSkexkxIPxV3oB+ftcZF
ik/Xb+myTjcc2kUq5ludmQ92LK5tld++r86SnmBqofhD4swaTzp9RX01Mm4B1iLIVL/mNaR51dj1
DqI3HTjmobRvPINqMRNdDXtbr+ut2lpHyK4bTxWQGBK/cr1fIhYni+saJaXATPprZnLLtxrim0Yb
g+6L3+RWKhY1TNgqc1wf7TI7zdU90AbKmUtgps12xdp26A0JhAY87kq3dkN5Bsz8C2kNX7q4Iy+k
sZeHeL3HtJL11hMtGLNzOXwXMKo53cOMsafTL5VZe7FhUFmhNDgG/qyBROlq8vsF0meJTFbF/UtR
IPozajc1QXRR+a0Cc603cU23Uw4vCltTLeCiGI40lPhSEOt8uzrxpdIOy6u3P0tTIu8SEBpoOBRh
vrhfM0PbOrxZdbTPUYkC7jDdeoOzyyY0SfCg1MQJU3p4gNALOjS1pOslP7MQAaawUXtuZrwIeTnC
9/fYUJGKl0stEq07QJvs6mHVUBRMdp6COgvpTmzMRr5CuUqW8yyNstJnt/LPHBEZcBpygPLLAcjI
ZYnSO5vwKUq+azMxvkz1Qh1RJY1a/0aq9xHHfVkz+joV716lvKWLqxo/y/2g1NkD0yc8kA4Niupn
5C/kjHgLJrkG6RKtuhKKQt/JI8dfo0m7cdAcbYHHcMOzoDPBkdYE0h63sU52uD1b5ugPCL+388Ei
aND659JGNWWkAwS3DquN0C4ga9hhHNsyfWJQpHRP8j4tZxKeOZsCoRfch1V/46HvLheLHUNxG77m
yavG9sOxVYwxVNsfzfSYlZ2P6DjRu3tQUHdqeONcgqb3Jm9eqlfvcRJzlYscmdP7dWfE6VGBy2z+
knu0ib50nSRlkucoWu6ovZF/UdtqMy1f3137Xq5O5eT+qHLUtBPSmTsG560pvSGusABQSlF9C9Mv
Y8Iytn0d+yGdDxUvj2BLenhgiqX832YmJmQGjGjVIlhoz3203oi5Ygtf5TGRhJtpoiLL+q25BiV5
gGfkwddEfNEhHEfCvBh4Amva/WybqzyZWazu2PbtYh8L8u3CnO85IgNqaLGVwkIag9jsJV93yZa9
SRtyL1K3RfKa9uMu5RLWlV0Gt0ZJCigIvAeWTbrN8qiZw6s0kYVrbvtMQW2GbjaqOE9wimjKA57t
JD/Ji5Tn1LYtyfJ5H/zIupDUppiNMAuT4XFMkb3Trjl9Mjjfy3TEGTBxqKRNoniiNLfMiX93xIIG
u0DR3YNrZ5caf6zIIcYPT2wi1s7GQZVnPtJQSYimFem4KMC/YtM39bzTxexLuyNju5z6CNUGgWzS
Ap9b+h1I+nGg5OaQMVcH+NmI0Vvjuwy26dh+E2Oyk6GYzgxlBNnx36zee6iYOXu5RtLYy//2ZhHI
qWfrQ2xCkjUMGrDwRKICHGz5JfJMSmPLlpGPayqpG9tIF1CICC0CQho39tP+RXop+JooW2OtUD5M
1P1kWSdspPwKa1J9g+RCDkq9h1msJ9t2Tc4FfrGMhYnzSqd5si2oa7x3FkKeKrm/W+ZHCL9Fm+cQ
DfPRmLK7qHom/jnjjfuCTIAlL60xhUxtbRlm2ih7+aj3vYTsjxTmLJOzQZxKIwL6ExEG9vdtnwRz
k23f/Xj7akE2hm6xaWQ/GOXb4JJsvTVQf+m4kaRTukqryerX0CZdyp1y1JOdHOXPOsIiNDO/SmPD
0KPc83NP22VIC5IWlq/fIKxavOKeHjwotUDTxDHjDLfqLa41sRpHkofDb9myf+SZ4I+MdyTtCrzW
k47/IS2k/JR8y/JPeUQF2tZk4/WJdBe1d2Yv77ECsQfp1KgI2RleLcdk282WzYczymZndoNjX9s4
8rFD0qrVxGf0RGNGL2xqGeYAaPaxlmOt3fKthjpva64v/sbSMUVsmRFe8pRgLaTNs5/Zd42S76Lh
CSstF44Z8DSi7o08YrS7DG1HyoB9jacrZyDLnhKnkIfG5g7Ddpp4VETDHAMyZf4cYze5VaQdVBC2
UF9VpbsdTMAZpBEYtTyDttodQKHI9Ig+oFDI9yeGtW9gIsjeRnajwJgmhanveQzmp60x7owJ09/9
zAk9WEX54psJSWh1K7e7vLKkARkaA3zu14a3LRp8bfLy3ImM2xhe5a+xpIrXXlIyOgkRkbxU2IW6
iGE5cpHxTWmfsIDOq7QzhNH8gk62INccf/DopSOflaeB6rwyFqNcdjYLnuCeCutkOCMiTk6oc5mV
85Vf5cE8Qj6Jg2ci2BSLfLfgOMrxyn2LnSangS5KsZWJGpESuRCt8FcwVM4GUTHmq1H1UAb9hQJJ
FCPQv6iZ/tBg3+Vl//9oOo/luJkdCj8Rq5jDVtJEZcmW/XvDcmTOacinv98Z+24sKwxDNxrhADi4
1N5riREvCv8YlcF9HM7HbPgz+SNRR/w+G+lTjjHvF1h4L5TBUHJ0aT+nkERYBE69NZ60J3AJ3XbB
Bm7v3NbjcMwY+8EiSsMByKwM0kKVSuUs7nLI3OjWwWMJcYXKN8pidrHIrEwGa1iw2taXXUZ0yFw4
uUU9fMwOCkYHWX5jKz7xdHwIKzDMaXpqjLm9aSpIof31bFLj65J/yXmZxm1fxnSiuT1lvJHpXU+W
Fo5tmaL8P503/Z6GQnhnMfE+rzNCJ7A9C5czfGTTgQ7S3LETbE9nZjvehUcaXJZqAxthY5LhWw8S
5Q2/OWFafH8EgxxQd+tzW5dM17wqQhZ9S+hmGdIHuXxVDO2/6vBrpnsZ6aEA9kiL5mSn40tJbFHX
1W0W2xTEj1dLyPazUh2zv1b5tfZxCb/aANpR9gIRxi1NRvfDguhXvE75s8GCOY55ri9vrLp8ZBDn
W4yifD5pCpk2mHLvJZq04h7VqNTC+qKXCvCSpNkMb4NoWD2/wEM6/NZ4v6DH7PirzAdDTk46fQB0
5wKvlUbaO0rghM5JqrT51frOvNKbOfZhK/XvSnyMC+wdTgj3NP6X3UfnhCI23RjHkOMpIR3hPoZh
x8z8vT/UdzGc9APri8vYtsGeZioM4Z9Qh6ZYz1r5zC1e0S1geb59rlm7CKJo2VHNvLtqcpy48k2v
IKsqt102a8DjK4lc2VF5OPVEl1FWH1AxHfylzLCUJjPGFw6+dH6Vl2BTMxgdxE3hVw9UqXChGo4f
ei+441YMPsWZLykbCO/0Dg1BhY7mhYkKXGldlkdwhYs7vZrmJH8N854gP1LrPY37WQADCDtFi8Yt
8hYImUFQ/K395AzNg2MyzaFqT+b4MeC3Nui5IvFJLmIU8IWiPJKn2gIfREt9jFkCireJ6eB509Ib
P2Kj/kwdw8vFS/dS64bI/o2PqKPOpH1jYOEjouIUA0RCy0HXwRvlJ3b4XfsUgzlF5U9FSCj9FghJ
bt/aZvvah1ULl8Iip4HNPcgdoyxxx5SoW6l43kXIPaA0E+Pe0EZmaO30kiMtOkzYqItx1wB8CrSk
sIhbJnTtVOnwKMRZS89Tsn95+rXGSZJzWhP54Fnzvrg6d7l7kaLFbtfIHafTTrdHeXwm0iRRJOhC
enD8+Zco/4AZ3HxjR/EpMzB+8IGl/1Etf8zROo4hpxgRR67ljyjEKuP4/eqGJ9Bc0/BGDFhUDIGD
MlkxkpycdniXR29qzAa266piMOLwE+0mgnceTgJHLa+wv6O8BZ0zxpgyOMFY94P9Xa4D6y0AWk5B
OKZvAUeysKI9/DtMQvvw/MeNtJ0kRj47fl0KX33HZImGV+yoflgn6FrNJ2BPHa7NfcXfqtSdav1g
E1kE+YIcR3lX8mnxYG3WtQlf+DXRx9Bkcv5YHdd+hI2QLldoHqjsIvbtJ2LoH3r9LSWtUlY3Oaym
M2+lh5LHZdKLJFzUKHCaIUpnf9RJ3Oc4nCwTN9Tx73GRByfGGQmvvoww19z64NCh0jL8uLloDpg+
BV68yDXaxz1h+uu95Gwrg507arwHYSoZnDY464gJI14n71Dg/2Auxc/Vucx+4zFioivCed2P0ydx
GZI//RTeW7n7oCBCtot4hmq+A/IEw87dcHWXEuU18EUVKSO/CiT9NntN0vEGhINp4R8unCE1bFJ6
yGjd5AvIC+WaHO6ZDkepDEQOB4RRkHfafiwEDb635uI+MmHpOLHiMnqTuyg8sGIaiFsfzfRtdsKb
DBES/utPd8n8yafFFxUXQW3BJrNjA5Ob6T+8a5gsgbhenQEz3LHuxvqaY06KmeqAJv00ON7LQuY7
HMxbPZZFBNPJu8ZDTFDaHpyitfFH0aDe0hnLw1AET3In5L6WVDtsjDGZL8HOAbKWKCsc9MY9Phu5
Ap7KYDoMfY97o2vPAckIeeTIEfNp7kwEyQqgFS/firR4bNr/KqeBNxIetDg6tJ258zdc5hbiIWwO
f6VCAK1VM4tTiSiLfsze6J/S0hIGwhLLyNaJt5sc64QDWbZfSloxV8aaorg34B+pIw6dR7jlOuU9
PYjnAtIXovrdNSrArzCZfqqDw6HTj4OtO2m36SHdgUS0BAkG7NZKJep8AELDcL3r6XYBaQ4fzKp+
Ll2ytrgJF4oJLj4svaxXa/yUVjFq4BGokEtzgLXh80qOUygYmkaxPF+oVFYtGeYZicCEc/qs3jsq
+CwWAk8SoMlCmiewby/sHBWfe3+rP2ZeuDaSwwRshTuL58rjpu4fSbeenGjOJCZ1fA1r+W36EEQP
4IWYMqvAf2K//4muA9yIaFUjwAxhKaTT/F5uEDY4Hl94Lv4D2didQG6uinDW63sJBxr/45hk1seY
P1NezKdlv/gpJo4H4j8T1EjrACMadGM+HlXX0KhNahGXBQnywOpanAqdo3hx9nLsriiSBQMSnv24
l7MLjmJnRKhBc5QXbk4F81JxiPNnSSiX4u/WnLET17C6I28gOyEzzsHQt7qsDBInm58E8vWJohSw
8xF56jw4hkm4FpdqhnfuCJvjTZ8vCDbAvrJD081o5YepfDPGhmCC6qbxcaT+JXCxlUQyVFfg1/57
+bao7z0IIQKOpKHpJiCgOCkVma6lV7lsCQYzLtgP36Aw4xO7zgOg6rBr/CvQhGtynNhZmUxUOB1B
8HJQ4cYmSGhYHwuXT65twchPLTxhlzYRTW/Mb27t703WQE6PlhxjdsVkeJ+Jc8+BxHHR5fldFZAN
j05yz+D2Jj6Wt4Mm7nEOMQpyv9Oov2WiKI9O3O2Tipm+e2g+vAt8YRZIQYYy0jxD6BP3wI2BH4Fk
J9SkdCj6oPtUsEZRAEFs+0WQzPR9cqNnh4buuf5KFn26SgzSL63J90pRXGMowitcLzz7sxwHl2OG
QLrzfxV1AcIxtuSJh2BR2no4JM2XETtWvFUacd/8pNH4ZkFLaYECXh65BAzSF8ZTabvkRsvxdJKH
JHFvQ2uGQPiaEkQsJJV2cDmiZa/3tT8VSSZ6xiMXyJzoOOHOSudfJnunQKBsQrp7t9uqn3Zy4BJ+
x1qPdvwAPKK8pqxZKLAiN468h+JINJlUfbSWjzy7fApwFrPc1SWgAewu6PAugg0jeu8QSZSZbBRB
OOWdUk4yzXyCJ4rFG5TVZ3bKMA6SR8kvu1yHLzgWyfYtRLHLPRGgmU6vipLt5VEHRppBcAf6pItM
COPcG89Uxgqhkx2ntJVvzO1yYNEWP0D3GdfwAU+CP5FB0Zlr5u62Xv74Hsj4AssGfDsyDtiKBNzF
JycmSAO2RT7/inbtAegYJyQvmpPIF9aEI8DpQvIsLqgF4jvtCzLMb/n5P4GTtCtxyrdIZcCBc61B
7h9/716DewWl8pDKAH4aBId95Fldv72DounvhfQ4XFiJPO7r0V7N+8mRw7nWw0kE3BiWIJhNne1w
SUm2YNX84GOhimwq3jqChZyCAST3QjimQ2OSzW+BKJBizgr3mdKUvrcP3/Ef/h5xniLC9TOj1yGl
YNA8mm59iMhb5jW8faRR//nwTu/c+AX+yvhBD9pOUizITULLY8qIFE+UDHKeVmu7XagkaZEU1lUH
ksWSJ6ClY1EEdKHM5ZfJyuAyg4RwLBVUbVglrodriYYThZqF/bNpz+eHcq6AGyXlmAnt4lXZgLvN
9ickkWtKp/KWKfVt83rOL9mpCMg1GwZESb8xYFzFa4npEaOOFrx/OowUztPsf3FIzREXA5Egir+L
Ge8BEjEWiEfkQeVz0bJ16BvUJednqxicV0Nax1FgwxQaxkAHebKeFb+P+T1+zgEkivPQkT3TCeTt
Zx9cCGvCWctsCIpIv2C/GWyJ8GgBfWnx2Q7vZDt1Lq92RX6/rkoF+40ROaQM/eE/Vl3BRYlHl1of
HQHrhsIQIMChE7bps/a8Ea1Zd9rkNITuigBTsblUUDSyp9g2yrGwsAx5QatpV2QGcQSaCzMwKCwK
1xRkYNpzu4Q8VbkBFhHBbU31sEGtneIfm3vtUxB/MttH9Tli3jCPNwoPsTUocRftwaviePIvesi0
fphwTnB3Qcfy5wlWbWozpN1qSkCIfrgfS5FE7GUa7uxofHFt40S9Ej9FQehaSJ/KZIzqXeaaqyED
ChjlXPBAebXcLuOGKz0dKzuDSv1VEhBWD3xhAyC6FBwp/RhPBBksMkCcst242/jLHF+Wn7IFLTt/
yKfYkYiBxEIHdCm4e2X89ZGIDBZHT2iSoE78EKbFEKhV/8y6HLsrLm5IDC/liw7J1Qmts6NcIIq5
buRu4tjdSMiQuZ5CNlCEAJ32V3p5RaTxqo5YBM5T7DxvK/zcoI4KQnl53+fssagyWeOFIa1g/Tbz
NMYvEjucwLY7lelhgMBOgY90pX4v6Lkf/XtemO2UBqLZsrVg9DUZuwJhj5xU9BN6RJiL9HkMczPE
Mc9uF5+UesZP4M2kC3AoBUYGmBfldOIGJ8Z8Qv9OJARYcJR/DVagx8TKALoJ5UJMmn9eOK8ZrCAO
nPjub7KIc0SoxGOhGmrqBrmLWbtUJ1zVF190Leia96ofuvjjA5eQaPJlqR8QbrZ7sT4rCpm+84K4
ooIaJaz/TPzfF1f0KP/ExdWBJPAo5Jn3Qu/wIa0wMsRgy4P+7q84eA4mpbT31/ifbidZGqRED4w7
DxCnFZaFoFqCU9VSv5GZPxXTCVxQjKZw8AKmyzsJAsP2XCDNZ8MJ0kgOQwKlQjM2UFdgDhCCNPmr
QEpKVepsg+0RDcLb8EAss2pj8seUlnQuyFvJDahT944XlxfKuVFUAMjAVvKU/9ZOuRRhR61v3tf5
V0Us0UYJMydealbeo1wOPs0j8DH+5XbCbHhFNvxWugonkC+kwCa/vpMFSbmTvF9VPn6sZXo9ODwT
Ngg6/CsyyZFFeXMt6fc1+JTDxsUPkH70BB/UvmBsW+/WMqLXJKfC0v8IySA3Soav0I8+mlSFRGgp
nfkadr3cKnVWhYyBgqwcBKjjrgeCheF+iS36cObhkJFI2sMUWdLMchuRBf4EmLiw5Ar+ixFkuZkk
IbWmzdS500YhEdJef59eZ1L354mFHzgD7qriQqR6punGwM9x5/ZIncwVqfv7cdkxSM7H5hcKTcvp
P/Ku/EenB7a0Mxoo9uNbv/9O/rn3ThIbbRgngIMA7n50IXYlJ3Et8gG74uM6+FDNMLKN38xvHjyN
XJ1n52K4YLkKlThUy2bTu5fvg8i6n2wHzXtwhu5ZFVdmtr1c0xnB+FyPTFqhRi9x5i8yYSPj6ZC8
vwpSjynLogNFIEfeUUVGa9EcsfxSNwKjWAQXUFlZMARSCNKKQcY/vmpVmrtzcP4YfI/PjBPEU8Ts
pCG4WD56e2pi0Iq/FT0XQQsT5Rc5rpxpRevTxfnAxY7K/MxdWBgUFP+axNLgsckIoeH4xUeToAZ0
bCQkwKFQCuLP4VUXT9P6zHLz/DrQHB75/HpgPGFgYzSWHFsOCn/EPvMb1LEyWh3Up/hy3Gy2zWfI
rLTxSgBEvB//TczLSe67E15wY+cnxUm8vSA1+bo8j9S81B5qDR9R3hrSwP8c6NQd3EeWIMrThykW
YdpRtRLcnfGuhyB0Hxs7geDCOEnrCWDgjtfcmnf/12Z51EdgQiGiok4VdA9DJ2C/ZzoEqOs2w+6I
YRIOmVZ4cRiFiLLS7bDFzUuZDIdti248iPjkW+j4Cz+WO2XjI+HW7HSe2AowWu2yEFnvlZoToi4W
HC2dTydJQcMIBCTSZUCiupP1CPySxBoBEWQvN2k6k+x+Fjbg4QtvPZAR2SHkq54hbcyPqL/CYuwQ
4Mr/A0hnWs7ev0oMncDomcWU+Vd8ryPPaslz/Hd8mSbw1pFnQN50ZvnbEGUV45IQjXdOeKekngw2
Zcfa2Kku76MwfwzK6pg0yc0GYDEGIzRnK/g9xLUIX5aeeVM4ju6T2rgvp58bZFTclntIyhTBADBw
1hT4Kmz759aGFH1MGbk8nOGymZ+3tniYau8346S/djYVK5fyPPjOQRECKyiRjIL1G/1Xh6K39oKL
PCoOfOollUxxgfvT4JeCAykqxANWPPTC8KR6In06XI3fcW7e68wTuoYb9O74eeQGGjO9Oh0D7DOA
D/FR8OjVg94r0NFr8kJsprSJ3GoG6TiwR+rd2B6bvIBStCOdYUxRgDLymbMSkNdtvd/SOB7IoGya
BfwsFvvYZsBq+InYU9tDgkTARmH84DtyGQPa3fBHeXZsKU1bT41NM03/IzeZ2WFSGU1hGw8vp4Bj
GFByQWTPXvIBKWctKDoOC7ditwSxC4K7XowMMsdaljuhe4ZH2bFOHBd95ApmWid5OvwxF8aUEcFI
qXfO9EuHQB/EdKW46nJ3ZHT40yb/VVMXx0HmcVGg7xHOrGqueBwSEXz+GiDx9a9elzxilvlj2lyp
NVPw+Z2R1ydW3CHWcWxGwbqsH661bo4iA/fK8SZkb6jbjluw5usCS7n8jXR5Dz1St3xSBhw/G5mU
duK1e+d2wmdOsp/8THCm3S1nVXIIw0RDyDRTgYSDjH5ATngw2ozvVBehAEGJfoXiSLBAU/bbwpu/
6hnTvZuG6JYxRzsyLxff/RhXitGcnw5VGhJIo7D3mKslfsd8k/tCjV+r2bQWGANFQtI1Q3e3kHUT
vCcREbrQBeVxAMnSKfFJo1qUsLcR8d7Pae0F6uFSX5h6PP00OW5c3YiuEVViEejCxsj+SdWzPq6X
P6hQiAe/6nO2mp9yBfoH6Mq54n4oftmUC528C10QrKDSkBeD0QBU6XJ1IXWSCsUSQPlcvTCveYG6
eGsa2AaNn7yAUh9cmz/MRmiP29/cRY6Mbk1+WlGhcpKsuT0GD5yRi/3FDsFYlq/y2AS0C0FZxxdt
p9kxk1mKI7SWg+HhO800nNHp1p7lo3MVMziZ/cqzOsxsxSPn3i2lSs44q6QpRcSFu0o/wq+y0z5r
8SSRf/1Htqarzv8SWJJ/RRx8UvAUDeiKR6+LSK+UMrnKocb9cqfzvkUw0F+jUd6Whx6vOJnAtB6i
3AsTuzEtXKq4/FCRBZKfhPO7S1JN2JuWEllmnjUOFmaaT+s09/60j6MneQUjtT5KW+JiymrWBlA3
p4+TTMt1NNYHzgHyPY8UxoBpmJt/J22L0uUTXE5h62TH31SjNTjAwfjhtaok+gA+aRyDzToSJxtM
BZftjec3Ekv8Gn9bHymC8ZBjALQSemVOPclylpw/aQDALg00A5viqBagBZmRQRLspw+wLgpG9UYy
jZ35JCXLYqq2sP8eFLVMPg9xbW9AO3P1qDRuZ8d9YLuVecsv36rsEKa/LkZ0EGI+wbhYJu/cnutU
dPvJx5OZxKXkYgHAKl98y7tpL1BE+j+asn7x8BShoIcx+gGDhnqxkV9dApn890i6zN9LKGcLcQH0
SyXjYnFq/Y+GVbcFvdVXh8n2Tq7Ni7Me0ClQhFJBjmo8sWRcE6gW9TKABUQ0waBoUSO6h875VdEw
lppiFrm8EiuCQRo6SNPkt3IVaISwnqGnfV0v47tDmwA8KJx8BW22v30NqvGh76On2GVmUZGQO6Re
MZzKFzL/L1sAP3q5GmB6NMHNo/+tGDi5Tpu/21n8JQDeUmRycZdHGc7GiU7uun2l2GkvlZczue+y
0IfZ0K3nRQvjzLJTU+Zct9+X8fLuFutz163LTQvGpeqA7mK+Eq/bOJLe+0hIG1bQLLFkLvP5IDxm
hK7r3zVcv4qmQzuEP8qg+NIV5deWejdjhsXPuvwXW/En22AoX1ViDh1zeHbq7WjO5tMMK/7NhXEq
TD4qvlEVQINBD/ljDx/nbmnQjkWY7qg2OuGzCqhSzowtGMbqlcNk9b8u5vzgrmNJl5V3P3TZgaDg
sqLWxnXaMyIR1sTO2bVUqM3zR5xJc+U/EGY+Hef2s8zhlaHq8jb6FpWoIYqEoA0AiVNLC9nhUjHe
BKYABTlGUZsED+mxVPDGoEh2PTTpQzWT4LSY7ssMId/VWBMCC00U/pPHBGxAP9sXlIeJct8qarwY
XdTYfzqjPSs8DBe65ipw5MwI30iDLd7yGrbrf5GL62FStnZh3mfdf83o2ujt+Z28qfZtJKFNgLPQ
d+ZX2XeA/XDx/isaGxiTlgnQm3midGGlExLtw7r1XhMcZJfQMkrtdgwj1csaGFSO7NZF0ISnn5KU
HkrO9rz2Z72nsoLZYv2nEzIsBr7jHwXwFRhTUnwf6GmrBlViY9/RvGzXGU/BG/ozEyzJ098Lw6Ug
/5OTRbhddIcSFSa0ATfO52qb7zl/KhOjQApZ2F472pvlscuXEDYlzdVdvGOj9k7OmrnMgjnSYtsr
vzn32VtFXrTBLVlCs7zH79ms4MG28z9+PZwCq/2uwuQNCiFQwmKX003b4XmFFXVQgf8zUWUh/BOq
r42n0viEZirY5DlNPxuZT10bszrRckoDjXlwpgReobkUpV86MCka7b6ialB1GlNLRRYPV7XrI48K
sfYJEvsbGySOb1XUJsxMIL2qLnhxhsfBRABO2+5SI09pRKSF35wZasxQRfAkWUv8Hu1ZQd5ELWsq
lFE4imnmSZVz1wFUe4ikeSEjslzWewYHPY1MAOhLj8dy34vu8mKCrQrCk1unGHYjLypbYtASgmLC
QsJYfRypCegYxCpcBmWrgxBQ0UJWzlwYIIDficwpIytlRzp+BA6NtvnMC8L3qJgTbqD7saSqA5vs
4xEvQ/fFjJc7IUzBVv2yLZiyt7L+EfrxrPIb6jrOCVb5XyqlcaOd0oFYIZxhi8Ok/SJ9EgT9R7nQ
Ej6RIdjDZXKTz28txT2Y2n3P9GtOGamImSK01Brf/G25U742Hv272IcaN4lx3tfazzgP1+ni2A0S
QXcdhUSCrbItFozpZrfx3N6pskpCuKo3lh59lognGuf2pyAsLZy+alMhaHyWHV7cDDEFkRub79Rk
Hoc+vSfQQ2KPPczWeEdEdqpTCEdYGoI6G3XMpiH57AfheaLXkcVgLv3OHZpPLKTJ+ONwnP4YDLjK
2LhLN+8p+RIGP8Wc8il6Y9U3+IgpzqxLYoj4uKFO7/gK0e+J/LHWgHt4VGoIzBqqs1Bs3YOp8F+s
pn4I+/i321V3QcWABEqrT3JYJJRx79FuEB8XRCz1jyo24Eqq3+WLvtNdzO3EF32nlS6q6W1zLsoJ
I5taDhlhPBA+od3ni9lb5l1teYfrbSp7ty6fEg9J4kGJNMuop+mknc5u7t5OVnviBU3KDjyqZ7ik
+kGh/zgNMUNs6FWltO1+yN19452hChBu3Y71SxZPJ+ZWvAnOjMP1Xp8wTHrVF3+mNfMX2t8d/YNE
Nd4ek2C49lvqU2BBB/Ui5BXVc9mqV1Q8VLQmFVTNh4qPtDQz9CpnJxm0SWnsHx2QEFQslFR3f10n
vRwzR66nwRzpVa0AclgK11TpevpYLLSDEl1QWEOvsp+gO7XSLNGU4ZWk008k4d+K+8wpBXXQmjoY
uPYJP0Kuh6oztKc+Ay16Bl7nlF0zPyjzUrhqt/Edzb6XomcLqCm9U6+8ClXydngbOsZ8BN7yslCq
o+CROh0eXFj8QqamarbHa0jPmeCprTl49Yb2kdazR2UvJUHlpd25xbA3GASPgbEJpvxp13r+FyME
5G/nU8Igw33TF/fxDM80CZaMtRyG04hO96iOkT0iiYR28wIYz3GClHySPQu/8jgyPCbZdrmO2NsK
/lijnr94/uVAEePOuXC3Idol3vSsYCVuge+Bm8OLQVUbNPd+utcm8PhI0OgxUZleYK5O8adkknCS
bVYkyWOhSlX1IqCP7+apkEzzMbQzq6JyRBxf0oKMjgGbUGU2ftDcVdeyLJdZTQM4Fdxg7/LSF0LQ
q5Iwn+rhD647ejXsgm9ywf5uI9GMYxjCEynn2lBy4HCUvfH0StDaVcYQ80WYDY9rNvkzD8M3cQGB
NsNdr9i1ZbomgfwpYv+Dbe8W1BzPNNZPC+mDZFcMfnxj5o9KsCBihT/shpakCueMBdFPtYc4+qzG
4DfXvtel6wKFxDyKXr3wr7FGlm+7iGR4xnxHFs3045+YLZ4o69c3dUxaQ3TK2urCcIuBqr6afkEK
i4FEPUv++sIqNQvjUxDtHkshyq46D0/ECv90iucl/13ML7wXq+FCtkPkwC6oHQIYvWt/znw0bh0W
1nodupgicAbmRT9rRk30E/gh6okPs4c6mUpjs2eEYX89F8DgmAAO2C/3q+8uR0aZVK2vVHutTmHQ
uoJpu1UOf619pFC2TTJGdX6lEB/BW9oG+G4bzp2liXMgcy3tKWQphuL9gsOkQ7C1REo2NYB5GbxS
q1wE6cdUBMM5qqd7zIYPwsFbqWVT4aQKZ1UOnlWUY0QZqx7RNtu2CdXlEXNXFuetTdoXDLBpzV+d
0qJZoSU0nOtPDHOgtGhhfGJCAVWW/Wohp6DGayEiNLIdLZQ8rMcAMVoYjFPQtNjEJWmJdYwSbxCr
17ge8rsygZJmT/ASqDFax90rendRCEZnGMdyNJhWDa+Hzimc7PdJxdTI4Q81WK9pGZzY9w8f7aYj
AVv7/cgmC6q1luhBGQO3AnTp5+aUuMN5CiLycI1zThiHEWbWz6Ti3bYYchXnZRghUMpGD6AuiUjF
5KF1rhfvMQReX9O1+cSYG+rfsuWHDnPvXSgdS/L5UY8sqh2PEJOmOjqqEcx6daCVTIgqq5gpPKXd
ZXejuz1CkkMbUhhd6Id3PncNZNmJswC1UOw+mtMrM0N27sr03CVJf+eQDn4HjvSObkwpMPNd7kgj
URsR++eeTJE3WN98rIQCZ9vOjAM82+OtdQG62brLI7S/zwK1lpK5hHmGBU38aLmNeo0k2CgUxTe5
bPE7s4b/TFOwzyCVQhFDGboeLhfj1xQ1wU2AqtYnAswkkyn2JC3IiVUmxEW19+HZw9tqMtRgpInp
1ooYfsHkzaUKKXA2y0+OEZ4IxSj0AaLK04JBfg0ZUzOhk2qJ/uR2+3DFyTlV4aXYF7VNVfpM1Xt3
XGhfhQCQyQZGGBE5pWdzY3BRxji+rmZM9Jq+JkzguG3T+T1KUT21Z+8J5g/wtFPrbScFcPn6CEMh
ZRxW8blGaa9etXepuMtnl7OIo/xIb+lp7HPnNssCGunJuQLbo5PpkBcwMXSgLgEgFdoPHlNaNOYI
fJzCd7LAsFPguFK43cHSgz9g0sQEsn1F0+TYrxhrQGg5c/48AVpHwUM3kpAuXDULZFym9e0v6C/V
T+kTPfMMsnndB7P9pOweKcMpTvYbJSjSEiZt9yofV91ZgGMuUB/WXxg39wLGJgZw+NEpDMM7cYhM
bvelz6EDoizGwF/nlvlgMe3bR5/PNLuhewq6fukMkjaFQu9e4Y7tXF5IKvRx87CpYqO7gumqPt78
/UQXB0iYxWSEYbOYyzlfHb/a8w5KbJqX4CGvprsNSE51/8MSXb1W4ePKpzNKgr2gOZAtoPga77h+
mIhT8YGIYliIK9TnG1p6Aff6gmPitv/11GsWlxV4iFJ7gkkgz1u3TY6ATheq85W04h3iGFcCmnLq
3Vlb5krwzvHG4K/ZZjZu670O+X3Dr1QtG9Uf7mDtKJFrKSUccAR4BHRu7VHuAlOgRYDJ1d3owugf
YGclwbIfGWGNkFG8w5w62qxNvjHEWMkMJKTFjrFmqHzF1QKlFAVtNFg6f50xCJH24Kz7BKQX7Ja7
XdFsKnGmfNd0zmMuupOcKqC/tUeqFCbJGKvMJ33FO4kJdUq22iJaUh2vZIjwgZj3j0p4ZFMltbSm
Zj/BhlKGgOBiRmAQPu8qGCXw518pBR2Wa/Jej0Ew/8Z9ulfQKGMPe9+tjwHw48tBRgmDIdC6xmfb
igriFt5d0YWCVE4L8a2RVC+F0ZzTtWcOEVqkmH7GTNPz6V7hWaQq+UOKlviGFW4tKCFSg7ieZgz0
PFnfrlneZ+p/hz/yLhUCK8TVKRO+xxOU+XLFAIjblM9dt+1x8yl4WNddm7rP/KiI6mNaTrAt+R2o
Lp7LtBr3UZKoG/cLgyPOhWffRb3zTYzY+3Ca7tfK/ujdiek7zKvzoRswk0+5mfxALX8IhxiH6Y6J
sUyWsRmZlRlOsvfo4r9z0G+z2X3J7PWbx5kZqFyEhp/Tb/7BnlE0719lZxB4u1j2+4iiZlLM53gc
z1OSPTYVPdx6bmMoP2fF8moFNOpadf2UTP30Ng7BPRVgH5wd+IiG6r+gZBpk4MBsmf2Snzdn40sQ
V3QaxfZhKbO9EQPowwWeeMOf9NJA3jYvPDEKYwgyk8Ed3clzGOsDheKLCsCGijZp30aaWmgg7MbD
pIOK2PSL47k+XsL4KxTm1U3WXY5ySAwbmpbWsvcXhzGCaVCPI7Uq5jP6PPxc6EASba3NgAyEfnGY
AUzeGBX0kRtwm0Geat4wrijYjUohhNsb4SZ8PpTxhoX1Oxgg/WoSj6pWnnc1cveG+QgPQR1Ud3WB
GIxhAW5gYH4cuEhCapI2+0l6d83nuzb0zkwbuHX67h3mii9XSJCBXs7m05RRUZi+rp8CPxtuAsNg
fOJmo/DF85ajwpyHpWsOqZfvIS5xb1JvvUAK417O8VKZ5wXFC6BKeSsZcNfOTzMta7cOM5aaNuFJ
G6q9zZjTzVzLsU7ovAibXQg20ThktscpgVQpOviDcbYL+yGMmsdmKL/ahMdd4NP47DEz3vJOwFy3
sIS/9EUIiFxdqHgdHtPJPelr3YzAk0S6YfwQNpd7Z6yjW3upaVQCBZ4vFLva8fkSUbufOaeCY9zX
cFv4RLp4rDMsKy1erl+Sa8RqbKAeU+nfQ2p5DNaOHPk0f17HFbgmPHoATvRtP4Zh8sWfTYhz+q7a
OXl3iIP0FznWp96KT0M9PqzBdrQcm6RXtNvG/pyOE+uUMABnezKAnXFQnhkifxxSe6ZexKAarUfp
BjAUO+t95cNT5FnvSWjfB5C/pWHX7YYU0hp3Zo5WyMgeaWVtZBpRV24yaAq9s4IiGD8aMlduT1nn
5F5O6bDtL2D0BsfKIlnBCN7HGL65kRCioj2afBltKsDQzcRMNsi/A9rsBzd53eb4c1s+UMc5VOAG
AeGi07+BKD927kQeYD5lZUMuCvoXBgFNZ8/23gi3rYSxhy5jc5zukbmGPy0TWZ2X7p5hhvQJptO3
Ie2YRkRDL26V21Kj0actBJHxycqfZwUkXXzsk8vtloxfqThsbmZ2w1qp15xL5iYP6zliYo6xlE+e
n//BsJNVpSVWiRmrNA8VbW5msz7E1sYs+bH+3S/JdohZqaDKBQ3EnyfX7u5sl65WJ2U+fcfcpXqe
fhfV/CLRbC/Fa9T6yTdVQStRdSHHeltk3bvVZigdqi5H+yf8Wec8zg/Q+NHK6eOoEn5JiMpLZh0r
n/6tITFdDLz1e6rMzx3G35nKTxsJzrEJPw0oziyGUWOkQ1WDltoWXMauinsm7n1KmHEjIFExmOVQ
jUO5qVwzmLyZBU2Kd812a8W8+2kkZ86kdsOamMHKDD15PKXhDHdtYn0V8M+oAqYGpv58azvlr8V0
yr3uXc1Wcls7vt6MMbk2rxZnFNcvlBU0QWnfDlMyf2l7umadsYJeohqOc+A9WH5DfWLg9nu/gUS7
ACfuQLEinC8gZfjZNmc6pEU77Cbfu5d6LTb/Rbmm6+aSn4Hp67ZceipPCKq8uDxfGP2y67M43Udg
DrHbnyeY63YOof7NxYbJZx2Pmxt495cZ2pFgjX8qlggvpbWLB3vaN/b8OWFqMTTflL31BoDhwoY0
i4vdATJIV6bWLslpJjJ1NyhfLsvPbApfmoaa276owW0ZpHMrk9KY4aO2vTc9mu7jL1mx/YD8FRGe
12MWFtQATf5ym80W3WCdPVJgEm+/4p5J4cpRTnb1Wad+CeoXYieYH+bwOQqsaBc50598bTqIQ+wl
IKnPkMMM2sTf8uV8O7ycKiZtQUKZ33tZtw/H+TTPgi5HNpAp1FR+XgaOGpNbgMMBPuyARF/2uTUb
vBVwwJ1djkBSQx9dzNvIiFfvGAazBaNk73ZKRDKEh9mPXfIcbHColBgks/dPZNHBOFjdfW8M+8gP
KUQNLUb/raN9V+TV57EPqzsCLInCPjO4yBZO2Q/Pdoz/wCHNfsf41xxahJDmHdRXZ4WUVoDD9R1E
vAynZkNnOiW4J2J3qFFOJq+8kBIO1jS8cVcML8RSVKN02adLGqmq4HKTZs5T2c+v1swAub59oefn
sxFvd5cEnupu/ugmh7JVZ5d6tXFjQMR1m8z57yQHIlc6vKIR72sz/KF2HNrl/UgFEvnslSwtSuDG
ol05G4rvfgCBEN5rsYSUoNINYBSZsklIZ63ekyHIoRag9Mzm0OeD88dqsdK4ZE0FfcSUvlMSo5cp
s89lDigw1elNcgELWRQludN+8khD1Q3ERPYpq7pHI2HWSeqcyW49+zG8WdAy0ZqYNlQfWRB+R1+W
pXn6H0nnsRQ5soXhJ1KEvNmWU3koKOxGAfQg71Iupae/X3I309MNiJKUefKY32A2CCAdYIxj7Re/
PmYCrLzmriO2dh3RdiCzr1mgzGVvTqCx75Eu5GNYpMON0I/4jawTlE2qoU0ees22XqrOApOdyl1b
WBBxkfQMRK3Dw991YtjxxzIxl1HPOmfwKKp6XfptuhtrH5vPwoi36LfeBQ7Qz10Anr6j29H5TEm1
Zkb3YbK3RmYlW1e7RKKgfiFLEvahQ/WzsJ5zKyeKMjRsKf0LJMLk9Mx3oAoO/94C5VU9SuPdXYYf
PkeNZSybaG2nw4PLo4TFUz4YBo0oPUfmxMIxJto2Dbr5LvDwlqI9tn4867FOjPXcNI9lF4QVeGje
Z2Xm1JuExtEszo5G5UNtYnaPRTOHZUANWr2P/CZneevw4wK/gPLNwFv2Lguqoq7ACQANytI29tWE
PyhWhayAsB7McOlQstIQHMyQaVzKdSOeljLbe6r+mC9tQCbtoTG2m5ofdfP8IZ1rkOkPPXbAEQbQ
+YTmCq2pnpqzdF4DfdpnTnHytQruQYlXqqMrw3f7v7klh8Q9OSYm4qt6sjBgHGpvLYwXSaTqHHGe
g5ngluxid9xq8FljzUDnBqFdczml1rLD+AZTmnnlND2ulkoGFnVBa5+nBzmKY97N9Emany5I7a2u
1VvGmY9B54YE579HwycUwJ2UTmhrEKkLMLzaS8Oh7qSPUTk9Z+6+ry+OsLc9qaCRY2YXK7bUvBpo
oCcT6RF9G05BEFnuJmgMVgBOzD6+11Hjveijxngj+zeA2Rv16tYY7W5Aom9VWE9zJPEXHLx/Rc38
0yOf05F0I8X30DJ38EmNuF8dDhan7aqN4vXcokZnbm0iusk4Wq2TfplDXkqjJOYTRgs4mlcDG7Af
3nBE3zVmhrQsHpcD9bu7pgtIzr9AbMkRewWOjFo5WrPC+DFHVdh8lj5JS1DSwknssBnFC0n3J1UP
rLxlm2NoG0T3KvPQNay+4jGm5arEIsWaNakF426JCvY8Q5UMmWU63lqNXgTaetIj1j77NDGx5xhb
uEMMNnisbZ6EfU8fx7UeikZWLKSu2UcZE/zeuDGR+JTzVGxxv3jvVZrmVc4p0SDWLRFM6Pgm8wSS
t0dvnDPLrA92Yt/KLP+oPW+bI+jnWNMRo49tV9mPy1SFzYCXPb6TuRMcpyi/mxjGzyJd53NDa7nd
Co8Eo9afk14P46Y7FIaCRY6hMwyXXI+f8DPuIPabjIPHNN7lvsUiV6IULZUoCEXJEdPRZetQW9J0
g5nQvDGzLAczB17DE4dF90+lbyB1BsmNsR7LFoI4dfxaJtWhaOezFdkl1e8CVXh68xN/hy3iwclB
JylVHWTatb2g/+tTxmLVSxun7U4xLJU+8J2wMdy3ZkboBsH9bTDql56x3Tae2p+ydeudUeG3YOXX
KTaps/OwS2NQpUPNoJR2pFkCv8vGJVh59MEH3hKUr43lindJwwzV7a+5FWgZ6BsUOt/itrx1sTGt
nREWrM3n69t95jo/CDt/2dwVo/ltZrTHYEi3OutC64wvFLI/EdPfTkm809k7q9nXLiUW4ZKXEDBt
t3MttPPy2mUeioz0oYKSbZ/HTITS9WLUu6E3b77fIzhawS3m1acyfyk14z/huMdUyaK3rvFI65hN
FYUiyq5aR3hzivk9bs0MA1JEXEsM5OsC5miZ/ArvKzF0KDrejCUEiFi7ms6mH5+XiENR9gmUiU5g
NIxIZ/sIgKSmt0UzygPHGFXkYmYgCWjFGL8MmnLTcnwtNCUKCwZezT7VFoCRbGNK/253IE56vTsJ
gAierZolvEHbLAG0ji4szlYv3ow8n6iF0Qf+8IfFwS6qy469o7dAF4Jb31ZXKxF+WFjm1bSWryWe
0VFONiySNLcZ7+85h5agp7EKQbp7KDXtHdVzcJOvy6hB1f5hDrfju9VNJPm3yUDDN54Mooz6l0W6
aBr13zkvThakH/k329TQlB4fy1oYZL2AmUFQNT+Z99R79Os5KTLriW9TPxxT0Gjg4gg6haK3edtF
p2W3Y8wB1JWRBOo0c/6lFjTHaSBzdUhraA1ZnRH26GVAyz6MCAZyPc6daSh2vZ3vS04TfqyUrYJK
Iil60ZlrRQ1MwJpDlI/gDkzaEO+xnsbWpI97KPXXWAAjJnnL5I7ww3k9oJcZ+PSzvBcNM5qhptPv
7lXIbWhxwwfhKZLjpQAQGVsgp8Ms2LnyQf//aUZOW5cakkcMp31t/DWYjjwKvjyRq0wglaOMQZ9/
0CUfj99SShY/6PPo3DLYc5kWBmIzttFjKitOKEZHi7WdeXBcoui89dJmNLvi7MWL7H8VNUGg6QeJ
32uPq+0w6Mc5EjdbeWinxrNwqgdhWgcax69uqXP9aP40GBFKl+3CyOSsfosb67elWS513t0Cu3zx
BuABHFMGBTW2l+aDGHmOHQmI1mY/DGzTtY/1+trVh+qQLDyjeFwgWRT965zSQQ7aZJ9UAMIMDXgF
qpk9BoUrz5D3CstYOGSy2bRWBtNRI1nyK7mZcdaGNglFiGevdjQ3cI6i7rNdSu42SsNFIEmA7TUa
25OiGuS/mlH6p6axcHVPo98SYTVYY+yMvNbvjoV4slGkD9AICFmifZILBsiaXGeJdgyi9MOQ6qyP
07s3FY94xn8xnd5RivL+cAOJlYSQVgMrcG5ZTa0e1B3y8RbToG5IrirEOXH3lXbVeQQ76lKjWcvw
X4G/7hxlDJhBLdPsX3rJVGsBZNjshiQ6WY25Uee++vk0tVFJQ1d7WqKt6wEgnBhZpIALkj56QRnl
JuZmGzj20dTFnq4C5tEeIvSQJN0yLAVomiAA2CrnTdoaoDy1XxV9I9oOve1ePaY4yGaG7SKPPMMN
+pKfy1Ra8KOBvrRMIWb66XZ8jjR3W2VKS9e7Yw63QbLzEJc0y7D+QvBy+PCb4VY3yWlkIkuxQtey
NJ9aET2qJYNW6dFKldRZf6CNsVHbMI38sPEcUkIWMl7ccaytbfK2ogTlZGav/3+WVbU30w6820wK
C9I61s/xIkJMzf6pcOUBslr0ZD1TROjkErTt7v4wGaiQ5tkum6BiWN3NKBx/lWjDe7SkX24yfOBw
eGt7l4H9dO6HaMX6QI2hpbAwd1kxIdIWg6+NjV3Hh6WMwljHam+4jd+aAakRS877akkZBlsl0bih
MCF7WjCfNawepWAXzKUTWaGbNR85JvGmg0V3ncmj1xovfq1vLZ2AHABUm82T1pCU6NptKjHm4LFj
qdzdPHaz26GSGtW/YJ42UVNevDQ94vdOv3s4R2yAmsREvWgBYtFatHXTcQFroLvKiwLr1DE+AuKV
Rsgijduoqp/JtkA5UGrM9skh/pg5qGJLO49597RM2jYdo0PewFQdzX+xHj3pMEZgspZXBvAXoEtA
nOb3Oe9CTbhHLbYeUzoOSdKonp9qCUCYdsqzwSHdNGxQM0JtCdicOcdIKPmXgsNA2Not6rX/NLO9
DVZxTwzrU11l4AQjKFwtZAxmVF9XYPiV4oDSd+oSZPvGPd3gfTYHVAj+C4h74ATMu1dqdcwV49LF
e08KBDXc9tbMBBt1zGlNfyzm4QBqFZA6PL5K1lipIRpmMCVJ+/s4iNcgg/Bq0UjTtYt6Qc3sOzTB
+lAk9ReOes1qycabjKYL7uafUdJTcS3HMXJWE3bTaYDjh5+sNTpRZGh7TcJJlQt0TP8tIlHtKp8V
3O4HHDKyHMNAP52SbV7MTzoFb+ENxxIbbUcIb21k7S3X6YQTbOcILVSTCWUv0AoAj+56+7jU/nPi
iYTG+0kZ1K4NU2e11cvx72HZ1A9qUXuOTZfWfDEx7DAm56XHTRvt3ebctkpFiCkorAf/c8RkIiBF
qmcZDkJXjhdLqJ51qWsvVlFMmLm3Hy7YTLw+w1ympLegujiQHe1CfpAxmRiA/OEaExNZZsovYVMp
+JCzWFu68T5RlVFqOCDyqeI26sRy+ARikRtOuUJ/lfNDYDwtc32MyeRI2uItF+aC6POq6kcvQK2k
B5Ws8GtzxjkJFIGVB7nageTD94Irv2C1AKIk2i4xpfRDS+FNybqwAMkIAlZ+PT65frlLo+wYLDHS
gCZDJfTP9F+1i7A05qMyDgDB4oOiuXPId9S7WH4UZAm2ln7rAFKkZMMJ5A44gPB/GftnDlq1h3q8
KKbeunKjZRGtOOZHiwhBOuSmckMRivu0sVb7Qf24/sp/U+qf/JsUip/hvjAhWvfoNFbUwD31YJu7
O855rt8TeLhJvq2pqwf+4C/0gdaczJpCXaFcRdKwdNVFIgc+DK989pY8pqP8UImuRzVEn8J6orzf
1/nvaD90zodcHrmOX+JAJ8sNH2DoDSxNygNzsn88bocen3qK6keRt6Or6hDOBXgLkp/ANjY9tgiz
gemjcbSpP9RHSUd3kzUIdFPh5dYpJxWfyWm5BB8wafuthWSEP38nABR64yUbUHD0waONxnY0hwPd
uTXJXYmst+jBtMhdZHwVxsNQ0D1Y/lHGq0XR/FQ5Rh1W+9xim8f7kyU4JT4/BP30jXtnValbb/Lf
FmgyX4FxuUkbc9XxUFR3YsCmM06e+QYe5sgUlT9cUkjeyEgRNRDtG836oMxYJ360Tnp0CUuYEHe0
AghjyEton6UFQHdgQzCRF2Ek+bW88JJWxTi88tJY1NiCA5j8zx7f8uqVadV64EW6NILy1ttW/Y3c
l2/kJUiONFcZuNyRmdv4PXJS7n6Onon0KoUksv69/mrdiQ8yUiZEGAR0IFogVcQ/Hc1j0k49OgPu
PeCv+6kFpkpEuXjRSpX6xp79DG5hrdbg3y3rlwUirAYAjaTTABjSDgqW24dejgCS8cIQ4Rh7NRLF
l2x2T0k7PWkSYD2fo7GdO40RRoDThzb+5KT56hFOqAWJp/8vTt6BM7BBXePYab+lH5IL9ybsVf/E
G7KTBC2cACukdM93SvuH/+YWVGe1ZzmrVPXQAdVs3GgjkL3O1CZL/1pigS9fRcEom0o75bQNqMib
ytl3dXQOFB6FldrJtQ+PBDdLXGbeWS65Ta+yW95YlXw+lSjZkOKcCZQttUBrDicViwL0XFCDB/1o
b8zF3AytEhStUUZV0D/eJDupcf/x3nDHwLPsdfSsUzQEQD4gmeQ6zbJuvUzi0Pa6incq61cBlc6M
+nHuYuB0CYLDXF94V93oXQtJCd4Fm7JsbrzoRK9O/GHrBbKQF17g35rFJkkL2p82D25+xOBJj75G
ylxNzmdfm7ZulO/VDZq4lmtDeVMfU21dSi0+BGNFUE8kktZS0iahIrCD7lTF+gvix3b3tURIij6y
iCUqYQGyxDbI9cCk/UHdoiIGS8ivQtU5Aq7J/lD/J2YgvcMrX5PkXCwkVkVNZBMwL1WA5F9UdsdV
/54ZX1GR9K+hCQRS7iACb/4CV/ILLoop81+9qdHW66lo+dRqL3J1VStBcnRg56hvV8s9gKrYlW8L
4uXsSrepD1xWbSn+xqPzcOuj2aD6LpUTX9o+vwxVDr1BkNh7izcwJrQHS6f5ODFvZdbjufBp24aG
ZX5aEG/XogCylElKHFcfxZTMD3ld3oscqQzPuwYk1yCJf5s4f0yRfQqRkT+roN6UFaunFIQHZ7po
biYYH6E8lbdBH0pNtofE5eF2tgmFCfEFMszHyQpuY4wIIU2EVSXQ1zaBFPgJ2g2GxvfFRXpeBOya
wuXipp7+uPOE67FXQ8EcVQMRQf3AwjStzD5E3z8wStkgBKOYd/D1UXnNpH4jEdnnYxWiyh1q9rzL
+nkbm/BJ+ni5zFCyS/BZbY0zcQXwuI2Y1E8nYZEhypi2ZnLE3Iwz7JGVwnTq2EjtNSpMqtDzQLyb
QaHViQSvBEQmOuPaGrad9tVbtPZtIwidIt0MLAveulkzqHQ5V4zoqEEqnFiMlo4T2hLsVOkraAPY
iU/T7ywhiFpM+5Esaa9L79MaEecmh8NDgy+nL8HJ59DCnvT/dGCvNZs3fpYD8z2Ce0+QB2GxaYaG
Sb2DyO5PZYDwtxkH2r9GHWy0KL4Y3Rga3quRqN+ULF8+81x79A/8rbCybQVcqM/csGfLYt0HdgSa
mi22NuuxCrKzBvlGNNbVcIHtt1TK9IHmGBcBFibgt23Jb+zx2mF1drQ2OAcrOqsg+zdFoFOfkUxG
Zz5+MV6T2Q3VPrGXt4HUk5qI0AMW5u8xOGl+wXpYJQ1kM2yNhQy/wIEU/QqIZMOR1j0z+LM3p+TT
EyvMvPU1qCNaAAl5AZ6gAARh5reqjAMUEB2cLF3XwZskqeJm+dmuflQft0Oy2vLM87AUu8VXHWTs
RQIYIfWjRYFQ5b8JRyix+chqcOB8pEVD2eCFszZ803BDm8AEAxNQcabAxMA+BOUef/W1Xfo0aDFr
bjnOGUUzSKi0o8OrqUsZ4ri7LjlDClJyjkk0GCAcMIQnbZgIm8H83aUoeyc/Oo+6LphTBm8xJlrK
Cpyo4jF0kH9HD8tPvSl+i827DXpkyecLt6ceJs/Wn85pzeFexMMUDn3QASGObVRGIkRdB2N+xHWs
WSeWnYcVPdp9aibDbmzyMJNXu9I3eVM9AaDaivkiyTSLrtl4+SephjH76zEHbUsTdN7TJmotC/Tn
+B2082/iBlsWIPessqVYABYdkguZ7I0tCn6AppnGCE+bpgNOZmThCVDLevYA7bJevLj7x/2oNWvY
dzwvVq7dordlTNYqaSY0i4uLup46ajphMS0M9qS66sRv6JW7mdxq0jpai7Ox0QvT7SZUm4p1x1U9
j8MjjtHwMJ+CznsGfHlUuE1RIjPlb70qP+NoC1ig35KHdNDx2csTPLOWJYfbN+PRPGeG4p1rx37n
7F/A5elK4TD/iCkK7CE/dmwBMxqPEExI9Px1wXkEpsW7q9jRUy6Vlr6Z6xdeExcYFuAN/hJi9rVO
HWYZDGUTIc4F2TYI1uMyw8uT4P+5XdOiu8trUW821TclAdqCsaWuKSZU8yzkhXHwUesu7XMe9U9s
eypqCeA6JbyXtPfPZWDfu3jxt+XUvLOgeJs8Op0tRi3gcVBmVnrntFdO01pwWliqKtfs6/jkeSAk
KD45gmCXAbCrLQ2ofvQlSRcY2+yH5mVskFjjuRjvnOUjebzKGxw+J+1Ac2YGQ8ZhIdwD4vIwWv3V
nHHD0S0VfNBzd9DKrvi9FuJ4028iVALk4WOg/w6RCPu52SfpkbHyeenTc8EO6iHwGTwSiluE4u3X
um/RAR1VbqgOFY8QBUh0J/B4A3D6YcLXzNqngpLDsI+doTIC4aokKaEIaMbxLS2mg1n+2NY7X5Iw
l1UcVdFERXQv6w/qLfJe1LvAPJD/RXiFpJo0gdtmiRGm/Tw6MvqaU7Zq6R1G6IGFXm51sNWNmB74
bh61Pw4Ig+LHUnv3uqdp4uAtY+CV1OGZZc0bGIR/WhZ86e/Czl9LQwUDncOBJAQ5P3kmch5VAWUW
PiKL7sGu39QnS+SJTdkjzPanxKldx5nTrAsw+qRd4CvedX3J6uGaYi8czeNn4VIPte0EAc2J3s3S
+x7I0gusi3L9mBB6XDF9M6JMzf40NFmzLgN0Z+iPAH0Dtlb1KqtKGBfUXXS2+z5k1U0+BShDVduG
CcpTS9iGAZNLCU0yMKyjKchSkuUaTDPtXFDQuh7Szb/B9Nzw40nrhupeetAHtn/PoZPYDNB1AoPX
v+F9ZoOWEsDS2/owt+CMLJ8mUF76b/PY3rvBv2VttrH45X607PzFC4mb4KCiYsPg5eKmFjSyH8uE
j9yhCaQ/a6TjNNXDqYVg14BlZCBoM+BTWUyMQ1KcDWd8uFYqrMANWPe0ZnXI1pHMOVLcx3jMaS0/
G2BD0+7HX0BuMiejEhpIzZhZHBwv36kHQZqXmck1H6+N68s15SqQKuORCllnpOrGdryF6LfxYhH6
4lNtb3aRFMZaxSWTxccJG+cICDjXPsGmIPd+62b8FBTQeZWBhlrkqWJrBlQ+DCRZlMUsnmx6SHH/
3AKfH+V/QD5Ax48YazCaE5+qDOH7LBJrQhqRlcSEqitdcBdsulBFPd03j5lCOCbRM0mFTYaqChaQ
N9QdrvzIh6NbuYBqIxCTOV6MuF6CNHm2IwATlC7qoFpo4Ap+KKddUFSvKVXORMRqBNgJTdd5Me7N
hhGjIrg9eb+dcHeiFf/YkTAJVbmX4BauJ8FlSMHgC/3MkVLILpyYPPJVw4w3SYXrRfKMu+hatSKm
aNxXdbaQLVdb9XpnjA1U9V8m44XCxmMfVvNh7FAMnmQZWgpgx0tT6UFQv1IJoZlv7qclDQ0GMKn3
/zywgWEK5Ag8ZTV4PxoDVVUNjI75wnG6X0gRORjVLiU1N+bs7mr/Tca/oLDfUuvJY8RMhFLzpZn3
oDJttaljvYfHRRTH5A26FCmHCW2sKEr61ZhotE+6FjqMS4kHwtKObk8+/oTj/YNWBLA0BEidGjR2
fqjq36XR1p4Zh3Rxme2z/qjiuVvN7k5ejhsrFiGUGryABkwPfwTMfRACnAj1EcKdRvmjjhgnmbaW
9U6uSNKmIZk8VmjHctOq+tXG/oO7UElVUr4zJt3WXrzp3G8V/OFLDugJu41qFaLXxU1zevC2XGns
SXDgVDFmF08dkVmz0Qsrhy2bp9QoCVmIeFutdM42tSFi/90I8nWpZfBbnbtLLhdBhHAo89ln3E0I
Em/LW2WXmDqYQhD2UHYfOl0+zMsZFsNzQH9GhSG2k9E5V3Xo0pEJtHgXdybd/yUcELBz47dIszEx
TsOYpo6kk5oz5FcbkBVAoqaWsOrrYNOi6fNOndF4zF46uEQTZoD4J5ArkuYS6DXphmoVt6UXb+3m
v1TTPkakcIrC/Dca1ou1VMfeXJ5bq3zBrkI9Cq68gH0r+wYwER1iQO9MAgfUQLT4eVGaGRGd2TRX
BDfYSSbOmMyHy/Gpj91lZU64UdDrK63lI10+gdVuB64/GON1SO+W2urj8gWmtFlNBFuL7pVfolsT
E91SoaM4yWTRmg8ZRBGVbEeOuULY9D5l05sunf8icJcEsGc+pVd+9fXwHMcp8gO1eFMJ7+KkDyoh
mfPhrlb/VBghwM9nwAjdVgvklkWhUtixQR5owHUAoXyVXOm1eVdheIgfOOURu1wXLRwHjk+6Bo5m
X6eJDhPnYcepXuEAEPBQVVplOuajV9c3WpID5qPMxugyi2lgtNj0BOnmvzHFJ3F5rNPqEOHn6XP0
eMP7MtSfoIRQ6sd+x4Nm1Y1IYdfAwf3AOvpBRX8J/E/MjG6p1rVvwxiBDjKZknhSuid9Tq/kBWW4
9DrwPHloy+Go10oly/kObKi0yXjw6CaQjgD3oryuEXjYLOC5e7ZnW9XnJAZ71MZs63S56cH0RqaA
axlex9bsDVu/KqkDSmIcJrMrlVCp6Nwnmdx4aHYfa44vZvRNgVErA7etYbDJRMr4DfIG+Q3AfBqN
MxMfHoaTUkcbpXE19eVd01N+8Qz+fKIZPYnpU+SosUwOg9asb9eqPLVzcE99x2JIAyhXlNCIlEc7
5iGoTOPDEIgxjFJ6N9Gko8NdKpo9HFc/b8nh3Hmr1wXVpohBwfXl7zRjQk7OYkooGZPcGctgbJKm
vEdk/0Ymvye3eVGFVIO30BgA37eiAVIpHXpSxSlknIGyFMIMDjC4NrNPZrO81J4JBhzMdoFUSNwE
V6wZ6w14suSipYtcqSxfzR/E6OxV+jj1NlDX8eY54CikzeFnd59GJb8xR/ypzfoxFtEmrXmIeY6Y
xhiDbbeOeTTSBnWQdiwGKkMburmqCTs6/EyV0G6warBY85wepzZTIs0FohYE014EmNw5bCPZah+t
Nj0LIWgFBBV5qNNdMZNGyFZbotAWPvsbkAqa6pCd/D8yDxRq5reIEuXbGjj0ZFX1ak5BhCWFePQC
ueu95mnIsQkRchlOlpZu2k4i2VA9L7aegdRLgseoVZocC8Tfyujs9VwimaD17UvHuJYmnblNreSi
x9mJJXaxBLpbS3Ke0/FX6PNnkM4ntVzB4+yGKQL0lXCATKkPBUkGD4aMfpMICiH4Um9V2NbGlSMQ
HSztmYWhr4FTuA6Wus9wWBkyFLYBzu2ctF5WKLAyBHJNQBRz9SFGlwne7G/RYwCXtOifrUuGP2nL
l6UXAClsIEXF5Pgb12eE3VbJg+dHX02BT7quPTkcJCY5TR1gjtB4wWUuOW493OeDGb9iD1wiXMFw
4mAYIy7X+zakV2bRlW6dMNHZ+GxFXZ/OQwp7KKYXbNhLsDU05umxXzf72gFokZD5MIl/V+HHW8Rz
TZMk1kbeq4noJUDNVeEA66oNHqn7ECNVDdQdTbaJneZOPY6CQK1i91F1F3whDmaXn41MO7uchmpP
5bUHaIkaNvazF0efH5wSZRYrlukpr93uBEzbe0TIGrU0KtslM+Nb4DpQ2EGQx9MMLbrtwBNkCrtZ
qEQMTCENOwalgGRH1AWcYTboRQJKE/G4bka6SSMTsmHBlnPxoycqgzPkls2yDJiuG0+xQi/2/o6+
zLvu4UHXpPd4Tt8su/itibSroumaf4tWBWize48yso1t43HL6qlUKaGOBMo6gh09w+QGAlRsApup
F4kFmKO7rU7UInsPJvYMHtVoofV3bexyANMdg19isNa7yJh0/xjGHY1s+c616VWiFrCfYx2prBzJ
gLoGjQImrIjbo6cMM1yGXT31X5cNCrlSbPSJJF2p/eu8EM7nxW5OBctYwxSwbvq3QLqvhUvB7aaM
2ZOi2DLNunUVGE4/R2C+914zC/1x9UDLvGVXa8cqijBVKIyzPgxv+He5V32uwMwb0P215l1q46eT
OW+R3z5FE943Qf0VkNbYJFFirNh4OvpzkzCubTf+Jrbpw/UZq7+om+XjOwfOTM5G6HWdCN8KIZud
Q7dy7QXzj5Z3RaiaPz6gYwPDSctvIASIXefiBFNa3T4JmrPrL9ivt6FFiVJX0wMElBAhoYc50M8D
nQVpkCSq2U/hHDCB+pC0CoIsPsIuOINS2QiGj3oBJqOxTI6cnrZyqZ9cE2Enf7jUgXn0erzl+ubD
8bAK8s3pqKJF5TuYiQH5bmnSez5Y/6F90ZBHWA1cIlj67y5bvHWJyQWaBuWKqQp2cxMJzTSgEQu3
T3XVAa+UgB2XON12vn93MXzeVsg4gOuT6LHVcJhs4mCKx3VrjFTkqBN1ZaBmEqAg0V3XgQo7Pb2e
FHegJRUoLs457tJqtBKMqP7qEMF8wXEUp9lbkeM9sJAm6VSRq6Xl1BQdVBZhbc1BWxtg8hgSPbs+
PC+oqfQ8bhKprSKO9nFcPVa55V0jOs3frsxOk23cxskXULyr8QBCNVmboIwwvn7PSIXzNrvP45zt
4RWaJzyru2PhQVjqpPegcoVZh4ZUjODpZ2sGNz429y5jKuFXAOgaqz7Nln7S+vg4AM8/DZm8cG7u
eoZJsVyYQ0QnmM7MG4tt0ZVbe6mIRONuLowezgEdSmrRwo7OYD5Jsou1qbMhgTrTYkZDN57MsyEF
owHT+JhgC6PtDwCBxDM+W878XMFXXLkJmo5tkKRh3zmq2BbR9NCONrgUE2ZBNUFIbRM1gpK5fxtU
I2yR8mqWpK8yGbu3zupEmAz+r1MXH1Vp0Srw0U5A/jB58Y0O5IyhA4UZ2JgbB44N4GbIxb9zE2MW
PowynC23vrij3b0Af6aNz8E791JwhSDeATPJMMTUl/80MCxh4sXlNZ2j9EEYviDLtKXRb71iXq5R
CqUB3hrh2YcsVZkLimeNNm+Mdpr3Y+QjCN9jzBCY2V16abaeexusfBIjzRZZ8XaYkmHfFL53Knmj
R4+GGEimvLkFNXwpuwE2bpfpv9TKzB+ibb1zM/j5UnTovreW9mjFlbnT+srfxFiZg1ctimNcXdPW
FqsUuPgmGZlTG5B5HHOgyRfDzK4gOq1rGYPNDxA5tAE1FAlz1Tq38FhrndXYms9DMNXErvkFM8eX
CSYewAfjs8zZhZ7fHqYuOzDecFduXb0Pdf9Gurv3EP5g+N7tAEe9V06G9gIYIBzGbfekBayeEqLt
ERDLU2YHZLbZpgmw8RGk0pFoTsno3jy63zJptgD77n0KdMOA8onM1V4ULeAKevwu3TA9f24Gb/NX
FibQv1XgUb1Lbcyw42EjF3N3K6sFJc5GU+2i/i4d65NVfHIg0iC65ZvmXZhi+J4meaglxh8isTbt
kNUVs1gZ+uCX9E5D2rEB2t55+T2wGNAbqjeQZ9faHSdEg/FFqb0r6nzoInpZ1e+90t51sjgZpTYG
a03AeRmRJR04dNBP746uNyTQGgPKb6jLRltvgsg7e/yymQAxePoAXBXBbJKANO6AI8KK2YEC1h6d
YCEQuzaIOuC4oRcMebWdSkBuRkbB5GUG6Nkkj3ZTEydMWydUgMou/o+FB8Fh9JdjadbexSjhTOsR
XUGZ2Bls56bsvZ8y8RgWNFmho4HVNDmUGy91LpMvE9BWmH65epYA3RIzezVXEA9rcrRT3o0pD18G
Eaux1/cyRY11GYnTg7+zsw4sPPw3n8ra8BGeEdl29FKQ8cW3TZTyE1LADKmw3IEoLiRUQ9TDO8Yu
JAyA+bmG+svYQFqWk7OpAqbKAyJX2ZhwtIjNzGjsh9bBxFReKycaHzLsa2Vlrp1zWXxmYMstNDGS
Or15unVzECOIJnFKW617sLQ23SfQoutF20oHe+AAdqWVUWWZZXmtZkNfKd+H/9F0HsutI8sW/SJE
wBTcVPSkKIryOhOELLz3+Pq7Uv3epBWtI5IgUJWVZpswDY+Dr5/Gqnt3ITZ3dJ1Jamg752WAqH7t
rJUFVlt3y6uXuqQIHXW7m8cvKSw4n0O39vxzHSQ/i2oeA10BbyOX0G3nZsxq+N91Eu2XLvocQuNp
JAyhu2ZjAua0h5zuqkJ+T3MR34fCZg028MO83fV6d496wWXs/Je4Ch7CEiOZcdkNyBrNQ/M6d4tL
ll/7tJrzO/hHb8kEg6QaulWczcB8IRoFyXc3Wiu+xDpDN0WrixcdcRmAsEBpfStHVBCIzxgHH+MY
3hsagM0S7k0yNl91Z196e7rzVI5AT362LfVKw4WAkxvDMTGzZ8tD9bKfPkq0zapEtIDTR4dOnU4n
MtJ2QZcj/cKHcjfIwXdZYGzkZz5gc1XM+rNjApHycCSbLf8MpBTfR2skqTTTgHkglW2nD/Cu0WNc
1I1eQy7rwuJGReVjHqod+jCbqK92/mh8tVZS7BzcuU9QbPfaQmwqY/i3jrfX0gC+dnpQY2IhyTmD
XMl82iQ5k2UGm5ibMlPiuU4x7BhcOFNkqtF8uykpHlGeShhWTN6yWigJTbtfR6y2JV5WQ1PtG7Nd
AykHZ4Y4ZquT2Q83QYsEBkeU0SYfWYJBjt8FNx6c2tChqO3ta0O5HI/hBhD7zsSHIlbmQbnpg1HP
m0j/NdAmKDJQP/MEKYtShKeNHDN+PXNLIx2KvavfN4vDneVijPGWQeZDXmRveUYZNcMLQp+wC+ES
oYM1J/UmjzEC85lRNNlZM6fPzAavnFkDjJdsITOZlk1WAkQcNX0z1QtcaXtLF/3JxCu6BETHaJ82
THPn1RwuAJ/FFxLW1LANEsUATfX/Bs24G6f4oQnnA82gUza0eyefSQ2CAYZ2wAxX3jT3aQ/KbkzK
U6KnBrSz+G0uGEVNYXBjMnTywgRmQkazojYebT1BU7umItX0M6Pfpyqu3iovAvzhHUPWt90iuRzZ
O6qHrTwBVRj3jW4D4VdnpZsPFidbuqTvUbTsl8m7NKgAa960731nk2XJAetHHDIRBzDp0ZXG14KP
IwjPmeFXanF4xw2Ec+QTspim1Dzdey0+Su7QrsC6brOBJTJ0y3YcojsVRN+jFZAKMthZ69b0njXJ
2o1HxFD0UxQ66zgc98xI0HYpxxfa9qdJX/LNsiBq3CBouCL80AzM681A0/HqYAdyiGzt1jIgePf2
XbBk90vZ32J0hqZSS2IVD9lOmSbKKIq2Ro1bemUzyyvWHeBzvRr3ihA8xyU6I0aMv0gLPrftIUHD
4rzYLXo+hk9ccArrWYs4OnTVZZteh3Te9dmHmqerYdmvoWevdT18rl33a7b1nY+c3pHex0NYWQ9a
kXrbMD7MtqjyHCwqReQDNSDgBclQ8Fp4TG0Q6RVXAZ2ixnixE2ttAhYGFrlTMR6u8byxG2udWstP
O0fLylYXHOWNVVlXKzNRh6nsD2nkH/IeGTPT/gj9B7uNkHLRs2vTKcZhoJOLd3QUvstOO3EVy4C1
ee2g/cPy5f9zoOOTgb4MY6Rl6teaMSIyjJ1npe/NCawyxVya0L+JUtxE/q5QNpkXQjj2xqeqvPdI
zeu6Wdm52mhoV1t2ga3xd5hQTqN48afcNuecbOZ9p+VwW4cckYB+Q9ZEouqh2OK1wE3C6ndxMSLX
ZH/WW1PTTvXUHVRqPqYo8c3ey9xhuJ68dgmtcbP4rhbjVILNQTilzvDbMXe6BuJvmIs13ysuR6YL
DgjZ5uShhh6i+0pT1EjgqfZDs+G79HaC+0PSihPqLsTpFwG2bT4rEPEoqmIN6Bvjyux+elZxVRWb
Oqe4t5lHp7OFCpweQVCDbis3M7YAMyU1Uj3NKz/0hNoo6HZZmsB7z++MkZ7fGHQs+bBehQkd3Tie
YeILd5Wthy5dI+/GFHdpHGB7JUwQ9MLtCHt4CxuT70L7bAIGcWOAar9uHdAcKgmncXuInXDnJVW3
tqK6PqsOdl+8/MRLdwoR+JSn3C3WY9m5D1Feq1OUzOeEsZpbBskqZxl5cflsN/T1uqK+TzOPjs2U
MEhKE1rXdqUwVRwe49L6VOAQi9bB0D3HG7EaJ/eqMFpmaAyIwawVwm7LGgWm9YDuoFm3Oyaz61GF
360GEtQC+UKeOFT0iWtM7oIFQru7Vol3GxoJx6QxY+k85P46RhXAZpivBp8mUqcD0c+OXmE8aFXE
RJMRYd2112qy180YPWdx8xIm6rvWBrJQw8SeBKy0PgX3ra1fhsDPeN7qdhiko9t/LB5AAzoREOSg
LrgcwRQIU24z+Bgm6l3vnNC5jwL30AXgpVpb23chPGWtpHmhHjPXhSdvkRYof5huphGSoq1KdhOK
XrFFe8LRIPr5CrKe9ezV1V2dF2uO65x7XW6cnBflgA0pDMnJHA3KVA0fznZJgBIthmLfWZsmAr47
4CG2gJysesqJjIFXrKlbMy2uJi68daMDT8cjW1Oon3jZZm6R+MuLdGsjIdrhZw333zReaStHT2Ha
lC+BX//2WvdUGhngSYfLSAgZrWOfo7D1tqgWnpt2MJgujRzJXXEcUQ8GwfIGV+fkhcs7YDf0gePx
m4LjUC7zNWvDcaX3yatKlp/S5T77kXff9KWo0hvJU5rHOlhbo27fNeUFL8iCPNkTPrtV9mhp2b1n
xgDDml2KIM1tQu1lVvam1BkAR94OSM/F6RdqkKVFKJ5hno9QCIMed+mvjdv2gHxb2k+Tw3ao2gUg
obfrgVUxBofCZC/dbwyEpUY+BTWiTEWQxls8J0p/0yb1b9D01s4mh8gChD+1Rltbtb1KyUp42LtM
dyF3jB6clEWd8jQ56nZ47SjSF+V8eV2+tgIAnTpyu2OwDl2wc940MVNosi2ID2jQjNaTmvs8J9YG
wuqzQeWGovOMOYu5VkZzGvz8mlr51gaBLlmfDWcz8dKdn+pnwdVY/rT6OzwtMElD9GpoiPpYsGOX
BaWqMbkUS/1qmkDaZqsjPwuQkMfMas5YHkzfmCcDi30t+vZoR8G9QqGn9UtEpdPut/b6vTe196UN
LtqjZ7HifK1Zldk+8sx3Mfug+OPAG8l56uQAYKN2H2n3EpVXopYU1VdMz2uTenJK1wL1YCxtfgN6
IfLZ9i1/nWufnvGyoNtFpDOdchOZouWFPkkaEmUZgw32hnP6wivk/b2RiibFZOo7n6H25Yc8B4CG
FEbkWFRfCP/Ph3H21jqHg+7cTvwGaOFMfIkWdxMbGmIsiKfd1fqd3L3OdrlJn5WNYTgGp9bfu9bp
VYIhKICxPcs/8SVC+57/5v1Bto1niPLyr1xEelK1IFXakjHFID58XBNvNRrXHHJbAeDj23S8U1B+
GjnamQhUW6/8OjXReLRRM7VvnTFcTzDXRp4g5ie9Da22usTc3dSr8PnEo4g5NW/LBTBuou5Fc6w+
lM6zFXxjqkV19wjWi19xYzUOqlRh3DYfHAY1HDhp9IuUPo9Chpj0F8TxYdrY/RsXHoTpptPenOAu
dspjN2FcUmzLCQWedNuZIBw7GrnIh2OFTA8jEfyb7Dv+6L9PmzOQrNztil/KY+nUGZG3ejn/fcp5
GDEXHasXGeRy/UBlgC3vSrIOaQRwSRwPTHjllsmj40p5WzkT+IGQ1U3GPxft8GynNBvL/yB7fLEp
Q7rerX8wj7uXA9sf5s/OC7D8nbDafebF8kJ+iP2hrB9Zkmm8yoNL6S8MuL41OkId8I8BdfIJXD9P
gebRqS58qNz6UZYjGUdNYi372rFDppXbKIZcC6JnlgfBuyt4WywOvurYknyZR95YZJ0TOnmSI8U1
9R0JUBLSWkTSmpdE/G/t/ucpKe9TvMkdkBdpA2iY6Wfg0LYX8kskxCM8jhLeh0VX+fVRNgaftVCd
8fkSheSHHV9BIVdo9eVUHqx4Q11HBpqskTr0WMMQ2dOt4q+TkhhATiP3RptpGYA24dc9c5VoEeDm
95DNgLX6lRHcyz3kksOEzRV4ckP4jajNynfkQfN/ACRkLYg1u6buXe9f3iPu3CEvYwUi2uWTDabb
oj8IdyHjnCMh45bxrGEmc0rlf+83cho0c7Mi472zCD68JGdrpJh/BORWPDnuk+rfsuRl0CwA/TRO
DcxFfJsWW7x2fXrmMn4ixMtSSLn8pElog9jHyh6feHHe2yd+wDi+lpEO3xSzEC69l3ACB1M2BNfS
YnTYBR9lbj602tt/DzjChq6KSLl5echXEvyULA9e3qs33ZxPzTwwKnqZjBSbdOJ5VXXQnXgYLKhm
hiHWYGBSNcCUgHqE0ZNbeEh5NyPyi2zDWQIFMykLDTXjPPbA+fn6Fqe143/U8f0QXFOP6c1sfumK
dMfQy/uO6BCODxNgpCqzXhOoq3oJgN3R5sNc9XiK8HgHUFkF6pdoBuYId64s4zb2UZE0Bwa6w/je
BQZIJYKF+S1PuR6+YWB8eggT5mZEkju6F8PsvZu0A/qdOSXYF5j7TLdrHfQQndFobN5VHPhrv6Ua
7ZtppNBz/Bs0FuFSMpVF2+bLDvqnxK/utBzSbU5i4jbJr9G2DOUN75+fLYh7VfQL/Ub7mFSGTD8n
dzOVgAWin7osH+md0VnN50tdMast6uexZdA+RWa5q8vstZqsfx2pZRv1F9dJTgMeW4wlEPSpmoM9
m6u8ynFQDA+z1xzk3s3GDNXHN97qmu62Yw4nk2TG0YCH5kVznzoIZ8TIE8mYPfXaM2oNa28cd2Xu
PsuG7q3gbKoUOeAKxdlw2k+JfohH9dUH9r+OTqogAdbJUN+K5nhHNIojfVy11fgS5uGDPiX/6iY7
eHDpSFljHNOyTKK1vdILi77JBJ49tcZT5Bt3sW4eSeMffdN5ShftIgvJoMXRew1OJlpwpM99kNqo
CIaLpM9VMKxpIK8lVoaJfuxqD3Wk9sSY47HXkgdVITfB3yGj9ICG2jkM6n07Vgc3Sp5CYVblJhqG
ph1dRStm0cdnp9Kf2pGJWVaMZ8QhjpJuewFxtMhfKie+UMV3DLnbfe6HrwXMAYA3TruK++iBlqgJ
Mo3Sz7Oaz05F3yqiC0evgPYwW7PDAqT0zqk/P9ch2v758BTQ8TIylO4Ytn6Mk0GmzMV05XCrtWoz
Msgpwho3IetiK+3VMJfPJM4Aa0A1sDlCUU/zRd3uAucHHaGGp2Y+zFV6HxF+Oy8+Z8zYEE+C7F/r
H4a9/Pp2fTc6HojGsb3OHKxpq/Ymu2+e0zdk6FY2Am9+E97abrXx3Oa4uMvKQ2yvLCh2Z+tctOpF
4nYwAaWq6O80A1SLNKa5zFzq2CfjY1SpQ9MMV9hTgLVj9WkZ49EJ51tANj9Gn73ogQEZAAPovsbx
Tt2GNYXWFNEejRb9YtJV0ovitneqo4O9B8xxta9CYooeIB5JAhl3ByBeb0WkX4NCR4OsQTxjOlLA
kD1au6xKX4Ol+uqr/hK0GqTskfhs1iCM0BseQCVzlzqFZqRNU9EbBRLxMGJQgYfAqc5w1kyqjdwT
vca0fcnO9mi9jiaGcrW2L6fg6A/keGQJQ7i8Lpq/s/zgmqn6oiXdqZ1xKEMwK+9INrMGVRVj5wXD
aeLkb2YNtz9u4mL58Ez8kDopChhgRLuFj1JV/+bHNZzieMGYPaQX2W/kOeCURVtjRcRdT+6ETXaL
JCw/9doC4iC+csvecVqUYdKQnhc7Sm6RYWsfTIx6zA2BDNtd/K9axsNU9a+d7iOS6hYfjNduZ30+
SDJb5cbRAZ8VszWx49ghkLdR5N24dFAFu8tmLOxD59NQb0FPhEP1isD/k6GibWyXn/6sbSXraKJs
Wzp0KQduizJeZ6JF6DP3kBCtxyVEtvQsVMixn08Okp/oBWprBtdHL22fcjU9erb90CjzpZr8I0wx
lNQww6xqLOa08twqhbEWtyZ2BroCfbqfNJiYuquOU+iuqtLCyWqxQOSyrP26OxCcEW3SimcbdZUp
iQ6Ont67Y/wM+GpP8P9lOgufCDU7d6FZUMTbaChOdBp2ftRqN1Y08680CBx72ulpdAGAjHCBZBOQ
gtaaaaGTlTuH0OIxEfcQfUFBBYTqb5iiPZA2eNXTnrfGfisLyjXioxh/5613lzkKDQlmQNzBgM+D
KcTOs5EuCWC4+gGRIwGsqqrbsW8ufq9+AW3v1JCdlTedrLDb+j6Pv4o2Fa1keXplQ6du8sOrUzL+
sG2R2sFbhxvdRT51bjjtUhFmzzT9UzHdRMRPOzmThdd9Zd7pfryrVUw4j8CAm8Aum2Y8Uhe+SUIk
yW7KIb6y+/a9XZYLYpfwAqrm6lX+NmuKS4vSu+X2O6/X98004WqdxZMsmrvEVXAj2Yx20W2cFIBO
gLbgSPBBSPdQ06NO7PyY1O1j6S1bCGTujWdnL4gv7OFmfHp6AIutMdBX63Xo8VxJ4kY04Iv8rdDc
zymi019ZBmGl/oc01sE0vKMxJpvEBOVPIk+mt3EsFyWqGEk7gSDOVB3zlHyUgNG4jouroyRm0FHm
4AwaXaZ5287HK4SMNC6ZHEYpCiJyehjlxDi94lyfUCkyjIOPvhk0daC1CRrtvBaAOxhTvfvskvif
xrZop2AXDPnW8LpvYHsHq6IxT0oOsxxiQfSsvAEODOZuUfA2BqhAupDWMwAfrtv/FORVtRpQRBy7
T/jhVK54F8lB4CqToWyyk79syuwl4CgoKpY+cIr7oMdq2AKVVjf0TijsIE6p4IMGDkgp/SlFY15W
jASXhXNV3PUihSoI3UxaYzuAPPdt022wuXyoTKJHk6bHPkR6JAEhnoeXYYxuQRzdzSOlWVrd+Jwa
ngdeWKG1ldJyM2Jcd8LgX9FMWJonhy5N9xKjNdWfCq3fhrQaImqGqidhz7vkxbOTa2Xm967WftSe
JXqlCCFZ69IYP9yw+zUGCzV6+3OIMN2D/xl53TrJyan9Nke5ZnH3SZrtcMrCQH74KdLgNHiEIBF7
IhQAssJeLNhorv6Z+cs27uGCxpiSltAdk6LdLETAttaOGn3xKHffBz96A66Ia26BAff80PAQQ6Xu
Z9dwyH7jR5TaDlVQvTHlfOapbqZx3kxtdVwI+PAIl/WMBRftyGs0w+adBnLhyn91Fy9mKEpGEJPk
jhPSprF2JgPYMgDx4QcPG481pBnoGxTuoUVps6J0cubk4BLNpoXVFi/GV+VACaAOgOLafC4ukotO
s6vD6IAZ5nZMuqMrsLTaLh+UBAqNJhubAgHPR1mRLJdtU9Fx1N1Lp1UHJ51vS2HLpahvIbTc8EY+
534/qkNQdni86HRQsIm5KfyR5nW+l0Pi7wkl1fsygfVy4mUXJjX1/kDXrjJI2HOeckJGU2XxwYud
D61HUC/rfjAmoIW2ILhlvFR9r90EfQ6mjt5gu2xo9n8VmlEimjdgeY20o9UG1Ju2+1BEUunCJU5m
RDiMqH1B5fikezlYRAOTlsJ4NOrptCQeHmgLpktI1XvT+OIo+t2egcl444Y0y1uwT0y5Irf+yjT7
3sQVg5vz6iWIS1VjilYJahiZp7azqW976VblTsl2Zcohd1azKAXTQnsDwHN0guLRFsMgDS5kMKYn
7GX3PlFE06kdnDnHG1EvaFDAG5jsV3gqD/qY/Zrm8K1ZGkVE96kSEefIZYliPcDL68E4KUv9S6d0
06Jd1thIJydiWcSOrKgPsI6qQ3Tc3R/6QC9llZx0V9vFZbfqW1Lqsc0fZJcso/ewtNlv7E8vwdg+
Uf8CGZyvRW0e9RntRTp3Dq0xK7AvcpGyqwz4qxaN5baotrTCaXuRMFMRAOxfGwQKL+T69ORLr/2P
AQNRkgcMvtU6VPZmpFSdyUgkY+b4YPE28LxGqMJsdR9v2hnPBlai8orqJsuLuzLAs3ExHuamxi7G
oUEOFz8t9rOe0s0LLgV9L9kBs5kdHa1H39fhdIkealdtXMDFdgEeWrNA1jXQr5NT26avgz4xo2qf
/iI3PpMSFKas58jPL75K38d6BnGPmmFA+14XDL3bNfBDqUwzyOVGeEdbgWIz25lsSiuKHxJGxD2i
4y7ZTUmt4dXFYwVEEQ3LnW1MB82pzpMxXFLWJ+IO7i6vx7WUZmlWfOehsyJK0LBvT/L90xEpHaod
k6q/tuxz51ts43Dvth2uJ0uE/yQ+rrl3Oy3De66s90GhDQJ1O4iH8+DW31UCYzvT2ze9QRPJ8vti
r0ztRZHFBm19YdjyDeDxmfp114aM5NBcv2MUs6wjP9qwiJ5Q+ftGmOlJnkyEVnHhJs91T3eGOEFw
hj0575RbvTQcCXpfv7bYlMHbhtZLmkNf7jpr4zdC0meS6q2fGqea5VHG1nlodfxMnNfS4utoJNNl
BocdsXZvPBZtewqm6OywglMz2eu92s3ReDei1hum8PAaUKbcHsTTGDwDsI5M7RsN+5KUvbtAyt75
Tb1T5bi1x+UUWcUBhPI17423ZuLEq0k23c5GlSifThkDQKDcQI1Yq+g9bLoQ0l+g3RpusUuNdOP7
8y1F5KEomqN8MKovm4G7IerTFU6jCf2qTtatoW4V8H64gaR0oX6Q9Vci9yalslSV8o3kxJwC7y42
YvsmzCqs3uynrjW32eJtOZrPPTF+soyzNaGk50DWzrRIKL/2V4pHW4J0j6yBBElgEO/uxQqzBuPM
4GOZ3d9ljA4Fo+Q4dH4H4YZUPm5NuK+Q9jxJNbSk1n0VoR41mAhWxcGZlmhPR0rO81nNazFPHTrU
zbMx/h3GuNxIRK20aeObzTd0zSfprss5HLFp0XS5qbXHGRhhLq07zsnBYaE6ldRcnAImcgJVN+3a
QLTiQpjeMSN+pgsdTP75IDYmA1m4Cai/tTiP8DzpFhweTBrInzadqqgYr2WsvSbudJFwsrQRmubu
XnUBjPL2tlvg/rEupKaXbeONwqJstganQ2eD7Mp/LMTE6Z8vXCQOdns7Lb8rsjTPBCRcA/OnWS6N
3JmAJQ/UscpjmqX4bvTvKVKqVWecZ9VdAdbjYgi7lT40N3Cn5fq/TF8uECIplRrIq/DlZzqwRfRX
d1U1DBxToxxON8xHV03rk6wnW2ZA0O4NRB5dBHWf/qocFyYfV6JXCRgxPKHxn8mX9MYMX3qgMxJW
BWxF8xlm2n0slBCJOQMNNu22HlAoF1KEeZCPq2j9md2LXOXiUkSxXOQUSKP4Lp+SnTOO6PNesQvz
0g7bnHqt0O8q02U1cXbVPOt+1J+lDSzbeipBaTKbI+k5ou1FTKFPg8gUBoxIUdN3zSYmCtFKj/Uz
PchprG6slH1EzLZosJT9T+59OzBj0L8GZ5zcVJOxCoMfrbqm0xM4vjWajsCCFwa7PZQ8CMR2cMdd
kRNBbphNY3awTKxzvuSbKIQWiAYr4GNnaQeYJMZ0JcU94i8MZhGiWvSKQAuOKeBPbtrcmHwVDLJY
GGGkbfNmerLIieTvmvq97+qTQ0E8V7gEhPORWeeNnCBmGOCHTcsFVD6PgL9sTaxuOMhJhVYtLJIO
l9osQy0lPUhbdcyBeKtijbnmql2av8TMDn3czJDhwUwrU++ya3RvXpf07JugOPWIgssqwXY8CNtT
kTQH5SOMQmpC31P2lpbxWsZQyyNSpy/p8jEM1iVPrJXbdwdEhUACI2vow4ke4lM3hiuU8uiA/8hK
qfL3qmrXsoCaZN6UdMYEQQAa7EZuHbtPZLBTw+C7opPHtYnoctfOe7mrBksSxWknhAmHjQyzDhaV
3DPZ1kSsG/RNfuTolSRHpis+gjJqRkKqRHGCmRUJbtdiZhJ8y6dVRfXFd5KcjW6rGQ77mpssHx5W
nxI2kN3amOxvvxgPlTIJzgEKB4j7V+6ZF+ZzszFw3C3JrabkHJjfRWPgQRetmYaMobEfeg3d25Ec
ceruJFPN/PzQUaiaAfBx2iB+99SxcuOs+0tkg+5JtkLPYdlnE0AJ/KeL4NAvZIAsR74B655YEKEJ
0uxMeujAxi2DWX7fwPlrsPOjerW74insHvumhNI14o31KE+t5HYAoNzKBIcmKJKy0ACACsqyIB71
7PA8GbaZ1vL/niZDpZU8JmkayhrhTF0ohlxcnuOO9ieiuWxuiYYWEzzqQVkB1vARqe7sNcalBXBt
YxoT5BsWTKTQLAaKUEt67jJ2bAH85flDBDa8e2+CiXzE2qQ6IqudtgZIfCchx+vcFU9G1lNqWAfZ
PRJCGIZVPMkKcg8muysJTL07AMX4kGfYUACPwGghMp+JKFAsntr8R573SELmFpxUwQfDTP7recz7
UZfw3lhHIb1G2aOi/M7XCbGWqrk3c/khNji1w/AiOfsNQMwFeYkYehM5jixenRAiB41O14CpUEB+
ylOQDcroZY47puNMyNmgTCtcKhAVt1ChvyGz3ST2BLSSupLwk4XajeE/JVoIzNYBfsDslOmL3IM0
PnoK+VOxkqCKlUJJNj0HUo2lVGZ9oPp2kg+kRlhbLAt8bmTJl9TJErSW0ZJIKIeI7AonRNFO190j
cZtu1BMeX/CM6O/wtW0aDLLNuuoycvZU+rIfZ/9AhID/wAncstv4klEY7iRKWCAx9Gy8q0t1yxTq
L3yXTN4o/GQ1ZslM2tOeWblxyQrQYxAJQO4COsyEqnTx7qVUYP3J407aDroXFGwOXzn25RYYxhuh
IyyA+fMlclRPxwi0JAqx1kfMza9zPBkkfrGV2HUlFY4cUlE/s/tpNroIIw4MiiXy07LfitlcW3vw
f7fs1wm6ncQOGSvy5LoniTayx6IBsjjrlN9KPFik7MUBsHuUaGPyXhHcB96jJpdl+QDdO/ocXfn0
OYiuOx7kNiwIYsPAmpWFknEAZ6BjwgJamlYykEwxb3yD83RJSa7VcFU5f80z7Cx18JjxCULl/1aN
xD/2gUMvXZ6fYSMRGdxJMAlASDdRdLEHeJpgmjxaDdJScLzmBrLwrU44BuJwdFrrPWWmYy8fTS/b
wsjaF2JWPru3XH9gAbFdYLQVlyD37ryx/P47UYwKdt2b5jgr30Z904ZWB0Xei8zzX0iwb0GP7tV/
wdXqIhFzmNYpDneIFa/o8tBaYrt5012aXiSZ4+w1whcfMBgKVifZ6tE8vnZBcjK6F4I/F4aUysZB
szuL+h3ul38fLLtbjnH+We6Q7MehTPesqsWqdi4YXqQS/uIAeScitAbq8IiIawAZ+RtZjPxIIcxJ
auDrEXh7EFe0o90kuWcsTCDjrSMfkiJmDHObXRqM7B3uJeaDR9lmCU216ipbVCAAZnRLsOElbCD4
KEgC48pIRILLh6myRTfoZ8CZwAFYLfnmfOW1ElYkJLNLWKpZXFxVAWyClVwQONEB2Gg5wophtfd9
Wkh8vs0zDAbnINWaXIC9lCu2A10NqOY8OjpOw1Du+JXcFL6habwFfNeKmCj2zhLQXPXrA4ghRW8X
517OgIngQVyWFWb7bwoOHu/1t6q7F7EBntvuJFE9nJq7nsO75Li2CSlEPOpHfyNBuGETaP6PNjzo
WfukcHuB3HnnsUTkEwJdW3E6ShyS81Q+Sb6ixp7X6btlsburtXkb+K+zjdhPYwDPekrAKtmUpixz
ccyJPczDiMD2PP5ZsMWYS82QCcI5vJtn5BVt5EInFHlFaozdSNBcBvIrPL1dfzvrg5QQucZUdtbC
u0S2MBufADHbzVFsi+TTEfljzXlm9IVyHZOqFMF73ivRv3ifVHGjJMJIEiKvUJ1x26roAigTAxe/
QJ8Gi1l6U5TewlvdgGfdTCxpD+pPM41gKQlULDoDXkfVtWtrVs8tSUDHacsDk3VoAxPo2/xOwqhW
oItZfsth79qUQdGyK6nlZd3HoXvJAxSCWf/gw8g7+wk0YtGSF4eM3/WDlaa3boLEJ/tBQmnc20dO
Ddm1KgsBapDJeH4ngI8biZG+jY01Zmi8qYQ6sFdyusFH/EtmxkZd5IDR83LbEc4j8mGJKIkRkb4I
6ewsS0XiYEU6IWerhAtiknygxByez1/yqlKG1QBlJYslKjK03Ms0KqJrmPX0aopkWyPdYTnNWjZS
hT3KRI9TVoNE42QAzd6sOwXrOrUPstI0hnFebJ6WHrpumP8lRigur0J2r8+BkepPNUQTj7wDTA/5
pmSvEltzoEwl/yKPhT0vAUw+FoUOWOyoG3DlEnJZEdJYmUDYc4P0ZnnK7HLr62pb12gFs+ikt0ro
Hyr2ja8f3aTCXM0HQVSTpSCZVahV1TM5K5tLHmsgo0t0B0hukulfGwBNCpD0ZJukwfJKhcfZt/jg
9fMfObHl/FmqfFuRjRsuLiqcmpJbEDL+1mLwM9FfEMxUQT8Vy1c7fXPdB7laIC63pevdJ2RnTPqO
kqZ4NOciTDFcy13X7lUWqyLBrBdMHnMNykV3rTXUfVgdkZE/834CDJXUW8PiRRKbkBAnCwoE2lZu
Exu7pTqRqCApo8XhLmuQNS1pqcsApJvLqyyBmhDmWvlO8hw59ZhQrrG4ktBAsXj975kNj0sFs4M0
jeO79sAkQ2Z2u2eJxexg+ZJ6+PJ3MePEjBY+KtEljD673jr8fYrZnyV16UP7QIqTlel7Tj7oDIzd
Wan/H5sk57QjtTM6dy/BaKJi71hwPe5g8rgDDe/5KVjD+sVjwxKxfXTz7GdU3anYhu6ka9xBuVU1
Yp6R/XfbSnfeTnoFxDkgA+RwlHPAL5a1fEJDNsqHNkJ/zX/+AiGNZ84CSeiWWj0HYYn8JN596MXg
kTAFz5Kj+H58TBd/H5rE7MYmCwlfGks7SEA3uwSH7flEKQqc4QEyy0EyZ1nY4UQ3hfMWFV12kW5u
gmS8pm0nUptXhi+Cerx30zfTajcSV3PdO0l2mdWvgav9ep6OjLA27Fs+ahaNVi88SfolraCp6dgt
6HIBaoYIyVhQ1LQe44Y40uh4AGUxsjheqT0tms1UMe8vvR++oJd1gWCSrxZAKCukDiGDhNBHGzus
gEp0t0HbfaFhRgyZOd/7YLRveiyIYFmkvDksf724reNsQdBvRuI7SLVX3+A5/Y+kM9luVMmi6Bex
FhFABEytXrIsybbcTVh2ppO+7/n62ryalCtfOm0EQTT3nrPPUE7gXr1WPXX1jDg/L9lXaxTRqYLd
HeRw4mZLZBys3R/KTyYnVZc5bMIylgdZwkayfB9EfcvC4DF1LIr6PuDdJVIoI68BQFmYESkaf5fk
98GknOunqM6ax9DBbBW75SlyR01yLYivaefg8qO9mEf8TtPg6ZGB6HlyXxazc0iXFyYfYW022uP4
oJv5Ni0Ks7lx6pUZS+j7A7O0hNLP+WqJAl7yasqvLDNSpPnF1nb/sZrvaYln1ilj/hkkpvM+OLb+
H2xo7Yptholyr/osjPw0MuEUaLgMSAmrMp6fSwNG91Agia/+1cRWI/1iC19SCQS90MKqVRyAJlX8
WDaWH21MyETtUKmd06Q75NrEOFUGPytOpue05tmieL96PpLizkEZmFa3KkCWs+xYO03wJ0TAN6LB
EV1K9VYLdPTVwDpRKPnPGTC3lDUpfVXmqZ0S47D1ZuM7LuE/G0PTgqqFzmpjNkHu/Di7vHLh9DO0
lJXGaCSIQ8Wo5qJip1xkEHSmAugPkEZcGuFVipBtNudxb5gAfAaDKb1pX7Oyvndefp/J6ViDc3wc
fB6yU5scxFvvOVhMTwkVdYhzzgdGoVeRqO+sKD7zwc/WTp1reK7USotpV7ThO7Aj0m2TUVAti62d
i7ENo9g96rJDYsVfk+V+RwtSNvWojqgo7o8RADrOkkDESTp8DTqYXYEwrp2Er5pEWbudWMTwulI9
lHgBbJA0a1GWn9WcvMHU+aJl8UR2IBUVs/w23OzNHAOJk2i8JVV6LRKaF1nz7U2ADoVJUdPxovuQ
Qv8IzYhTtJThLTQy2tA5TzLp7fahRUsfIIOFrzmek8y8pT2rRiRKlsYBsDucGnv0UsbZCG+shs3V
mM/9zDahLNIXv/QeidgCWGNmz2ZLRl5Yl+VRSnGr7Thgj4iWp++K+tg6pCZmVXNJe/FSRNiHE5lw
IALfPXfWanbthK2ee/aFvGZGFp5mCzVc3IKWhXs7t0DSFYX6OmxJS0TN/z5VuXjzRyq0Q0Jtj8LR
T+6qkwwa0sJG+AZGaf8D7MFpS/YdDp2WXqbviGOU0w9LKgcligvCK3bXxLjRt5wti8kU8kHI89Oh
6T/kMyqoHmo9RfHn2qCSrY3xdbTcgV3efCu6+X3KDErHOAsfnJwzQNMStlkF5bb3pr+Zp0/RlGN2
8dCOh0gwXHd+9DpHYM0yKQv2sOG88CdI2psc1K3qZnSmS3paYVU9xBvk/LMgcnoMYzSBeRpQOMjM
Y14qemVd52WXwSbzTRfYgzKbdZpEIMpoA3DnsvIIPsIT/TKGhclM7upjN2UXA+kOHNqJYwlyrSuR
5/VqhASBUkQ4a+wsJHOXkbMLZ6wGeean2xQpGFJxxm3imTjgHP23rMltMCQZKd40oStFs7nuKj/a
mqUeF3qGOlkdYCJuK1g3sGns5H6Tip5tDUGwDZwnYZgfJC0mQLQMlPbDX5kHd5zwx9AKIf/SeK9C
kzO6SRp8Y3kHwDUeVPT8WBUNMSfaOjfBmFNK51APxgEwTye/agVhJMZG/oCzhrSbFGmDEVKWndOZ
WjopciZIvnVdNeDyPZEg75/j41Q69lJGmLHmiI5eOBQnfCDegyWmbp/FxlWP0OSQJ6aiYDCPJrmg
Jusoq4lRPMBvwfYeOqdFqJrZ5EqOhc9ijw9faXbqmTlQm7RmzVLaZ5aFp9lrP2pNQJKMerLVW8pr
XgxMJezs6ZbRZd8ymbQ/BgbnddMlHA2LwhDbQPfDWz17HTsuE7ZdNLzKyop22mbC40gBAHwAPrCb
GpXnTBgdO0pCuMzHCQcHnV6MOr07Lq6+IjwYxpjQTNLWtJoiK7lkTUGwhe0rH8wLLm80+RZLK6F2
4+tMnhCw2B5amwDoY89Vh90DQQI2AZcbbsQIGJqaXObIio5OHo975Tge8tcIoQx8P1IHVp4b0Jq2
pyajYlfF8aMHDBzaAa6SdWmLr6SW4J7Rn+5qKL8U9bqZop9hHu0uGmnPyfC1NYv2EJmmtRNhMcPT
iZ11mpPsGlEaPczlslWPDe9RdnLwV06T8y54GTspKlr1ox7iskQJMYSn0E+IXa+yYk8jkuZaKnOo
sarwX0MtYta1VGKZIOnhWCdWhRykMn8yXarn0mmCj95W849nmWo9p4CyculwKkz6aC+nHm1RmSvz
J1JJ8F0Cu9krTJVkFxi5/AHhDbwonkBQqxTj0UgMDnwnyyQDCdWw1cgWYKNNupM/o7baVvi22SsF
XnLNnAngxtAvtj8nLQfSCCcLCWieFYFPnqpLhz3I5L9CgjPL4qy62s7AUxt9cngqhvQZD1X13Lc2
NhLbi8dbjx4UhVKk3sbOaD4mqsWXQkZU/DvD+m57ltbKwvLujmhGRADMfFCotNgJ9VtPNtnNnbr5
T9EGwLX8xlfsSp3gQCggO8tu6lgCbFqC3DBkelBFwr0lIBapMf9bjYIWx2TBUUpRBNuTBdm97uNn
0UALMGDrrKIQRXo/zE9k2TT/yNJKwHg7RtCt2sHAvdYqnNxO6A5yM0ZSk2maTOz4HMFgJ0kLmO5Q
mPs8E92GXjFaF9Vz7lcoqyGjVxPq7qpj3koqgwA238fC3vZdcplG+SuJwlwRNxg996XCeDLm1i+x
pCN9t46S9Jila+lKvZFD9GVDx1kIZEBikoWygl6CXbVJ+IKbtpp6Ut+xPyhRNtLA9XvSp0nWScNd
pwmz5KaVDzqJ5Xq0CwNGqTc9Dc3nUKt30f7joeBCfO4GpDPNsBAqHbx3LMunqvmdUrCLQ/isuzq4
SM5dJOVyoCSKnBrsOBKLvmiKcBuShEjqFzaBcxw7NzBd67HO2gdp0Mhmj1eK5F2oDpzq6FFd++D3
Yjx/bwQVNM++5izsG2Gbh5aeCfTtGKAWQ/Bv5rxUOPf3U6jWnNTHnkme62S4PLgs+bGcDkZqbG2k
YwIoCz+VKgFc2HtQ51AAp6NNb7p2yoPZEtzW68dy+rWQUTRUKzwQjD0vOyXKD13Pb0E3bVybBAnw
uFn+1rNvpHvRLyAWwm8q7p7jEAbckI4CeiCAqkB596GPcLYVRPfMyaItfyBP4j8CGBDXgsNh/CaB
e7s+8iAb0LFeGTZl2IKmkcZe+Bnh1wS/OkZE3nDo7iD9JpYFHpPasao2ExRJ9vDBNosXaHyh73Fy
EcH0xkPSUIwQUbpbU/YbaZvHUZOTzFAjD2y3XJmwopeQMAY7uC94Ga7BNUgssxN9KyANOgZhKwUQ
A6v9J3PaU6X+XqxDHErfcjFtiFd/nFXEYdtf8SNQINB/6Dd9oD6Uqp8JP4JUaj0ijVstFEyRtojX
IyhZw1+ubqRcyJdakuDkMHORrwKL62EOw02j4s1yB5c//ye/xuUAV7XmjxbFIjP8WX6mD6Mix6Hl
AJeu6WIb/XvTzdvOp8AJqKVDSsZhl+XW2mSB9ZFDx4y5c317Hy3slxZ8CW/aGlhb7AhiBlv0gUsK
YQyJDEvSbIID8m5GUq1JL17bAb2ODCOe+ZamwckLYSU7NkHKKDWnI/hYOrJgIjmoWK82C2Q6TATe
sB8tq/00RK+ycA6Z475mZv+q0YrmqfcxBZRDgYNjenBrkMNNBdo6eIkluBDbK6lL2ry+9VAdgxCy
VzX+kcV8ZxOQbqM69lawbHZa+FsPrkUaHyHdEFAA0q3rEdphzeguBrSQvncf8bOcAaNQ/aVSCk/P
7t5yguaLljcaTCJr/xsu4D3Azh877J7aeSL6oa/IHIFG0fn+OuPxLN8dJZeBOZFZ+kTk78YmtidB
Gz6GwaYZqr+mG8PNGtFCz8AEJGqWljt3ZxezCtkJ98r906pXQoyvuktvsdO9SoJ9uNWyszfCSV6r
IvvLgXfViPnGVhsKtYCgBrl4eSSy2HnR0gCpfoqoRM0xIXqEaIilL4uPuV0+Eym6cxRWItNF15Tv
Rpd2kTqMtfVneUQxL5OkLOmjSh9Mve8stKEzZ6D2RkWB9b/5QOy4Ys9xtsmGkclHXQKWTEoyPyRN
JHaIQ0E0KTm73JeFSbswJhmpg26vjIySUBlG50ylrF9KppF15/MV8OgE5PGg+skcOArswzitPDgl
kBSjpe0HEpNrrntr7zByPG7H8uclO7YkNmkAhEAkL24VmDS8pl4HmbNKeBwtSgBUzu2PaZWfuO5a
a3oC5P9hJBMEILyE/iEQzQdLBG9aQgDDSKe53QLiPXG/lhlAFWDFsRz89z4V+WMSPlNA37bC2gRt
suPiFXJmvjA2qRAeOY02T3YvzssH4T9Pbb3hi641cYMzIxXeY4m2uCWd3HhxopqyehNA3xhQcdXW
Hdwy1Nr6AhAJmAv0LRCWG92BgvHs9N3yP5cPbVkcA3QXLVE8BFCMA1GU/BKDTeGNr0NrLL+z8R0o
rVR+dUyxm/9gI/l4z33zI7cqsACS5pPIAKOeEHCXF4UF4DcL6j8xeSM6/WfP446RWcdNipPtnoB7
5Z9MOntLzdfFuorw49mL5+OQGPtYl9/8LY6oA3+72LZSELFWi2hI9jfetTOFZHDn7EzN7JFvWUy8
NhmBeQ0HzrmmlrNuWBqX1yRqxqPCdGYy9GF7829yh0y9xFslzvQVhvxMyq6ziKbHfmw2zQQeg/gj
JNl86Tlpr4qeLm2cj4/gWt1kXGnAT0sO8fKz2vjT4ZjKAJo3bdYeJGsvBnB6sf5ZlT8hLmFbnxkr
tZmhZWyuGtDt2i+GK66gp6jvSFiqtkPg3R27hDVMcmRbyxGBWL3EMpj+MnVzLj3KcbiHU3KsaUNQ
+35HH+P5fGNiEOq9GI2Xt3pC51DHn332u4S9gaddufzXeoLx1NyHhHkzG+5m/RFxv7khS1jaKEyg
MtCSwFsu1FrGrqpeowrbJJoE9uuxY25qi7AIvpmnXjNCzIzjYPfr4htpWSN4EZMJH59v7sF12zXR
sj1LcfqPCXF5KL1ZLs86lnLlpv9YWJbLTCn9YZ3eENnEOiA2ScBcHx+XucXvkN5TKptZNqRX4q/9
tdIfD1acz+LgxM1quZ5motwJ+5Vr6oJ42yMfydvPTunFDysbvQ75kHaVEbfxWAgQRRRijeymml9Q
byyQIGNs4gZt90mPw5cHqY75hd7plRs4ckGDmxwSWLu+1ayXJ96JlrBZ7AN8Ym4YaJ0HT3+EPbeQ
rB5kGdVAU7BBTMz0ySh1akAxzq8K7kOlCPFALUVjQ/zjf03USkvwSZAYoDiPy3d6coZmBiiX7cKY
iQ1Ab5yqcn7X4LxppiyP678nzONa3llu1ShuyzIv0x8uQHu/dkweUfVnSJZs9WTDd7D55Ycsr9ry
eElo4oj/X6SIw1NpTN7VG+tLzwKeqbsbmHtXPEtJmznfunziGryQY7XnWRG8wP1iu4eBAdb3x/KJ
/fKKsf+YUnTRENcSkL9yGWpRYwC3QoMwzXtk5g/SxNRmC9rSBIlhuCYCdLtM9l3cr5ZxuFwa96kP
yUZIgi2XEJF0xV3iA2SwUlKgp8snXm5tz6hWIEvnkI430M/IYZPgi72Ifv8bU9wO1ng6zlSFGbpc
pjXPdJkQ7XekCwbtmh2eIG6dV4s7wy2YfVSf3o4vubq3jrFm1POLvWWnj+Vp+SfKo8Ddo+LxqmYj
GEUhO1mkEVwiD+X/Dyql0s/qNUKSxQm26WLaxuEihgWtqP2nzHpH1B6SZFrgYLVa98hL75B+7JvB
Ya4QkrrILln1zdeMGbZLXwvh8E5CvpBLrjsOdFuGu1C4j3bSb1C8vTE5LR/ZMpg521vG7rxJolcH
8S2+1RPCfKjR0dWE7j9YFupTurbsHZbpyZcZAXZUZyt1jmYAHswo3ECWNUGf0bOL/yaDcjAxx/HU
mfSWaWBoZwrTDYCnpexK0MmcXIOKUMqpwDnPitrh/o/nc8x0a8a+sZ3YCmA/7Ghi4mAicJEMl3Bd
WfWpMeqz1cNzI6ZtQWk0DO82ooUV+9cF/M5dZaiZiYN994WT02V5EpyHHF4FJGoQlTlXuO0ywnmh
Q40oNNGPPpX9ZUZ2W+vWlwNL1basMnyTPooEk3+0HRAcz1N8DdUyJn7oWZ0Abayo2u149T1m9p4b
6wm/WHkZUBzLBoQ8fDGd9Gree76ylpmy8YP3epq4Xw4Ru+V0KbvIW5u5seqFPuYhbj2wdW9+T4xl
OYTFW1tW0VM3jcX3DNOMAHLd0FODRUEx3X8fKB5hxt4Fc3jyrOjZt/u/y4TQYw7hzHanFI98bNri
ufr0Ak25sZYU7rOWzKuhJUE4PKokZBqxaaWE/WO/JAHPIyi7xi7PMml+bc+qN65ZkJFJ84q6m6S8
47gbt2jRJGhAdVnPQzeMCXxNhX7SZhvRBslJIBdPVQwItNF0FDSpGAg3H6TbH+hbvwHm/KbcwyEJ
CRvVyZjSxBLZmr1rFM3GFIEthsOxsklF/8sejua45rDkUvBMgQ8Z+SOl2Pdlw4eq4t0yrENO83j5
92OMCb/A1gf+nSLWvqYAfxgtdvIi6H6k8I5CWWczlNfCa88U5ncS9Ktgb5TU4YWsOX+Vxh5ZyyZe
ftMSD2OTuUBErANR7kQLM8Ei4XRpgDkX6f/tPAxoSj9P01KVo6GF7g2U8DpfSgPY2CwX/pKAY5Up
0mtBjRAo4uavoojWaRHe+AkmvzryOh5SvF7ukyCstwep1Q6nwTXfOtIfeC6IpdKtyy4QOwPIEKjm
csTNF6z7esLJGi1GDE7fEaWt5yoD/JUaxh1iz58qE+gOmvxELQd7aRbR0x/31LB2aUe+RFpWr50K
31UVwzfwTrTtv9K8AknUHcKy7wgNyO5eyv+hzvCZawpIoq/PvgbI1TRX0sHulTVfY8woZS8ueQfz
AYi95ggPHmdVM+kymC8Ue66KcpZX2OHMgEqydSWtix7Tdd3ZBOI4FoDPWXFOI/z9MKHif1gmeAKK
yHqyiVQC/aETCngtOqICVW9UOOsSfVHak9A0Ktq8jHogDN3fUbclM3722XfezWxDhDGgGxelLcDj
bnCeYWmGmBrjxAakF5T+P0xW/iMg/rsFGmVoFX0Wj5Q//4bx75iY7Xloy42Dfc61JpAI3cHD7e5q
xz+Z0nldujilz/ReBPvSjxGNl/Zzwd2Ku77AdtNcvJoBhfqdkmdIUGJhUWrV37n2P1yVfU9mdqXU
t11AqlGJDQ3RGZOd6b+P3fTcNosMJume/IKtUFF5JE4r2SJfJxJH4vivhLr1JrWYYG6RptgNZ/7m
Yoz4ahNhBKyPITs58FZtfhB5eVOcFEVTQc/JeUXz9NSFw3jyjeg5rfQ/lfS7zFswBv5IpRXOvxn5
99npDlGqdzHxVbTEvKNMzXtgjSSM66/Jy94B2z/qNgMkgsTfCPdDg0O2t03OvWHGtRkuyTxoiWpD
wInGzdVlRxpdG1W7Tx7hTyxP6fAgZvvs4s6eafV3BRAzOgmcWt58RGo0kLZOHe2Xvxe9ewoKgmsM
LRDQo2lK+zwGcz0dhNmdmlD+YOL/dS2nvnFGPGQShalXd+92Zp+V4BYXJg6hEWlHBT3ZhGXMQ+60
2GFrukTKOUa8wlEJeW6C85Al1iVqGw4MJOQ8jVQ8npxal+xC3B5/MbInyxR3m1SBh9EaDIRrbDPN
Rv1pEgJNtCv/eG527QJNCk4vqNnX3VuIGguCZbPTjv2kLYDYThOZNxQqwwmNgKa6JG6gar6bqbz6
pAAaLkPUIbIl1fSYCu9Mkets6enNLYKppWJO6Su03H+ZbSfjhiKl8TVagSZk3E/c9xBSkiHnla/U
qYJsFVE3idk0EfVCtYhXLOkZW9TjVKSZPdHhjOFuYCwTO3DR9pJUw4vsFG9T623sfl4PXSURfxIc
tNAGc3uN033ncTczE2xyHhLAI9Dgld0hdmfkqmy2WwkPsnIkV9d6L5Rf78K2iCzpvA9LLZRHHvIC
ZAiq4jpLeaaEvi3wNdk24XGphBLosu04QdkiWqFZ1MhjT8p2WzWYh5rgntMAgvvRPY2V3xJO6yUp
sLDwb2LlHC0m5Af0m0w32o5TK0G1+6AmochHCDlrIgmD0EMKO7GpJeREWGiIONHlJvVJu3JR9XPG
srgftIb6B1yCjovsucHAwrr201omNZZxSYcwc4GCGrnYyjMswn9LuiMEJ8CrgMKINCEY2kM+aZyH
fjnt3KL31aqaA3PVu1mS7NKarv5r0FQTctryszY6YNsOyr/OmEY2BXE/E1ueGSWNIq1xbzTKVTc/
Tc0zBqt5PBNWD2HZmFG5Vj2HAgdFSIgZ1WSraEROVW28MjYFZ32YFxnG6nJb2t2Ybf0kbhHU1s1+
6HJrp+HivKMgL7/F0rJZR/bMrqmdxIYCxsZjFURqIIA7gPO/K+FiwWksG0U16Qm8bbgT0TB05fSH
4p1+DKU/bBvkrwdobPND0IbqLMPmt0mdn86modZMOGN6Ay4NDLqlFcUmcygQeCoxvllZrc6lhxCI
/kG/HiD3QSN1CwZtmBCeuMHxVK9NoJkH3w0GNANzJH+8zhMN4FDlbVHPuBftWghYTUEek9v7GPl0
1K+zmmQf3mgC3/qaPRq6aGhvzI6hm2BSTLCW+Z7rg3NT4WPMwW1jD0W2VqBE1ybq0NvUxwACkoDG
CenOb9PU8YYVsbzmtEpZ8MNfoP2kow5TBV02yFDfhPmmBoYND4H9GCVYuLgDouuRLr0R+M56rjwy
kMO1yPCEtY4MqdkQiKRd0mamKGrXjmGhMh0C+1JpCOKRTwFBuAEVvzhyP6dRoRmwjPgRxQy6cK/z
WdT6JccXbbYfEYHL2YRNvRsZjL0qkGvwsNVDX4a/hF7TdbFdrJYD2J16yMVf2WflS7GIa0ZqtCcj
MHCcoFuysC+STJyqlrlSEw2oIl6N1lPeqnRC69eeUw9xD2sgrHW68qZXH4LKRX4H3GKV59D0WbM6
MktSYb9x+TPrCzN+McfZtfQJRiLvw30lXc1dD5UlgWINOMyMNnoqbB1TxsnDCo2LhPqspfdVJVX/
wojG5jrHzb5zU81gKjQxcXpuKG1a2V/Lgy9Vk6v8QOUTkSddJh1uZ4QOS7OprxDX2y34x7CvPyR6
rWtq17ID4N7OL9Ykxk3eP83mjf4dZRxtJyASWpKNpsH9MsCoSQCV3WqwyIBP+Xw7y8ywE2eFvMal
og9SAOGhDqDeXT/g3XHGxqfHUFe0DfqIFUkgDHhIgr/IeTj7VUhAiKXDuoS0tlpr7urDZKfxizNP
45eEzf7HS0Pe15CoPig7LT4+g9hQmYwYi0YRHZq+SA9xFI37yrHzjYgGNOGG33wnFQXK2kJylAwc
66M6ii5BQ0ewZomDH+O0j/MUJmhEi3iyX4QKWtiqI7TqYSm6mFUcvZiGaE8FAxsKxDyfyyhVbJbh
OFVu80eC2tVjVpLW1ofFgKVNLb4h6qjsCeVz7dBTHx3t9U9eFIb9Lo1Vma+CsoEiPdYmzRA+8z+j
EJG/9rVLrtIIzHLbhIP3bIja/S2aOLubU7v35Uz5fA6p0Mt242cp1PnQiIu1WfUm6Isq7oDfmBQe
ONafmxHJFnumBWVIEgpu2q727h3eD4mqsZGUo4euIzKDRfqP0Q/TV9d2PlBsIYHmJcQh0mHZFFlf
IibEwukEwtkxbY0X8r6sJ9Fo2iFkPnGq6Cjl2DN0BlV/1aE/7CdrFnjWSlqSkROcUiFM6khiJE0I
g9cqbcb+MQxztAeTtywL/WT7m7xCpgwqX+9pgMMFL12ebZbQvZ9ibOoq0CZnwRgZxaA5u4cKLXwN
+saZvfEU0nG6jEOH76fO23UL7GDnaJpzdleVOAQwwHbd6FxyyA/bPh/xHjmCRFiHYK0i6eo/pIXQ
bi5SlMgZmUIR6VkUXRaOfu/lu6GV1Gw4ma2HQdnsjtVftLItRvXaxuZR2RhYsv+2gO4tNRJ6PQkl
B2HaA52SQFX4T8vy9N/vIHgehXYJX1gZXn4q4izimJBaVL4bmBdo7LZGyO8gAiO6WfYU/415LhC5
8778qJys35t11B+1t8yfpPw+mUP03dq6oE+o8NLPYXExmEmoncmI86YOpwM9guipbGd9jkQzPce1
pP4zc7TdzFQvoAqUjXhDOkeDMcvh6HTOcAdeHZ+gvE5HQJAh2OrRoHmKgF1Z/XyRnhNSd8nYX3kW
zVNBCiqdO1uc9QzGx2gttUviyb16hRGfZdGInaTNv5a8XytClzDzzqgkg4jNjjIDNKUuAeZehzA0
sGVDhjBKPTZIPv3TLDUOSWrh867wnfYG0qJxhmP3HzmIYO6CetUi2zVR9zC+ocjYrMhJVbYkxKT0
Z//jBy1bJW1x/u/tVG1FZGdblZUgqaNQZxBladJ7AD5oaNBPE8pBTZLAKAxFEJH4Rg6fZwbuviYm
kf7eNJ+ajvCbokGARbGgW7cDxQKEexCIGsj0MUe8feg4EI9tVtbZtgnKIKEBgZADMWO0Qtjvot43
piDHx1ffxK1T7SshIrgxvFxXwqRjBwRUOu0z8tpQNVRe0m8ri6p4zcM/DZUez00SCCqC7vTMxjfb
arcPtkSzo29f/sJfJFOzMosP1I7O3ulrnES8SKvBmeUHr6xam9KLDkY1mk/FEDXbkJzo9SBtl2xM
JGdWUdCp0OTTIcXokfJMcVr/hEmTvCayDz79hvw3J8Du7MahxZQhvFNYR9WbcpA3GrGEHUfJDnCM
NPYJzt+VR+sXg/DkgPRZSloMz/HF7HV/anXtYjNistoLMcHzogJI+79Lok2nbQNutVvkLwisUAnl
BTvWMu13Uac+F9Aw0pNdQJM0IuvYKt0npduPiW3swwwDprBrvPQ2+KWxuHm53qtFy2cZ332tqJlF
LDTFaEdPXtyFmzC2P00/+SoqMDOiyz9cAZ4PwdqrMUNfSlqK/XEKRcV8pJ7/nDrJe1vpLwjpx8bO
z62ILuSrv+Wck2u+Dor120natZDDC0+Vf1SQL0NGURdlJ20hEvT75JpLteejHjm/05QNaVtFzW7u
TcIOvHI32sE1i1m5XbvCut7dGy/mxDaBGwpD/55MhGHUsOfjYHyzi/BHpe6rmNufBVAt5nDX9hZi
TI2rrDsgobmoIX/OaQMDaIITmdxnM3hcCiV+AGkdtRlqhps/ex9pM5zhfT/Olc9gHh9UVz0tZvHC
zheRe7dFjETKbh+8J0F9XDIIatgXmHUJV4DCpur6JY+rp8AvHt3GfZx8HyNsg7ufhBivgF2F7vhB
ajYXDhnEbXiYJKJ2fgyarHUraHSQ4un34T4KcNWhw1jFJlVhY3qpnPI3cYpXNhMYlLzx0citm6xL
+vr+eblLY5BdBfMFXuUO8kR7UuRZTE11pg2597v6b+NC7euT8hj5Eho27hsInRm5yB0F7zF20H6W
3ZnX8oJw6XtkIgpLkzUlfGbSCmj3hj9xX5y60uWdsllAvHm/YPXTWD6njXEQrX1w5IwijzwCO36B
8rMbByJZOzUg8uleTDAErY0NfUFmkisLlBI69wTmoUGNaHTeJSv1kYiVmz9RjIHbhM+dFzuksCUk
5mtyzkEFjTczDv44crFJVh9tGRy8uN2LFvh34WLPy4H91by/Ucnp1FHhtSWL0Wn9S+OolVHFqGHc
bV2Fx7EQJhxhGBaRcw8LC2B3/w5bh7Ts/gy8ELqxuhSWfEE1DV2RGjkzTkLhPr25pL0s+SdOzu4T
dejSBLYwYYAyNVeauCt6z1crjN/afPiKl+ixIriNWfg1tO3FUvoTq9CxrjEYFuLeJt3WkM4RSCab
xfI1rrJzSZQ5qx5xlN1m+TBMKruOYAUEgD9o5DdBHe/cAD+2aZxbVPlDMNzmwtpYRb1zUSOOVrf3
W/FU1w5nh57qYgbKbzVJ9TlW6TND7z1howS/j1eTtA6pdjPHpaB2zkOU7txpOoS9dzF9WsfBcPXV
dB0KIFN8vy0zcm9QX0CON1CK2COfkhg82MYs4o3968r4dfJITB5C65oii2YlRSaQcxExuXj2BKlp
yWczK3tf5QaNeZTmy01geknXVRG+CDSmQC+tzZK9K0xge2H218TfpHERqeKr6kP2+91nXYh/yDT+
2VXLXZ4uJBkhViuoKWWgm2FkWi9uybEyX+IRY5OWlLHvJLF0ZNTmNcO2qt5p3F3aqGTtsTcyH37w
1mxZSpoHbufwEvOOH6os/5m5oUVi7qJa/3dVvciInCcfTTHk8XMh/ko0vn/qwbowvjoDyx05pT2x
PXTrt6Ga9q3mICxyMnyEvNdaYM0A/p3PPxFawwfct5vJNXED65ZFQjzRWUX/l/wyAgfk0gsIwyL7
RKcv5hJ02VQ7pQaCE3kYXJedjwD31S6TNeEg2ECKjuQKy9Yu3AQoxK2JzwUFV3noa+hbCqEMERou
3RgGx3pupjc/jsRN1IOLn5H6wwLUTsuLa+ndVI793U+L90iKN5mbuKqwI9TIFUXJqwQMQk3RLVkE
DG6FSt1N3cc2p0HnNxRmh6z7cNHtNVrm1t4qsuKvrSZ9m10UCBwIJVHHorqFjdm8SoOC08b2fTUi
uoiG34x4ry2/MkM/g3YjtDys14qzTl4Hw2tB9wWicgz5s66kesxaXWyGwoI3UZnzhmDKkpiiSey1
O8mDJuOJMggdRa9G5xnZbrWvov+xdGbbkepaFv0ixqAHvTr61g739gvDTZoeBKL/+po6t57q1kmn
MyCE2Np7rbmcZle70t75bQy1R3nBgV5KvCeFOt7PKBB2cRT46AY95r1mnh2I3Sq3me/rt/2YozWs
GQKhw36NQzXuupRyf+qbEiLMRMq6sv1NwAj4KWmFWgmR53oqVW7ttIt2c+4iucmaVmeG/4Q+YwI3
9/BDAWvZ6Y7gkyuMYZP1XcZenP5Sh2KnS4bs2fJISbhrcAcAAXPQXLdUaJ9mSzPL8Jp+HQQO1bfP
xDgNCJvjbDsQFuKGpbNmYBCjWa9i+035BWQo3hM7O9A3bubbagZcc7k1GHAjjHmVaLWbKshFjOUY
HDGik60Y2xxkptJoT10JV2CVtxFI/EgkhbdPjdDdzwWe5s4O1XHKcTOM0WJv+9DWHGejO85uXjzD
S2pR4bconIKxtV4dKFVEmWO0Y1YX0G6V+UvG5ZnYj5JoujP7N4KQbd6nym10bnbv5Pgm91K6q2re
Z8w9eV6a+ZJGPW1AAf+cNrX8QYmxkJDFtBTHQLWEmB6Mveii/0RvYKxU9tGPiDcy5kzNIfLzI7JD
hP/E8vkgV9vHNnnLjOWKjYol8jmH084j2JVCcyXnC0L/O90qLANayYzp4ye/mtYGpp+2J6MbpUgC
uM2wV3xg/r/AQU87bbr6Yerw3Pv7EI5O6b1a5HdPdMW78s1NCcw8kYiYRRzoXNIKCUTORvBphD6X
P2p+WtyfkWv3yY8jEmIF12Fj4tMcMUwapLLyz2T+viQwouEj8BkJS+qhl3YEG3KXev9bJLfGIkbo
wnEdtznvfQK+yQs2ml8/RSTz33/wlreW29Nwe+0FaG/yxl0uzFea1sQ9HUXz7jQJjaUffd3zgvyL
3j+3a7Ygyf2Xv97w16vySfeH3fSBybb+fVxYa1u7qXPv9EVUaXFt6HyHtti2cQ5SwttyE/m1CCD0
FTJZ9bsHS4kDPugDMe7Ic15L84+bJqQEP/+I6u6uxjBZqzN/E0DdKh39LdcYEmTIBeu1YML8R/Xg
GxcuojRQHw7x2ur1JXHL+W5aDj5NPehFkaYHfs537rkr3Ev+UGhtIi4CmPIzcgwuG8toTKPVJEpp
ftLfNMuLW+eBAzMsmrP9bmpogljvrDktbGFlaq1Ckn9zxljzYyWFPv/HJN1IT0Nc2a5YQiwIUHp8
N7D7V3xtavo3Jxga0L7rX8GtTfPvjBKkL6iVqWpo2LCnkLiVIUe8NxY+Y8+jw8/5e/1hKNus5WMh
otQMyX0BeGS9oKRwiaEk/dkkGpUIQ3tEr2SKPV+x/srYoHf6GyyxjPmIWQV7xAIHlb+QxTxyEWT5
BSA4556EWoMzcysF5hp+CZlT/7ujfjK/66/ZneEMByAVzD/uc5XMKAM9ypFrFLI9G8vEyoSeiOMo
5RFnifC5uUo2K918Xv9v8drBT8TmxR/xbbLCWEL67vLd6H+Ui2V18ZM8WyyN3PL5GrCS+hMoFYAg
/C1cHEP/utjIILZUmQgJEZn1r8ZUnnna/v/XYWW4a21BF/mG+eKo1z2PitX+ZVF+c8Dhqvq+y0v6
KdRy9JbmbKP3lb53j/p2tKBYPck7ptnJcLjoXSmk+CFykf+STfkLdOrd4HK8m7/55PFAq4e/ptpw
7w9vDAA5nj16kbP736rTt1Y/H1w0l1/Zn/yQGYUbfeGxZSE4xDZEOCEprNbQbPT6X8xTbgSaibx1
K/s3bvdz1TY3g17o3mVfnAeiWg0jWs9WhBabwyG5fP13vyy4Zbzuj4nmoVJiVxj1Qe8cpsT5pLMZ
EexYDAShhrRHPR/SP2hm3Rcn5S2m2A1/uAlSgX5jgSDbn4sUb3TTPPRFwrPMlLWvmaFXZ9n1b1FM
Zc2GJjqD9CCkJCHRkFmsdo00PoO0u81SvIpAndqo27ideFnc5lRFxtUglDdbxr+JNbBUJd61WjyG
igVuOt2+5XYvfb9WJKkgVaZfpYar6iaCoPuvHnEP434Sf1v5FVX2u2cwkR3qV+w9P0oIwl+dbq2X
ubWMNDxnonfyPdGMm1Zx1ueKLa/DglaeY99+GBx5NTBCEJJ2cTisjXJ5aF3xkDf2Rg0uJG/zflLy
FnE+vSNZ8kQY6AaFMl4whsn/rQAyB1xnPOr7ZxNdXBNA1LT9S+0yrAQjsIPCEejGK6aYqF6nqe/f
xcNSMupnikd+DiNwUBsGGXcNiXr0Kr7C1LmPk+A7DdUn5rWNZP/AL3eJY/THLmiVO1Xi96NH95i4
CR1ZeXSYvFlFhh6mPNtFQdiI2po4Png6mTsskeOimeabGoEWe8rfkd2687JkZyaORrkglVPBc9DF
5EKxWKxanplv3Q9ZeFSttyFRmUkaziinVqe+qWmDCObMfPvlKLZYJTE/g9iV4c4psbcCzsrJLqCR
/SqUcyhDxj+diEl1hh0T2c+RQEjV5BxGUGnx8kgeZO4wcZTtc9QCgXQLiKOBX9TExnrcyPlJKONf
hllpTXg3+3Wjm5YJmdPUkGk2neTU7uYMvXLlhl9RQR7sOJY/Br4h/WMzGR7UYJvUaGgyl1vF+a8D
PRKP9hWyzr4LEfzNhXnLqDVoLRjrdjbOQOoJknLeKggmjeE+Zwrd9MhAjTGkic8NbdLBGlD6ePN7
QGzzf1fuD+tMmg8ItXedfj6b+ByTY4oFd1jrfz6yAJODv2qK7CVIkYTO6tlKMki/rI7UZ9ibZfcR
4uC+MX6JySLZAW1r77w7Q7Ste3UAe4bhjQBUs/WxCeH6aHjBAeRVEB0dr3yeQ+MtKstNEuqPIY4z
ti2gRcnOi5rdpCgIIh43fUG5bdy7XXa1gniH8O0aMOX0BIzPoHpYsnqPUerihMF18aaDB+Ex7MMz
56cHGdYaSPOpEuNowvMNyBpNOHrL2NuYjHOWRO57We0L3/lyC+MFlcFvY3prBnP6LHtkSrf38/7i
+q8LvLsYi0DlM22DtuEN/nYq0q2cihI7Wr+yHdDd9XKQQftHubuRFItthzhVAc6WOqqCtR511Glh
ddGTmdV/X3gygnlIm33NIBw8mPc9iupoD+QuSVrPXpd+jDZyY5iFdBzNtUGdXYS8wweFP5o2/rdv
sF2gILQy+H4C+yKUZtccmJyN9s4zzSuoGJp1kXmaSp8JEoTvZJAnW3CcDHRmGvJA/dlD6sJoNFZ9
FXIOIdwNqOEZ3Cd9kgFhlHVfoxi4M9Wydt355gnUZHEzIgwJMrgKjXwuDTpvpUvqMjGSNA1no3+o
3GQvW3G1c8nmQuusQdcO6WTAzoihIBH0Gr1J3NPC2k80JgUJJMQDyffaByCKC2+Xux1yBYioCc3c
oYw3geE81AbiHVaOlyK+U2pH7xR833T15uxDVsVzatGuVPm9V9TESzgFua6h85/vvF31Zr0v0oUp
PPepJzxpRm8sC/Szl6Lq0Pg3n1PGPGTx0BF64gNbGF1IzGRD+Rj3t1ZYdKRgkmczUP/SPYSuOhQ4
J6uhWbXyUWVQNfnnnf69NOx1oeQhDJ/JF8bJdafYPev5YW4xgaK5883mKpMMTazc6VXSmh5jjuwE
Qm6mklDiU38ZEXSxxlRnvVwMQm86Hh8DTGuIEyir/bel5JtwsMf7ycYM8ZEF/Zm4bmx9JArwuA0d
s4dRIEr+U5lxX9Tjk5qJD/Nfgkhu9W2sCbfoF04NbocXOsfS6XnEdsabAu95vRRM2ok4Qm8++OZ9
xptaWvHR9S9l3V8lwQ4NLSGno1eiOT+CgUDRkobARzSz9g113qavTSgGYHMsFO9RUqwrn+7P0F3o
hp8DOZ4iecU9eooYfjrteNY5ctSzM+IY2uYh5ynPUBszYb7WXXjgriFozSJIN8YE8oDNKl1gdpE5
dWfaDLF4WcSiu4ZscbKBpxGju5Z0rpAvtMVjmYQAY8pPWSHu1VTNaHnSEMyUPdZW9dmyyiPD8A97
WB7CZXyM0dFMUtN6rO+SIimavSNTrRPvtVWe9ehlengZguydHL3cRaduz2ZxIbz3HCv7mtj4Zhmh
pNLgJcVbSA8wiBdzyWKTzVPWTe9gOd+GznynCYSKAW2I8TrHZK7PaGsgznlsqAY4rxFdlSO6h6Er
r5F+HJgBbeoiv1XTo5czClTNnSPJV8o8uA/hHTEjdLExuZTJBi87ipF/Wc+ZFsvU0oe3ecJK0+jl
PJThixpoPGG0TFC9ooClHSSwWDXMVzNS1Lwo2sTIW925TpHDQ9NAtqhvfEt9QoMa4o9Nr4XVlkcZ
E/evLgFI7STAXt2rGKqNTwb3MIKRMcwnsnl3SurY7YXKG09pNB7bxH2t4YvOgwsd+DGwbZBz9bYv
Hh04gAJiik2nvoSFS67jM7TdhxRnmbCNbS2qLcoPOuFkoKYBBAx9KsEtz9cT4Z2A4/k0ODZdt5Rj
9Ber7lB1bXKnH5sExMGUzddcwsjipRlVr5P9BoOMY8dh6Ugom5cdOVXPfWdszQn9YGmRy4iikOvW
lYZB3dXz9mwJApj+G8sGXwiQ7qLJ2SmGuC67QCkY1JUX3qnrrv0OSd+AFAdIC189HzFZvmWJY4bH
qKI0KGyx11dietHdOL/GubdrkP0gC6ROgf/n13vbodUSOXveI/+R+0hhf/Sm5ZgNJTpv6zgAoqYm
Hy9ajKXv80gtY3X5ZmDZCQRFd0yvia8q0eTgYUqDbcHlY3Gj18lvrG2alMwrGoQVOEgnqlPWY8U1
s3pBJx/+u7lDspOgTmok9h7HDUyK5jpevstGfIKZCFGFMYjHoVq7z2lgbbOyfpcoAXqkPja7HfoQ
AtFI1pDwWxfksuHXnDfUiYlCN9a9saIV72F60kf9PrbJz7ATa603m4I9N9fW3Jmi3oYmE9JetWo8
WL6ZU2RCOEaZZbFZJlN8c1B2UEKML0wOtcP3Tn87Dhms9niJM/fOBypeo9FKm/DBjzBykMdd+JMO
zSPQIMcUi8wf8XPJ1B/XC1QUEwV5sZg/QeVvsS2EQJ0Y/1WGT0zFqM2PhY7GqHacbMjTdZhKGxGV
LAFCLzZDBlqz+8QwXqGB/6qp+svcKiX/w1c74OebeSl4tGi2Z4JHV0C2Cw8j+KzCKf71HWjLsChh
d48Pjuv/I6mPI6UZoqFoNkYFepVzWhoO33xLj3ECKWgoOdzGLs62qaBDZlmKLpRTH5AVXvAjb0Ks
fnBWDORwQJkSGwHWOCmaijg5RPwbV0gmUu4SWIdDYZTfrg+rIvSifaCYenNen3cghRCsR/eCcKO1
LervZsGj7hJWAfXCpJ3cPRZivI8gxW8aPXJqvEcyzPdBMZ7yjPxyz0gjwshRERUxBxwV7HE1v3lx
ds7xB4EipFHpzXJH9/0D9t/raLYu25bZ8DKZf/NhvBljgNxHPZP7DiIHFDWDr2CP23FdK/OliRAx
tkNxGo2c8Iv04rvms95OmSx8VH28sRp3i9aSmzGcnDx+w9R1lGQQB3F56UaAMB2TZislmbpuP5xW
fTCp36VZvldW768KRovS7wiqoECm1ohOmpMWcAxyW0raurrJJlrZjQ2xkgl4rThEDZ1zxREJZWix
IBeJ05Ky+ePHQr4M0S/ay7w50OlmpmFRV6Rb38qJSQ/3Qxhf7cr/GLTLp0YKe9fAhV6bnjVgyYAt
UtgEAmiVnnA2Q5jDsOOAaUd9iJSrXeA8eABW4+rqY70YogGeVzj6q5aTUdIAp+r5PlwPIiL1pFHa
H2lqIin3BeNy5T8tUK5zq2PbsMiwF15/bpIQpo4Akuisijl4tnFXW2P4VxEN24me1EfvR/bLwZjt
q4cKKbPid88uHvNCVGBInJ8igZzTms3FiZKNx5nOHcM1MPfXpFGUKFPlQmcrfmEZqLOVL99hxDE7
bwVawKwhsTeoTtTAK1uUr15oEOEK6a7ICZREOswhm8ZXav6ZJq5I9CFcRPzPJAdpFH2zAivxKJlf
qRRmOpgA4bMESZ15I0P2Y/GcaZ9UpN+lo/ftmNM2ielr0icf1o0EQN9QGDMXUGurzcO7UbmPIYKR
9TIFzPXiE2sUBJt9Y5oDZDmVJ7Nr2EXojZ8rEyjQILuf1G7CXcIBdwlow3dM4gK4X7TMm8nYgobZ
iKkZTotvrHULgXn/atTMF7vzrqJSx7FcLn07P7ns7J5o7kOJ7mHggIREcZW0aHAFRIvRrJ/GONSv
ReVh4soJZ/fSz170n/Bn9y5AE4OXK6wg+LRDfu1d++TB5qLDSDJfqj69HItjT/4DIVA9Yayh6n7t
jng3jlgF73phBbtOZPsYg2ealoCbwEV3sROuHQscwQJPKTReOjwKKCGSetdpMflE7MOdqlrgCaE6
V1TPPWZkUftXk74qKttjHqWnjP2uDglTFdH4FpHdWvTdqW3Lv9rDhJvRZqdEtu7HmuEl1bTM5EvZ
8lSNuN0lM7W5rvcRneYNSZIZSZ0TEBYerjmdiXVK24eq8DCLYw72k69cFreUL5WGN0cwCweSN3bM
tczpzQ1A+cY8pLxgKbkIU/fdGOoPMWxLm5xHZhDn2mak5yS/BgVsVuQXe8Ktz2HULHi/ISc6Msok
sVj2lKquAlxsKfIU/M5BczI9+VNxizArurlC9mDDcXYXtOhENeq7O1TFb+fG/xLHf00pmagYGt5S
RsmuL40k4ATDUK7q7q2he8aeDFSuxxA3P9t5cZ/W/iX2cUpS+DaVR4yT+6wZqFMWvOor8GhlW2DE
nAZnOsQ9jYFFy0WL3N2R2HHyIX9x0F/jMaDei06p137pEib2i6MEnlmiHnBKHx1cvtfFJf80Tucd
3o5N2UebRNorfTjWz0WkuzvoApPa3xP3sXEBKltpv5owB/J5ihN5ZqchCS8uImut+8W8Z4A2H4YS
EAnyCzURj2ySypozgQq7xFrlNnvozGPuV3Bj2QiSnvMSZ4YFRwNuqUcjsWG7My9WybsukR3DxTbt
86qbUaIXSBcwPUE/1p/DHgHAdR5aPdI5pQ8mi+GbrvFVdnWM1zombg//4L4EaaUdFWFVXhroSaex
9h/Npqg4HDfAK6d7qpdwHOkdoWK3nd+M2gKL0TNwqDN1oxfXm2h0ttDdVzboaa909xXtHJtD7JI3
46/gFD5Cy5pH3i9hk+77hOJfdhuz/U36BvpXz1xZ7KNUHCx33AKnKELkc6OD0djnuCGVyfnTXTWW
PM4hSPLuTVe4FO+wuXRVlcDPy2/WGH/4kbN1+O8V/Esn6lYLB7TR5MzKmMQ34E1VWcxOhu9Dnwfj
Ity42XCobHNTjc2HsDGacVLpxHxf97A9+O2tV1G2o5FeBtQ5zsoS8tdNodrpc1QbUpfpPkRKsVrg
MmC5x79TmN468alrTJvyrMFgQN8dHMUbRiN+givhbDVxQmUS+xjgn4lbdL11cxaT+cefERVgs9iG
RgJNdoCgmOwchQ+xKQLHwgMMcoray+7Sjay9dck/pH8jm8xxZkcfaAlkJpM+i1NLya4zyPKqTMG6
Gu4R4ZSrVKEu0eSMyI4YZk9VgNvDfRUknd0ZmqEaLsBCa8q70MD5K4nXQq4nHXdbLda+M9R5jsd1
HmOS53TGWSXdL5NkaqyNxmFymLr0Qp/zGQ8RvEP136lcH9kwgV9njkux5F0uM/724lw9czgTK7KG
BXGl3f/pZ/gCOCu21tsC9yIIQK1a+Vav63J6tFnabR2ivzEPap7o73g3K48eeigj9LVMS679xNpl
9pTfwUO6KuwTwTBcvQE0QoIKNqFPNKLs1iuKmfydCegSiAWFsclGTnHSEzdlgSEoBXMA5gglBUxf
fXuZc5ah9+pN6Q6j2aGwgxt9UYri1H/MuvwCeu8FONDGa8rXDjBhmaiDAiCm95EhKvZw8H7LWt3M
vHriWeKlHhEDNhrbzGx+4Ht9+zbPBZcF32XFi3bNn60QW2wqBOYAbhE6/htTZ6OUd8zQOnDuDTpM
NB0XRKCKorjoye8hbvrII0Fzv0MgFLs0pPGG611lQKC77b3/ElD7xyXkyWpZWZnp3GMdpRnHA6g7
Mostdx07Q+wb5zpx7+mrUAmovVuOH103fIxpf+al+q47NAZ3ULlqU1Dcur44OsF4Qn/wlxSsfMvI
T5UHEwQk7XZRmU/QZ75qF2zzXHsf4k8tA+9fOkl0jm35k9jMwL2ELPVo6QGTuna6YT6MO665RaHB
gR6MaJOmv31PB02YbFEEvqBxIluAXbGmYin4Jhc2X7MgMxIKHzGvG1WxdIBmfQfURZiL8X/WG6t3
161V/8OixjMJfHdQ6Tl0yjPypIxykBEcpx3OZdEE9iNQ/zKXcsbV+kqQc9iY4n5Y955P8wlEbfUW
mxJvLqMP2sYD31KgyLAJQrGqlDbVDCS+ptQUSTBsLU68IS86L0t3USkOLVdlsSv4VXsKLEA/bgiY
OQKQxeoZFdTEymkvRZr9JD7G/GCwfzGR7GK2Rrun/zjG3+gG9mPuXCjKV3wFDFmIkmDrNhr5rlSP
2BEbB5V3MQ00uKOt73ZbGvIHfdsEKuO7KrK2puX+GypBQeC5RC/hjXSHB4Zr97rNpV97OYfPip03
VdEmKlAH+AymUhw9Jp9e3wdzxEzXeeTcuAhZpa8ZK8VWNPOjSOpTIT1M3fRK427n5eLB0h7SMIUe
6/TnxFGAhmefsrG6jGYPT8/YJc6AqsZdlVYdrRGicvjMlpWsmCaNA+EMUH4BNEam92a47Zfu0udp
wFnXWtnldAkTgnJHJ/tpmxRLHgQiNso6ar/9snwmeD64WzrQ8/a4ma3wPach6ERI3gJ0uowY4Gvx
2QdjWHVN9qPfskbvfbDu18gs7pYKXyTPqR4fOIO76/sAQcoAaKhDBicI/3X0C2ZaTuZgvGdEgwVJ
fqZ+BOoJ7tdKfJrPUAPHBnAXAYc7ncNRSUSUVI8mbbuCY81kRUd3QhHA69XS5wC663htAvwD8N2+
IWjTXaZpqTp7H8w+LYIBWF1njxjOKbjTygOEzaigCfON0zd/AQIZ3pKPuHo2+uO50YxcykDbBRh6
1dTVoZ/TX6NGt8VrUjX51+DQDbMm7ordmu+G8q9xuJyKVtL7Q0aah9eGp58uBANfx3Z3EguE7nB4
dDcKAgzu1Gh9mJz4MxpBCHlOZLwx8q1uU4JoBefFOpnA6coEoJgCTm2TnbutQ9xYVtYQGDRtVTY+
YRr70M1ER9qGfgd0rnk0DfMhroJt3TaUGeh2lO7Wjfl6LMROOOOjhbc+6+avsMt+RD186XkbRI2b
P4/HMBiewKodMrzctSh2OL8mAB9yj/ZaS9MBYQiMFuGmXqCiJbxORX9ysvykxmKL0yeFeYjvNjy0
ZvuGeGxPwB1GTZvkH6c1blXVPWSt96g3H8FrhSfiNDhiU3QhpHKTmKOCc2LuTn+cSJ+D0oYaxyCR
HVM/kz6bSxCb9+4osf1XoDUK20/XxjIfm+5rcQDrTY8jobjcXOpr334ZQ3an7CuLATskI/NIoxGY
LpFrsANavq41RnDFJjRUSMWzvFmBjjIZE+QWzoRmEW8MPrBTY9g3fQfsrjuManrSq6DR4juJtYVy
33vJxWMQxIeM7SSr/9TgP5NwuQENxxBcRJuFcsGPsoNqywdXFG+NWQXrLhSP8zIcu07ezyRAcqQa
6abOlyltD9NgW5xCxNqJqF3JQZrvyIC+tqp+t6yfUC2XZCw+FnoaFVipnIm4HYI8t97lgg3Cj49V
zckoCj5wFYOSrijBfMdF/WGRytrDxtQTaGqVCLuwX0x7DCTMhqsL8P+XIR/2c49uj3FA1My3UYbn
SA43VAILwQVqGQ/9ILw1eLG7tqd8Ckq0RlZ9zeb8ksRAYNtvm5dF0z5GsY+cbjAvNREbUZhuisY6
+X30NLfebvIjDkxqM0TebjTHB04SB24mJpH+wbGnt6bNd4MkDdwu9hLzveeNH6G3bHClPtjm9OfM
5s3FRC0X6hfXif+IgquQQ5DE6IrrNDJtayNyNsU6zoITn2YkNBu1w8xiRxoRpvTOEc2ozt0N2H9i
dkJRTV+m1VTo2euPhrFiZ45vyjT+5ROb21Ak5w75jsS8cDfTz0JOf61sdhu6Yi9mVp6zTt17YBEw
hsCJA1kROtbR5KZVEsHYkF6LoLlES71ti/BxTpxnxHbIKObfuS5ucQwhMWoObSao6tx/eOzhLLgc
ndzK2hDrSHnrORfR1Ud0pbfYm18yB+8Z9aLooVo58nV2Yctx2EeL5KpsIl4gTTZacNWiPSK6ieYv
X4KDICc3jGNlD2evFHQDVPw497nO6lDlvcp9+1j05CQoFGothaVXt88KLXUZkToeBP9Ff1yaiPBB
VCC9m7+GmQGhbJnXgZGUqzqcTsFMDtxSot/Vv4Cd9VT7pSYNNGdaujN/q9nLGWFw6CGcO6bmuG/a
lOSGItpkRg/1E9mAmu7DqIMU0yGPA8PZ2HAZsS2PWO2ndF23jvaoixfPnr7yuH9e5v4atOlr36uH
0gkfgEWLO+nO52psr5N2cyRwx5NiNyYNjET6xVUOrXFMPvHa2vRXInaX9C1Mp0fZhf+k7NeJ0u3j
HFe1Hbt0RflW13WO/H4ibUB2FSO9jDdMkYWf1TRvkwKFLBBrVaYnt1joQuJnk8t9FhHdpSPfw+DT
hSPluHJLtbarFxDjtmnoqIRqT0zHbmJkuzLL5criIm4E8RbioInllnFcqnTD2HfRF8Z7Y6pOlrEc
rYIOgtGr7RBnzqaYRU04bb/j8LENJm/D4hnvatM5q9GOz+xu74FVYW2fOKsZ430M1NiI2xPm57XV
mMcWbVlm6AN5lFOOlPHVWnii9I3DEr/STxduAQ0Ue1Whcy4T/Jz88tFFXT2op9YXz2GlHhzlHuM0
eOEsFj+4ZbYAJpRbL/KfLByFuNRPQx//zG33s4yej9AifKosLHa28+1O5Fb4xi+z0VMGYJbbk16W
JDqVoweeFAiL3lI7FA7XJoIWm1p4wz1S2TCaNx/dshydOe/XS6cIOwvVFTLM1jatA/gGuVsqf2/x
YuoXVOMD8KQC4I5km++dc4huZqnTdNu081sxZS+jm5O5OS9HNzJWEejw55Ku32rp6PYD/LRgMbu7
2FGCwQewI6jCvxMVMu866ipEgImzfM5V8C8rICknrvnbgrzwZHAvDPe+Y2cTOdTFKPtA2f1Yl2hS
JIIzUARYEQZye5mFoW2JXtWiLsJOj1nhELU5yoeyIUS5MbrXLO2PLdok/aD2nndKc++vkzDoYy8B
ZZn1mAm8o5oR+mN4xx0MgbxkkbmDPrUTxyVSCi4tuop7LWZ04UyFrbH3kfVUrXeafbGzFcKU1uxX
Vu3sKyA+1siuA8Bgn3UL5TbW7BWet2NP+6mKi9egIs/QtRgPITrr/O7cDYHO7uqfZVa/Fk4NrXd+
ypzhloniDMGlQ2WZC0x4lnmYgT1j3cVNbaD1K4r3IvC3vVLPUYaAxe+f4m4u91rwMdnFWbEs73rf
/zfGy0/UlQ91aO09q3se2Qj8CM6lMjcYR1/Dfjz5wnhWZUA+2nhWnkfYjPMVZjlaCUzHLQCBONgp
vyNGwX8xcXlq8tiZsGgyipjMdCjgY/k6mcGrYQXAksvfOKn2Az5Od5g2bC4rxaMzQ3ikE+z/TSyb
pkuOVk4WIdCXdSmHGY2tD4XRhUGOrMtb1U2KHgnNU5kw2rVBKaGKibUCveJcMrJdT4n51/vxujI8
kqBteB61AXolNaAmNPLb6XsPKqv1wHwXzknhrtzRcqkk3Ocq4LghJNFt2PlKN7Wg6jovlS82eU7n
BYsMGiAbGk91S2uXARA7VEJunD+Duk8s9TCbobsStrPDV3iYZ23OjUwOksByyAA9V0nwxuyBfJUM
x5HTvTadv29iGrNRUqNGDR9UO9roSr3trFrYwaNkROE/DbOgp64GAJE9RO7qjH902Ti0Ytp+Qo5j
bSfLRDs5vc1D8bzYQtwNqMGVTfyIXgxWYxwMO7tRNP7rRHGcZPYZWACYTYGVzbovyvQ8VHTGwvle
RUyuluZWGsEmbMfzZHsf4J0PrWxujs/ppfcAG+RfY2T0dP2dJ9QMLAZ/+LZr/y8OxRVxKZnzeXYK
rWLt4Jbe0Vu+SVFdewJHeYVUD62W0Rc2TRs8FTwnMByK9JJOmESpnqjL520womGWKkavLAdwZGG4
TbAO01D4KfFEhI7zqMYhWEMX37I4Httm2gU5mgdi6uLc+oSqcQLuq0CiVodAlLc8HN8sdH/+kB2c
HDkcxiwANfPREs1Weg1k9SZ5TOXEZaUo5mwGNdKmjJfH0cZ/pJUcdfds5IhjZ84og88UMxOcsQOl
riARzokobl5ZH7O+OKRpddTXo299jZ4HWecvLrGrlcdPUdu9EMlOw41cRD4darh9Moa/aGss5AD1
BX/AX0CplRrVPQHA3/oX0LU5WrI8Tr36xQNInAHNLqBaVNNOUd1yYe/msrrXclVG7C/oYJ8bMi0Y
CpM1y2U3XcOxntA8ZvOlDCG6VPr+2zRzFOSE2ey43fw7+n42MiC/ZmJq1vuFgDbEq2ia9y5SzCYv
zgMRE0AnHvKsPGI8O6WW/7xwTLJL/xAK+eAV+Xs80XqznNBaoyQAZTD1LsTbVkumjsbCcIwWPM9A
tEQ7Ajv2JVYY9L8TTbg0wFEAk6+ih1aqzwU+EM3Vb56HTY/tmRxcyp4p3yXZcpaec9L/m9fmv9nv
iV2Vm7xQK8xhvyjW7gWi0EG01zxz/uKCEBfHDNKXphrUjm3t/zg7s+XGkSxNv0pZXRdsADgAB9qm
+0LcF4kUJWq7gUmKCOz7jqefzxXVZpWRZZFWkxehFEkRgK/Hz/mXC+p107INjOcSxcFXwy1tTN/s
fhkk/cvsRYrRccLbBDas9BscqAE1Itrm+to+A7aQ0L3J0NwOhFPQ4q1vKTY+KvkRReVWJlgww7kV
WrYZS6Jlv94kITcw6bdJz3m5QUtLTw5mhEK32d9aeXY2RQp1vtjwxWuvnaGEhxu3r86abmx1JbYG
v3HZSpisCPcjgjqCTo+SQ59ThrcD84Wg5geGD6hDoPRaOSfkHXApGKEYgE0lWzF9iIYgntXo3czJ
k+HLIoACJCfNcF9BPP6wSjbdgApOpo0Lk5EKzPU4Du4mC8O3WdO2BmlFPw72bpLejnFxCKBhUjNa
q6vGwNYN2151DSB3N9/FwXTnjvI2HsaPFl0DtGHjlfqCTCbn0hiodqSfJsNfVBFKohkmw7l5T1VW
EUOp3uoZvKD8OnbMNT+vQTMATbrpcY+5gYp+Y9feeuyi+6lxDyn7QWR1StmXZJrb/UgGu3nNje6s
deauJZMKFRqpOBNAJBodFD1S99NIcjia015LK4ZeiOSb5cSXZJi9teq8DDpKhw9anyRs+aH5IEgs
ZCHa1dW4RwQl2gxO/r2MEVVBHLYz0vt2mvWtM8YfI9OMxPGC+b+eE2vdRV10qzmNjUFZ+U4IiylZ
i6BBLSk+mQUCgvHbGCDFI+N2B3Zkp0NeZrcp4ssEioMezJaw+JextBGiYisAlHfxIvt9DjjvG9L4
VtTzNgCjR42F5OBcWhkcWES4cgoLLgxAxCWQmgCkOOQoirXkAG5yQHp64G3NFEWELtD2AWV2APXD
sRDFIydAY5MWMf7L6vnV95Tw0hcUDc8kArlG0Dx6oTyOFMSxcvbq1VChutOUeJrX850DGRnT8++o
efkbLaQmRI44XluoqS7SDHcZUy8+01Gg41zXt3WEF19iL9qZNG6C0Ap5PeBrdSR94D59hX0EWmS+
Bll4VtXizIPfRSwP6hfVDsiTgDTLbGr2RY7dWErsxIZah2sAdmhVJeSho7qnnq33cY23YYAIf50R
zlRtjH/2ZH74Er8HFIG6h863cGQvHM72BIjNc5RUSv49pkZZg/5euro5YkbE1gqsrimze3C96crw
xAtUXg6Schavja2TMzF1pOj0qT43ZLE2rkgG+OCxt8LSie3Mj0cUMaroAbeS+pDPObuY7XlrK0B7
TLYdUPQ+wI2Mk8qm16EzdroeHDjuD8d81nzgUwW5Hxv6ZzGQdUZXJd72Qy4OIRKCBEeFufZDi7JV
TnxGRjqxrEs2yCzD1HaoHltTtgvfQHs6MYK3otXMVV2QefGq5M6FjHBxspBEdm47CUx+YFaDPZ7l
qHUbfaiRizdkuuY0h2jEFAC8GBBknKktYes0Nbik6/bKSXrEIGhc4A9uvGRAYPFN0fNUByaTjoAO
6C8wOZwqEAvI3eTWqRx/kStTaVJ/YhkF6DLPc9JtI6yRlmnoIeuuQzXwQkFllXTBfZPn+CQaBoeA
eIgvThpKtAfHYo9sW4QqQTZsZ6uF0Gr41kPdUrVOsqi64LQnUFoBJaHPMGZbn4K+mIf+3Ca5uyCt
UC4mHZEHth2K3aZZruOx9c9SdPU6NqbsoTV672Jr2Q+kX777Js2Q5R7tGzQlbtQADQK0idZdYWbw
EVvEI8zIpzqIgRWquFAI2myglNC3/dbMIutgll2wnb3EOTS9GR+HTPdgOTnxIuhyY5lhKrluxyE6
Ri6kwmLKw6cWOu+2ziV0AacDaV3CN7Mmgtyxj7tPcr7TMbZsc0cISxQpBmTlDIvqkDXGK2QT0LB1
o2ErQTfepNNU32ZN/2L75D3AAOY7ylKc08scpmGOj4jO3rIUegVAGJLsDrOceFMNQYvYbwP/tsSf
pBWVjlZHkMKYa/SD3fnmg2fPyROnNqgbVPkQqNB7KiI5sH6jgb5SFICoPSjE6ELWyAp3oQ2wfkZm
oKXSPGqadiiChjgwH+NTC8f0JijwHNcRq36K/Upc00KvYlCSXoxCH8sp60a+Rx2LI0kHOfa+GnDj
WQgAji+NHjYLTkE3jT2DuQdMzbmiwuxszJtm24/THibhKSwKMP44PiUWgoxttbYARKZZDF7BZCdN
LJSSycc8m8Z4TrMKbnZM6tiYNxOmsFpJaabX7bsA9TLUMeWnk8mNFgD2wpk1IeDprRpzxJxAGhtk
C3viIYq3bBP3beW9zG36WvWoOswFeYRWgr4BaYFoYJ1/em35I3JmoI4YICfuCAUC/BbpK2ocbLua
iyNVpb+K1OdRbMx9ZxIATdnfYmm0scgZc1q7xN30KiGhOqymXlBfXKNYmXa67yto/zYN2Ul/3YKB
ckPIoFhNumX3o43C+7hOjvqQXBHoeml9+YLAH8wV6W+Q64W2ZN0bDZbEg5XhkDitkOg6muV0j3bU
1bLJZqXJuvaq/ag7j9PYbp0seA5B/EuzWhZG91SNyH4PZAJlrl9Cil00c6itCkMVfZDl7G3zPm8k
J/eRLTEnk3gD+RSfvAoOXhRXr9FErKODbPQ6bZXZFQALFE6+o60HmD+F2Wu4BqZKCcyxoAsBaqDj
bDagjmwKF36lXdrKefDK4slNvUOVw5fU9f5tquDSDMFbb1CatKi3j7C6MevESjS3D3PgU1ZMgRjW
6AbdjINNDN5WC7OoEeVWeHvvOar6ixto1yY2rlPR44gY34q2PjstgmpdSaoTfSzIh3iMTgY0Ceih
+Et4FHLAg9QDan9YwGDTqa/c+V0k886pZ3Y28yENzTVCJuB32G6ykCxXkt3iroXlJzBD2xNXHvST
gO06q2JcqMGNc8uzQ4tRRzIecwpHK1SZUrR1/f2sQUOoVQIHXjJuTCl2wdwQR9bIXJHsJmHoXFMy
vY7EI0NvOAiLD04/5rZojUe/sxvWnfgxT1D4HiEjL61xXE55Hi/JtyCtUYpTSeU2KibyfCSXqMrB
0+3NSw4FBuUuv8b+BNXckSyNhuIRVmM/6ilbuz7HayMzAc9x8bSI9JumQhJYHcHNxCWXQH6rIayo
xvGoVBSUosemc8AkZ0BWyxAWZXgtEtYd5cbIfrWoJPbnZg7LpbiGUXFG1jO5MaXx6ljsRShbwJyv
A7FUaudlSbkvGRlteVWeWze79iHCyqkDDScp0K70pQ1dwnk39BwDhgrCgA4tTMmtSOAGQEZXkQH2
mQwHyY27UWocLiGB+uZukN6CAfiiEuPhZN3Zg0U0NIYHE7hFG4HDTce5h+yFpo8mwnKT2Bog94AV
LNcxJkNcf3R5FGHBjM3M97l57+JpOOiD1TwnnCiFPWyU2plKvRJV3Q36CA41my9pkESLCZ7eKmQp
jByIxi2Kp5HpwDzVUDNrzXTJWc8gLRY5q2xsOtRxTQ5vyfDquA2MsgR83+C0b3ODkmxiwSzulTVY
Qq6sbrqHipUcxCVHPotv8y9uFxAr+DUEPdYoEwAV8PQ3Q/MsMGQU5mDQ3ZnhRFHJtbNVBs5kjkc0
FMEegMRG1I8JGuxk78IrU8PdGvxXchNE9u0Z5OE+I3GxCxK0j1ULW8a0EFQucr0+oL10qvIWk+Nk
3bTTajTEUabdK2g0Fo8BxotfO8ggfQuRcmkizKLE8JGEHdXG7EDXPDdagHw6YZEJ3Lx1kU1sMlUn
6F79aPqBcVzIbuqeWC3P9qRvMTv+USUI3LRwcPGc+ZYDL847DYnmbpypW4ETizm+VJr3HGjBxxSW
y1A3H5J6whdFO1G3eJBDu4/NqSP7Hw3L0kJAhJzj0srEwiMFW1TpoxUOF/KVYP+KJ1+RNYr0bmqC
g+06H8j6LU3AZsD/qhcn1Q8x+i9uNpFBQutpdh/QGLhtqBnIxNsgEnzpGgzByUks1d7Qw18z05q0
hszqbdUSKPq18drZ8L2J33fEZYBzYJutpAIehbN+F5R1hjMyn67jbRmWzVL1EaH5EwjriyampWHM
TxrF/rFDh2wU9ilSOGrbaI6Bnz8Gc3XxZPjS9eLRHrtDLrNjRprNnROWdmg1rBc5ZqfQQ7fExufQ
dg9mqy3mZIbywHZYwUViVq/81udh1ebdemc1/1j0AGSwSU7hCyWdSx3YSr3YuweV9GwJPJdJ7KJR
pq/bHrRU258hb32vum3iaB8V205g5xRWmRo5mjjvSPvzHr5LLqrKLWgn7vHnj9ZDlKl4giN5Kebp
MpVUTWe/7ha5EwMJ4PB3sEEaqPnGNxQZFtSclnOQx8L9rBDNS3WMaylATUCMaqZSZ1BKZPdGDSZ8
UC9GcXnotfsxxVqdJ8OBd6w/MMGQMNsx44zsuxZ5w+S7cizhEi5qrfxAIkP9Job2qEbaCEy7Be3G
XUMiXSfQo/r6I8i6pZKxsfLgYOXeTTaBrr4Y3nukJStvuufJc58dz33/55fTDjZZHQ4mpBdBLn/8
szGozoMdIGRMLnwHjgRa/gQzT2lnoxC9VnMzbJ9NVTtMSBHc10Q3fGtC/p8fI6qHcf6NtywExJoy
XqXG8MDzzcgMQLOoydXxMZd1nR8klBkga2L8cgLj3W35FN0iwE4wm2M6jNfUN+ckmrMcccMPbptY
lFQu9+2n3i23WZTTK6l6FB7vZu8sEjyJzG3rFqAWt6pxR4TIff3Ib3rjfZc+EK5SQxjiLC3UXngQ
+kETJ3Yqyov3w/StKor/HRe84CACxL3mIlj69VvgthywkdRwIbu9cCGHOOyfd8lX0imNd8LiNDGe
ZIk9rEuIjsTEzw6FNpA53/i0+v1n19PwoZw26gfjnMuNUJIYMdlU3Uz5hfacB+RL40fVL1y/hkRo
PHV2/KLahQ+OrMaCsgVPSs1jZfdXekmSF6SlBA+ntnxFYMpVq4wFNFS2kn46qT+ng4NKjbmfLaXm
Aj3w8xfGqVbe8f+dUx1UrxsQQmr3obXNDa9qJOhF9+50vYJNb5P2ZM9XdVnbifdcafDvB6RE+CRf
z6NyG2q4qUmoXmuvXJtr0bD8y9N3zjMfmYA60PMaKE8+NZBL6uT4wCeofiXUIeuCzHqydsbxgQcK
A29jxIN69Agd+gL1e17NZ2enHo4vULt/RE6Xv6ZQrB4MDa+NuizLhrpI3ZgcdddJaq779r5E8dXD
HgEqkJq3qtl4sxfR0sEQlk5l4MvYQrKZjs+hPwIASz8rVmVGUFYNz/Q+12CstcDcLe2Wuym7bw1q
IC6yJbciOpqekq3EjXjA74eepkcjvgbLtEXDymHbR5nc5SN1Ym5gLk6IHS+T2Ufk3t583UjQnwOo
IkX01sTR3mAFjYaHoEI4nPAQ6qf/OQ1rIZ8kFnQ0LoOAxiW3zbWR1IcjhV+PfDLJVyaNGhTRXK96
JXUorxHrjOpBmpOn4C8Zzzw/SdC92r/AxTFY1A7Kn3lushUMCGkTLLDsqMur9YU/5AH4l9YamCZi
YMtv17md7FLvWz/eat2V71TdwLcY2c++6SipIcRB69dvhfPeTt62B6crn0JKK2rYqP4MOS/HxiUA
nA2BCQPvCEVGXlePpNX9ThVI/3kHmr8QeQIaG09AbKDsaVH4aI3kD6DDxwCdROPJAZGivpH3ATkt
vSk6qI+rFQk1pZHQme2OMYpmrRq94F6SHCz8hbtuB7HrdGb+TLYX8lw3iJMEDySqGfsuBLfWuUWB
vSBydGHOJXecq4a4+FqwuydSGDds1pxlkfhgCApwxY77iGf2DRbjEfcK6RxQPSgIJS5DIYMZQJd0
KZb1BSOnPkQm5X8jW2Ket2ziLdxDVGdj8uUfrX4XFxYm0GTjmf50kPph5tvEzzbOWN8wZrhVNTe6
7Ku3PCpDzdh8Tfqfk0btOvQ8qxufCqYBdzp3rZY9tXBkOKq7hCPM1SSisIo8Ct2p5jLqTVWJmjR5
nrTD3AuNxbBSIfe4SYajakk6Rw17V5yYISoQ8jm4878MUL7DbvaM3DD1FpZ+0GPqwdPDxDGcm2Au
qCHFooExgJo1TBN+Z1dLCcx6HDFLAYpMnHhYj385vcHdVI+uzRShq7vIQiWTUW0151EBtKo77ocX
hkk8p8hI6pyFUNLeuMprsUkWdv5u29+TEsIFggCsfXxW7d8jSA62ZyxOl5Njqcc2rXspr83wUaPQ
yQX1Csi+/sndMVDkDM8wX7M3NZSueC2nOyUHV5a4PqVyAnCUqdcDNlTXsX+uRRFKh6Cgm/YuMi6u
7D55DyvnG18API8ajJnX+jATPKHfDIwkMLYcSbcthBrBS5beIuH7oB6T+5jJYdHCMGD4q4yNSCs+
igrwSwJYgsQYhtUg429HYwfqkYx6Dd+EIDarV6kZ7D1tk7XG1usef35HZFQoretndP+OnlI8Jd5S
Y9xjxKgdwmyf1GQ0ijBZqUe0NCzJugf11WUXv3uV81hxSRa0cFjVFrW5ITfvGGvqdjT0glgOeFh2
D8MH54ijU5NyrsdetOrJx5DZEWgaDlX7FCnSdozQoGZiEuHsaKk4b1W70T2jy0ISfrfNglKRhaGL
e0UAYZkP+EKzxA1+chejjzj3zV3ZS/LBePiG9XT46k5mDN6YrD48AAOsGwhFYAFRbZmGFV1oiQ8G
JgENWK+1MFM0bJ67FBVX7zTFt+AGVyqMtBsYilm+7bwWm6G1iyNR2uA0QKSVdPfoxh/4HrUm8N0j
lbuuIRBi8PEr12ByGbJB7Jb6GN2aVhAomu+8NzFEoF5zaxZRDjfV6NvS2/vaa+M+E1mw+niFCevm
igvK17rckoBgiVMBnBrAif+G+dYNWxMPqxxRsuRDrWjGN+7Sq6iR7YKUKQpHjnjdmVFTZptgugH3
VmO0ddRGDRPpJig/PJu1wXxX58QmDamJP7Bi8zY0A0gmoBudD5WH+Gez4hWy7Wul7YvCDyGOd1JL
ng1RhWzR21yobYG/qNN2kxKHoPeG5g2Jvi/CyQx1MN7zXKYZDXtJ+iLCuWlAP0eK+2ikAGizZgyk
UHAP6plv9AFXUJdGZcs72Q7+g8wChkXPhKGd1PSppwiWXXevNqlcgI4HOGbTPLR/iUYfA09ta2rJ
o6lVt/bcQKmjzrsJNDwfsIFB9srr0QirY0R0xls1XKYcyig4k5sC0NrYzGdad8gATHZbuKoq7NNR
6LRo21DPVpFZrxMHzfyybt96fc1NzrztySsE8BV0FvCdAqV0St4AVdRygcvC42x1u8IoTnMH7lUd
QIZgjz2YOkz9jOYATGKX0CzCAG0w+WRzIuDCPBERJt0p4FQF7fM4AqwAIUFTCSIJ16FukUYbNazB
IGOTclRtUIPuIMikDQzXvZlaUh08R0vopJpZTBCpW0IyzlEMKL5fiQOoHTGCQFJ/LYBIshqo3btd
dcsoVvFHdD+wR1WIuxFTcMKoKPWMroG7QEIyuX1A0VYtWYwmmo2bsEacB3ogr2XSHFrM2Rkt6qFV
AICoL2p7JKBA1fI3I8oU6mUCWH9sbhiTfFZq+QHDahjLB4YaQ14dcQQwYYZIHZorCcUIBF+E1AJ7
so4WGX/O39EdjCBmV0Ot00Xi4SuzxlqnesIwX4PIWjGpVYJA0WbQkKF0hZy42NHKhCqhvKi5oWIy
+z5AO8IYG4jXuKp9rcrqCtp93Y5XHWKo5FTE4/KimoQRsY+6O8Kkrz5joNLOvC+CJyVIyjKJCwBO
GXJlQMRoxl1JQUovlSAHW1jy1mBVNXdPpvkqWnUiU/GjanUGioqjOcHYP88ufK0KFYhuv3qpBSU4
b3OwNNwJqzMTas9lcR3f2mO7NiIoOIR81fjVOSYHFYBUhAaps/ONAmprdUAj+6Od2uUkmsM4IDam
NtHIRPpFhO5nM5fQv13FxiOLV8UTDpnoQ5EZiKtq3/YJQk9pS/m+9tARiYdt6xUHvbKehjh+LFvx
w52H56CFlap6pcSjQiXROfEdE4SLvnbO0EVImsnoke8FX4w3vex+BI04UmVu6Dx2MtfQKbFCQkfX
lAjMPFhTvmr9kPBqeCQbDelPQgNPRHngzJjemKxAbT1tSmiu4PgrZXqCG20IYSlR/rBLTU8ejd7c
pqX1QFb5lPdU/v3+lTLOru60dvF1goJ4WoT1dSgLjo3jGmOsM4LLpM3R0kUv+xkRV8KWeifS+pBp
3AUIoJ2aHmp06FLfdrF/cKyRvDJpYrVlFsPjREDfWQ8qMOS8DQhLnjtBtUhLMugJAivzNruqVEzW
A+PifFMDKaYYu3V0jRoG7gFGzIEDsOal12dF6V2hyX7K7bJfeEP1gs7sfYnfn6dOzDVH7iygeQx5
Vh0AuJvsZmMunSLcN4ySwWuOGiU3qPSwcjB1dSb/Ror4yLZ9o6fxW2uhDpsPuyZHeB1sCEuhiZVF
nLEGMaT7ZpBUqKOFCmjQm7uM0kGLxTkbqkgDpyzzg9daWcsiZ6zoLBEHgR4AOrKS05R+w9UIt5ry
BQ1SWJ+yfBo057MuYG5QUrmfG/fRG52NGmvq9o0c/v7XljwFnxHx56SDbGf/+YGIBOw7Z+mzM+c1
UjhgdDwg+3YXPIO/vqr4tajABULii6u6QbPXOXTYNoD/PVoarEbbjRHOQXlmzK/RbDwW3nRuVenC
8+BPKKBZDy0o6Lsz5lvUHBoLTL2PgEfpQrBtKN+FU8+2P0ISTFc6OjZ4B2Fp1YvjTE76pkpxldD7
8BZbu/FMTaPbVI79oI6ks7JUFglF42yulKfsGmkGJFQSjtXZyRbBuVMkOtZNm3W0Td1NiaoFp6ng
EZMSziiCSepU88Yew3JRkswYQvtZetGnJK+7IpxZuG69yUmSGUn74WtBRnLSvOlgE0U4jwthsJbO
wXKcmHEkXUGFscY0xA5a7F+htLxlDSpIyWSsv85t6Drm/biWZr9Wu9fQDoeMwNqzkO7Vy/5c4Ji3
9WcdmcY83Lpy3s4ie7P8kN43B0BqQwvViyLMJs86d1kJapyyIaGQ1j7axeK1B34MMGo7zggUxK21
n2psXoLxPTA82MWehkR2VOEbK8p7RPm/2X37WjCH+z45ALTdEkuRAWJFqroTCi1gWLCjdoL0zozf
EdnZt+wjjWOf1a7o6g05hOBRFcoNjaxr2e9zNPxuRt07ej7hJbzMJkCRAdRzpJw70ee6CWTAJpyt
GlJRJWuf3zYHtRZI1ukaoRKVPahAPsamdnW75IcBkcpBjANruVOICtuQUdNxy10o5QqnhnXo6j8i
0pWZ4aFzlO79AM0KXb4lYrqkWvPmxxNpff0DUApZOQx+yhGLUP/QghgCHvBDjZAkaR6F3p7S3LoX
OQTKcjxSxz/pDdL+JpkXgJWJlh0cyIGuGW3DJOAw4m50aT6Z7CqpEnm1UdWFEo2gwpm9aNarzUDV
TGDpHQJ9XVDsvbPq/PtowxgwYFZVyErhXLfSvs6i3X5s3F1J/KyGqw5XBcPMw+DJrWR8jkX+tV8C
gz0Nc3zfNdTcHITwCT7yGg53xciS4L5m4os2jxFDbrfqC+My+Gx6LLnC4DZWQFqvVOAztFc01YZo
xZfD5C+mQaf6ZjzrHRFNCi1GMPwbZpib9ccsmtccBXdqbJuxeYxS+xK78jHndUpatyoDVbGSOWXI
shF+5lH1MrrlJrSjNQWqjQoWOVJpi8kiy0fyxTNmJJtr9nntMkKmkDbl3hKVaC9DiX0EStBs1CCW
KRaLjjgHQ3EEanJIAd/fkBkHdyTkPSBGkNwcPyMXkmlQ6SfVLU3sLTVbX9uB2PSgAga082a9eDYR
4bIEsrst6ffaX+MCANkIlGlarYQ/flUrw2zehHWzU32mBvfIzp46w7UfgoVkLhYWSPA+P0hWvBgk
r4rCXXoHD8FVx+RvOk0Rv26yetiNOGaFubn/ahgr2agAw6jcT3RNllocvqm1xQQ7nSXGCprX0nDm
XRLaRw8/yJhR4SZiT3b+NWTpBobikMix122bnqMkRPSxuzWlfcgdOGB2eDtAHJu0DE1kxIAZBUTj
rjM8Yu9E3jlfm8C7OvihPoo9TIGdFBTf7XIp2QLVeyry7WZxJziQ6W7DeqyIYPUeDzXmaOJ/Vw+q
D8EBlYfbQbYPThAdiwZ/S8647KFyWUbTo8pkepiO9kGxcULrODWY8KpHsUvSOXZMsiPfO+X8kfve
XRSEu3QKzjhY3vSeuStDdr+5fRKJhyeuv1Uzvp44c+hIDwMOoWBKDdjZ9yHhypggAKLSyygMBDcE
EAeMkvYC0kaiW0gc8UscZGtPjGyc5lLdgx5V1EkxgjISlKX6TY0YBIiQ1xrB+DivNgaQ4LET75gj
XLMGz8E5+J722imYgLw1VviM48AWBYmHFlVO03Ezjkz9Ke2DlwSwS18nj+jP71kvtrFrQbPBaAyv
gXHOH+Fh3xrS3hUUhtTqWfrpRyaiFzuzj2U57WPIKQMbpMpVOUrGK+JUWs01FUJ0KkpGSKGqkN2B
YjsYVG8JIPfczRh/1eYmFXmJe5VcWSVyImqMqu3JDLqzMYLKYDH3Yiq8LFkRUM0wK28dJYtdYpLU
8KZkkBci+hwwtEB4c4ksPurT1QFNLYgeVOrx2JIVVHH0FhGUAapUf1e1kJDQfYzGzZwp+MV4HLpB
HehDYPBuippmM+xTNuTG105qGUV7gBxobT+1tX9WvdCRbat7bxNgi/LVkYKZaMFYA8xzkTZVkEKa
+37w9hniDnWLVhwqfxGrdI7lvVr5S+mDpyERlYrw2KT6Z0xnFaHcmAa1Y9QeMldcizB8iUkcBpbs
CZrCPWS/rbCHTyeXF93osd8eD6lbHwRLrcX+E/FcQSYODUJApgVMh7V9tM0LhHR7Fab+LsFggFKZ
f6dyoWFrwtvP9yHLV2A1J7U72Dmu8pbB++8IbF4dGW7+0UxDJjt2zIeo9Fid5x1Ua9Q1psU/wjg1
Ewgz80M1ldRVv4XU///+t//zP//3c/yv4HtxLpgkRf63vIP2EOVt899/d/7+N6JC9eru23//XbqW
tE3OGcIzdCF0IT3e/3y/RHnAh41/ILIRRyPMlTMdiVdOWmr2Xe10EzdhsuTYRrH4/QWtXy/oGkLq
Hv9hys0OaPzxgtZkdtSkZ+c8SfhweIZc9Dz8/vtrGPpfXMT840VAr0EsnJPyPnQBVPf+fZeUj5E9
LK0wY5FBhyIiv9egFFX7p99f+988n8XzuRyXpGu7+i8NWnZ12ZgAv85hHizQ8C44kPz+CvafH+5f
r/D18P/SZYONuJYn7PkMphFrV+RZe7Hu6sPvr/Jvn8NgTFimbVqG88tzoP3B+W8Q8Rn8H8azJrYS
HKD/42vYnu7p6NhZ0jGFetJ/eRIPE08NNcwRhYrEuEVgOjlzmiv+0yHuGrZn2C6az55ter8+SdyW
BMh5CWE0QRCW8b5MBhcMblzeDbVz//tHMtTQ+sOEcg1HmIawdF13deHJPz5T6aHRI3JbnvIkOWT2
o0XU4jQkFER3skATIQgld1hTAg8NFnFgPwa5WP7+Hv7NAHEs07IMz1QtK8Qfb4GDeIFHYU8sWAeQ
zmb/RR+6Yw277z++jkQcysW4hVbVf31UvU0mIUwhTwOygsumYzFuDORoDcsdNv8flxImuA+bh7Ll
L48EpF4kaOHaJws9SzSIk+HS1hEmKxEt+h9fykN00rMtA/DlnxYow+yCNIzG4dxFOCNETY2Bk/7m
doPxF833b1Yp07YNT3WUwwAVvyyF0pERoDIGpuOgK5Pa8hhH7S2mQalc4hSzsezxwUToJGm68i/W
kD/Pbi4tubK0bZ0n/WWUTmVdyHL0vPOEuhCKlCtAZL9vRrU+/HEecAUX/oNnea5p2L/MbSxSi8mz
pHcuOS/41EhnUpYiSFQxwBPnHFUkfOt/f80/bWYu16QlPUmTSobJHwd+FrWR7bS5f57Qjutz4I7v
ysYM5ay/GCP/5kKO5TCzYDpbphSqef9l4cIfTXMGJwSGqI8Wh/HBvrrWoK/9aTC3edzZf9GYv85o
W3eYZaYhHbSt2Td/acyxDX3sOrsW7vhEClxrCGk7JP1wFvt9CxpqzP3SbY6NkqSF3q5axtw/Ptls
R7Ne22NwX8BPihtr1wcgigtDkIhFKBoobAb7PSHLU0BdtmYWmN/fgeqjP9+AZbpAO6XO4PzjDRSa
1iBpaKVndEBCEun5dCinLqYsKsPlOKaV4sV6f3FRw/D0P08Jx6Jxwb9/LWe/bhNNGXWuh/PSCdeY
YFn4UO3bKp82M2fNTZlY/rKOAwQ1EAW5HTLMGkIrLjclecenkOGwbDSR7jJrwsBb763N2NVPZT6A
yS+0uyqMTlXnrnHUfpbkW0PXOhYOxIM8dZAraFAvkjU4W8jmHM1/1LatHB8a7FJFQmYa7se29ftm
V08lHOk+XmFmCTJj4J8mCOBOz9G6M1yc53ujRce5V/JRk3eD6Db6HI55mYLynV2PpGBM8qzWgQZE
MZ4ybTlfxzp4VzcHOfoSGD6CY617S0LrYbQRD0Eup0dsbcZUKdpbgflaxM5t20/djmgc+VK/U1jJ
AtSLWXioLAX2TdqTCmjQfTo6lbcrtPYjxRaas4iOd66HfomT4mlHG9xIN3hofetScdYkxvDwanU2
Tt89jwj1NQg6I3+5LrP6EnWyp7rR3895d0IduaHGOHkUcJITfK19oHEXoxlf7cR58ytQco1NOd1f
lrq1K6ME0xuQTUlPiqU8lREGFHoGZszwrtNgA01v7Q4y3oDLlW594HZ5krgQC81/sGbiqy6qHsco
ful0GMFWWzyX+BOCRBgjSOXOQegQC4M8W5mw+pdibN0VSP53dEPlt5Asu1W2Jx+LoEaIN5wgdxhz
bmSfr5NIAb8mcJV6Pi563+VSc1vod9JqQJ45U7eKE4MUXb3LdcNfkMOHr5+OV4LPQ2i0Juh95K6d
cjd204sM0HZTnp9xVDwZhvGexP23QUy3AwxKREIOfR0+lHlxAHi9SxB2ycOkR+EFQRynAp/ajROc
gMF7oPiwzVFwyNBZqyk3uZo8FoaHgo+1q8rgGLUWpNQaPDkCo2V2qsvkse6rNWmUXW8+S11HeExg
bF7vAuhKHUZUhgbl3Ayf03i+G2bAeAaA9TI6JHp2CHxEyDwYt/DEqrbBFJ4KCRmVuPhgHVriiGDU
QOi4mBYBv0MOUe8FFvHDrgqNm4gioC1XehocQms6VzVgs87ZBXG+sgftTiblckJxysoF8db/Y+m8
tmPFlTD8RKxFDreds93dzjcsh20ySGR4+vPJc672eOymQUilUtUfxDcmoO9R1sINgqEKqhf8IbTk
osaCtjZ/50QpcQItzGxEvdDaF9UJcRQ6N+7NqMGC4u6NKJBbH/GOo1XlflS2hv4GulI+BXjTLSHg
0qtBdPTmmMRnGBi4IWrNTQ7JWxKBQXV5M0sEDQI6aR137+6DGH0dZ0LvLxgPnd29T1r+5qLDodnh
y5hX95pp08Ee89BLxrI7dvDkQnOzN2k969FAMx8+X0oznyO9nPulP3QUA9GWiZGjMorpB6DnAFR5
lmApmu6ltpg1Tj1+oSYBBirMqPrB03PjCHanlP+aHMU719mnXnMf2vnQRv5SKh1J1OJAe64xvkcl
mFaeJq8tHaw41x+6VC4nIpiO3l8qrXCR1c1BJ+Fs5YwgdYmEHIbl2OIus6LdmcHVtw1MetOTEcpL
GtEBD5N6G/QNaTLiJ3r2MNXg13WHAk6KwrSFviU1x40vm9M4YpbFHAw98xWqwZL5Smeqe9EzhCsd
tEcWFUUUvFacvYM2p1N5xp+edfgNL4NOF4bBFLCFXLcUQGsbFYrMXqsHDNofUSCHg3BGAglHT9ul
hkiZ1PHI5c9N4l+J97HV+G8ubl7MECRjMWBBBx3H1ck5pR0eEggpVoZzo+UYYU6Hng/mz8Qf/xsl
hoMHmEMgClqPI/0Uk/M2xlFYWrSLpilOIg63M5Pd6d7mZmAh4zOjIQyOAzrVrCAgAkp3l/nMBUbJ
G5Kn3GiXI0ph+vxK31E9JvbGKipYFibzNL4r/3Hk3Ss511YH1RyVz05n0YbOVzrlRat7mfh4bqDm
hYxED0WqSumNp/pXiPEGVnCo5w7+QlCeWugkc+SSKGqA2zeM8hwEzsHlzlzq2W4NtIfV7rYrm+9W
/iStzA+pUbyPdXfwDXzc4h4ISYAOqn0PC+endMdVpSHC0rowPmRygjh9VTq/SRpsZV+sMjR91GpN
pbf0RbQUOp0cXT+rqmACSi1w+qNuyauo9SVU2UsBKjbIxEsZ3UUKUn/OkWhuwS+ExbCJhluBhugU
fktkZ0I2Rno4Z6MZ/U3jo6ui9zOaj4AxQNtVuHB6880J8AbL27cpETR2jOgUYqU1VfAbHOTDOpcm
fmEcuwEfO/gn0I6qS1Phx9XiDwnxq/CavV74r5Xlk0QAPoXSjuXuZZb1umtbalD9g1oSMQVHW5VL
cybwOBQPfZXcqN9ubcxCrMTCGQpfxgIBPXbdcZUXFMyTot6M8UU3PifWiZqW8BWQg6BDxp5t8vBO
co2q17TKDsCbPmE0oHJvUmcW22Se8J3AryrABSsNNlDbVSIyPdbGuNPwnDLt7Mqm9pwP4EK7BlP0
5KvQ9G1WIyAHu1ZO2tHB4qTGVxpdh4UYP2ZKeFYKyRdaeOWi0djphx6OqyI0OhRq1aRFQgCEjI/N
aLzspXvIMz6LaRFuUzP12UI+dn55QVhg1ehKAgoXgNQrt52m3VJsxcruStttXQb0IKrROTLT1d2P
dgYLDwkytFT6FCNKK6n4jIIUjuN3Y4gHfKDOvplv8H08hhOqtHF81GS1G3hn6p7paa7tanoIiv69
m6iL2nDzErHREBKZmEI4024b0Iha0D2ko/4FSapFcltn34i2pUK7e7Uis/V0mZJ4Lxl8s/0s9fDo
k5NtkLtawtJ8DV003rwuSYBS94dZSFxyQF07EOHV8kbUjRS7QAuvOTd0HTQzpocWGitaZeBwkuXc
BABqEt/YYszdLZtyRvGVEroBqKkazQ9hZFjf9v7WFuxZzgDL0GI/0sA2WaLZxfl4wKdnPOW4S52s
CrZXyikJQZxhbebduqXK7/IcVXdV//hBf/WQ/ae6eglpSuvseGhgTVGB361FqkFkmhtsgGKa5mPj
LO0+fsc/eBNwIFL7kza390za29gFS+oUtynxXywaFbMdnmcLEBejrAwfyqB5kGH/6Oklz+wQPGdl
pbTFv3wdeojgef1JJVfIW+M55pL0CJQtV5krHiyjezLYFQoTOl/oP4xeLhCe5SbSgBXt0IuABzX9
NB3a4lH4iSXVFkLWK60INCPGKVszXGC0zPQpiaMD/R97OSB5vOxNqhgBhOEH8tDd6HYxGm7u2FsL
iOlYUsAJbOPvQIFec52eE+YKmSl2Om07oKOffuj/jLr+quH5u7SJxk2tobgVNpS5UUgdGrGiWIW7
RtGBnfSNS9IkF2oEx5yuqJknJw3zGIP53MUSATfrgpAb2oUxkWxkvzRKmjVeSeGfXVVi2RTDm41B
w9n+uKuSeDvSefMq/aEfFPDbJKnqJ3BVtdcs/andmokBXKhzU7E0fTI/YhUSeOOwDrLwid1voQc1
/hPp/JkU+ouM3H1ddSc9GO52aK1bEBugZdd+6qH+nWMKie7JqQDKm1WAiGtHzYxCgXcwFWn7X02X
QAuZuS2I0dI+tkG5p6/JhJpAz7/hDg8YFb0UI3+0nSsK/vPC4GAigTwXrXWqjVdXQO3GwwwRmyVB
wGmMVVXmO82Pz0Gt7YvJAtArwV3CnjNcopHcZ/q3b7sfsRUdOe69Jvb8FIf9RkO0e6sVpCNQpk9h
SC8wVGoIprFMgSCKGVQhume+Th8gRKAxBjqJuK/pdp9+RAXN02DdFps6zLYe66PpOGBE9H/H+DDr
dJ9AfTF8ReYc2mokMepQXYj26i2qiWYWVr8YUmddpc0mku13DxWXGh4kx2SRxtrVwF7J6eVlxqCj
xNt3KEKEcGj3zuMWAg6CTs1Kj0EfZ+W2CiANReBxoXSbJaLLfm7elfYqle+Vq9P/hSG/CH0E3xvc
zNgk1Iiqq6tvc4zyGWOOg+dIZynp8ObdVY2lZbxOWU3j/cdCHtGmeyraAEEmLOH0Eh3CEFiZs9F4
Zx3xTwY/GRZiE216DYc7wxXHSQ70j2JMv3EhO8d6tbZcRgvMwiaRI8OZdveBJg0a0FkWPU9sE3Xj
XOMa5zfCzRNDz7OX9t4NhpVuWzsrq7DBDOGii7WDRveqDy3lXBZ/jdKl/AeG0/Ke3QR2YYSbxyLN
HN5AQTfWDy9sgCY4czWeDeqbmY//y5ygqBSFBzkrkrDfH1PdZhvsbhPMwDbEGtOsV3ZqrgMyHVLF
dVbZr7RsEZZA1cl3UXZoUCJ1l5KGpvrXazgkE7jaDM9ITH0RvdiW1gyeLH1FxP3HpJtlKLFJZvXE
Kk0m/2FO6AKy+0U2hJ0OqoNzzSNnr/aRnKVj8CC9h3ucJb7KpEf8amLEyL7QJbaHYBsO3q2uoYAN
+K4w4yZ2Xz99qjXmMhgGHdiZJ7L9ALE7rorXwWA7gRSpnh8I06bSkhcrz2+I0jFZmwdlCBNnTKGo
fOjw1ynbbGtUzi/rMXJxyMVSM27JcahH9MbENyEu3r6EgBDI+Tc+Sz4sXw27uiLHQiPP2OlMarWf
9PkNS6c9ZVYsrayVkhXlTyBnWq+pVt5KsIlKJFaFhy5sP+3O+wz0ZikjH50ReJj0NRB+RIp9gsvX
Ia05nAR9ycQ3AQyemaWGn1wyeJ+lKw8zROKot7+ywkTilaKVDxLMgQbqzgg+xah3hwiYeUrtC7nQ
yGw4LvNK8g5d3TI8GN2IH19CBTvaW0l20yUVAOM1DPvTPOlApZrHci6UM3kFRLVo40NbSBJ4Tp+N
Fl9k0bM+s79xVIPUBgM4JiQLsEJekfWyMJP4cfC6PSXrX+wUQLIl5i4O2rsRa91St/1wKQC4r5SS
8Jyl/nIcp5sKaIELfQg1A1zASdPTSe5q4BMGfQOEcIDfdPHO9nP4gMZzlmYuuE7voM4AI0POMAVl
cYncdN1rKDzTvp/AvlWi3rFaVrWA4asukjO9IJqSUngQ3B350tvTRxpoeyzGvuIm2AVIY1OvU2S2
8NkvAeVZHam7zOODXycf8Th+1NJ1WPsZ7efomhOVE3SeTbwUq8D+CRJ9rd4zC38SWNQ6xWHw0ueo
GKlZWRvC6VI5Kngy31cmBtK4nrjkqfMw7owGThfPw3QEjrGZ0nKD3OBSqSwHVrF1oIUCGUH4tN4r
TxGwVqhNE++yL2GUnDLhJ4/dRswSabj0gLrmzZuqryBvl7V19qp5JabmPEEjFiI+9N30FQB6YGdk
s24ilma0U++wsIYltgx4yq97AtjgfKoFbTTQvk0r2wVeDwoQECFLlwHBXIVXwnre6cg4zUobe872
41+RD1Y4uXyi4OGkgygFNqcW2X/bja7gY1AW9X+SeHp2SNXj2l6r9NSgQKKR9w4aRZXKwSqv3vsD
K8vLOD9M2lodlzSa/VPQH/TROKitigGQYrolqLyoCDjwKwPomdJYxmnhneAoQbSEOEd2YXUZXBgL
EPyGOH4LJ0TA7PFZPaiedIhcw5cohsuQ+YClcUesXn1OyBG9kc4AXW2i8m+NVxf3Qj1rO3jVU7oQ
0n+3RwFIqIPeQHTTZg0LFk4oXbAaWo6QecqDyEcjNGvEF/0rxeRdIz50C2Ru620arNSwgNwXFmZh
wLHczMOaAP4ztTBkht4yk6ZJ8hZBpLKmGLlr95B423iSy04LkdQFpMXsae320cWJRmm9/jpTMizD
JjwkPecvO3qam+yFZsg90fRLZeevE3g6lCigZTogYif5O4tuX+YJ7qhF8Wu0xXtWpOSXLBkDox+r
AIAaaMTRHMeHWCBt1/UPXocqp2xurZafTR6ysOedq4Vw9xr73NvpR9eZJOfdTe2eaoNinry5ZXBx
/OHLKvWXItDiVZpg6kUp95E1crHn4RMZyX02jph5WNtuHt9TVBDxF7vUXAnjl6OUI8jNNHbAww94
bpk3Cle7eBa7ZOzO2jB9VHOxUoFeTvJQtqDC0+nHiJsJJS5Ki2Yizpae7atpfCQnKBalx5Gyn6kC
ioe5wEvKkQ+RhdZ2ZIFaZFDhewHjMMbDaOcbtUR7V7uUHHczmdxcgXpslo7lwvEaVjVXtXs2Klsn
EbEkKa7fBT47SbovevyL635XaxbzEO+1LMEwJqjyE+CwLQ6Hj5LfGF7N8UHU17GHA4Ql+HM9w2EP
DbLIpq6ADs8gdTyCDKWrg5t7L60zISfUfpiaeIQe+dZgFMXa+0lnPP9g0ftDduyC9BFU1nl29et/
KZL2KQSpdh+T5RUN7kwgn8cAMkCniSOHrK1TTHsNy/l2kFAgZfmMEtuDE/SXwWjvQdS9l/hmBXgH
yyI8523+3TFj/T7dKOHuGH7XopAA2G3tZLI7VnocrwDD5ahooeDQ9tG5kM3Ft+MP6vToVSDTlQxn
V58erLoAY0ftqfGBHIrI/OmCfgTibH52U/vKRH7rQ4EWeszV+nQAo8Sa6Zy5W4Rh8+XUXkg5B14Z
yWMBnt03rfs8UDGb7fhazDl0K8lRprHhXYdbFaNTzKlHv3/C5mkpyWElwurUq3VAn8Frm8BYCGl6
WO1NzmiW5O2jSvtcUeysWpIpVBYVefM9cMqLJgKH9F0/z9N4aGakYS2yxGqC/yB8SFd62n+iaU8W
kiizdR2qRxsg+lijt1hn4W9hy5XXRHcntd+cEe9GdgrbsfEJbkGoeyg2WH68HoyUWJH/Glm+DE02
kXhwsbwP3T/PZWQ5MPngxKZkq2lqwYFH5Nzrr7pGbdZ2wqc8oJ/ctbhCoAVoy/qQJ/U9ciponJH+
pEfh05TL554q1cJrbax5EDnynOQ78Xx8qNMfROYeXTapDlkfIm34JCk0dXI411NwN+XY89XxPVXu
BtIEi2b0mwisG+wokGrTjAYDJtheUtyruDsKnJRym4PbYKFDhLo6eVnT8KA4ZKqV1qDvzbF5l6AX
ii9mc+6y7KZeTKOqAGONtgrY34mDJLZQ7NUdkorIWU01abHTPA9ueLQLMFrBjDpI0Tp0ZmDemXgS
zmMAeovUTEhltaDhCuZNKB3I/NVXxiAeWHB09s09q4wiY5l9qPxHQ3UVsbUD/EucU3LOHyby6y4Y
X86tqL2AqoPmZUdrrQMT6slpWgdlXC4DGyM9xJteJbuWWaB7kjvAZ9Cu4TS+TTnRhuideP6wGgBv
2Ml0c8r8eeiqhxFUr+92wMf7nQeEVLZ4+/nmm51577FlXKqg3oisOlLyPqPGWsJ3gdhkQLlwu+dA
iMfKbjkJ0CCq9UFwTPFK1GzglfEKqyS96/C46tmhAJOMe+Sqca7veQFp4hMa/DOtynuf2ue2K8+c
O0hZGlvSzsPhJS3O3WTtm8Yqlj0DbWrIj5kGCX5CwDcFDXHBrkWNUidVhsBWYONWrT1HmScQIJX+
/+whDdIa20rCBGng/9ldtM/ceJtqnB3mZpKrEoXLdKhChLiGXa8neJYL1FLL2flSHePFLCCJpTbF
04QMXr0kif2Kr3zNbeOURu6ygduEffhOelYK+BsyYJX1770Sh8JFA/F84wNf5MPsF3tIBUtfp4aS
tFcTGy6UNVb9qBE5AmRVISpYaviE3Bi6uQGA/jZG5UcqcAxzqlMZVA8o5X50LbznIr+XaftCKEQA
V8f6Wfd83F15W7Hwr7U6J4z5Q9ybh1qf4KqJHzUjacbtiiB654BN+cD9xIPoDGkSd2lsIfPoPer1
F61u1o1ML/SMn8VAx4gVfWpd/TSL9GrM80WHaAPuFEFnv7jAicP2Ad9r5mX91BDPkkLDa6189BRK
v8IzcOYcAE3x1HSjguFCVG9BZAuz2reT9TtBndVkfVR+0bg8/fPNem1FnNLShjoctV/IzLAH4GTK
X01C2q7RekFgptj1Wr2SebZNMox3ix54PfeomTvdlLdKDz6rMgXibzvPTYg0X6/Z67E072zxx0jt
qRKkrOkaOEOpN5Z2XySglJs7Wo36VC78joxH4s9kwToSI4jZPHrOpfdvNLNLawT7yB72A3zQRVeg
VdFgVTiPLiRL/rwd4WcmE7jr6p9KHFHobCDCGUfhQScyfDrMvSWbJRnudwDdLvX7fe8ZV1CIK6Y5
aPO0OTRomS8m13sQTUtBCpQ7O0kSgDydh3NG7w+FmUcNRpyraZgj5eeJGwMuvqY5v1Hz0qDQUZTW
zujY4SJU51GPZQkUyNiAlripw1Hnddt8FD/MwUeRGmc55r+iRyhG4udAbiOWzUyoc+Ep9LJ8TacY
T/ZwZ4rsUMiCrcWBe2ZMa30mmZ9RyhMxPSicY8wOrzzQ0W4yf2UQxfBAq++tR69PpIcRQdkRF4EU
tHXGzxHI3dKol05gb3SvP2OmDQsk3/opKFG4q1R5n+c+3hkW1jaclWtltC2rl65pv4s+ftLxZBhl
/dykET544Aa9wFwivvAJkRipGQsquBb8isQ4wU2AZ9oLFKngVjmaoS00s7oLyFVFLX4LmZJ6DjDg
eZst5IqCbX4y2Rk1yufmlOD95SBhUo4uhGTnF2rZd9wWnwItkIUhtI20ow7XP2wd/LY8FrP95Gu6
tUBofuN7ivSZmksN/Us/bX6yQLy1aXMukvQ6Z3TOZettvXG464m+7VLjOfTdL7z6MGKiMbtEp+jN
KxLoNETATM9uap3ONBiWfeqs2kA8YbQHuXQeabvLnzFU/asu+VY3IjPEfc1ZFfVxH0q0Bq2DbM3J
8yeJTEAKxt0FdRNXgzLq7uHytJRhJwdBrJdYgrHgr3+KEFNX3ElaOlyiau7oFr5FHElbOVw7mwp6
T42k0upDJavDFPeHQrOvrJEPEVbipDZdOxnBQXgCJH28MhAPXTVZVmDuUP0Mff01j/YFDOLRx5M+
SvEEjSBe1Qhxo0b0Hegc+/MQfaNa6aKzt6/iNjpEhGSVNceOjr+PG0MVSx0mSIf/ZNmFX5mWr61i
+pc32ncTpUi5lSQ805zs/Lo+FKkJwzK5lU117dlqNHaTyjGekrZ4+nNGNpE5MoP+KbG+jQF+WppG
r8jlOGuzTl8Gmv+DiK+uMJ4afZ4/sxKVcx+35KH5UfeeSfJCmoCPddqenCQ72Gl1aFPnIc7FWpXB
SWao4Ds92aOS78LhBmFrvP4ilez3xaPryg8rqK+dNHeWX2xLvd/nOv4BZez2qPLW+9QfHjOj+FZ3
rFfuUbNHnOuyU69BRCbs1r046+3wmzgFSpBImL20qAqD/39VFr9qo+F+1r6wfvxSp2tY0L1HQL+1
yCmigGZ8qtPfTJqLQco8pLG1RxdyXSaIWEVwTjIdKVoXjdBcv1Umh0ejP6KwxsIut0WPmko7aRe3
6T9MCdu5cT7wJ715/kyNwKCY7rdwy4adcvnSCc1IfVEcgtoflRNq0CONL9dzT8htn3TKD5WerHEO
bpdUQaGTN/6PRAJqJuJ4WnaHHA1+fV4mnPUbHFmVYaAILKI2Pei++ozETDHSS+95rqMER39nxqk1
RvtIRZPaYsnZwU8eucUKmxhgERib+n3AZwhv5CPr2QzpcNYojvD6se3M8ZpSpwt8ON586tQWVZVl
CU58GflQdHoGr4ncrTaYJzg/3zRFFmVcP2qFj/ajAP0OHqxL04WPVfjKc6wHqcm1ByCmbUErGAPH
p6z55HCwS2qKuIn+ng+VymbJaoD6UEjJPH87EDZBvLH5/pjdGyEO21IwHt2f6ZzFWKozSYcxOOOs
5qQqwSKTprzjqVtSRCi2iUu5G4jUKJ9U4UyFccrwPr2H3It2WYBI8UyylHbPXvCunJ9yY9rGDaaF
wB3woqYF14/xlVztgS+qBvxf6HrOg7VSLoc5hpB6HCBlSf2ArGyqtQOSNG2CxG2qhBMxymhfLeJH
XAPFqNuzqrCo4hvUZA3optVXO4NNgPZLEia7vAAVkoVSLhxYxPi9uga+Agh8ayAVAhGcanGboOGr
p4rs7iUaGwqIMSKswyEUl0Jqx3GyzmqqCfw7FzPaQ1BFURw6M9XD4u7jGDVAnqdXtDGtcoVkPSUV
nBSIi8i8sN+GLSdlzL4YJYYDNoy5KoxbV3t7m3pKCjGancPJMft2zyp5QOrzwaY3V9jmrjbQt5v7
k5FQY8huQZk90Y+8RVWPFiDCZXP5p9uhGg3tJhAwKAeXQTZoymK6GVzn1qMbS4ddeDQvAIVwL5g8
o4W7l5x1LPPcljW8o03ZleybePSk8V4ZiSJ8MVGn3NWR0qinr7ZsAQJhRgW+wUrsj9KSK13p+yIQ
wvRR9Sq2bs8DN/YpCyxmdy3HKNQHKiJ2MGCmmi0RY1kkFLyEgJq8s8fpAUcYdByfFUxAg/BTeLDA
jRV2cJHLmZyfhmLbMFGa4YkQdlMD5YERVhI1a5E428IvdxNTgpEznWLHJ3QmnLov7rR0/im0Cl+l
JpYyUpsK7z7kLeI6oJ2oGHTNsPV1jGlqM0WMIVt5PRIFJJZq6rdDfvUEhpczogT6N0TxQs/OrCMP
73WbgkRLQ6YpB0iSX5GJNvR/o1A1vwGa17G/UKsjQLKBj0z0B1QdvqXWb7notMBqd8/MWFJ2hspt
28dSjD+enq/5Ff32Z/7B7NDU8JocgYapxsHcsQ1YPhScneozZ+JVzcqUicsq4Ns7aoUhAd1E8p/l
z/8JsBj8+6T2QfsgYzqhr6yzDHDQS+8lRE7JPutixEaI37SqIsUhQw0AYhXqlSp/PYyMiDfpRg6A
BakLRfOh1LQntb9XaCxQyT9mwEXKtFgFlJ/5WrUvtvmtB5nCvVTBd4SoSBG6a8IGw6jKyMwsmpas
f5QGEljJ6XxXHRsFasDdUBRKB9xdsIZVfFc/ug1aKYghS9TerV8m4YSJq+ZDqUs3A3gz3Lu3HI2p
nL3i4atS27xxr9S+uR+fB4zGN76dUVXjoY57SQCelMnJaNrJd6l9ajGmh6m5ivlFQDrRDoiq0oVS
LaKZGBMC/cRkfj0biHoVSm4s01DCLYyLK0J4xrdS7OU0XKPkWwaIrrrit2+OSfsKJHQNP/Lsgbbk
8VkjEqyk+r9/Q4y4IIuS/teeJczG8jig/6DMARkg6eF/BaJNaNFLpWx/iYq2p4iNaKG98gf8B3zC
XjlYINugqtyYcQacpRtEzvmlwdNO2gdtX37g+ipwWpO9VPsET+7i7QhVA3OvHTfqMVlL+muO9wwd
ZhUMyZEV1WD9q25UWQD/N2lZ2er+DPjsPts6EQyX1GNWxV9IjSfdc6na7vaD3b1pOItKHHXVv39B
mTO23b+rzNFxUS7hHfvlnVtTIiT+P7YG1XrWjW1tGhiYoO0dxzTZP+mDrGoNVvNs7+LRQLORugCl
vZzD3jy95PBNCRoTnQIuoW648KrXQEC7Jgz3VHGdplaxx35Rtf2sRDrApY/DeBToWWC1MSE/AKrB
Rf9diWaUFIJNdJdShAE870UDDGLE/y3hhhikWmgO0VT5tWXeRpbdWlpqOTNcPb4KvGI1PZDwaR+p
eG5yH5Rl8M6aMJJr1qHnwrDwIRWoWJUFqQHir3TfKaUN+HYTOBg8hexSgWjAczIlbMr0R31AhQM1
xbWPmPSJsVMxXT0nUQDVGSaiMrLW8ggfwG8rPbNWIvT5xI2A8d/7415dMnEDaY6ApTrNw8LkiUKE
nlURRJCsI+DrdNg5h7xQxjsXr5XfbdVf+awh+s+8CkCrXAnv7ac+ZPV2TEt0nDH4XCkX7SpcWz2F
wPgSz+jZqkoQyGiu1bvw0In3IDzZpv8LXaElt+oUp0EWxrdioWOXyAj4VNIj+eTk0cFFcZJH4wu1
AOQ3L8EEw8jbZqCdrkUMr1ubZYe+wZw8tjOoGJ0jFiGFASLqsSpYA0PqPgXFEYodFhJsBwRUaUDJ
xxIyTrYBO7mtvZjaWZnkYi4DtBQzAaYAq5bpgS3lotWpOjCZG9c6s5zGSH6oMz+OwWpttBOSsSoC
qpXmXDPARWn3aZCKoz2Rxl+Ez27UNhm+vFIoJTy6xuDClROwWewqMADaC8+TcobLRv2Q9iVw7As0
y7XqjarRTScKA/xFd1DukoxGyJ5fjNWqNa1zM3KAF+8q6qsZ63CSbMRtCPEdRvwoICltWn9fRJ9B
tImIcg1HM7WSuPNpDkDvMFMjRAxQ2BIMp4MvNzkCycFYwNOuPx2kimbx77/R+O8pW9FeUHPHTuRN
fV02HNv0zNoH6nBC9HXVOMFWxRyV5qmDV4YDItkRl+Cs6DT/apXy9jdilxdeKF3GIei19ofR/lug
4SVN52eCg7qGKfylTrjP3BvgiUa+O861C0+itJd/X1FwZCRtSpjO2MmvYpSMyYCUoXeEpq9as5n7
k5ru6c9b/W99BqpgN72I8Uaup84VEGiRpLGPkZqolX8wJfVrDQHKOVjzKn0QG2qpqcnF/MTIcKXa
/2oBMzl1PT3q5F6a+6yJi2Bk3RkjE+PcAecIWx+EPvJEtDqD3jvP5VXddWeiKMLoVax99aXYm5uw
wEM7UEKDTMN+fvcjhiY+WpG5JVDnhAI7sv4xx4wuozOs/6UrBlaZRhu+GeZb2lVrB4CbuqZllXer
kW+p0B8t3h/+P7puHgsgKUYFg58iR6lFJ026XzSyQF/Ck18kStZfK7UXt23umfbkDdjAOO5DPbjP
TNRiZGtOXnQatiZiDROVROak2ichmPCa5j9v25Yauq0KAJwcmWEq05D6RSVFKrKQhqjYxkO4sbMf
GyQwmFHI/MJY6HZtjIZDZbzSnroN5vnPnZy8TRlYWzgUgVqiaNQUxjdTowEvpCOyz9psdyk7uj2H
9J05bBfdhfCitip2LARsoj56p+JAGT17hYuzUZUz4ZVr3N6W/MVkvlo90iFUi9Gm+ltBrGE5vSaY
YmjS3qEif1Chr0HM7r/Iw9pgTeMRz9yQ5MdxZG+LYQI/ClwPPUwsJpaC71fLN3SCX3xFHkx6rJxN
gGYKc1zmldjIlJIIMhAWaTAGwFeVA3uUqyPL2emtmp2tY19kBvJVplu1mfhMJtJKo5Mnda12+nC6
NxUC9MjZpv0HanFqQ3HYTGsteuVmzZYTPWk0n1KZh9o68u4zoBOJtzaB88scznpdXoC2vZTUUDjW
rAOpfLGBNBjxFX2aT8aI+ccdsWdJBRokO2xxoWdj4t1xI5HdbEPxBGhIZd18K0GQN5xCbtc3HrAZ
izzirwSOXg8hsx/G61wdRv9NdPED+3xSvTqoxqmLc8Wcon8izSPX0jE1Cp3ozC00PVbbBnwf0p+R
vNqJ9KNNRBdjjPFFT5vI9qgdq6+n0ntG5mWhDvZT5Z8yE5gmxFCyfCKMMU57FaK5PD/9hRAmx19A
5LUGSCVDYUlg4KvQ0XY/7qhD7fzq/JqDsKETxJpFGBHNpxNUdDYtjboFigYUX5L2W40I1opsluQn
Id1P/HnAbW9o2VEpjejrtSs1xyAI3GmkqwHTctrsJHRYaHKqSl35yaRV747+zPQZ4m3SInv3/2FQ
4XZsql0clW8S22HGXaFhiKlE6gIxYfUgTH/g9yTXkf2gTl+Z125T/TukyJCqSJuy82vYxWl0KkS+
ydprGH+zXapzCnNb5zRKmOMwQFpUZV9M9IjxIKvuOiryaI6a6rWX4wetvcehEDueNwXYvPCn6oVk
qFTqoGhVUZyri7eEJ0BzkMtptvnc2mhZAFGExrcMhbOrYGXwsCl/pO6LOQaI8KcR03OBrLJTlmsD
iPHYMcGDi3pUw8Woqvmo3QCz40M51usxIDgRYGbK9J2OSx7nckZDsnFSS9jhR6L2Oool3yoiM7h/
yRyC+ZJ69t+NoqON6lXADs/bVN/ZuNpu1MnsOb+qZKlAVlwCtlX5dUK1UIU1eh4xbWKdMxJo2QSe
k0o8/sZfv5Q6hODybnfXzqX6Y7rYnPf/QIhjH9rKdTYPeKmMEjHcsHv0zfRLLwDv58VhpsDiTIBW
W8gwMac8IY13jLcPAZ7v0DKWENKBWOnYPEdmBJ5T4QUAFMiEMptOGVeRrC5p67GFmzZCLG5Nt0Hv
7qbmXdCkerKtUuMs6DymNgSJWQA/FwCbYuBVE7pAFavYyOFfOQT2GBCiU+hfZSkRsqMJr1c+vRmH
ihCJDPSzhrggAOYkiBMCLt6BKrxOvli1U3WyWtZd7KUFarjTuJqTQuwnlIXmLP6HC5GGlFxjHxud
RncbzFBZ9OArHorHORlBDbbwd7zYvyaCnhxy/TEQT8R1sEPjoqH+oYVMSUnNG//fYbxDSvlX+pXC
sgXeOqmc/tGkQIhiMX0tpEz/uSnw3IoHu2O4gqwrZZxcBJiFjDQGfdcL8f8Kp6NP12mZ9TOFI4AL
i9o2SW8KPKDq0dl1c3idE/+ntof/8XQey40jTbu+IkSg4LEVvREpyrZ6g5DU3fDe4+r/JznfOZvR
tAwJAlVZaV5zrSE+gI7JP+12mY4LqO1BD65BgawfVk7/CgjH27wIP6MQ9b/FgvNlI0PyoDtzAuBM
uxkBdBHa3EdAd6gaEe96dFn8GHm9uQ9+23MOYNjqp1WSiaZPgzOSNS+/y0BRWmdY6tQhoH4dWow2
FxWvhNBfMSbzeTTml9id3vV6oqBJInQx0BijvS6avs0n3vMw+Ez7aCARArShfhrmukfOOKygvzDd
28da5z6lUXH04hDZUxD7IOMWqBMKB3Dm/rCj9AmflwZuP017dDuNClMyJGdyD45TWIX/HJRud+Y4
ew8yDqstJnpI+DJX9cdd36SXONbidbVgGTXq7x2f2678J8MawFrUpXfFmQD/8mq6aFbxSgsZS/jm
MILfxMBkPCLne7EYi6w92zqoerpgvGLiCY+oS8dHWY0OwnEdsYS2grumT/hUd45k82P4Ai1wOS6z
ms+NTUtPlV60hq9fwaUIeNALfIE2btAvLU0K0Q5M+hw6G/zKxnNvIDlkQItcM/gIabLU9QmRdyZl
7diQDSm0xcLBX8V9/aXF1Q9zCDavgda1NdBCSQncpl/+UQtn/wNGkOFaBUPwd4YAstZjFw1tZdrG
V2pl5S8utUJDcSAtHZu83Q0NUvtzzhAJ/qMVbQuA+jsj8pjuuo558ctEP8Q8j0PguOaWjWpJlzvZ
T9kYv2gdUQQ4JmM3ta4DEHq9c8783Hmc0Ps8dH6LbYN1DFx/r9PVLXOsIQoSK6BARx25HfRdyq3Z
992K/tI3vrIfNcBBR2kwtzhs7ClpWXQ0gRmfpDe8gRB1tRqbtqwnVl/9GkAKzCl3YB/bhI2k8M+p
ySw6YezQpeKNA0RjMwVj8moAqd3WKn/NUgSLCrT4PR3CWIbVWN26D3GavuQp53PQE+9TYzZ3Lbuu
sXMU19rsgYYEEM0W84WAwr+Ca5t781M/uHR6AGBHNZDexSZFtvunWSVPjobjaEJPMy0DGs2U/kE0
nLPI+RfDqLQYClhk5fPkviyOtvG6+tEZYP6FgESAZdo0Asv+QgslYUBfFyYcwwbeILgv8Hw0j9bM
559RJXxPwu7Jjoe13RKusMSllUqqQa8S3reXY62FqFRSemzTVH90ZgXGep4e82kCYRBwrjI8PciV
NAxE3CG4WMDrWSyrZozfS0sH0JpMN2HahniOwbTdc7N+IdEBDojoqU+ltnL9+quHCmAYwAbK/GrE
iwaPRweRHIZPndOijIw7p2+lm7CkqYeeP/S1u96koO4L/9AsEQR140TL9QoTAn+h7ClxrH/24AtN
TGeyXWRPhj4GmHYnDmAzrCwqVyOnHm0UegzA+v0FEt62Z45VUSLSTAnh1dqfwOPxgithNOfRR5x4
L00dwfClD7Mn/31MPbdem66LQWmGauy8Udw/q2ieZy+/lSo+ton7ottoSAeTzwzfKL81Pc9oTORb
xDOQnSpMCl1GOgpJMQ6rre1WoCpp0gIpGIBbGaNzwx32E4EW5JgylzMdOaFtZ4L4gH01bRo/zZET
z/+ht3MzEJXDGBBB5NChKa9hNKpVn3GhPgfd+c488JSo4vxtGTBUY7vFQ+ezrrRrl6oPs6Gr6RXd
HlAJ8Niekqp0L9nY0YICpenTGsu6ENKv0UOAzLemxg6d1feQdhxJAViC3DknOCej3/FhoA7nmNnH
omGrTMb/gkrkya2HUAp6hgLORD1SM6Q2O/MyB9OZ0eo7B8d37WbhWse5e9Xaww8w7W0wYvQ4am9j
lgA1I4tA4QuV/xLzp1oDchsvzquaxrMy4WA7QfesIvWlL/WjaaWPCLkhAlaV/WqhxzC03rNbeB+D
NiF/iocUd74dkEL0s3UGDFrZ8S6L3c9kMheGctCAnFRvHvrJ+m2W7d6OuxWIRvVg5elrWjFH75pC
37eT4AcTH4k3yoQ+Lr6wDMspF6e1mbdPg00aYWVWD4h92mdz8IIWJM2DsnUeci3nZ8YIZY85PUp5
huZjeVOEz4aHO58xv3NYv9Yp+p4dxa1lL1dbL6lbm+SNCVaIWPkknCNuQM6WJ80pplxEn41HEQBT
mEi2ih40HM5MT57FCM2WBDENfRi8XUmjonVejMI/oiT5BbY9XVVT2z64FWXIEOlHL8puOgGmiTJx
EHjEpPlce94P3sAhVTm2Mko7gItpz80YHZDmSzdKC9/6bnyfS4UgKOo4QMBGFqZuPWBhdmQGi0aG
tgdoEDMoNdfuDK7cRURSiPJVkW5EBzODY/QAY/Q82e6tzgtwC8s4rpBMFw807UGfKUuMfkvefmgA
j2tD9dmP1WbsKFR6CN3NsDDgUu12cdw/9UgGqnQ4RqqLn/O6QoPVpHFZaI+lCQ+91p88xVSlS8DZ
uHOyrGzM3OzEfc/pXA5dfahHlGyzNoa9SCY38E5aoZ5TRkUiSgZrp8IOeUA3H35M6BHlGvPZ4I1w
PucJG26wmW1gfdHgvsHH3vnoFK57HWYCHCwYwPkzCJVz5TTvxI09tJENyM4ni/axq2gcIcKYT3iG
9GlD6VYeA/QY0IdgNKFX6xJuUZS2l8L2vwt3+vbrCkA9mxSA2WVJvbcmSmiU0AvInF1VuQD/Clgo
3puGSPrS1c9aAulNlGoVdA6Rv8s1cx+79XM2wBK3E3LWSiTu1EmzS9ygJiK2/ywSgErieQEHp5WE
VPaoy8qeM1I/Z9bx8Jn/pLP3HFXjsQnVk438WU2BGjb2uyoi/EmG5zIbz8EyvbYe/079s+UPLO9x
LNfB0mCf3SA4isSxVSBKN8XTyXOSAwvzJ7fTTZGMl8Y1sLsdXmrwRWjdrOvRIP0iBd4mIswnpkwS
rMQTqyjib/oVq95l7Q56yGibyELmjjIYDFxNQEOAZID5peDrQaSuQZUhuej9yAPB13mLsidy/HMC
nXjKAI2Pvz2zRUV22IpJoG9kAUAO77RoOpOEbmOrGphGeGIaSw7PTCY2UVhtvasJa5JUmoGFOpkR
fmahh/dzcBnobuuq+nH76bEgAZ8KPSKz0D475R59ah848slmGQKEF6OTGl1aRP5BfjjgEEODJ9pV
NC1gnG0XO9y6gOmbMAEqBLmhrHh05lEWnUrcpzqatyLel3vGbwWdYm7nV7lZOdPgh4wdWEcOmKli
OphjfrYstG5T2ho0HowuOIBHx3gw9X81M5h9+igJwmrQzx68FCkjl07xoo4GaYZb28iWlm+08olI
CsRmtNerinhnv07o5iUAZmHpQLBj8ouD186gJZhlzZuZ5Vgwo2HoZFshmKNvvBbpWnqxosgYtQ6j
Qeiywmyn2WCTglimszE6DIesHaZcN8zFwodFQTekkOymDhwgWDsg3fuMVjP1yF5OFlHxDAJwRPpI
d4bYwXvgsfjbrY2DQabucvQbqNQ1sfMCwWGg1p7+xK5/HFyn3U7DshfdzKmJSHDTY6a3zxlIK38o
hY1PL0HlFwQmYNnRPUX0k/T5NHvORvdYd3ULZxkxWSrctbyvQplQhAYnqjMYkcPR6yBk4INi9uau
dmpsUkp4WH68N/ropavDANYZc1UzQPRcSPRZ32wstvpDgfQkyMot8nu0n3QGCKgoDIG2bgX4GuXU
m17nwLwu1lMRbhVPZObJiFq9UWSvBUqO0NPfJILUbLDeZJjLXa7n8Oy2eDjCH8JKfYdfLAiu+AUh
z5VJAeU45m974a7pY3EZYHUHOkKaFIn4kK9Eb6+tANzQknWxkbCozrMCcADLRHbLOJBtGf3OR3s1
wX+uQUayMDwY0L7BSRuOSHx6sKUK0muXFonBG7bgZVNS1Yc6sG+VMx/mrntH7MK2oPdKnOtMjJsJ
oXIRbiOz0OyAEM55KaP3uEMdJ8nePNJfD1AgAlaryY1p4TSfdc2Rgxcp2A4b7eQYAQma1TSnTLiV
0IYndBN4armWYWuX4OXnVQ0Dq3HmGOD522iAQDAd/kyN8sCspBcrxm+Vg/CNcRBmHsPO75dNFi1X
6opjZBXOsbctUDGcFGzld5M6fKiyt0oa9DN4VqqTqNc/KjBFMU123WX422v5lQr2I1u4P4TlEScc
D8sWDb8JvW9OmR3oxDCsojkxmT7cGnz6ACByGwBEJ3VDMwbUuAZ1OrLeIDsPyLaU2yh3tj0qEQsc
BJ6OjjRqv5KQsBCyRNYyGZrHutT2ENlRreAxQbJAnx9FCnQcbDhAeHGntjqHrMDWME+1jUOmzQWb
Fo7gdotswDyeO+6kjhwqjlmhH90GOJJjhowv8ycxG6AaFO89L/mN+SEGGBd2PrsbyoKB/Yk4+yKC
BV4QaRvErI6MqAdTSh3AB3TDu4lk27G3baSQsex/T158SuDcim6Et9wcECid9Tdw5qM7Zt9mxxhz
Rjx2srqPLluOYPvw9KycNwmT5dRBPlFgU6azgY06VTP6HCA5a/skhq6iHCvHyFR9lr36NQXBgzPG
EJjE96FH4JnFihmNPhlHm+rII5oAOnnqqGJ6aQR2OGQ3x84OdvgpISwfv4xO/pSC/HbQVhbgAwGW
z11miEc45tNUwd9E39fhxUbnwyc6Vj0jLBJYeXQ5Dhydj4LExMxlPoqBUquRSAzVUdqIotksX6l6
Xu6yr5nx1MUO84YLotQlarhx5W8rH+Mi4NlLkl6LmAs3y4MyPiWNgNEueSss7uptivHSALVBQs1Y
4Qtzcwhyj8N87cCS8sxabouLUK88GrEwKPx+3ffNLwmg0PLXYftbwqf8OEVLrEUra+SAkoMcoweE
8n9hxvgv7D4YDZA5r1I6a0p4pyR4dLQZJxkGalGjdepVRUo0vXRZ/LWgH4m+Pfb2yUuc53u50+KF
0dBurWEqwwoByIOudn5KSK0gpj1OAETDknY6caMZQOOy4UGg7qYkASuDMDnTkEVbbsQWRtriSYPD
CF5bxJWLnG2Tnh9gRG1ru36rGvPT9CBXoJaj1/MGEYp13oIgC8M1Qq97UeDGe4Yb1U3ZyerNfTBV
e4sJcwgELOjz29C0TwsbOEH2Homu08xh3lBdhXH54rv8O3fRQUO6ObGOzvI2qi+6e5hhffkWZg4Y
Z2fVjIztreWxYKclwryFEbz7OHd4oz+tfGT0lZH7wsg/ibMf2v575rfHWR8ocegwu+SGE3q4ygvO
XoncrpSkqvGPlt8P4pERB0iYtQrAhjTmU8Jh+JHWwOPLZrdg5YSYLZ29dCPbvojNRxPqoTz9Cin4
cb5mS8gZSMYNTVgDfJgWwZZM6yCawiYHgpjuyMO21Eyj408LgMMQdJB9ymh/ZPzEpIoW1WuR2xYb
kij6SebkouKJAD5sTOvWid0oBhM5aL6QfKFesgc7unFfOEM4aIPdhHCFTIH89IJ9zQNYnr0chy3X
OAuxnoEAay/2EAwa2ldF+BOLDdaixZsHONoFPZ8Y+IPof5tsKExfYn/ayaVGOCzCD5R1gqwMRSTE
LtvyNlkHvxeqfedTTGGfURA+eUwmf2LGN2Sdr22CBwth1ufFM3K+JYoeM5T35N70NPRE/jn3/8hz
k0O3cOdnpTwwc8h/85HFLXgUIfbwXbIkn+ZURDaGZAUw/fCBqxeHNR4fX1KMZvAoVALW4EPrKB70
1t+hF65e9jrwDJ3FBOeFmDNnsAjdN1a8QUV3JX5AibGXBzNmDR/lEU3lFfkQGi8uR/ZhSIK1tB/l
GO8J5rX/GwnRv1UzrzhcjjU69h7C0ap8m333PqaBBEWwqzBVmedp5VGBJd1Vkjx8dCRFr5hwZONP
Buwu/NcNFIv5Ryf2cKT+ssWBskzqS+qxdojRmJw3OSGjMXFR5LM5lXUF2xVZzCKiEHRvJXapJFD8
Ovc/ohE4YZ3j+9EFgWIwOwD1BFPE8mABSv4WjRYVwLeFa5C8oObX2547VOJMJCtFnBGZ5UmK0wLv
K+hqB3aKSkm8umdfNcCekhYE1J/lw/G+SjqbtCqhultrDjY+urcI01nIB59BScXOM8epTKOtp+an
oUB4kP3updbeQpodI8GedqNh33q8ZHCykVzK4vAcvB9OuIJXt81gY9EMvYsllfNNpXhYoztmkI2N
ZK4zJkwd/l1JuEZDdjuazHeqFNsa2P1tOG3lnUMPCY/uUW63SWudt2t7CiOkucUdrL+ZlrczM2bu
drfT2ChIRO4kwZcUVvnDoSWYJu5A9MdQgJl6x7zNj6jhWKHgkcQHoRr+ZqhEyALFyVtOclnhPUr+
LU8XIarVlEiT8Y/IrS+yLzWHVh/KiHSERrJKvdMA63c7/jLijOdm4ru3a4IZ11noOyDYXzQt+ZKE
s/Fg7KLIHePi5+IZFIfmMSUJYg6+btB80kHS6hwfLMsQsgbCFCtCdYHEX1gMiDEYJ4lMeX/jaRcU
3hSam2qJNnJuSPa8LDagvO69G3Uc31N4S3uvcPfMPLtsxgfprZpQhcp1+D7jqovp2DdQubVd3YQ3
D44mxgsHNQei/0WcyvPhl+V0O9v7kloll9Mz0/ekc+uqYWzM1EZqhsrJm1XHAegVDWAD57Gk6HMh
1Eao0oxVLqSBe/QwmfaPBqQst9pD83zJqEjkqjtyAs8lFa+XfU0qYWs9d8bfU1lu0Pf7wBfWcJpz
i+mGV5ubqMAMiD+TJ+YghaFH3+DiMWdgAp9SIHNfHGvZMTsNkReSIJuRMjVABeUvpMVThP5W4Tsl
odQ+e2O7MjAKsMmo5byg7L0wbe0JqgWUhxmK8D1ie9OV0052ZQDSzyctTmrnb8PIVg4CO53PfbCV
hUUYKJw/cC1XCQrMYshV2PMt9tAwIHMw/fwqz7y3ylVF6l4gLKisW4x0mJSTpTBCIfs9RT6uxxpz
TVmRCO48tGP6g17RLiWMFlV+aMtpFxlITRA+oW7FbJUczqqESPHOkjUm79NMBw6n1HE3fX4kxrfc
iKVS6xA2BJr44uYX48GJzBJA4z/SlGD/TuTyEqpRMSxVcnAA9UgUYeWFPFSm2ip85wh7sHkOg/Md
0YDh0u7vR45SkXdJ5FzI3CHb4oX3RdoUInDDKOGB5WTYUL8QHirEgktuShbd3537IH4XkmKKm1fc
W08+iltyXMjbs+HL/kcSbDwVqCGr+/JBuXstH3hiAOcgko9tG2HzIilDWL5DVSWxvVQU8HL2aSH0
Bbn7RHR5qqT1Uph2abkjuHAm8Q0WlEFPiowSoODAmfL/jj+JxNiaehlSAHxwVL1XMUwZxxi3aApL
FDTGvw0rOFXP+CJfJaXj9aSGHcgrS5BKnFRcVAkseQZDK0eBnLNy2bJbOFc5w2VJlYu+46gpoGSk
uOlUbClDYV0xbYndcrDK8mRjmAukI6IOSjVAksaVDsRFNqaHZqFETTHznXLgf+yOAEOSukJJBeAb
3V9xKcR6UI4Y4o0U+S2YAdlZUcnMSj0jYv+2MLmXM401LYetJEWSCdOJwbLlU95J1gZPdyGbcEk1
uTwxiCHyuNRFkiOTw7DsJEdhRfHxlBOtwXTwWaUdYFCeyJuEPOORikpsM7hnHiZXjm49Qmz/GNDd
xe3u0NbaYUJuQrm/qB7dB5YQdQm2k+GCyV+6XIpBew1GKNPAawDz4Yc1MFKOQHR9h3UGtGTZlAzu
W4NsPIWkynricBnl9MTUp+F2tQao1rD7Q8/RX/m1/uba/cnnvkWOvok5vG3kA2GNwZmHyLAUPHcf
lc7i5JvRvY6gpmYKP2JpsZAKtT46AybQaX0zDUB9zW/T5U2odxSjz5ms3XOGLUAl4iVuHcAslZ/u
ikHfyGbJWPKJkX2IO60ka5NgstIbMqlPvV4CPc21k2SFeNEtQ/wYYs0Q2NPebtxjYkL+5sHKDpR0
xg04EIAE+Hh0aOQc1NNA25yDwVFuFVcyasa0pDfdS1k5J9kgbNGi7u/VgxQ3SgM+VdcbgpHZp7uO
SOWSIrEszDjay5XaZLQjs9AgsFYDLXAaRtAnmZbaf4AnSgEkISHO/xQGKH3D3U089VIgofm8JSag
ICm7uo2TnWuWa2+xX1hEsmdZUtBQdihNPEqhYXU73b41DUAapl56BBcnDheoYsiu2Xp9GspqBXV6
i8vcqmFfIwfKxIJcuCiMawQ+dHSbfVmbZ/SDQCu0YA+KmS3Y7OWgze0Yrb5kN+OFKt3huKW11ZrT
SndligODjPPFs53nloMgDNwrPR2BplWrfujOZZo91W18lZzO8b1Tr5uIIDmXCvna0a8+J6N5bmaN
1mp8per5jNgPXqtOTq29OUDcpACWu+Ca3VcQlLs2IfOr5/SiAa4yqx+/cz86TNYp8esves3ualAp
83mnwf+jUjhJoiTTNBzpltMCcuyvdpqdADw+qHGkJ2mei7E9s3iPBTKoytJvCd1x/AKwvI6PHIZL
gHxoT5ta1oCMIn063rJgDWR5pE4T47osiT/Svqb4085IZaEap+1hOh/1MryX75L4zhSqkumzZ2Kq
3DDSaSEh3A0Bbu268yWKvafCsn/1s/9aNrDZmW4hFPeeAmyWur2dl0Nf+j9txplmzeiaBonx4Aw2
Uqse1PCgwDmwofdYeMUt0Jcfk9zRKOK1TpkoRyKEiIPC1EjygYSeWksvTmPB2KSkkNiuaMXwShO1
IO2rpQZxAfONEMdcZ0Otc9TQlZEL7qL5n8qMVz7BZzZjkzc12Uun/CNKBtY92ZRbgKgCS/am/HiH
JwENk9omv5m37szWYNMUDDElgekZWHs5MjJYUCqd0wW2GHJKvC+HC9gx8G48BckiwD4jRbUeCfmA
mq++Uew4VnLgYD39isn0QISj6wjZQBC30S/sZXektHUxyLDgVZtv7v/OqVb5LyXzBLY0eD2pDpHQ
EWYApitkACV1Mu8p55HkUFyHtP3kVEYAYQfsjQtkrCfVkYowTAOrKMVrpY6kA7wKqB6aFhS3YA3l
RbgIV2OIpzOE7G8jLBoamCRzFZ279LmlRcFbFMkfDYVErShoCOMh2e8l8EtyxSuWDkQSdjq2dJL9
kwLfCSdyccQ0zQ3XfSmHEZxdxpIFfXU5MvkMfl2caWhJk+KeThMcYUw8Ggu65GAZA+6n4PMGxtYR
HEJmKnYHclR75yPKsAFk42+gUCsq8pGYHSDSUYUB4mntqquDn6D0UC8BFLJDaT/l98r4DVfyhmCY
jGd5WtKC5Yj3l1+Sw3C+BG3zwX3n9eUDyaOmIqmSPyC85S4DCMxkZXBMltO4EoADNzzG/W1JOd6n
Vzk25FHIL/PX8vBYInrIfBMBBtGiokCtFDiHP5l/UZQnVT2vqeHXcuP5hZiqeWT43AtdhJRUqVfu
EHFbehJdeWPlNLy75DW8Pme1/BdU/UBvUEr+vP/iVfimAnzt9kdpS7ESeEpSrEgFiim7QOfBK2Qr
zk34+SC7AS9yW4HsoKsoSXbEeYY8yoNNn0mRhksCYoDi4Ud1/HYfheR8UpZDI031dJvih0ab9Uml
zRGQokOmwXcHxHPhOMyMMGhKWWb423AeY8otCuiDEhMq0/0kb8rIm8bZJgPghlAkYWdO1iBgDTkw
pdlQyj6hirNQwUZVZG0BCukK+yI3s/cWuCiB3N8W6Q1lG5vRzl81V2eAyEwk3TpUuklT7yTgcM9g
iQBNRLyifJNRchxQn1q05yqWe7yZDO8KsvIm0UXyxoTVHhMWsIR5SdAh4XZKAi2nJIwD1r6NFXJQ
HpoJJXaEvpS0TPjkYsKoaQwii9s9yUT3cTw5+LK1abCSMgKju8dQt+hGVf4HtxWa2jHr3+AbrmWq
3Tv+r2zwD7mn4FZJO5ulxJxP5WiMAF7lsG7NJy4u9TJhJLJOqIP4b+4MjzAnGuyrQOzyp1wnFy0N
GthC/KbgSYzCOlocNEiMgIZ3YDe2cAc98R52KPGn0XsJajofDODjLPtoE+pbmxOdxS2DIGfyrlL/
cBckKaii4nzvwgHTKZbqRkK+cS3mUKCYTcZMYS5EDIdGmD3W59hCjY1BEv2bMd7F+G81trPKIm8l
V8B6wA8JwjsZIWSaBNCP6mU8/wYk12jCZwdWqN6jC+xdHetSpc+8UGFZNMuy7Rj89AztUNzcOAS4
0DEuJcPfaNDOE0hbZOsYCuMJFweyLQaH6ZGLZeVIi5hglsfVEamfX/K+DvN0QXhqj3oarkFNw4OG
v8nokAcqLTO/panEtIE9wS6V4sGxjJfJReCmbSpUPmYcEtIFvfWfuh4PdNoeKotMbfkw0JLIHAuj
1zdNEU7YXDUVQ6OIru5zhxor9OoXwm4zIxPR+I9Lg6AuwIpB93dx9c2V4whnlG/Se3T75R7LSdp5
9qaB7IqGtzyBRpjGPGG1fHQMtBAFklIR2ZqVtFjIZIgVMfSgiGRIGDZS97eU29IvZd1A395Li11i
eQu4Q16RxylcFza3FtRo0nY04Mn7T23ynFLVoJMgxwLYid2gDvIHrUxW6NnzhxIshpEmh3Wj2qEj
ZclOklU9GlLXZfDAOs29pyBeYF3iQMLlY+y+he18lGJpIl11fO0f/q8nSdx9c9jXBFrX+IH4lMT+
Uc/Nb9SD1uQdNOU1OGXxuoffwcsLaLChjWhNEJ7R3ZMxsSQuM53HOAoOghNJ/fhYJc7RhI050CNE
KR65Lwf3bWBBaf0gBY8MbGQQI4FJWpz1BBkMTaUp8em838yeDq3xBTNnTSNStrHvm/dyLkSiX5b3
KLrJxiVB+HpRr4t1G5D0lgDhJPa/HKjx1DVMGJGThjgc0mf07RcriRGuwagjjcnh30K2BshjBKAA
JzI2UK8AnIGOXwHGrmUrEf/FODKiSJMYdY9UJpaqlawnImcfCPXE7a21nPOjelMMRiJusZSpMoHi
r3qCgjRDvBiu62OSt+s4gILLLeOH/4UbQp18mplur3Q+WLDSpOWUkupf2nGy5/9Ld7giVlzHSuf/
iDH8rizeYjxL1Tc0NZkouA/yEhaFnC9SZMo9JvOIaEqn5TfFIwdj1SBZALaS3UquAenr3vGRJgOB
gMvi4qhORnVAZmUnLQveD19x4mob/pMJZumGB0Uhz2/h/10PqIcnzzpUgUYPJGxG5bvso/hGSd1D
zmHywtBRrpyNnrBKaHFRREAobaTM5meCuuGdAwABDXDQMMexAzIwilDptzS06VRw6EQDcoyuLxFT
anibtrE50fyumpOn/6LrSJyQKXwDN2Py0ObnYB/zdVWSeigqV5QpgpcyRLGP2y0pe7hwrshdlVpc
6uNk8GCNJyf+UrZFFlZyNyzUcvmh7Ddpo/P7//vCEaXgzc0q2xkBrgIsKu49N5VeIndMehmyWYbs
COfRtGnOlhsqTwkPvAg1S6vMzTL/+W8t6OpjpPXGcSTTTtlpwkqxb/dowjKSiKmzlXhV9rxsZ4c1
bgXdiiDLFXeLIftow+03R/lGPX5Xfol+y7tZUXTzY74p61yQXw6NvwGuKc0ZroUfkBeNnrOvy/Yi
m47v8H0/fuJRtuWTT81mUJYjtr0q0/tjddN0Tb+ci4f+6ZffitJbUmMZI1P1klKSoEV0JLkn3EUE
BShr6EFoCEG81IwJ2oX1TYuCrPo+bGRKM99y89/CWIQWADLh6mMK5BFxDfmUyFkojV/J9JH6NFiC
aax2IAy3gq0SxASvTOIC1IseaAg6lGXCn5OYTYgRSwMytqONLDFJL+s+XY/GKxcqDaOGoa3sokXJ
3egnl/YZZ034zkaTvJCtKskir84X0lhS4Wb8DpBQIrwr9eiR7i50VuwY2lN8M4HuhDwjubJ4DLaS
NDLzHaX+4UGGtoGGlPOc0FIL6U9JMKUvIR8Uwmj4TozKtO+BMi1S8Y4LkqNTtjxgHJZ55bmPHh4Y
0nOdPFw6+HNJkMPqW76VMxmUMi9hMqdor3dRe+yd+4yKlxJMDnclAZ4sCbt+jsDZyGMG9MAHg4Kx
xuLuYeRmyPXQBZ8JJeA3AZzQpJH1F77zUFvECoH/Ed5yuuuy1NiZLBpW8IRhAgCqlUThXP3NB4an
JHGEvqW9OfAIpDsGhnvLBcOmWVV9uOpp/vPC3FdWFZcpU98ex3hJv0ikF7w3nD9Zaq/VdJ0JA+wp
+ly8mQRz2ZESyem4DQ3saaxnOT3YiiODRrl3cK/TBJIHM5OMVeZ/MC4PGUL1TERdchmZgrJFkSQG
M8T/nTsCop02hzhE/gAq1D2Nru89McseALPNq5SEWFrrktrljNtDYDYgsuSjJlP6j/+T9iHnRJ6h
mti/07iVuN/ZTPDzFL8qTmOKc8KuoSyQ2lQHxbsypE/X3+s21ryF/IaB7AvJm00fiiaDLF1ZTdKC
4REsPY2extlgdLLP4GPZdIdzxrsR1FZivoBIUnxRl4k5KJPfxvmS86++8OgJI0H+5bumdC8JNugV
045y9vf5pHTNaQnJ0pfEo+fwlEa8hHG9Q1KIU4TbYpAM8cf34wqoyH1dsD9qmtk4jz+HA/IY1C+s
Gb5IWcpsdDPxTAj8Vl98SpJA/0g+HvWZDNEBGuTOgsoaKdKCFCldCfaZ5CFia+0AOgtKfSefkvs2
R+9aNaKxiLgIkzA59uwsYv6RHaboXTYVC0lwlRk7QqyH2UIRfXLZBUzzBO2WdkwJafKVuG4kFVV8
u5ZMR6exwV2SgWdNtSFHOgcplid4gd37RXqSX6iNq5gtsbjQQ5qn+zQLypn0nqUQK8f+JK0lNpXM
4dkdGrBPCLRojT2EkMeQc0sXhjoLZFz6x3whBsiN4jYw5ZLMSipldiGN+aW41w4NZ4a8kdTouoOf
dnGTf/IsWfsctfJ5CNuyP0kd5Sj5//ntfzNv2TvjRFabS+eFhLYhdZWy2s1+XDr7svetBbB6zKyN
8FQwwkwQkXLLv3TPeR/Zm0y4veBIvJbxs5Rj8leTTp8XlIH0wPg9oiDTbRICj5KHXIC25kz+R1aW
YaHQ9y9yzsg7sI5kqi/7F1EXmow1AV00hbs1gqf7qL5IoSSn5/+yo3vqSWZXM6ImS2DV3PEorAm2
lyMTAkI3Uf8+2E7rZ65YciVCqwSmjMBStOF9yM/NJn5NVM7SgI8za8cryLiBh5XF9Y4g4tAFllUo
8CrHcPZu/6vBkYHhnax8no05G3JWSmnC6S5ZESmLvLXm2nsODBwzgDgL8GmpKqBiOQ1JsCkhOgaD
4x80Szs4U7KNkeELggIgTIuoXmNv3fhRIBy8A6cu7AB4dv0X21TAdXzRPX+LOVOgw0Dqd8tYPAEE
uRpp+WS4ivpNe3SBjqauz9hFZc9hg+wl633JqodCgZsCVF3py1tUDj8RUpPJYDDzsttPa6aQx24b
lwrtKbOaazMlYPGDXYD+9T1FagHBJTSxqr56znvOhoAAAZj9EUj2iwzl5fZH2DbHXgApNd6mbfhD
axwdVID6bVNv6SDl626Mr07kHoumvs5Ds8cA4bGunMembbYCkcragMp6Ct8ZYb6HUfssA/KumE5j
DzOW9x9d811mEV2GKlXQvrqZ/yUVCD5cJ1yvTp4/n0NRBEA5pWmIAoEtGOXehLLZd4eyyy9JY5xZ
7C8IAeNDNYTsbZM45mtfCeJfD0mv34Ygklnfzm26/dSBZ4uRSEw5ymw9IneOaD94fcgMzEiPUhd2
g//F6U/1nm+k6WIx6y/oncmswMOFezNlagN4CQcc1KjwYUmb/iQYiKCu3zAvRzolBjRNERxr9c5X
IVUjm8R3PFg5dXnDAWBvGv6Jc1FQtKajkZvQWfIaQFShXdkrn1VqWMupAPXj9x84Ib0g077RRvhs
3Gc5hqMYmuFgneHTPN3BsjUTjMUy/knsi0wP5A6aCGDY2s4+6Gl5sBFPbzIff8HqMI7JaXL7swPw
46FGJpcWCP7i7Vuv7Ie6/SMIyoHi8T5WAfzQggLoRUdKumYqsZ5MhnaD8yE5Ltx1QTbvKF7hOf9G
OvZ7tvA6CU0cFIsbA+53FDivVYhuacb51bbGNR4dcJzZUWOSmEcTbgyeOkZggCWz6QiYEdgWh75D
siwyioMIg34B57i0e2W2qkRw0XX+QExMdtFSwkQtD3fU70jOY9mITGF/Q/hxuAsKIufiNVQgNOyS
pftqNZ0iSMf7vMujNR3KdxmIWila8OSRFZTMtp7uMdoG9+jby7dN3iSVZbpM2/uxTRbnJu6GTobU
GDLLJDl57ihABWA/WH9rWtjZUnX4EE3i+/bhB9YG9ulhWjJAAcP7EP8fTee1nErTNOsrmohxPeZU
gAABQiCvkwlpSe947+fq91P83z5SLCMY011dlZWViRo2WKw+aSvBGjkMDd/b5NM1hc8wmy9u+9QQ
RFklEhuFgxI75ZZzRGIwQU6Soj7rjtID9ZhrEEhFiPeRzaFZkSvS4qQIE1xW0HouLaalZdFo4GQ1
KdLx7rmTnxlAs/S9iOIdWTOxVthUgh9SklnJcJXcjCCWpT9yMErZppy3IK62LUwiiZVGGWKmnn6Q
Pnh5KoV1144rmwZMwsWExXcni9Aan8moOMD5LK5feDF0n8n/pOTm8vhtjhY3rY8CrxDYJTmY6Suw
F+c+/o/Pkawzatq9hGo4U1EbvRDCm7DcEVk5SCCMILQgh7QgxyXQlG52P5L6+Zj1MAKJ+A5TRK4t
LSNqfOIR3bjHBtEUF0xs9i9yr3QtOFMAVKSA4IilxqB44G+5Vt74XHw3+lFMn8AReFqipuEMdDW1
+b6h7+aJyD7PVM47IcOgMtjvpVbh7mM23ERWIOdhIPk1D5Ts6PaSqmsWk2bmb/BBm4IRSBOthSB4
0Hv/UZAk5aM7gEsp3Qq+oR5fmPPXkLwRiJ2dx+uTKCWso5sDT/lppOPeplGfp9Cs+8sgKpzGKYGu
WtBv5i2knP0CinFW8qkmiREnHSka8oySkZAWZvvBn/4xZXin869dXF5Zj0Cos6zevsDZMDsqDzEX
ml+K/qnFbFYBqCb9am3LG3WRdZW6Wi4QxH5EoUmme7gcqS9pr6Nc0BAdhYmVIdrEWNHTlOcPvf5j
1N5diDyyQPQ1UAPjk28dLW9WhqBIkgYGUQSrhDHm4FESRFuUvjKaLsD37mtafAiQJI1p6a0YQA3E
EtglofdC0ZTxNrlrVmLu/MqCgtjH+quqK+wj3YHfTp5HKSIrRp4OOOIte2lROUJX2whAVL4lpQWV
aSDhkR3ZVXRopi/pqVAM7ISeKqcpvy39K66Kj5RTxWN9z0ywkm00Xrrn8fOtAj4JhCpbcYEZosCg
ebUkZdIl4zLBDnqXfIkAL3vd5H5YfdQqVfz6f1vKI9ORoxuWcxOj7gYs3QPnj6S2VMb0veD0wosG
5+6tp9jtkW/9j4/AVykpdKxxfiAtbJy02kgDR1SS+MeOMbgFvVodahuUl+JsApT5KFVSiEgtAc7U
ksVVzA9LeQ+uLVGNwo2rysxbOJEKFk0qOS1YOkIkyIJgI1k9RYRelpvQfQXV9zj1KMd5RwHhjFEx
sE/povCe2IttV53AZKSPL1g46uwH02ReKIaZRa+bv+qMXwpvKXUhzMq1UKLL0gdutWYUC4H8+d+o
aKwStdwLxIBVwp2LLBhQrcSgjgI2YQ1KX8GmKcDb4p3J+xdqjly+BHoWNVfEeCAb/MHSX2pQCzYA
VA/JomRDs9blRd6IV6gP1bddKk1DPrAAv3QbyJnVVXYpMau2xytpPxfM04D9Sl0neAeKJ4KvCcnG
tb0HfLkj1GWEHy2LSA+Y7tBXzrzcqNHxpUS4rJiO0YBcJwyElkO9gXRIxmxOxm4k2OleSr8CesOM
dlmS/+/upJsxKoj+zjuXPUIMrtTf0hr3vEFuM2Ej84PL5M20rKkmG0FL2bbdWndQ19DGk7SVDGgZ
fT6sJFNTUf6lZ9W6tYy94Dwdc9246Hg3+lIAfYRhjfBFoSnZ4E6Bai+ksOma+0ij5C68GyaNRjfd
9/Rsl6Z5lo+WJzv6/WNXAwv2UXeoDf2zcb1zaDK70SEJ1aOtJK0OH/h1zOg59a7+2yh4oi04ivTI
WkS2pvlXT2sMQJsivs8X9W+203k9luUphqfXNeM19HQqBRtNSbem3WuGaL83LX4wccHnpSEeqi09
ZBOJ2AZfq+LsV/NHkdMct105UUi37cJD1GnYC4hTlgPKQy17x7r0bYjOGIpqOKZCHD+Zbv8mkG8V
+MAcYR1sQ9jShgnAGozW55LawI9wQ9ETnT+RTrn07vJra+VLuThog+raTiLwgI2CID7wee6tgEnC
wkhC4MkIaTjk6X2nPJoVQvB1cB6c7NewzWOKMEg2L+vRav+h/oF6ypJCwCIwsfft7RBj6N0jnYIx
9WdlpySeiWIGw8zvchzOYY1JBSl4ie6ibN9drGHeIiqEv6hUuhV8ici9mvWPUvucaISaZln+I2oP
dKj5IZj2jUEkGKDen73iQICT0xDc4j6kmdOQVwjviJEqiYTELGl2CJFPgqIEkAB2LuFZl16jAL/t
WO0LLaN5THd5viAMgmmAyzH8E8ApoByfWTjyAUQtuQypoQVOpNPN8pZtLTmSILUVw8OL5v9/DrJg
U9hJo7Up7UcBnjHSpIghCsHHlOchsZgL4SJHKrwyNh9uGVL6JVmd0IHZ2TwvbvwWe917eWtcBvFR
SDYzqnkCn1eFc4Pg0hKVKKvBK77cyw5iV05R/SmRq9r7EtJC6K4JzOThmjAWwtE3gkbYJspQyw5e
m+QS+EaQ+XxOGjsQDAW2XJO/wSd55lpq+O+ENS5m5vekxyGltQZlLMbmw5c2DOmFPJJF6x/IKpjE
pJOFWt6vnOf9B83+AN00eY1O9SDnbjulD4LTyYf5LeMu05oDBgk1ADnuVDoVPCHC2wxL047h6eD7
Br+Qv7RaG/LhB3cpMIWw3SMzYmgS3tIQHyBxn6wA7owlqEpQTxgvV8arbTJ8SmRiUhHIrHnC2+GR
Ap6kQsYCuNCJczvru62EYb4Wl6FN55FFAu86FdPKNU1JEx2WwcWAlAPBZJRtdosdySmrZ4SHJd+q
wKpmo2Lypr1H9e2hIdMO2vStI3BPCJxhkLkxm99MwXXtwu6/sOdrZSlwUkhaLLmPAyqBEhHaRENi
ilwDtjL2Sj6JAJtEITbdjAIj30MP7CDz51wCbwfkKq6SasPjT3x0bHJYdVRLIVxuGzM60oBA5qIS
uEcK6MGjftFCdMUDN0ZF2MnwqfB3OVU6PB50ElJt38HQZoiKGE2/Rro6hdfthMJBpbJuAVcpbWL8
KSvT+u0oP2QsU25EJkWHsNu5nrMXXkFS03/QtGepEWxqVOl6TlW1lvSFlE7aLgICUuVzPVshZkhk
QuRoJV+mx8Gn6ovfcsngmReMMPdfqnOZNYk2ls7QeYkzELgeiUVNzRBk3l74CbXzzUnGKSRXIg0l
l9Qb98EVYA2PSOtQBmJoBTdNyLztOL7bMxIlbbaLpDIl3GGWto07HiE36luAOZ6WIgoMjgCpOJ+Z
PW7sx2V6G1GRkezOpoyfoMSx53XMBrFNvgMD3kgLCVnzO6kkMmfeSJdcShRB4Igj9MVKiERsMkal
EJ46ak0te41EkRuTtm+8S+Hf8oAko5CaBy02bSsgH51Mlri0oVSm/tHMke9hUUsfH9uvVUBR45Oa
OVA/ehgzINyKlJQf/EliDPGwBMJPhn7vREwn0K6hZBFc0Eb2Q4hQTcrZSMoTucVzmlfQy+tk53JS
jf5y8Aeod3D38sJ50t32g5/yqb7qYDkBE7neWqVfZmAzOvBDfXyXuL8t68P3iRRJlDwECNhja0xZ
ljBRA6b2JF19hC4nasGOKmPGMrfJ6R/HB16WxAoIkpSrTwY6TylcSILMLQUT5iq7e04uXOQqZYRb
izwY9Iz4QI2FjkE4vYHo85mHW5bv9jR9SKcxBStm2fbZrbUzMFDroj4OEnxKAm3TKmYMAeK4qxEE
Z8SKVAGTegtxgkaCTDTJzpa4gMwN45GJ4LAJmjAUIGHxbE6/0scEznFturITxGLyPhNDH3Z9pqTE
AtVTyPal+JIwbkbOc5jd8jTSf3cG9OYoz/63+SDii3ptbKCGrsaHkVk1A12m7lca7Fl35t9M0rei
xRGyjqFQua0cg7xQllDVPCkPbUJ5DsJJi2mSDsOA2COkfnRXqwcHCESL6pjHDyL2P86eTIYoz0OK
0tkVLOaEWpTonEeVNMwqdqTAqHwLM+2oUL2K3lyBqj7xPmYYv8ZUSHhHAq6Gyw8nPQiQHKluH247
/BshIZiUTanPnQMlwBCQZ9FaIvh6j337t1CapUeVsnPQko3jv6RDPSu8kVykNZWU2VaKhSKPzkKc
Itek80AfAWC5AfIkttaY7eFI/uUu92OUvZHwF2JbAFudaZGrQTdDhokkSGV2eNKyfUy/QiiJeIVs
auglvaI+m9aC4rAQuNsGJ60INR8pMwU8k9NQ7oHji+SCZ1qUDJqwUYlu9IAUVnxhcODve5mRdt5k
Dd2iXl4A7yH2/WbwoOUEDpjSSdzXpkNrCNF0GDDSHx7YDi5NXOyieb/6Pb8jxVpFIQgGZPEpWmVt
ec0qTY9OwzE8QZZicgDNUTlJ5aAjjU/6/VQYb3idrXSAxUjgCOYx3aucBwO9Yjl5DB3eo1gslmcI
RTS6v+V4Anuxsr0I5whvWUFaz/t/cGlGTsDWQLK7J4lX6oHJ8yPEqKepxYIjZYADA9TEdg6B+ZPO
XyJxKERvOSRMRNNat9A3o2ER7S5NqF5bp6TQAORnjZkNnF+JYAKvzB3wSyei2Iw4KDhGczULGIqu
oUsglF9hM/NmWZWQmh8l0ZgK60xvrJuQHnReC9CVYo4oCUAICPo8km6aN7JJhB0n0hG1ioDaRHOF
DU9qFxTtA6//Hn2Oa0KaxzdIABA6J+9HnquGlKaHbYXL3LFb1gdet/AM5UJHJgzzpTt7TLTanFJE
sr3Zam/NMPzEsXeQT3EoPGpoxbKMnNna5aQfsizkJrvR3GsdLlXolcoJVrQT8msonBKz5REWhXNp
u+VxoYgRJZVQN4+wbh7lc7qpXcvfS2CQ+C9Alxx8gGLROJyDSV05ssETtJt4o0cq2dK2gvIkkx6S
/dKnmG5O8vIclqJ7rIAhaxQD4vGImjZYDsmIiUooJ43oO/dMA8qpH+LVLkKO6C6XnFas+LghAzGo
JgaIZEYSfPexflgw/CJdyXLtARiZ2SjjxhWcfBpocB1dln5o5K/1wiBsJROTKcmzxHd5ryGqKDY7
SkPMLU6jg5SYSTL+57TleqDlL4LVC6vWeZclQY1BcSSTrAKEkXY9uDx1UwvPMc0RhSZQ1GPNzrhG
iIO85BgNCsx9pV4UniIR8Omg0LJpQ/fWE5RpK1bmSo5kIQGY2nA2GY/o7UmyXUkeKYxo/HgMQrRw
+CxE2nscsFpEGuy7yviXmzWgEsAmQ9r7hYqRbl6/cmAtgHd0uB2Tg/yQ23ZSCmvqIFRR+mk9JARP
mx9r7laG8r2BNqLa1n6GCymsc/oHNtttYLajNry98JXAYKRHC0keRAgCVplhecKym3T9iE7i56At
Z4PYIbSFYUjCvW+FfyQHAvoJJFRr9i6tIswMu7Dd0dr9J+NdQnvkvWpQtZkThvvjvtoldVOcpdpK
5TYzAHBL6D+upe8GWiStMuV/hhpRggghFCuBH+GOvltF9BnlxVM/iyMj8zHswiK31qhIgzdwRHLT
OCDc5YN9EciAbMceg5+Z8xe3pfHQsx37nga19y+qiFdMUnO6y76WVEHN9ckblhubQRandA5zai0i
F1qR93JyyVqHUJAyPZ2ZwTNTMXtBFjXDRHkRjy7UpMwyB81idLHXEMIub42SFMhCJj4H4qScfJIb
T9jPWKjEmhQqEZIFkx08xk3LJBTo8XiUMOXFzX2ZzfvO7SCnlacW32uv1H/z0WDylx6FcHblMyuU
H9IEKjXMEfIH6SvbtE/kvwhs71Dv3q5eHfUIjy/IMNTSNkGcAuE2owQOwt3udXcUDhCabm+OC/TH
R2clamwQ46TqhRyHogkZF6kji1ee+C0UUWRXuv8+cQRWnOCeORxDqkhp90ol6+jEXk4ChCwF8KoZ
tuGIYm4n6veNZxxcThFZppZSTxL68FB5zFQpA8gacncm+s7yVSLoyenloRDuxDBsM3pu0oOuYBlw
dEqQFrTOBeIDXMF/l8Ehiok0wLIOhn/S0fPiEyg+WXBuom+GrGCg3qR/xFhY2z+Iy5Ad+GsAdTmg
+9Q/CQYtdx+x16eihuT32gcoR5bRbszmFzNrAVSyozFap9uwA8PwTaBfUOECuKmMTV5Fj8o0nlq/
eXZK79KVxmPSzwQcLbHQCwjfTM9kxI1wZaK7kS7tPnNzEn9C55RUW9ClBMk9bdxqTfxaYD11j7sH
2vaBulhBfqpK8yfJmHOhtgaCbkISIjvzD6kq8q+EJDc3rU0f5FBG52mrR/XH7CBWfxd7BRTxyHtj
T2t3XN2/0Zl+wplMD9kFSJ868q19UVn7Oa36DTJb69zEXTPkxrQofbE7+9NNzRfF3C5mjT2r2nZ3
TuQn6G8v/npCTWRrBbYHBq1hiaujgW7kN4OkIiUdwIAQGfimJid2tcak1cpLLBrEkmoavimPHV29
dl5ZmqYz2sHiqUpSYFxRAYxzkns4sycatQlsN+doewOFSDiSWE1otiEhfK5Nzu5+MsGAAQ/itLx2
qPOiPafvEqM/aJUZ/RQ2JuNO19PBASClwGiflwJSUNUEOKi21XvjZ8gFZUmwBwfkoVv9eNK64jMj
nTWKuFgby/BYWfmpGbuPvsz2yTT/o5L/nYME70f4A9sF3M9n/tjLHbCsrL5MqG/dKc2pWY0pDA20
xZJRGY9eak7fOlJmWDmoi0GS6Oj5C2050SAgN2VJPZTunG8sN4fMoTebsZh+HBK21BqMlRNlqPFW
wfe0kP12OqWAPZZId6kAH13U2IgBn72Fc7LMkGqkXUxTRhnph3otVccmHbU94sPigU7Po3b7Vxog
Ebma8acHMLxCRCQY2XvF/vjc5XpyVE5+wXU5OyubYaQ24vW0VmSihKuoi93+pEuyqlCIU5FuiVrY
2zJ2x9qHvd2G67xRqIGi1k+8aznKqn+tPjEKAfM8zixKsrzZaR0sbLaY5zlQYtL83eKt0lXL/uq6
+lqK5WgawQ98dyYhWzS0+vGCcO0ngr+boSthFSzXJA8BGhEEbPN8q83Wu8INt7CdL2yCXqyK9V6N
VnBUdfXYgY7UTnosGZ1Rg93A1FPZJvcsVMndeJUb/WeYUSAagtuLxqxd1j9DPdEZ8Kdno0hhBePr
NXrTO/LONu4J9psq8VBFOgYjoojpM/2AzDQCPu0CsaCHm59llygtnX1gDfZrOvj7pQyOKQ2OnoO9
HDF1sLLY3PuCKIXuYG3KtsthdXfwHJq13vrlvm7QnOnNcd9gX4k4E1KNfvvlwRnTEjKhvAypkAWv
dfp8PxnM0YU2fqOjFHVLZ61rnXlrzYlxH9GSNzmd4lh6/un3qPxTqjvXxnefFIsJBuyLgaNOA2Fb
CyA7GUO6S7rpJzWEqUn3EYfYVYLNdhG4OGE0Tw4vPZxg7LgWECcpZQQ3HTkraDa2/hxSNqBhF5zJ
Da4TvAEtYGJR/tvcglrZjG8mPqWBwgPdKDTvbkLsajN5+PuNEyQNI+dUyNIQQpZBHmUFAywIMkuo
FuwaYCAauNCeF6eG+4yHBoMBA7aNiOkeC5zsD0tXgofLr8IcoLdm2+aqgN/e4n0oqIvbwWvBLynv
o3cDW7umppcLMrTF42uluLq89OCLWM6nPWT+pzva6N4tEVIvs3qNy3CbWBY6A0s0r2crTL8wITxw
8oN3JfqCgdwMLO8UrGcnxVCyCpjGozFQIus4E7+RRjOeGgXvMaqfgpmomZoPXrI8qpwqorFwsI0d
L3nslvmkVwpd7wRelGdM5qr0zRkyX3522uU8x3q9Mu3WpaSMXg1YklbUz9BsNGBj2LN+HMHJH9iN
ecQlFQZ1SlUUIywtJKLacdGgANjhYzJ219E1mTnIjrWTbfoFyAFJ1gOG7SetD6mBkG9e6wF0VPRz
KMTXdYXNbTA6/QMtD8YPcgzJXMMp126ZcB0VgHo94+iuNFQXHRe54hB2lu5DB+X1dgAyphZgWxLR
zDayvZ6TbTXufwanPFAwpkV0Oew2YoKgfAQZGeqUyY4IxnTG7KiL87q2N3R/J+8UxqDd0zsAgSJX
Jl3oQSkruiUe0QMwJMSGZqFPnDntxffTQ0IjTJA4yrA7wXv0ASI5wBnnLNOY/bYal1ORQGGZdHS1
cFsaJxzeI7KKGuhQ1lNcmfdh0L2nuf01kV0KzNpJAyyp7DWF2U7TyYqj6qnKeqRmGmYEZxB3llYA
+2Hh+4zgpkJisvQEfjHQbzUs1KiKs26Eu7IZzsaUihHDTXxSNyNmA5NbkQhWtkvDGB2Zf7WYTmtv
0vIIEQPUkOrhUUl51+fqUwhjHfXyRGJMTS1P1g1oqTTmri80BHyze4vdKv1JiW0mwysgGrYZw/lk
xYTKfp0AAVsK2NzAwJf3lyHLlGkpfhEj2aFHw6VH2D86pzRgBnwdq85fhanzosT/vMx7zAvqJ+EF
pCT60lmlgHkrjQkyePlWK0Ak4BQp4aeQyVGAWpcUTR50yhfVmO/Ubr7vg+5G1zaZDyF9w7wd597+
FFvzM4mmwJxTjTKy4ldDq34wkATNgWzlSTuAk2CKKcmJGUR7WYutUKk4aVzaEdyFljfrhU5Mv/gb
WW4xWL23MJ85xZswnnZOUW2zaHrKiDoq7JFdrfYIoYtKiUcvSWXuujDq93SuobR2sOGXLty0NsRx
j1OcETa9Pt7mArpyE1OsThUndBFtTVC5OwmfNxiH3DnMoz39kb5DAkCrjn2WIKxLbRm59/gU/6qk
5PCCRNYictZSFo+QwVpGGEmYbloQXFPGmJbB9zSkBBEFLTm2ILrlsBxkmkxUoWU9dNPeH6yDdAmK
b2NEA1e4HxXAs3BVc9uhKc/SGWNQEILwWLKMU2Boc2NO6Qo5ahx7/WeZ3bLRDcvQ1YtV95iXyT4F
0mm8aJAOtmAOpuuu4TEBEZ8iEt4+Ty4tZsJZSuOSUF5N+iXIoVyky7dhyXTYuJEuq9y36q1NbCA5
jpRzgpCqmWWocYdH+f24Iq21i0feQU563w7dKWIL0ObcKucjYYgkgHipNf19Rn+jpwp26N6VdfiB
NP595k6HIu5/pWPPE/JnX+HJQ8DRI9gssK0gU+/iHt83ONkpqi7OUv7R2aN7SbWROcAVlLq9jYKi
D3mDpsRIkiMjhSWv0cX3VGBtse8U4FrWGFpg4RpdGIgCZnIEhUitdt9IYs0Qs/Zlg9gobgXaVuZ6
T10NJmpU+kwjhnStccvfJOt+BP2GdfvsZ7hlE9+AUPZWmX6Qlz1aZnRPsrcvTY2RJWj9mpYiWslj
jCC6eLrU/FwLtoKSH1xIzT/oc3R2dC4psIfURnXVvfU+Fxc/c6wjUOdwysOs+3/tFOE2lDZo3kZP
7Vh+iQpSEC0f/8dwYJByie9rFk9UGl+NDkWpLp7kJ+urAJSnXL4za3WU7gy6FpeQsiCeTKGKy23A
BKPXQfX4EM/FVmJMUfqsN1s6gGUtKjBsJoHHhRWDiuyVNvluQKNE6BHCyeksnQDGf5LkIqgTWdjI
Ce61KD4LUWbkzg2bgGaD6wyWsVYKcMGdtwGGQk6O0bH2XtbNLiRkVSAekTvRFsAPLwSE5k0aLGLd
sV7p4MHqaFezSnf5giBnZ5lgR2N/m2GJ7N/UiF8jb3iAhP6g4ovRxL/+OGt3rocIp+t+Qot3iFGC
FUjQSl31FoMgFZy9woKVfoEr4D9oEtSputJXFqfDjToy/LuFExuugT1tOxSj6T391F7B9G78ZGr9
m4+mD/LcdzUHDmuq7zqQvou0rghC8ZjgTuQcnCR+pT6WEMjjZ/dLlCiZv5VZERnDywZvvfiwcIOa
SPeTgkXWwu/qzkLxpt/kQ78w8uXgwMXS9VfZKoqqyuybB1/T17qln7s6ewzifD+7wY3vGLRko7jp
0jPXsJ3Cx6j0ZrlDVyMMmp9RZv83t9rZarEoy/6JyoRc/RCJlma+BceXFjQqDCf8qTCIS9dWbxK+
74ehxSmXoSZMXBeL7keh3YlfX1S/ICH47Y1DupZGm9PkJwkpcRg+T2n32ABeS2gMCG7NYv10ASrc
enxU0/RJW+HGIuPqGExC1B1gvHiW8KCr6d7KwlNMguDNDPYZ1Y30w+AqsLhQBjl6hdHH86bSW3WG
Sxe81N6dDtuIihwBwRSgSMHrah55EeMnnnRbT9cupQOeCwJR+Q7E0jZHhwFT1gAdZuEGztbfCOlT
Bk4iPbjXdAw8Ud1zonrt5vkMnT1b2TFyS9RRS3nrx/LCuIwljzfwuN9SyQsmPOAHbZNE016U7HxP
rYVwJyEfqQQGu1L2KgOWNG70FkcU1M2S3jgzSjzzJhi5Go3wiJeOPG12WKwN3070KcFA15Kt0SL+
6/ouibVXP6u430LDYdDJPVmddR3sMLsrB6SBVX8d2uFX1nhfWndzFNwruom+gxpwk53rMkI92fh0
gHQpXaBTT+dJVQ9LyjC+SqjGgvi978prpXk7aagKpFROIGFWAVelVgzLNXs99onNPMkJfMScDlZj
bK0pXC/jgxwxDcFKwDVSR6BS6I2IOnjLJ7vGhP4qa14esdtnqyBJCO7vLvJcPOCbAGCgP0Xup+d2
j6plwBzzEgflJKsKLyxlvKNPLcOjchpJeJwaLC6L6KF3Fc1Xt/hL8wHJY9YsTVv56im4beyoGHZy
eM9pdCZyCNBhacU2xERsYAijFRdCWJvd+AKp6SPx8ydzPLUhgjXaDxSSXVrbHIZvRWr/t+hk8DxF
vWMkJWPCVe5WRRnyDBYqgigxk3UfJYedNO8ba9fn1nY+WvYiRAC6/bx+8S6SdSf9T8dJaM1LzZ0y
baIz6crdhso6jBaOI904kaeL8lzOFMRSvUaGuXW96NjE7SZOymvYNZsQy2OIzcc0825SGVYeUQiV
xp6usOV5m15nfsfamlgrtGEMNTc96P7FcozDqMP3ScyVnSc/9iwaowFGQNmHPimx0QP3FKN4DJK0
EbRTL3kO6N1C2xNyL26gOpvI8dJnYkUMo11EkvXKgFZNSWBnB2PqV2nI8M9I6aT0X5sAFIIatQ7W
AnGAQepkeBfU1T95+UsOXcEZn+gxT4rRKCetL3OLVBzRTzPILnTvkRUQBuW9vDY57XJsEUcG3ZnW
S37xqEACtuR6lm2r40ANLBS3CWY4Gv7QzYs0xXlTzhgeoznRr7nlbrDYgIpoIZo2ugcvQV8hdaru
4iZQrrrJRN8q61lcyXKywv4lmyHAV3n+02nMhVToddjJdWjSz7oYD4sLVpjqQeIiTpn9Zw/DuzEb
16SzjtCZ3lHGei16WneR5qBhPrA6VYBcrOSnIZAr7Rum4mjKNy+EefB91m7roDGXUBYXjvfcD0iW
LHgKovUd3Dtp325xyDyacb0cOif4hj59bVPzRAkrvx0wxtpkT/rIus8Qgfeb8Gmo6g+j83HWCpM/
+da5E0EaP8Dkfnl1eu86dR7DSdm7P7v1fVr53+2CfoDnv1dRfy4iH1LLZMIosFI8JZvyxwLWSkiA
JjSR5APzrnxTTU0JnKh3py3+8qjh9NZbVHCr+jLM4z8nT+hxGSUghsaIfQonYazjj9ytUEFbBNWC
7yeZytSo65gOb5bOkFWJmwCz3fNn63Y7JuJwLCgcH5KJwzr1QxueU/Yc2u6+0fttoJENB+lXhm6w
xJAFL+EibrZ6M57GihxgGhhnTv+GwkTewL+i1r6P6oneTTYdqs57Hsv4O9GwGxrbYBu33sVtht0Q
UqRnbbhrOlqlkuozl8NdZ4iLad6Xa2hPhuVwIMfPxRQn4PEmh2lRPpWI+QcEztFX3y5+N2v53bhy
3vs2+cHV54Lc+UXPRg4z/kHzYBwJ06eMtxiYQKjEqmCYoYAsM3JGTYW1CaywuHQOGjzhm8LD3Ll7
vane0RVEPK0aj1H7X5x8WXWCZP0nR5XbyEy9+WRAVc56tUttOkMQo0mP5ZHrxCMRLikFoZFJhBaQ
FRNIOm/yv5oeMktIKsF/Cd3pfuSAtWp7LzaULgIWkp33iVT/+joqvm/jcbA4KhMoXp9pIS7WKTKT
tXQ+5ThjsxstdUwz4McJb4DeGtV2q3erVnX7CakBuXnNtVaF0P8ZgpYsK+YToN1KtmxyG6YPjUSO
Vs6mCFGSiJhAQmUnmEpETJ/xm1Qvt5MoXziUMQvnSByZv/QYDtWtP5o3Fs5ZktPSHC1BLFvYDPES
PkiTZdHctcVRpoe0XWH5JlyRzZ9j/0lRk91Ku8NMhdC2CIYxLzCQaguPVIHI+A3NFLahxCcZ2jVh
kElFHFX+hglWWjPpcUTiyyTNypjCHCktyRphjtJjWw5YuF2zIXyW2spX0VoOvKQmR26mY1oz3tST
nnaU07PLZAcxtyy8z8HnRSbj8IQ++1WB3zg1bi+GC4exHp7LFBkgeVzybHx0QiDBy1YgGwt69ym2
a8TXob7VgFa5Nb5Kv4uSdPayx5AWGA7ofzc6nzcf1RD9k2SM5FYqjZakdtSLe1E0geX6zTF2tjvj
K2e8CQEVhM0LivhUa0CZUdRMjI2KcERB6oAJHWGwTwGzIeA2SWxfe1KamDNFaLZzrK2Vieo/CCOc
HCf7w5xj1VG9JsRGuqs7xXiMGHyh9SXZw+0CyQsDd/gP9Y6TXJFJMPP8iVQZUVJ+Le2XrUcBKf82
NwE8Oeay+bM9/cr56ybJFYrVRqpyeXkaQWHpPnnbNWNLsnO6Ydi2yt3YzqkdAMu4+wHdx5DhiJAB
MHILO+2PEKgGn54XQi/xTwBnS35NaCyWVq9GmymL5BSYim4T/h7Od9kyRUi/PYN4SPFybEHW3KDH
lnCrXP21WaZrwxcxorDlCzSLGb0WLWa3w2YMUxmS94WBIf7Y1sautMgEA/pBs/uEjkDaPQ3BxLzA
wJwFxB0LhRXXgYKrABvo+fr6FTf6FR0v4a3Is1jS9KwZAJ1LeHUm+hbxD04s68yEOtPD7YkNky46
dNNmvKsActCq6YlQ1orawjDmv8mdGPeKdfdxyWSdsEg6P9uMeqrvx9JFLE9Pz1IuLFy8Y7X3Dbfb
tf4pCBOsJq3jVIg6BcmW9sIQIcOnZCbZTaLLxqiJ9nk36y9tkDGv0h04y7Bq6MxtJLAJpXBE5Uc+
0tX2ZnSJUJ1VUPI1DN81eXC/dOaRdJu8pLQekhYVGnkqulM9JvzemMX3A5sLDzAoTP96bhJ/AZjY
G+Hr2EOymrvq4GTVZQn9r6I7DzJDEak3Bffnzo/xek+IMsKdSBoMdNiXbez+hwXSMfdnNCrM58Ho
vipTveXlIgbFjdU92NZ0DB2NmWR1IiLrsXfROvsoUdjWoC/7w2vk12f4X7sYyy3hotrJ8KDNOE1X
6tC5zbaxcUkbCt1gPih9oR7bRFG088rlEHHI5oZ/ronrGDmZt5L6C0ZNxa7BnQ/Wj8ns3uQhk86K
IRRKsiXjvxU57wCMSXymh58DDdXle+wMYIPV0Qzrdw+sZ5ni98LnFK6W7tlLLDB0SpyRlFyqfa+a
3xi9puVCG1176w2HFhVuCO301zoTQlIXLDmRV2DMbcnf+mnaWlbJfPoJ4Aegf1TjLtXS8t5BMW0c
0XVUwbru8PJpcXswnU2ShhinmBvL7HZLYUM+4VbyTNHft3HlKaP7qo3/GjX8CWZjqRblJOOFCn6C
FMGrHjxUBVW3NRtBYAsgGcB8Dl8MFHX2rObuA2UWL5rHGHqOeSWoKgwWU3+pYJYhYYXwEAYusb6v
dHvv9OqzyTwSRwCDYvhR6TDg8II0YO0dJfyrYXjWWtRzGju/QORfJ4IfdZjRhMa5VeHFJjo0dvJQ
L+EqNdXBM8Z9aHaHHNLcRL9gKvv3MJh2EsVcHBEMtGaWHH8LO3/BCO2EHj9LHdpKFXpfgdZ9l6Q6
0NHzhxKA6w5LrudCA4SeBnvfEbWG3ngumAqMIv1RwpEIUHjC9TWGYy0yPtXwVCfWw1zH09ZMwv/H
2Xn1uJGsafqvDM71JjYibeRiZy+qyGL5IstIat0kJHUrvff56/cJncWOKlkgoZnBOY3TLhiRYT7z
mmhTh1mz64OgvUpgAyCUeZcldQIWLdtmyS++wiOXGGmy332yQ2gFHSL5sA5oE0IKSn4CWAE52ktq
yfJeZC6OYHAVPUCus/8cuuJzNGMCFbeYgvTpgtwDnVIijY7QWN8weepfk3c+2KXfXUTEDkVW8neK
5Dqi4lJT8NOfNWmEAw84vMqpcXuzC2y1BhA0xAJoT/tQFuF+7CikYmlx13hofbYEOLIqb+GJb6La
uDMlUGn+QSC90Q/MOu6zjGbNlF131vyQt8NdF5l7msTfzTHahSl9wnBC+ICV1ZdPwPOaoyVr+uYW
v1E4z1N8jc3mJrEKKgMF0PMBWdakM6/dVO4mSjGmFTzATdZ0UXXfmNFOX0QSgHu9GHdhiTBWO193
oUITUN5nGC/2Zf0wmAO6yTFGmW17YxLKwIJBNysw0M9WKQl79pojAnqRI8tpYdhtSfg7w+KhARJl
2eUy5C3tCXpMYQG2LMzIleA9+deQxj9BQaDAPgw/8f3AQaownt06vq9R4eiKBtBuXcGJHVVG42Z4
QcaSHDfGmlbY1V1twXIP+/xHUs5f0Ccm0FvS4bosUd+DJYx8dh40m85iu3jSoiLj17ht+F8bP3+L
44D/ZBekLzMNZB8p7GQmq0DIa4L6ZSDhdtGE0zMWr+42VMMNPekIESrraWwymHr967JU4bYoQDgl
k4M3Zdv85CZUl73TkjfWJu5bcCRpm2vF2CJHFTnrkcYlU92Z8fg3ru+4AUfoOfUzQpXLQAU0ih8r
Y7jWhatwudM5OxLVlDBK8g/a9tRpNj7tZP66ruRhFvd1sNtD70XfYr7WZIyP+o9D4HwzWri80Zeo
ynL9REXF3dz2XwZnudcq430dwWCBJMVy5mQhHdua0Po2HCrQxO2+6gHuU+xmIM15ycb2se7GbRZy
s3eTceViShXipQhdzOKRBaVDJWFwqYl7+RUOk5fEDrpiTagEJVE7ihNxG7yYCz7MiB2ky05f+5RT
AOsQLlPldwkHNM9CA6jHOrzV1Q0qbBbYP92cGnL3UnsYU9ihekKVhz1EaEKtHo8d3fvDcFAXYvST
ALR9U4DGnpDwNL5PuuJFdxm3O3Txb3RiTnsvL9rrGAk6zHxQZOkua4W1AnVn5tL3EPOeNbSX/7EY
+U2Zp9e/Xikq4A6r0tDjrTRZgtKBAuSEpw1yjeSdyQMvOf/Nm3TZEtfN/MkepJf+F0N2ZB34hfAL
3RjwtXgdaEQOPDW6qEsgSl7esKI1u3u2wx0vqOXceNFfFdaSMqkpfX7j35CNmMzgDUaNBs4Tgn3a
z85zDiWgC/03ITFGHmrgBzQN5OUI4vFnBMyMrwKqE3+eXpkkw9LHHKiS1h+yje5X6MRHoxlScVHo
+oC+6gzkkS/4Z2De7vSmAwPKTcstsWsHwH5TquWjcve5J7AO2+JbzWeOCaJFk2x1+qW7ATUserPV
AlnM/BfarAjvtYUJ/0KdxnVi/GI3ANI48R4d+KYD9p2yoE9lWt9ENv3IKwBQ+stAs4a3IQUByVJt
ppi08RuUNegyaEGj1aWxYPATW2wO4WjodEtvQKbQEwdTh9IpGguUZz+NINqgPYlVOTL5QQHm+Y3q
TtZ81Vd+2CGfHt3yi/FbcMRdB+aauFynrroTlBO4iIgXAhrp8MOJq6tueGWVdTqm9xwlAIDamlTM
vq2BI2lGqS4TErZxBKTxFQnRCw9bUJAHOn7T/36G0f3a+KDzEnRcdTfJ/Eu3FxKytojKt1F+FXRD
ifdhVejIm0CcX8W8o6UHVpYRFXxhTXU5MEcroGRkHm1DUcWePYIh+0EU5p3uSvg8wFYvf8xtsGU9
xhTEj51vWq0ShDw120j/ijR+SBHMkZj96ZPO1lDx9a+cHeES7B+quL3MbBTBIJSN303xBtMh7y00
f+0trlXwmlg9sg7talMjagg6dUuNU08OzBKhujBtwCj0tGm96QSf0rsWWWUOfOuELddiCcqSaKAl
i6FvCX1ciNlKAPVAQ0MU+zLM44pFCyxBTr/I609Dhe6RByNln7HlqILlJIegrPQ/rueRu/02rJfn
MbJuK1KUvldcKxxrfZic8k3vlxFFLt3oLUnFdIyqUzCyWUb+FVdy9kYJfR/6Jr3IkWOsK4cZJEg3
HG/yXzudS+jR9cdLZuOKX9kaFQVOGAdmsF+cML/Qf7qTITK86jlGcJ2/kxgDuxKMf2JopVdW+cbW
AXYEZfURNYatPpZ80hyMc0NjJC++QLW/HXG1AFqltYKfCR69FhYGUlNxdSM7wqH8MxuZHIeGD/9O
tgsbvU2mW8oLbNqhUnfUoNAhJnzKQzQNVI/6A/yLoGgmAOologjlTWcE+BuZGGOR29lPwHYuAN/x
Qn8OzV+MeJ3a6N0qGweZybLl+rjSYRRDBDLeIHcdU5tP/y65zPT2m9z4H1NvNNIfKzY3IK0A8KHE
wAfTAFahrSapv/FdckNt9Lmzep/oDzFaOKWy8B+6PNzqXyy5vvWezfriuqa2Img0WQREkFENL4LA
EN1wTjwad6agrwFAS+cIulpEv/dBn8Uu+QV7LfB3B+hCHZLL2gSNVfv+jhtdD86pZQ3nHikvFd+6
kbZWeJWUPF3geF3jIDOFtFY23YyUmm3dk2GSsAn1/mXZDbAaISaBtsQdno2l30f/kBgUwjTqorZf
kwGF81gAbY8Ps9M+Rb78JGPndlDgYzybcErhiCoa8VS6HizK4jYbQ8hnUfvdGbvs0jPseDOnWHzM
3R7nv+UbcuGfI9fbhcrjInfIgTEqaXJ4xCUacz5Uxnr5nMwVhV6qRGSnLU3rJsyo4I+u+zpHIVLV
1WIPT2PaIIHtREOzI8IJ7gcbb61oCNRNYvqLBunj+Pav//if/+d//5j+V/iPrkPOoHz/o+hzpECK
rv3Pfzn/+g+AofrP3vz9n//ylK1cII8C8DL6Fabre/z1H9+e4yLkb5b/Qyy+F2LPDo69LJ7LMLgZ
BjwXs3y4/uNxXGG7ngPCyzZRWXo/TpXkTeqmxfJkJTPk02mk3JLZpNTJ0+mB1PGEFEGmcH3hScd1
VhOifhaq3vPtpyELDdRIhHwyKvAPdk9/PiE+vOx6RbeJar5zZi3d46F9yzVtV0nT9UxpvZ+jyIww
KoLQfEqdhB2JwTzReWpp4ihhdHbvpmr5dHq2x5/PE5b0XFcpVtaRq9mGNA2jvh9QFAspmBpWjeZQ
OrmHpeLgnh5Kf6H3O8UzHVNIUwlleraQ72cHAM+gYmaMT3SZzLtWFaF1aQ843tpzkW0H5JdRcI+r
J7slfBlDk7j+9A+wxfEvoMJu2ZZp25Yg+33/C1TpVu0sIxMTnxTIuR82OyQQEQAY5gJxpcEZG0I+
ZAgWO5pv6Kt2d4mX48qxdBLlZ2Gj3LlENdQIBC2XHw04pNtmzGzQT9KA8NY5ajua8Ztdl/khVFx7
MGIcKNQtcv2d2z/PY1STkhKqdksu71IU0zF1cNpGU5sUbe8Axsdl6Zg0JoZGPk2YN786Qd7dhn6+
XC3SYFu0BA7UkkWCkrQNtvv0Iv3aZKvPZAO4Zfd7HDW5/kwA1kTczt7wlIss3JlyyO+aNu+vmtGm
g9E1VnRwaoEARReSsn+d3Lr6YsZhsKuGNgcElNnu7emfpPfg77+I20U5JiVD6XiuQmTr/WcbW7er
oqRpH2dKK2+qbbJXLzbyxwB4JIjZDCm7HpmQ04MerYMjfBS7LNvzHNsTRxeO6jorbtyoe5gUPQul
JVZtG2TiuFdgLubew48pqCk0t1C7jDsVIrLkizvDcDanf8n6iDpS8A8CeFF423vC1X/9txvWDBrp
OaJ39rmKhMaGqlczlsCBa3d5/LOhbOXZtmsrzGY923LXl6wt0DDIEgzpQi9ur+ehBhzCQbrOa9nc
nx7q+K7zQGfzQbnMpQt18v2sJKSXzh3b/gkmGo8iPkYXKD55r3lrxtd0OuX29HjOB9ePa0lXeb70
TFvYqwFTs2sbFXr4480zZMWqiLLvlWdWL1FdwzMICApr1eL/kd/kmvCeN7BkLMsKf6JRG209D36e
02TNY05b7cGJKE4tXeTeRCE1jWCJ+r/rtEi2YymXDXNOexKhZtqBprJ3i0m/NHAy6xrOlCU2tRdH
T6GDzGA4QPMLVOkQX0w9UM8+fwlcK32Ef29uwnDsgdXY5TevluODn2cB/I8Gg6ciqEt2wAjhpulG
9RdgNzA50wRIaB7gBJiq+4pq83cR2s39jHRcd9/Ns6l9UdK/Rid7iGZcTkOiuh3PjoPDMSrMf7fS
nr8Xo+rObGHTPjrCtsdGkRIwsvB4Vd9/7apPkXL3B6Sv8tnfF07a7mencO6AgGGSZc/47OGNNzp7
HHd/OEVP26rNutu06rSGnBs6r7Ubli+dNzm34eRl93SDkPIRIb0Gw57mB4N8F2Y6aJw5bBd4EyLa
wlVyz0xkdRWx2YXlEuTYvu2zZ73VC9KlhpXPXuS91HN+XxblrRqC17aliOl69BDm4cyTpdfl96uP
A0lEYDv8wXX44+p59tPFrXiwvCdwQJsxayWmuguoPFFcnj4eH5wOn74RZ9LyHUKB1UClbEyVCAcl
rQh/d8/KVHqR5oDTzdREmsBZ6rsgS+TBUgMKqWy2MzePPA672B3KF74QyEBw2b/fIVgKOnXS8+Yl
JfA2lVTtTW/yClX90EAO9TK82SzXe16ovV1Xg41jDv4GKOtBJJnMotmCT0OZfpirBCRRh+bekhS0
ZDx1F/mR/H56uY73s2NBlWS9LF4HbpTVryUTb017ag/pZDe3Vk2vGgR29u30KMdr4hOqmITY1IVt
JVZrEg11kxqQ5J9U6UtQKXFFEcvI7RFsqrK+kOCk6UUk1IJOCL2R04OvtrrCi8yyuJt9zyFZk84q
GE0dx28zXgOghSbdlCqllRZm9T9putSbslnyW6c2yjNPvdQH6PcND2+dwFd5SiqbB9hfjYoTYD8E
wWI9ullaXfvT4O/txhevkl94g9QibMCc72zbWQCVH609NwrmHQxl+fOPps9Jl5LX3+IVdCRzXf2Q
wElDv6V0/1J7LZCc+YHU1A9TtPNuaAmceZyk+X7aejSCb2Fxp7gcc3N1r4x9lZdBnZsvfNFN3IF2
N2/IRofoVZcXhsNg3qTGd2f4hvbv6XmudvL/G9lSgHFtYfLyv9/JReCS2pWTCa5sJgolwoTnI86E
/qtrzLek6UFuAeviKwuS6mox8edRPcFEhixYZtFKChO83Lr02stN4/L0fNZxhd5AFjvIJWriP9bq
pUmcxKKtuWDFWIyfxxqHncXyrixveUyAwJ35bqt5qV+DWQ6Jqe+wgGJ1DWAfvCTemIpHO0dny7XT
twZLzSCEqn56VuvD+O+BfMGZIIdS3moBaSM2M6ar4pdST9z/lQXhjyHGmilWr7EXnol9f93261PI
5ueOI+FmwNV2FHAGS8ToxKMVOhrDX0Wg0MSPvpveOIPPsWqv+gxaZ+m82iwCECgwqMMYJLCV1aPM
K5yU7ctCeJRuPKzyfJVfLO50X9jGhanNzRwP4T4pQSZF4ZOS81cvS27lUv4tLJtmgDuDDwi8cbuk
8/dqcUAiy+JLg9IIIiGDVjUiAIp3p9d4fQj119TbhoNIfsjtt/qaI90xA65R9NTZkHDHEje4oWn8
Xa8ChbSKlejVR0pZOIm6d/nfMBqyBhE733+0xrI/E2usNpc+NEqZpCGuI0h6jl7EDI9AgXLAyzzM
ACxdI6TKN2yC1DDPnJnV7tIjEfCTYVhSUFr5dSn/lmHwji19PAfVM7jI2yUHziko5wnHgW4Fbyep
zuSYq2CD8SxeNVIZDqrnsVLv75wRfJxMPbd4Fu2F0ox2ZNlJay9MDOvocERnpne8kNzjvqKuIlzX
OQotqH82QWLJ/LkvQKkMrgLLnh1kNp65SqW3mhg7CMScw1PNHpLIba4m5tZlTGedN7MKw2IbDM5z
MzviEwQGeWEk9vAjSHsaeLq6AO6128gmKL85mSu/oAM2w+ix7esliIPHSeBdAOmlvBpblARc10Wo
Om2q7bzU5lMeusMGtH04XdbziDkj/F7NMbE/B4EwoPj3MRiAOXnL5mj4K+yLjLr75MMYw0sLIZ4p
nTTzwhhgztfTS4AE+GXlKPxpwYbuQ7yMH4YUEoY/Vs5DMVjjJpLgJnCHCe9a2PhXsimRep4A/10s
ynCvojF2IXv1i9qaZQDsvktjNP7LZSQfGhfEeclZqB8L+28rieFK2UZxX7YUfIkJwexZS3lbObKg
3FJ3N5QcLITXxbIx7XiBwEQVePTHZA8tH0edtMafK5uaK6JI1NeSoDoAlEpQRmrHTx3a0peIxPsv
/WQvuv2EenQY0GCvBXoZYAv/MWDuRh1iCmJ6kiae0oEwsaTWGqHJsl987A+60qaPRoR34y4zy2L5
4A99bCfrsE/vaopCh3IY65csH9Vn+jfLF6tS2ioqxukutpCckHyCzO29nxSykucu642t0+Ux7WbC
iQaBwdsUOGEEn2Uq9uPQILnXUs50narZyYxOCGhZ/MazLrma2wxYX9MhsuO0NJVKAHQ4hMIooDhz
XYESBTLZTU/h0uWXpW15OMcO1LZnpOv8xiqvbTjeMGrsZT4g6yGeIymnL6ru4rs5K8MHVXnqpsth
QsBPp1FIWWsbgLa9KGiB3zrKju4qlYybHgbzbq5TA5fNsruEZtRdLHWt9fHRWykbHglcIZHCnQfz
1rWb5LMbpRDqkR18KsZ82CTwqe+w1hZb32vwT4M3tRmhpF36jZtv7IQiU0XxelfbICfa0hhv0l4h
Qd3zq6CSg3ovbQMV5KzZdsGCA6Kfz6AiOgSNDQ0OdRcJKNjZn34WvNXt+O9D7QvT803TJihcPYZL
W819NtLEHOW8fMnCxkARjtovif3y4EeZCeayykCBduFOTZn6m1e8vxsb2d1hWU43pNnMeQPTRdoC
Q49dl9WXAjElKEjVNm1GALP5dW5ZaLd0VnU11pP1w1UVKII6r1EsqbDtDbvqvqpTbysXEts5RWHB
pelxOfhL/uCPxguwX+u+SlW3SyMYrUNYhHSBw+k2nfyAOgIImr6xgyvEI6zLpMqhtQXQomaizmvk
Z+e3tkm8K39Gc3CuRvembZDJbxu0eqquG5GJQCE+CCd3s3hgcckMa/TRjeI6QYrhr6GzaVR4obgw
uBM20pipW3epBOOoQRvA4zHm86f5y0wusG1VWX0SMbe+YZgGiGHajbYv0beOjOom65G3jq2qemvt
JTjzEqw+5a+Hh6ddR9meLa110SmHHdaXTTQ+N7H3XVr08Uf/KTCsLyQ2F5lnnXkQPnh4KHHZjEOu
SAa3eg7sZcoGJxqD5yTMv0cQ9gnu/oEPcCY4XIW8elYuYZfruxYp/FELxq6mjpV0/Gd0lzTh6RtC
bn2nUfBAN04fhnWMxFi28pVwqA+bPpHJKkZaTHYScirVS7c0F2V/4zj3hvm3iXZSLl/0zRpLA6oK
L7rEtYcpnx5/lREzvGMzLGUCQnz6TatspUSUzrKIul4sgVhR3ozDQz46/p1Ph+Zi8Ay56xaBKWkZ
xWdG/mDm5MGO5ZDDQKly7dU14Lsz4ieovLxY7o0raILHNwMKpYX4VM94s14N+T/0+xdZ7xzqc6en
fZSkcetQg6bqJD3LO8qKhwp+R+MZMOl6Y++FmuOkzlxzx3tVD+FR3ZKmJAdfryxooXJxgvAlQXZ4
gZJf38Se9/X0POSqA8P3YxSXj2cR1LKY6+1TGLFd2knwnM1lhuysF9kPhV0I3clwepAIdbDhIQUA
dr+43WsiyufTv+B4A/EqKmoLJkU1Wm2raTa+HDtlO9HLnP+TFp/4ls7AgzzfxOnT7KozRe7j+8ZF
98VXvuP6JG+/npbfAusZEZaQbi2krWrZTZUJjubr0gr2JzgjZd6cnptlrqsINAKUruAxAz3eanJO
hYRoXQX5s2n4w2cztOhvJbP1wxK8qvMicFFZTBCMQ4OYRRU3L9MUYMwOiBM/q0HdJUuy3BSUDHiE
Gp8nAc3/LimmLRlO8wyvEOWyOZl2sVtByPKLFG4/4vllMFvbjsV+9uGxY+mG6KyaHBAbrUrvAhGD
vDKKHPxUGc5nUomjbWuSRVAs4kzaNGrc1YYaXW+Ui+HOB5W6GGyXzn1PeH5hVc7fpxf3w4FYVNow
tCtYsfc5ixcVy+y1Tf+cBSn+ZQ2uZk0JACJqIv+PrxpT18gtxSm0aZSuT0kV5ggNxGp4jgZ5X7f+
PWSprYY+0mkHpEtcHKKG2tigxEDDoHl1Uav4TEFW75XfSgCcVI+r1KPXTuWG53I937AsO2XK8rko
ui8RAldFLN+gZS6c0MGJry2etSn3zzzQR08ZfWxTV8EItyxLrQtF3hC4WVCP4kBN4r411OfKgUhk
KSBqYe5+P/1Jj+4CBlMOdznFTYAM646QM6L5ZHgFWmhZ9WapcoOs4N7ssy91Yb/NRf4ZSZIzQ34w
P0egkEL/WZG0reeXGFEhCtvjy6LRuMnj3N1N4+BvEeh3r0zaTmfW8+gCMsnS6enZtqCsT3n0/a6d
SScq+HbyMI4xRuuquu3IP5v41gIapl5Pr+cHR0Qpvp8DHoSbdX1Eymopkcax+md3EPGVU894QPMS
4ytfedvTQx3Pi5I/ZRFH0BmmQrK66UorMYI5gBcAnaR4nBaRI4OhnRizwb6qqq79SoSdizMH8/jr
6VHZKy51GZ+iwvvVlFYp4OiZ7UG6Y7Np4888+yKL/A1qsKfn9+FIlCto/PAkU5J5P5JCPErJZrIP
EtmrpcfUxwJb1aiNyPozD//RQTeZ1G9D6djjtzcqIcW2Stuv9h05mfYOJ3K7xB1FA2mJdzSBzkH6
4/T8zKNA4NeoLCbdHupc5mpjBsrq6rZWHZLaCIR09T9OgUPmT+cNI8+tppL5s0y2OMFc6p+kkVhz
YN6AA99k9PhiAkzpBQhM9hPVxyCL/pZtZZ05POtmBM0XvTT/9SP1V/ptaXKAN3Y6kewXae/dWxno
ZdsuspuyysQuqTQP2kZM0qRrv50CGLpTUpmX1E7F5vRyHZ+s9z9k9coZQAWNkLD7MGI2xo/ZBS0S
malzZtetm3D/nrCiF6CbjfQkVuMkopimyOyK564fh0sepwolmWCmI5Dw4CB1BjhbewRPyTL9LGcD
2ZI0C4rhks2SPhZJNb3SBCh2rm24T1k4UCGVfnMocjLlri6wR/rTdSGLIxnhiFBP5Dl6/4GKxIsa
6nHmYVIwBNTo/MU7/VWaw7n9+tEhIeuxTJbF0o/G+4HCsUVeBrQfpvGApslQveKBM+IgfKHV/zTS
fb4+Pbfj18mEquyT5gD+oBS/+hYgA+20jOrqoOwvGeqmjoFgXf1ohsjYuXjr/GmLxgTyIQXBhqK/
4K4P5BKKyLXGsTuYWuQTMi7Z1fPpGa0hNXp78c6SqfKxfJoYq8/lGXPd1Cgt7lM08wyKm0H/FuXV
ZTFgOyiQy3HnWwkZLYx/uP5NVg8bM03PHGp9nb2La0yLJSW0EvoPXK/vvyTqpGZOHyyHE4sKYDof
Fi2FfXqix5+OMXxUMHTz0Dvq1mQTyi4DdNJDv4zB65AtPka4Qw7V06wNhF0j86KpG/O56f3lzG2u
f/7R9H4benVlhXA6fOCLzcGqTLUxwgIJaB9ryanIhnuzR0+JzxyeeY2P1xTEmK49WPy/o8TqXVR9
mzdTghx2Unc/ZR58o2l5ekWPz59FxUEoHRbTlPp1cf12E9eJaYJwTlvkAsLrWWC8hKw+iPwMn1LK
TLxRke/sTo95PKt3Y5rm+53Sh4FpNJURHtQYDBeFE36tYEGcHuP4Yn8/xmrlXKSWJiMz0wP6P7eQ
0B/bLHkVqj+zfB9PxbaoXvLe+kfhhOEGgWyL9DBl03WIq1kIwPq/M5P/GmK1WsjHeguKqA1uCu7X
rla3La6Eqj7zTT46WToHI9ejTWWtM9ySircTVKo5OHpPx7iqDH2AjhCOC2Y7uhsZYx1WYQX635nc
/x/W0dHMb9tPQH13rUE2h17M8WXrUsElSpov5zj6w04vdyQ7giKM4/OqWYTS74cabCimfZWkBysu
bwPQPxeuDF5MFNK1/1Zj+O2ZD/fB3jClpDjBdUVIvcZ5tGMRjC2Ee5imXbWriLdhCNXzp9Mr+EEs
RbOP6hwFEV6uo8KLELGdDNbo79Uw3PUxouvzUt3O1vDYOtFj7acvUa4dM021jYQPQak8c/Hrm291
M/L88BOEEh4/YbWwZQ3DsgCtvh/a4jktEGgykcQxQtrXgw1/8fR8PzjYpiXAzrjkJ8Jaw0fqypqD
ODHLgx/EcCM7v7xIZkBCtAj/fCRAzabrgAtAT3UNwPe8yJlKx/D2vez7Cz8ydzKIArSsir9PT+mD
jYJeuCck2R3NkPXLmRr4B6pUdnsD4uR1L1DKDYAI3Z0e5YOF49F0dJlXUIpc1z4STxiYiQpv35ht
hvxVZT82YxxC9/XQVfrTsWyp0Tbg+XhUjvZk7JRuX/vSPaQOaOwSvawbX8Ei7dFnvjk9lPxg9Vwd
+FB9JJY7KuFOICvbYZDufqRaD0c2775nPj5juVLYP4o2GtHgiKKN0iJNKaK797JukoPpQeRtPL9A
JCo2Lq0UJd0zv0xHXauDAdKXZxW8DBWXNYhlEolbZEHp7iU03a9pXNu3izB7JCFSYB496sTokcZy
qO4s3w73LqqFOz9wkjPn84Mnnrq+ABEABIo4dPUU0o7sa3DJI5A6IsDlEI8vcXDvdpiF4F0jvZuB
7X166h/ttd+H1N/st2sdCYQG0PUQ7A0fTIpbjf6maVNQQ7RLT490XPg2ufmk5bvkVhrqtbp9FiNF
gQ2w2d4vyycP24dmQe7ZHZIbURTX3Hi7TFj3eYX0QV/bb6dH/yAopC4DBoKTReF9XQXyrGowoyVc
9pRMiLJtfJKTXKCJZgwopJQPPRzsM7tqzbXQ7xgJE6kkGEnWeH2OpWs2TSsjZ+/TtP/i5GK69uoJ
qRi3tLeTxAZNWdC3MWfFFiUfax/y8kTjeZprvGD8MtrB48b9ykTxrxysbpfFQ4oMn4VhS50B2PZb
hHPSKb7h47mICljpNu0H+teOtfzw7Xi8M2lO7xzZAPkOAVMnYvbh7UxUsWurCzZWJ7z7lPoL1i9j
jnxL5mE6JGcIoG5RvBVc7JcZTU2I4cnwx7ccnRxYMDzxlMyO6lddU2PxlfrlgdY8fMzE65/pgFR3
horyM4nd8bsHmYNshzKGDZ9pDfCjQ9zgzAjgJUGXpCjBbmoYldP5mBe0X05vtONLjrHAMfq+5PLm
3Xt/oCpgukWOJslBtLj+yughX8Lr00Mcn1k9BM8P+D5dnl7lkK0zjXk+NdmzEcbRHti7h1zsNN2G
qVeeubOPjw1DUerjDgAFp9ZD4eZspGOt8kNgttu2xSLNRkJL/UPh1DjXfjsObBmLujelRXS5/XV0
UvSVlbZtmR5mv0HWa/xqihYLmPrJnqwXk8pP2iKTcHopPxxTd1FJh+mirNFKHQ/qLJjlc4bRVomg
KUZM00MxX0/11RBE29OjHd/vzBBKja7sk4Gs73daGoEQHalOCR0yAl2GQrC1mPDQZxeyVW3mHXIg
MwZItvNF47/PNDSOzwEXEsk4EZn+EWsKAgyMrJ1G5eyFbCkvWtFfbutfG5X4ktnUxk9P9niXEvKB
yabiTn9BrSvF9egmSW0H1kGp4WUqa0iDs1teCpk8nx7o+Bvy6Jr6/yAOmgCV35+40UOKIVh8G0ln
G8eecu9HP6Zc9QjD1vW+70IPNcRSnHmrP6jkMCxryQ3vAnVbb1fOJ3Xv3nX3FRXZpRzuY6AHluhv
Vfq16zB/QTjFeZ0EpDjY6b3/rZrPXGvHV41F2MYdbIFEgLa0mnjlgyypzUXtG4+aqJ+OP2fEck8v
7nHPH6IQn1FC+eD4++um+Ih4phfXtbPvluKmC2tUHctv4VIfhiLH7bNGt9vAkBUJ/1p+IiqmmYwA
6ZkfoS/N9/EZdCH49yQtlMqPiEuqnjwrzjqC4U7uyja560EUpb54mc2E3piRXoEI3TYoySLk8kgK
hiFwcIvPy5mb94MDDG2KUitIURKp9XXRknvYbintw+jgnuOb2Sf0Nko0fjKS4fYxYcCpiLAyxqDo
zBIcdwtoYEE15rGkI0LA/n6X98BCli41xR5s5bJVKg43sarQH4rSegOjDY8yFv6a7vf8huxScNk6
/bki1/GRRlid5xqope7mrzO6Hlow2sCLpYVSUrveWhEkbKrBp6f60SgcY5q+8KodKtvvZ2rNaYNq
FqU0x2+ewjJ4SBfkveYsuTo9zvFtCFydBhqFFNiVR+9NFgn04RujPiCzhyG430Vf6goxirpvravG
9do/7tO/H0//nt9CbfSf7JZOmXeYDapPSY04HwClpbetMwt4fC+AfSDHJ/gkujpiTI1I1YMfnMXB
7bvNstgoiU5nUCwffCOdyLnAVelcHTVxKyeiH42y096srMfZeaR/dmfJM/fbB6eNjcZDCciJBu4a
Ix2Ycu4izKAOc9peYByfe80FpLPLkfaLlkaQk4EXVn1m9T4alYiHYq6AeAbWaPWZqjB1VBHgGFDm
T3lq2BdLY/+oBuPvtB7u2148OMvyhE/VmRP+QahFp01Dy2xNpFj3c1tHVm1NILb3SufnFFc7diyC
91X/s63FDzy+ljOX2Qf1KMAiXCUEPlREjzDoPY+mbGBi771Y3VhYw01puEGg5Vbl3m5uq9uoGuON
jynutCRXWgj+jw8grFeAHtzqAhLs6kAsKo4yWprOPg26cpMit3VtWWO389ouRkMxHbuX0wN+9Ji9
G3H1bTtH1AIzBWc/WWizhvFVS/uuQ4+j0u67xnJRJHd19Ll0UG60Py8odp3+AR8dm99nvLrEu3IU
YGU4mVOIEocrN0acfuJRObOVPrgANJ2YbcR7RFNQ/4zfbprGkZQZ5CAOabYED12EhZ4VGMHN6ckc
x11sn99GWX2+oBmjKhmZjPSWa8fFu/Ba63CZOFujfjs34ZlZfXBfkxaQU/8qIR29C37e9qUYs2nf
jWBxiALuhRjGC3bxmzmMZw7HR4MpyyPBIrbSOM/3S2hCUSawEWqfW8ujgRV7ZmIE5aYWfd7s7fRC
fnDygR16Dg05kpCjOkFtF8OIJ6GzjyqEF7wY8R8yuR8DyPKLRMkUU7Vz9/cHl5wHpIJ2EkURSqar
HeKI2Mn9Lo7YiO11iXVLt2SfkhZpBc+agF1X4dOSja+VYf/xw8EsfV0Bol8NsWd1AkE3VYYkHT+4
VM8MFW9i8bMczjHgjqenFQvAN5J8sGXWTfwmJUZjWcfndlAa/n1P6f+uNYKXDk28uLBvrEze2VG4
+9MP+X5YfWJ+O3dRUfdRjpTIwSlabV75NmbGFmCMxpCo2rw6PdrHkwTS5EAoZPesljJv0TZzxvz/
kndmzXEjWZb+K2X1jmzsy1hXmw0QG3cySImUXmCUxMTujn379fNBlT2piKAxRv06ZWWZKZMohwPu
16+fe+45w55j7LLPJ8TkEHecpuRSlWLj6JjWd9Vept2ZrXG6XJdZgpZqJBgWCe/hLMcSYrxmYHGZ
VfHLMNhvNMdeIydyYcTWnZ4U3z+e5ulOZDgQCI4qQIGTK3rT0DQ/9lq/j/r6a4onE9YSJU389aWQ
yPZ/PNhp5KTVlw593eGfrnqs/CHGDgeW1uv3WtJ5PkxS27eN/wESejjK8hS/rJM+6zMSuLDfN25O
C7PYSM/4PhvdzqgE9Qu7vkbZ6KJKoAJN85kz8DRqMzaN1HT4uTpQ99HOh9QaZkPXYvc44c6OW2vV
FBt9fKll+Uyc2Yweelofv9T3FupSzUBEF/EAAs7hdL3QLDJsAPIHSTtdr/TPk2n+wP/7BkX6Pan+
JkniKywUvnw8rPbeysElbQnhsFX1Y7ilUUZ1RC2meFCqJ3XiShTiMeb3Rf0dFkC8tuZny0L9jnNy
Rg2MVvegkTeJjZxp9tp31VesS87doN55pCXZAoQGGQQAPnr7VhWmk+zDdo8tnviiCF3bw7C6tcVc
+YaMzxUU3tmqQD0kivQ2won+qUnxy0Ib664ecy1SH5QhxGHsbeBmuIo6fInScVyN3rlCyvL4h/d0
52C8o+mpQyvGyRnUhUGD4wMMmrOdjO+9Qah6RB9akWAHGoeLSTMT3BjSsdu7eU3ipvU6/t8N7oRR
jnPv71OC0IXilLKpmgLo/OTw/fICwz531Twtu302plRhjMj01SLBoqTG9u7j5freu+NU5DOR/bNs
j8I5uXhfeUnR7cs+LuhQtHILpbeQthIUt/ozSOA7UQBAB4haJ84tFMvDtyiyrOxMqt37WoR1AFce
/ctSkxsLg2FUodQYhS8FJLbsrT9/f5qkVcuFjo9HRDgcWSkdRTEGrd2nTXerpfautL37RnN++7K9
sBaJ4hRf4DgdA9eosVmUXlgmbQTDGG1HG6YiSnSvTmYY24+n9N6S5NbGMAsvB8TzcEqzURah2Y7t
HmESnNeNHJ1tUdx7bbMU+M8ch+9t6Z872l74kETww8H0MWW4Wqv3tWt/UyX9a4g/IQb9ZRhxWU1z
xDs/nt0763JJTBluQWNOOiqSUBvyUlgNKrPYvww2gGZWq585H93fHmm5dgOtLT3fGgjQ4dTKrDIs
fE3jPYZAhp8kSrTK1LTAtDmZzwx1uv4Ph1o+6S/7OkPOywI1/Ys1mYQ7s7kpotd5DK+5xiTgyB+/
xNOvtvTbgKIucRglm6PA6Mxq5ZTaoN/bBZ6YKJWiUKrg8mB2L0PS/W7LDYUayKtIBYLPqGAYh5NL
CWYtSqhyL+PwFT/JnSj7bz3NKv6AvJQfqXXw8exOlwhp9kJtAauB8XEck6umw9nWI3RZLTrfVfrq
KukO25AzFcPTj8YxRlUVPJr+qROahybsyGxRKbuvS8d4MqzM/gKuUW+sNs+uTBW7e+RK4lVsT/UZ
SuE7I4OvgkAvje0L9nn8Rtsob+kEvMcwLQ4W5Qlpjrd9134prWgTWs5W6uK3b0oemmesF26flIqO
v6KdTTb1bL3ZY0Hc0Z6FMgAezON6NHFj/vj7LRvr8Nheaol06wMMcP08vklUnWoJ4eTVfasWb5OU
+6nMHj8e4h3yh0c7C+g9wC4w13GQFI0Yopg+1/tUz67V8q316PylaWpRgM/0HS1SAU1O60inMUST
21afPi1aponWXn78JO9NFr0SVBdIIEjDjqqnYzzJqZVd9iDMzHjqswEde5eA9vEopzkv013g0UVq
TTup0dr6MKijpJhZNRgVmWJ6KWt5japPIJAwiJLsqtDmrVkX57hsp3sRWjGgngFUT4/oMfbT4U6P
/uBQ7+lNp3VNhPNK67z7Iuy8M9vx5NgjpyaxppeR/wC9OwozuanpZZvOyr03byqtYVIycER6MQ/u
9uOXeTInBgCyIg1j6xFqjs68OW37oay88N520A3uciPdGgbas1oy6L8/1EIBp7ZBleO0PRpHd62I
pWHe6yhMPhidgesr2cWLGan6+uNZvfP+2G+wYZY7CgnIUVBxS7ek5GVnD0piP+chtgeVt8E8cgt+
8vzxUKfAJ/dmCr9cvshPwJqOvlVlO3NspLb2mGnJWk21bYSNr/TmixLZ6tEZblD2XBNdbyQOZR02
v5Hsz2RkJzuCR4BurkOS5piAwHAYQyl+KJkH7vJIa/ZATdYrMEU3re0y4oC2U7YpNfXMKz4t0i5h
m/QFiER3mPzRynHDJB+kVQ2P05CYq7ZR0Ro3MzWw3aJf5zmiDZExJAHdLGIrlSm6r9Okem5hBOw8
JxxWkTP9fu4BcIKWHdnvQnIlJB6+CCcMder/dfOYDk27ycux29h5k91Enht+SXoR3capg1FphRnR
mTTkJPYtQBHUeJgOXMZPiohaVsdurpjlY+f0j7YBhOKpuzNLbXmlB4fJ4RjGEVGYBhrP6tDseyyQ
eEGefq3lykVuxmsUfna6U+Mq3SPyyL87nAWMBj9xc13X4tvHz3G6u7jYUKvlYAMCP7lpJ/g2u5jH
NI9lpG+gGX1DlSXGhSd9qMrszJFyGp8YC+4kzBViL8o3h180M9VwArkqkSmaA9WO7xwEPMO5PBNw
l016/Gb5ctR/GeK0QkQMGUol4+tVFeYaijKbm9YS+s7JuWkkCaytos7jMwHxvS1EzspaWdT39JNs
MmnsqnClXj7aWXKV9uJK6dS7wcamXORYjpPz3qmpeC5RQC9qrBzCcFukM5afVnfmTH1v9S7ZM/xM
EM+TjTPH4aCNlVs+QmOjk9rrbt2qOvMp33/Hf4+hH37KvrMVK4u9kmXT7CM0z3F1Qt29vu/xCqci
eSZAvbtKf5nSUXyKe9ToxtAoH0MnxysheWp0rAjZHDg2nbnyv/v2WDUL+QjY//i4Qbi5tQpdZV/a
fXuDABJivWUv9h9vu/eXy9/DOEfbv/MiCqv0yuzjCeqiqpH7PDXxs9DfzKTGo7hfJQil9CJwsgRm
TLqya7n6+Bne3Y6/PMJRgHXRE+qVpiofXR1XLgQ9zQoLonQ6s1ROGzjZi0v5kpSZDjWkiQ/XSoGm
bDE6cfVYtBSo52SOr70wN646CygqMtwG0ZoxXYyOkKpRbG3blE55EY3I2U9F016NTmIGCtp1UD4F
JW1KPQgAWzj3pVO4aczaWLn4NZ157NNMnMcm33dddwkmJ6rOfZIQyKg2P/b0naFdZIY/7PCW6quv
JQ9xcaHla2yu67Vd3Pbss6k6J0b2zqJf6ITGokbGPfVYTYjUHvd30RDHovxZqvrV7Gobt24xs8r1
p4/XwjurHrGUhTa0FLrIOw6/UT5a0yL50aIoHNmBocitiPRzEMnphCgREuAXlQtqrsctObXoUke6
sn1MZsf1Ex1yqS1RaHKVq1yqm49ndHIXXS7AC9sNdUKK9scpjVp1etSMacuqM5p1qFT1Ks2w9ujs
bFxzaUZ2KLbjGxO682/vK6hXiJLC0aZEctIam5HWcM0tmseEwnhvfrJUw7fy6cz83okgC8MLKh9X
fa4WxyxFLQS17nFieFQTfEBdbHCKW0xW4FSttOizwZ7RumwR3lHkN1f73Mfnqoc/y4OHBy1PwOZA
qJ/bjXt8RawFynzayPeUnb7vxuhhTirkSMV6KqwtfelB5KHsI5R1VsnXcJ6vlBixxjYL0szc5U2+
kwIlK60+c/6fxjVkaRAfApHmO57cKQvNbW2wI/ZNmn+1ZHtpdeqK5p3iTJZ4ytRnuyARxevHouD0
vkUjRFklnSMf0UVpV9MY36rh/ZK2V8NT6k7PjeNd0nS8Odvzf7pbuedRsFmYhuQ4xy9eIneRVmVd
PwrRYb/aq9aTh0/z8+/uIC6t9DGTFELh5F55GBOcOsZzIdPrR72WyFUX9jTf5bh3bu0pWSzzJnnR
I427ifLsXOh7J/gyNqGPDAYEksLU4dgZvkW2NLieV2Zzi/XeJ7zid24YrUDL3zpDf2219KtX6vdo
gFBDcY3bea5x8w236JQ9fvweTsPW8gw4UdBnRFJ5nLYWg5Z13TDkj7q2nZv4MkxpsZk4E7rkTFbg
LWnT4Y5ahnLonEJI5RRAa6VX1kNpzvusTLRr6scmavIY93EqIwMHVnlnNZG6rbTc/DOKayW5SHDP
xaM6tuUXBcGfTdRO5u3cOcn3YV78S80R35VNljvDRhHNvK1tehu2Hl49lh85Zr2ZQ4cmnU7rtwnO
4yv6e7B6c6cCG+kO7pgB8jIstshmlwy3JMC0MhY4eRq20mRXsl2U5lps9lR/NGp7W5Z1vxkJVnfI
91ZbHNKLrWanEtPw0In8Gr/EV4lzxY/Kq8tVF1bTC/Mw5lUkvU2uf3IQd68dlBbzeQ7mNO9TX8Zo
3NsiKoIkbuzHirj3eYgbrL7juOWbVMnKKibtYlC7Zj3pFNzH2ml+OFkaXypaUj7nWTdsYBTi0xtp
9SOiThQzNSgkStT5WSTotk4cN8GBw03xL9Dta0UMTurbGCyv+saIP5UgYY+Fp+ILGMGW3UyO117Q
CqUF5RC3CWVCw3uqw8h6mM00vpiVePZrK+03ZBgFjXZF9vXjJXkS4mgOA6XgaAO+ptyw/P4vuPzS
ehlrcZjvMcOyu074pYeBdjGc24cnYMTShEazJw2mIBEn0tZlUdl2PM32vnKeMY+NfKsSOHsU0xpZ
bz9V3Uvc2fGNavqzXOaTGwbqPvQAUC4CKLeJI4dTzJw8awscwx4St7UCo7Hp3FHbalcvsj9+MYzO
reaM2qVEt3NjDoN2oaddhAF6jxVTKvFnnJsJ8y+so822xvPYNr/1cEvPHALvfAnka3g9xGIogifi
R+WAAePQGfvajK/rTNyXmvVWJOdAsOOID4SNBQGxwV0a3jhtD9/GkBWunqddfh8NOp1RkZFtoIFX
v5m5LKNAG8NQaJGr5xeHo+BY62Kequf3nf3cdLvF6Gv69vHKPYHYfo5Bogm2g0LdiThelkurcMpI
PlQ41LagGzure1n8xT1xM1t6oLbRzqKaq6eDn/Tn+vhOs0KwbETAODuXgu5xWdDM40ltMGLZE74C
Sz44/UtYf9My05/K+pMizhyhJ4uYVslfh1s+6y/7dJZO3JilEu6n3Hsw6WXza/W2y1uCQutedbUb
fPx2T/br0pxKhQJXKIq5gOqH4zk1FYpGmPl+NsdVWxev0rvDfq0dwts2xSmjWKTi/wdD0mDBoUVA
otHqcEg718qxXKZoG2IF0cgtzMBx44u4G/zKe+3j9DpWzloPLRM5PCiZKKqAi70XO+I4OuCukRqK
Hit7kK1u08t+WgGxI7oTZjdKLAMw3lWXJs/cDQBu0yTdYMFh/uZ2WfQllkOaVjnSX1p1D6c+gZA6
astD0BjaBSk+lR5NS86i+PrxO34n02SkRbZOt7hJn/AQyZ0Hj+Mp3CtGvW7Mp8V/3fXm62hMNkaM
4ZBWzXRJxotF5cdD2+9FHq7AEI9cupRO3jQd1b0ZxlZ+X+VRt5qLIgsyQ8/vjKZUlxbJHn8u3J6i
DONRz8vtu7LHzFwT1p/kOWgXDjRplrWBdnSljds+N6w18U1eF23l7UU8UtbCkHrlFnr+jIFvR9aT
WBtt6s2rWUz6RovQBoRiBvHSGzrsepvaRtF6thFrVgo/7LUSKZ/CvhDFFN8NztgGXotraGEir5ub
/X0s8P1o+nG6iFX009Sk69eZ0nqrcY5xFDOncmfo0OPjngg0SrBoX+/Cya8GXGaLwQvXUTG2W8nq
9wu3LVeGF32apwTL39A2V6bSl1tufPbKSc0qCNF+3g1lHa3mwVCoHcj+N2MKAZS9TQTjf5zzx9yo
rgvLWhQ5ZR2rcXbVhKhJJicdFeeiWkVhh2S1iO0zu/ydVbAkv4hNLGQUhDEPl7qMhadTZ6Stpi1f
Tad0fEUbz0zsJOlnZlBtQPud5U5DNeJwEBQubAwhRfmQT4ruhzS5B/iIa4j+EM1QCi4umm42Zz9M
sIJzVUXdWVYk2Hiugh9c2WHsPhoBtWDnzEZ/b/a/PthyQ/gljANpiaUUkd3Piz12VszZqtCBsT7e
asepxHJUoOWxlAlBx0/8NYpeKZt8EsqDTTqFofKoXetuktxMUXaup+fnSf5r/KR3gtC30OsQLUDo
5whQVeuOVsGhSO7NvhwRJ0EVT1ZtBfKfN42fARpfqUZbYsA3/VnSJR2b+AiFnRB3uhoamyLOzOvW
0pLbpKmqTSwjALtJ77HGTJRPiuMMO5WcmH7bWUG6yTQ457uvhnDMVe0MKLWh1P6k9H1x5zoD4q0z
nqluWae+0Exkn80cN2ZsrDbgH3kAtO6eWc7LBzuavgW0B+sJjQoKsEcrDRVH0cVqVN0LAzvXqtkr
aYEZhfG5L8IzePLJUD9p+ItNBFH01I2SO0RlWcKz78zSVG6V0p2/2hgOPTV5IW5IHJsz6MfxWoWw
CjeOfmcV9AN5rqOdOuVCGwq1cG6VqTO+Vjm2ugUOWJ8/XqvHic0yykIag3MB1nKSxVmN68aRh6tR
ag9BHlebDPUHOIcrRy1JdLpzWjfHe+Pf4+E5xR5Z+MZH69ULS7XWkr55ENw63aHYjFZ/oyXyzMcy
jr/Wz3GAVjB/44YFyHK40620dBI1w1aB625JC1XlCA9XZkSG6zhvuB1PQvhFE8M0UcwWN8PY3otR
bwJYKP2KJZz4row5dJwu21RJ7K0bRQ13WSe9C/og7QeEouLrAWG+2bdd4V0OZVzc4WilPzp1L27C
KGuuStysdcRb71UsHHbYUUTPRpQQ2Gs7LD9zazefW2tGLp3GI07jrrJukPMdz8AeJxJ/hIiFqMe7
gI5CQXTJpX+JeqMz1npuZOWDGseI82am3GRThr2t0aK3r+MLPka6c1NlhUmxxApXnd5oO3D69iY0
1fmyFC0s2t7VLht70m9AYHu/6lXUq3gl5+S+31n2NJqy3mlVpJnneIEMad9ow8ACaRwXfeY5yrCa
793frdqyPmC9cw7BiWE88zjbTbFxyQenfqhraysWBxoY5Pt2QCA5jQJnNC6wv1phdYz/67y2rJRO
ayXZz7NzZpu/93UAAYkodNkitXOMAWrGUNiYgtq3U435F03jbojtg+1BPhT4wTTgNxpdRuYoduD6
w0Trih6xdarkGksVvh2+1ivQtfIz7QFod1ooVXWtKr7OXi6/eFWI1ffHMeP0E4HHL7Ds0mwFsHe0
h+3RKtIy88oHu49fIqe712Jj/fEQx/cfliwJEUUMC+BiuQkdLtlUSzsNpb7yITJS81s4WNXaS7Ji
VWLLvKmEM3+PKlrZNKuzV63eDsHHw59cbn+O76DGSHjEHfN4FVpO3VU2Zg0PCOf6lrHFu7vNLuu0
Xhf56I+eu8Ui2qVX0iFlNpxx8/H4701/gU0oP3C8sxUOp28jql0XggSqdds4wA0JqZpu3Kqzfqtl
/VcEqBHkxIlFJOfU6d6dOZABE6dTGBXTo6GVCB+KVB3Kh0atm5vGzNK1xL3raiJ32iku7nMk+NKH
btFdEBKIp4ozrbtaGKsKW7ozL2IZ7dfz/Th0Hd3M1DQqEVxkHSitxOravJej+4pH2++KfR6Nc3LY
wmZ10glxlkJABdfvAIqWf2WUBT3vTY2/NfoZetDJVXAZErUrKNvsfPhXR7sozEpA/8hFLqxrL/T2
s7Be8JsT4s3uH/mlOd1mqbf6eF2dtIhw1EOSI2GieAfx8Rh+6j1rzD2UAO+Svu/uK+Rad9CocR3l
Beza1ikvWuCkNd7IFh2xsVjF3ZxxwBUySMYmWcNPztZqmJoBerjUtSejPfOIp18c6sXyiItrNJfl
o50vCqeb1XGYb51m25a+22yN7Ez8Oql3ocWE+9VisKhyG+ZCcLi9XEXMknojDToi7vy8ny/GIe99
L+3uC1nukrnZFV62Gkd3U432unTdK2D7tTHbn1Ub3UmnXzkVzuD5eCYbe3fyfz/YzzXzy0ld4sOl
xXU23XbZLB8skr4VnWkWjNsqPdNsfhrED97BMfASoq5gUYIuHnpN4u1oPkSj/vDxant3iKXlQaMj
h38cnbGgkDqa3Ur+sByp7KayatYfj3AaJ5kENTsVTIOqzvEe0jMrTy0Sr4emeJ5bbHp7n42KRHcM
mO306srSzyVTy/o7jEgMuVTslqudgWjD4drJxrYrRlfgBjXG+1zDOVWjWJpO6Z3aLZK9FsKhYWjc
OFGO9J+38cLfFQpn9S6l2qUTkbYgFvDhE7AWrCHFOekWdery00TdaNvMfYU8f1GtJzUT8Zn98s5b
/nXAn7pfv6zKQU/yPhpZKhE60puBxhnfKETiNyL808QuLIvitZeqr56dXnz8fX+uwoO3zTaEubzc
uCAcUJo9nCvuvu5cRKZ2n6ZW0CEWaebb1o2XfzmTslMVGdjc5/0EcdM6O9fFcBoojoY/etUNSaKq
zUzRMYYOj9ko2ziWkqxqzubvWZnCdrGK3N05s+OL0DdQswuEVtGXMlp4KcFMvgfWQdjQSNX1MJnN
RWkm5cvHL+lkm/GQcNVoISGmEdCO3pEE03BUyl03ep/EviHmT03qlmfCMnSZ44UPkxW0Co0j1LDh
CRwFZnVM2jxWUtx3DOfLkOuoW6aYsdeYoSObu8niccWjBIMh103nXChuu5NAS6VTXThhdo+J43Uo
zThQo3Jj9JChYsVQ6C6rMARDbL52y52Jy3Y9q3+a9vzYdxoHgGWvzXDcuULMWIkYa9lpLyNUUz/T
+41ryR9Nm70K29nXfbqPU/vC4aqCn8Om8eSVLM1gHo1u07pDkOTQFhz1h4bDfVHlN7ldrUqLr5qY
3fOcGF8H1Od9TDV6P4/x3E2M8tnrvEs7QYU/pXRbmM3e0yhZAUdXPtfO7/kod13ikqTFQTHHj90o
9tLEntvlvpJa8naO443omke4/zczqbs/hwXG51HzVR/oOjUbc88M+fOltbGL9nKa7BI8Tn1RcVIz
hiYJxGDv44FgZhXRJtLCp8mcV5xBdhA1yWNRdHdIkzzPNWZ3vWJ8bhb5Dtt2MatHg3SDrqa5GpP0
xyzHe6tV7+3ICOqmWuWAM47MLyK3/N5U2UufOc+KyOP1PLfbRMj1lIPaqjS1VPpl2XJjNVrlYgD2
W4GO276TIqs3Ir/nmtkX7lklXab9OplHLCQNR+ykDGnsV5Iru1avZpowaAwztRV2hSvZmFtJo5rv
9Tr67UYZOF7ZUHTO1oawRNBXcxtkCVbbWGH6OMLt2yYA/41Xo8tfH7pYq7cpeoIdAq7CU1o/idQ7
ej0CpX/R76gHV2tc96KAjgFvmxgauqg60n9W0nZ3wkqrfdV0buxXlhy4LIl4jWarc2HUst+YzuRu
FanWO6QwvJViQ531zcHW39CaH9FwJPb7UZ2Ofs4bvBxGcRlWyBhmBgV6UE51O/d5dZPJbJVn6Z/I
F95kZh36iH52e5mb58oJx+kCXHo+JlbNi/kGF/yjFFLRPcWaeCs3cxRnd56VlV+B6meY1eN4JhIv
QeTvQEz2B6TJOAu1HKUdEM7DQAwYHk+tmNqbQcPxHjdDezvVXfxpnF3vZUizeZNVbfT2M7L9x/fx
f0Vv8v7ff3/zX//Jr7/LcqqTKG6PfvlfN8n3GuPZP9v/XH7s//6xwx/6rydZ8P/jP3LwE/zFfw28
em1fD36xFm3STg/dWz3t3xrKdj//dh5x+ZP/r7/5j7eff8vTVL7965/fZSfa5W+jCUT886/fuvjx
r38uul6cr//x6wh//fbta8FP/u+87eq3f/x4y/+xlfnrez/89tq0//qnYf1ByYwPAwQMQwp455//
GN7++h2qvwjr/Kz40xBHKBeybmN+yPjDoDTMSbFUH+CJ80ON7H7+lv7Hv9VxuJGQ4CxY6n8/5MGX
+vvL/UN0xb2Emdb865+AzwcrZvExAFSkpYtFg67VCW/Pm+Da2Imnsi/TfCesBLqRYSMuZNl+WY43
sSrWST2NQd2iwNPleQD77MagLLLKrfiuVhtUQjlFpaN/cov5czi6nR+b3AYUJfqRaDHGDHbrl4N+
bfTOOuqLbYRlZIAi+W3chdtI4J4LsoPXQFqa68x2HluW33UyFQnlxekzbdCXbSa2minvorG5VVz1
Ehv5q6nPb6SXbDKVYlJT4x+rReKhlOmN6oUvro6whTckuBPJ9qEd+2vY6BunQuw68MrY2tSNhQlp
jU8pYSH5Iu1m3uS5I69NnOnTYHbD9mqxzVGwpaVhKYncOtByFId8x6radW2ZIsNOz4qeyzarHpH2
ILwmmJ48pCP4eRu1zQV+8DVezMIKFUg9XbGxRfHmmJWgRGrHQRhL7zLL3cxvE6PlA8xJkMj6qdal
GYwyNS7qCfBeRu24FlVrXqY6OV1plnB0PWO8S4fU2YoEk4Ss037kqb22QXtS4TgI8U/eSuaOHvRZ
O/vYv7o7U03NbdckHB2Qnx2B6PUUhYROdexF6avz0LzlyUA1rXocNPkSjq1HfUJ7anp3AkyJtFWu
KG0wSeWxSPErqPI5WkmtvBPS+FILJa+Djirldp5Q7o4jzmTwD1nbHql2K7T1JLOtbTevZoQYbKbV
3+pBpWd97q8UzyUX0PXsbhhqda3Pst4OnQJ9NOrGXdxE1ipM7QrzWnGp2Gm8jsRYbqtIRb1R00qu
vylurGpYXnlmIR4a2+keS2VonrS0Xy1OamWSre1qWEHcWnVLf01fudjUl8kQIN4DM8GQt2Y7zfc1
vc2+WXhm0FXKt//v4yR9tR9FyasE/d5kTpr2MEL+/LF/x0dX/WORaoP6D5RIkcPW/zs+2t4fS3TC
15Fc9q9OtL/io2nwWxypDogwwCOas3/HR+8P3J9hCfwdOn8nPgJTHQRIZbFcRN7wBNzrZDc2KfZ8
O+FY1houmnaVT2Nj+po9ZhSyvbJ4GkOn2qRaVD71LW0EXpuHF205Gnfu7LaviH8OT+YUVfm6MDCD
ziqHxAwP5euqSqjVd9VoXoYD9W1fekq9k47U/sR1OdnnjoU/rT6UWucDbbZbb87tH6HTUSNpCkCG
QqR9jmG7rU04a3WTF4RDZNt+PMzzNTrlBsqPUSfhChZF8uR29Hpa3qJ1qljJJy9Wc5iVabSRhZp+
nbTS3cS23v6gvg7HNEaaxFS8xbyjwJAii0z3kyhzY829guukqklYgk6VTWvNEumuK5zpczTX866g
FHHX0QLpBLr0vBfZpu42rKQVr+iHhsGppV6Sb5W5tymgWOVXO+3bbCNqOkY3uWz64qokyfT8ohC6
tyKtil+kq1jf6q4Xtp9XaD/4uhjkqlSzefbbRrTerakqxtXkFtoXSAZmH3QiNeoNDKd89udC079i
1lv+kLPq3tsJOtfcT1Xvuzrn5aYoNHFRiqIqibtd8VqYEWht7k6j8jhE0yj4tpMUvp1os4OcZq+9
2ulYZT7QVHxRawJBjMZsu0eUY6Z9Wrb6I8d5sZrisai2JhVZY92zKIqgDuP+Fqm6pbpFrlkBCdOI
tONWQEfdIGA3GlZ6qYda9T1pteHeydxBbN05De9aWzY3ZVer6gqteOfb4MX1vFH6RIOmMXOBWMWS
M4t79SybAJZo/9mJijINwL2JtUKxMOsx42qXC6dN1jni3lWA2XT2fVBq6KWd5ZrfozRWvECTiRmt
iqweo4ByR0Y+QGNmDS+syBaGh9c8JeOiUV1YrSl9bcA7U4aG+WOUmbxM+nq8KrGV2olQtTamMMso
UKqk4GTWqxxXaEiM0s/GzgKZAM7nfK+sGWZ6nz453MKflM4zd27j4FnMqVCMNxy907JcqY2gXw3P
p9BQCuaWM0XpuiCo276J9XgbQA5t4D+1Fedzl5a93Exoa9UrgnusXtYo8Q4r1wn72Y+KlEe1MTnw
pStUJFpkFXMAiVbbl25C+/dgDXygSm+tfY/wkgleQOdT6nXWV1F4BqSEPr3To7ib6HynmHcx1iXe
I4rdatY6nEpvVdGl9SkcWjPzczVUL/FbRicK5ZGVmDJDLDl4BypCCKFWECdXWi7dr6WeyC9c1CI8
I3sddjXsr8XIUW32bEFhB2XcaNe2kkff7BYpOy6oyPVvO9i8lR9qLTQbWLzWl5rlhW9BL6NblCqj
i3AYkI8GNahNjC60fJc1oViLWYm+z4063kN5FS9ozecblZLrhVTaRgZDgsh/5gxGsxGjMV9CyUmu
2iRvnh1lGG4MZeZuFg1Dg4ixnhpf4iSpLwdIcnIz10X/VKtkkkFmZsjt9fALID/n9GPXnio+tbon
FUo1vTB87HqHEA3HFMyoqAYXgnWY5uQY2NRfu8jO1OSSelKvJSuaC3GkeQpl0EiZsWhMsn0H3/px
AeA+916vbMiYhy9qFtc/7KIPJUyW1IAO5SbqLpe6fVHXPRdd11B3vR2F/iyzabMMxdiddlP02NOM
UnU+AZmo+samrtGtCCoglZaW1581cs3XpO7Sl3SUhbilXSq+0uc0Wet55t0OU5s8mQlKVr4GRjKs
9Xoi5grPjDvaScP5EwqOmGnZFMukX2lmpLCTyuGuQ4XjRy5cWv4L0b2mOIcAbyDbC90X2NfmWlfA
ZHTcbWMP1r3WVLhRIJ05+w2m0kFl5t7nSPDEhCDtqurcmY2XlWO41mrdeHajVpU+fJ7SCuhmLy/I
PqM/p1rBijm0wiUcDBmmnhHN1tokpvuh8XLPr1OvvMrrxr1Nhkp7UFQY33i8T5jITSVIi6do9uts
Z/+HumvrjhNHt39oOAsQEvAK1NVlG1+S2HnRsuMExFUSN8GvP7syc7qdmpRrdd7OS8/qTBoKgT59
l30Zh7hrFuSDMDn3vF2P0MphjGFyf+0IHGvQCO2HtdsMZI7RNoIn6uAGmFkgJbSjUnFR3tnF1F6P
BDE4kRgTvjgOcrukdft5TcBEThx8pM8WlSoNIQLaH0kt9gYep6IGdZbqH3IYQx8QJae2d2hBFnm8
SEa+h6x1y3UOeWDkdGWGQsPLuvGeDCPJHj2YY1VYQHzKEVQRWIlxcu7hvMUxvDbLNHgR7fIQbYHy
KC2sNNofqjE4+2hm+I3VMMlAqhKsj5cllPN66Hv0d7KauCJhUzkEiUdMN0RdUFvhFml6Ya2hAT3f
CBRNIqYaClt8sLNhTZSLz9Qo6OZvPLedPRAGQn+lGEXA9iqBxyyKIdfR4pf62i78Sewxr/IBj/ch
KggwRAkmwdRofDW9GtSdqztviP3xqP1dUtqzhBmtWVQ0vcIkdgmOjryuJdfGO45WULoMVbRkUr0s
6KWABB/4/RXImmjnoYaZMpAFXQv+z3yuU5vgwIRfeh9s0G41G4djOBp1qHz1M74o1EMzUPifZd7o
V+lIkuFXZ+aNt+20lT2+opgOkAta2d7QrmycZVcVTpO1I9tMX3cQ809mqQIck0DVbICSIBs00qt4
gqoupdOKoeUFyAdIKKAcRYvd3cG5zlvJqharIXfq2663ZLvJu3q87acMwCgI6nzyyzE7TBBdu9JS
NWqFRs3xF8CSihe5c0WKoojtxQSRq4l78IN+uHZVP1177YjGEC5pJcafGnjAkC/VyJzt5BBsGwGG
TNAE3e20dPe5psMaEHnnueFzEdmzKu+nIiSfnMGo23mWcg1DF5yyA2uRPCz5XtcLlqeYsuJqchCB
kkLWZB3WFZSEtXAydLmszmoi1ZkakgAjRRvOWUaUZoE/PjuCyXkjhkmXiZ0185WzOI4voxyiYGaF
hLR6Gjxq7RcJyOoKyKL8u5rG8hMaBW5Eh6rYOYJ66zJQ3U1fab3ECNGkBmPPt+zYTNZSr21du9/t
0G5fJhA0MUO3GgVuLEMCtJ5pDaP1Mgt/SEgEHGRPwhs1wJgaI/HpRbpsmFGHDsv3tqTuAYphuReJ
SWIATTKGvuPM1HzHSmjewbORZHfdsbqOG+hobCcBmZQVzJOKBXGw8Oa4x/bDic3sHJK83dyh2czh
+RyVRypOxAAHmvGGMOd8PqJJBMbiDAdxyworbWWe11GjO9PFEmpisImsh+pZyaFrYk1G5X8a0SV6
0F0IMTWvHTIVow+qqtgGbo9v3Mxf9g2qgSCaa1sdkZFemailsYpYqHl4UzWHXEU/TuVNyUYnkZXp
ezhzd/W30nj6PnS1Q+OC90WRCDrlIPdMEFOcSIG1KhjGYJwUJJ7KESzJzFY8i3Ml1INfh5MBrGCG
+wkZSnM70o598qjUfrJQBu+fJbSsMp7D2Q/iwYJqcdRMnujW4ejPVzPtl5u+NnSjFRKIZBmCtkbu
5LpwNcJsNxIMlTxVLXvpKwthuR0oT+scTLBrJZvwoZ0WaMLg6b+BHKO+KstdbvjUyq8UqjxA3oi6
zEDQGU0dWZ7BN4aTNbiqmWGvOA4BvnfNLJ+LGu61+Gp1E5OCBrA5hL7QJ59CCQ2BZ/Hvp7FCj3fJ
3PzRqQigpo0u1ZPt4/1uy0JptJ8hPq93qEh8tgdriizrAorvCI0Gqu/oz+TtppYYeUcE7XuEiNEJ
YG8Q5PCdFdVR0lxZur1HAeTZkSoUio3Kywr4VnfWC0ip2TbPFX0RQZuNqGna8quPMxzBnYrS3wa0
Xn6AO9vfekNZfbOd6uiXXgsDAj4AR+0GTaQyXzV1kYF3CnpXDdiy0+OzsZzvWesAes09eeVaWXXw
3abHCEDrYsfB86HJ7Cn/c8GD/rFDfN61TinfMiRUAYb5E5uuvEAg0YKKqUh4XvmYABcjTg5txX7O
zAGdEb33oST3ZkACS6yuthOOaeRuHgn/ZLUEXW9gk9Byk8dvGybvIY1pV/pAbIXjFAONav/IAR8a
Im5B8RqAoXrL58ZFIVlVOoKtmF67Y+/dKeDjrnVrNU5MvQ4JY1YsX2dSk2u4x3WruiVWrIPRFZtG
ISRAF7/mC5J23Wxgzku/yoqCUUZ4Zx4HU+gbOEoVm8WpxMEZ8LMTN/eWN4xdwFgVEiAH7qGmdVzt
bihVmBigKX0ox/7exze2d+FNEsCkpAX4fHb66YFOM9/Tpvefl5JizCqq9WKjLFD+Wpim+HREsn3i
/eg8u5xaG4lQsGWgjbURiog56UvPWxP0lSI6V8MuKIdm53qztYKAs/OZ5UV+6wRqQg+vKx4KNbNN
i4lPBPOzPo/cnvnP7qAd/wZux8VK5EBjji2OkKiy5AhkWtaSNIQtIjptS8eue+KL71jO7oW5RvF4
bqoJk7ppeWKmlZ8nJ8QgZ+mU6BNIMHAcjwobyEKW3rqzf9MsRYhjyhmeJXXrN/ANQcOqBoYScAwD
EPZt7NEyCo0CVg1Y5m2O7QUDBqZSbw76g0JjeTu2su5XI8OhmXFUflz59qYZRBnnfmeeGr8dEh4M
bIUkBc5MmtjZphetSbyAs7el0zQ22hvurDwo2pXw6uIbEtD6VXYZ+VKOwcvo4yh2xowggEtqkKlA
fSPHJGjSG456zI1YjkAvHYG/xkfyrRNguspR2ajwC2cPWHS/aroQ9Xmx6GvAXhnSNDGh8gVOZwNT
znINoyaw48ayrGIPB+UO1SsMv6mTf6poPT6h0YLCm47lFuBrhjLAstSSWAW6uDCqGIr9RD0CR1sC
PqIKGmTkwJmEK6D5rYT0gXxBidfpyBhP3pYiyN48KH1EkrJuXbIlT0JU/aBLdhBuBLi4K6Ohxogr
ELSMqyYLYZoNGSjYhuEA94py7qLc4VONzqNBGzwgSMdKmUv4NEOCLKrgj/5VCuYX67qrqh98lM49
D5Zw08JK68sic1fjMo1zsCE2DBlOF/TKUtUP1MrcpARldJfhJH12xVLfLJ2Qq2DugL8Ss2HRUDZ6
S/yRrMeZ51fH8ryL2qVq9pSIDgiiIY9bklVvGSLN2q36djMOQTUmYW8giKPKKvVJxh9042bPU+vR
ZCDWvNOQtChj05VmU82EJgStqRhmJEJsrBFnTsTGRnztj/o0B8xB0OvF1BUNNFEuPbrwTeFFHQrE
p8XDNhoxdXryoPsEiGfYePeUzWYlXd96BOXIvinBtnkpRFD36CwLDH79toSlyjxOr4hPyy2DYEUT
W63fH1wXfZoebNwNB0QuVkSN27YrexK5VJtYZKC6VlmYxwINcdQlVfW1HPVyGKiyPxemc2O3t8Ud
W/wJbaKJxtPo0kPgifZuhrTMFqi87LkLS/dGidIrkhxklG+iWMgq7EZ1zbijhzhjFTRm2dQ0NzKw
kK77EGyh49xtllZYe7uUy9pB8/GgSgeKLrWdb0PhDKmHke0drxqkEhlzvpEaAxOMl+l4aHWI2UkV
NlxgMy12ynk7fmdS5NdAiXlb6MTSu8qfuwJyZx3kMFtb9Dfg9EL8MCtkc5S2WpZ7AE272F1m98Zy
pfjmGgtebmhL8JfShKa/Jj1Fg0ep1lmJcOnR/QzdFVs0RFhNxeMFVdyj1fXYCF5e7Po8JE9QFG5v
6t5RPhDT6FihoVdFGaYkEXo/FFoMg3UoiNd+DV05HixdgyPmoxllx31t+3dN4CMvQjoYlwxEXrfP
unXRWHIVSok2Js/gIZMBz+Y6Y/cswcJZ66IsdrOH5gBjU/6I3vKclMD1NLErkdGiGWQOQxgOe2HN
GH6TwU9U0edPeW91L1bVtJtK5YEPCtLSvCAVo8+z05Q1MA8o5eE31n1x+569+uOI2bgzWcG8LyWD
Ud201G2AWsoy5naRdrbvMlGUa9gf5y/UuJhYVehuHHiB0jguQ+Un3swWyLqXZTpI5m8UA7+78e3m
HiRg/ZyFtPgM6Ln6JIxbvtnl6PYROmHFXgL0gJGbWPboHLMd8ILuZqmydjUZnX91i9q7dpniT6Vm
LdztpfK2EoqM+AEtR5FjFXwdiqJAaEOREcP0ih1QgPAHy6lxckHqCy8GncXFjqUAYV3w2ayXzMoP
qj+ar+ZNZu/NYjdbtIDz77BwC24coqF/2lYjUqOiCfPNQPP+AKKOA4WnTJFt5rf2NdIK2JHgjPoq
Se1A0tqrekzmgnEFsEpjYsvn+RYz7IVHUrvs8zHdTOWQB/scUmm7crbHfT066MvA8POJsLK8Fq0V
3tezq3Y9iC+4Ah1SQEIajAKNA/QKDTfEcaYVTqFst1CyR95eflZABgPh4MFNoy3BPrerjh94J9E4
8wGdyO2gW9EsyHWCTn5/3+vGjkabCpjGYFhU1CJMsmr2r7qCz08Vq/S3xiBPym1ZrTRbwiRsyLir
ygBc7MYU4bU/4PSvR9scsLj9lVWzAiz9MXRfl2AEOnNpyo3bCXoNTEM1xgVZuhsQGIp7g4BxP4Yz
QT1LA32j5snaLWTsXhuoEcdV2fYvLBTi4GnYOzly4oDfNMF3SInJreVlPLZbwNlINyJlQkCNaGuP
b4sYvF3b+uWzW0CPys+EeCxcM94F8AKI+AzyiChy9KZlkM1XOammzzbJMaoFGX/OYxLmVrURGn2H
KAPH5bmu0WCIfMxEYip8BLvAb1ajHusn41vBd+np8HFoxuHezFPzMHBdX4ULxfk2jANMhVjlxk3b
1lXCobSGuERlDJlGOM0H2ntgxWx45JYhDKOor8Y9EbTZeP6I/Nq34GcLsp2Ain8PLFLnm+WHD7Li
qiPcCWMEMOveKdGhxPvze7x9VV/1tRXcoorsNiYQ1gFVNF4T1J/9K3iH9yA6cXDUWzOPVxVyoTbK
oTKxzgC2fHSyaYib0rWeTNa6aICAE7aG5rHcgU9Cd8VYqyuoSfk/ALPxDjorYGMyoEYoEl+3ZKu9
qXtCR+I4haxHEGO9PG2HKnxV2WzHOmNFjU5P09vbQtownltgz77tlgWQFXcw+usIYMeurQFmz7su
/0ztmmxG+P4kUMrst55R6Fb0tgVoEzoVRbTAeWAvuXD3BXGRtTaUvjWNDtKyqbM5amALf4/bmW9I
yNrNHNglOJKy+myx2dvBG97b/6tQ0GCk1IQoWbCcUPeRLq6+oPuYj+aq6G1nzfAmv7TI3l5gIQjn
COKZx5B02Wbh1PkkuG2PsYDM4hqYYBqDKmivkaB3scmr58LP3E/tuOTlgeYwSko4UDJPRWvBn4EW
ULmA/ldwXS2wyPsX1dYsmkll2wZ6VF9nHdIrnKTmrkZrCaUvG4Ahyrz9CPW+rx6m41cNVuhqHCQk
rpUJ2q+NMsB9ZZ6aVxip9IjpDVy0ioLcuzUyL+AOJpQn1pg3X4jlIakMKzW2iVcDUgxEKGIZCSd4
Qivoy8xPouXY03M4bF0Yunwbp7r/hPHV7GBj9/mb6Pnnxg4nINIWrVZI18QP3lF7SYxXB1coM+iX
ygvbDXcLFvs4jXbSNXUCwXvkOf9C5dt1AwnEtpvbKbErMdxh2Khiv0cjKMbMp3x1jdvBLwRkEgw2
Qg/3aHVahiOGhJPtA27HVAWlSOQB/7Hr+Uewnt8Ddn5B+Gy+t0dITPf/ANUDOP1H0+q41d9ffkJ6
blr99h4O9PM//Pe8GqPr/2HhEZMPthokn+2/8DyO62H0jBkH6BjgjmNA/ReeB/NqMD+9I/YZ5D0b
LPa/59U+8DyQszh6RYJahH/+EzzPryDT/xtWe8Hxz99jf9GckxPAv/egHoIDYwC/g6bdPzPq/Pvq
JwA2n2F/d1xZd+1xEEaCQ2DGTd13sAOo/hmV5O97AAbw/gk6ZwhsF+nufWnLTz6bMUO2TY1UVvwb
hYFv8veQp3NLdAKMBbu2V7U7chiojegYcuFsG8jJrt59Mf8BWL0HVJ27+gnwDod1RQXHzw9cMaJh
NV+DW8/ijy/+K5Dwr7U5FT4I6QLMDwZ/957l8NUwWe0LznCcvgFUmj6+xa8Awr9vcURBvP+AcAdr
QYJ5P4JsuSlh4BMZ19vOgoZgH493aHRdeJhzdzr++bs7BTIsTYb+3V2JAyl35bZ0qiQPnNfQNWlm
lZckSLDr3kEi/36i45+/u0+HKS1UA0QIzRG0fCVzUQV5QCjVMJgJ8kvyd+dezfHP392lb41ZGuC+
7zKoP13jyeiDAYb1ltHO/fzxqzn3ICd7GwN7YoAhCO6A6b2xoQJRwWR7YvlDhSZZ9PE9zny+p1LW
gJM3TUOZf2dn7KtVjUD5afrl42s7xzDxNzj17zdxsrXLQMvB74bxrlPOylViNQEGEPAjmypYPlWw
GS9VsSpHa+VjLgaUuAewwMf3PgbY3977ZNejjO28BQT/O2hfRcvU76waQ5lrlpUJJa8G2DsDf73R
BUnuyZ9gkcoIgCZqD2GPI7foP/+jAD3A36kBPedogpmp2FrtD8LDC8t/Isnw9xKdhA870Lw2+Tje
ESvfEfKqxFfPADZHzBWGzw4w6RACiSwdJCIje79C88cbdxMRyYV1Ot7oN+/olHFWhXVhaXeG/1I9
R3CyiyasF7otG4dhaZYYTz8FT1ze8WzttAaSvnJVaA3vIg7TSx7x5giMOsplAwd/4eX5xw/kdz/q
JCjVM8RYB0tC/nOc3nIK/r6xn+BLD0WUQkZ9ZceTbtGrnkNId/eJJIMTjZMZU46y2nchWZp5w8ru
gtuhWL5Jxm7d2YLnsXgyXYaZoPUVs7j17Jj9hK6PzuerwLFQx6GEMnm3s/nwYMLiOyaRyRJi5Cgo
GlUB6PAwZZxjwflWB8U+X5Yb1psHJAaoPfhmGHwoL2KGM2NQAKTETTcOmwzN/H44KqTxK9GgSzS0
X8Js2BBXbcNRb3JR3QkWDqAvB2taiaRx0XCuTAmkKcbZ/YSkuzJ7OiK0oBkbOT0HU725B7dobZAY
Rk3ffp7VJR2SE/rjXx/kqYq+M6Gip2hMpMXC7qDcUsadghwbjORI1GctOoCVW18jvDbxPI/jOhth
4fHxt3gmFh3TqPchtTMLlOnngqezlmsNSECj6s3Hlz4TDU7lBgpwpLywdmXqTfXTwOgXCyInrpTP
H1/+TKT+qe3z7jDw4LocMElUqhTAwBWVuxldSLfFMLDPLxDSzz3CMci+uwcUhDGkAQQ5ddDAACLB
t8id7irvtgAZ/ZLk5rmbnERs0pDZ97K5S+e+utGWvJpt61axSyLe5y5/EpR93Tlhp3yVWgoaUkvV
3gNDkMVQNLlAhzh3g5NwalEDqxeSdSkmIlMM6WwrcjpARsr+ol3CmVsc2QLv34OBAaJUzNFpb83p
YlkmIhrDFWCo/mwbnMpBDCGjzQhcZYpu5hDNjV2sMem/9ArObLJTxh5IOkUXeFWXeot4YOinM/Yf
WsjZRPtMgnckPLxfmTrMoW+TDzoNC/6Du+i7cACrec7TMadvU2BfEBE59wjHN/NuJ/iBVR1n7gqa
pI4XY99xwGjHC0nLuYsf//zdxaF2Bv2ysFcpuuLfegCOo7ldLoSJE9rkX8H1lBBUARcGBJjoYWyz
7sc+qf110Y87Pl43eZ9YLn/NyhYIA1YCOF++fhyczj3Rf+3pGRSyADd1Q76WnYuuMO/m5M8ufrKj
MwKEbKkDHBdQHdsNRQ5c4OixC1vhuKd+kwecsppqwE/pBJB5Gg7egBl7ux6r8kGVxVVjsy82xKva
Ophv6qajF+j/ZxbrVDob6pfzAl2aPkVWerM43cPkeZf8J8+cEt5JVhO2foZ5Xa/TLvTehmaIPe2/
6cFZtZ53oZpzz6Rzp7opPaxdM9A1JTIhXTyVgaW+NXAn2LZDx1fQGJ4xolTuDUQjAW9SM6CSJXRV
bLDAD/04twjFGV/ZACV9YXUDOxa3cFZjYZB5TRlZO0vlQlXEYRe+nnMrchIx+rL2jQGnJ53aaS0t
dcXJcitkcz1gc3z8gR4X9zefkHcSLPhQcx32Nb5+pH3bDPaDGEFZ24H4n20PyFmuzAsT4p+5Ov21
w0+9RQFDqcPGUn1qKjty0MdDwpZfInyf+zhPUgDf9XijgZpIKx82dF3Zgf8ULOLCZjtzsHknccIh
mJKDUdCnNMhF0tK2wJphQoeyXaw/fhnnHuAkWgwF7aBbU+oUUBfoOXCM/uBoUF141ece4OTw54rI
XpigS/0e3iMOaZ5qDkANyFAXBOTOfK7k5OgPjAVumtA4eDD+2GN8Eb6iQ2xvodFVXneQ+Ln/eJnO
PMipgkDrV0NJmNapWshjZfSm1326QKL3zy5/PL/fHXGthXaIrvs+JSX6O1a+aUKAwOxufLtw/XPr
dLKtJw5SNw+ETovWDDsHuJmoIE0YC+mQrec15HnMoErtK+jg9X7WrHq3BGhs1BhjkVzFcO8bwC1k
AMV5YXUF+E59hUZqG6uRVYdagME1hTUErOlsxRbndewRQBtbS82bqaPuqpF2uKly+qhGXifOMgG8
B2HfVTFo4Ghs7qKG7LokNBNZlz7V66yu7YOQHOdx7gH+JG16AFgIw+4xrAATgtopcWZ/pXOer8O2
CG+IKu9Uaxcbl7Sw3CuneT/2/fBJE6vYFV7QJCDgZSs5OiDBSB/0vR4E3Atb9dwCn3zp3QTI32xa
lQ4tOTS1rSNA5l8Bnlwd65qP3+KZbO7UII/lMvDgDC1TjdHfLqwDDyMXMn+XqKQwl9cgQSqPXNi6
Zx7IPT0avSrrdTXLFJrhN4sEEImRGz23Vz7e1cfPc2ZTuSdfvZBL17sAZqWe5OG+HzDrCoFxvNI9
crw/usV/yTrr3AOWnsm0DkKII6BhAOyRypJp6P70FsfI+m7vQjqhKqEfIFPhdDc5ZCciJ6geTUA/
ffwIZ17EqWJL3ztd0E0eXgTO+jgP9RT7qmOxFjzfMOMvFxKVM2+DuL8+hwHKW9q+06WdVLdw5L6B
hcj1zPiFj/fc5U8OGgMtsmBWk0qppvxrbiwIXPhCrbJKNH/4yZ4EOXgjlL499yx1hR0eXEJefKi8
JJD2rhNYYU1/dub87G++e+GDNfgzzDZZirRtNzfivuUdPDfnT0X4p7c4+aYWnykxStyi9q2NWfT9
UOhrq+LXjTte6OideR+nLsvlPA0Zw+QsLaoYXtwwFgep4eMv9vgrf5PgYYz2y44AYc6aqVeyVIBP
XPTF94yE6ceXPverT74i1ximNADlKfeLIJ6sZjMPwDUUEzB/H9/hXJA9CeQ6tBYO1gRNwaEeoqa1
0smxH+u+XVthuZ2d/ILZ0pks2DnJXEDXGBWtapb6mbVqs2AFhOF3njv7sKHofTtuMof8zzbGT0HF
d1+sNkASgQ6Od13K/noJ/Rn+NFps2wpSLUNHLpnKn3k7P8WB3t3HJgFOppFQZKkDjZbGvHJolx6m
2dWbj9/OuTucbHErBNYPqrY0nSRoO1Z33TTB2nLD7x9f/syX6xxv++4BMoGfKvVM024G+iAr83pl
qKMuvIZzP/5413dXX8CeAJV1oCng/4dK0QN0hx+C1r6wNucaxT+HPu+uD1M6WxHB0KYC2Ax8znXm
AXw9rf0F9Lsu2KgeSqQ4ALNL1c9Pibnf7PSf0ojv7sggZJGDSMBSUxwa9ilrZWIHwNwaYDkf0WZK
OnndACEf8BtTf3fJa0W+2N5yRSA71BXR8d/UXiwlrFguBOdz5fbPRs+7n+Tlpp3LovbTAAhhZkwc
Tj+W8PFof9HrdmvzA2Yj3nDrq2JXjjcA6MQtB9XMg7o1hPsMSOTqODuBE/yFiOKcOcF/vq93PwnS
Y+3CWNWmAUAvAEke5cAyIILgpNYAdgS4OHiDz43SkeLP6D5siA2srO5jWe+h5XQh4B8Dy2/e1amE
X+P1QPPzpk3ZeLcMI/L6JfZbjNeOrJcigwbUE5X1+uON9DNr+N3dTtLHHKSNyQZGOO1HUGs0sOh7
ahpWQB7Ee5ILMZGr6LwzQr7mfHycwgA831zOt73OwBVW41GqtP3hVt19nQEyKCs9RWC28ZjZLFup
enk0NUi9VDbg1RUouU05skSN+RsD9zjSllvGdqjbqBKeAl0OUF1DIU0q80VeWNEz0eLUqckAx0AB
rmtSy85/uEesZhiA1vzxCp75aI7Yll+CRd0yBUuCOnXnPAPInCCFVW1iSKhjN5suZGXn7nIS8Iwr
cxsVepUSqm7CYfjO1JZNn9lySXb83Bqdxjy/A/PFGusUtGXIYQF9zOWltvzPhOJ3H9lJ90X0+aLy
Bb9+cL1+l5vFeWBAf+18q9SQ2xQZiqROyni0giqp5gVrCPGEQwFFh71nLLHJ5SCjAif93YJmwdUM
7Zp1AOnqTSXq5WosegXK9OAh02gnluQTMReS7XPLcpIiQRCB90BoVil3/LgN+wg1RPLxh3Pu0icp
kliWhlQ6K+GX42y9pn+kffX08aXP5Cz2SW7kB8CiTFVfppUMIjJlsQNGFKGgAinvMEIKw5TPf3In
uCH9+vXbkwHPbUC/axn0W96CW9LM89oE7Fp0dcwr+ZRb3YVz8/cLRsKTUAVNyAYiSZNI2w60LidT
TiKUdalhfuI78H/9R9jF/PooBKoPcnGMQC6/HqlKAPOPJnrXDDvWr2tqR5Zv9pn4HvrOBsrTu9JZ
kryiSZ9DXYF9Drx8TTEUAksi4nC5ap0HyxawPXssOSjX8gusipDLQ1HNfeAj1AZ4sZnw77SHkN7x
Fg6ctD9+KecW6iQkTejuFzApqFKg0V/LlsSdbV3ay+eufRKICiyRy0Vbpqx2r6bOgL3brz/+2Wfy
IkCBf30DIgR/wyqbEhE0re1bz4E8Hk9VIQAVTQsIN3B2K4cLEfXcg5zEJJJNRV4uNWg6IHoC5yQ2
0ngXRiG/TyDJTw+9d4kEeNVlPlNWp5TtMvTE1A4OMx8v0rmffRI1AAYHsBxqOmkBOtcqxOpvIXTi
X3gF565+EjjQrGtq1M1lSlp13TgihaDytz/64cFJpGhaVZe19uq0zCsY1LjwuWEzaOUfX/33EY/8
lPh8t+I5bQNmRhcRL6g/oROjQa/NPg/EXPsFOZSs/CZBufz4XmcWKTgJFBKqGNBPHIrUz9tHMcLW
DqJd/0yJ/q8oFJzsXb5MAZkW06RGQxB/zF9g6tT+2dsNTvYuzM2B7nNUmUJUqFuNEw6FOuTu9uNl
OfPRn+JpF3SlQL8Sdeop70tdNK8erVa5C5Lgx9fHAYI48N9pBAlOtizPJHyYWCNS27U2yp8OCAaU
fZ7cHVXBzgb5VsB/x+zwf8E5qV/l/ReGRYTfYjxnC4jDdhLW1t0MoRiHHchANvrIS+7eSPmIiwBO
H5GKHlxciPUgh7Bh24ME6dXzbpy+zEdfHULj0pJx6ScMqSwpbehq6EgvKeI8BCzWhO5gZwvLw2No
7+DxBI71Bn+ywOfWmuwdzhZFcpQTX0dGr7jvHVTt7XV/jb/jwuLNd3UyyqqKIBERed4tivQDDo6A
D6/CufdZnuC8AE0bFh4sVlB1w9nRDipycoiH5o/K7x9opoBD3el6vqL6BX5qQAf6tQ9EgYQDdLuG
vEmESzqmTCwOjF5xjb8TQMcEP4E6Bgg2/7iO4NRHIvxia7KRBdTgui6GMRvspQv+ncG0wHc+49Qb
bbnnlZcMkOuvfXDptdpjQh9C5AGPejwLwcSP6rG6bZ3hCg2OLxwswqG8Lp17p5oTF5bUA4U52JFV
67Iv+A0Z5GqCvAOUH9ISzpPGeII19Ll1QE3yJijcQgjRhp5r5kBkAoyuQ4ceRoNKENokcWY7K7O4
gP0N2+MSOsaOUSfCYG6AbutCwX2115DEPT6kPc0YhncJfgpILbGq22NtFZTsGu0L8I7t5KIT3bmQ
cZJG5hPG1/DRLlIoiAm8W/o1Q2f4431xjAy/2xUnJ0JZH11uGhQgoxd+Rvt8xrJXJGnnBo/WMPvC
bc5F2JOjIYAooQZ4ukD7nG1Id/Tz7KElssSqs0F9hVAHdy5EkjOrdYrdViUEVSAujBwD+he7oAVM
zoOUyIUHOROn/OMDvjsq5GBCCBmhvgZI8CHP0Hce1Lbs6wsq9Gegu3A5+vX6CmN5iK4QkTbYD7nJ
/5ey89qRG8kW7RcRCHrylSZdZWWWN3ohSiqJ3gVNkPz6s3IeLg6E6dO4L9MDtVqqZAYjdmyzVqhL
deKFyyY75p24xUxD+ajELnXMXWuKB318+79Xwu1v+C8rwf3r7AChQd8TceVDP1nOZ+IP3Utn1bCA
t6R/YTrMv3jT+m/9bv/4Of86TaRfabpE0vvg2bm4U7hZH4UuvXjdJgbQWtw/YCTo1GAIC5EQwLrj
JhHO1JUPZRmAXpy3/r/Jb/7pk99W0v/6Tl2Hy4EEBPUgirZDmG5UFy3dxPNaWsyTwhOMp6L6tx7b
f3jh/m789iBRO9taNA+mV37Xg3wbvH4vBTNc7b/Jbf/p8/y1X1SjudWSZp0HPS3toGN7Chi8tsNB
DeLBUNxxDd1o/yUVd4vA/tuy+WsDAb+zJt7CwPokxp+tNVyUv8Q6LCCmp2HPjaD/yySoE7X7v5fp
P73ef+8kLgwGZPPVQ6naT3DzX7Uw/r/kw/8vevq7JdvMJN5xa6oeOn28gwnBOT//8JzxXzamf9gD
/8O9/F/LbAWmCKDbKB5G3bpPa+t2gB7HKr3aPcnAzfjhw5H+t3DnH6Kdv9uJ22KQMMj0iurMod1O
dX/MaPDlH916bzBmD32r6v/17vUPK+7vDmI98W4Tl1b+UGiZ+2wD3fjlFI34ozVeDUq3aDqLAMbM
mWwxrBCsng2dnO2MjgKIfE5pnD0lSZfO7babVTtHQDrHMRxGK/+XC9t/qP//ZZ3+3YkshxW0SOdn
D9Dog9LmwE+ZeSy9YGkeiX3WDpoOUZj8siAy3kIz2z6mbrMvbon8EjwIxASxG7aHjhtlwe2+Kso9
v8JNfXTquHTrOG3fM2nFt/gC5RQxFGAaiHnDTFaqI0X6LaaPefqXk+IfDqK/W5+d2hWdXfB5qOzh
gwGnpQ//sngsuK7//a12/gqWpd9K8KZD8ZB5dX9vYEGHxOWBk5uMg2Nq7qPlKO9gOOVnaQ7TDoGk
jEtgcLGu8Ai4jf0EPQ/+RIZWdo/TRoWgK6DZ5xoNGaL1jwUvMTOfi6jfSgMIyKjN6UtbtEWgNeA2
mkGvYQcXBkh9BuUzsXonS5/bywqaKyjsst+PLWgj7H2/2tUu70zcPkHf2ePBb4efmSJm8ww49AWU
+r2UEmIpYUG4WNp2GvXNvMw2a83Yho+haOZdRn/miXY77dUaluqwwe+gnTxjZH9jesmtOrL2WyaJ
Kdpprwm/QM7gU+cYwX7YmhkUsxQ7OobTnTC6OVwtGFulmWl3jrtOUQkyJVyNpuQZFfLnOovqqRVW
fQ/qoeiYg5jTR1EZxZMjkvc0NQBQ1BAWi1rjDqQz1as2Z9stGj0ZQ1ZpxATLgP9hZJFu6lEBgg43
CppBYpnHsW5zDHbmo50BNdOmBNt9Zk2RGJR7GPy0OdGm6PZhmcIugCN9YqQg3Zd9/0V++7vsVH7E
a0JvZGHoL327VFehRvPsU9Y/lYDSjqIu5g6AuJqvjajGvRqX6UD97BkK9xBla5JcMk2uO2vSnFOZ
bM1doXVFRF27f+MO5jbkzzvnq8hGfb917rzLwQrurXGy4tVLG2rU7RaX66RfGYT2zyqHoklTFtWl
cYyaNN3iThXvmtf/RBqXB27JbNaQt8GAQqJKm3sBFiCEPxWBtj9m3nwwZveZwZb9lBc/1NLV8cro
OpgtWEZLBfTLLE5TXxy2zHWCwZjZHcz8PZ1ncBic/FV/JzJggaXfxn3SRE41fw9uGXeuDBefe1Oe
HPTajb0cvsJ6XzT2zh+Tp5mWqHT2L8k63unLqIVltn3T/WXtV4K2Ldml5pegUKG79hKgDzXNarey
QaZWHRLZJfzVUjFp0uB97i/ggQ7D4ASSAQREJmEOJzDjd3Zluxd+FYjpfUmcsFk+x4mcomCjnWUM
qpA+qs9pc/caV+kAqlxUG9b9pqiNtUNEHPWkjB4Odwer2zn0pqI/s07uzGp+MsiCO34zR/mcr8d0
7rDIrNTPQDdO5yRztDC3txBH1oFP7ek9ZCczO8HzDaf2yyqqT4NXve+ceOM53wQYdvMiBj3KAJpb
iRY6Nu7sOQ9llQf+2sZ2Yt2eH9alYMjXw+23siD3VbqFcpkinslACJOWV3amoPL7iNN63xGQrgx6
W3IJdL089sVnrXeM2VMRtYd7Umdqlg9rZURDZUAvgH/Ef731p4arhw/ORCPBtoAfGt3nUefbMOcg
X3Zd0gSDmkMQ9Y/8Gzt7HoefvjRCWLwhn2Os36WX3Yn6N2CSkYG2LLTNXWf8LoF0RaTt4CjtZ2c4
Q1o5zuNq3358W9KjvekF+uLyyrdvGAAn13sdFNrtvzaAWMHR2pAxJ4dJQyzNgloccMR5bwQLD7Dq
j4L5w9ahU/T2jTnGvcdYPWRfDUhJx5dQnrIcMccGWhISk9iwANzYwdL9MU/yLJsVKmvVRJ1u3SVF
GYLtZeg09+4zi9VCZYt67hZSVtjlDRAep7oiOZx2GYsN6PBh9VSUT/n9knjsQPqhKGl/m9hEU2tX
5DKq2urPWJYnfs5OL+9l0sWL5O1fdk1qHDOnSvbJbRnyodvhzjdUZPbjI99R2SYnbrVGyAu74A/k
l1xtuPCPpLAPYu66pwS+Eqjysy6623qrSNznVsXc3ICoBt+ahevRLdT3mCZ/bug9pTMban73y8gM
hAs+Qt6pnG2BxZZOvD+5dszqJO7mt62ak8BbuqgauwNf3S1KSX1uHmL9HHtjr4PR0w08AeU1y4+3
NaMWNZAMAAaabe5vxxr2xlZy4kNbS2EuG9ptBSjMYd34qLYHt+nYxNWpW9i916PhYDTnieE8eNUI
I0RVxmvynONvQGwFq2+Obm82a2vY0hhOUDA3SB2no8ph/JBFouIVQHgN/CGLmkUPoIsEt3etWz6X
2r5bhHptOEpGkyblTHzdFny/vc42gnKftBQ7bCW++eOt7b00Xhn5itqa+cJZXHj8Pevl9rrdfpTb
X1L2BEcaWlgogr52KLlML65Na5p9QC1meu7HyHvCVzxuzk/LRZFaz0cclYFTfjvCCmBnBnDrbs8d
yXWgd8XTVL1kzvZIizCAbOPYAoq7fUUeLDnN3L4MPT+ndueEat3yCB7so8lWUPgizj1Ym3aJTCyr
lsPkFM9aQlKNohQyhzW2suajUVqkRHEF+3eVerGj8+aNUg+pfw/3lFFSnFzNPtKt8WSt83FsLI8G
uEF76jG9HpsSlWip2FnsLZoTR9zr8xxqawJVhmHj2NPhvZbZ/NbAn4XX7VtBX9oTGDI2Wgi61Yud
khHKWH/G5h+0OnWiPJ+MXZrpe6XPdzDlI2/27gxrepZieZ/b4WkzNTp15Q6eBtdMXl+sYQ9KLbzr
OXccC5OM8Vn56+uA4KHi16d1XqhXyuncOd6vtV4vMk12daN/Mif5knOU0eoA9czqVkKtKrYXiMV0
abgXOKzM4QPuYkKze7K74Y1zs3kh44quadwtyj8X8CCPjeL0AWNW7EpTqLsq8bc9cVP6yzJ1a78w
1Q+VqNP7sFdVHfe+S2+ZM4EwyeUAYx+nPbBnUJ0m4Qt1RCfw7I5DypSdogktaSMgI/OeVvQx1pG2
hoOE1c/chH3qlNuAxYRAvGMWyDopFzy+nFm2U7uCBdeB6H7YvRn6RgZbWmVRvQAdAu6/Pevk3eCF
Zc2pgar6OYjcvNfpwakDffXzE+0ZNl0YaHqeU1mne6G8gTra6NZvOmDss61Zct/ms0VPCBQi0DWV
SaeWlb27VZZ/KCYmTnZLNbmsxyUJcf/OtJpU9SXL/DI5zHrj3J73UkLCASQdCKA5R2HW9rVKILXG
mqX9QmwJUhV8E7JQBldfR5rcjB34b+eZdb0cfL0us6Dtc12AymYwecsMMn49RKnn1d9QS/Vq+8aj
spBorboVsrC9iHVH3MxYn+fVOpYrT+OqYnC+P5pOl05Bmy/jrwIK1O0Psqe3yS9hCpdS/emkZq70
ZuvQ52eAyI8eF7fYSlNfxTmM63iyeqUFXM2Av9pg2+jAEzUvcC6Pa9uudF2UYMp6j7VouTAl9bZB
jWy7Da3f3q35B6wRT0fb+93W7Oe1HCsY8GKMiyLnyjSqEqaTmh4FRajIXOqJJvWtfaWjpHlNJZ2K
pdv+9paGFG2t2ILNr3G0skBrG/vXkjXlcaiGCmqgOZ7hNhmRq3EMrNC7Q6v1rChJOrhoyewYsK/d
evq2e83GepIaT8kIzQ56qe2QDr7dIybGgWpDc+K1W42otrwFxKMShzRz6Z+fK3DEjqgjQAo+Hwn0
Z5fxYcDXg7OCxzk6F31ojdDm//4Y1Ti9q2lT55r2v51m9uY1lzmSewa2tGcTpd+3Ycn0Hp7gdldL
Ayy2JTKwa5qm1rAhMxRqFceF5t9QXrmjf3FvMn5MlZ2Eg73oZ7iH4CKl58WTbegXx5U2/cgWDbCd
EOdlMdm+Vzj0P2enSXbCRACXYd/eT2VrnFYJNFaT6cK+Y67PdTb1T4znMFtt3LxefAQTyCcn4jpq
5iVJ1vVxthD4AfzP82DKJ/Ghu9oYD4M2Hz0sP2/OkogdoOD8mhbih54Xv0TtXhETyJgPO5wrfAkB
Gy6Bjj4pfieTOZs5lrjj0It6wMwjDKw4A2/92g4gaQBuI2XVwb8ySvpUeHOET2FnK6AF3vYiDJDW
JoB+L7th6Wv9IZWODz6Tk463aPXLex+X97QRX1dO81jYPjGkgRmDq9RgyOdisu4zJEPoIl58HzZz
NRAVbQ4jvoQdi38YCO4F5rWi95/SarmXzURzUqoeCWB+NDCqQ5PfBprM3aMe3Gf4sj34qYE9E+/p
Oh3622UGhVVoYl9k6y5ZAWwrP7ulfSjzeGMRmkLCfNDF77SzfrgIGymSqPUBai2pk/m9YiPwS/E0
e/nOcm+9QbXPJP2cjLdF9FRXW1gzrBLB+oQBNXp8akDWnv/m9+jr5iEGmGszCuHGc8O+Dl2PR6jT
MWUV98PWXbUtu4cndjd25cugEJ8b8NyXudUjITxEGNboXlYg0fuicZZrmwrvyMZP7cpKTBGYojT3
hj0RLYyJpp+aRnQvJuWSeldv07VyuTKsfqd+zZ5pXSYT3ldtZJeuTC5Omz0xigT31OB8yRQoKRzi
ja3dO8u2As3P7+gw/fTM/FdTtl1s5zoY9qb+7if7ui75fTkgBcxJ7xvJEkCsh79qtY+q7hhsdjF8
3LoQRyf0+zJeOAvHdXpb+QPlPP1SYJpju3VlUNSkFlKUAvC86j/lDDuzgikXdAmhPz6TP3PvsIjU
vS3Ww60RCyEKuLv8tyH4b3Ip73LRHCczY5X27v72vXsVnhLXTQiVOuG9DBjGw2KDIFyYM13F7oeS
fD6HIyWAnb+HhLUHtrAj6/1UYArZIYEcYwKlPwO9IEa7NcFtFN933C+/9Ha3Ty2M7rFu1s/NaU9j
zfrNGiGfGOwqTpbbOX9cYRQHkdXFS8d2HjhpA6JUU0dnRXspQB6nvTjbtn/SRnnQSgWFet5783Ry
AB2s2TbHPcDlW0yf78ak0qPJysNFT7+raYJ41ZiHpNXYEDQkLICcMX5NwbjSx0e/AiiEufwxycq7
c5jsiRK/g1EP7Uuqygu52IRNdwtgl+JO4/uiLLogerTaNHA3/SyFVgTpWH/O9XiEj37nZdulcLND
Pts/l5pJKavZmxKI6pBWFz7TzkdAFetci21nA72e/gJzcuPqJxoQbO1HlbV3gu5LQJqZtds63K+T
N7CZmrd0Dp4U7vO2FY+lZweas7x01BpQ6fLDuPutGU4jKJJ+ru5Kf/tKyY8MmaQ5qU2v3sityu7a
OXBT99Hrp7PrN+dKrheMilevHYgVWX2WsVxrQz+lenObrvha/PxQb5Bh3dn/LJhjv3m+lmDC4zbW
011J70TA2/S4kthZHD2apXdG4/FopPZJMIEVjJp3rDT/w922a6fE2UqXP4XuvCgXYl5WTifrxqRg
UOQMP/K1TXvkb/Y9PWI40mBkM4xXHXNjebRGfy/K/o/XkvoU6fhAvuYHvYeMNrjXoZo+bZ9YnCeR
r/5L7doHu7VhRMIoWVZ95mtLXxagu0BSD3lZHuZcdvRkenJP/6XNsjVjd1l7Uijy2ZHuFcNXHuSF
fu8BV7RVuRzQ925hM1qopElVHag3i5BuXgKFvocMkp3GkcB4Sfas6Jy6wQCU2GpgMBGqOBpYDGex
f5q8x7VjaKwlkq1g+0gPNUl6Hlp/OuaT3ZwxuvVhPfbySfMXO9badaBxal2qwHe67sGYiuY59+ws
Xq3iey3nt2nJq3u7uXFgF8O4a24daHxK1rq2YCgQE1TWZtJ13pG1uVTmYqI/atcPpef0U/prdSJR
57/1SjeOqbFW0eB00w+3too13LBwofoEF/xTSVWGZs366axKuQEprnK31IlNGsyaT/3Acen06H2C
VJ+nB77V/guEOR2upYASGSBu6Xfj2pRXWxLHlAOxZ1EbgsIZAo9NbzawEcMYTjQCxz2kbAbrsJME
k+HBpgd284hzqsMtNFnpB2HD/Ay2uCGTiVzHYLsKzdz7IrxwnyYjlR9i2uDzKE+v+kBJIymgQ9s9
YB/bhDbO0Ft14p7C7bdyVVzBZuLYlBOcc6ct9rne0MrWTzhbzM4Rp16u3anDUXX8T6OlsqvsspqG
HjeIbCJEIeWlr/1pp88d9fXclREIa3HZps4NhT4DcySv9ORvtfcrV+IhS/Deha1XLOGq5T4Sdnuc
TaIzQ+58KayRiEXP9h43Np/EbxcbDv3GhibWcwaW8aDrCVXGxmejXZSINR21WJs69Iraxewe0nLK
XyVDLXu6IVeUELl2kBuiBw9GfgRX9KZgBJms90ylcOnRz6W+aJE1WhWk/qqCXMSY23s2pPqng1Hj
PKnaeCtMBaZXK5byUXPbJGyLur+scvlp9gtJLD5Bd96EmUYDsw+fwBaGSJvVBG4/Gc6jPdqHxdCt
i5RpfaHp2j4VJZ6caTatV9mO3RkZPSKZFP22fdN9pDepo5dxsoixryKrbHAFm3Rhb4iPSNYzw0bi
kg26T8ieuszm2cZkvHmIptByOeLcqKGJvbRsojWnIcVZZYZit63uBNMmVyUbeugtyOEWr3DUSKLz
um/nA46YPixWV5CmdLmaOLN5zPwe8jdxnvxNixLop3VMMMsMgksHJgDvTatsOg0HPIk0xSRqu1p1
ImiCGWRpBEYmm+Um6fDz0Dfb7leRqpb2dumFtE3LaG0xgA1lOpyKirRwJawFla85x4MAZBtKRBxf
5sRYnWg0ygKSri5s3XJbogSvxnMD9edDOK6OHLjQr7LTqEe5/a32S18zeP1pm/f95n+rJMvjWs9Y
JZQAIkfH6wzadGXdpe0jiXckaKO9kg/ousgpeaJNMU4h6Y5bbJRjBJ5cbtfd0oa+wx2Aqon8XA0t
D6HeL/xtKo9WnuNuyLHESWMzdjJxbb7TdLh3ZxdGOA3uF78imaEJz4lNDRMUjHlY0G3hkcIznR+2
WigtFgJ3MM7IEEVa/9ANbRbDG1h39aAm6Cmw6qkbDYmMkiHnCemc9h4DETsMj9ZuTlbJntw0+Io7
9x15Daa3riU7OwNFTrJs+lGvKTYaa9244toTACUCqFk6SyAonweCRFe2NjIqN2ZW68r5rdXFcDJX
jVA0Se7V0P1JucLmTX3f1PLJ9fX7oTdecsqBcb2Vj2jET1zh7qe8/oMKd8QZpX+aJZF0VWKG6fuU
MKKDCK+qook02+jAsvcWgHhGq3hcHHqWeOEi9bxq2t2QZTkjK+XPyuuZ98mGly0xODa8TA+Spf1V
Ej+3vmSSJoltxzhAfc8CvUJuINZfWmrHJUBo5GzX2l+vTW+TOU38WHEE1yo7LJ1FTYS+I2ve3j3a
mGTRHaiMHxNBxlPe4nI3f5EVoxGoJd6YWrnFO9VzR4wjKm72+azzQ4/ZOdnGNbwV8LnADdyhqre6
S1+1ybqkVfdW2d4f1ZtH2yvfwZGSLUpQx6QOhWO5YSHDmvJeNATU/dyQmHLK++m2B5NA6ALfWCV4
rAZtj+0+wwgeI2GSdHW6Nzw2Fzh9P9dS/WjT5WNat6NU5mHcSEv2q/s0N8WFWbI/6aI9GbNNZjzf
dbJ1Xt3bwUHkvIaFl//udYRMZt7tNqJaspFUTDxSFRthweAZr1C06UfTPkbKqJQCD3XS7/QiefNN
SMkm5ZfENw6sKgqsZteHuBy43nVVioHJ+Fg0990cinfLTRWTNB62XM558vonU5rnZCbzkm99eqbN
r47ctt5BPP+5NuPKMujtCB0TM7uWS5Wpp4kM3Dn1soIQYx3Gu2LmRlrXdggM+HPItIsQogj9TJ9Q
d83jjnPOAEFmPykG7KkCUOPxwIpn4z1/zku6Zdea/QMyfwPiunD3pmv9aXzy850RLa24LB3JAr9z
riXCNtLG3uvY5a+9t4q4L/0p2vLlx60DMcvVdZ7NPbcOuk/sNPb5FZxTzV6mBEzG9KylCTfb1XvM
vQJPoqLDcGxFx1bW3FskNXCdmSLifTqNzRyrkmKLpl1Q+qxw/ta9pxmR0zY/NoM0qqMkefdORCSg
EDLCxUfqnbHd9/7JhnQZ+2v6lDvjx9aLioRocku452rvZ5yZowTyPrfidgJnL0PTHX13uu9zwsuu
vnNZ7WlPv13j/nG67JQa2yvVuoug0R/sPiYGPakAnPiPVqU/DcxIhkY1/Uhyyw2cKn/k38qwqMCy
694XzoYshEBAACZrjPbW1SlJYzeGuFQeEGEsmN9kypgr35zPTaTuEecOffTIA3Z2luRh5yKmuTXg
1yVRRN4anNgz99O7pdB9VkH6psntrbaQZCULdMSs7SUnLnehyqMJ0SnH8mKVtbMDvJ3t6o6HTubd
jbOE4kXverHKyz+iNj6ImzBC+mUVb/2a/1ItqOk2y8YLqFUnMsd52HViwMA5TRrAfv9Xaip5MHLz
lQ1JcplSwzXV6c1oC41i13IbEnDyLZrSbHsdb9bnrDS3WFn98GLo0zcTxMDvXdcI5JwPMU105mly
tSYCnE1jMd2OF8RR15ZvLeNuayImkOSuHLIi+8xEvkMk6nPISONEdb8M9dFwSXG3drPbyt6POJuw
5ym9fhH2ugSZ7H8XWcq5PCdhqkx5InJfrhzh7ve4DvazW2s0/MhErAHEsTKSudfdOchXkWVq1WFg
qDr2Kp5RapAMEpQHj9yyktAmtf9g1tpnrygk1VjbX3KYB3GLlCgcOn+NSHqoOy+pkFEtRrobFune
t6qywsTov+eF2e96SGvuIxni0hHtWmCo6lMT3XLRJ/1Po+qW2mxLpVtlXuhZXUdvRg8jfzYFyZwS
uzXJytlmfVHRYHWzdWNmCDIzI0axuZIVsyUPNLmQzfHpmVWFqgIb1GE4jcim2NCbWLQUzklxZXGW
GWz1sOPQt9a1thudZIn71p3D1ANuqBMzPYlxHSNJGY/SNp4kdzGXSG6e4GRkBZTzaAOCdzt1acBg
7pVNL5c1Lh/tQANLp6f+Y+9rXOENcsuSWiP9GogPWIEHT85OOLuUOInjdIqAmf+QWOXzgoUpTopp
wBBjtkfg46gVhNVfc/6HVgH7ROvNwt7aEPWs8OGMIvtEQlWGud6LExU8h1sK2stU49SFd4SIPKXR
N0FQF0xdpZ4wEd2uNGR3LMcu4gZKW9RZygoWT//TSw1vFQ3EYTHSHrO5xInjhlEaJ/ElR6cecpg9
pfZsBsJseXB0foSLo13Qy64BqTgalWtbBX7eiV3NZ+QUn964ZX4Vis4Ia8r9Hd3aD9D18/065CDt
27c+U19pSvqxExnGy7zjpuzj2ySAIRE5D1s4cBUOdd1d9umivtG/U4hryLejsedSOZsxxp2ZaihI
u7mj3CprsVxd/APBOPMd66bSg9XkgawaEuuiSRbuy9MQm7JV4ZCmNV+dnUa9u3yZubBj18RMA94v
2Y+DtmAbFK8lsvgTLR5NlNbTFvUDHyAptUenN0g7wDPBBVJ4WbgKbLWNN+8haSii7ZXTy89p5Sa0
i0iXfBIpf5AhIm5aYJTnqfFL124CsPRGkxIlxXsykoFhsieOOMkPo3Tf53XMQmOYznTJFOh7yi4c
Wj4Otx5S6GgXylnnjxnuGgPJ3ujl91o7PGv27ZTu1MFqM9JWG6WYjiQ/d4N5gvYg3sqqXePGE03k
9+mdWxjiJFatOnJnaR9lbTo0XjlPvq0VsTkWCJttce3wuoyjScBUgO5H7MFZidKGvhawsVsLx71t
Zz6EnpqkIwqqQatf7QybJE5SV/rVEKAm3OKWQjQKM863KgsQA6efua91ZNNNkjrd+ruwiVmyan3P
EFGQ/G2pSNEmHJGeaKPGtLs7K6lIt826wamhWVGLbA1fF63x5BeWN9uSP7Ra6I9tkqSxNSb1Yz1b
nPaJMd3rbjbs8aNWkes4475XGZ2QytuCkg6SnVq2+ZlEtbzmQPv22tAYry6pWwofco0cC9aElmJy
VoXjwbCkdX4i13kvYYHEo16bx64q6xgl3HbHrPOtc9+oyWIVa5S2ghdWEQOm7fSs+rw+jaopdlMp
ktAArc+mpw0xmTYU8V3q35Q2MnI7zuJhGKwz98PlKjKjJAztZxmOPK2XpXP6x0aJ8aT5s4b/yEhp
3nD7Y5qM/ocxwiG1y8FCE5s1+3bDdbhhmNmVqVfu5jYzHxOh35RWnn31O8M8+hq5NS1Z/SgDDH6p
Z36OArfon0wmTmCsU/9jpoyAQXTonm8SahhE3YRhOOlp41grCtTmZLDv1uo/mqSFWtA87EV9SyRq
mvdT+Bnear/RX9oBRtFNCRwpHNRn6hDFl5sUNK31RhYtTTM/lKW4oyfikmQ+6S13eexxcMAbmHkk
mDfP3F7WX+lo+9e1poDdJutwlGRUCYWm6ic1cS89OYOhvPdV6iXbmks+taPJcDo2GEk+Zeo7d+RG
zTksSUPLQEjHjETrmI/pCNpNL3oZOT59cPnSpkeHS1SMEZrb0uz1/f2gJ3CaiKap0OOfJIpR/sVZ
jO8t5R2zdXDFPrW+CNESlIS2gB0mS/Jveg5QWHBCm5Jmk0rLyd0uSj/OUBujVXlzsIhGhYkp5U1q
20eIcbrd0NGZqbRFxW5pebtVUqNYMsw4gV429nmbm23vjA6buj96GE82udwPBh15hcjsBxiyw75J
y/GtkP4tTZWY06HBZ/iCzK05d1zyvvVNtC8+N6YPxj29R1Q7WUwU+VYpvuHSKOv9hMhob1T2dmZR
+e9rIUlZrFa/X1y5RGzbztFbkB4N1prHqyhxmQz99IiZGyOXP5GZR67aPRdU3J7q3vewdKKM1Ces
YwJN2V53LPNrtRpjR2thFqf6UoSOpnH3bYChDRSevmz81dEMhR2LXJ399PpmOHBrs6PKzLrX1i9k
rEjBwaou5udiyVWsVi37FLi+rulUOx9rPkyX1m8VbSyy5WptskhqXYuXurIf3Gl2H82mFS/dkLk/
rdqUX8nmumeT5oNHXJ3W5+rr5XXNHVrNaqRSW536L0k7Dp+WnW57mhrbg+8ZBBvIgHZ0j80vuCNV
bNdUDaFprV60GFt+xr6DCbiy9EhO7fDRMuOzk5MNhTsphr1u29WbEmI4mgm5VkZ6jUtNTTeGdTf9
tpB7H32H3Evi9PVHvVF8FVO/RGJW5pMsRxJlmZ2GnaksenQwaaRWxjaJXu2ObomS8aaJ5Ic004/C
tRP2K2XqmJoG+4ILkaoE0wR3sA/Hk+c66f9wdmbLjSNZmn6VsrxuVGNzLGZddUGCBBdRFKldNzAp
QoF93/3p+0NVzVimuqNiJq/CFBIlEoC7n/OffyEy0h0fRtVe4lKskDU9KuoT43dJslhUnBeyGU4w
OqcdCY8lFrxOi4A7gP+UmLbYFvibMObttHmTVna6s1okgmOXNczrS+U0DKIiR5XP+aoXBFN7AaHi
YJ318K1InJ4o5mbYY/jNKIcgYXWPnV19yywCGRj1s/GM41l0o4pypH00MI9kiK/Y65l9yDOiebyb
R0PuA1ObHUIIx5F4HdmeBiORZ7UK6RHSQjmRGv/C8h5AAqRk4RNSt5OEBd8GFTqLdRFbFR6P1fCj
JWUHq8i57h+nbkr2hijdT8eYDS9MoujYW8BfIDdM+DHyHU6ziCJiAhk4pPD9CQeyWOIEy+dssp12
F3Wm+ygCap21mEsukiod5E1JErbvRQ6djgDt5mTWRXwTVUV1JODMpvhq+/77GFHn13pamWvJqKZc
6VYJMTAyhudESdW73mV7LaXmHBBxVB+mMxofIR3ipjJCcW8mtvNdGmO3ER3ZgnYZYsa2rBMtxKYR
gIx03YjswVsb30ygGy3wWyfOrhmb0lsxD46fC8d4nvqxPUWRWe1IzNOPKnF9GCTjJJ07cngLB9IZ
6Q5Eta0Ma966ZisfMZokNFgN5cV22YIdZorE9Aq1I4xNI244cfVgk0BpKRjMEeJsYZRPUCt4UhW3
00FRU4EDZxRuMzNmZq3P3RmMUfVEI6FjlCR3pWA/57pQcl9gmOZhbVbCyTMjf9Y5UMvJgGBaOZ+d
BaGnpCo+1V3lfkSZ689smqtsVvUzEYjjihglsdb7vrxlkKoSZkSBm+VKD6eFcWTFCIvuRIW2M03p
NgwYzbd6lfoOvuwwNHkO0rb9CDLbeGtrhuH4U0GyHywbO4QcnoVISW0tNABjGp0NqUmQdpR83rgD
mXkRyMElLuPxYrVG39M+onwEk+jkvpCDfZ+k0EnJiTDWmHhMHgl++mPnTs91ApuTDgYqSMEfgdlK
YZYPpW9yh4CgShiomX2NZPkU57F+VVSDYC7EmP4URpEXl2PuEbq0TwDMV3kGCkbv8t0o84cIjjMW
DolQCCoEpwaUw8mmdHT9zbLAT/CT7sdvikMDb5Ma5M0kEvlq7Fq7QbHHPZ0lsv6+kD2ENZiTbiwp
5DXHGD5wVoU7MEfZeZpz/aCVfXcoiOwcV47RWodMFmTFDyVRUSIjX9ywV5qLwQctN7Vm7bbaioTk
3IudCaUiLsWXJLD6Ty6OfEscAWFGsYZ1JbCecbNC9UBPSrKBh2GfmvUH5oOMwyYxvI/SFYghg+d+
Ft+DQn5zuWl0Jk6xElZqXUlUP6Dze5hLJP5W/sOl0FlHabCdpX7CxiVZ0vOWtjavqeANfHVmW7nN
K9O5prnWQo9Ps4+wL5kNq4JAc1sS3Uh4IRi1KvF2xN5+PdYN+XOtTto0XpRUOfEp7PACEcuYofzI
9MKvYKlrdWyserXP1pWr7jpb33OyKVTAkLcpKn3Sttd6zdYfGU9tRIa0pk2fbOL7JoFT5RTy+yRr
Dw8TPy3cG4K2EQEtcl6oggZx1TH/2klzKOA74Fl5GNTgvtT7s9JajVekIvKaGhJmyPQBjcPBTiaD
ZD5Mhx0jt3EgiuABtiq7qQvnb+92iIRFZp9Qwi1bGd8au3UytOTTSV5k9fToLk3/yOh8MINo4yYq
b6JwDnkenY3OPuOx4KuB+Sit+WRrEQ+4ezBbbRdHrddX8W1a8H/SWIU69IOyLtcgttl66mNf5x1P
mX5OsZ4vynhXFc2eNgAapwKbvd7mxExjXbbRl2GmREYsSx1dad/cwoHYjiw3GYxnbSLq3YWBryfz
qoFSxOode2B0N7x1Zrqy0jCPEXNI4ILxEboVyq7xZFtoHAYuutKucPRVV+G8kOTIrPXtOXmtVf2p
YTuCeCcxR1gh296OJBZCUhhmslihU3sJwOcqqJnR2nP9qpTsw+4UHS0j4pZj6v5YBZFD9R3cREF4
lqIhrCtyLkZeM+DIree2qxQa72q6dokleCIJaLQFFN9abjlmr2IOgfKqegV3U9mpKSLeuNs02gwT
QNZ7Y44pFSN5KcJ4IxXrMREt4776LTHm90yPyJ9riayvRyQbUHB1yuRVo3bHqiQ81MjCTSm6jc5+
RTxv5mmt6hm96dl0b+Dw4T35wk9ZwTtpLJp4+zHPyXxrprJfJ8pwVMiBW3U5sa6Obh+wkX8Oy0Kh
gqxV2Omp2kUe5Z76VDTkfcLVRqBOGh9zIDJ05hvNgWxt6fpa6sqBbOcH4cQfc6JfnWF4Y/7xxiG6
rbTmccKanSa/KNhJmdHkChvc0EzV2TDCayer7VDHr6nyYWIJy3UspOMxYd5UlORQXU8a+LnUFE8P
o+eWvrORBFZW9Wsh5zvDVZj4piy0H7X5KqvZG5MGUu/sp4jR01EAuwnxPprpN1J+PoJUwhE0X5va
2MYJjndR5U/cWkIBr7Ms33LukwiAOtr5R21g64p1f1pm9xavAQ+/9iG7sGTuHffRzZAm9ABi43Rk
ao/qVeDQtviGtl3AUKnRtrIdbkUYAa0P48rWaqZHc/FeAm9A6drSqNzotoqJg0Xeur3CoOtN5Nl1
GdXZvVhXkKiiZvQIh78rDQg/hthYQn7a5H8iOqB9pkWdZuNNKV4cvV/raMqpHa+dndwj6o+nxLdV
WDuKtkbVus3j4WAW8zaBxQPx7SolwZzQ9dIkuvRDfKxBm3NrQsyrn4tJR8HxMCFK6m3mXTV51YFN
YlKX7btJehR1ntBQbZB2B+UbK18tmG5yGIswn6Y8fsoYdSepu9MjhOpJc0lse7vcqniefeZ8R4fM
nSbqKbWlp9agSo2xqs3h2KVin2fBPgdCjUW/n0XIsUbpqhDkWhtHicp9eRyyZNiQWrlaQgRiFcXC
PIWMOh1amXydGxJG6n2Dk+SilYf74FU8TiVverk9utFeiBr1RKQ94xsQosh3+bFQlLeOAKarGDNx
v6QxfwytzdBMbpbrFra1rwf5LRbb4aq2as8qODR5BNpR+VzeY5pZfqiE/hwmG7WwH222lNSME8xj
wG6j8U618oORt98RAB3JD/ZdJ9stL2yzAbBqflq2W3DiLfvN2g0rDzN48oHt1azTUjeln2J441rJ
rmhnuLb9ulcr6KnZAQD/mwzM3TTmJASZYlWW6h2G9euM3TidJp9IwnSV6NDvsBKYOaRnNfLqqT4S
SpTzZC1Xu+yp2fphX8VM9SDKt0Nw4uRsePeNpzEjy8LmKa3EpZqCs8RVzTANBrkVaGp1QQDeAQ8+
RLZ5nUX3iIpGZVdItkOnP41JvZuIKgZjWa5Sqd4McU8KgaliPmX7M+Q3sloZPOV99g2iU7gKYlQ6
s1J7Qiouk84WIruqE8tmeGBlfhGhYSnc3UgYNnt92a6tpPGkHV2M0NklcfBETXYOQqbXfIAPSAS3
YZJts5pMTSeImp3oXG09wpPyq5SqwIJg3ScLtTJZYW0bb9oydjZKLq5FMxxztSM81XiqDHKQxrHa
NLP+SWL7YyELrlh9kw3xo5Fnx6Ge3xnvPjVV+aiFmbEKZP9E9sGODfym7JANKLjASzM40Jf8IJf7
B7k8D6oyXiZ6v9rsbhXZ+VlibbNMPwFLgvI1Q31Ef3bSNYckU0X6pC+2uCOhNxzhXSxvG5AaFuhg
3lpKDe0uotAIlocqbpCsTCEd2TwiL+q1BqZ0+QCx5r4S8q52iXCtJjR68dT7SazcMjVTdlRWtxMb
HFo5IiErQrOPw1Tupwx8xSVRw8XFq2a9RU1zrUeXUw5HDU7lNZx2OLA1K1GxmDrrod/k0XaamR05
GWKOQNcI2Wa8ztRw64zZIe0JbR6MB3ifO8nxpgJtIZZhJhfW2gw5gymu2pNox8Pp9C5k0XQ4WOp0
rbWeSTLQK50Fpzd02bpIDT6hcTQV9XaQAJVJozy56EGzPju4afPIYAffkRIincYGDiZ0X6uNL1r9
vUZjxJZkjKs4i3TkXfF7qyiMXjij9BZ4kabxJshY532ontRGvxpmwTk8mtu4zT4DSiKDPSdyRL+W
sz17RUAqaJ+OWwW/jj4cJeCxZfCCpoDG1XB8yPY1yLtdnutvzGA0UoHR2izrsByQqgf5Lq1g13S2
sUDb4RJ0yhzPuTPM+kfOLCloQ6oyKvtaG08UYahVtOEw9jWWT90lyNMnRclQX/TfEl4pRHnE1sDD
1u00VBE2LeNMn9UoGyUefjQaQzArcfda0j4tQ7daKB0c8mzxgfssIwc+YaMc81Ee9FlbyNKfkIb9
NKoW8rCvd+auEMUFqGuH2nR57rSiJUmUqKZ4PDAcvxfs+iYn6nK9c3JxVCKwVbj7lXJvpS/uwHEX
bsvWXbs8B1x9ik2oU8O4zkifwoDkZjEjWcpJciy3xhxc3Nw8oVE46GX/oE3RRtiuJ+CSwYpBPGJ7
SkNaczF6I3qraal4D4YSvATwTGHSmfnOHrp7VdyqY4HpSf4KI2AzN0vmgHUq6U1BWV946aAUi6PN
ot1vc2x90SEW4yGCohJY8WEhwsBFCjpg6Sy4r2it0T96brDH0SXFXyUrm6c51fZGn7zhqLAL4DUV
MCuKLr8pwGtq+xJoAnnmR5ecIkG4V4GCtmUMONVMp9vwmM7uGmcZC1nSJJ3zSClFybrFvMaNDd+2
uxPfXR6zcnn4ufhsubsBJDOvOfDhaOGkfBMa7UdDTY42rngYOCKjoTzxs6Gqo59bOKE3gOSLzsPT
NcBAZV8O5fJAq/YKXmfuhbGzVqamYwraYS3Js1y1MHpC3y2qYZUFBRy+olqZrADBUc6vTuz8NdRR
+3H+mFG/i/r5FOLhAbn62Y3Uu9Ac+R4AzmgfIfZ5dlc/LP+aau7nbOzwQ7yJQQRx6z+w0z+mLQR6
PhoUWuU4gY12duYPjnqsTXNHnrDX2pDUS+U+07mfLKDBeu4XTij6q6W9sB6WvyaosYqhPDCbhwMy
enpj3MaDcwgqVPkiUF+rIt8avetVhdg5weTLKcdDWNlFLCGbktmCaqsGyX3GxjI5dNlY9DAXaMNu
EdLdNvalNF/z4RZSCDwrfSX1Zz0MTkoa+KMFTWVYB8Wz1QGa0WUrwb42Tnb3g9nJugDM5e1LVH3g
4GuY4F4R/cAE1EOA/mgxPV7JZAk1djdNRwMZFGuDzss16r2Mu3/4o1jdj646L4f6WAUelXGkQR0B
UiU9jpU6zy86TnCaLPat0x2DVMNbgF0jqjpoW6m7qcKUfWuB4oyZoTeDLyt1tBvQE+Bi+5XPOlkP
SzQKYnLCxaDA1cwalhVlcYcnFm3HNhY0FLadMPwA9pmH9qokQArmLvMn6KBtsg5IX8wyn69026g3
mTr+GBY+M5cjUc17k8fKdBGVUTeErFxwPCgSV4GFLuw/On8GMhRr61khCDwYQhgm6iaDXh1AnM5Y
dCiN1tgAxjOsbej8LuxTv0nrkflRqa6amc3Mxqh1hVIK6wIX5kEMNY0qy4+TEg9a7OZoDZ/a3IIt
hE5g2cpcbISJlPBt3UKxI3wRJk+TbpzzQj/zQSYKISuq7haXmihLt3GvHJYNiMUlmGK3fbxVmV2Q
WoOSGsEMHU2v0/5bfX8JVfGAQ21Goo2jf88AgWHzH0JG/ilb6/KUamRQL3s4YgiEy/F6XmQv43gN
rQEwDpygLEEdm8/cXJjZlNs1M9BlwwtuuaZaZcu11XT54nhlG03hBakBmwzSuat271mWy50+JmwK
uY3apUa9pgbhW9V0ATN3587NYcKqz2WGAxTWZKc5rPkVU/yismOTPTJBXoTjlgyGgcaxOIpQXHMV
dbZlX1MD9oGr9D/sNL/qC8s7Vp9nae6z4rFxXoT+PR1yHpZ0MxheawzJ3qRMA4dWh4cB6HejMH94
iCXGggR599+cGSQyVyQsv7lifjzDvM0sq30I6iLxmxGNth51T9oMX24yyXclKfAbIy0TYmQ3+ATv
Zu+yruRjCSMUyX01U2+E4L7WZL5Z0kZboqXdu1aH9ZtithCr9FSFShb2KsCKO9R3ljkCI1RNz9Sl
o1KBBVZv1Hnuj0RrjKt5qUx4AHtGbSRTJHMW7iTv3J/SKoZxWzvJOWTEvevyKaAb13qG3SVdmMDq
NmC2unFcqWPQIM1XMtv1xG/D0vgmjUFmXlNM4LuJTWpjr3c3ZtKLh4XlwRk0w3HRQqpQabfR2swa
VI+G8z7EbJ0NeYpEKMCig4IaFglRJ/0bmbrfnCDEZ6GhLl31fYgltFWNP1SdwMVVlViEwCskCZoi
Lla57SIG4Yk1/LwUyT5zQgbNRo9L1koPQ6NeF25q39e2qR2zrOQEF2G6g/gHgzKqoalK0t/Z1+KS
6JRZ89HnIf+FaYDX/yBuY6efzpyTAI923FzaSor7ehpiJlkFBTsurHvHbcTOSEm0XF7RegThhEe+
E3kQKLKtOY6AAVNQRqdZEaXfs0uFU/ZC35Sv2nK6wwXmMAFWFGDma5E2aD51lkYFwCePalM+mWZw
XJRvU1AdCypgCUKjN1TCNvxTVzsXjhaR0Iq0ZrCrCxAHsILjPNkTEtUh2y/rUyvEi1Gj0lWGLdI/
n+Q2T6iOv7hgN4j0sOhoj/Tju3EQN4EVHhXLeXEadeOGiU8Q/VFJwzurtFYaSpWo1u8by35CfbMz
TO3W6LKdYSl7i5JNDsr78twtEIELmXml64DxENeaojtnESm9UfiGGAe1kMvB5ibkgNYR1Slt46qd
7J5DqQGuV8VJH/rurI/6LYk0B+QRmd+F9bbNmiOPOApNUb8OsbLVoLLKPgTVi9w9wg2IRXZYem1k
3mdOhHueDjgqsBogPsPKlHOnJfSk2jk3sUCv4TrEvHYQWXdQCTTYc1bSi5j992TGDmUoHog1umLb
iwuNeUkTsHxnOpJy/5hnE07mlDMwo28HFw0U5iZrU239KGsv8FUgpiLOzdvEl86wxSXHXdezaFYI
CTf/qMAM4xRqnFXoLPaYct/9A1LgZM87dBVZw1QmPrpF/uiq1etQZtww1nucEy2TzGdnOSemut8W
sXMN0v52KYSa3pzXYuq8ZNTKzWSr78unTmvt0Zix0svEqzJlW9Usnux22f6i7iYPUNZ3toL7k6Ye
3Lr8Hoj6bqzDw5jYd4DCEFMyGwoZz8dsnusKYpkGrEDXT2WCgbn4nLlCmd08R0yzaTfvwKlPQzfA
w9d37VzD6TAV1BXxC1erwBZGR8Hb+cGoe51MHhNOdJwIdjkPx2IkaODsk8MqoL8aEHYab0463ydO
tu+7+DGIix+w8kq2+2yfYQg40w3CZtunNt22nd1pHdx/9CgIQ11kI3RGult9q+tJ80TL+48SCaaT
FGsGonvcHNeLt7sdpRBpCbGwNDg3mHIcRjUDlqGTdOP2xoau0TucyJwIH5XTM4GfFiUUGvCVNrJr
tvPLMNs38I93Q48ZYThuDEc5q133rLFWQzpM6nHGQcq3BYKxUrxrFLhqXbFvZvKdusCB2NW/jF14
zQPsCaDfXCoFHx1jdmh4emMHNATpvi7fC+gHONOkxwQS86HQy7uuQpk6pRoD3JSE3jy6M5iRaXb3
AuuOsrkuL1z8LUSXaNOkTnq32De3jGu440q1qmSEzLqCVYscCPlkDN0wojGX0WcnnLsuAnyWOLs1
RXFoR+0ZxrhfNvldbb1TYiwPabqeIJRNc8wcxT6MmvIdldzjcj9RiV4V9jYobv2uETB78tS+mE1+
63Dp+8VZcLnTJKmIa2uXp7iZnu2GNlyxIv0ilP4xN7ABLSxv2YfCmMxncB4NUX7eOK9RJFHXu8lO
UyHA101z0cfwtWvSW4g0D1ldvjjsXMvXFZcJDtuNgRXlYuhf9SVzh2K6CSbXQ1xyDKSJAth8KY0Y
j5IFAWccv3Yq5TMsXd9OLRpjXAzy6qjUHQ9CoZ1xd3lFfpBv3BJdVBM1h5h87kBGLKe8M1dhoeCB
pLQOcoz+Fr4rs79mo7jzJTJmv6ramyqc1q5sl7j3oFoHk/ZNNS13oQFh2RHALbcQ8y2Ny+w47/jk
vOWI9Lq433edc8g0cS01FjVs65VI2PzNFhqc4so7UP6tqxUp7z/adS4X2JSm33QxfGgTITQVMVNt
iKtim6oRlnbqrkJOsvxWqyquALZbJQR2yVUYvTbODSViBWxlmUxrOgJSE0PVsb1iIQeZV/TnOoo+
xdjc2fiV2lXqTdq4LqLgZgks6ug0isby1TnZD6n8HprWq7u09r1xqMuRg2dKPjQq8Lxg+ekRJRtH
lnSHPaw/ZqGQg3WjWCdBvHNSGwg5Y+IZuUd77vYhcD037lJECVCF7VBIlM4Pwyn6t7QphgfZBvBF
RI+SMt7bej9srToESCsP2lxn61aHV1hq0zmW42qCreI7s0w/Ha290etwyy73aeT0On2tnyv46isI
/DUMht4fsVpoSuMqBwf+OWK9Q4GZw33RlvYFuiYjYHu+dBrCobxYghWK4F12SbjO7ZA6ZwzoL3sN
YQmVkbDLqxkPH8t7wJbGjxX7JtJg2TCx/hahhKPyHnmOmjn0YhKvZavf6k6rof1GJN9GkzeH0d6y
5EPLfsFYvUbLA5cM4goiIfctFso1y8c9jkervLSZdhq3If+nKtO1iRggNoKyOyoe7SRGjke/M+eY
uHRLUAjTGJw8wgj2e2xu4KzaoKn6d2QpmzCOT0PTH9r4o4JP2ZaIZitscA1TuV12VMl2ZECzSNm3
7bHfdpq7s0aYzXahXDI98HEQAI3Sk0dTyV4RVz8WQ862ivBXa3Z0RGeUEQc1B2SymhfcQE5j3L1a
OYOmxVLfdzKeq9GcMK8u3uoA2mNiQWvvX9Us6DZxVN/1NSaHPQBHFyYHJzQMuuDM9pM2Vbd6C0Ce
WCapgemxtiGnjwOnadBTkQTzco7G7n1ghI89TGMmyigZCnlqKoMANqciI6DBikwqW6WYX6I5elIi
B/+NwZtG9whJ/yHt5eOoOwAzkmPYMKt6FxRBzxBMX1s4161K4nlZYguB/MYpcLtTQe+aBk4tVLzi
XhmaejswePcGgZ1PL5TJH0oMs2Q3kJfeVFh7BW5pbUOlJtsnqOQhQGG7aEdw1oJ2il5XFcHWVnMs
i5QBeGomiN6yuTaMwTMUwhxvkp56jRYRodsgP+wG2GOAZ3DFCEO+hp0LfcgUmAxPo82BHYhDA+3t
sxTG+O72ReyZVjM+NXQqF2wK5p1Vpu1haEYQNDux5QIMHnqiOHdRK8UOPR94YMAUdGuJPPC0qE4P
ugAqEGkP5XUIxmoXqziREcfSDR6qHHzBZoYVRZ+gjqNTq1/TjiqQDtmknmxxlDpUaIDoGQfU+loc
b9wxVH2nj9SjC/GAeiAfIOw04b4CB3thzPx9sIb2aMuqW5exEhyTFCOZUgP0kFoY33dFP95MPTrs
Ku/g3uUM40GM4XWMkKmoQ8abmM3moBbg8IzzX4kWd29pn7qNtG3lzFTSOIROmOFHrWl7q24eGjER
HOOm3SukgmotS8iCKvXGGQEiAQqNepmNiqFzD5+wZjSyKkfMuXjnNL2BVW54zCDeq5azDjRQsyjE
9KYeq+R2zAyskEsje1YVJ6GS7oyPUrNVbr3TRjg6NPFmapMfKut2xURseqAzwh45AslzXAz9VQGH
oERusAaFaCHMRCCpuZMg1HVwb1vGO/pYhuve6RlOq8zhpgoj8QhKFlxwkN+gMrCj0RzrHUoeS79O
xl2Ij8d6kkF8EJh7+HU8pvtiwdNj6U4/9EqCVqpskxQbkePNi4qqckkFQROH0q5sUEgp7QCBoU3w
VYoj2e4gLA+HUoTzMzW1vVZE8KJpZrMZ6tTYB47TocecMO3SEtPdmFb9JgDsPEh5yQYHozxama4F
t33ObRsxM26HSaNGsJPx4dAjaITJGKNcF3jVw6jtV3Wi57ss1a/qIMyLq2HppUi6ATu+NU2XcBAt
fMcK64EmA3l4KJ7aGSAGQh8clcpJtiZf3mdK8pCm2eugqeYuaZb06q6+pqP5Loa8Z2dEboZ8EE+5
sHoyJj3B10ItrqlekK4hY/VlJqR45VR2weM+wRYrhUnKoFk76/9o6EiV1qz6O73SLpHUPEcY+wXD
ARXchXl1ymJ0JzK6k0gkzADlNlMz+uaoDjE1T9f/URltFYUpwmVNM04LMFRP4rMHfG3c/M0BapVd
yuycqnRe8FeeAPRw42bKUb/1SlOfuwRyHtrUp3RxHjPsJwNJ86ozm9ZDk5F5oQ5+LqrqMarwT1iw
Ire9nfMcB8LCL+LqQbgl9p2QlLJsjeH7Bt7vY9r1izsYGjCoJWHipZCvsUfo3uyI4SCWDJd/eNP+
5x+S2Nu//xdffysrEPIw6r58+fcHOEtl/l/La/7vz/zxFX/3P8vbd3y8vv7QH17D7/3X3/Xeu/c/
fMFhSW126T+b+frZ9ln3j98ffpbLT/6/fvMvn//4LRicfv7tt29lzwHMbwsxfvrtX9/af//bb9ri
o/qfv//9//rm8gH+9tvxXb6ncdu9/88Xfb633d9+c+y/GprQVcc0hAoff0nnGD+X75jWX01XF4bD
jq+ZfB+7XJzcuuhvvwnxV9PUheXahm5ZFlTx3/7Sws7iW6b61+X/hWtYjuNavO63//Pm7v7p9vrP
+8HF+NfXfyn6/K5ERdLy6v/d5dT4YpTcWPowouftt7amN2g366RGgzhUxcPvLsb/x+//4o1cF0HU
Reogt2YwUvBGDlIBL9D1Pv2FG/nPPsAXM2SUpwFndswgRGrjsSYX7kgwSr7592//J4bFX5NoZzkY
PTqSEceZvGJ4FU/rLG+x457g00j1cyTZ01f7Qv2F7+xPLG2/htEOXWp0kCSYpdWNduGvd17adtSg
ZjX9c4X+YYH+/o7/xH37axhtTn2WzKJEPzRhoUj+6S4cTJeNYcI2Qf9zd0Vf/vjvjZ61zkySIJDb
Ys6+Y1+Th0yZevdXwZs/MVv+mkxaQYKrzUqVW5ZG+5HXqXZbi0A5qgzcfN1twoPrhH8uQNTQlyfv
d5/FTZzZMNpObgFUMfFZUPjWLF9Gt9L+XNzN14jStrVmqNz8BbtFjrNuKGq1jWObZYPDkPPLAJCf
LBX9y1ofZW1a6JIKSvS5/0ZDSclCf97+ytH+Z7//y1oPIKh0aTEU20oJnEvo6PO5xk3c+ZNr48tK
VwCYccx18q2eFuWurLpoN6SNRfxFafzCWf0ny+9rVmkA6Kulusy3k+g7r+IObDMFEfwMZf/6p3aU
rxGlAo6EojGf3Wp9eob1VHS01qlxdhzD3mRZe2sNd3/uLy2L53fPbRMrk4Xf5bTFE6o7RqQqbDtL
rR9GBWfCNJPqNYq7hKBARcS/2C5/srcsp9Uf/+RQ10mndJQlaEqtMUBBk1kLZD1ONdEvOPBh/Pfv
P95PnjZtuYe/+3hJAA8ZYxN8N4dApcEDljwkU6v+wgn/J/bf2pdVT9mB4WaiQ9PCZRCr0Zpk3Js0
Cph79YoSRrvCaufgcXTSXPdbxUm7G0URjv6rLe5nj+IX+3Ge8Zw8hmTcOpj54TiZmJ6ALrdKYhxr
/9wV1P94BSfS1BuXHK/tCGk9XI1BZZ71IVV+sZh+FkemfdkPXCfA/zPMUH+OmOi066bqRuu9h4yX
KzQKbR89ag1E7Z3owQnWM12S+q4z7Qad65PAMX+1g//ssfyycwh8yFCE25i0ywCOPg5l43gKjYai
nGTgssHdXHb18d9f1Z/cuK/xo64YeRzDPt22Nq2W7aazAtaIgmbVVE70i8iJnzz86lKv/O7hx/Q3
bNuZFFMHXu0bxh8OdlViCM1fnN8/OWDVL3uHg/HNME5aunWzWDSvUx0tXDsdQdh+KILhM1EXqypj
qsUvjsCfFFr/IwVUYEQ4NjkjdKnA4kDO2GC5kQSATVXSjyEYZA1PUmYkj94b8LvGpz93u75sI9qA
/2ojccvunGlwdhWiTwtSTd2VQNVYqPxirf3sqfiynaS9FeJ0r6ZbhqH5vaMqw/cmH9IfPb5Lxi/+
BgEC3P7/JeFB/bJphFwWWeeG6ff0jSrkpz4iGjNOlX4reiWxNoEGgeBUjKVpnxQt73tPmU16bejY
BZI4XP07zzUkhC2sVMzq0pIKupj7mB0ExGnUte7UuU4E7ogtUeLVrgjCVZiNkdzjhTjIU1RhKvda
xApYuBIEdfkMaK3QjE8tGpy3YlJy3LyqMp1REebIYL8zqrZKDAbCDAO6yMLpjamyreffA3dJUCVR
dywvUzg2FnB7GdvwxhSrvcuCDKMNhuhCu+hmG8uD6FGFekixmJu4A2t89d/kncmO69i2XX/FPXfM
BGtuNk2JqmtF3SGiZF3X/HoPKfO9zDxOv4vrlgEDB4HDECVKIZJ777XmHDPsoR99xFCkQ7eaeswr
BLZTokyHujC+SdbwvMtkIedXzy0AHEAvMVJtCgroWeobIcdQjY+IDp+4asXg08kI0lz9GpL2BiLK
ihvGOwJ3Rq/Hnihf9zLwgL3cZXVzzUSJ1wo7WKi+48Sg0hjA0ALCh6tKoUPbgz5BojmacSg58J32
FRXjETgFggr6qRHADuQtQUE/YChaPUPMGpd5/JHqni8/dpgdxDvZF4b4zD1DGb6ajJbzRwKIAc9K
1etVv4LsFyEryQTjle1GQxXmyiw3u055sZqipTrAnzbt3bSow28FRq87JRKIdNKZPfVFMoew2IAt
hQLqmEy5GQWVQOjKFSY8HA9WQ95UvYsyrI1zKSvofisE1PIZVkNX7DUK0lzNdljRKyBwlIx5ohfa
pMZ4XGTAHoAoATVtROZjsEdpTUslsIi03nSaLfsrEahWvB8Sz0oXSY3ME0acHlq57BQmPPjcoYTb
WR9WEbb5l6226O0tkIHRYybbhYa7iPvuhh5kkreoOjkV96lk58NW6kgdROqi2Akz+kFAEwGaiWYL
0FwV5PsBjLH62EmlaV6lTC1oKogw7v1xboQQKMOZ5Vepd7RT36pIeCyaFdzfWMymLGAkLUo5nK6Q
ChWZSmASRCaV78r00N2HYGuo23hV5C0LKxWVPksRPpokZeh+bzL8GpoMLlyXyvbbDn18nEACpSlG
+5jWtYzvKSybGyXDrwPkMCIZsJgAFiqyna0neYcqJ0APAV8DrF77lgldtZ48ueyajRV2zBoKpHDy
nD5x1b+g7y2yGVqX0n7mkozCU1xrVbyB5RDTxR5Ci9DuSrHtyHRouOniWhe0Ng8QUxJxFfBf629T
q2zvR1dTu2sQkQim/5zdfYhPxQS2VwyOF4sg/BBmIEcXeyxuYJKwHOPcpSIbgwGy6Xli8s/yGDZk
LukhBczCKtvYSeg/huvBUkvzI4ztxHuEbIygrwGuV8+geBSUHeGBFIACRhtfboOmpty3folKmkvE
oog8NE2DAwOJb7GNq14pSPiTaYzn9NzlNRkBdkNmhS4y2xk0rJmbUgG1+kx0WhwdGvKzlQdTalgN
RKbXJVCGqswOuEnqGRJTuenJuLFwZOwofFb6iV6FVtHoH6FmgQjDJAVcIreVTaCOlKXJfNVnmYfG
98Uauh7E0BgiWwfNILIjIvh6xCKi6QCpAmGnp94MfHteFYmKRirNGWfD3hsJqLCBJK36oPQCeqrh
gBcKXahIZ6qcKGSdxxoXixvlrVfvQ0Unuq/A3sYnHHU1I0fXRGCI1V9nzaldSXbJoktDBgU5Kfi3
dernU5XrSLGw+uRnW9caZU0XWH8yAczQxmjxLMjgHo2OfnkSdEukDlP43WtqSgG9AeCYpDPL7pMb
Yb6mXo4IfpKRzelCrAISe+j7mlgJAQfrsSKQ4cq29Qj5m7DF3JRKkJ9xSJNwlogK30beTA3unKTG
iyPX4wTDFQKB7aapUH0EM/Zolhq4ISXIU3vbpzXny3YcxkQr5jXylwknhaL2/YPt154lDlEO3gF9
QM+4Rl2aEDLayKOntNYDmMNwuplu5PpLwkivPfWqje+lQVTXcAaEvfSWhYBsZx2WK4zEaqhMKOjG
erC/Mx84T+boShJRRbF6pHIPCegAdWMiy3wHtEH3z42Q7qIQ8qUUSLxpK32w7jsbqbwWZuq0TrW6
kl5GW7Z6qEx0LlzsRob1HhYDqhi6m1Kzb23R4K8ehpE2oJ8HnOuoCxihCxyhTwKKLvS+QQ9UbJqh
TlgEoeG4i+HuBvQVxtqred/4f5eaokWqa4MMFa9ZCQDRgzqt1wqKSipQKyhyhYLyq5TKoXYCbsYR
CKUK0sZYEE+wsELoggi7jSbf56ncvdgqtOFtVWuDCcrY8vQcrmRA9gkVgaGb5YZE9NqcVaBfXBD4
ldMzXGQ83YgZvPglgQKd7kRjd/Fp1O0EZCd3vu4QTXpU7YJqAok/gOPHV8eBVUB7ypgPG62xG2iz
lWLQmZUiNG746dLIxF5jlsiraBtJ88RDKrPoJtmUnyq7UcGqeG0KmZ4BavJ2SUZuwyPJF3EOftBU
hs+wkzvx5isA5E+WArQZcp8EBhoVqnVDCRg+wfSxUfbfccvdAcI03oWzSKbePoJhhIWc+9OYz3pD
KrMfWH55dalxf9nHepIjaY/nOPBWKWsvJC5trNblYxtUufrdkpViPhHN1FbbziOrG8AimIfiQbRw
ona9ndX4YVW8L4FGy6WmiSuEKaZPg+FZYShIB9wzeVzpJAr1WdK9TE0bGrcYlD6DDB7qfruW6IFh
18PaQv9iEKq86OJxutSI+jA5YW4pVslUED/hhG0sWubjfm3PE6XC3Ai7w+u/zLYUHAeZWdVDtlJv
hgeKMZP/gJspz5d1gkrg63Yfkccv7reBuawBkE5H32o87WAXSYrBVDIgNtE8ufnUJr0BuIG3NJX0
A+xfQsHVocHBqwVhGp2tuKs6bKM5GUO5lJjWh0THLDnHKafvd9+F1JNdQ48sa+nJrbBXgML9fV/T
2HsECxoh+9Dhe1TbwYDpqRp6UT1Mqm7kc7+F2wRYVy3TcS63wIw2XVdI43wMtWm4GJOf9k9TB1Nv
qw3Q3/o5LbEsd4NEGzFtRZgiX4re0wsQd1wxMwzHzAZrm5TppRHWkrIO6K8kiy5UGJFjxS+qZ2vA
LLjwi4wWKTABMB6R6JoJ6g6xtC5xYGZ1pUtcy3trxOjw0FkgYBtYRGqSu01Gp+lUNmoCOzTJ+yhw
OmGGyBpiI9Ux8XX0NhNW8vhQbLW86BND5EpL2rR/kH0S8S75WCSUtjKYK28dd5/iuQklI3isY7Sl
jwX97P6lKHuhbtW6qYF/JreveF2jBuyPmV/G/XOMpOrHrDEGHSJDDqZVyF/Zozw6eMN+Qos4vgHx
nYaF0U25sQ0LxZJmBh7bYSXyjrCqSlJNgixGZtwTWG85bbZGzaGXU9vkdNGnymDQBaKnrRVYO8XR
jCS92EYyKqJVFxSlrc9TL4cPBHU6bN4wNCWovkelv50P9PLbB78NgX+0BSmPN5RkkkI2k/VWRUzI
VB/Kn16gNUkZo1obRmeC2FmUVSxfLR/Q0y0bIwWWlxdCGG8wUM1pR3BCpX0VN5Ii0Rb2ABEYMQmT
NnxYIEbBKmv5EIfzwKdcfO19W0vOhD7p6VsaC7Vby2RacC2KNFeMLf6pTFoVwgbIXUlTqG1SBFne
s8WI3ESuwQRn+Oi7WIQbNFhZsuq1uqcDzEBIMthUGN2KJUI6fjI/GJKDliWsSLTAqOJjoeSWvki6
ZkjdKvRiIILaIKvnnqkBnrPQavVtS1HJWKos26rPvp+wxYSiIaaCu6tucJEVvWx+EQ4S2eAALJHA
jYSyPKTLgqYBeG+9V41tLrdW9qhqE3x+VBQGI9LURsFLK3dVwnXEtbtQb3NO0KWZpDRw2bOhlkj/
EFK5ygDycdMOSr41N8+N1DzoQJJCNMlaghLZVpLhpoWSQ33cExVxw+9Cxx1WdMS4oKEHFPVbbAYx
yoaxRNgCOIKrhgAJjbSub24oBXdu3WKdhJi5DOMEtALBEU+9ERGd5GdeZrlZahjod2Uz8c9e1I1g
XIYhssedmXGrWwKVkJP1WEmI2RRTJuwmteRpOBBgTih62BgSfECuCYOZd5aY5wjyBxae2oZnGYe2
heAAqDD8t2CMg6XUgMdg2WghVPEGtCeb0EIuxmJPshSwHPhEqzOQsxGUUYGVeem1YAkTB5RaIl9T
e/LNjaTmTfc2JFlgHya9He3rGBBy9W6r3O3WgrAqZYcLyh7msSeH/VwSWdjNu36aOrTwWSb8hQea
V1nLIUDMn6BhKb1Xc7wWS0p0mX8uEtlrXwWAOYAOXpV9hdxWy80QEoq2qHU9bE0s1oHWDEBRso5k
WuwePS5KT4kRPwR+21ULvVP1FpECREaIdrWo+88JjD20JnB6plw7DLDEEeuhmStcfFPFRFi2cyk/
x34fFWutiGm5odUcpbWP/RUDzhgQPAPZWikhvip5J4IXJQqVYJFZWLkwfhQpdYlj3mlpNWdpdhPu
m2rYeVsdcaG0SAKth8GJDKh5DiEsxsQKw6Mlipyl39ioq8HOi4LohziJ/U8Z/xd5h5beD/AhZIn6
nc45oXnZi40MxdoZfY7Ch7CLThL4NJnECxzRoSl2g6SlJJqXeSnsxy5Dh416sw+lKnHHxCIOD7K4
DN+LSS1MJsH61mtegapAZFYQqwcPVagG4XE0MT6sKgkJ80oumaK8K13g4c/VNQmQqsG9Nlh6FU2j
uwWjK06IIPTw0S5CPAmCJBQ0Dk1iNLcQDS2RWSEYXVS/pWYpGDlLA3k7CSEQzThnKhtuVkScixMo
XVjsq1Cu6UjUBbc4u65EtbUMIRlrPWGltycYuxCvCsAkYmFKvAP5DKeGGc8hSEmkxHR1TJibbxll
ONeouJZf6HXwjEq8AQqueohwPcNtT4qDTITBT2ZgMLiGrdKA5IJHBKXK83AL7FqVYh+S/sAT77bt
x/VWLctEI3nM7HLwJAVS7XEVBYptDGRhjp1+tatOZvkZJFMcn1vmiuhF1QpwQ2eiPHK1soRHQHde
IKEg1EghlEGkjYaNkLK6v1LKQpWhnA1NstXi0Ov2U1wo0SmpQ7lZMY3WlWWBJgWfpi17zT7kilDP
lYYM/qhVYYhUqk4IXfL8TJadrIw83JeWXJfzgQHa3qKDVAW05tyWYshFBQ8gNUvQvPeloYcEsEEB
HZaSZXVMcqUAIReIIQV+nYIZOJKxttoe4Npv6gyCBIc6EoxlPo2K+CkKRT6dWvz7MBsFk5GmVaZH
1hSwMoUG++QAi00vPoTdYoudsXJV5C+/Z3Y8M1TPVh4MmEDl59D6pnHxW4JCIO7oLTNua8gFUiWT
UCwV27xX58wZjcyqXIxVpkeRpmVSTf1pyFgR1wUMSpFVMmZKNBWJsTESPTNfw4DB9tVKR9CkLldb
W30YU2x3DxFTl5JKGNc+Zpe2qIkZUGMoXPVCD9JWs9HZJGAxdQSY5jvFMK68OaXhVCK5BveV7giC
C6mgZJMsi3pjpKlZvPoa0zUYQqS9qeE5A92VJFve/Fg1q1oxRsN6SBIsEdkjt+UeI1PIl64ugNgY
mPVIts1ctExGuQzDKAVjCec+bS1B/psY+P6zQCIMZ4Nt3h6QP2Lp5t7iBA1/b/SsooKny7kNgVmI
OKf0B82ZNqKhTNJDPJYZOLyMd/iWksIyrYNJGMWrR61EAuU1ghmPehu9czDoCfi4JLLjjcR3MLwA
04Sc3I5+3nz0lP4xl1Q6qGOBj6Cyp29G1RBPe4TnKs/XtZZZjIiGSE1gDa2q++B8UXFpn4WJ8OsJ
3T0MD4UwonHNedvHzyxmE1SZrDv9czwNdlXh3E5E8lka0LJ3su5P3mOoCkJTMxV54r7VWbOcYcJa
OprzNMeHdJfgyY8Z1m3hg6vPzVSdaYHVhZCuA9bclIVKtdqaRK8KHdZFk9gklBWmHL1ElRlkT4Ii
hxquU8Bh+t4cG53TQ6eG2rjaYPgcAa1wY1xMLVd7a56gPgbNBJgNou2YT8KrnLSmPIYdAhcN1lsz
GzxsHx4UO7GAx801cu3t/JaSqBMP0NNu8pu4lQ9GWhSaSvTSEFfDW0LkozQHsR1IyD2TPINNz809
jefYcXvPX5hp1rdbqfYQTaO3bRM+mxZRUwhmhGB54bDEHx/JawlCkSXPY2lQsmBphvqUKhs4HRjq
TASW1m5CJiPKtaHrbXHyyBAwSm5P6DIoc1qlne65bQ+QUYQ9pk6uj7K/CAYjZQotMeAeQ4aE/lLL
VuHlm6nGD/Z8b478/6zmMuhG/p/VXPv3z/f8v11++5+/XX/7mwjs9rTf9VyMWb+ZsqbJtkmxRMfh
8R96rtsjhqZZpmXJ1JENjef8oedS1d+QeMkWZ7CmwCjU6bn+oefiISaaQpcVTUPqRejWv6PnUv65
BWQYv7aA4kGwPiq7LeU810NAm0PW1va9j1m4P3mGq/bwt7oFUudsB/H/9S9/pn/Qed0FY/9768kw
fmkmy9zdG7XOu22Hh7jFQXGV+/yQ+Y/0DJjBqLOj0QB6hEtokglZW0zkc1hzuMUuZbNK2EHGgGFO
32DnoY1lkNdRrprHnvieXhcriy64iF/RjXHn3LbgjMfh479+76q4NYL/6c3/0qm2sHGkkR9025ia
swwd9yMJ3xTN1YlKirJXY1iUxWem/FjDoftUzFXgzyeALqCq7OFgg/Cybz3kg/QafrCVjhkOn9Wk
7hR1t2+kTZlerRjEMfBDlkTaBlNYT1+mJnJok7+VP7FOxDGZnmsijlfZPnvDXxA5+kKel4tqOa6I
Y5hT0HRbd5gDD3JgkTpwMlzfhUkyk2bIOd3sKDkfwJWc2iVIKdhFO5xBje7m3jNSxJmlLtTkQe1x
76woCnvIq4tDkjxmEOFlgMyP5PCx2HL75Nkeblw9EkvQx5Lbm7SzugPkuGDtgFuXlJ83YpjzTQwq
KTwyqpUXSZtZNW58OPz8Wxg1+jXvAJkYUrmDw6nUzjFaoASIK/OOVVI9cECgxtTsQVaBP/IWsND0
ctenJDE/ldkmHleasVLwxAcrBbRNh1nuCGtWQW1HNF73ZebjXJWctqNvsICCGo8Uy8YL/g9sjzNC
ANKVrLvFRzBvH2ttSYReMO2NPUxjFnG6mwCNuNQ9Gm+ncAfmSk8SIw1jZTPO9eqIB4F/ygY/NSA4
B1aOE772Jrbg3une9U/5s9UctC0ZHX5yVZmHYcM1ARBTlJkpF3yfHrkuRTkz6c4dxYceJK/ZsuYP
W5traVj11/BlUJtFaSvPvemTQnWoPYDdD3WKcZ/CK/VXbMFgE/jaqRi25Epu0xgHYPhuqjh+Z9WS
Ihl/pwAjIjgpDBeOZs0DvKLWNsvm2hMkbc128dKn89FYh+NTCzxUiw+mSbLXU90tiDpeEA2z1txk
kzzaK3VDpMMC5rMLLs+byfoy/sjCw399iSn/LMFgVf13wQJFvRTtls1oeU1O3qbcKCvAcwdjz0Ti
MBxILN0rp/RfSDDuYqp/uJ71m6jnL/IIWp2aLoPD3Wa79qk8VKfhmr8FV39puNGhOqSv4xUK1l4c
8v/bI/4iyADDSf0XXspWOcobb2M+TetyGRzjvbkTR2OTHOSduVKfxUF7+Bd/UbLO/vmupf8i0ujo
8inMRdutdixLmi+Akh3898qzfQg3wxrN/AO0uKBz0qdxo6yBHLqU21ZcAptq0W743YLM0XW9oYH4
qS26XXVqjsUi3GYngMm4epMaAAYNf4eMZSmcE6ACxF1x9B4JHvkFrk9IZzYLZUoUQF9mhMrQeMCi
RyaiurcLp/1Qsll/DvGLYmZD/j/O22hGaJ1r0nOlIDfbHfLFmZRI8J7tuKaEZLwUO3VJ07Ucdk13
lgmhLBdFszTMFYBH/2D3AHB2oKihtBLINf6M5N7wsZ/ikY0hnU2tE7H0/zEp52N8W6ZnsD2s1FkE
vZeX8mBvH+qlRqUC5qQyozoY71kQMM9KnPalAgRwQq9DmDDZEeS4c8g1BzhOqEEceujlTDAhXOrR
nHaXzq0Exnmzav2FUJdlumnLb5u7b1782C9x/ZkUr432pGY/vryuCCWIVsOnuu+3ErQ7clJpkc2j
ZYrTxl+1tDG+5Y9or62JPyTmANv/p/8xvfb4wqI5Kdnpx3CSz0/EFPksKuO3rp356bwi1cPEmDDH
R0L30aM9Z97+A9vjxq75IXlq+gwPoxuu/FX5pJU09W7jiDbjS7JX9XbcAhrtn82LfJHPyTp40F5a
l0LgIuCSTPb5qp1VXETN/Iuux9xcxHP/aJ/46yusfqghNCR9zjrOFXVOnAxI1mZNJOciXmYrY1+5
TNxn5KOf+9HB8e0ieHTjAwoPbKK7bjEs7KP8E5y2/hwF3wzjv2M4PYePZtY6eSld+9g+0VDiG8bR
qzm6i27LFWvL9RZgoTZ8REJXHGIBak7+OSM3GR/P41E5QB+Ml4199snbGp9qrgP/gQ49p2ZOLBOl
sA/5296Wl+K1euUkAGhJWKYOS2KaV/VK0DHACDwz3Ao6/sz/kRdZ5oaPyRZWNsTJtciWzYNR+bPg
qACCzB9xbPNUXsDMZm3vKBfia0Sy0M7yic6LyC5klGoXlgLn6j06IJh4Uc74zHeSyx3a1XaqW87i
Ge1GJ5pPzgNY1FV+kV6shbG7/TGlGQHWm7dmbbN3tEAhM88WwSLew0R3XpWZuWgfzEWzxJW9Khev
w+yTkLbFuIu/IiAwr817eEoO3rV9uTED+Ui+Y57iDYzd26vpjrKZNoxZ82DWUxp/j7VlE87xcQek
vA0zMKLKByEa2VyGTeLo5rajVFyMusvAL5cz0gwtRArjhfNuYAwO3UxnNufA2llkC6zZqaN/RRA9
X2Qbj+JWmKRCECCLrYUod8dc1Ndib3owxyFLOST4LvMdV+K0THdp4BbYVuMd+YUH/xxKT/mbtWhA
yDkD0Kx03v9QfCzs9ciJr+5pIdQaDVBykhfDrQzhGhiL3/BXrvSNtoiYLZlr5Vl5xvrrNmtYeWIJ
51tZtIdp3R7Kg7lJn6TtdOrP3adqOEO1AqtRlRhdHRr0AWcypc7OiT6JJUjPKnVkoPs51YBlSXwf
uAMS+lqHkmto70S8bdEEtfN6OBuQjert1JwIJZ3kWanCK8WveeN0nbzxMIzutBwwmQ+b4jm7xlt/
2+zqmP7Dk6q8FtaHHb+Z0rP14k8xsd7WqmxulLybvdipH/zxB8c8lqzoMTknQ0MUUfJh0aZqfJKJ
HCpat+jCVbQnnIwJKkAeOicjoVAduWFO8CW90GU62c9dgvg8L8s30oHI9FyYlHskWvN8GL54gGPf
6bd4tS7qST6NR7I8HSKBKUZ6n8071vBLd/Zfyv6U9M1SNsmVGUpcbXPCxZpcdduyXCXNzAvffHpj
yJkAH7eUKAPMgo96tYYSkGTzkClUdQGxOGuuAKS/CHFm1hxWZMHs2kNz1F/NK5OcdnzRJdK1G2JY
wfAopByTf0iAgTO+hyH5UUu/WxOkleA0vuRfkbftshUMjOIqnuSbIoyS5Fp6SZ+aF/1MpvVNcliC
VWdyixnQ/qD4BgMZqljPJZ6nsyIgietpaiG6LsivU9BJDMw+oS1Z3UDcVol92d/b9Zdmz+DL0w8s
kFXVM2LKgsci6dycULbmGTDr3ujn2HkpZRNCwQhThkvTvqTKIqMb2JxKZVFox1ZasjKqtsyeiWky
d/oqPpZXuDGBEzwZwYyo8IRoT0DsOPzGOdIenBxq5I4kBRJZwESUTI5ui9qQ7mavu0P3OKWcYSDs
Xxnd+GjeTp/bZ+/T/wpqB2xG8FRkpzF9NZFsYAai9iSNa4LgDbK4rTmzzJ6WmEYb1aH8qmtO+p2y
yKiXhnKZ7LPRbG/Cjv72nUaYnJ34pO6aMzh4uslB9a5pOHh3qf5BB4XWpGkAotqwtqMWG1bZDD+o
YyNXI61ycFKgfsPMyymnb7VoOyQfSgCQisSLFi0VvOggfkK/hwPnK/QeGDYtJjDNQjqOT9wbz1YD
0tk1pK3WwhQ/xGfdDS/xu3EsXrT8LXnB3Js/h9f8qD16ZIIqpDVQUVmjSrsobyfuSS4kqEd4cKVb
ACY1AgDUJHrmEEpc8OMQ/03chfVct1cCxjK0NA/Y3Kg8k6a69UEGyB3KuPXIqLekU3dC6ZGMq/ED
NY16NVCudMjcWJ702UN7DXi1xhHPyl5+KE+gD4sJYo7LquNWQRqd4dx/auiCaMIVQFjdm3kfvtgM
rC5Lg8/cNXZRO9OfrQexQBFpzKJl7pH5PsPpGV+bN+FBR11I6tIutpb+UBXbUJ9hwrHoeeMrWuHs
n5ckMDjJI+0YsW2v2Tn5BgAy7DnDYUeituM/+Uf4E+2GV7pyN6PzY7CLn71DntFqcwZjpvgrG2Pl
V/lsMyfzZ2Nxm9io6gqyGfR0qv0kyFYL+cLXLGSESrP/EQKGjnJKX9vQi/CAcjOS4XCYIjpLL0QH
P4JcZgSIv81oDhxRkQ9RvQdb4XibiuVSXT+pAykOTrHoKZYGIG2hhcpyvywqYMzSq1K+I290+zbd
J/rospy2lZe+qtwh/7lPv/+tytg+/KzyOv9pfnUx/s34eIC6lP3kv+7z/6DTEQDTX9YgNyfl35yO
V9J2/7ubfGfvf62M3Z/0e2VM0n8TpGfo8KxgamjCtCgG/W51lBT9N2wKlmkrpiEj5DR56I/amGT9
ZuqyqdvwkQzCaDA8/mdxTLq5HYVp3FrACr5z49+pjYm/i7BNQxWGijFZUYRtC5MK3t+Xh8D9hjDN
g42q6rSj5fRKw6AFcax66l7cfgwto15qE+Nx37w/YMWRNTr3bSilD3UfsiSxmqZa0o33dylhm/cH
sSCyH/2fP17LjFs41g0W3smWP3Mr5Erz++ZkCWacgNPSizayzCfBInwgabqfxVMSPk3k9HDhZ/FL
JwOlljSjeKvK6SMo+/Gj9EFXoyr9Io9q5ZVGfVP9FLPCrxkEyfhUE8BuZHX/JCTgYsdOJVdVfelW
WttD7Rk+u7Z9tsome8e8DTwvb4LXokrgltaacOJblyUOrbOhAn0fEQqvKoMQi1kSKhfLGopdrDfW
Obz9mJo5Jev6fN+/Nqxor4/9/r513wlCubkyTGoWRmVYv++W1krrNrAq5r+/rExXYNbfDnN/SsKY
85fT8x9qkqr86xd+Ow9127CFLKCoqJRW/1YPULVSyyTAnYLOxcEEVatD83nySaFaQE4oNg2A1xPF
HCIg0zr+8s5xo4vPyLip7LpUPxakcW3iGM+DJWn1k1VGD/cdSwQj2Zh2T30QFYsE5fxGq2DhSzl5
t8BtjM/xB3Fh/GVoCRb8VCSnUJLAQI/VuEjkwn4cUuPpvkfihedBUqSnNAoDOMW9BxAoKI70QKfZ
QNrrp5hoUovoy8zA4euKCv1cxPZaimuINMJvH/MUMPnt/TeDcSjMvntOb3xygPfFlrwZ6zD0owFq
TVM+qvI/PsDoOcSF+Wf5xoTgXAqXZG14D0lsfdyP5nXarisG6Rkl3uiCrJK3ja92hyIp4E6lSfxB
d8q5f4SJnqIT4cc9x1XKuoxsU6bFU/egN9L3fY+OcMas0boXHdeNS8NH2iZhC2+hozhYc1k8ylpW
LBtTzHWAdDuwkRNLgQYU0e3Hn5v3/913SW10yDem0H/u8OczowHbu3Pf1tThlBRKufrjd4Z2e+T+
8/7MeiLaXbZVlgq3Y/75Gv/0uvHQkfSsEAzz585/fd37b0VPrLmUQ+j6/TC/7/DL50DhYKxaEiJ+
OeB9tz8Pff+fVdT+rvVWf/6aXBhYnyFBhHpubrS4h9lZegfr9kOQxXe4bypBevRggG+UIjE0aCU8
UJFKMm9sI5v/srOpqaAcs+iPnX9/yuTFFxJY/c2fL3p/WuEz0Ryh183vB7o/en9AVxtli9xt9csT
7ptFPTx2Yz2tfzl0FsgkHcQexerbB/jzJZtIiwjNjRe/POH+apkSvk6wCtf9AGbqv75xcGv4W2nN
NBXQD6pxG45w4auMWb/cOEx1jIUNxSUJLJahIL9YEbdRPB89CzIPogEWg7Fm7BSZ5LPf/5s3Ddvg
qDxdqukQQzNHJxcbCwTBgRODttihjlPF4v7E+95e2BBTJiRB4MHtEPdfpoSs3HLKog0cx2OjNeMR
s1DyKEiRvQVEiR0JWQnd2EYiozPpN/dHk0gFEsVQgMqZnSUpnFzeQb+4b6pox5YC/gz9Cx6tRFKs
U5N87PvmqIl+S4cZqP7tlT3u44d8lF/vW1xK1kkKi/V9CxWPfa3FI9ExKgQfMTrdZKfX+2NqnCM8
TtPTfUv0/VcZp93+vtUN9Otlv/O390299awZA4i5um/2Pt6AMOvFwoz64DDFEpUAFh0qdNMHa9LE
Q8d6R5D1eLn/Cvf6m21l6v7+mIzrbhbqib+5b2pBwpLYFtQBbk+nF6wuUdhA/71tDrFpbwps1458
25QCoNBta13uT60yvbh2TFuJfJNJalEIKVZt+Xx/kEyyz6Gbqv39dbADQNoPJXX9+3uwusLF4KMu
7pvgO70lF1s5nyyCbey2yrY2AlNHrwfd/Rdnq/x3NyCjKBgJW741EVX6juAk/n62+naa2KSwgZqx
ChPwEGzRMuL+24kupQ+VfNy34DXFD8Q/3jfy2+NEtj+PTaHvf9/bysnn8Fkx3x8MamEsQaD+8VpE
zKb7Ib2JN9LuwZbL+CEgEgXJ92019MfreFF2hTn8AXC7Y1lfZCCppB5YSPEDNwVx8KCsdVWyXmTA
qG42WDVin4k8l0zrIPdVJFv5TI5uu5oCbTcOk/ialUl46yQOq2EYqospUtiUt11QfzMeTvU7Y2jC
LK5PDl3hm9vanMh/7o16QyhrtCltlg7jmNufijVuSYoO/hd1Z7Yct5Jl2V+pH0Aa4JhfMcRMMjiJ
pF5gJEVhnmd8fS2oMqspiiV2PpRZd1o+5DXlFSIQgPvxc/Ze+7ELdcXHqlYf85m+AbFbMskkAyFL
jQN4FG/VEHEqLY3laho084AsQSLdWm8eMg0C1vp3YVZ9pe5R7uB6QKec02SvkAJ2ra/Url9/R5IO
3mzBXlXHUADaJim2I84tRshAqBoBn2bbVfcVWQWXFJWPv/4pmrvxHOvVUYD3vLfGBbXDsrjy+k94
zcr7awKw/wmd+F84y/xfkF3+x0PR/4sHHpnRyf8sBrh9hpnyH8e469r/ePuPy7chbn87+az/9j9P
PoZg8m8zvZehsnDQUHlF/3ny4Y8sQ8NCybFHlQ3+53+ffBTzH5piyXhgOOOw0ZhMj/6pCuCP0JUq
BqeVX5oAkAT/BuVF+UUw+D8TMUtdOTM8VKxYmkqd/Es28G4yFrbC1GOeJ0+Ayh4tfSOZ9iX2D5oC
yfcWzWM71LtlTrdQyI6qiiELs8YuA5qLSH3bNGKrklBgZcNRKPkJxOhG0erjZPCWcH6Y8pmYBeVc
2N8tehlar5w72CgKucOSoInUlERRLueWKNcqh+UJWssg/Thgn4xkyydv8QW49aUl1KdqIL8czXLo
qFOxlWqUUct8mZjMXYZsuuUUSYranQIoXCL/J5CyW16ICyoBTyU/sZtvLFndFbhQa5v5VdXsyP7c
tpZCAyokYmjYF8T20p8Kz/EIr5ejyFFqBh9tFMGYr1FoeQVp9B0MwIag4S5EMjvXe8SdV7pJ4Hto
HqzkZRjv4CI7qhG37qLZE6eluPcBby1uQzN8DsWlldk3uLt8SVYQEEJti+sjccAgtu0HfJFA3egQ
CXUXxIQtScgawkHye7lwLfrMBAn6NhkoVQPgvxSEeYZX/Zp+Ga9IUDbSdmD+y5g5qJig607XQoQq
J+/d0/7J+enzh4azuqopcBOtj7gVDB3LkHTy4nUenZpgC9OKYcErGHuvPbFXuBhdHQzoHn0g84uL
/350+68HVhHsaLYto182P+hZqqkvK4SJi6cYxJCcZiqS8AtAxgetzJ/XWPfVdy8FZu/AaGx78czb
6Ew6A+OWYoeGY6/4fKtN8NV51F71JB/fQjoktkIjxNYs5cPkNiEzzG7x8XpqklFFwZinzziqxjZQ
41OuQi4FMFHRpZ+QOdTG4g+d7MZFs6ubFelFG52zBaRCN55fjOqnmUi7Ep92svbj83lXdN5i2NRJ
tN4A7FfMZttC2vItvTqo/a6lqR1MNx19hrS8afpHyXqSV++ffC8r2IX68jh2KwXQ9GXzvox/IJO/
H0PiPQwTIGqJyF0hT0YwBo20etPE+XMqhNPJdK9F4CiztgdC7Mwi3Y5yf2R8gBy9v23y8raw+vsE
pGuF2Vspa57gpz7U6Icm9feoZUC9+lwzUNd27OcsE3ZAgl4z0nPv1RvJaE560x16pPtjqnlYFu5k
EZ2NPj41CfV3wBmSYaEV+oPW33fT8EOe0xssXoxpA4ZPFSnPmfGtzJkQCbITJeYwkwHFLEHcPkm+
SZsZsf/tEjGGpMXYDfH3ukr80mCWXEc/hSJfNSJ8tsLlLYOg7aRUQgj+IYbGlcfSdUpmAESkMZSN
BbHwCRlUSw6Nlo5nxRaE3UBU7Gnd07ZVOnFd828sk3biTh9a5B5i1DYp6lIyFglZhTa4MhLRSNb1
uA+F6i04yBhhhmclZjFjcBtBTRxAUluqfjnD21sRdNA6nXxi4mIQYQMvNc8rx5CuqObdagxZT8p9
1jfMqUATs6RF6eCraXXsehJHYvIjdESPwajtTaOrHGz093Etdhgc/HJmRRxKtDFFsTHpT1cVIxIj
0j1rBYWK+hTUV2P3LBIw2uacxszFNOrMJdAvQ43wz5A2t5lvpSLwwrE+oMBMHTp+29wcKy8tC76r
gaKAcWEn3FGrNrUq3UihhKildmugkcDmGd1Wz2DKFA6ydI153IKReTFaJVkAOaXfYXNsgqO1h9sN
6HR0+oj1So9vZWpikNiVealGl1hRHDAd9PElSN2YFQbdSfk/yIPyGOiCcY/Fp9iQPQqPCy56uAVZ
jh833Kg4u20ZGWnuhmqBEFn39ZG4NlLPhlM+9/fQVHgv4W/TaV8jS6cGZ2ijeaFs36aEJYCGczHW
8MwvpEvKnKnO4ZpAEOGIWHEKEb5a5kLC9mYx+QsytE5HYKXAZjaYdaeWV8rfukF+66XF6bX8CMNl
q9iQDxVlN4vudtTSbVahw+3NrZSk55UtaxPiMnJxM8/ZuKLbNOnAujJkDbASTul/Ldr/C5XkVfVW
3HbN21t38Vz9f9AbV1bl0v9cKl48Q3ou4tffWuO//p1/FYjyPywszbJJ/WcARVj73/8qEJV/0JqU
hWHamqaqvwCB/2yN0zVf9z56fUIWuqKtfYh/FYjaP1SLFrtNjxOw3So2/XcKxN8bHpaKWtsydSEo
EunTU8L+vhWimobkK4WFNx60Q7xbdriTt4OP4MxlVfhiI/wFUXq/D3682qoWe7fx6nM9q10UFWgb
5Z/KqXYjD2HHdnIVN3StB3zG/2Y1wQVt5LWqZlCI65Tav19wtOquUwaJTBQc3Eb4AM6DYMDKefeb
f1Ywrfv3h+/122U+fK+6y1Ub7XjuVY/zwXwdnyFIh269ZTi3Y5gqXZuHxWf+952R2BeXXuuhv136
Q2mRamS24xLgB0R3M36jn3mQ9wsV2rhHwbKxvvgJP+h9fz0wv33VD8I3cxhCPh5fVdtaB+WudYFV
7aUNQ0WKwWSb7OdvkZt5w7F6YaJB7qCHS/cxdG13Opi6IzYg1rbxLazvL5+u9S7/cSs45nC04llW
jLUKe/d0acSWgUblVnTeQAr9hoDxXehLbrg3t+k66g2Ozbbflbu//wSfXhZlOHMswUBL/nBZuwf6
QAwsCp1Mc7Debar5tcULaWjmF1f67P1BJ65atmmoOv/98DgrC8tIsF4q2VsH9u/++/r9xk1+Ryyf
6iOeowv4xRO2/p0f7+r7a358tifsl33MO4vATa0eegRk9t3f7+CnlzB0Rdj8eIZpfbiDhQ2KIK7K
wmuMV4EYxrovky906spX11gXwncPRyvlS0DDGZXsVfutvATLi77PvhgOxVE5qL68U56+AqGtx4g/
7hyGH1iusKLFR71m3aamlNRcEi/1jpLCVYvgix/nj6PMusDZ767x4XWsy6WtOpNrrDo6Uju9lrwx
d3KRB7vaEV2A5f/9t/pFcfvbt/owTFUl28jB/q9rOCoWRD2rntLj2FI54qjv/3619S/7y8XWzfj9
r2ZNc5n3CxcD/HFlwlWx5xc1VNwK1RU9WTenolyq/ovvuN60P67Ky6yYiiJUlpLfr4rDWRvGmRRF
MamXsxny6MO8Vgy3I0zd7Daq+oVM+tOv+e6CHx7OlUEv9yRG8l53eyR0O3Xb7sUu2f67dxODioZh
WrArmsZH3GW1iKBRMy6jbbt9u+W0ttEwHPRfLFN/vmpcxgQ/RYdL05jh/377sD3hiSSki5kDh/cf
Sgiy8Stg7gep97oPmZRTsmEq9AnWRtvvF5FiGURAjepdjMZen1Ee2rSBUhIwZcRckb5RMV7qab9V
ibhPSRvn/MWsPLrTiTvKib60svbKbl9F/sUj+0Hy/ucn+/BjkuuVzgMIE0+/mnPP2OrIk92EMod8
g2/I55Kb6du6CU5ftDX+3Id+vyNrpfBuhdPbJAuJCeeO5AHCqc4J0TyvJoY21r9adv4seNZr0d1k
6RH82usD/e5aMA04iWlosXVHf9Wu0+dwV2ymB8nVnOhSNz2U1k7kZ+5X5ccHtuS/bu5/X/jXn7+7
sBUoRSa1MguC2u9LOhS4gzZSVjhh/pRyOtVGJG/2rte/wIJ+8YU/si3zJLIBYnHdcfw+6UR3dcwg
JOI7msOEVPLv76myPiK/L0C/3d5ff/7uW+J9sqxy4qeM7RbF36M8fO8BSlYcXgOzXvXmbdJ7PRh7
M9HWs+sXC8UnuyUfwNTMdfVba6kPr3CP2MUwOo67owvH6IfGxlJfDC/VcboOroLeLTcoLc3NF197
Xc3/+NpIiWzdMFXqqQ9PsAzcr9dGrqqrZDpEQLwC15DEZuredNidWZj7eh1AolK+qGo/Kaz4vu+u
vG7l7274NHLKq1WujJtqS5TIVmKqd4Gkj5NJ41ogp+6gHfz96/46fPz5dS3NMA0aSZAOf7/oEuRT
GAhjvSgoaIEJyxF+c5tcIdfjR35Tjjm6bj5BSkNnh681Jopzlx3knXlOvrgDf9Yq6w34789if9ho
wx7eVLzwWaBvImbtN0lZeX//vn/uqlzCZrlej7o2JfrvX9eou4pjEh5cRBIX2hJuszV5pL4ibA/T
yk1WfvE4ffaVGHlQZnM1pvkfbm8bl2R9EinpydZRJXUhDNUvbtpnKy6yNWGo/EeY6odvFFqt3hXw
3LwUPY2M8VrVLgE8HAhB+eLeffpd3l3pQ5mHkyxhJmAWXl2f7aB00uSrJV397OUTKtZW5HKMoD6+
fI1c2VEEIAzr2RUMIGwDNJcRqsFyvDNT+yLBFGeVLwDejn2KySLtrqwyd8L4OtbTfajAm8JmgEpB
DvNDOV0qzVtovgx6u7ekaxU6RdSmd5Vu7cdMbGO1dHv1izX605rg/VdY7+K7t1hBChDCmis8aNsb
rEJ+vw3OJLMnG/RFTkfCKm2G/jxaDk7Fr07inz4M7+7fWhW9u3g3YSxPBi5OQOgG7AneHPyKRB7m
7Rfl6Wf1ldBUmkZ0h+DzfHjspH6xo9mKSq+o7sbhJE30FxHO/v1tFeti+3F1en+VD48cGWNRH6pc
RWzFwXbSXeFlV0vkGMTjbJJN80J1gRVqM2+krbHJN1FzzxOCseeLl+zTvej9B/nwHlcqOVhkIpTs
RZMXHos7hDhu6RYveEkUt/DzTYwt4Isa9rNfU2UARXdO1lXd/HDRNiwT+MQBh/rhocXN1pe5b1rV
QS1f/n6fQWj+eacpxw3VYstDJaoaH641tEXSiZwTdqt02xgvBIlaXkPDuJsKtwT4EssBIDRoOoKd
os83vYbkA/YLaT1R6xN0pVZYnFgZ2iuxXCmYtdIaSk1LqncbO4TIu2rMkDGZ9wy+d3BaSE3kKBVE
t5IJpkY5NAjqiio+65nttstjjdMkwWI1m+lzQq5gmigXtvIi47VDAUs8IlSF5VoGMF8BFTTBuqbD
eAFJxqtj9SimW+i5jhrQkgDmIUR3I9i9h5CwboFH7go6nNNEp0AJvVF/CmioW2CieplUM4ZSPMrO
ov9MpVODi2s2Mm8cZuanGBcsO9hEcXAI0vm4DAZjjPseqFwQW36ZFptEVy57pgbh9FzkI2iIt1CS
bxfpWqhPusFwIO9JKsvsQ12Zu0AVDjNn2LeQyCUM37KK9qkFxYRQDnFtPv9Q6RkOFsmB3SOZpfsk
QsEGxBXQGWF8qPqhhyyGLzfZrsJiBtDhuEpnrDT73kwGN29mnFA7WjFv47D2YVvjDxHAge609k5K
bDebA78fSubQyWaA4RWQXZXJDHewSqt66up2uq1KWDK2+T2xwm0lSz6Aj0MHLxUmBxnrtcsx1c1x
zUjxrq7SFf3v5CgdV9X8ZE5e3fDEJCVJWyaspsonFQ+OV3WDEBrQyUTIGtFB5OIlhE40/eSVqnbo
isPU/UhBb1kFrBIYiKBXnDHqPYNRTZh/M6XFHTOcOoR8ZtpPAyOcoa0OYobUIUCK+baxG6/vXluO
zbTA/UE0rm2GJ8B1btkw7NDEZg2c6nPDS60BCvMPVWU4b5qbMAx2BYI0icHIpPQ7uVGdSJRQHe+6
br6dyVtvDdnLtZ7RvfVMBJob95pfRPRZ0fC091FRvU1LfsqmxmszZuzLizWwN+WvUkVaa0GxrlXM
eufyGKJDtsXgrxwYabQ922wg8GJFShU3WdrLMBc+gVbk9D02betFfb0n9e0GcKJXirMiz7tl6jdj
bV2QpesZXHAkLFAjaLWHU6USfBUdezxVJSY6WDdYiFQgmcYGfNCmUWtkcTah5lcTDO5ZRLdqDfSw
2skTSVZZ6w79OcDnJFmIEVVEEP3tgkIi0oezPPPVknOk0Mzqgv2I1xVQu1P3C7F3ERu35mwU8zJL
HqU8cFWy7KDEYF6aPKCNq44AvCNZ31q/L/RwpayRrIn1MkpPsf4yga8xpoiU7ldiZ/0Yxu8EtK4C
NFCfgbiSNCW7PeSjlii3nB8YiPt3wyL9jKo855uaAqatZuFGj70QeByoej9FFd6b5OzVN1bROlC9
cUSRKxb+DCS+XqY70vSgSfuaYHPT7oAyJ56QG89IxCGJEY9oJxIDNq2Of6Vsub9Xmv4kpMSvLeNs
9jeyScopDhjztosstw2hPGnJrktzCEukeKd3ltKdjNnaNuOpYjmEeu3oGPy6oDtZCFCViZxb+2c0
ap4iZTtJ4Bzpr7Mlv1QVyv/mRbIOxN6eQplQd07Ti/nDYD0GEecC5aWtgHQjsj1pCrbS9KIH/Z7l
xC2lmqjaxSn60A0jlLM5AHOT+FX4ZEX9kuIgGDnSKJO9HRrs1mLcxo22GwsQfri+ovj7ND7WYbcd
azAJ96H+JGO91FSMuRX6S2hDhaTfWO1tNiSERGr4btIdi8AEgXORfybB4Lf8GFkrNsusO0GI4xYs
zThP/iw/1EPNvSXivSJzKAs2a4AqAWMqkpmRajnFYCwzZZU0Qt+migDL6iIZgp2Rwa4Ik1Mgp/h0
VoGeCbJLc+qUgLMYmzBc9Dq8ZYmGJMEIUzqWTfNopspON3U/GG+NAnV3d5eUTwGM00He5mTgyQIW
WVOimln8pjyHCqPUVHjKtCAPpOaopudJ1zwpCZyuyLeaorhZp+4t/ZSvhBGN0X2eb3v0tqYB7xWj
Z66/6v0bldLWsqKjhngmCREz9agWh9LVcrLggnpncuZKLdlvzcjTsLipOQzq6DBBqy9nMvXCPbx3
BBX1XlOBO7WPmlgcVdKgY+V0lUh6WAhRLGblUsplL7FaFsV2UzbhY6GZXmXl90Eekyif+IjM3G7I
sI5dTPjTLS26VEydZO3GmQiXsoZvJGbupPA1tvMD8fKuQnJKytMD+s4RBLJPZNXWNB8tBvFBTlxt
tx0IcoEAaSbqOUnlt5xFXG3fQpVJ91ZoLIdd6tr2A8aWq1TK/HBBVWTvaKDs9ca6lBqxydGilFjO
exH7tZLskN9sYgQXQDtpubG01s5Q/+yx56HYv2BytjMV6dKqhgOiUh9MlxPbPuoIP7XUbZX2DpBd
R+R0n8OQnLraFbpMt+0pAOLcBQkY7XBT41HttRsgG15mo3FKWndKSJQuf4xi09lXMYYQOwYf279g
K3IaXLOSsVW6yZ8kIgshUosgoXKQDkpsOfGcE9EFTDZudpCWefizYwv0AEeeVJWOJd1AyOK2CDe0
i22AiXIN843kN3TZT7FyrUewRccX0m2PEESRJmAHtm8KbKFLUnh9lG9lYLRWcKu1P5WSZY/wXANk
Yax56sLcPf42GA8ynNJptFk0EiRmQE5y7VKbfgRZ59uKBqk3vorKya1z3VPL+xEmito0+xJ5BXhq
DIzElmeoRnTLS4W5M8QhK6huiJ4x+pdqRguRCWRv4tjGGusj7PQKMIP+xODkgEh4F06Jm9u8gzEg
wql3emW8yPV5Y2KltydwPAHFhGxsDFFcQKDGu5QcxzrYWW2wGebIWzjzi3qiafhGYs9WoNdRIUUs
8qEvl02w3PaK7cVWs41GXsZiebPDZ6jh10A+/FLGH7maiizcf8l1Pbe7ebpfIETE7Y8aXc1CGGfX
5Cs0oZYQXKjHQpfcGKRDVj4rnZ+Ep4COYUi+4oL0F2qk28GfCCeM1DM6iKBwCryzdc8DPKi7Onwx
qLqG6dUeeE6kJ52/Gk0dcps1ceGsD7HfAlob30bsPfPwANPTyRCBzNar1MZH1P+7qdUfe/XcFI91
M4DsntHNUNngicTtumC1TbJ9jfV0Bm+ACcvNrfy567Vb7hU7SHM1o8CflWRjNgqu46cBP1aXXVNF
enqG15e1panPWfY6R9AY1O5lotItW/OgThofRaO2bjYBQczapHpWPN6Yc8cuGBh7jcjV2aZzmw+7
dFHdjE1FToJ9MlCqGSBd7q01wraDdT8QWiI7MRus3CBBtMxdg+vbHiVq/Z4diUlQtDyDOXKaEgd0
nBxaNudy7P1+gvWsvnXS5IZmxRukTW4REv0SQAbHFCP/VJfRFXHlGtlzH2z7LnCtQfcMs7yj3ejP
dIag8LqdDiddzo9rPncmppNeiS2pls+tEdz3uD5D8zElQ91mVdLCVwC3Du+WUHVW1h5RE76mE5EK
9cw6JUEyhj4OyKPjwbMD4RZZdMzqaiPP497KxZ6A1cuuK3dxXrwacXaTAG9btC3IYj+JaE+axL5i
pLaOkzpdKRHcbuA7Ss3dGQcy4ylz6h9aekm3bRsnyR0+RV9I8aFdDfXDEeT7trd0p2wANJWyn5s9
C065jSN12xuIp+Y5PEvCvCBp/VGjA5JjMdWm20Ar+MriOmbH5eG6aSLjOaqXnSkzDxckmMBt9lW1
+tZDW1oUtHzsVoVCyJMtT9gHl42SbWfrWZnMXUIWAOBxLLf1Q9HUhygMj5y/2fuy0LEQREEepLUO
j6Q3NiQa/Iyl+VRktCV7jaQDqiVSeH2zzu6q0X4IlRsQpG7a6/D8laOlJjBcpueKbQtWu9djEWyM
63lUeI1Cj6wFxLlIrELlbiyei+ih6FU8hFhqm4pf8KDGIR6R1zCIyQ690qeTVN7YSugnc7lFKOjJ
2ZUkdZuuDj1hvZKxEiP06i/NoLqTg3Gn2XxCGP1iaLdLmPBr3tg9KAW5q7bEHR9tef5mwYMy7fYG
pmPgqLJE/DsR6HFGyUpcCmiF5cbCml2l0001dg9lW1Djk+1ShjshaTtZ4mS6VIIipXgxUmBJGXgR
ulPCQA+HPmxyBF82UAEHVyw5fcYA2ELWXIPtlYy0cwywt90NnT7I0PhbgCUT4fvU8yEkivhsSHn4
ml0GpFrPxFNkFxcR644dzM9Tbfo54rmIg5gskO9PnmIOTj+Mbqak595Q/SmVtk2F8xDmKWkr8A1C
Z1B/5mSBEx/ghmm61bXW63GbV/mLnNPvpxQm1GLu3zqQXEr8WOdXljb5dfeTNe5F1oU7AdXAYO71
KorRFa24mLf6CGoFUnweACAxpP0YlOxBwaGjZyD38ktaAmfhoGNW4BEy4O2P2vAsiZ4CFuF2YqJD
RLIGb6MNLZd+4FVkNk6iwbuK5b2QsYBQEwT5IyDEFE9ZbFYnQhL8mXMHKs0gfZim29GkY1g6AlyL
zXtNuLcmP5TADRPCtAvVoJO/k9lD5aM+Hsv5OU9QP98l/YWqgTuzaXgXqCh4PoZm3i7lzVLvrSDd
6GXpsW9A3KaZ2zb+vHCz9EsJctEAPRUffBV8UwpoaQaVrgAhUv8wi5NMsWyq15xfS1iW/bWRdQVM
sIxYALaXztomC6f0NtnW7bOguA1OJowAjvLuCkjP7jV5uzTnGqUkGH6VBlR/l5WyR2o6D4XmjcK6
nGTpYl7o0avG0WbTCBuwN7RgUlAoc1OGVICFWwdnMgvoy6gQb2is1khrI+3N7OHOlHeUeg+deepM
BJxseUuderrxYJSHsWy8VAcIDwWADzyhoWfetW17wM/ndgJwz98Zcg2ygByinLbkmOBTpBLGvylJ
KWp7CEX2nRaNjt4XrphpCdXgkGnb1I0OxGCfrICGTWtF5E3czfxa1mFpvjcMLhEtQ/kGOsrjXCQ/
qHq9SH3EXOob2UYnkwRBvRsOt7q0ayLCmOSTQENdqzzfkyepnA6jR2FdtaHsjCQ1wOdGvN5NG4nD
l8L4rM3cGK9avsS1owQ/hFZhGLiL5mNR3lvl7Ijoqqhv2hosadttw+wil7+RGOa0NjpQHrESKXGJ
IBjXKx0BU3taRL216E8ICK9ychbjAwdNp2QdzQE1ZcgzbXG/pjho44HEHGYuu6XmXHcfBk9wt2nR
JBe9Xjui3y/qdSj/kI0bBro7jO7eQHenW9BWW3cYrXnjAa6rpTctQ+fUWrfvptJHjHtKajaXdj3B
RPeNqTjx0hxiCsmO2rhRrSOAdY8wa340Jjn0uFpaWrX+XZkgIYzSSeaX7uR+Z1sXukCIZ93P8U8j
eGimHzonSdHHvqVUXj8EpySw3TmKaPEEF0NzptXVQo5oVcnteVQIjeet4NgsijtLepQNnmjpaI88
A+no2LpykSeqaxCSFGjwaWiOpfD/OpUs79Q4aoweIaY6E/VI0JgXYg0CV89WbdA+CF15yNyZ3bMf
LutF+FIlHQSEICuVqOt4y7MzZtGricZXs6Qbouj3HeOeBId5xt5YQlwp68deNyAx9y5Z5KSGtw6r
Mpyx0m2EiveR4Z+wHL22NrnNa5s8Azc/wMW/NtGGm8ia6bwEEXQiCz8CpWVsYq3QH0yF94HbsJ6A
Omg6Sn2qOOqVmA6B0fo6k9sxeTXCmwEuWkeX1Q5BGmloeDu/DaddK7XbUnqW6RLh2zoyd3Ga6bZe
Eni34z7OttJY0Gm6o9/lm2a7qWmilCmGiJgOZVz6TZHxnDc7EfOeR5ozlbpfpHQakeiPBd0uaa/I
ladriO+/6a21C/IHmfGJwY9KiOpGSVFT67UP/Z5/ppaMDdo+pQ9/ZI9Kym8ZnxXac2MxW+joXTTh
bgD3nSzPefCmmTCZqC1ssn9yI7+MpCdTei4KOF0chfWcg8tNOD/VENAWmIOEfkGZCe/DFAF2XV0S
IuopIU3bIdhmw1Wj0J61PUbtEZT6JT9mZbMjDa6XUq+c6MIX1e2S1BwJThrLe5udRxTnSgaodjRo
nceHuh+gESUQE286jMs2x92c12tuXpO+xcYOjSa5E/HNPL1l1bkOy31qXcnLgxrb+0aHMZbIJ6kC
vmjFrCeAG3kqx1LhVIzQbc5pMSNlL03L1+QIbGSLCnymR8xOVSDTxsDAqBGxtTlGZ4JB4H5dDJxI
w/quN79Xdrkv5Tfs0fmCdrH9maMkt6dyP1NN1sND3MwAioBIx35PJV9l5S6nMUd2zHFIDnad8P7V
t82s+kVXX5UcI4Ysdju1v6g69UAM3rooXYh5OQ7DcrItH6Wglww3aSt5ImJPb1Dn2zItF+wN2ZWV
a09SNrhSzPLPphsvMHL6ZZPUyyEZxBOGBU9ilRMsZLYFsUdgLgCZEzfRvpWXQyqJu8Eg1Y/PmwSI
YfLwABN7Z0fWuWvLhy5v9uSj0X6EetTaV0Fq06wePKXpvXghdmpetjJUy9ae6RHtm0G6HuJ08VJZ
ab0s6w+YyZxSQstfhPDqgdoU0FeiOr3I0lND311if9YRPsYGKhw1c6UOJT/DXTJGKOGeGu1N2N9K
IGB5NToJZ9IAZlsKHJXsCrcDmooOcBdULey1+yX8ue5nkQJ/jJ+xmganLK47+o1Rx9qVEqyx1gfU
fIO+HSI4Y/Oy9qwAJe00AEKony5SQkokWiACBX+SKl6+BlcFXtPc6eoPhSLM7lgRPGhiw8rf0W7D
bAUf1bT46JxbKrmJ69mTyje76nBohF3s1s3PNVpiJtmMw33Mt8uZvsmvVXVrF29otl1S+JzaVPwF
/0WM52KgXO/yu7QMMKm8DdKN6E6cSd2cXASpL/dVdR/0z6W4WCOhqPLEWhWQtsBZMeGtNGya0mwS
1gBHW2qwRbGirgIffrlcEocS8BoADFcrDj2nSBGM12wkHOq8Qqo2OhMk0ZVuHn1XpZ9BeuIdFgh1
I1pYE2QH8CMEdYwwGG1932jPEGFLpfTNKCZ4lgTQWHizfRmQft2fDSZChb3ixVVIbBdl81RHENju
Rip0cv9Y2zlHTqSC4Voopt63B1w8XXKZSaz5IyTZ7tjrj6lBMKBFM3xGWVG0vhaeMnk/0duA3Jfo
GHhbaGrDRi9o1CN46ItzXZFyz+FEcEBuhNsls99ZqQcYvYi3xKBty+IMF9ut28UdtB8ZeP+Qc45N
6oJKIU++rEvckq/lj2YEuo41BzxrVG5MaizJ3CaTb2g3EWMce+7dVPbgv4UNAEHljjwi8v8OVX00
Vt/IlN5ly/wcmLhC8KzbUeUFaQYYigpLaPmGyKINdBDP1menoW8a0elSU/GDoLJ9M62OLpwqU+Zn
euQ30M1ti+hGNq0w+zlF031O/qrMb4jdnf41L2Ghem1A5b2cy7Vn1j4sWXImIcqxgheSPx2J94he
znXZ8n8kHHbI1DuBSLKjDyoEzwktKYmenVLc1NKTZAJ8ya4l9clADU3Uj1PQ+tWS3iffkUbtTMpE
uwGdQjMSwxetgAWGZ5sU23oeNwbk9VyFhpdR7ISjP4FejGr4jrR3KrVzDSZPPHFOVeLob7pNCS9q
jG50mq02vNrO/D5HjBGi4KEjFrFh4FcVIDIRPTptP18X2EfNXrleU9eoLOrwWZOpP4cuOoeDRfzL
4K7nONzdThWHvhEkt1PXfqvkjCaxioHqAmEYx/SfK2Q/h0MJX3k2edCLb3rXvgyJfL2khleymcv2
4AFvNoR8apio1MHw/PeR7p/zeTS571Ta67z3nRIACtGYlRYS+cZQD4xA92I+du0Xwbmf63DfXeWD
2CGVki4lyACkfG95w6C6engzUuuiwqDRaDF3mTaCFlnGea5Ila/At59J1NTV04hnRAVu/kGEULTm
GMRFuE7lR7871+tE/th7lOXHefeVklp8Oo4XOp5U3URR+ksj8O6WSkMyKmWX04be6I/KRuOI7ky7
7ph5kSf2qzGVkSSjHXe+kjf/yd559EaObXf8qxjec8BwmRbeVC5VlXInbQh1Ys6Zn94/qp/9VFSh
6HleGTAwwPRA07q8+dxz/oFE4EO0THct621F5EPm/e9OsClrgNXhkwhLwzDlfIKN2sy7OKdQ1tRf
0/BzT9bQkebgUheg3bSCrjyuiyOz3JgiXG0AP02VjSM80ONkFXs7Zhpqh7asThEM4O31bo1TNkV8
aKaQwW7KkH6nDfZ6WpRdBsZRr7kDxVjb+iqp8qpUv/exMTOGlxBNmmkKmDmQnGxt0rs4HtJQoHYC
Myfb4g68yHiNXe/PRSSuUFEqw1cCd5+3EX63alKh4BFBSgVyk7UdVvlD/NId8l8OYCBAbrcSSYP7
UWv9X2rWQg4N3X+DDp4vDyXohdo5IKmMF+Oh/S3dcbPpm2gDXXNZf034421/nEd3XwQxCvWf7Y5b
9l13e7d1i8IHgdRifrbCQvsm3GoyvBv1K2WW3XBv772ZJTPb5mQrsHRLPc9oc7AXxTHcaYcUyWRK
Hbx39iOLzF/NYYA/Hq+kT0eBHtjU2kcytd5p/SBG2GRL7rPPHm1BJdb5NjOJl863961M4E+1EIGT
5Uyit8/2qC+uMUNbQ2VaiF2ynMU4Xdp6QtNZMaAINeVNwe7d1Ol6NbQQx4FYacecOqSVYCVvoruC
9Y6lLcpKvykN9UeR33aQpF2cwaIsQt/1twkko7YoGBOjz4zAJUAgFEPOOWgQnPSTqY1lvQ5j1HZW
lfLLpLqrZfmq4Uo1hngJLwNKeHnjt+oax+uZs+HSaS9G4CYjQulsyqiK28ZpfcHd0rWUb74oCJCq
SbBUxBy36cIlylrSeWQhQSgUjqPzLWOKWLIcXWKrnop9ve0O4fLHsOyP1XYOUHYRxva+qXFZv5vi
HAPG1rdoKtg3+/JXsw/X3gZwxZLsNOrry2zprijsXJ/EETo2PdKJxw308GCyyFMmS0ndH0vjt0ad
mwRh6e6GUHRbzkQD42b40IxNwsMgIMDnbtK3ylccPCqZsF4hIEc52lSBMGRrKfytZyGJU/V0vV+X
zgCigf9ucFxB7wazl8xM8/BdppDxWwS/iuZTG82dAOP6nnYKzchRBE7WoPWNe/ZdG7odZTnKaOnK
Oo0RB1XqHef3Jt2ri2AtreqZqboEuBwjHFUZwcQEkJNrI5Iypa5sf4xxQK6+UG5Yx78i1M2tPY+u
FzxEkdLvD1QqQQmuzJW9a3e6N/MVF7be2UeMx+K7Tse133daRqer/uCQ3nOKe5V8stY+Xp/AS+B3
GtKQaUQcBx3GCeiRgpJRiZKILl+jIfMI2sSBUFq+sj9WSGvv+3QRLdytt/GXzdrb2Q/GpjmFxDyI
Wl//lAtn70hhUQyBZCR0usk8J0CXk1RG70pAsfDDXxhNAiW8SbCHBsEwd6peWFW0RmRHc0B4R3+h
9wMsRIuQhFySKVlwRx+iJzD+OtLB5Di2aHbPnKSX+/bP1ibTqQHql2HQsaYAAbkSJYSUctJ9LmKm
NJ0ZyIl63hs556xvY9/fLZ6axHurFvRNfXB65D7wAohWKOVTvDi6R3tdbqW1679xgMvvROfeGuzC
7EZ625iTjct+xRYUDSVs44zJZ+D2XWV527GGV6A38SfAeHWBAjn6+TAj+eOjvmw+8T5vctSkry+m
SzcK56wGZ3+cYm16d7WtLLLMlVlN2+ge/Pm+3tTHP2o5+cype+lKOWtrMrsQAZC11YcU4NmmQHIV
r4Bml/4YbpQb/5k0AVp3ALLnDqo39tGH8X3Xxcn4ci66GiqlKbwV9OTNzbCzl9o2uFUgIHvrOQr/
pebgEDKWUBPGM3+yYzIXsUMCvnTFUf9g3NTbZmcd3X3xGfeE7ez8XbhZ4LSRqLMhuOkfmG1aklro
BQBxyLHNiG/1jUG2OgfpXuLPyBuzeuQQ/kLyZGbdXDh4eS0ANR+pmfIfIa93e0dTCzPgQZ2tQM4i
JQ/X6xNKjvqm3MZLLtTPBRUEAXm+/y+O7f+Ld/w7DMV3s/BB2PqUkp+I/Nf34m5vf+W/DN/sv2xV
NhXe4CoZjvEK+yPdYZl/vVG2TEvYCtQtm2b+odyh4+oG61U23szeFLQ1/lu5Qyh/wWsbcf72qE5g
ctH8DeUOIcbY9J/bUMJXziT7AO/o/JQtkpr0k+/Epx6Q+CgOZkcCkBk1nrrp7jSnRw/psUh1V1u5
uR6BUw37sajXSD6QkWWpe3UmI6CInMGwxSe+I0VapW7zCwttkFzIFhvg2xd6ig0u+b4hjcwUgIfT
1Ca6Q8JtKK7irBwum0HJVZK1OU7aJKuxflVeNccf8IQVMmLAr2FYyPkj4CUVPIGVtLqxd4TtWM0y
sfu++FmByB888OtKK8HPqZXc4aQEX03CEOyUneEm3Adpj+5jXkGq3bbRWPv3h05GSseNTSvUVppR
1CP9ocDbHTO33onu4iJIRL2jhlQAUTAGZyxvVeRYcNqqJAPzTljCWAdvBjfS83zpB15bNwAYegkE
R6b1VpsvSlmW85PVmJr7KTQZipdBUjOiWUfVovCzcMGUvrgmMnP3mGTqyZ3Vq6kNTxLSjl+BLtV1
5UHJ0s59tnFf9+79XtdRtIsT/EDXoYOtOcCy0pN+hFYs/QQm03v7DipIc6vIktU/oCPd9dta6sz0
yEs18je5ijcsRrWt5SkLw2oG9XHIrMF7sOqhcAIU/FsRnIbOIgZfgrtCdyluKLnlC9kqpPgeiUo/
+u77bumss6IIfXL0oIqWjgvfhZxskijPw6CLKkZS3MyVB2ZCc9dF5uNpUOOk3pBnr4Jsh8RlVhyb
KNbxUQ+SEMVTfCySQIU+UuPyirhHgwVrhfiVlyrtUkfozgVnKHtOgidULfUgeRTJThvA4CIKu++i
9wbkM5QSVPSwKAufahaIVMSpNpnc6cqLHKSltzGynj6ga6X12k43hjI9pb5whlt+iT3gCdCmiX8S
+N6W6m2vRAL7BTKVcUs+sGXfrI04b82nQBoGmResLCL5WAOik36ANyydHJgYMi7tzlODHDtjuyKp
Yh1SvQqNL1npWzmRaNo0/nNgNnX7pPiNj45fVTZSA6teUzPEviyz10hxW0Ea2qDgOkvJXSqDVQFv
rysiSfkeK0qffC5rLHV0fO/cxPztdZFZxSCubUc/mJHSh/syNhSJ8mIgkT+yPCS+ACf4xYtsILJd
YoFUCwDIpVJ27ufAAiJyHAD8wBeBhVD6zyKW+/JWAafZqhT77cwgFmq6NNvzu3xlM2Q4KT8Ky9Od
vSVbrbMPpTb2xJ6qRF0cynTQ/Fd7yMLic91iUI6GW8euVRdSUYb1uF01Kfxet6EhYRKsBsD7Qx4O
McUTqGPaNtYMrDKoCRiB+RQx2fkm1Gw9vHVL2c2OvpDr5Jun1lrw7NSxGv6K5BCf6VrWswwvr7Dp
+xecUf1SWxSh3IMVcnLqE0XWdO0t/1cJs71jSYJ3tbAPThet4oOYlSROGHAdYTSSTfAll1ep51Hz
M6tEg8+RJ5n5AMxceKCsOEEOvUkS5NSZ+gBHRxSxOKSBVaXYimGwizqdJHlRc0pxjDUPXRN70veu
bNLytUFjuz+gb+Z5Ow8MgENJk+rnVlLAQ/nboA3ztt2rJaWwbWmWqvFJFble/Ax6fKlukzTzWhRi
G789KcjDy9QTwR9rh1JClnRpiNoyVxUm88Wt57uuypJt6z5apEHcU2As+rKglF6EklTfum3ohbdN
rNc90OzQBEnrq3VJqcOQFLk7YMctktfeg9B2zD2y6JhcyklTU7ILUXM7cWIF8k6q9Ag9QdNvAgyR
FUtrs6WdG8I/Vm6D4FnXqb7xhMhOyHnsSE1fb7okHQwsadpS8XGjw+ccoTWzGzAxFFlnQRpMRdXf
i7bwslunMeThoS0lu8VXTm+N9jPQvNxe1Vkc5ist6QUlewv1zU0U1K2FHZw5QJIabAeVEVE6Wre2
A1BGD7kGqgBMtsBBetPGsR8jzO4Vof1b1jikIDvFEWAWJO3xRl3kgsVBHUtqwHrIztDLt7mwIu2z
avWW9UuTwIMCfQ46BRvOgYr0UJiy/1x4uuHe53ZXubcKsnvKjecYQ3DkNRsGB60MGuvGlutOBleL
Y8MXjkWqfmFctPnal9AL3aZZoojfJGUrTHyDqte7h9KuRX/KK0v57RZJ6PzOuTiqU2a0fXkoEi+Q
n3q3qMenUdZ7Mfg7M1MASpt1qmyTSKllHCQi3703Bi7HT2VpC+9rYHS5UgLoSzGDGSwVTwD5t53h
pIP3cyjIwrSKktzDMaQkmDeil5Zh7LoygDZk8rBakjIzuPFSs6K40gjfXmVAv2EfiNI1su+xXybl
HVD2Bvwwqs6Ff0Dy3xieB9/2/ENJMTO+t+tY844y1Cze7QVgOvNL2mt9dGilQK93ldPX0spQg0Y7
1I4aSl+Rgq2BvLdZ7tlfUfQLwp1MABCsfZzXNRgpdptXX5ogMikRF03Sg4FxY/DKaytQKBw2hUqB
LfEaLX3UWF7pjdwniXPHpV2aj/iAdC7GQoYXy0+mMajK0a3tNtjyWIJoT/ld60/OUOYVeGdNwVte
G6KspdTaeyFQtMiyotGRry2a4cXMSFV+K2Or0l+i1h+UgxDD4G260DUhdyQ1xjbPaeZU7cHGzl5G
Hxtm3j4MYlQ/l5wJUfQtcOUaq9nUMdUbUPNq80PHfcI+ZXkpMbNx0wK1lflV+7DwlYSKgaK6wGXc
3FC+lU6rFd+ixnW0vsGULMqGTdIZLi9rta+8BBxNVOI5vdGCblTbTVOvhNJXykp0jPgXuC8kAzOA
8aHZq8MBaKSWf04qgXNDh6QvpfqwbvAKt0UeA8HnYnCMcGV3hQz2Swssu9KXmLyqDoq/lh0n34em
LBNnk+aqSiTSymkX1d8Jxnip3TYhCXkUDBzUG6LtwAlCATJVIqnd8L4J+pE1FtquAu/USBJSoWrs
W8o6RvzdrlDCJyfrLavSR7FuGQWV5ueAShh3TihoCLhEyeiL678DQoi0QksgGJSHt1fA33oQ/Q8U
r7e/0tvX+Ff5f0HF0OAZck3FMPrpN7/O3kHj3/jzDjI1XjuyQlUC4QZtfND8eQWZ6l8G1QHTRMsB
8QOhkRX+xyvIHK2tyQRbSE2OEtTvBK4l+S+et7ps2zrVUx2Va/nvGV+flynQKEE+keb5FOQLEUab
pII5s/NIin20da1hW6UPSYkySvoU4G3XOPWaHCZxxY67bfNuiO7/PLT+LamJiiFFl//x75Pq4p+G
ye+gNkcv0SGaSGYkXC95glAvOixf7c5by3J81CG8sLgXsg9aEJhXxt4DurZEom8B+Bf6NC+bTl7p
lbsN7ZuZL7o0FNqY6jdkXJPQ5jl/GY4eRENR5vKK2VkMasUzy1gOHh4sRESgVFAG0pdl593E99db
Vi+2LFR4dzxwkSadTILtZ2UmBsaCF8o2VG/q2Nx1FTZEffoatdYnR/qN+spJccWJJ9M6UcWNYeDr
l1WHTHW/mtyKPSZ0wCIrsPOWPZN1PS+D/JkqFMJJ4yO4rqEqez4wkmY3BF2EghZRavekyR1gMPUk
59Iq7PEMlnwEiIu5lM6lQSGDJAxDZ5GTkDxvdYzEzMGh1dDqlgXWllWDM2B/H4mvsKAXnt1sSqwW
nG4uLzjTsDH+/F0uCayS7TdyI6+yBgkbHiULI6ruIvOroft4V9Rcu90tHN3nzvbW11fCOJL/TEow
0pYyDjLiiyiukCSZJCeg8ESN7EnDyieToPbBskpRrx5B0+kcKGSuqclqN6pctYKKpooK5o7rr1U4
p04hbQLAtNd7xRn3oVfsGeQdR6kxTpzzAUWdjZSD78mrzkd7BSYIbFNKtdHxejOT5PGf0XvXjjWZ
OKupYU3r6IQPAtbLiKnTo50P32gACeeqhKlQQRJ4vPWApYiwn663/2GbMHmUCUk1mTomXW/6Ku/W
jS6I2s0iYZsoW3KVSwMhgrR3t67RrRI07DlESVmI3fVWJwnef/T6XbOT0fUaJ7KVAEoFvEeFF5w5
rMCVy7xyIIZXMhoCGaUEBaErnnT13GYZl8l0xbJmNTJyMpU3fTLmRqBJrQ75ZeVgt+qFYM61XdV3
ty3WH64irTPjxpGSVyt+CX5Rs9rhZLS1tHJvsn2FCVlcqXHImjvKL04FCT7091HgQjTpfMUZmiJn
mAQBvgG8BhixAppqQnMqUZWEFnyTd4DInRqjOHDZQ7hDYvim1hBDjNJtqsf3cBVOwVby0ZDSPs3M
18Vv4wbXuMBHEdLJfCE+47qNx407zpT2LU6/JC1Cd1m/VWt96YOb17Pt6Jckoe1QCzzVHNIVKbBd
hswn04ek4nr4WajqzOEzKUD9WUl4B9h8FMVFe3ol11LUgdbiGuqFtejgv8tmv22Gz26m4oxbH1LV
Puq4CrGoH8FrnxDfVkeILxTEABfVWEdPOzlyyH1S0c5s7iB3H+O/exexyajagKgg28F9P5lZK3eG
Nhlgi5MKWmP+AmC42cBBIM2GKDijZIYqRKi5BXWeLf4zNAAqoBujajMGYJMFRbLChbUpA22192XH
dRA7T2900DIAHpuAAEb2ufRuahOD5Hy4bVo+w3Y+B3Nr+9LyMdBEpURnoMk8Js/PbqdWd3RyaAP+
4cUI2d+O+WqSsgeeAT98/xUqhUS7M4t27N90m1Na4WYSXE3IsZ63GstaSD6nwleCR9lIlM+cZ5tT
NeZmdNwWU3kPRlKz8cpqDqk5/upp05R8CQI02cQDYtLhJmrICeHisxKD97Wpu0PZPw+Bt8bPbJ2Z
oM/JPxjl3iAtPH6BQBZmpvMXv0AxLQrt6hgtT67K3Agtx/Qw1bCSBvoRGghxv5WgXQgDH2w4692h
wA9vbD28623p60z7lxYfldgRW2gSKL+hyN5dLJHvYTVt0f7Qx7tq339WQVtXKUYtKaCquLu1re6O
bOGqS+plk5IdlGpe6cXcTFxaBMif8viwKfQY06UnvLxRgiSQV8JB57z2bkhM78xBOlqK9yilzrGM
oqPtxccOBYeZMRiroh9WgQVkFv0llarNZANmptzqdcYtJ6XWMiclBLVOEw2uGjApcTnD+WKvm9A7
TGfdKQcVkYEAi4rrX3Fp75kAVymOc84B9jzfBVYMmylJmQjs1tZt7K8zS73x3YgqSr9V+BKLKmPS
ra63eo5C+HP28BSkiMZ2Vz74lMmJjjiCRKSWJxQeiElVlIyKONqNb5FW8jfXm5vUxf/RHludZ6HC
a0SfLHcvUJBVkDSCULdChoCEVLwzqwP1kI0u4SmH36asbxMFqZVsyf12VF37WQrTey2b+5SxOD2d
dUu3yCGj/c8rdQxi3638RPNKHX3wYdWNYp12jDrAfQlL2Srdxzgr7+S2u63D57BOjr0T7GcG4tKa
owQJGB0BRGqZk9aVaECLFzezVdxZK4+sNJAF6PQ/hjR+wFjtB04sR6eAMRAPR9mSXvug+Q4qduYr
Luw6tr7FS19DEtiYwqUDK6g7qkoQQnNScmjx2/XGzmMk+MD+q1i1EGrKfbdN4OnMND12cDL8Z01P
1nsRVn3Zx4SvldSsx5AWL5q1Z9Rbw7kXsQbnRr9pEvfkK/5N0X3Pqvq5svtt5munIrCfhDKbNbiw
AxkKFegaBwEw68k9FFpq4sottKq3B1KHLIMd7opCnBKmibT7E2Wfk2HjaYjtD6Ix+8EMd6WQNk4P
YUqvcdYLHhKFb2t427ezwfilybIo/bJ3+Ew8Bs8XbCAFzRCbfF+ZY5ZLqaHGTIeFREbW+23AvGju
fZVUXj17SVxsGRIPapqkm7grz1t2ezRjkiJhsRbeo4GbTFg5G0UqD2Fv3KAMsHbwNfrdFeWP64vk
UtQouBGYFoHYHy4R5w2rnm/gIgnhBtzHIlRxXPeaTZu1G1cP4FsbO0kPHnTubz0PEJcyIDzflX27
dtGY8uXxEf8bvNGtpFYkRqVHbTvgthjwLLj+nZfeSTp5ODYzhADgKeNuf3eWUDjhxVs7PQO0QD8G
YSmceOVcecG4+ls4QFosTBpX+ue2RFzErJcqcj7XP+LC8sXHG6cQXBawjpu+S1CbH8JIEEZVUPV1
Od7hGfrQJM6ODD/urzFu9CrEan8ufB3nYLKRweSMDVKURb58spGVaJRxMAgac9/bqp6xkV9LRdwg
IEQiSUC67LekKZdDDk2rdyjlz0ZxF85SUmpj+Ag0k6tlsjy1smwd3cvYpAVKNrhXt3H4YOfSMWqj
Xd8eVPycWFxI7+FDxzuj73y8jOqZI32CEn2723h6ETmDEzfx/Jwc6Wo6KKgy6FwoubXEFwnasL4O
lKJeNJ4Oum3oP5m5vGhs9k/gvpaaiziKuVCy5mApwQuqG1ulrCmzQPHwbiLZ/ikliMioqoQOYm+D
dZoJOS7dxmO6F3cHcOSsm8nU6SRnk1DDTU7X3Kfcbo+ljoVSlcOobY2fRtifpOFTgI73ovPQZkcR
xXPRnMToKNAgD84RTz7mbck0KspoA0+eikfI5Huw5vVbxWYpKZDK2gKPdyO+i0LwVY2CCFIl5a9u
XR+URDvFNupeVpe8eH2/MiJer5E4IflLHqj8V1Y4q0uwwUH2fLirMUTjyYgZ7yrw8WhSBc5fvgh3
g2VteomIJWfXw/haDG72kETgC9xw58rx7+v7++JsUUbhDLa5BfRpDihM5RaXHpa5l8e7XIuPlpbd
m4n9bDjNJnoKBtj7g9TcNnb2GoTWU1BCbUbLkfLU106fO/PGSG267VUS+7wdADXhzXx+5EW176h2
yO1j+sW9ETSUiayfXmUCQYoxBBvlAOWZ6+BSk2/KrySzyRZPm6xKy2xDFV5wK0iWo5c3Zm3jVmKT
bUGpLPmiuam/ECTqWBSR5gEIzRkz/vzdwV5kdqbVbscFpJhfPU9GElDfuZW3xdvjLnKLOyeXHlwF
hE/L6ON5N7dFxyU/HWaNO1CHb0GuaaoonFvWoFQFH1AmVMxRbfrSIcqnjK9ldFhNPdwJw39Igcz2
QiInWG9rGNOyoTx0366vv0v3C2UhC/NJEqEfNmdK3bPpO6lHvmeZZfYql5tDYkYPg3Vr97tOtlYk
lWbutEtpVzy/wfoLHmbjrJ+Pv+qriGCaXKw+8Zc9lHdKJfZ4Qi603Pxt6Qj4EQfJHoh0p9te7+/F
08iQIU6MuEAD85vztnO78imml+jOQGl2f7e69ZRWzaGkmtyY+s7DLx4ZN24UOGuVt25QGvAqsUuh
63ZoiWTS/cwHXVqM0DhMiJaI8FsfwjDbKJLWVkilI3IgNx7yJ+WdUN1tFxV3RlDeUbfGkyDeJ8ii
KP7wt6xQxvuNZyKVpLFoaJj81/l4BEErj27mSKziGOmyDoboBnDNk9N6315DGcHBbDfT44+xBU1a
MkRBgTv4hx5HhofUTID0TwWsR8WHDe2jvZ0YB6QdeKjd6LgAqhaoCVM7kBU++ups7HvpEwS7j0tS
hfE5rZ9B7u9qJ0JaUzgaaKJ4p3Vf2hgfK66pKCXhzLh3An1fEtRC/xy00WpmED6GN+ObBDdiHIWI
cbTJrTi4WhFZGXkIsnHbMdg1kRv5k9cNd+MLTWTxbrhJsp+jQkFsIMvr9YvrH/ExTwDclgozZSOT
g2iao0tkE1iejZ9tE8e7sHCp6oQPPhiEMuvXJcfw9ebGUOn81IN4SlmONDZOw4o2nkXvjt06bJWS
UBvVPrproYKcl902bzH3ID3xv2pKTILHRk4BKGU0pQZM4MBlkuGU7C9lvZ07zC5NJPL9im6OxFog
7Oe9SjUR66DNKKM6Ncu2eLB6c9MgVLRIoH0sSInIS7lElQMwzSJQU8Rr9JegMG4l13m53uuPhzkD
rDPCI1HcIvNz/ilkE2LiQmSoEz89Jna5Lwbr2bPUk/eYNS+m667lcDbHd2ErETxBEyBE54k9PUBK
hBY7IDLdqvTbDQjjHZ7Sa62UjrloUE93NkXl7xrpS8byReNnmfTOp+vdHrs1WVeQuCBQE2hyjk7N
cVJe6UoV6x1AfqNLtwExoxd+bdUvFdeX1c/2+MKMq9zaxGvkVkFA6OfDLMq8wL0EzRLHAxKFfK2Z
IlcakGn75VHSkIS26U3If7b1XBgWQL3kUc3nqt0X5poDlPcIHaaUNi29mGVjwCiS2pWZS2tZcx+j
pj2IKFgpGer8iEnovf+N2toMEfDCkcGBCWGWShTB0zSYT/K66jQ0elc66RCNOmGe6ctCq9dJmSDc
PkfTuNRL8iLcEYy4YU5TBU2K3F9pd+2qR8PL58Fpor5VG/oqVFhJ8SGlZqvk4dwN9fFOVscIWOFe
HuUApoM7oM1v+EHcrhpqRtigGwi+DkG4JVhD2F2WvYUrPyboK6kYhF9fzBcOSTR6yVTB0yNAmear
bDMWiAeJdmX4RNtqdGydalHX3lKgF369qUuDi0O9PWIHeJ9N64qJCpyxj50WNfpgmWrI/rJzZNnf
l0juB+jneC0y4l43E3G85U2m+1VH8oB1hDnDG5vj/T1QgNpTUttsV7b45TSA6spwk+f52vPSF3Tb
jqn5qvnNKjKhI8b2U6uAZ1Gs5+udv3RogJgYzywKEx+CkCEvfVekartChGjrYTLf6NrJR/zdQTB/
sKV1ZcwlVS6OtwDSMO7Ycc+enxtqIPIuwYt51RL6utRmM71EMfQhEC6sPYqT2iqL5rz1LgTbo2UO
eDH4gqhMTC/51gCHTCEeMxY7xuoARVFXQfYJQTgkMsMxN4/7guvax6ghAvDVcv/3BxrdAJWYjyWG
gMp5r+vGLA3cy9nCTrNDK5NrCUT2BuH/lXHoWm1m7146oMgrogMBvUT9cC4Oml5WhVVzQOXeOkf1
KwzUkyl/8mKSMhRcrnfu7SSYrmVjVCXBvNCi6D9u53cxjaF7llzrMtsV7oiVm7v8lzIYr+Rw6x7f
ipAgx35oDXXmpv+weu1xv5Kh45UuQ9WbDqqfUrZKQRwVKLPnvoEpOfJsojoY7ggBapGJngtYxzjm
rKdvTVrCUhlbwYPxvKd66/q1lvcy4rUCsb+42EooGdppdIvuHdLrBu7kQ7HKO5Tw+m4OKjMhmfJO
oXlOQ97tI+SJu+e8eTn3Zc9oSQ9IMnqCavAtv7XtCv1tLuMlMru/+678blvWvWVtw1j6gl7+T4FF
gqnhJmP3+sGPui/I7M2E0G/Ps+mwgDdj7kknmGCWzr+rRMq25RwBw6PaP71IepLqbV/j+uI5kL6k
wlp2atWvFD9D686CAxMsEzW4S/CJXnzxoq0d4WseHa3We8C8+ocp43ueK9UpMLWdTwnPkbnpBltr
FmUobrRg2Ho4XiUxUnYGLgzXl/OHzcMg44nDJJOHgRM5OaFqN4AuXQFaKIN2WYegRuJhlZTtpkP3
Sc/ambvu4qSO6Y8xgBzTX5M1VYnC6GW5QMm/Eqe8aDf+8Jp6T2O1fCySJkq515ruNomeIz9Yg4VG
Lg6XeFRMI2hehmF9jtCduz4GHzNy4yCAMiW6oZwpT33MXL8vzbpjEEL5OV94sr1RgxipZPWAsH2E
aUTl1huRajeGM0rWrbu8XitgLJcz3/EhzBy/A6EnCvkUaT4c3FKjI1PuUDzPfOWoQCrKyvjkOOV3
DtO1k/erwWgOtu5/K2vrU1OCtInkVT5nrzkRDviz8cAwyKMyCGiO6b7XqrppFX3EcmrRwUoHNB2D
I2L3mewiIa64n+rWfYT5d1PhdwME/yEzuLdJxDs9Vi9whyQeIDAg0TO3Hxte/R0Sr63bn16DwflU
6JRRGmsmslHH1/NkV47YB+5Yhu8j+kTv4iyDaALEzZJQ9W66he7rnzzhfylGZ5k8RF3QREWtoUiL
0Bmgv8DOFihC7z1i+koCFtBZRy2LX3R+WKT196ju/FUkmcirOmgnRNK93XB5klWfmfbxwJh8OnkJ
MhNsCqCd08SAq2UoM0UUBAUio3FufUPbUFKyk17h8lCF39JE3WctKm9dvIS88VyIWezOx09ApYX9
yPOC9AQPjPMzrc9DhBtSa8zPSZ/Uigs7hoJUF/u4xbkhQhovPLbasUv8A6WPsPLmErQf7xriMtIE
HKcKWehp9cloVEmLNSqEfi+eLNB2Q3LUnfY2bL/AtUSRlVi1Q0rP+Hl98D9eq7TL5idAU8bFPj2P
PLMUckPHPVWcyopKpCcdQ+N7heTsmP2GYTOzUj8GEFwaIyhrVN4xPsJUKmhrTSICCnye+qNC1t/K
5QfhJPden36DN5wO7V2ri11vKHPaIx9Pe/xGuVV1Mv4q+YtxE72LXUSnoxgb9Whv8n5zBn9d1cNW
QYojQ2AZcd+ZQPBjPXXsKt1kdXPH6NMr3HEzpweKOKxU1/lZcVUKGUnbPMyXkQFIDJx0XavYfoUP
Gp6Fi6r6ydv79foMXx5vQmEOBpOVNV3beRDCdYuRXM1wzzMcc5070bGv7EcdbWOkGcNqnx4Q0Xm8
3u64cs53NbGBAVaSFAmQsGlRrpcUSdccEzJuwaFNFbNS0bA3X0EebK63dLGHQF/AO/K0or1JbNh3
Th7JY9m6Re91YZbATUw7+56Iu9TAgila+I20slLvG7P/7XrbF1YUTHwCfWJEVtY0se86YQXBiX3r
6jjvoLvuVkQxym8ZCJySG7vrrX14T43xFtx+ziok5z68IyUsSCGfcqMIwFQj+yEnQx6X9cHunONY
OSSSPNVzmLZLZwTHIyUElvDHhyOs625QBs6IACe7yFR+JJL6imw0CLDPmaMgDLoJ2vIrBOOdgYKw
2znrqgX91jXEcw+qUt7BYRmWtWzP3ByXBt/mMU9lS6Pg+rYu3m3nUCqTWoQtcAXqGW1b3bWtuovy
W51wva7nsmCXBh8QB3erQa6CoPz88IAI2PtdQtnOTNs9QCNeBafMyTapLe3ARi1C2cNeTMwFZxeu
JmrIPEDwjRlj1MmZ1bGaZZzIqQ6L4Gbwq72UequuR6TI10euifWlC5yd8CsyU0N+L1eYrIG7vL7w
Lm0xADNEZ8RE406bdD6mJJg7lUwFo/Ce9Nj9VbgvUBnh72NSo+F6563DwGgWFRpyM01fGHeSjujW
mRQO0MIcB+jdLPcBeaEyCFj0frhsG5Rxu26LXjE0zFvXxgTP6L5jL/ZlhNY7cfSS5tWvDpNDo7KZ
o+HolcHebfWj0d2PbKCZr/uQOBsxB+SSQEsotsbb9PzrUmBOQ2KzBsGb7bAyaZvwV8OFuugBiHRm
dhP70kI1JEp8SQ+YBs+6619wYRMAFtFUnmTwC7ATPf8AuVBLpLJrKquxfAvd/GcbUs5Hz1Nu1uEg
zSyEC6c6gQJ5FRAOMgD9yWrMG6cTGifsyhXGJ0QF90gr3EqB8qIGylzW7NLKV0GayOPxClFh0pYH
nhreN21Vyj1ibMcR1+mq/k0WU7cxAFMPeABG5nL0hfVurHAuKLu08KDfjc6pcA3Bqp2PbJD5aVzC
rQaoJnYeWfWuENshYpX1+Sosu9sq3WiUNa7P54VWkYMDxsvTnQzSdKd1loWGH4oUK2x973QFG7In
TXI3ttseOvWbU6MwNdj/Qkz2Rq2jiMI/HxaR5JbAGHPsOb3APdWKc3Q96VnCcrWIbypl7yiPRgS0
MkE4/l/oLWwBMt2jEJ41eX8bSds0/8nZee3IbXTt+ooIMIdTNjtN1mg0kuaEsCyLOWde/f/UGHt/
ajYxhOUDQ4AMV7PCqlVrvQFPoxGP0Gk3d9/G8mbOFW8M9FOZo/8MaeLPUlCq3bBx4HGQ7i8TBl/H
z0bSWFkoyVIyn/0mfOm7fq/o9Tk51/7XbpZ2cBnOH3/sykWqUkcCZMaG5hJZHNVBqVutzAtC+QAd
XkO6mWJ6OduflblDcT7BCnHLdHstcKsoTUFK4XVBgWPRulFM1AvqsZ/wfYtvfBmPVzpkUa7tNKCH
dQtxL4bWHf2EWv3pD772t5EXXztqciaV6A7AE2+8eP5q06Erqh10/uM4yW7hb4FMViIh1V52ERxR
OrzLeDFClvfNgRa30Q9UUbobo2gOxlwfYpObQtvIq1ciIQTEfxV4ecYsC5LRVONXZAlEi2Hs0OA5
VGA6R+R+m+748US+b8dFKk0Z0IYZaNss5LInFI2hkauwibxWRo4+nDCfwcdor8doFdbR4Mn1dOND
54c+h0maNe5MZPsrw4ABWvcnpSt/jeXsGmVh75OptHGs/c9NMpJSEIOg3d6FpJdNst5QktyYmIxY
1fC4Ak7QBEefcgnc4ANc0T94LqsCSURbDhSxtQySfTyjeSDgREEcHCIju5vl/C0e8jelvhsxmIjC
QzO/ziOPqo/XYu0I023mMuAppQKUvbwTcPHDJjaMSDkt470MPRI2ohkwA64JEQoEDTyrj4dcuxAM
5hcoJmp/yKFfDtnPtj74DsxTDZdhdQISUx4R5fXy6W3ENjXDDS6DrPnxoGvfaUI7h6qpUOpd1gWC
KqwmA9CKp6HbpOCIiczHY6rJXq7i1deNDxYL/PGQq6FKAJWoApn6dQmrrhAwQk6MbY6805hAR6TO
InUUY8avStC4YwzVDtsSAxPZj4dem2LAWeB+qbPz0Fms6px3caDPzkiYSo4mbhYIadEewwpExx41
/jbjGu4bGx2NtQBCDwW+HLICFBuX8bFs0DqOGLQvoxtR+CXdQc9G8/6gxcr24ekA9fSdtLise4xz
F3epxlBDAbYZRFVuzG5ArUVt/I2ovzqVDMSLH4okiMPL3ZrWwxCPEwdEQAVkeKNlN9yKp+Ektzsm
n9ULvk3aVl66VmpReQX+/3EXyVpQZii2SbwStPguLb5LZutOMpLS8eOEqLOaAS3Nbyfovtmj4B9+
vH9WT4tG9VwGXnXNPmtjTUaWhQJ11Wd3Tjzsm9a5S3BFD7tnFavLjk7rxyOuHxbAH4JptgJL6HsM
r/qO27WfYHWi4XOUkgBNivoxHQI81bUzDH18SvM3rfyjdJHiNXgB8Q4gKl0u8pw0qmRhnYcfKhzq
+FDgTlnm8zE5ZxiOdMJ85x6i6cZb65pGIbYx3RpKIPCcrgrFGt5FHe7rVLI0FbsaXqPTbM17jE49
rbqXfInOeqfeG5n6t0G3Igi785hixMafpy6v3Wbyj+jg3A+4j9sD5ng8XupdaeFNpin+Qe+2mLhr
+wJeEoVVtgWcl8U8hVU1qSnEI8+y5iOaragDoZI4Cxfu/MmwPFXdImKujkjXUOCqLdEGv1yZADS7
43Tq6Mm44Sqzv8eC7tSSCRj9m87gebRFW1jLuqiYOywMzXYujMsRG21ssEhriJ0wL/VaflCazLMm
6yWMlJO/uQlWPxBBFhnUFyjCZXPf1rV5GHT8L/XIwI+oOzt1jk5g9WgcMfTBlqfayPNWv48Txli0
xuDvXH5f3c6OFaV8X+3c17jhqRg8C3GGfH5M5y2Q5Fr0pKuOvolQvbmC6FNNjqECsWHCEP6i0p5r
4lhs/tU0KlCcRzmzDoaydfGuDSo2p2h000Ba3g6+36Zx0NWsoAEtXQ2eQ7zi5QSzTh+zptxxs1pF
0G4LFL06LOU7VvFfNdPLiTV82o6YkyOUMkX7qEo+SUBewmE6CpZ8nqRvEEvMzN8I1asXBVA2Qgm9
Fpp8i2sXg77ASBSGjTCPLzH3DX6k82dFhTEISx3yIl2PPrVcH4vPdvyDtMohodJ1iie87xfHM6/y
JM5lLuLy72E2DoMeEAocisZgJ5MBc6stVv7aJDuAQmjV09q96jeXWaqryHDxtYBua4lcIz5R3Lmv
ZO0mk76MieWOxh+l59SGUKkW+8pcZo/AN+BBB8Aylak9xyoUF1DGWQEFNEzR6OzOcZq+KfY/GSKr
G/fidQ+ZTPm3ocVx/q1amGRNK009MzzDB0omt+GoTtMxJNKmVsJqm3sdnRzyIC1AjxKDYah3G79B
5DjL9xqNCNBetH0QfF9sMdvoVRlNaT5fnhlGuzH87Mxz23pLBMOCzLb+0s74PW+yr1fTAirign4k
pKqWSeWk1y00MZChhfWQFB3qJuNr3clfq7rC2tG8QcN35xR4rBE+v258toj0V58Npp5uoraGDCoV
EoM5APox+Z/zKX8S7CKR+qEE+EUpv9LPfYzDna/9HOcIzzzz5xQ18BHqjT2wckUQqQX26r2GtsxO
piY0Er8dgUIbtAUaOiVZfpcH/qlyMIOlR19WWxislVyeIUmJRLML6qT4Sb/tOhweEHOVZhJs8o0x
8e+cDiHghzjfNPkQ181ikqlGQiERLSD5SmghRWXQyWoqdbIFVdRPefzP6ChKGDoG+0Aqj+pYeSbi
Bmm3JfV/DWMk78JKgQ8VhPMrkYXIkSBnlQpfqfs4gBk3QM/csb0ZSvmfcbRfnOlnEQXn1A6fQUt9
avvy4Ns/Pt5ly5mGw8IjmAYyRS0U8JcRdKilspX9KkckWT5bdnh0cPfVmsCrrY1ttAydYiRVESVY
ipNEz8WazqUcW22sQzjVZTed7AcwRPeO9TP1b5ssd2Utfhr6bCuvX8av91FFNZ8zzHZalvPhDtPu
apUMFtIIXHQ8zmF1O1b7TELyLLpxcswanf4Y59neb6N7TTLOUTdsfPoVZ0j8Cr5bUMYIIqR3l/u5
QHgy75HSAHSgeF3+M26MMxm5p4XSIefAZmg4StOzraRnDWNPwKPowB47XBftdD5hGrAVW5bbXvwg
QMI0OGHuUI9YLEZOXURCfS7znKa7wRHLq+KCBiR6zqiPN4iDSxp+Rsbgor56/O87TsD8ocMi6wx5
7nIuKPQVVjmrmacgNDQg7D06T5YoCATR08cjre04gy0HKwoJbzp+lyM1JRqalWZkXhQ25262v+bW
9CtHs7JD/tltLTvaD3OxVdK6ujPe5/a3YcWW/C14gUcJETBko2eJU7mBTs9KTR4Gu6Ygndde7zR3
FI5vB1tnu42Hj7/5ChH37+i2orPXV7RrYkONVaNGPb5sz1VbnrOp+JFHGHj7+d9hP50MNnl8n6jh
dwiEOyTFb+uixoAdB2Dctt+6Inv++Bctr4/3H0QlAiwct5hqL7ZanDa1MkVAh8OxvlGmW6cL0QlD
ABhHcGg2bulv+bmtrvtvI4q//20BiqExzKq0ccWuHhKpeJGs9FWq/x7QqpfT+D6oP9eV9Ucn6n+D
Lt+mHdrlZGR8ZmN6kQQVGAjilMDVQY4N8yOUIaJDG4f3Nh7fH0/w+pKz0UEz2LRhloiUPkkMy+/D
HPD3eDSLDEdWHGszzCgi25UU8ybJ8kOq1rumLB4r0FeWRV2nfHW64ifqfw9d3H7WCmMj9F5B6MTC
oyAiagugtkmaL5fBxnHAl3yciUZDuguiPnQTxAx98ymAPrsr4XscZ2Q83CIS4vNuVDnnyr+rkZ13
1MCb6+ArlkOdZ/oF4vxq8aWZO1Po650do/k5x3SU4DlG3Ua/8B0A8HtG8O/PBvcHZhKQ/dIay64S
vZCET6bjt95ofyk7vKyPgSG7Voan6fCjHNsHIHW+dZsE0zFug30aOhvX8hXofvkrFjlvmCC2JJvC
5yzo96yX+635BE3Ja8jB8xJUDl4jsZ4+yEG8FUHWUgJTcHmR10B9WV5cVkKEO60KrLqwVCjqYxoY
vzoZ/xQrKB6DLj0PmnMYZHsvB82dHI0ApZ1DqJyk5oui4buSb8SP1Xgqrk4oYsCkr1Bfo5I3URNh
a1enjVcyWJrgv6Zm4bEKiF5O+ZLWztPQ2aGrGeFGkcxiky53AxwAUf+h6nTF9p1Q1zbDzsi9QJ6O
tS1LLk4FN7PRHpykedBAQW3kCmvhks0HBIEiiYDNXp4aVR4srbYpwfWj9tiE4GHM7jPWFPc4TJyk
aXpugvz8cQBZ/8b/Dbk4qAlUUmtSdSwhB85eHB46JdvhcbDPHOUASHdjSq9KBmJvwxpF2w54LQyl
RYnLCYyxbBwFn8LAwMlAd+fW3Mm9chvC2MH3qQYNgH6kJv+qM/48pbgCh8PWs+adwrlYWgol1NVp
WHPMl73yVpuGjOweQ1Mzu0+17mhJ8T1GAZE3mNEp1Tyn6DLysvS1g4AYl+H3Seu+8l57tCYJhWBJ
+buSMf2O0h6JER0MQ5ViuG3Pr1ZageJpbRcJ72+x8W1UjYNVdod+Gr7l2li7Y2YP+0qf7iiWZkeL
dnmaxtoOje4A/kN9h9j6Mc0G+HHpySiNJ12Zt0onV9VfVoFKEZcyn04Zbkk88YFkDcOY5mRH4dt9
NFuvdpwdzcYx3UK2O/xQKqrC0/e4b2+VQDjbq/teDc5NmM4u89rs4ueSyt2uIKvylWp3yobgJI/D
Rr54HZBpmfHsF9VQgFJXQoj405SqlCgxeMDp2ID4DMzkmUboY5rXlavJzbf8h6TA/sqSX8FU/TC1
4K9JS09z5G+ExquzKX4JZDeuBXJmktjLsxmlXavbJb/EGhA6qLtzq6mPWDW7Mi4i1ZzcNL6/cYte
nU0xJHhXrnVeMdxJl0Oqvh/2fW7Fnj+CIJ5dv6gPWd8eEjs+mc7WXK99IFVuYh3VFoEhvxwtVu05
R4g4hh35lpmGO1YY1M+vTvvY/zW0/3wcdsQ9cnH++DTKClw0DMXzezGbfRkGVVTNsaepr7jNHMMO
746i2X88yvX1IYYBZilQVjrQ7EVAbQzIB2mEDdBkNTcJbu2F1QD4o0eR9s8YPpximGzhnNw3ivJ5
Y+yrq5Sx34lrIpLzBF3kvnXYyhWQvsQDfLXTcR+J1eQG45hvUa48GkZ2b+udx2vodkJiUDLR7dKS
+2pExzSsTqGFCHgXbsIfVn8UjBA82kAnkZ1dLrLaZ0EtNWHipXF6EzUPVHBdtKfdsLP3OKKc1Lk7
5351N+mO60iDmzr4hU/jUyrPAIEnTEZGawuAIDbWci9QghBvFh5rV20Iq8nS0JSk2MtkSshmfSep
4xFh2JcwNJ/mcDhaggzVKjukEG+LqU/cj1fqei9SukYrCsALxSDu38s5yUvF4KlYxqDEkKaeseDw
n4xB3tiL1zMPvR5WIQ9qk3aSthhlnByjVMc+9uTytSufS5tX6HxvNe3h469Z2fPMIVIJJHCQU6/Y
fXItQfYNpMgLEU6tEYDJpNd68F0bvnXt+u3eemr9cGPU6+DBoApoDppXfKS1ePcWSh8bhWxFXg5K
3G7wGkxSV5ay0xRVt5kO7dnfyJWugyMj0oQXIGIKaUuYzJRrmGUGEfG4ms+CxIjf1yfVnw+ZGd1n
m1S91WkV7VkeNJznq/5jY0dNYaR+7NXQfC0VuQ1Tvs0G+QmLqv3EEWqdau/oQgdDNV431lS9OiIQ
6ugmiSOCrvmycTYHudYltRl7mIF5mVTtdV9+lGk4BBWgXFt9VM3mQDsPtxBUpSucgdQu2TinVy9r
ymUU4YHrgNoWfODLYyJHSC/mMr8hnCq35sKb7O6znZoPVmTvo6T6kTjjp6TeSBjXRn1v8RiAcp0r
4Gha07qUcVv0kD/0SqAW1ah+rabucxvaaKLJT3jTv/b+r48nfHVUgwRJI/dAb8S8/NaiU9EYtxm1
yX8Zfr2P8vFVUcdPcWZ7TjI+h3qAd9JGhFg7Q9C7CQ3cV9fl6NDUKsP2meCutg9K6ngjYtg2D9FM
YmH17osVb700xbG8DL1wdwRXS+bYwnhbfGfoJKTdlYbugyrfJJ1zn1Yk3Nw7mPjpZ63tXya5OQ7O
qQ2SX71MDqKEw6e8/oM7QLCI+HhK4vTXln3T2iqzsI1V7oAqcnV5/FTP5k+zSO4lbfgU9vLOHPUH
NvuXUYn/Gp0t9sP1k5ubGswL9TnKtNRGF9FZtRvyooHsbobPbhjzzihOuW8feheXwyNKO8eCVpMZ
Oy6w+o37ZyXJBf1Ge4/3LbnCVShDdiWuafiQeZGlDMn4qUzunKo5RGaKCYf2qET2IVNxruusPefy
Hsc4t6qtgxRuAeCv2hJw9sA7ctZEjZZ4vkiYDMkorRB9JW+Sp5MTP+dleKLs9KDmvIDR0U86eSfO
e5hXd0HhvM4zRTxeix8fv3f37OW+RHJVNGUQOrvqjjShnKHBY4cAPOq9lk5PmYYBlqnvUyenkjSd
mmz+nPjmd62yB7fpq0Nt3pb2TqsCICpndZL/hs/6pqt55IaGtkv4X3TzvBGbNHE8rn4mvxMNNAgD
3H6XYWKqogxgtB96ZuU8VpHxKcqGp0Y1H/pgfAgb1U0GkKRpGHpGrshujM2nq9MIcQun/ttuZFev
i1uSx8oV6sK9VD4MUfmM6eQ9+jsHrAL308hqPzqt/ywpxT9651vuNGW3itl0O9vsXCwAX0zu3L3U
JQ+5CqHSKnLPjpxi47pdCU40yBBuoWWA7OvyUxXqqqXZxrBYUZYqBmjmQbU3hm5X1wd/jNxW2YJb
r1zwXLNwVaBLCQTH4r4JHEnOc5sXeVf8MxXJJ5PIVNXxM6+Jp2HetBJeXUuM3EFMCj2GZShM9SFJ
0IXBqz3QPvVp85dF47udu1Oh9bHLNt3FnX5s0QsIDGEMk7+MrVpRuVRSCFLJLmFn1tYWm3blIqJq
/t6AhrIEPO1yh0WFj7+hNUc8yiT2z1uSlTdSVu+7qvOKvt77dnmo4+MfHD/wDRqS40IUaUkTUjFR
rEfMBIUq041U+r8ke9jh//6tz8yaVZ/eAP276mje1HZ2aP1x14bmPguRAmk7tBC7k5bovZtWqukS
uO/KEpX0YnYxn/z4l2oriREQBXAv0ACogC8RKANmUFj/2RHQvQfZGp7swMd30K/hlSjyrZa+UcH8
Yldtc99WCHWOtfNlspBDqA0ZKSCM59xA8ne0bNC1fgHbid50J/kexrj8N/I88GBMZjfSBszLamzm
bZl6j9m4ia9lN84c4/rWzj+tbDpMuXoqqq8ff9/aqRMUZt7/kGaox14ufxUltTLDMvc6vi3kavCM
ZP6qZ9lr0hW30tBwWQ7m4eNB11JdeoP/G3VRCVBjp9KaAsY6gmU7tXgq5eJGiEmAkB6cBnZF9WyV
G7F0CXgQF8/vY4qF/q1vg8drjFXWEHHxpPf4yVLB2bKyWDvhxBNKHKSxZDyL0iOmMk1lB3yWksW7
QFXeCqxzbT9/9tt64wJbDgWeE/cINIp4Zgv3kEU64ZixMsMfQdZMCb9hVeOk90WfPOiS9uvjtVpu
kPeBBB2ZnEUHdSZ+yG/T1ma2Io0m6KBC93tXguok906KM2LiNW0MecHqXc3kUfLxsFdhCYEBARzk
3xTIAc1eDpvWimr7E3bSUiQfBW/AN1GUSPu9biU7imTHCUskGfDix8NeV4/fx7WoWlpUDOhiX46b
yUZn6zFnUG2jfSCU6KNwRyXJ1SskRkyMa6oX6dg0JQz0Fh83Y+MWvE7V+AE2Fz14N0rY13mqPKA4
3Gu9Z2YIpRUPRSBMbKNdgg+TEb+Y57xKXCyE93MCVkpJ6OF/MuHnfzwPy1UX+g7iHcaZYYNdkVjq
SFYlO8KOojKHvYT+Vgr4qpabc9MMZ6UyDhWcho+HvA4KYkwkJ23zvXD8PjO/7bRBixunqO3ei5Po
RqhBTcZOSYJbKJO7VD7Z8RfWxbWU/wptfP9Wi4tZHCMZlcTLJZ8nXIVblRkfsYjQ5nA/t2CxNYUa
tf8gbPJs0lJQyBt34PIEvw+LpimbnIoN6KfLYQe/ogmCFpKnEvaFUWCHr2rb/Ag7dYswKL7gIotk
ZinHo5nMSNfkBTWOCq1KJ/xUAEY4CtbEXXnE0OBFiDkX6s9ioNCQ4Iek14/a0Nwl1WZZUJyb659A
J0SUcIgki0mW2qSuaYkMXv4zSIaTGLjGptlV5Be1+6yW3HgFiIXwdWNTXb0/xafTIUY+QgMtayzC
F9tUj/Iava0gCdw4ydwhreCkpndy+32OnSPX4k7GGtGAKm7W/R4S0g7k7capXotmv/+KRbROVLsP
Y7UZ3uXq33UCq5n33nAuCiouqA8IOzwhSrPx9auzDvCfDIYSx1XwTlBTL+kIDWQUcAqReBKOXPWo
o2jRHoosuYU96obSeJTTfGPTrXwyDs9Cdwx+nyhrXW5vuZSaITGQQzLk0a1bPCejHX7m2skxX4w4
dHmv/tdmBl1NSFAopCCOQslhkcnOVpOAtQwHL52QK5n1+6EDrSztZ8vZW9FWuBJLttjQEEiAHygM
CbxtsaE7YJWSX8LnE3aD44B1mI4bRn5Xya+lsyULvTqZ6CzRz6BtwvvhcjK7SKWdERAaO7U7C3Bw
BS5gtKIdfHuMNTES9atvdvpffQ4JUaJMRDlZPFsogl4OqxS09oxK4hZA+ypRjHNTKCxct3E61iI/
UgU8ximEGZQFjMtxYklprVk2ew8L78O74CHeNJUV3SQx9XoDERSj3dWSxCdv5ferM0s9ghegaBgv
45I/xXNRJs6/wd/v3oT1Ulpkd6jBZnxsYqPQF21ZVa7crsAiueWxzIAZswQrSk4g9cjqDF6DYByK
3zdt9GKZ9EWyW6FK5fxRVkG6yCIyKLLu2iLhziiKFX6dDF6r9XujKFyhfFJFxVM83rX6sQyVo7DL
xJB5ZyUdCRb2jtSnqq0y3OqX//Y7FqdmtMMogWXzrx5hnn/TxtdQCQ5x+zrm3hBvvfCvq01iB78T
9uhHXTNs4rwGAmtySo14vBUMm56HtBBJS3aSYjwVEt7SYXYE6+IJwye/Tr8kprq1v1fuXzoWMLqF
gcC1JktfDoGBCmPvUd445jzufdvYhbm5VwvJm43c9WNpz3tQWALTE/Vxq//4Iljb5YAibXAmqBUA
tL48YKS06Bf2pHMW+osBXbdeAdbe7GTla4QZa0oOn1Pm+u+DCpE6hC4EVWUZPewy0Kt87npPU4Bi
ArUOeTHYx0lj9AxZrvtkmDdyqivytYhY1LZRHwF2QDF/sc9ntWrkuOfWgfj7RNvzxalPVay6UjS4
fv8y1p957+xSXOZS6yzQqLI5HnFb2IeW7Qb1vV3PHvKfG42N6+Kv+FloP5NNIzCFMsvl/NtZhuJQ
ZPRe3iHZZ58r9bGLb/W+d8sSUWheNPKb0AoWbkMfL8Lagftt5KXSuFzESmpGJLeCjyzk46vgHz/6
EapvwQRguN58v6ykHCwA7V9HlJuvbuEwVyIMVUbeL5F+0oZb4ejVDTyfhr3Ths/+9BUXFbfLtoSJ
1+5jWBy0kCgeCh3OyynW0yAa6qzvvbBDGw2zKiGfEJFS1X77rCRbYI3V4WiAatyOhPGre6OLR3UY
2x6qjrHTpG5XYGjmqJ+MPHXLbotptjoaYtoGyknks8tXaRLUmdphkullcXiUwDPNhnqDsxM6WSQf
ivP88aZZCxdir6JOJf61DBfWVBXqlLFp8h5eN5LWgiU4td8Bh7oSioSBgW9fucVsWz0lyOqJMEWQ
JG5cLmHcNbUEnqJHReUQaC8+liLhTyc0eOZKe24lvOuOsn4cG2ejmLKagNCMQw9BpspOhfZy5M53
arzdOJ8DOLxAoDZ8nNaoNsyxf6e9jU3t6a2+oxVw+HimV44nabkoQgsdF3iSlwOT3+ha3uCxF6i0
HQyQ+ViuNnKFdIDito1+I7T1Ph5yZS+xptDLeBLQ6F020ilVRrZaIWBtgKrq0ORU63gftneJZEKe
2Lr7VrYSel/cvGCMkINaBuQ80MemzYGW5hL01hDJNZFexOZOwYFKO0JD3XVKuvGJq4OKXpsQ4rjG
Clhdkk0OOirevWW1ezWiWIJnUMBTvh7x/JOqw8+P53RtA9Ezf2cJQnehknC5jrXVzyOZTY9ax7k3
fwh1q5CrRAPnamgvsfxCefWIjsqfDAuqBCQtffurYOsHeq+NASdG7olA8MuFXIA/pHdj/FVKb6GB
Aukabi3zP7PmuGhxUoSaKdBcNJQX4daJ7VZqbSKSos6ecKSufU8d+iPlg/MU39miivu97atjm2zp
6q3FCd4dwlCeW16+ir14MgMkk1le4Qkjktk+MXiWfHWkbE/r1VVxDZfzlxh9Hnw/N07s2vGhkEI5
1FKRUVmC2KRWG9VaTwjFdbJXtPyGG/YWm+JeRXwi2bK/Wd1YVF9tFASFBvHyWrOTwInHsOR9glZ3
GTieHSBOhtaoMj/GyU80DJVoOs7DpnK42LGL963gwlvixjGEkvfljjamfghQz0bnvpD2gGpxGQ+O
CeIwiAa4sOGFU7aw2BNBysIf7Q92Nvgx6EzImvD9i7uAmsVoSnXNztaMnbjxogEtFRJ4I/yKegNm
dgZejMEeGeKNMsLam4EW+f+GFjH7tzqkmptMOGJPII2wPavbnWN/HwC8GA2GxW11M8pnE/0auzh0
ZDhad6ujhrvx+eL4XM0+zXHuJOLKFSp1crqq0vWMXYbRk4n4PqSBYx8ddOyp9ShCMcMLsxuh3WDG
5o1Z2V+6wj/bxRaOdy2Sgp3kfSzYe1QqL+dCQem0L/WiA83Xfyqs/mDzbhynk+3MO2GMHFXtzpfK
rc9fSSJRkKMSQKOUqt3ygTxqWpJCpYKekao38i6SOxS1fxVN7ulOu8Plg8ygPc/Jz41pV6+nna1O
8V+w6WB1LXYdoiEJCjBd58WdcWo1NAKRZq7Mz0FgniJa0Oz5vzKz3Y1NesrkrYrw2mG/GH6x87S2
UKrYbDpvSowbuUR2DMVEB3EbuT44w+PUcYl1IDMAKW18+Mp+Y2TRSRL1YUTWL9c5KR2rHBoKZhGU
/jJHRpmLckYWsdoLu7EowQFVkg7Iweyj8mX4nEmfpHnYSMPEZlpsenQKebWRndD0eVc+/+3gpVEf
zXXsd94Y/2Xbv8LU3GU00raji5jHq4FUqndC8Fc06y6/1o4GOXGksfMkllnYrvt+dNNgfaRaoSsO
lcEx25jhta2lwBKk2U4l4EozGm6eTEYS955ThntjNGhb82mqfuon+2X4Nu6sOnRz3R3i+ET+9nlj
+JUThZmJxjucNwuMzMVBthNcc9OUg5xIwx4n9WBynouiQTu8wvYJ52W75g+SNu0Gc3PwlSiCdATZ
gizUFK7eEzWWZWnSM3jVh9/Cpj90Uvx9jPJPVuU8C2Rlm+T7foZAJ+VPvtPeZplzp9SAD2eFcrWx
m4r2NgT6uNO6Z+zwtsLN9Z1ODQ7uMDJ/4kV3tR+qQB/62m88k2Ww9R102l3ShEffDp67MASpZnzu
2/zN95GRNO3PyZTzd3+X6fzQBtKrCL+0WDZOw/UmJW0mdxYtIlRzl28+GRH1bNTUxquL7x1BYAiH
A14/QfamWslNnG2BlFdqJyJPh0jMP1QIl+KDw8QedZSxEcYCkfLd+tw3his0g4z8U6/uhPkbyYc3
u6jYufSA8ZYSDeHejaNTFyBSwP24sWuvw9LlT1rsWoV2duQPA8SsRkf/2nR1tePti7B/Zbi2hRFn
U515+j8HIJHNb3GI1wZyAamZnTZ+yfX5AQksiuHcAbTsrqR6klkBnQR5CMKMG2MM3ZTdLs75FQ1u
JhFmOUV5bvxoTxA9bIx9nYqJsUGf8CoW1ObF46LNZ1NqW7X20vzRkJ+6/k5ADOxDHSnkBtiWhXd5
9I/khBu3wvWxxduZWg6JJwLwVwW8AF01PZ3b2gM+6FrgvOuC6ljN9/cQPVGrCHjKDZ82vvZ63zMq
7TquI9oOYBwugzPqKqbS6FCz7Mh0Z1pzbYaGFMDAQTsk2snwZ7BS0fsu+H9yfgNWCZrT7OyecF4h
8ReEe63dup5WsAGUB4RAPJh3QMFLjLQuSyjB+kHtSSSfVUYxORzcFobZ2Ac34uFjEtbFuFaRnN67
NNb3jcm5PhA8YNApoadJmLrqy0+tZExq5KBnjWBK1KJgeBNjAFK8iZ+SYSjRKwlmLobrU8kXeZIQ
TZHyTQcy7eoGNRCQElwlgV++QrM6Sd0OTaXVXizTVm1e6vQvrKRpsELRFHbbAWB1w/0cJ3vd+c7u
+XgaruM1oxMRhQkDAWLZW1TlLvXLxK690ESyhcImPp1j/WChKhABlfh4sBVEBqOBR+QCQywFIY/L
DZnKSVBOUdSw9et3pcNCpxMFWNeGoCuW31FupPs6oKxR7xI9PSlWeodD+VYwvE6PDGR/BUiBohw9
zsXvsI1JL4oJZd+3MJmfJBSsC8wKagvJMLwwm7F9FCgCB+VRkcJYuCP3vrTvU5pZnfdrY1JEYeoy
heLHiPoR/QyKO8tM2c6NLPGToPI0KtqIfLnNg4IAU5a+2sE/FhTioqrclNdieQ46V6s7V3Xjcisy
XidVl79iESuGXuL+nXh/NN3dlCZoX7310zM783ONWW3+qbYRUZIMT9LBfffNxjZciY9CVBYAh0Z3
iZL35caYcl+Ze8UqES+vd6Lko4fTexsti0C14ZZMwnfw1S8fT/3qqJCZMCgGtHrFV8imIM6L1ii9
MDqmIx42LL6w1xpzoLJIB0uYwdbmRjd/5VFMuYXCFgOKPtay3mOXvQQ+gdhnW9+qU/AjSmB23jj9
5EZ1iaXXz6k8JfNzIkEqU6yNiV47gqDBKEVwH6HxvXyecP8YgaSV3L42CDDeJeOLob+JREC8B6eG
7l2ZeaiQDTTiJxMjVeERzqPt46lfnQX2OnI6ROHrG2CAQBNpcVq/A2lEE6/tdzm3MIqOO+HLK0Bi
4oIUjTwc2r0S98m43iqUX4PXFaRVmAtaXdxIJAeXGy920tx0xqj2CgUtFeem5JZEIix/KmPYwwm+
ISdr+LtIJBeWKT6vr0nS7LLpoX0zpd0AvaCKXlBzAPiytVIrlzepNBckRDuB4lq8I0c9S2GSNxXs
ZsNt5jf1ONsKbc430tYab7GN9Vi5CESCKKR2yVO4ii4ngha6NJRKUXlDXz0mzkx7Qka0K62tH+qk
/z3Phhuo/97RIkfIuIkaNee5Me6lxLrLiomkyqdqMihbP20lYRTvCZ7UoJsBwix+Wm63pZyNauXV
2nwcgLGLMyoK31JEwbQApt8e+6F3B3NLpf3KIQwWs2iCojABbwAS0WIRlK6y5lGdKyr7rTu/xAXS
uCU3AVVasK88chDsBTzdINzrUNEQmzVucK4Lg3NePm8s0co8iDKtyBMAO/D+vVyi0ZlAWlZm6U3B
uB/Sz3Mzuqmi3tj69NAF1PZAH0VVfmcawcYD6pqDTpzieQ+xm0o1He7FPNTF1BhFS3xWrdRD6Ruv
xZs0d5swQJ2Y2vAU7+RK8iradQK8Q6F7ZxXgasZnzUz2oNN3Fi7Q3Q8pML0s7W/ranCpHm0FlZV7
nYgiFEdJKYXj+OUMkd42KhK0pecgI0mPy9WawQ0DEAH2U9tJ+0nvD41UeHL00Jv1eZqQoo8ohKY8
QOgYTbq2VQFdyTIvfpG4gn4rxJjRiOP2ZHPFoJXtUPuRip2d3uTOm8nrRwiUioAn5opjPZlvDcmn
UvzJPkZeE7wgeC6e3ct9XMsxpJyI272tv83lJ6n1kv5NuMs1RJKxb6FsxTuxagKKW0npSYBnELVA
lWYr0VhbI6pSmIewj4EqLbaSPPhZEsth5bV6wq3rfKlJeuM0fyi6x1x1zvIYfRW/ZOqNXRe9CRwN
uG9eZvAkUTMONuvj4tgs8i9IddzFBFqyU2sRXiYjGsK5SDjjWO8iWJLZ6EOmqk8f5IjlGobaGNWa
v3rTidwy2KUbr7SVOE+JnNcZoZdnyBLp3pF+K0PKqRbevP/H2Xnt1q00WfiJCDCHW27uoGAlS3K4
IewjmzlnPv18rQHm1+bmiHMGBgwIAtRks7u6etWqtXodvSU0uCtEFDGR3euJ5oWbCqRrhy8HC8Zv
wML0qS4bhBranqVZ00ov0glc1i8raHaCsjsE5q6szZ1dprgX3A5hcbCV6orZpHVoQwZ8BSRB3R0I
AKawQ6vqck322Vzj7ukUSMWYFCCQFYhRsplmngj6XWM+12hXUhTYJSZpmd7tBYFYuCf4cU6p5q3M
uivFb7dOm5Udy2MJLUckzy5dbBtqm0g6B+zYvL1qrRfQxmus6z1J4TSkb0igFG0ZeWP30uvqu6Ao
9Rx3O+iufSXBu2FRCgbBRWNrjQfLKCV16QVTtNPadidZ2bE5TnVyKvR2X3ZPJVSbfBr2iaNeR9Ta
na2L0sre4BEoT7JYaDHStPPwpc7FSLKflp6u0mOTZyeRqc0+5N4K2yXUW81I4l4qHaK6u8thupU0
Mnx+7K3EC2BOoQgBRkI9Qfz+QwR1CuDOMo9KT0bw0Kd8ETYcOlKzU6ctjtvKVjwbahEJtKK3fAsJ
Cs/pvtVB8EUQboSxsDME+xx5p2b+9m/fzUQ5nQYJzH5IypfZZ6J21oQocuEJGEwILKuKdMCf+7S5
2y5nUYwk4j+i3IJocz6LUa/LWW8ZhcdxdIKcKep/6KjvpHhrA62OBC4ualyIiS1JEapUJknRdoWX
E0RCVb2eZnj/oPP6sAVerFR5eCuBIFHfwo5qKQGW6qWeNvlUeAOuleRjdGEebSO9LqGj+RwaoqBL
LZ/GMMn9/MttDr1YluYYYebSDYXXNPW7NvZcAL7X8OPkXwZiQ42WuoXioJ63eZiLZXh+YPHWdLSA
GgnZEmOxKavSiJW+KguPLdgc2gm4yqIrdYTOfGPFzl6x74b2mNT9nYFcm+A12VF2yhDMiItwv3F8
rUB51DMFbZszDIq6KeCND/tTluA3DXLOysI9c8Sxuc1upejY4fctbpR6KXmpgWGJoFdVuYs72MaX
EGDNcjoAkwVTjXYCttP5AyRF2tp+57OJxq8O4DWCA+8nSJw861EKFZbiEMK/JdFq6LZEJNdWu4r0
FUepWIZLUo4R6kWZ4fbs1Qk7WCcl5p4KmujKbLCNFxXfdfmisNZJnARZnnL+4kWT0BlU2Jg4RXNd
ZtVLzbXoZ2rUmwlURiSSPl7KtUK0sncKN6Ix3iATXLyuqsEH5B4mOmC4ni7CyMQRQFMVVJykD/Yh
x7QADijhK1wAPn9b8dXOXlaMhLQ+bczoz2tLiM5Mra7QYjP3GkM+Km32oAfIeKhbFIULCIhhhA8J
rBCQgItqrTxSrBszhhlHapVhfhWZ9i7FE6qXnVtBiqlw5dLiLc7j5cVSjAsOhH8mmqcXZ/vQBGVY
NWjlZZJ+be6LsqFC3O0iU9qHpN4SsLsq43OZxjsMjq6HsLshg9+HaneDMeLx87m+OPfEw9CXi9El
/Eucb84XlhTSRoaoT+7lwYNDl1hOsA5y/LndLHv8P6RYa9/243iLi2yfcVFBVZSXb57wlnRttien
iVf501FOeGu2KmI7rpPt3++1ojAWRnsn2WtbrfKXSRbvDvwNO4L+AVbB4syvtKJI8K6GXBbrrobs
Tp4zutbGj8qEXkLXpidrQqMspTWk7JWHqQ9vUpnO8gJ9ic8/w9rmQh2UZQHUgG/ZYnPVcZ0DR3Fy
xtxYmzzaMzjZv7HrC31jd20MtYT94b5Melf3BUtb2rdNvOsoQAmsO97MBy41lcUMCyUC5C4AUpYX
nCrHNilu6gLsAOe1TNp3LKw2z3/JE1YDev4VPZonAosnZdprarX2zv+eTNP3DHb/HEo7yww30tqL
A1Q8EUoVIAWCnWQvToxQ8R1jzjmyZMnYCWpS18U/ps56mwv9ZAVb6Mn6GhMaq+R5wsFjMV4XNnnc
9Qis1irbvIv2ZYv3cBkccAvYVxwcQwHKzdpznK95F+x7E+eeLfro5UHNW9OWDnoD0490c3F8RDTg
mL5J2iBJP0WnlV8fmnF2RRS3sfAx8Sny0fcOjFtjxLhgU2NN/P1FRCdT4MJPEg9/YYnxN0lUGNaQ
FHCQu6sSj4+xsXx3LmJIeP6d7t93FMFqX/OCcH79fGddwrzwKhGNwQWKwSmHiv3wIUlRKaNIRe8j
+lv/ExBt3jN72BJTMBxUqT/EoldI7g4pTUqiQwowBur9XrQy5n0HG4xqEBsR9OvUVz+zAOnF4c/n
z3jJxXx/RoQjhJaROPfOnzEBoB5zVDw9AXEKk27ZodMQPonEhWeS9J2Z8qDEQt1AwaLbCglr6wOp
M+zsBP1V7I/z8dO5qOymZY7G6AVxDVeAnGqc7OK5OyR0N6jY2uHrfQz88Cjbj1KdHT6fgZVjgboI
hmD4uqIwpy/y2jZMpqQ0LB5Aq3bUJB912Xc1ddOI/eJSy0R/HGcx0eoUBXIrxgFjKJGN0ERTzUB5
YUD5ApvTxokFRc1JCfICblC2ztvVTy2gD0qgSEVeyHNpMB7CUCiPJ5T3qn2R7jvt0OKg19qkc4DJ
YfY2mGhwZOa/D/xUumiRppGUaV6yEKvW0HujYuQqRDJ2CE9pYngteUheJxvY50pWQX0diSXhTUlV
YbHnkMqZTEIScT2S7wVkH4CccENju3PcA2dE+caI74f1IsQwpLBjxDQQf7nFl539ebLCyhSC4sUO
y14hF7mzeu1auBbGUF9VoFVRZ0anlVPWBziJrgWlHNazKPFHOhbe+saxvpJinj3UIvrPelhwAWK5
+aBIzdjtmun5HcPIOHg4coUxPPrzn++ly/spi/zjVCxmX0vKzJjFVBRy7hporAtMb/6mZN8Tf3Lp
gXXjuXTtdkuVeyXKC4AZigst8ohBi833IdImqKx2wYjkQCX/zBXjZHIFFe0C+mCcLAoTvv7a2yE9
L1ucktUYT78LZoaA/zA6FvNs1npnBhIjz9TQA2Jmnt2nEaGUXNpR6ComiLdDu7MmfHBkLhO1smvj
K5OWqvdrE33AfaifDKgPTdRjbQoqTuHi8++iiiB2sUQ/POXiu6h6Gye6JuGjZf2iqlfIJ3VUQQlw
KovgQVBE8g3Va5HFKtwskal5vu6CMcTAx0fJXBLk1VH6W2Q3Ys2KPmWkyD5/xLWEjeCko1YBRkyN
WGzsD5+wnGh77IwImfq634nJnGHL2on6xZylvbhORzBVujT1BFEoxO5QMJimkZ2Fm4EoEOWRtHHv
/F+mDZweYRkebqn4lOlZGBZ2glzWS9pFR92kbAH1ciCjhEklHlBsbVnrD4qywyfFS+n/m2WOazM8
Aiy6okcvqMxdbdxVRvKjtQErB9nfq+3GzhMf8PwDC3V/Vj/KkwIWWMQgudQqKzE19JjqW+BlT9cL
1B7fdGerNecyvjIQok+0OylC0mzxmSopH0fDQW7KStGErTtPxo4kjHGcrCkazLvB33KGWVkZwvSd
8hFQC2+3bL40YtPuqJQgLIYSdwRtL1JNrw+rY1BNkeujqBWX+p0ddV+TOn90gEPafDjJVbiTnqdc
2debxnErIV8AfwgjAoqgMrNsIlHzJhzDJOORLIp5k7xPyvA4zeWr3euP6SidTDk5pSFGSAjtKKrb
KPUvPwy+Bqr8T6C6/gREZ2/l2iufBjhBiKdTxKTNcBEEKyR3ikFDIEnDNiH0I7eTs50yPrVV6xnZ
Xpe2Blz9MiCu4hLL54F7fr5nu94au7hH8o3gQsff7Ga2HArcL96PZgybKPaBOMJjD8+ptQw0SYFH
TaN/g0EO8BFoByX4Yg39FtnlMqdDrt4wSLqp+HENXATljquEpBpSiGxGeS03+rdYkf/pq29tkO+L
uH2OquqAfuB1wykxDX/g4/5ASw4WQf8PJrz/OrDRZiSLfAsda/E855MEE6jBS5PrpDyzMsP6LpOa
Iwu6dbOdPqOIppe2YN4lO1P59oLTztWsxrLbxFQbQjs/cnHcIoauBDaeScg4Cssh4X9z/kwdFZYB
8x2MOYv+KpVxbxW+eJX6rU4QcmmTgL2d1ZBGW9UNp1u9n7/rzhSCLed7Ke6uhtq/b/SrRrNfTa7T
tQyZWtK4V9P9AOaZqLCdtxDXleUNH4MrvcpdFmLAYh77Xh7lPkDx0S61286ZuBPNL5PiXw8qhPRI
+6earGsl0/7isPOISulJe8QU86atc4rx01vb1OmumAbsZXxjA8paAdbo/kSBAtiQ8gNwyvl8Rl3b
ZgniCF7vK7dFpH55qmT1LgnGF5pUvmkOrU+oQUVO7amjfpzj6EemXw1y9QdT4i1o/AKZBt8TkkRY
1VI6g912/iwpBpOR1GDINqfOS9SETygnvhq6kH66t2rtVo5T7OmxyZP9J0G12lju4s8vTqL3dfXu
5EVetIgJqpE6cl7Go4cjPR5HHZJIVJjV8LakeJhEfxFjPkYhp6YSH6Yq4N6T3CKY/Lszwq2u/cus
kJkARbQM7h1cQBYBEXCVDpI2wBAW1QQckm97u71qzPApnvMHWQcCcMI7OwR5yyfpdWMexB+/mAeH
GpHguJJAiJTsQz4TQKWSqVDgi4c8lDUAPMA4bdRpNyfdgUwsrHTOzOfIOOaatvERVraKUDwUur3i
nFouAbmKYlPKLIQIqbSHQXo7F4Pr5P0+iSehu+01cA433ndt2UEQEipJYLr6EkcE5UYEEE92bwQ0
ELooCYKw0Yg8VjC5lUMfq3UQaAar8pRJGy+8AiOAH0BQEqm4ZV0K7OiZKXeGPNCdo3EC+WVNl4PV
u32HTW43Vbu0MzGxTZBek6tfcibEInLq/9NGJLi8dgkcQwFGJRCQtSwCa9/Eo2Rk5uDZfvEA1eVx
CFtP9vN9YNfXKugbNE8I/0a9ccpccqXY9RQuKCcIigtX3PPlBoKj1TIinO9Ep9kmxUyKfZl9Qed9
H2jaNYyWv00YfVU7slLTeWpnfEINijdh+ycv1Z0UpLu8USO2Qn+Uivi1SvvfhjbeCVGtz5fK2up0
hFIcgI+QC1oEckWqcFuTnMFTau5ERIchiq97BCVSk0Ua7Yw42YiJl9Ark/NhxEVM4uqo1dAukNHS
IfiCvHWMGpj/oNjuiXT8X78fZ6dQdwRsAWhZjGa2pjRGGUKLcZF6hapfF7rz1GcuPd5HxXRudWLx
5yOuLf93ZjkVbS4rF4r+bZzNg9LiiBk0vzXEkPpE4WiPaO/sr7OfSkDalar3Vlnc9HrxRN3s7+cP
IF5pEewgk1MaRrUF7xNZfIAPwc6W6OdWc7wq5yK6Jje7CQzIO1Z5Sq3i8PlQK6uHSyLMKTq+4BQv
K/1ZlTdzOuG5bRXxTiguFN2079CNTerqoR7Y9lus4ZU7Pg20GJGQu4ESkuuev52sjiisjsyuQ8dS
SknIqq7yxM53fYCmI37nSmCciuJ3kCQtKYb0OiLNttP6zmWFuyNo71ymqhuZGtBq5/qZbuzrImjd
wP7z7ycHwR4SEQGpXhT4wnzqSpRdBs/qxjsWyknptS8V0EPQJNcWWDueTVvJ5MrmIo+kp0FDUUC9
KBAHvZNJkknkKfX5yJX5tmr163JMUMBND6G+5bG8lmsBp4P2cPFiyGVneSi3YyvnPQmG9prH1iHH
aWFQ2wP+B0x+fxddGcOLifFQLu/SufYU7PbwmAhcOtA3ou4KpGq9N1aDnAvRz6WDS1vaMk7S6Yjp
cYzDc3GXaq9NkD6O9pXaoBpcqftKt46O1P5O6DX7/GOvbTqkAYUrigA7l6BX39dGUFhkGIUSXwtZ
jllSv3T1ld5sNUq8a1ku9/e70zO8LLJva1EkLMc+Khph8msl+YNTjTc1Suu1Xb8IsEOy+4PqxE+x
Ep20MbxSi/5L2Qb3BiesnhyKtHi2Gv+uoQGtjd9KOd3g9K0twA8PZy/OXKidYZ77A1K6Q7QP7e7g
RxGsWgnGfOZZebyRVorjaTkXwqOMKaep76KvsywKcKoKrZlMit/5or6l72g63wCf1r4ucAecC0Rk
aRkScfBDSI3rtKyaEclAULfJ0qnFtNRLoWBQnv336+jjSIuPi3xDmMUt2aLoFRVdYI7Z7VUDEz1j
Y+rWYveHkZYF4CTgTjCUjNQX9KOjKDYoiPJqPWQOkDV68ieUWz9/uZUyqEXlDaBKXL/pu1sEbz0r
qUwmaLcJ/opA8Ao13hlKd4hV51jRQ2D/Had3fcl8gkTD2VxtybysrhjwESHFC7y51EUaInI2J0aO
SUTgAEr6qHR7iSLA56+6tg8gtP7PMIsV03VF3mYaInECd+7CP13yCh8KDPUQbRaTVvJcoS1Caynq
pBCqF3uuzoKwby30ckSNQ5DxLYpGaSUdJO1L207Uc1FZ/3/oocIUIWlEu0ahn/aid8rp0BgYe1Rr
oqy/0U3KgoLgP3U3WpT/lKLWc4J8J/X6tdrbz5/P7hrmB3Wc+AdRgn/LLIAWeL/2I5NXFqIS9BJQ
pBQtrn1al273gk7SU1z+rZP0sXGGb5mld7TpuEM0/pGk6QZE6jXUk++ham/cfVY+BWkm6JKgwgl3
kvNAgc61VeUjF+6UAlvuTI+2dJsiu1DFxnMyfLNi322qfuPsuVzSgjxNSq3QIcP9epHwJX4HChMj
QqU6/UG3XlVi/ZT/+7ohxSS61bgX0rF24QFnxPLoSzomaE3z1A1PTovsoPwt0TcqeJcbh2FgwrKe
xP11CfNPkgbbV1U6D0aC20i1Wxb/UIotxy9VufVKKyUyAQMSc0xxTYXUdv65ClspB3uuUMme4js5
xe0x6G5Hx0fU8K2zAM4Kx22jVxXixucL+PJAYWCQe8QBgGpRLDsfONesavR7BIG60sdnAZrV7Lh6
ekg34cWV+eQmgEooXW4w7Zc1/V7O1aBXESMplKt49CEEfm+KRwpjdZZtrMPLEwXjRyRRoQeKst+S
i1sXWPAYM6bdCILQ7fOmZRPlNsm1u1OEbboWbymtrA1ocqczkJkQkk6L3QbArjZzwoBj8tMO7kfz
B47ENCqaLSym18+/2NpawUqLmofx3n4lC8zlQw6gObM+ppndolH8/WftPzrdW9ZeJ8mhSnaon+Td
j88HvAwlLEhQCyI6TSHIcJ6PF0opFyHIUJ5evUXjU4dUlYxXgH/yc/rCw7+Nv5HkrKwU0WggNgK+
d9xMzgeMjb5NMzyMvTxuqMwjbD4KrpJ/1OYrulE/f7uVVADtBfJkUFrSdsCi89GqSXLKskb6S7Gx
SXaSY25GSKnXJzPjUhfjUgPibhj72bBvMqyjxy+9/vD/eQYarsnqBJt1GWvaTLYzNUBGJoyehva2
H/1jmMlHK/KPhpq5s5Mc5NI6yFNygxVf5KpbBImVMEDLJXVCgVKhRLBYwLoEDlnHcefVee5W6e+2
fA2rp5ma5udvuvZpxWLinOB2RK3sfLJzvdaUyp9RnqrtXdBkV7X2opjJIcuLQ9F8/XywlQsK1EU+
KswW8McLmpk/YmJvZBoKNbW1U2kVDJTH0cejrHk0q4ds1lDY/lHYgBLBDzqP8xkb9HzYq/Y/Kl9g
OA3OD12NNiLuu/3q+VUBGUyirZBaYEstkaA6Sgwz1yPOr/g67xVXCR5olMAO4nnwXxv1FqqKm2ro
2J/69mUefgbSoau++8UXaz528mPZPb72ReaO48HMjnLZulp0p+NNujF5l9Atk8fhgLKRaIVfJnPJ
YORdkvboNhlvSjE80R1yyII3O7FufPxvyq65mWlWluzXCcDw88FX4unZ2ItlMgRTUyoTZ0Wai6pp
e7T6hjL6i9KWh5GGlCDdIqmsj4g0KigSdexlG5pvzWXV+VSujYk0jqIWMIMbFcjb9rdG07ttIW+s
g/URIfuiPkI/8TL/12rd7h36Vz0dq1LW4dy9hNN87NFxzlD/8Mc/n8/pShhnTv8z3iLOTXFcN2aN
CtqcEtB6bWc6MkzCGbnoeF+8hRQgxvzX52OunVWg3gpNsLQtk0ktQnlLbj7TscuppBqnXPudldqV
7Cc7o/5H0rTDYO4NeYbjop42Bl5bvZq4EQgdTUH3PQ80ekqHgoSYpaeS6cowncZSpkPsbzpADijR
w0p76tJE0tTy/HALhFn7tto77CkudxfUNrVJmxg0m9HL2DXT11x5CZ1vsG3b9C7WttbuCvhFRAH3
pPcFqSfIHucvm9e9beVq3nl9ee8gWTKAQTTKz1Dbp8VVNh79nJc1w53af68pNhy15G7SrjZmfG19
8a2Rv0c3lDx2MeNDosUyDSh4E48PtarsIkymZjplzddE9b3C0nGwfTJNNLlx+PJl8UA0Cimoo5Wu
ebK7GlNSeEbTxrJfO9lQSKPywrNRIF7MTZrSCO+XZEuR8iwuQEncUVJXoNVuKaOv4H58Bkyw6f/h
ynUh76iEUpD3VFq9gZvCX9FNgCJ4nNBACuhPXbHAklN+GoeNO+gKEi3GpVuYSz4I7/sx+CEhdCK1
icaAwzvsd11xNGaCB41OJ3XAbPa6+9H9Y0CzK46S/BMktIgOpFPOswPRQL4OTW/r6nnZTQutgQMD
xhZZPvm+fr4cJZqGJHRGO0/NbnAgR166K2bcB8LbNJdPkfWg0hrVOL9NZz70dDmn9k2DNJs/7HJE
ScuDvcm2ECNeHLlglAotrNyIl3ePlvuVjrgQ6Y2oLQ/arTlWtyNxEPvMxs3j7EqW7wLlpYYnExuZ
G0vZdZqmrjk7GyfbarrJ2hD3ViRP0E8+n5wmVM2UKwuTE6A4GTSeHAzU4Z6SMHPzonEDffYMKdnZ
nEGdUrvadRlsbImLJAyUEj1jDjkheMut8/wRQiOnMJRNrWfrOrwHxs3Zinqyk6kQbNyiL99XDIaY
E1gEuxC3k/PBpqBtggq9MS8PPQkQTfnmNH8q/9qZXCXdY9PYYBA+uIlOKUzemOz3M/Tsuy8G184H
V6MxDDAh4U2V6y56fLYSVzR4194Qfp2tL3O4A7Ld1cy2dECBIJK/DPa+TLF5f5Tt3XyacJaVux9t
POysAPdmLlg+urXFLv+tJuEusmM6HJUTzR0HNXwo5/uqfU6cx07G21FHu7lS3b54lrXMxaljl3HY
5mG60+Zyp0yPSrYPrH1q/9A72a1ItQ00EAfNDZ6Zm9CuXDM80PAd9G8YWblGYqH8hBqP28XUDk9t
dt/ADvo8iF/EcOaL4CUazulEuoAhcBXIpChvWywtXkQnlFAJzicPLgGlcrQhCCCZuf98zMsyJc3G
nNEU6klO6DhYrJBUkro4xpPQEwilYPsL0SUYGm4JfxO8rEh+xoiZTMGP0Ni4eK28L7Up3pjaOBqa
zmLoPEucySnsd3FERQtEp7/u/JU03bV21Cy6ZIuuJBDQxYI8G3CxIOW85uIeOY1XcERHdJCbLXZo
tAjn/BxIOFqwLXS0beiB2pjmixgophmNUIH3cDwvPSGdNMg5oHjX0ohcK7jJCtNFmHYnCNlCW05W
/6ZMvmGmnjLk/y08NQ77aitRWJ3zD8+xyO1reSydQuM5/Blab4e2HlJv5dDvJxlxIWn0Eoyeyo2Q
985dW048JBCR2Ttcu5Yxb2o0ucojs/X66kfbfK2xpk6e/XQ36V8l+2h3f3ryQq41cRt5xrHxXb/a
K+MhqY7QtEWDmLUFUl3eA/kggCqCmAtmxEm5CE5OOTuobQAajQelPlnWyZluzBqZi+/lCd/MJnaT
wKUVEsQ8az3Nvqtlr4hc+1uh3RpHa0Ccale9GcPO8Z+09Orz9fJ+v7uYsf883ntq/yGrKGo8DPoI
2CcOvWreG9kBn7X6IU539X09octxGKt9bLMvb7NbGQ5No7Njb+biNOdXtzlep/imYo4j70MFBsDu
BAHAGR4VayN+vNNqLx6UWIVuILQq+ifP5zGL49SfFeZRmfS9zayFiEXRMfOKl+JbHNBzb4/ZlYNx
62wpHvXJ/TioV6nTFbTa1N+Ru3OxN3E7/28dJ8e5/Iau1r7qSaEN6T4x/xoyjQrWKaWMan4po4oa
vhfJ9skeipORokqPYh4pNpYHqnPI/fwEgejKMh7JAXaS+rPtZ2oh39FSbMqXpNIfIlk+QHdLagxi
u/TUSsovJ6uFtr0qXApf48SrJvMm7F7i/Nk0r+IQAMD4omdHtNvdRLoNpWrfwXv35YdA/ttpDxEL
GX5HYv5qUvEi1XVBxl9Y80tYJIdUq6+0FCIPwsscSJ8vE3MtrCjv2SfUC6CCRQg1HD8Yx0LlyBBP
eWh+BTfVozEcSrShOB1v4u40w/WllU49KSa0Nioz+2Hc6QESLzs6Mir1Wml2TvdwhfuJHCduqKBv
lb+xwPeGcYjIZusrdp/2qHxpf2aHqSU27R2O57/mrX8rSXf08MTjrtbRQfEAe1TjWMY3ZXuPDzvK
aOmTclcdnIewhGXcvdKr3m8ZH5sX9z2xlSF8k9nSs3ZB8NIraQi0Sm+9qSv2+fcuf7DRSvwd3Es/
GnZJZ2Gp+ssHWRpZVI+ZfaPUV4q+19NTBReku7PaK8N8DYvvqXOoopbetl3TePpYuiXF6+oo5fsp
UHd1Dj7QQuG4csJ7lVbtWfHIZ2b9QMc0BgmvoXGwGs1FMDf4CrfEuLfit2G4ybu7wNllL1n5Q3WG
XaJUhyq4M3zsqhJCIKUgGCv3mn8cUf1Tg8ArujcIjLdRsFVuWJso2BkQUZEi5l6+wBknWS18W8UV
GaVJD0SOLRnshQmBmzc/4RBvHHprw1EGI9emHgXctriJJJmmxJKVA12H457DvejMk7A4SKy/Wkxd
LNkivxsr5ztsJ9raKH9RlFxk906fhNIgp61X0sw3lT+FXItQuv18022Nsoh4I/4dFZVH4IWQ6KM7
t/P4c1LqrWTl4urMqiYzok8VBOPyRp+h0ReUqaAqdi8l3f8OvT8zYXQEmlaS8Sabn53gvhcN6Bzj
ykTT0jjcQfLY6zUXuXarYr6WKYLnkiEickFXy1LR26FFNjZyxLO53hJcBtW+llBBze3fafw97FWP
S2XgK17lKDu/ffx80i+xLLQfOGYoTIiuE2Ld+TnjkzSbYaxxmR/wbyd3EyxF0Ziv+n99SBJpiKwa
dIKi/vr5yCsZE8AKVHKMNxHoWS6qbnCyPo5BQO2INBiRQRV9mUTLdybNqcWb4xndViV39WUpMrFz
+MogeIsllkxdRh4VN7QOYecavoiuMOEXInJVoXUocCS2APZr7cbiXvvKIAeA9gRU2bjw247sYpZx
COB1k2+l8ZZK7tS8iHm24me5vbdDurokOJQ4q0nJFiq7cjd+J+lCDEEh4MIBx5wMcwT5RoTY8d2k
v08FfINCoNH/NKxq61VXrgO03QLd4JD5Lv58vqRKlJ/tJKYBIIZ6b9XZSa0OhjJjC30vGuyaBhVF
i+5U9Fc/X1Jr31eY/JB64lpAtXSRhaeJ5QydY9UeSlM7s/8pVOEtwQEPXwkm70o5yk8hlLMxrkgH
Fsna2biLdAEvYrWjY5IbOFLzQ/3W6rfKcHSMn1ivuv6MZy7zHmU70ccXYBXx+fArgVNIW1F/Ip5R
bxff40NO2w5KPRRAjdSgzat20k/l8MMfo62XFMfK8iXRQuIyrYs+o2UjWJ5EOVGkJVLor1P3ZAA1
Jtxgwzj3er074P1zMJFPVtt7oS2eB8GhHW3XlJ8+f9sV7AUiBnuI2i23TiDJ89dNJRpTlAk9PxNY
IUaeR0dd0qi/FWTrdvMoQLfecGsHrXObe5ghecOWdOxl7OIRcIkQPR9kRstSvOEXhZXaeumJTioN
0UTRBFBlNENG5H1oXnRldD2nG62/l7v4fNRFmoFjcJ1EQp40LbMTBgbIFaCrrp/gKd9WZb6BIqxs
JtHlDRkFfJnD4R0Y/rCsFDvJsjCh09PHVh5TYreulV3f0OGX2vgo7OoGFynckUPSq3//iRUcyqA8
mygHI1t9/omNbmyIVtThZufaRFUrhniFbkKnZrd5iVqyML+GV6azBGMYmUJH3Jy3XJMv0yxS3v88
xHJbJWVUhrER1p4sB1hRooQbGSeZdh4V33V/hv+15WV4WfKgjwJpGuwTEE0BxxQ7/cOUV33V5poy
VV6lFPskgDRoyl6stVdWJe2F+FUphHklbC4M3S1UyeuG/KFN01OIgaS21ae8cpcXnZ+ovLLSRf1w
EdbIe4akDsfK640QoL9w2z72fqewe3O0zoIGkiHX4wAZbaM/COcncY4KvWATKzucf7wsux+gFXXo
Btsj2g+mBtHyvuiweStdmKweONHnS+ddzP08SvGocKWR2kfVEbzvfAqzwbYnZWpRPx3jPT16KGzQ
sA7wIAToHZvmTD1wayRpVLvbB3PnpvKD8IuIrvLulz7fdRwZdvs89lgodtdxgBIIrQ0CvanD8NpM
cAVUqyvJrrfCqwhbFw9OlUuwJbhHLFXLKxwl1d5CJTVPfvpk8yYadwNC0Ei0CuEKsznOKHcOPFfa
beXElyc2fH/Ybdz2hFTW8txEDb8zJa1i3RHHRBIo5FuS2diV5VHNUHbQsCXMu4PZbIS0tWB+NvJi
ieFF2FEnrSsvmrDQQVNACKIImx0xuqVf2xlvTxbKTxFmPCot/Nbb50vmssIlqieCMAuxf0WtqDO1
WmrrvvS0gdYxcR2A5Jk7w6HokpMMmKiDpbfJdExQrzCeN0a/nHtGxz8MmoygWi+bPPqkyAsrVonq
knlo5pPxIM3CTzPexcmXzj9hq3dsyv7w+bCXwe18VHHYf4g0aUNjpjkpJTUEvnL3pfnDFlGM5iot
Eq+zNmjrK9nv+XCLwAYteNRKjZec1dCFLuNOIeIoeMKjh9sjycs6E/qfQcJn9l8Eb+nz113/xu9p
C33sJsyo8/et4nzGRFtG6pW7axM/q8FBTjIvTe0d/dyhkb7b0/aKfyuDGm8MLibzfGvz9h8GX9yx
2miK6U6cWWBUWxRoCugrZNoXx6donEmgJERz8ZnxDbhOG/0UZmiOY8mZV1vhceVQ51Ggg1k0idKo
uYRnrQDH476dhFx2soMd3s0vxdwjjZefhkhYrT+HWUMo3KJIXd664Umo6LzTMwU7aGkeS60FUuOM
ItgcVMd6/jOHjltByqRPaAPiXVnZXO3EdRpNQ5Gvnn/p0CoQR41btMCwG1KjejdVOjblVL3KI8Dm
dTL/3vi8l5GbAxKZIerCJCvIkJ2PaJZWUGFRUNBUMB4M8hAaNI9jfzfih2tOtWuM4GBUqMND0dsv
nw++8raCWwvmRDp8KVmf1b6SwQbIPcx+TmXafQl9F4WlEN/qoYj+jvWfz8dbWcqUlPiQEL3ohFrW
ljJdTQMts3NPJvuVJ6SNgnrjCH//QovtAl2QNhdkdGEPXnAuOBJiO0fPTtLHw6ShBh0bX8Lc+EJT
32FKv6GCckLSm/ZW+0WIs5qZ/TUaG7DJ4rej929VEsyUnkzd8xPTCxzcwey7wE5+JAZCBN18mELn
2R/63x3GMLumik+G0deujSSjB8HlEMVSgPCG+tiH/3w+e5fmIBrS+VD26NMGt7uQIAulOO+sIcsx
JDERDer3qnNblsD4nOrgpiJ/anRspOQI3D11R+MBpp87qL82nmNlO9I6DAZGwokg5bKJUcMwm1Y2
pOIkWENzm51CP/haV9G1OfQ3dXo/Db1rK6gXj9mt6MQRwZl2mWNjtjcl9xxLbTa++urUiBZS4gMa
s0Cb57soRhMc5h3qeVPAtgFCT0cy/il3tYFsAJU2ms/QlaCaFue0GhSuEG7MJvUYyJv2citnMoXb
/zzL4orp66EaKnQ/oSVCvj2SOBbhjwZ1BTNMb02/vQmIzhEO9XawybdZ22Gic4ZIwv8w987ngfQZ
yYM0KrwWmbIpCw56PhwGDIFK6SQq18LRSf9RBAbZtvZ+VORjeZjlYOuDiNRruQ0pLLJMFTAv01ic
2cVIL/E8TTnUJ5opjRtKrUD4CQpbxruaW2n27mzK4BpYmSCeNI6njVW69gTEVB1VRcHpWJKYgzlV
5rEpEOyT7y0wBQXtKSHiP6GJi8zIzsfuwRiDfWoFR/Vk4Dvx+QOs7RIHaBaUQSE1WyoNKZkeGVpi
EBXC/+LszJbbRrJu/Sp/1D36AEiMJ/7uC4IkOIiaZUm+QUi2jMSYyAFD5tOfRXV1tYwyxROO6It2
SSKInHPvtb+FJDZBbT88OEvcWVTZnXnU3+8tWFTxICgVoPBHGdxxWHw4kLVS9JWlu3JptLjQdLrR
mbUXY1sh11hHK9OZ68jl0ZoL+8XL4ysC0ReB03FdrXs2bWLS3RIgVEC9cskKeJAbGvIi4SweVjZz
UyHZF7EboPgol2BaEY+uPm+rnzeiY6yNoCga4mdyRO5581Q0a7XWXFnFsoAi+a6w7sCvQibeSTCy
kqgMz7TXO4P7v6Pz78+bhQiGNvO7KcqK5dhIJMrMA+55F2MOGMKEvc+1OI6aZm+bAtbPGa6kLRtu
gw7p7wyp7wJMrdzObweb3hBOOhTkpWX+MPZ6OUFudmQKlCC79fAKCSjFlNNLMOVCM6wyMuyjDpSL
Erdb42IhjO7y6VGH4hFWzM/lpVL2srfGtMjr59FTl7DgdZZMQqMT2MP9MHoZoOkCooxWvPQIKPRw
g4D8ZNcUfD9IfNuhP1db4f2tb1CwC0YKcIg4JiBRNTugGIiVkGGOi2XcxuuO03VYjEuEDaBfTNrw
Cg21msyA/KzYd9S5oMS7vFf9mPRjdzXaQJ+3Yf/g2xq84OZmyoF+tzPUXOHCRgkSdMFdl+urEkjT
Qiy8NbjSSe/IBXGaRE8/NEeW3dpTqz1QJfZO1h4IUGdax3sQgpYOt5eyC1POtgMK6JGL2IzaWWt3
M8Hg9fMx+vN8xpg5cqiPWQ6cNpHZfC97+zDHvKn0+tjCmMkNjoQ5hPL6prG/R/33z58zI1T8+0FY
sZBmwDqO2TzbPwjQWEPlFpjMEqGineeECQWNJ2zlurOL21hfaDe6OrqhiSi+C6zqa4wU6dcpurRg
Yt7UwESQHc8ismAEEis4PrX5OVDEbMP9z5dEOgSlBBCRvEd/PrQGr5QXmKkql7BsX9ulegzgRdfU
BmX8qGr0MoRMgnrh9ZcaZSq4jLQV3CG6y8ziZ8IPM6nnn9/kSI2FfA+c+3ndqmBug6t/Wy4lymL6
fjw0rbgzlnjk5XgYmbmAjcNuyuOdFXXXw8hv4QN/RVyWaHJHYevmju4a4JFtE3WH0nMv3InuHAcR
y8+7dXZ5+vN7Hm0+4SaBQ/DcTSLwayusPFYiHHQovJ0TvQqx4+G29996gH0zCq3q/efPfOd3/bTO
YcxC2vnXM8nP+wLpcpg/H59ptyWKLLvLlvlp/K1mbG1bwwG3KHC/Orfd11jSi5qvLKe7pObWOIdJ
Y1usQeLJnHXFkN0sDgIaO+n98CsXZQ7TNYJKn3/d8OeT03sTQYSFcyUqR1H08/7zD4OKyBz2tjD0
XHI+XVseX0tnY/nd3eh1b43t77vYu/TafBsixgF3qHdOMELQKRmjbdOTQ6++1uYLGwUUEeEl0c4j
gDa9dhNn6HeDp1Ax4u6RG4ddjoJEoIeCsQKP8qvN/GeX9NcwwEyCvEnIFCOEBLOKXG9cEVzCqGBh
BrQgHG6iZzEmcKlahI618nsQHKpu5+t6efw37t4rp/liRRbY2LCDG0sgldZEdChX6ZcO1M4dQaxV
Vje2ELe85zfHGLgZw2fXDNf5SJ9zXd+xEtIOMn6NhzO321nA7M8Gxm4LNtgRIDm/HEVelQkdYDzw
0QDafhFbydE6buxXhF8USNgyc102kNHc2wxSv/bfS+j/+Tb93/yNXf975Ml//S/+/Y11WsB+Vs3+
+a9D8U0wyX6o/z3+2V+/9vMf/St9Y5cvzZv89JfuWYP/zX/lp4/F0//8dssX9fLTP1atKpS+6d+E
vn2Tfa3evwLe4/ib/78//J+390+5193bP//4xvpWHT8tL1j7x58/2n7/5x8403yYCcfP//OHx3f8
5x+Hl/pNFriF/fvD/vqLtxep8MdO/A/UhxFk2IHzADkXh7vx7fiTOP5HcCwreAc5IZMUYetumVD0
n3+E/0DZJRBPwOkhLojbPWa+ZP3xR/Y/QFVHuAH0GRdXJZyM3T/+8+o/deF/u/R/2r65ZlC5yn/+
cTzI/3eJsXARPTJfEBP6eWlp2qZogFeRaczJDQ6YSw8DH8eIM0P2+DG/+vjZqUOiPAEBH6rSKcDV
HCJMQeydE9/bdrmOs+YMEQBN+MunzG8pNoUfHkJaqQFeDNUEa1rH1x+68s/2+tg+Px+f/ts+x0d+
WMsq4PQ8oMJVKt37rHdWsnqr++ugm/YmvLT7/Mz2cqobZit86Olc0oCrNEAbZQ1fwckOATlx5oD+
8+Hnv29xvGR9eIuYclJSgo/PeLmIIHSs7UM8or6OnQkqnPr+s8NOHNRwvGiYSmPYOFqIWrgEfAS7
X37eC6e+/ywuoKmXhTCoxCgdkGGWKMWHljjK10UM0WIYVtbm8+e8M6x/MV7n4JfBQAbYxUKmY0K3
pbu0xLL93j5Xq2I1LbwlojFJf5F961EtH0BXvIjWINst4F68PCceP9GS87W96TIUZgopU07B8bTk
cwg1cxhPZzbpEy05L9KgcdEiqsFl6ntKIHWbX/EABzs5OU991Z+ZNKcecvzvH4YbHftaIwIrUzse
khx6mgxOp7n7Jcqq33yNY+t9eILMaT4OQy/TgdorzSmCUvlmbO1VA//wz8fCe7bwV2NhNvWtJiJT
y9BUnbLccCF0nm98U0YwLpnCbD9wx/1R0dK7co7hQ8mB3R0cu1gGzmh2Ug9VD/Vt7j/10RQ9507f
J6MBazruGntXyiafkqrowhc96vguRhXm2gJE9sGWTCVxIRe1jzzg5OD0YIiylrlP/LXgVY1bpVXs
ChnBTnCwanfby4EjL9iYVeRPalv1EHpPlmlAZm79m4KK4SonMd3l4zR9L2o/Qugskn0Jf2s3vLcQ
MrkgmSwPcrI4QPk0kF8UKpmveeO1Xz5vy1MDYjZ/ufTd1ky4YLs+W1RRlKjxoWTw9ZVnCuxP7ABz
57We6LAK3RqgWYeJxJEVRNq6OZOoPIYTfjEQ3jWyHwab6fpMNm0rU9THfY8L+kZbc2CieKus8GWQ
8iFzZOrF3cPvNdZsL7CHCnTaAWuQQtCVTm+TeiOgLEMD8XufP9sMwMlvKZVYYUT2Cnhj2maX1O6S
5iwb9URnhLPNQDZOI0iGyQkU0W0AAwJUwZyblCe6YnZckYGJ4mnARmB6lPlaThI7m7o7J5U7MUyD
+bpl2qjt4RiVRnD3CkOzwK62CDlUxFZz5gVOtM3cyG2SojRwqcHSyDO+Z3lWrC1N6jPTYJbq/Guj
f9e0fxiqrtV2fc1zDFVjghVrA8imwyBDNpeDxN4zGDbEtt4FCPPvnUGQ1CtkeOvF/BxE0D/RQbPB
W+lATGXGJCgPyNeEasNNuTIs/r1zxpwBV/QjQrEN+r/xMyTK2aOg2Teb2mdq+071zmzklrJrvbDW
Ms0Dthp61LpFdfL5rDtxEg5mSyDIQsYof8RCUdIE0PjILI5lFC7U8CY8l0A48f39WUC0kZNw/Arr
7DTwRRVciPJMw5yYGfMofNbYVV8fPzho3b2qnptpSvMS+lVy5uR1onnmSuBuIl6jSSNTCB8uWh/O
TUN+Oxnra1+3Fx4Nz0yQUw00m+FgXhqfcgxP3oARNeXinrKRnVlYT4z9ebLEyS3s1mEl00oGB9DP
7yahcOvh7Zm141QnHF/qw+SuASwvPY024jm/CGFSlwkK1nSjr0ZR3X0+TE+9w2z+1qysexpjI83Y
K0dJppmecXM400CnXmC28xQEhiRwSpEp7DDgteEewdjXGuekuJJnmPinOng2g7sBaETZY5rhQINg
e9I6+kzrn2qZ2QTWUenysMHm4BZV4jl79PWiN+fcVk987zkZCOnZGuogNI3QNa5oqk0DGXz/vE9n
Iem/doX33MCHgQNWJpSwDr66Gitw2W0fWsmBAQOoqC+Q33WRAZF1/ZrVstpUorE3SG6NSwth2o1n
zHCH+iD7RUdDvlelROXbkAc7kwc5uHRRA68qZ9gbL3cvpF+aXREDbvT5Nz8xYOZ5UF3QSgU+lnsJ
XwucKlal3b4MGsE2V6nfW9rmPLlejLDA1kalrX60ghfqmNVox4tGRWcGzqmXOA6oD61fwXrGhBHM
Yq2sXlTiMsgFgsflKirP5TZODM1jaOnjE9ppjLyS4BWysYieYK3o7FTQxrewgs1/fN4Tp8bnbF2Y
etd2sgaPUHRAdsD3ePxC4vGc3vZUG81WhjaOas8BTjgdw/3gHJOsIBggQNGW1fr3XmC2MMhgFE49
lQDuuPKu6fwlTN7OfPSpLz9bGUSpWUUNglyBxRe8uQyyNjEOJoc+Zx93ooPnljBe74w5qtcwhCRC
5hQuI0KhduUcwOnE5jtHykQta8ehLVTKxasDl2etnsnUgGXyNIb3nzf/qTeYH9wBa5RD1yGONtnL
oJerpmTXxuNntq0TYbq5/MpYxUCkamDIXI36MWsqZ5OJKv6C0uhyA7v0BoZksKrIY3bOfOVEp8+p
7qU7FEPEMpy0c/oa5FAbBRn4GrASQdrDObdjnuqZ2cx2ekpAp0KKBj5ax8osFLG/BF0MlAfqLaff
2zPnarksziOj3RjnClfohVDt1xiig9/b88lsZsNUvm64QjsV7MvgfRlktpn6r+asYuxUP8zm9cQg
2fBrfL5FUWNje23qCnmV1cWWO+PvHU7fC8o/rOAc9yYva4+9oJ5cbM8aae/evpbmB8iPZ7a6Ewvs
nCcV1HmmOhvPQBC+g01Z/0pDO/2tyTdnKxMzWsF4/P4lu6IBvJi0TmL76fMPPzFE30UtHxqHtmPQ
eDHWJtS/bDtIlkfnSwRtQeEHSU4efu8hx97/8JC6HJxgjBHA9sMuJW2XRo15FZOAanVoX0ZDfvMM
P7dSoqSaoPV3ZarHbBnRAhSZGnZr54qHTvXybD6Hqp2MtJFuKZl/AXD9lrnZmUF6YoWdO2IgHEo1
U4hEKQvyEqDAuS/giOEtP++BU6GF98Plhy6whnjgxLZxN65U+TQMNV+WtQghWefunQdLdF8YEObo
VMbXTl3KXVOiewhs4s7MkBNhuDlh0eqGuCtQI5sScFxfQngLoCChSb2jRTv0TGeecqqHZpu5pkVn
gZagUi9k0c7th3jZZ6N7phVPdNIcaOWPQV9bFP0/je2+KYMfVWvd8bC//byTTnz5eW1rDLhjoLRB
dD93L0dc2pe808GZ735ios+VM0Uz+joOEByJSmhzyBP2jQWjuLy5PSp7zlEaT6znc481Z+zdWHcR
T5WoslWAq/SqBlx6A8qt+s7zwTrzNrNk+l+Xovc6rA/j2Yy1q0tT8JT6fMs8uKVaGpwSe6+BpSwn
fxUX9WMIlEWDbM9QlTBoFE8xP7OgvesHfxFU/lsBvzfWxq0MT21VcbNhblWShS0G2GiyGPIq6jEP
ePom9w/E62K6aF1APLnfQXuG8rGnOoLBYgULnB+Z1k0C+I573QOtetVw3YA4Y6sdhjKukk2N42KV
K3CbUAzrEb4ti8L6oUthlYsCVPiVZcT0BWo+shiCwV4DcBZ8yV3QV6IxNl867sKKWDfZObjfibPa
e4d8aPhW+IWhqChLkRjGN2DiQbd6l0HA2Orq2ozToaPs9y537zUpH57VQXXGdZmLtChUsHID6wew
ijd16PyAHu5MgcupeTE7gWSuMlA9UpFOfjEueIfVyPPBPGtqd1NbMAiELddZdfKph82Wp7jyRi8q
7Da18tfShbViBB0icRe57e0o7vYuGMYaXddIOFMNMB6Pw2ScELDIy6VVg2Lid0nsyTOT6MRyNq8k
IcjLtl0xtinsnvJFTlSFAnYAW0e3PrvvnHjjOQSnL0NKe/Cb0qZR1qqYamejY7dbQD9NruU0AvrX
52IlheUtAcwJIam3zWbo6nAFIlO1JmPrp1VdQ7QMPc2j6+L/xWMQpp8vuafWkbmMnnqiI03JkZcz
ZZDKagi/Z9MovgQBWIVZCy0jAxgqKcbCAX4Nm+K2nkiZBsyXsFMFwB/U7rNlmydWz3mJk/FElPuB
GFPLA/WJ8RXKTBGs0ovqbPnA8eD+i4XLPo6FD1OqsMlQdUbUqe3XUOV3XjGxhcXz7FuJM+aVFUuL
LLhjO98ttAzuk46TgTmrSbuBaKxfOQM8Wz9v+1ND47gNfvgq1BaWbIfIQbKBoVzB2bRlux07ehE0
zn2LJe/3HkN+fkwmxiwIOuMi8hcSxC6t5lBaCrLYSIUJ3tQGbdZR7ur3nja7MDVuV0ld2m5admQ6
9MSilyjC7S4aAMUvwjZEVYQ1htOZ3OaxqX7Vm7PFy481g24jctMJR7sNWGDPUdFFZ1bfmcz0rz12
TmYTtco6yy5JOrA43FBIAjZ9bkEmWXLiJJ5l55sewYc7zoMinYjb7qgFzidqjq1VnbVwdeuyeIFQ
OrhXn7furzcfCKJ/7ktl1NRq2RPgmpA8zC9s1/qRSRAJ9Zg4Zf2EpNzvPej4BT6MTSLtNgcJgiAT
V14G7I6g1s736DKAZ94CkdV3FObnj/r1NAB17edH+Y5uSaxyko5Vuy7gO9swf+3g3hLF6nJivzXZ
gKn5+SmyyURNaOCmGS0RV/cmK7FNwCAULp8J7V9hyHbOWe7XgxKwoZ8fRVzjC9RAuqnXdUcbURDB
VOSuP2+tUx8+WzRUgdA2VdRNCS+L2zo35T6GPuE3W2m2VtDIkcpqkNoIi3haG0iVrqmMxTbgWXwz
TDx8IJNsHz9/lVMdP1sqEHDizVDoGvlqFx734MDC4j7UpHgAzGvYeK0vxmXf+87y8+edkEeBofNz
x9Tacay47cbUy9Vz7na3vYaZEblHjGcbDHUqeHtFRjDiOrlumbfqUKluin7thvkPTIaEuKhdsrOF
4QRIUhvTLsRptEp6oASssU59fg7//x6b+fvCBkX57KtGHlyebH9IvQjtsChFxwOUQ3oi6RXKJAdi
sT2kBKBLALME/vwYE1xeWw4ZEbeGJ+ap76ogQb5ousJZAAmMIpwMlGW7EThm4TjF1zh7yE2Go88y
9ONq2SBksMosoOtV5pYXPO74F2VN2d1IDRhkXQnGkVuhi870xkyS/p/VFUW1P7/iKHVjaCaxE9vE
WmeVq3HEjUsQUaYmB7vKl3F0gLZ5vLMjYPNWFFeeb77wzLmw9InxdxSu/rTG+QFANg6r0wFl1YBH
SbYHwStyUZiVfQcrQD/YsYmdM0v3r882fzPCy7wRGqtwgkO0mnaF5a5xLHywaLj1VHumGuFkk84W
udIrigklWgoxpiFFwd2DU3eoBYWlg2wANHYzFyyGgS3sSl831rmakROb0tzqmVvwHBfK7tOGtBnq
DAu2tQzcuezBttJwovYloIj1rc2t6UxbnlgEo9kiWA8+jPwy2qdV7r+QUIdPshjPBet+fSsA1uDn
YWFZknQwBVVpV/j9ouMhCrJqfuRQtwW//XwpOjUYZktfPbJ2qqzsPR8lDiA30EPhM/h4hzyOD34z
VefgHKeeNFvzUNbNAhZbLQa5DcVkx29Q5LURXmyA2qdnVvJTTTZbrVrLL4KgHRC8RsVu2ho7XmpU
5oCIjLj/b7XYXNrKShvZQYq7Wo9rUEq01GuP+uWzj8jKrZ9r50wA7USg0Atnc0jCfjWXPdTYYpDM
hUf6qkZGfqVgWYK6YWoBAN6Ua5z7Nrg076LukRrun1sT/fec2C8W/rmANrRG1WSQUafQZvK3XAXm
qnFyBIhZ4eg1zbi37VzNHnqj602Om8Mudkq9K6DRB1qnzhM/loVMnFGNj7HGAAaO0nKcuylv1xMs
PrPxW2XqddfmS9dFTajBVX+o430DkIas+lSyA7T8G2dwV2aCzqd2l3EBHpWqVyHkxG7d3WBb2ggh
D1EGP3n8jlfHYHDkO22B5Bm1OZAzfgW31QHVrteo01uRDvgTRd8CgmtdB4YmCh8TRaqFkC1ivdO6
66akmMyuc4o0pO0Bu9LC6p/KCfrb4EgRdeJFydxtnlnVovSfKcMFGiSERSEfghhIji783vT2RVtB
sdJlFowl6sUIRaAF23CYkq09bb+VwYPF8hUj1i7UzjKuh0191HIew5l1s/LVbW3AMLUlMKeALywU
Z3vXmPtoHNeok7yC/n+debs6ewW98jr2x2dPdt8mdjVgZwRAeunU12P9w8u+F2DilUE1LRpcn3sH
gEbw4l0yLj0pYHUDeXnlbUQuLvKwf2utHCU9HexA452fbQKHw80xVUCa6/hetiFiJBzO7DdV8WQN
WeI0V7Uq7yvmpXC2WmTuPckM7LGh1On6RDvPBYR/XSkhTg3WnLdbUmCHL9pgSUN/C4nGIsOhJzLV
Mq/fxpYvdYUCwvwGOa417xvYETSoX8uWIoiSSDSrKbxGxexurKvt8VJu9dMrceyU2XKbkWlbRuIC
AraFyHeufIKh6yqoq9RFoVcDfNsYv/bt98xWS96aWx6FSVdkCUXwVb45nCAouFdusevGqyyGjqlv
BNi0/VrZ+0l9CeBS4GcuWFVfa7e6JvStGb82ZYYxeUULBZeEwlo2eaqVF29wTDgoVHNrf0ucSS0K
r1+MBmWIocJC19+Iul3y7A3BrkRl/kXjsyFVZNwGR/gsUAUWTMGiDEgwlt17/W1rlzdHV3IEBvCI
bmFTb2PF/aaBh0bgqhtUnl2JmF3wCNh50QUL1iNaZaly7dvg2ErgleJXhh9O3nDhjfQ6jn6oUC78
0U0poFcocsWgrqGM9xKvcyDUR1SnKJZWCbwDSsI4but5sZZulHY9oqdBrHfGz56he0a0QuIPADEb
ojeBU98QGSxKdn/vQM4jy3wJr3ScCf184VnfTRetcfoDvhiBvO6Ww/8x5vaGCd9DUAXhps4v9w7q
Yg0HTjKjKY3BRCPeNe1jgEDaJKf3CkVlgNC1F62HnBhjbwhiLSz9tQ+jK7u7YdW1ilqc3/VVFxrw
vMwCucD9FPWLCUqyrEZBJN0yjcGqwsWYt1hQn9XkXbTMrCvSb2pVrOBotXC6CcK2R0HE1WTMszNe
oMwYQd2Dra8DfqlA1Z8quAKopzauXzKr3SsLLCsS70K33JWiWVhDtG6Nv+LMWQk3BNpYJg3Jdyjg
fnU6HCFh8ZiJy9B/reNyZfmQqQ+vVDdrZpF1UTkAkDWYrM19SMcbt0cBhYUcREVRvY9mH7wV6pO/
mRac9gb0LBsxlLqBG6q7UOShy/LE7jB5/Neg+D65z9RVCy9gy6DDH3MwfTP0qKnADvan7Ma3wjyZ
NF9nIIqFnK2H+HkYhsSOyschPwgDVfuE940WAzjA3hBjnMZHSC4Abkeylc03PnuKnAJOHlHqN8+1
2yaOI9560wDZUuxGuEihFsdJVJTtlH7ivE9rmirF9vl0ZZvhXvBDK0AF6A7WmH0d4HZqwxaGgfbc
ojqxY+0B4PrEbUjieVjldJlkuOi0I0V9b55UgV5SV6wJLm2FkleWtlHifxnD0df1nqemXrAai433
hsrqhY1zqMW+T/W17KalE7Zf8urJy50kYGoBgh/u/nqZ1SDxYTzootsHqt9Rm6yHsEvGFqZafr3S
9C06AiyiF1a2X+DRfZhCuD/m44Xm6BIeql1HW7DF+lVVw56gdxcEZHYsDSnHUtGS+irj4sVBFbBL
Mbp7NWKTmA4WGNwogt8HY7XNENMhVWiS2nUTivr/cAo2eVcCR5N91eV9I4PEBtuL5gZl6BMM6HDt
C9WbV3tbVBwkqOpIoT9MAoGjbxGvjAS6njzaY76lhAH/x64HG6nZXK6ieo9ah1WUodTBuWh6dA4H
zJcTN635i9u/NHW5phossUomDJZIuL8da6+xwB3yBo+uim8Vxd3Qvnc7sNBh01GiPgrUR/FYxH3R
Y2Frx70D70CUTMCdE6t0qbJ9CI1YBAcJll12XuNedhUFS2mw0YT24Pu4d9PmzR4H+86V4JcA5Nbd
VjbL17XAG0CvWRowlya5R5wYXpiW9MnS77LxtqF5eeipdraVdbSLcOJC7Cpc3thylC7dFU4AR0kd
5vWQeLrI90b4QmIPH4BIFI6zmvooRIF/VWyQCA4neIAI70dZlPG2Vm6DmYnwGvwQymKMEg5OLaAz
/hf4iEQXghp51WUTio3giMjuKRyz+sLalNyGpQzc7HKr3guihUmkafm1Zo1aIIFmpwPOSKscsvwV
SlVh96GwvXfTg47pcftkw6rLxZbX5HVA2HsPjlEBaiFWJlagJshAZi3LHwDSXXoiS0IHjP1Q7pl0
IL4v5HqwGHsoc/ti8JuVQIIbusXgAhmdESy64inPatzQZTWqg+2ZtSrG5lJM45Wrebea4It4WZry
bjrqcVDicuHCCaxy+3LPwkEkPnejhWNgpV7EUJOXxH6GuHHFatT4AnR9U8VRs/BY4AEe0Tz4OgqW
VQnmeBUFhzouKlT3YIGr4+FhpPSxELG9bZ3WSjj8gZoogLkjqgeBOa9uTTc8Oq6zLWp110fehR8H
W8KAwYXC9glUYJAXWIjdMwBirkS2kU9TgHop0NFRS7xwStGDvoewSdmVtyMg0ZVSG+Z41yFrL3kV
bwpiwW/CfhxgBJFoHKodaEcSuD7uY6MfWwdpmYJGT/C8jreU2ndhxLcoA2tQXuSseIRzCxC1pCrX
BVX7SPr71mSLqBbtnksYvjhcfy2ObuioINxRBT8bWmY72Vb2xsrdBQI8D5mJ86T2/e+oMcqWiLLG
WKc6BQ+sgUEJN9ggtwDnVK5Dw7xvrNAmiQpVbGg7hAUifDBGWZUEqKYkV9ER2AjnSsS5MzNxFKkR
8Df8vi+aNZLnbnvbyzpsEivycDmSDpRqFiPd2g5GOEoSCkpHTPL2sTax6MCaGHSQ9npqMvy1V76F
hMEHp45Zu65jy7mxI032XtSB+0E6ITjO3WYEzhLHq9cwIxW09KzkKCg3NarQzRCQJamtaF1WjX0R
dTXu5HFZhgeQaNUhcgwOpjJyb5WC0GZw/Thx8AEJ5ktF1mEWjd1mFGZ8cdxj2HkoNTgLjRgDsChh
Jx1UlXmAqiKoE2scY5GUxsSpFLKDO4Yt7WIdU7vaAR4ZJCMp1B4OZAFSb4VThVhmcyH2KL6ruxWv
LIFgM1pt+OZVY0nTyILPgqcJ/LHryDgrRZS58HkNaNDkK5HwhvIVGiRHgsEfphLDEKEO/C48xItq
bFZVM9FDCUvqTUT7/na0JNoxHIMu2Hlt2OBEc7QcPrJAKo7lsobzY+zhjNrFAUAgsSWxvVc8Y1uv
iTu264lbqe0woeIiIZryDEs1BdyryCfTpmEpW7Wimf0W1jYDXATJy2WsVVmsOxd3OChLrDpfmNw/
0u5xcy42esgmCmdVHzQTmHfViwInGBw0GhTFNyOdktEP4EbBdG5wY0O23wFwDzfTRUi59SVvO/dS
UlzvB+U5L6rnkDBpC1Jm6djNre8Tw3dNE9eAuHgemrymnroOMkdtPIznFPAdf+/nITwOALqzd0Po
GWg0nT7eU+SHN8QXcB7qsuiKdYNc5Y2ebjt0BPwmPW+6gWa0t5KgydgVY0F85ffUSVVg26su7uUm
UkA0Zr4ml54M+QH1oUCFT9NwVwiHJqNn7Jsxx8UlsbGTrxtWiFTnWuyQPS32TQBa7cLmtbWOIhG8
jaVT3rYwSL5E5X/zOllNs2LI4+Gd3KBN3ONxkgyeoGnc0SgNPB8lnK2r5DpEPiZtstzHql/oy8z3
xN5QotZBBDiCAEMJ4jjfg3MIEuL7GGf/0AfPfxGHVXcxlh4cA9uVqMptVEZ5CXcuB1QjXg07Rnl7
11dDdpG3Y74um6DeyyIf73Mqs7U4HlN9OLFgpo92+wPnG9igN/JV1323AMzneooYxbEekjPf6vu9
DshOtAUWCnWT4woCgs/kJjXJNKxUQmSUuuKHo7tD5Rv6tfTHFxNmuJvaSMtQkd26bs9xjeXPkJzl
SU9NDj9H9WBXlCVRVctLjhG8VjC5RBepYdEZz17Z+D2s0OKxtOB45LTtFwu19RuZ9UDkWgHOJ7az
ZTIgaS/6ceNSU8CA2z06xJpDRvxpn2U9kDqRnR9YCNxyyQ35f5ydWY+kOraFf5ElwAzmNQhiyIjI
eajKF6uGPGDAGIwxNr/+rugrXd1OdVZJ/XqUpzKSMPb23t9aCwpagUwx7EpNWr/BxALq8KVRl0Qg
vbPKxbIbOQx2WxGKMzPIz9V8WEubR/l2WpTfSuLd1lYz2YYalbgZ/NOSJ/p3nkn2Qhh60c7H7BYv
od8KMjH4szdVYeD18+QGJo55j6uhWg0ySaqMIciWpmUWNPyRg/06xVM9bpoFT4V2fYdSNH1Tsw7A
iPe8aLph/M6riBRVEq07OkxiF/UQ6Pe4CraArArlWbxlqLTnGBfPKCFsA+PNdZNxaDizgfTPtq75
xTQweIO4pkcRj+zuXCb2RljZbhYOhZaROT+7qBM30TAtj0IRUDMVq9AbkQmuc1WCtsyyfvghzTcQ
FL2ZjnaYyzfTk8JI9Sgjue5X1S3bhE4Emz2Es2ki5IWYdCzkElhoim13XJh+lkOFr6WpHxuJoADT
IkZ5MMKBLhDze1xb861zQQZ91HjXXPePWS1Dgdmx3abIhixkN3xbkTkN/2Oo5Md6rC581em+a/sc
ZA8eMq5h9JYuQ3MJdAAD2J4mZYUr0l2g8/psWkfPtJqrLfgCtknw05s1idNtUA+V2uhQki0CpUWx
pMtbF8Xwmu+tK2D4hFMddD0CaRZE8I246feV/KeTwfNM5wcXJqbAuPBezPOvwApaoq5/gPQ5BZBT
r0Ud9rIE6iFe6iBHJxdw9SZt6EuHaM6nGIqncgozi2SV7sFonKIyonKf2Izsp3x6brElFlSip4I/
BMCYZ2PpB3mjzcyOSx3wkjj7YxEIfIljjlf3mkeFyOafwTivd2sYH3LOMdqUkXoN4UReTtMagiQI
wsNiqw+Rzn1BVa3vvAmDR9uovoB3I5ZlyI4CXE4pIREsA51VABLrBkZoyatJryaZsVOH3oRQvrox
RtLdgLTOYHnVskJ/ySGP3qYR7h52PYV1c+tEznCKpfPBzjkOX07y265CJCn2t2OcDuQkkHm1HSII
Urn6QByZKJi08pyYRmO6NI4HSAujXaxCtu/7hp00uR7cLHRbtYoYYcnmDnXYEa/N2TXYSyi5xlJF
7LeYiL7Hh79Xmbn04STbgx0Viq4mhStcNiFpHk2fqC2H1q1Vwbh7sJD7IB8+HR5osi6/cZmIsEBg
QQYTnWq2PyogzX6z1GI6ZugzlKMfOAzAUgZSXmbyIVCZL2jvycc0RlkhaBc/rkLy7eqQ5QaJ2FDi
HoogGNsvx1yrfEvhEw/D5DjcRDXU8nwM63sH3vFU4b14GoPVv+CK2INgtzPYpN7Q8PfVNRVBZBy+
hp1o72v10SZ0PEiLa2NrxLp3Ht76UoZx4X30zUWIcQjrAHdnxAuPJ9l3rEYZH+SvDmfDM5yh5pcY
pmq7JlziAjr5fCPGbnnwket2UVPDoBATiOkf08LRED5Ttdt6p1o45zSLPC16wu0q72FEhSlf03yP
KwuHh2mI8EvohNOkpgFiQWryruNWonOnQvSBePhYD1K+mGnMHs0E/7LQRelRT7Cfcz2JTnWdJlua
z9iNFuEDTDvRB35F9ZUj1EszDj+B0Pl3CxcrhUB0lwEU8CnaN6HlUGg5XAH6tsH0Uky4zyFAKtaX
2NsFYJGdE+weiTqEK6dF4OLgAjeZ9CGs8NWVee/zPcwszCE0CLSvQzzz621s3kerr26GzEVl1jdY
hTC2Ra4UCbOXNVYYy4pAoG8YcDN+g/dY/Dtdk3QuagkZGaobtL9IW7UlH/PgTDBUeJEx5HZWKP6j
iaa0382LlGofSNhjwlDA4dSKByZfQyHGoRjYgBoarzHCECGpm9Mi6yGRKqFSgxB2HXI3PsAPQeiL
gtflydYwVoIiroPNpqjRSgTbChxksKTZI50AMueFrZm8+GRIETlGoaltRLaB6WEGp/kAD7sgfcZv
7Zh1N+Foxe+0wbVjwyrVnKSNq1/CIuolbVr1ve2hfUSMINwEkFrO7QX+1PYGx06Ia7EiQsDQqR1h
T41uo42glECzwKdh2WJ63G+mjCi85ZOg2R2ExNWrX/sGYRzC/DJ1F77AcS757SzNEBmh6lteVWpX
1eNyj4c7PnVNhGOvy5F8M7ey2Vrn/cbA0eaqKVo5jKEzuq1ZBzl1l6a3xsGRJiVx96phVFYam/bn
CAG1b9L0/Bv83emHzWQN38qWdgOSOdk6b+Qk0nNKVA5HuoQhDD4cs/0UZO19v8JmPoEHQClafk5g
lf1zyYPgBPfo+bzyDNmByaJLKwT29jF3+aEyU/erR87b9ySHNXFpqmWdd9WCzgb6xaTS96aJA1k0
mSEepV7b7JexQSFqXfVTZFJsR9ILRAZk0dnl41IGsD7EcW7/Eeha4ACB787GLldVnkzQZcO+/Ijo
2HZjk/VIRoSumkSOiG5yGq2/5k1xjyXE3xYIjBTEBwdEyVePdZrNZZ85xBDgM5I5sghf6WBWil5x
M1T26i3sjyzI8AssO6fjfI9w+BMZ0gEpBsu0WVu9W7wQCDhZcNQoXE62UuHANpzZU7MiTZW140s/
c2QtkkPY5eji2ewhG2FRF5gQ0FgXl3O84thzOZqlKMNqMb6bpWkfroJnFbkzrhKlURamisvwO7b+
O+K/n5THh4pG1NUq3iasPfMlPsPvba87WH9kPkWmHO7FrfjIwubA4F7sccpy0Al2xc0KPpgwL+jl
fLKyuUcj/BBlTXf2eYvYBQT77XBbTtEGx1vo+YjJR2/jS0feR3uyirzKut6iYYPxHdzUIBEV+5wP
71nDy2qKz2JG29HBx/RkAnlDx3yPWcF+hhg0tX6PHYrtI8de0D3c0U7gNipxKtM70k2kcD2Kdgxw
UrzU6977GpxmIy/TDEtdAlfvPVqr9hvcaNdx9+fR5xfT1c+mN4OqFFGDn/cO8V2HDAc8xh3/KtLR
v/rzr/hioP45tYMjXIAjdEjuA+GCY7KauAzgSPpf/gGfxvVsntF4W+Ju30xkLgYEzGM65bAH5Sv9
y9j2izH35wgCgD1kwaZljhSO9KVJGdkmfpK7OqPubqBd9d8BUtmnwT2tpLKOgIjqkfW1H9GAeAxo
px5j6pcytiki1lSkn/78rXwBqHx2IoG9zsLGxM9Hhc0Lkt6rK4KfYb+QbyWU4hsPQ4C/jNe/WmOf
JviVjAKVR810rLVC8mFd2fkhm9fglcF28OXPf84Xi+yzyw2o8mRM3GCPXVcPzxbRJ4W3qT78+V//
lwjlP0zOP/vcjD6XTYwQqeOYzyhNutbDiJZ898gL2SGBFN2psUO91rY4Flwc4hLK4YurgnQbAzk/
wq+we7CpGEtLncF4OEiR1xjWZc/T5uAbAJd//qBfLNXPJid10MFDH16Qx3GJwnPTRNkFftnmfYiv
xGjU/g0m+OIrTem/cywo3NU0u24+4j6KAEzXr2+crjCRTLT/W9DmV7/junL/HybarL0ekKxDj6Q3
iMW4litPMUQLOCsR1fvn5/Upvv7/QLHPvjaI2auZ17U6wkItvWlhUngd4vc3kdTNWbZ9+y3HJW9F
zT3kbxjE8LvOQnxIqn4tRxRrz9DN4tpaNck6nRzQuHLlydIVMQyLD03aB/+dkD3+7I7TDAo8d4r3
NQXodQPd4sUI5DwZj1nGn5/FV2vn0/aDKklVdYPfYPPqkKF2BXhBMY6x045F9m8mbl8AXeknZmiJ
2ihX84R9JySRxxQXkwgz6Pah9qiOOkWvLf/cF7LGpOIv3/J/lsfFnw1moJanY9XP87EJHXnOdIy+
W00bDRswiSFvE0bvSWhjzDjbJbxlZPb/JVOdfOIQYQiNgUVVz0ewNwrXxrjRJ5YhsAGeaS3ef6CW
8TNan+h3tw0uUeWfv8p/iXj+w3712ZQmRwFGKwwtjwtwUp/T9jRLT1LMCKvhisYgTCHVQp+4bfQW
1js9Wjxq2Hd9r1BFjuZvksGvqMHk00vctcOSTKjhjgwy9FM6NRky8LIwbDapyLqi9r3cth2fiz5C
zbmhCwpaDDdE8DdzoS9Ae5jl//s2YiYDpqkX9oieWPTG+ITYYmR04UIZEo0xM8S/p1zH8W9WUTRJ
TSjda2rnsCubXIVb3iz2EIRAdDF2Qjbj3+RKX5y/nx1xYuhFcwsR2bHDEfDGpwU+veg/FULZYBtz
oTFwyPX+z+vhixcg+VQkBQhXGQTSAo5NS2KYDEe0QKjVdJOI6mqwl61Hw+t214+wZajD6m/pNvSr
P/LTMdHME+5INsU/jyFDOUyTucgpl0/IqaJFlY2JLVQKNFgONjtQMYOwGFb2nqAJcZ4GAHm8CYEL
VUF/E/g6fezQ3CwRTCS/V0sfwjHEdTfSgMla0Y/KSqGm7tWJ2r16nkevg0PO7cZkibrrCXx/3Zqp
EkMRvof0or14U4FYWjXnUH2nC6AxzFBTTHBv6DInFwSM57s/P/6vuL/40zawLGZCNEeTHFtcorNN
zFbzC3l1Mig06dmL5I1H+JpiLy6dhhkU2sTu+0TlN5KjTvvLLkivW+x/2BQ+e93kePRJHM/xkeWS
w74+wouIN65l6L/KtfqNKle0QEq4kVu/VM2B5oMrpcSgF9q9AHGD2oq8cPU8fCgh2OsqcSnczKND
InyD8T9GIRguXUByRN8Xwthty0X3lBnsKfD/7fa1oMgjp4OTPxjSTKatInN917u5/QkGUD7MFhNg
9D6yv5jfflFBxJ9OtGrN6nRgsNiOWm92sL4fd2iZoOU4m78maH1xnsFq+N+qFEUwiIutXY+j5f0v
Xo3mKIMIAXWarEmwiUF1vifp0pRDiATlRczRR0xbgZnoap4ik8HtwdCE7fPeRgX0EQmCzlN4DuZD
EHyfQ2O2f16DX5zunzPsuIzQe0U5cgxU+NDgAgrSZzfQeGumtvvLCvuqTP6cLtg3GRUNhLRHpkhn
9xPAk77QkXA3QzNTuUUTmTyQIKGvrby2jBK82i8YtQQvqFnZzwWNvgMbWyhbGMC7ptBDBGyQBJMv
4zgwb5ZUGG4A+PbPf34qn3zk/6/++2yjhBl73a0tR5GJttoBalvEOXBC5GPmEcNoQLmKTR9H5A3N
m/gAKSl9TIaxPa4VCx8wM1E3NDP6TBrKjt0yJg2YMOmQIkwbAZw4UN8jH7UPfG2ydEvT2ZfhCJc7
ght8u4kXDPqPS4Zm65//nC++5M+GTZxctzyMdPDxqPuVUd//FJqAavAJZo4KCtG/1IpfvVnX//7/
anOX9GZckNl8pHQl9xjqht/HfOLfIOMZyV9W01e/41OliHoIXK/SAArb2e1BHtsSWsl8pyv5N8/M
8H8znv/TpvjpaGTOROOcpfUhr0aEPWQ0nt+Q2+HLbNH8JWGyvQXcjiEmbNLnx7FmqdyISuhfqlEr
MqEmcsgR0yivts403Eg+0X079kinFEMdYYljpnjulppE27lFDsouxJzr0iGmON4xnAs9qFTi9Abk
w3SCQ6UhG3Ti5n94o3xaxD0dQAcCRr9Ppj74GDIdHi1v6qEA/oM5cT3FwJaH1bp35VT0FKm+fYVv
ecpgOOJyzBSmdTnG/exKnHEQOsPR/JHLOHhAAxntSzKyogGl9Y9gRpUmRA72BgMhcjejBMLWNPHR
bOeJIn0jMrLFjCggyDRqQnTikyB4HgckKm/6dYZJbsjsyzBofiFZQ58nlqxnPwt9N7SBRVeGxWDh
xEpJXACVs6chS0fMGHV9wYeY76sBdBkMgoLoOLbXH1WQPH1DfAMyz5WTSEpJAMVvXDsO2aZLvT00
HbxaMa/j/BKKiX6s3mI3DWozX1KwS3cuVPRtyuLqUI3AFzCbyTXYTVSXv4hswlMPLdK3XFfDW+Z7
9UANpfs8HaasmLVLzknsycbpKXyPbIQhe0zjPZcVu43bkWp0AOl05jQDzAvh5D8wEgdF17GbuFLV
R4sKA8wuypr72hvzYhLqXwMfv2JgVx1Jm2gQXlnb/hoieMMJmvvHyCz0nEmFfvpYZcsxZAhHcbi9
vyvoHZDnpQf+vPg0qYqo1/FT3kl2n4/ItEAj1iAzcoTG8UZPC2DBKqcdfirwKFpdO10679URGyu9
Q6A9xuotEpTKOgkRHCzTkDRbHD5y3RgydLuVV/ENj3xW8hhWVwe2BJiMItULcoi6eTOIZ0IvOoI2
dhOjD3CFFvLpFbW1+VH7iTeI6hkoA1Q4A3jPiEmQLFHTrN/5IUADtkG9t11MzupDU8XJmVINv5J5
DvhLuoD/2PFQ8EtEO6DjtEHxkya+ngrizTRvo9iBOeO9pzUI7QgtedVJfWOQ/YegacvMBX0lBnPJ
CKFbKPE922I9sVc2sRUfGiVlshGdHw6VmIYJt3bHT2Li4nvWpslxHRcOlt51ukDEJqBh7fL8XAnD
nyzov6uMujqNYH1P9Zi0x6jpqdkixMjEBZGazYe55ovcwFmuu81S1FkNn4cfiV1BR6KQIzvRC339
Rqj/HWEs+grPkAFmuulVJeeQPm9U9BtARwD/aUdbWrSjpC+QGkw/JOR51TYk1fAANUTzC3FT/IRl
hwyd9Fq+I6wmu1gPhzW9Dh0wK8woUfSwX/BniX8MQoBtrOS67jXmWYcE3BUpbDuxO4kuzrMJxfoa
CyB5Gaqyby6H6AknyPQarb2pwQjAfWLTOzTwATI1fb3pNBAGDGijZGuBmR/IKsKonEH/5CBz+/qn
DOZx58Nk3BlZhcu2a8MAlY2O1rdoqeePOV+RdprYduw206yXf0jD6iPmpismEkJ9Qydimoreo4Mu
19j+VNno3xK8Im8i4ORO1sN8IXWcv8FU330wUIw7becgLTC9C2+RFpMBSfcrCq55qD7mKjLwEAcj
+T45xSCZNW1cZo7nL33WTQctAnmfz6Y7kU6xt9UKBDOrNHkSnW3GbTbM+ROzeRJtchWZ9z4Gh3yd
PqJp1AdAJAUYd+aa7LrSK6LxU/yaZJ/k4qSCNuyO4ALgxBxFlWWbLPDulEu0OEA9r9PGw6QZ+Lpf
271q2fCSyMlDOl9hG21199I4kUEa44145WwFnDpwjjBS4pHetdB6LKIovyYRj1fmq6s18MiAzBPZ
ZEM3uV0dM8g8llEGFImBwaQ3JowR9GJHqd4mXtnq0M0U4S4wLUpfdO6iw4qM0A/EpJoywbMCJ2IW
ACaZV9N92sr2LULF9AvhrCByWI+9YOjq5fuk8vxXvYYeMo6Qu5cabvOXyU/q9wro+zESc3/JO6Bv
oBJnjT4oa/QtH6Q4R0uK8S+QwiXbhmyRy1YnuQWg7NAP4HTAx8dzmhGG3Tt8qwZfpdpgyJxeotSu
O6FqfgPrnf5nNoORDIM+QIvFVB7qaIMTectBte37CJ9yI0MNmQKfdcl6Yp5kqhUy+7oJCEuau7XI
V0Xv2xi4LM6I+K4HugfmYIJPSYv7jgDQ7we4eSbyAQL84AeMzxEX1HZIbV1bBoGCXm8ZG+E2Usnw
vsdtFDE6gTy20vfAwGpxTsMmOK4K6EXat92OQfF6cjGJ7pretrfagtyozYAODc5lWYCRId+6EZri
cPFMoHLM7D6MYEJTQNMcq41slvYM8spg5ssi8IGzklvMJ/pSpBMWYxyxYiGx3vI0SW+6PMKpksrh
JU8RYbWbIDZBoZ1B3j+jL6TueB1jiaeaV3wzBjZ9GTD95VuojbAjphoQMNIyPUw5WLu+R+I6nk9q
BwXJCo5jBDcKTNnlvLkbBFpN3QqCeagGIANDONBvPRv6W8UJ9EuoVjxgmyyJCwVuBARXQOpHiXL5
Dl+W+EFNBSlK2pnpltpAsA2L+vyIupl9k0mOPVx1bLplysJUZuaIiCk6rtNHcQ0CD9ZwfZjAWRxj
OggUSFEy6sIGMX+pmO+fF9gmQKScMAEBXNO/6CHsy9ATjddtmB7tuIj7hrDlxqfXhM2wmvzdjAnQ
q/Yyh5RnIicnA1/agWc/phzb/wZRLuF+xBu4C9DJgoYAzy/qmACVCJdYzWP8AT6sdm6EyThOgLEg
6xAUA+adEOlkyDOlybKb/SgQPdHlb3O7xE9asekpj5D4lUVB9K0fknYXTAjpTRHlWrIWWgM2J++L
j8CG1SBjtjCZi8GWQTH1mMa+vq18PBbTXIWHKg1aZEnlEUqUsYtntW2Apm/w+/O7NQnJvU6jsdoD
gkncRsROomxN8c0A3jHRHdaORLCkovN6VllrX0TamPnZW7B6ZcyDNQNIJJvvKqvoOx+j9JkMSR1t
6sBU8Qana6yAdQXoESRgz5ctohjCDOPX2R1F1ENUZ3MnYfm2GP1DZTEZnjKXiX09a/lLgu0GaKK4
UAVOU/gHyb52VwuoENu49RZBilVgoGGoAGO8kGF17GDjIEeEtkefHlTFXE6JmUsW8vhJ1bXeytrO
ABPzJbi0LO93lkHQsAEQjQCGFYl0rnQeuvZc+vrNolze8cgSiGYIJtcQzxYelGY5sdGVJovoIegq
ZNCKlCb/zFkFoRM+1UFIdHSBCyfHxhlXWEi9fzQCGrW67+Wj8mJ50diB99k0RRdKx4yVcxC33zoq
+jtw3+Mr18P6huSe+uiqsL1JMi2u4ePgCZs+vIoZQzQwcbbcxG60P8aRdg9Vk72OUHS9YYuUR6Be
BP10HEoqUf377NR624+L3+HY5s+jqYKbwAh1WqYUMe4rRGmZYCvkRhPLD3y20THWUfUCnUb+EuKg
w37hKR6o7na1mzHi8AlAqiqJqmOFB1T6eQRSkcL4VoBGlP6higVCD1up1seEYauFhK1eKTQYLvvw
M3aExlXqY5kbaJCcnxNV0jkE6pYmy2kOurZsxwiMeyY1xIeKh9gtaqYNGmMDx2VDi6RUJh8evDaM
XRnJ8UYHfX0gQQD2kuNA3OI2JMTNSqLoxsf1fDuOqzpA+QmBGm4UPd1oBhuE1Xbu2easuQNLzk8S
Q6EKbqUhe1RuwUuQ2GEL3/X1Za2T9hupXfDcDWG+Bxlv+iJBatWjETAV48FMz4ro8WYmoQUUnppi
Gab4hhHgZNitOQR6OBqO+aLNA0hKZBl1a/O7mjTOuHohhRGAfSxAHSRPwC/COQ80EQS9vIRxQvYg
0VzZWY7zEruDOQ/S5NDq+Hy4TVzX7QRHIu3WzhpmwQZmMbVhw50GFRts0FhMT0jSWiAYVQO5TCSs
H1ND4xNdALt3AJdPSVdHd+B7um2OPVRpZo8M7s9PIhE9cPYa+PkGZpnLfbXaYI+oZghMkLc2HGVW
Dx/1EocQy/rmN5FD+4YTe6hgxJrDEzuM6SFacAVZoordsKZyrwY5z4clj+pTI5fm0UEWmgOkbhs4
JEC00hYBMLgMXBfJoByAfhi4a/99EYQdCLr3qJUhlNisU+oG8En9EABUsyQE9R7l79SR9FJlSJQ3
1k2HnrtrU3UZVbBJp8DvteXi2Wk67uZE01edkm6P678vMRtYDwBoxh8epvuoZesBpopYoEDrjdQI
9MVQ5Q6Hqz1DRZD/HBFJf8ih1yI3EB84DWCoqX/XWW0hW2rj6ibrXHtukJx0ZG4Wv/JMkJ951fgS
pK8qYjSF7Q3qqx7BLKBjLsvQRlDK6PyQ0SHCPBlXDxbV6mVEYYeTBVo+yO0GuIcQyHHotDZbnF/i
EGO1vGOnD387MtDfTYM79mrbuAAsU2WIgVJ8F8MM7xl6h/6OqxoDLq4BoxcwWkR6piFZia5Ce8Rv
1ZdIZ8ENFgODqpDpTcUwuWIRoBCsKXN0sPwEmAoRIavYCBE1uDiYqnW5exlD0t6PwG22ok3HC7QD
8GwFhbyDt1d4M+NmecqqFO/iFOfvWeTMsO1SKRBzP9YQqs4NOi2baQp7RK/ioK9wgQ4hAhR0udVL
VFeYQw7qbNsVPISsJN4hHdqN7V1d1qi2H+t2NbshldU9n/r11KFuvOiZLecxwPVuiXPxTaydL1RL
YbRCo6ZIkGSx13UdFh1JeJnXGAJCb+GBcw/rPkIXfE8B1QFuWzyWZp+ivatbsOaYE1UtZK5BNEE/
kuUdkFGyNPugTcnRjhUExemCOyjsCW+qBnnITSjco8whl6sdlF8VB4BI+4Ud0la4i88WaOwRjCT2
/Wjz0zzVNdjGNMP/6HR9guU6brwp53uveHJPZuEhXqbQIuGS1932AA8eKsPDm5FQ8COtE1duPrpL
kkb/ToCFy0tsWXSX+9TAMJLq9LWdpfkeh2H0c9HNtFtE3p+we0OHHYfLYDa1BTq+Q+jLKgqNLfWX
9FOACV0yNqfWu2Q/ajEe2xinpqNT9L1Lrx7WFawaoOruCL64BIO3D+snexvOoj8CXsQb1OVJnm6Q
g8YegxY169S7vD/AoRiJ4Y20j7h9QB2TtJUrWxhJ7HCnXKBdX7MbjG1JyaXPb+JMLt+HlVQPqHbM
bm1ysjVLF19Wo+tvaHbGdaHDXJeCJy3O2BqDlYTDzXHqxYduTeSLmCZI2sxlN2PAreMTLKnUW0xt
f6AGBHQVyghCP7g1bFSTRGBj1+E+XNLel0Lr6LYPFxyaWUTOFkHS+zQN5qNB1bWgTZObO7hBrXfw
qwi3CONyLwJGOXnhmczPoHbnDTbfuGwzxUA1DCSDD5Bq7xRZq7kUsO7DzAoxiaBBHVqgYHwVHAlc
YCwmp4D5iyVbe+gIqXrDHhjcLeigHae5Z/cJKojvTYjkTw2h9QPLbVjGDc+ejBZk2YYjA/VpgvQl
Vw0Qs0qm7UmN7YIJsADVYlTSo8uoKTQcQ1C265o84IRJHqfmXyKZrvJv6ISHM6KjxVxAttk0kGxX
4W5uAfMtVNJDSxyiVnUgH8QsKIRsUM81ULedOtcj6xqb5BUhxSaC7PJHiGu6RyC64nfVy/g0jmL9
1ULrDim7W5MnUIAcgnLrS94v4aYe/foL1eSVksyXEgRmXMZot25FQPg2SxUDuDTBAhlr+MbW4MmB
sUfFAslB2Y8QEwd6iloYuNP1toWTxCvBPlgXflbNXlBnd0Tr+Q52Te4ertZrqRunlg0bB9RdLfrB
aW1ZSQLwwvgos9i32QKSp5XdrSZphU2etY8O+U7Npkrj5tUwB1qwNoAVoRkwW8JTj5qMiWch5XIL
AmhCb8pCVNvHuD9jfolWUF+tZe1ayQ6NQnMOHg9d+5xXZP4VwbXlzNdqqLfBghV7AazIUXXKJSvM
QNEqXNp4vhs5qu5C4tzA+5uJnQnBMC5ugosCgC55ypp8ZidCoyzeDioOIRCIsZlZzbp7OgNnN0mY
vtRtBZkshuDzRkNkBOcms+wo78lBBmY5TAuBsm9GP+/coO1JikXl7nVpAwDCnQJ3FOosuUWPlz+h
JAofuwgGHzChRw2EaXBYVqKqkK3VThCKDqlo39ForLFedQPYeEmbfB9EOKe3UEB0IVo/y1gM4Ir2
aP5ZckKAVp6VfZdmP92VFYZ8rjpGs6YP6TL4/M4QEmxDCwOqZ2pTku/qUATQ6dGImjPw0xU9vpBG
afVkYRPyQ4jV7XGDxqU7cjDFu8wuYAbNval7C0kaOyTGClW9wOI5Hba2JQm6uS3/H/LOZDdyJN3S
r1KodTObgxkH4N5eOH2Wa3LN2hAKScGZxnl6+v6YlXVRqRuR0QX0ooFeVAGRoZBc7iTN7PznfKe/
JF2OQii0pUiFWzNAOvej2GQD7UHNHZkDXJR9tpzSpQRRYhIt0WoZ+aAabLnRQz3oT7YeTPk+rFk8
OcJ4phOEBxGQqdHgGWAe06WGNjRgh9ikaeUmwBOM8LKSRLLOhhWrh6BC11g7deThZp4IcfmRStAY
vS6qPvKk6fR1EdVTzRuErHCsRvysK2vSJvpwc+ZDflQPEWa/yJ40P41yhlKWNw/xymRM/oDuFw9+
5bAj39n6WAxHZiTEacJhyLVXlZfAfkwIByzF/Qe4AOG8FAnufdCqpQatII9lsrPsOoL9avTlfOj7
wbiL2YnpW5ju6bBiBchmNI2a9biOOrGO59q8nsPGpmZbUZCGEtab51Gm9psp2RlgcZ7iayq7+eDn
yaOuryggdsTJtm64aBv8x49kWdK1hci5doZuOppBwNkGm+7WpXrN8onfoJmPopHoAEkCzUVkptrn
Qgs2DnsxMAl2xgGRjD+ZhzlNt009h2fs+0m1qrnQjoQIw92I8/+uLqds2xlyDteMtduryokae4+Y
EpLeJ268yUVfvTTO1H4itDZbswkELYVIi33IxIeBbxojEpkpaVUzmVZ2SPy31OS8rrswI+htI5ld
ZfE4fq/E4izvwkHnJi3iq1mxC4r1meF6Y4bRjqcbzaV0L+z6ZBav0ZDAh8Ge/VpEKXZFC0fEZRKU
3SuOmPTa4vY8R27SIPy51eecEhpRXTxviffEW8xR2gsPwTLyqWgcNgT202NUuwPHMcYyryKBnzoP
bflpziFzAyMmPkAWBGwgWyU7MU+i0qZPC4VH+lY9lg+kU6NtX41AIohxn2uBgOuEhXtEvenfWQ0G
9FGr5rnCh5Qee82u3novjS5SuyV0NOS2MlciMoZnDBQiYiUE376YEAmg1BMyXgeg7rPkDDibciUF
0f96FcHfR2cyygtkBe9IYKjLt0Ve63dt0fGwCtyyX8sgbkLEioi0xByUGxJNDtqwPZ8bBrqnCcfh
uwyckBeZ43YYeq11V1VsNseiHS0wKnWJFBMwPCu07iLiBPrdZNu1QeJdlsIJSbwNXbfzhZupd62v
zTc7UdGx1FTxZtlO+g6TstlX/YjPKAhsbd1lC5vlryfCPxuifnHgNH3QjJxlSOOMmbOf28a4QtXM
D85yCf/+I/6t7uv7HxZW/6kGe/eT4uv/F1utF0LW//xndfR/a7W++izfsj91Wi9f/49Oa9f9DVnO
chzL8CxLEu/+Z6e1q/+m25at26ZtmrqjL/acPzqtLf03YVmW69l8gWebC7bwj05r0/7NAhenu9Jm
oTKF+W9VWjOD+bEH6GtdTqLlU0i+ot47maxvG67oa07W+WEAAklkh8cxi3TbE1kfnN54HDsQG2uz
Jv6pp4WFfKhz5wd1HuzjaCK9wBK5ZQZMjDyPgUDIKf02WB0ujhTDz4qTT/+ZRSg1egsvSUGwXw/V
DPxZd5z3gpDUvgqS5ipSPQOmvDWfhMjVpTAsJMMO3LlLovpuzjDbhrOhf6bsNNYUvdX1qtZTLGMq
Tm89wlTHmhTIVTKoRXYrKxTevJbZjUen+HshWQWTnBKvWY7Ji5mktdwgb9qMIXM2Q5gR9VUR29A3
XOxYR1lY4liAWTjaKFAXBbinpyEysofKVOCw2sEj9iHYOzlrfgFWripz+rM5jyJDSI+0F7zDalw1
mcGLqdk97GfZEQhku2NcdfyzszuTaV7lpgwfutzJoE2pGgeYiKz5tVdte5HnyDOrLMvj58BJURp1
YRMbqUjaxUSXnqzRhO/AXmA6JSLvPjj36iek/Vn55ERM8n3hhFBkajcExw2U89l9YrdXvU4MVRao
RCJ4kht6JpGvRtbaEvMdGWDhjNvemMwX4UzQzTrVtGu3U/pr6DHfWpkKTQC8R3nuSa7d9JnOUX9q
xxTIes+4cWPnGX0gY9rCvXYqw+OMGhosELLOjbcKF3G2mkIPd6nol2y+OWRPwP67c9oW9W0gsb2t
ZkM2qD+p1W5qJmvrmIdwuiKWCPW57utTKTQUDW1kkVxkVexBjiJ1a0bBdHQ8Fe4yQwxqk1mWMrYR
rIDSD+MIFIxW91kL8BvsUOp53nPuMC6M28r5rAhepIx4JlX5BjOlcB0IexHM3WXI3c+j/l3hPnGg
uHv2LjAs6zpZptGjW7CzmzIJv5iodbBzOmZPdgovwJ/KwfkGH1E8x/yrywT01bd0CFS48mKZXzrs
fthsQyxB+ctFfGGJmiy+ExCd89lpTBdtGGt4xnQDjkcnM+FDjimRZC3nUJd1XfrZBBcrp9/nYkRL
At5WJNkMS93CuRql07DNrKp/SsNIU9tqmagQXQyRE2fbDj9iy6hgfJj6xminSG0JClQM2WtT6DAI
dfHELMuZkC9wUPppmAiBJ8ICCOTVXVpuyX67GzzG3YvLJ7EvNNHPyKwjwC6RgG2PKvAiA9gO4xYo
LjaAeKyu60HK+yxR8drD8BFftHXuXY2BECUn/XpApx/B82wdNzQCnMhD+92pTewF7Asd0Bkehops
4OCy0zqPeEc5zIoBFNozJlKt4Ct12ro+sNX1xVaMsbFVrTPee31EM3HDruDAksdQBlyd95TFbtUc
09pNOj/upXdrz0nNDIZHc+KXzFQYAvQMrv04Ux4ymPImdh89G2bXVvm1JTE9ciIk687AJR5azqRM
tSuKQHXcGJb1Fhfp8FCkXf2imJ5AbJPwaGzHnSDYmPZZqjK5y/NODszVZXRfhhXB6Cjtt3OvoXE1
+WgfDamTZXcic3mcSSQCvRIpCDZNxRCxNDfdzPUcRwhSjhGuXMZ3ByxGvCRZDziXK6nqe8Ms1Cfi
dP3cWq57G1qhdZEUofsusjx/JCZYvOMCVcTrkHNnP7S03MbNQLK7Yvag1iBGzHEbV/1srPq8H0+2
dAB+Isp0nIyCJZvOsA/9rHMNeHMJ00lk2XCe34287zUoSo54ooLPIGpH4cqKZdG5ZuXQOQxZ6XON
s2gPPCuE/RX1gBIkeuZbZcuS8ng07ugwOdr4FrI5X47QpUFI2zSwlxhZ3MIlcGRd+K7ElxGkC5Ai
UW7fQK/qsTqouekvuqRvmASHVOhtc0Q3UIa4k6L1DKWYk3oW4MlVVYmIPCbJOXYzGu3bJbsRjJ52
khxGGY0X5CoJwFcOTwanDLJNKLiWGPCDlCxT29J2VkfWmgxuDqlksrqiq1duIvoRtpjgQaqwdj93
slGvkoH2pncMqm3zugZDpqVPVdaRZuRK3rRt5HzTi7l5C0fPeoEaoXZ2ZKF+gCdVFUHb1n3LPK+/
M4waOExEHJzRnNOQZ6y9yROA5mYbD0vcyJdCKOx/bcezYsgbrVwxYAy+JRN2xivOkiiWs16PHyig
3EFtToflqjfnT6OkuYLofj5uc4hk2xRB9ftka/olJwF1X1mjtdH1eKLAI1/ghnVGwc0UuIuia0yX
dVCoN9mIuV81dlzfzS1PmbVHBmA985aspedYAI20nrn+WNr2Ozqdw4DUFsYNs6DF98XJuN1mc6fO
lNo4T6HXkRnX2XXjfOHwGdrTw5xU5Te4j+iUS8B6l3gEd8htpANitu5B9GT8UK7S3q34ijoqTOS3
wN1UjjFugG3Ox5zLwFlp6UhNU2lXuz4U0bU2TvZdJBEN7GrSwf0pI18Fnp2/JXRdH5xhHi/qFkCB
skLoau0M+5RI9VrjVweD2MUngdntMm8j7docODGjwnTJmnx0+TGJOl6DszDWhV2bw6qtk/BS2vHC
vwzTK8eJ9bOTUJLrDzjnDsFcWNg0VBnAiOBsR4R1tqqNqmbAJlqdP4dEzg4GxbG7xi3NQ8tpaS9J
WB5jx7ZBLWbcyLUe6ONGc9R4SUi8NP3ArDF/hKxrI4zuonuPxMSQ3ek7H0Zbfi0Y2zwIMuAu2yij
/j6YM6zHvnANP4+beWc1En6JdEPtVTc056lLSCePlcCGX5h14s+pZx3yyusvWGDsvdQ1Ma+bcGRK
zgxsvJRREReMbYRxYuDXbiO8vWRsQxgEnRu/TlGrfVI1DinI0kdtF4FnwrwNgxwtNrbWk02sTqbJ
fCXLCKiZwFe2YoRswgQ0xltldNlGFLW6UhjWrusQGUo1QOChIyJYmtO4cUQ5b7POSC+JdapFLGxO
vCf6CWSVe2DcFK0Fg7ocB5YzrK1oqQvIxLTlIFtuO8XEHWOwd3IzxgNgLAfyn6gzflk2OBoNyfWG
dblAgcnNXlbnnuHFC1XEzpXdB91BsIXzuRq8s3LngjxQ18kbWpBnLElphHrcehEEA6Ls14OhxAWx
k/rF84J6OqYNI/R9DDgHkJxSxW2CKF882ZYbPTLUqJqtghD5PWT+szOYNO51NU39OjLKNNj1rZHq
kAC9CGSZqPtHUyL4Bl4A2hixEPfqjFGKlLs5ypvBKTEXWWXKomLaVRzts7wtefSxzcdihI5ZbMRc
5vtBmPmpxyPtp4oZ3EpzNX2Ph6W5mLLWvUcwTc9xxImzyozOZ5McHio4HJeeQrhbGW1lQZIt3f6x
DKr+MEIx2IaxXNK1bRzdUhdTVVipWlGuPFtzlleR3QRDZN1ghuLBSEtpEJ4EkhIqbzwyh3AHkFv4
52G5ATRiCaOUAYcIfiNgkG6LWyhqnG7d4Uk7J3qFkxe6QrVnZSLBF4OfsAC7td+YLOfxhxSBY274
cBtcIF7YjisuEw+Grzn1DH7iQT52ZSOfWNVR0DVsNMB6OhbIoIHdpWvNqcNK89ZgDzz29WT5XWFU
gu1X3XyqOifoAIJpy3Anx/pqiwfQrOmZChP8vgzegZqFXiaegTkOh4ipwWXlLCiW0NWuB67QC+BJ
Fvi/PtwCMg0ZfCaV84Lg2cbgZgwNUSuegz2p4UK/Ab3X6OeqBj7rJYrL0Gn7XQBl5khpWW0il5D+
7ZMAp681M1PyUhXepSBSAurqCvt+Rp59iBaiEZQOGoYrNraY8yhsW/UaH3xfN9LX4lFT7IPT5gFf
EaSaZiyzZ09a4jy1SnuqgzndxEWOvhU27aYSsuEuR49e55Y9PdV5kZ8Y0QFOAy/BYMKp8nWeWbrf
c2ucpmYOom0nhPWiR673NKdFsDOsZlmS69Q+h8ok7eahY5YrkBfxDuP+VPmprdC+OjlTTemJ5N4A
qXJgGxEfpDSCQ5O3aHqaM3ZrhyA+FF8ovVQDWNdFwBjGY5gCwzgLbhtzaO4nKCmE1dqcRW6ysStA
JXwey1kdcotrw0+M3oV4aeI0AxEEgrqEVg7emrTjZSzKgakSACssCGG5VxUBLIh8gnro5am2YmMh
LnnEB+yWsXvfN50w2c5PsYPPzQITlyBPnywOXxfFNCaXadnNzCsluz3dqe9CYJ7f8ZNPB6euhm+B
ZrB3wylzrXEoeoNIXID6kDJbW7WBKzY2Sue+V5k3rOlQ5ZGSsTy8kUkhIWWJOdiovGH91DHq6r4F
2gJAFe6Tp8mtGctGnCovp7rv32RqmLdJZozkFw1XbO0iGZ6hvziA61glgF+m9XUUqCC/LnuyL36v
9RrA32ycdnig5MrUvOjKoRdp7SZjcfTMMN+m8dzsSRrN60E58w3eoeYkRnzTes1Ty5LL4fn/e+lq
aZz4uXR1aFT2+bebt/rt/fPPEtby7/4hYTH6/c3TbYBoumEbjET+S8IyDOM3dvPSdRzdkQb38H9J
WIbzGydoBw3LtXDkmEvjzh8SliF/sz2pM52hHUWQDnD//k9p7eYfSYzmy5//VnT5jYqLtvnPv/8w
z0kA2flCE9BYyxXzl+Yo6+QK0iRjcfFusycbEgT9WOtvZO4cTE6rkFVg/SURvvTwRoHfxE9g7f/l
bfvjZf3ry/g9r/w1N8LL+AocgAtpqsGZmmNS6hh84PkBjmcZ9/LiAggkewXObghlG82a2pMrsb9V
osEIPncfVWI+ZiK+CroEvFhvvAmHldXQINQ6DUfbOHfyLS6I+6ETo59E02PWTsof5ySFJJecTSdU
Z0NQYRjk+jHr4hfqPx6tMT7MeXIFCPQQZblgnlUP+yJrwn1ea3Izu6rdsG8OqTucP6UbHNA91skc
3lRTA8hbbcAH3Fd5d+XkqUOyJBpXhTtqACv1l0pDSLNp87LK0xik7cbEClJk+t1EtcRK9fzfNLTh
L6I/PwyOLu8ul96/5ovwm1GSUY390UuYhfWEVEDdY72LzXPgkp3wOBKVnrW2mX51mPXioDxNJR7E
wjmoxZghRtCqTbPrneHNBCPgV7I7lAYW946aef48DDDOIBZiKikG9E9y0etURPaqbE4ex9gNfs8Q
zHvf8Z/JTc0VYYpM2PeOQfK0d/rbqnIOf30x/TCFtvy6S372/e0cF+Fy5f8P7Lg6k0WvP07BcAPB
4gKcwLgiZHCFmKGvetETlWYIAWTB7mDZUA8QQztCqmpXsq32DE23cRneJUtRkGe+dwAPdzNjoRVA
5GdLgfZBOpDHMPrHzdCF1fyLjwoB+r+nSpfX/iVfnUKTIsGkY76jO8iLjaOVDNf0Lu5wo55jENtM
kB4xyLz0tv5op63v5dE6pX2pdJrMJyC+mL+rbA0lB7C/Z5w8q/E9R52B4awQIn6RBf29JfVHN+yX
yFpUlLj3HAjAXUfaHE4dAZtt0EVnpkqcf8fwvZZcPK66z6zkbq6b3g+iUF+2UH6typNSxrDS7F91
hv1oMLO8bV9yZ21pDGMLdPXY5+WqYxIuOYxx7PrFFfWzT+XL3AdYlw0bGoVBTOWpyqpT03K8qOy5
JXVhgt91itaPdBsYgDB2PIdZ1aM4YE6d34V5w/lHj66DsMWJRGYgpHfBklSSOln8gjXzzjCbvUqc
z79+tctd/aOPZvkl/uXyn2isgeal6qM0PkfMXyL89PIaIgK4XeJO6Gm/eFt+iCNY3vUvmULJ0zDO
4646Gmo4mKSq7CrnLQp3veky25UXg06OhdOqJ38F7vjpDfJlwQq4yYsxI1ZO2v9OTO5FQuKa3Shn
sWag5jim2KieRu0hDREjpwRsiAQYa5/JM7A5rVv6aWO8BthW21UW6s9J1ZHKqPtvnmJSn8Mv8aXj
5r+Idv7sYfSVWWHLSbODyS2P7dC/lL8bzWKv5AHSIeTL8K2P671q1T2Wvwf2n6PvCooVzAhmMERR
n/Vmwy6uXbfkfpDFSUhJrAX2xTDG78xNz8NUoqYtqlBpaJsm139Rqfh7rfoPLqOv0IvZbaohElZ1
dMpqG0p1lYqFZQh32bLv6yi8ntN5O+vHyux2gU2cgwqeuG+PHSJCJ7Xr2q32tEn5Y1K9aIhaeBhg
vAwb9Na90Me3TnF8q+PTJJM76Br6Ly7KZST4o8v/KyOjKLSMDmGvQo+2NgWWd5pQTPc0txTXzWnc
X3kDKL9wGqk3GTvIQwM9Dzbe6TZAw8y6ge53I7Rp1XXJHEJDdJ2mw8AMnZ3KzJUMiHkUQW5hGM1g
Imawws3gAbfioxUYD5OyXj2jU6shzXZdE7/pDWCS0KvPRaS/ISipNamPCzfn5DwU/UNJfc1f3/Y/
7IflbvyK5giqtGXEYpRHAJS+XcQXFMMec9v77CUD66K7SutnPs8LOVtbUbeY9OxtkRW/6rn+2R7u
K4OjcNua4Issj/Ta6z4NPbnP0xjmo9FENyWbDg+/7Lq0MBLXSj+nlnjHYdD6cecw3/KsemcLOgPc
KVxnk+Se7j6wleMtkUaHjx5csMiNjvxLzedErXO+Luf2lghNuI3N9sIBMmeV9UWe9RdCKzBTFxH4
z8ilYNutPLyXJhT1Id3hcIKcar7NZD3YxsFMr3LcX4Y2N2ukcaooGrpaWLIybO/6WSEvAjqoX2VA
cXYlgxusKGJlKe2qL9qHNHOeIit9yeLi5LpqLzJ1ykNrX0bhZhzseltF4uWvP2Fzecb96Jb8sso5
ejO4dm92R31hRDRhdd/0olpTfsiiZ+mINTSZbK2aDiqta4moDYW5Afgdrlmq063LRsUnq/fmgfFd
x6UAuhaEEBrb9lizfq7qkY3zX79W8aPw/HI1flkyGbyGVc/s+qhbw6nNz2N/hVh/I6zsQuXddTql
G8+uT2ZeAWjRoo2Jt7TjfErkC3QL+xqCyxY0XNIgKpq/15N8d+b2TFb7QhUYPPBKK1f3CSTva/DV
mQj5TYNjYhIQyNNdql4n2z5U6Gv+5NTn1HYuGLzfBHmx0czbzD517F75hrIki+1sMVL7cZRt/vq3
/+knZf55DQ7mKWPG0LMGa57YWbCt7ghchZuWoMXBcGvHD1ySWEonJ6fob+J61Nfa7O0W99NbDLB3
L5IZPiro2U3DrGRtVW6+Mcye4gEB17qZCHf+4sX+iGSyfFRflnFtclFSWGOOSZ5KE+fcFB5IJU2X
TaqcxzADMK2We063OofhOqeskEIlXGPhGQtw3qwiGcU3bpx0d0Puav5MO/Sl1zMlYITY4lOw8i1q
Ktzu5hdbHHt5H390J3zZBUxkXWJNeuqIjtuuZ0HkiEIxe48L0gDSCZrcikpm3uye6bdTw7rPC3dl
dzJd5WF1Sub4zAjiWs7zG/yUcFVKttJlBuZyJHdLwC0g2kz+1sdr326yzMm2RH31FbYyzjQOeegq
BRXWGPFL54U3LQRQn+y5YHibpnvLrMxVpYEgySL+osL+zLgYymrZtpCWp+QsA/aBy0aSVk21jlIU
mil7cevoJh6MXck48TIQEZdvCECr2Nj0dmgMzHUcpragz4sky6bul32+Xoy7pref2rRli+1Qm0YY
tIWtnw1AF1xr+4uL5CfPnq/QHaNK7Y4TbXnEvspbVXK8aJoBeXXIaT9CVQz9ED+jH9IVtWmJjlFH
0ZSggYm1KQYdG5qentKpfoyFfByWitYZBbQPU/sA3T1aT/Qkr//6tRrLQe8HV8dXNA8wdLoekjI7
pqn7BBX6tR153wEsPIpavikzunE8m4J25yk3o2uchO0uUzWPRJto7lxgFqnM+KbBZTEl8fkXL+on
D8SvbBSLZ2s0OgUSR2XE18aUELSMe7O9CygsjzR7eJQmmHyznOQmMkj/xEkx7LNKW6z6kbPjmSIX
NVbSKRTM8a7ugvAXt9NP37Avp06znxx8jHrJkXYeuM8rbyWthrRGhrmW7dN4wK4EfsC+hvLETN5r
yf7YUt84Oae9MRvFdYSxZathSUJb0JVfchH+YikxfvJ8EvLPD1ODAh637Iz+WIgUmgUD2dLBJR2C
du6e615tbO7yrhBbq4XAYES3v/jEfnYZfVluc7AHhpkxiQhiKjIY/Oj5oonF7kUUuLha9F3jwdiQ
zjolRBkkwUPTBGB4Ie1ZhXRXozdezBZLGmU3v3hJP9ncii+rKh++HCrDGI9O3z9YSQb/qe2nlUrH
m4Boy4pGd6iRafHJQPai4EnBzO1OoAX4iaBtzWq1ZEN4lmIcWve0OnmzXe0XBe8/7GxmGfnKh+L6
1MtOG7tjF+GBQtMJXwM2y/RfGLhFe9Xg5K2MFWUT2zjuL1KkshahLeVoXNMs5feGxcDL7cvt1Hfx
kf3kcNuGdrzGg3OWvbWZ7eTFcTjfgeIghND+oov3Z4u1+LL+BYSVHK91O1y3/YMEprFpErwGLVHg
ss5fjLR9HULWBzGJoxDtm0SIZC3BN4sh6iq3yf/F+LhF51hbWr4Zzo7cBsWIuEQA5Vf36EI3+9FD
7cuSB+FijrRBdkfTAIvh6cmlUZGfjfXiw6o6okQqvCZB/VBmMyhYRe8Vi52D4XAlcl5dZcn72WW5
qgLsSGzGumGtlWa7+/3K/L9tW72M38k/q+/tf/zJqPq//vxHFOw/fvDiFv3THxZAUDvddp/1dP5s
APn8U+xevvL/9C//9vn7d7mfys///Pu76op2+W4o3sWffahiIbL+tfz/9reP+G8XXfFG7qL+wb/+
Ywgg7N+kB3mHCBNRK7m4VYfPpl0Eefmb5Xm6ZaIo4nMVPGz+8LEK8Zs0HAv3K3/vmOaiCf4xBBDW
b/DVDYPbjYSV8P49Hyu49D9dWw7DCTx3xLmFzjDCxA735ydtpVybSFJSP8g+ORN90z353JqFS9DW
MegHy96hS3zTyFcA2COTLsCaTpwtQH8WNJBBUdjp0W3mmnRlJt5dEwU21ZYTiaCuOBZBezSmXu1N
Cbgdat8mg/3BrHy6axnab8OECVjmvfJj9HUPHGVmzl1oFAqkM4cEr9epeKhOZpMfGFxmiE1gVvBu
YqAda18zqkPHeI24bkeolXnFYEzveR5Ou6lpHwwYNPhmGo7frbPNmqIkhAlc3yIGFk7hqbC7W3Bo
/qzZuZ8Vqcdrfk2DOluHjbid3ATbj5G+Lf8r7eJigDK/SqyGYAOPNGj3M+gfzyM4eZX3fG1uEy0a
OwQclL+1mz0VTFd3mCQX7ABj/oCmRUzCPZI4RrzEkry51TlO1H3hfYDIjf1ZRRdzU1VrvXwyPHur
p95bASkkLF6rBodZ59YXWmSrY893oc0z2ztu9s2YrFt3fgkx8Yx9tPWgeeRzDAUfopHLSNgL2ANF
VU8sON9CHHup5vkbY1G/Sas7TPwnTXcJjIFw2XQRhLlxRi/X1Kszmx5af3bJuY4XHYiPeqmzwGaC
dlJSH9K44hbIPJvCSqBH5S2GxvS7SaFlN1LtgmVuDfMZFxOmQi2v1DqW6TdB36GPoLJqWKVCp78c
S0y+DjZSGBXxNTa1C+wnjd81yTdYUWsjHt74Yd/i3MBOW1KAUsLWrR0G/XZPmYGzL5pbgzzqxhSl
2Olt5mOTTPApDTg6aVg41Ba6ABm7KO6NPQQf0rr0bflOlnzPIv2xTDaRW9/YE1t3XVAAKfpHNatv
oYnXih7nJ5OKGmQ4rr6qpwgKloPYRi4hEY8IV1pxrdkjWserTpQcz3LB2dJ9Tc0IE1PIBjR/x2vk
G/VzwqPo979verlxm/AwTPVdMWG8Q6fawOcYV1FrfoT9eXrs2IAxNdbeF0rBGrTRuc8MLiiqCNvZ
XXmNuyda8oFNgSTpipKpxzwU2cqN7PuuiD80m2a9ps5eNRN/V0Gp4koOibadzOaK6JnO8TLEdixx
yrbDh7SzeYsDlW16MNODZtl+WR1UN7abvtYmtvcuA2aiiQubA06YDeEk/dC57ESVI5r1sQ8vC+tj
edPNGgpQqOiBmB7N8VzWvQcKKvkeCO3IScBaSU3esaf0SKaseWKiuUzPua5uUg8cQ04I1iy6LUMp
ijuyaD+Y4huJK7m2qUvY9+FO1XwyhHRnyzgFmZnsy8elAg/5wOrplXauB076cceefrSaS8+TkE2d
kKBgiavRLDGh1pCxOFYpXPoibHay4UWY9JVtnEk/aOBD+D39NnQYx0hnvOC888qMNNnZxTDt9cq6
GA2v29AVHRFsJTs5d8/lINkCdu569qx9KOMDloltadhgRUJvq5wGo3MYrUN8zetyLF6bgA9eUbvt
6GzoiruGNyipmudCz29iMV3hGNtQO7eBlDesgyA7dSpiN2fm36w5P5MQXZV58ERS6UMIxnexsOjU
dsxD1iwdmeaIGZ8XV1QU+DIvxe3BgzOLvxGOvACmSQypvCNb/aJFsCTGeWVM7QOcjNu2SD9MJe8N
x7jFZ/0x67dKLZ3lmLu3qVvdpDUQzhKvoYVfHX5/t53q4UBL6Z3Sc1ikpsS/T0Vsoygr0op5woOI
8p7QTZxBgnPqIPPzGp5GYsbqqG+DFL9LSiMukdiVWct9O2rEwMLijvMyfL584ybmwaHbS07G7UQ2
N7Q45ffdtdHz/UStb9y4+C4ZdSLzgjYidbbDUtWvVEM5udSSb1asn4RFz7bDfRKAzPTZ59HmnJMl
HPNrt0EgpgJ4DY5c7R2blqS5P8cVm+xMUa8xMj32uuC5y3mlgUoXwSbZRWXCA7FeYzBXvtcOiq61
IvGd2mPqM4k7GzFra5No36R2fjNWyWn2eKiOcrn+aeVZaUkfkR7G553RQRaLFtJ8vkZF5yyd1Tx+
eCOrfsh3LzwR1CouilvCqhkhTkYDucMjFzDIqaZlSaV9wirlUuDX2O06PxGq/waV6iPxsDSZOtiJ
xmquNW6qIqqeg7G4SXnoDeHwOEuKQgWQkcIv9aDZBU3yOnoxjTCZe6hauqgdIi08wdRVZ50pS5wI
evkZF6gfaPH3wBW0dsgD5IqTgbINd5hURXLYlFaYXM8a1YfsG6y07imGXwlB8iuui3PGw2hHVM9b
RefOzZo1QAtJYLDhxdKUrWvzY8bYPHMmby0AOlDIRGxidHZ8bDrQDj4CaBQc6uHbSHNe6U30AcXo
kmDkDawJPzWItbU2C2TPJ+Bn1Jry9CcB3fD0FVUA54TOJwyhwHs2jRfl/pC0xc6gXxR/3ktht4+s
DEs8rn5O3fCbjqr4v5m7siU5dWX7Q5sTAoSA16qiqud2t+1ue78oPDIPEiCGr7+L3vdGlLVbRRye
bvitoi2hVGZqWrlW/ikgqjj4nDzBUvHBybssssv0SjYweM6g3u5ipXLx32iO/UFO8S4CbixMb0cO
svS/1qjHRS03KIOAsn6p08BCUXeN95vJEze04a+dVUFLbyzLU0CkjTqS7hYKnLhB6T97xQLDCgCj
BnI0wMYIIssO4M+5W48HKpGtCqnKQ+F7ByAy3WuSfmpqnENUKnAdfIX6jDtUkLaHyYFUD3IxtAwd
xBskkhng3irGdM43qPEbDvHk/wD4MNvlnleBPXu4s1DKsGM0t7GUst8e7f95afqvjg7Gc8EfRW/G
v/rjMPH/5PQQ4qBmPjt8+JanbfftzwPH8l/+OTD4/n8CbPzBbRBgT+68lbf9c2Bg5D+BHzBs1Ake
XgEnwl79/wrf/P8Q0DpABTkIoBntLeVq/1f45v4Hf+9gK+oFdNnq0/8GNbRcvPzrKEqct4uasxdm
G+JKOai9WaRSZJwQbzKxAMi4Zt0KhGO5YXmvA/2sC9m8MefowLbKlz6vb+qZrsjCGJomy/H67Nu7
2qV5FpZeVKQDrrpiuQATZ/bPMRheGP+qP/zziedAJoNlAMr6o/UcdJtD3dcMyzXEbGh4m7riIXDm
lebfvUOEpPtyU3X28dMUgPhOxSzy5BW44QDm6w9cTHep8I9nXvhfDEC7CUSdc5uDGcyLJAGZXtNE
oNz51g79SvMm62tXeTG1cDwYS2h7zsB5o4TLO6Aku1y5KTRZf+n1zDyuaq2BOnAbgKsLMOLX18JR
n4MaD/+XrbPY+R2/JNr1m9t4Pg6w3FuUZm7BIfCap/ltJTCcDlxVuZ3uL/fz53n8Hx7tAPPs/DkQ
0FfYkAHFLIwUIvaFtS+r4YuaOywIKJRZlD4qVawEhGlM2pnfd2QvAHACY4kd2jc1DiF4RsRbXKEO
xCk9bOl6KEdfHtf7V7kYmBbYbZwwBe4mL2olyjEKcVWMONk6x67GyfKhre/7LDjm49G3nJWQed/j
7FCL93rAQ27ZoMd4UIBdyPG+pGIlTb0PgCH2233KmcMVEmq0s7M8bjjFqaPW9Rg2JwoW057mV2NZ
fRS8u/I8eS1l9+uyCU3j0VIAz/qRS15jPHb1M8MLUlqKD9ua1mI/L0BnbS+psXPHg1fSaGj5ysX1
+5EJjOufDj3ThoFQIfOiieKmFwUy0wm3qMP1bMfxShcmw2jBn7iJlYEw1Ytwr3WddP5VPbAVtzU1
rYU9njPB4kESAAn87r4p1GsT/++9qXHBMDWtRbpSID+OUbAHggMyXEMXK98Hc5yv5BFT61pssykT
vCCgucOTMaq6gmPvbltH7WXLcp5r5wE41npJG9kkjgHCNSfD1WU/XPzt31nWXur2z5u2eZ8SYDO8
qB9sINkDHLBi32p/Nw0AdqhydlcgTgbrLFjt835Az6pIk6GfNpu+llWIakwabRuCFqUOK/uJo6wv
EnGPummwnCMb7CDUd/SLbtNaagdauKIqufLGHscZkYXOiaPyEKLAKAK6PAKTcbSIBb8sQ71gi/o+
Pj7bGY1kKb9cbtpenPu9CV76PEubUCCbhTuNII0esLxZr1adRdx9ci0BOsoX2QaHURzzqj34xLoN
QOR6uV/TkLQwLmgOTesU3P2p8G5p4T0oCMJfbtqQ3wItjMuZ9RY2lDjko5YHZVnAknfAjg/hz8vt
mz5dC+TJLUNVk4GCOi1OdoFSJ8/tv21rW4tkh7BEMHDiRAR38nsvmyFJW64Bhd/fydi+Fsstaqcb
XBlPYIMRVxNAYA70UMO6vxKoxYP3PmFLcLg8DkPaWNhDzr2qpKM9hxnmAPrkDyguBGAR9Ysjexai
X1khDdOs63vamUubMJdjNDsTAy30NO5RB168FmMRbItqX4tqJifwFzVQChrc4Efh0Y8Ahq6skEvy
eSfsfC2kJbiGUNIL0RQH/FSosbePGbwV70pP/pgdB0k+XZ4Ig7P6y+9n4Y3idhAiqHqMeA+y7dYB
SmhcmePFbd4bghbCOR+hJxc24MYAtUIOztIxQNkbmP9sD7LIgO2VmTr6axn2fUglsX0trFHPPgsZ
g5zAcaxPvcR7antyQG+g8GqEMjrXnh/wpLhjuI2C+MIoGaqR421rty4pmsUSPOONnCLISH2pWHGL
S6Zo2wRpER8HYVwEi4/lAMseQirGPQM4f2XlMMShXsvDFwE+Dj+OGAtAFLvongyo1wQ5L8h31d+X
h2DwZb2kxYV4epAL+NicW6iDrKPK+wIGREhJOjuApVaC0ZC99EqS2MoVxX00qGzt6aru/ZssdcAM
k/5t8TIqUV6N2rt8JbcYokav/MhyrwLdaAdK4qb7UoKzCHfa6Qo2w9S2FvmFmBMQHCx5a0KtPOHh
9ZxCnufyVJjme+n0LNwTEONURGBZVcpHlbh3y3iNxzgWMbLir44h7Jfn+PMu4EOKJ7JCF0DejW2C
+1XnyqvwFIkK1W94q8aL3FcFigHvCwGl5YSkUCUAbMTypsaJrATnIQVXXUnw8MnrW/ADvf2NGDxc
Z6OQLfFuAjwHuU56GLtnoC93WSFXsq7J9loOERBypwEIISJQLn/ysBzNyZpulOn8+QbFPjP9mOE9
yY9L7Ggc67NPfnveXQCy5Nx7cXBTnR8L5HckpsvzbJoELWtQAFq6ti2QDIN4z/FMXtffocK7q0Hv
wifoFgBqv556DV6l100kqGIjvZNDaMl6DYl13Um1lzN4Gyz1NneWgMpTdg9pATzzRswRB7wzA6l5
LaqjA7Ksy2M2TJ5eBBHnXmPZKQxcAngc+eB0KYq6XMkupsa1QwK21zTwQhA99dL/DWZ7G08EYNvZ
9uWLXc9cY+jAfRG76Ri5jgIGP66+iWp62ta2lk4SRySDIJibkapPQLOcBmY9X27aXtp4Z4X3tGwS
9sQFV3b2z7wD99zx71h0QZ35NvPLHMPHaqiRd0DYTRMEKkFJ0j1Z9sfLH2Dwch23DoqK1k8oJPIK
ioIc6N3sXLc62uHw5Fn5cUBRqdOpiNnTSlSZ/FxLD+AHazoPZzmIqEzPIBj5JMMU4gzyGq+EKwA3
k59phwdZoG4F0AFoVDEZHvNYJjfDDPWyywYzta6lBR/QjizgCJEuISFu2XAMnawq3bYq6rBjP88s
t8nEHIH6pAFjvUDxbIjXtsvfbphsHSicsdEug9YbI6+DRvKUQlKR7Af5xXKByvDEHp63mtEME63j
fzvX7iHR4HkRyJeOA0S4SDM+E+wtpGut3a8a5uKtGOMs6IHyEETOsJY7Ar/uVvcgjf102VSmprWY
t5wMuZ6A1R+gj2fwFn8v7WHbPcwCfTtPVU0wtp3dATY+JMnJ9uKjBFHetq/WNg4MPOV9bOGrY6cB
pUrTfx623oDpeNd4dGIfdBXQNuwbK6I5aoyVZ/26/OGGnaeOSc2JnFheyxkHWGgGdQKacS/LUWM5
sUFmIWqyla2hyS218OVA1jjKcbFODMVPNsUPKJYCB9pwmoVYSXEG19FZMhMSgFxgnHHBUNZf52y+
soHUumwmU9OL+c4cfpqzkYQzxxKadR/arHpN5rXz17ti9gEBN8KfbRcEjPzVjMTGLPsmdr/XnALs
5D9MEGdcYBDlvTvcD+ByRslV9nFgADZ4d/6srrr6J3ZggMOsDNKwJLraUu7OLrQXQPQZzen0MQbw
FxV1BzB4RdtsqEW2n0Bjwm8sQKrBQkQr9rGlzfFy00YbaqFNy4YFSElOlKLCDhDWY62gAomiPsqH
aG6LG9ktJiTFC7buKC3al9hMTvgdVOj3IFtaTErneduR2tWygQKZOfcUsoEQzo1y+XMcsm2JxtWW
8WTG65n0gEv3ZvWK48oNlCFWvtoQoW8C1Gc+jmLKYAgJSpqa2P3WwrOszPqeDFAjoHm4ss81uZiW
BViK61g/ZVgIAZmbObuBRgBKHRL6+bIjGOL07WB3Ngag4ilENRon8prxdgzIE7hGt60eC6/KHykg
lU1KADKO/Bjbfmw9IJ7kg1x+24drSSCrY0Gb0ZmiqU4hneNcWXG3stU12NzRwpp1QQqoHJq2K+dL
SkfApdUnVYYrWcNkci2s0wTlto6H0ANXe7lnuI72g/71slVMn770eTadirQoQ5tAAFen0w+Qt32t
C/+Lr9qfl5s3eLyjxWkYQqRzzPGyIXn/5OaQOWR4ELDt5GvAuuhyHybzaAFbEJtWDq+dyBEOMGLt
TQlM7OWmF9945wjjaPttFuSgUmTzFJGscL+niu8raYNsDFXOSAoeDdaiyjQNWtQ6cios4CunyFLl
Cy0YYF0oya/X7u4N43jTJT+bZd45OZlx0x0R3Fg0XfBxmJ8HiNc5BEpW4emysQzz8LZynHXiEzCq
+xDaiuKke85HEGvV4ZdtTS/jOms6Zj3E6AJcFrtJcVeE9gfQRqw0bTg4vNGinDWd0XRqAfrHKREa
S95UfLPKCvsyACcJZCm7Kyrmq6asry8PxBAPb2fls94kRC7aBDyNUZo14wFco+M1qA5TSMIK9xpg
7molJkyj0sIaXBMqKHyJVArS7r3Vl9PJBbgZ7I2yvW+CtttDuyLcj87wt10I77BtdFq0jxMYZwHL
xv6D2T8CBaoG8Ap3jnsCV8zKE5fJgFqw09Ibmm45BnggnUiD8MhZG5Vc/Ogd/uPyKAyxqGPiRhr6
Iwvx1B7EwPN6uC/aZXjHr3BTcbmDZT17J6u83QGeOUGL0j1SI9+CKBWszu4xIOWuToHUXchEFnBr
u+IFhpHoCDkXdBYM8g94siv43aTAARkG7aGDc28aiI6RGwoGeswwwZ69+NhPX0Yw90FnDah9PBaM
9mfRrPRjyCw6WA5bjpb7LjSAqty3P8QJnT+TAlygl0dhan1xtbPpgABNRSCJOkVg10RVUZwU4yPE
vGi+8vVLknpnuskyO2ftTw3It7oA7+8gWvxQDFBu7rK7zmHXU6+gbpquJDLTZGshD1mcEvX9eHVw
SHfK7OC4bImhNLPitKbmtdiuEo/YYGicIlRTogYRGvP3QQZ+tBa879tOlzpWDsxwqGeYIAKY1PlH
SbtnEJDnK9ti0yRrK7nv56MN/l4ssLzkt+EAeYayalaesEyNa6s3NNpp3BR4GCgScJgmMfgRusne
9OXgaP7TfaAD0Fo8xGGKJMDtg/7483JwvOz6hmcHosPe2ixwp2KCb1K/fpDgCHW6l7K+yYpgR+Tj
LI7e3H9bvTh734fIwoF4HgkoA6nqCQzSkZuPv6Q9HIlffx2gdLjio+9HGgn1SM6cwg88jKYNVAVM
/u+2fI3xIB4U8iceEy7b7P0VCHWTfw6i6/sa+hLpHIFr5oWE8U2WoxgKusWiBbfg5T7ed6gF2/2H
oRIr7FQCeWxsaVNIOiYhGKZt6FFta10L5WyhZ1Qe0qkXiFsS9E+5u7bRNBnH0T68cSU2srjaz9r6
hjvViyWthySGKCJRh8tfb3IiLZIhg9nVoPMFrIJMV0EmUURG9hSUhtua12J5IJmYSh8+6pBmL8Ie
4hkoQXOnlcXGYCAdEYdSJsBmIEQVzVD9BaX7dO+lcpFpjg8dHa8uj8HUybLxOFtxutwdRhcIi0j2
AOWCxD8eyhewIkFluY4ud2Hw0EAL5bhIvKKC0FMkWPZ9ecsJc7EJgQVRsT+/HvDSIA0Fvr5qATKq
1dWIiS4Ca2ULbvpyLX7tvJpqaOfhDaUnX1PXugJOZ+OXa2HLmBp9qFBj/0vnY1hlx8bj+z4Lj9ts
rsVtzVtUI07Q/PEtF9VCqXur/GLl001W0QLXkjUQw6mH5R10TK1KPkJg6PPlzzZk5aW85dwbedna
lNhwkboryz3kb+5BoYr7wBEKAM00JVexZa945TKH/95qkUAL3nqy/K4JQzzyetbJyXxwWaorYcXb
mtchcGD3HkOZIPUPdGwehIcy5DalVykq1VZSsyFydeRbMruZTQEMj7Kc3cBsnxtcVYPQ9gl3r6+X
p8Mw0zryDWcbSyQQXImWmSCyuuW1XLGPqWktcscE7/xCQhM0cMFBBkmc67CjK4nT1PYy5Wc5Lcgg
n9cJOCjKch+6tL0Nmbdi9PdJcwiUV87bdv5qcggvy265M4WINW9AGuVFf4EUEcLtYDgA+K17jud2
pGAx5hzFngKCWTuI7Vhgr6POcAvSDlS790Gc9cdYWpBOFngEkxBgyeMHCfcoV554DP6tI8maBncs
FoWBVWJ9oA6/LciV1auV1k27QZ1C2uGKScA8ocJc/JbsG5g4byFUe5pA4TDhkQIv89gRNsG8LRPr
8LIpaaqmcEsVzeH3RrCnbs4/bfJxHVOGytlqwjGliQbR3Q2KHn3wMGxrWlv4CnBH97n9Jkqb3zXC
xT04e7nctGF2ddyYpSDBxEfcf5PEegks9yd2f2BD84ePl9s3hBDTQijxO2LV7dxE3G8Bo+IoIEeR
21rBnKn1P4LI/gskeTGYy2AYQcryCE3zAwnybbU/4FE/j1D7r9KpGgcSWXM0puApU8GhgED8Jqvo
yFDgXxrRESQWUHjLH0OsUFpc02D6Xy59Y12IYVZ1Tr7Yp6MCC60HxNv00DvY8PUQ80qDbZPqaUue
AA8ouNHACBVbFqhZS3ADCyDmVlKjYT3S4XpOwYnNSwQSuF/5c1ir1wD4ihw0i2Uhw03nfihd/Tm5
rc9FDaB0syingq4EcorOxwIMhtbp8gwbZkDH1kFRPq1aR0DClFS/i6GejjHIPRYq4/hwuQeT72uT
UIdZCxpxCcE2kRdQgLb20Iv8tKltHT43gSzOdnJ8vXLpEQo6L1Um/r7ctGF2dUzcDImYdBTg9ptD
cLg35JRnP8fmVyPbtQy/GOCdDZlO4VtacQq+wRCkF3hNdybnMFo/AW3Mg4/LG3yYgnoHh8OgtvaA
fmK9PfIkhMKLC2FKN7zBXTnUjqtnidNR7PfXEAhksbzuuvs0saHWbu1DkHkVtjwqz/0UQiYZVApR
Vd/gaVVw+2fHwfKbQpIplMvFBiSRgQadb4EFi5Lww2UbGqb+X1y90rNqmBBVNRW0wwe8feDl21kj
azQtyToVr4AmcgdWDxoRLk4+ENKo0QrbE4otswAkmeNRoKbKtdqV1c0QKjpmD3seMIHjkj2CBNod
IPrfUIF+rWj9+7KxTA6npfEpbrygCnLIjIJjaeeK+MGrAP8vg/pYjN6KV5tmREsnlIC9p5MVuBeh
Irbr0vleemvvNwb7/AvEVkIJCXpfHmC6eQSN4oO1MDR7w/GyfUzNawf3OuWzn/WgjQwT9UH1Hbg6
1K3Tr91EGyyjA9fs1vdHylHTnoQ9uF7j8BcH7WN0+dtNjS9zfrZBz1DKCjpcfDvp42sWNlfM9VY2
pga30WkjJbfb3M1RDd662Xcxfx7tBApZWbmHnFJwuPz5hoJmomPXaCG6vlQNCMVV3u7m9HOKddoZ
fOQX9bnn4wOUBb9Dv6fw+X4Eeczlbk0zrkVEPoMEpbEy0Ax49iNU8CBVl3waqnBlc2OynBYLSjhZ
MzSAKjqFc1/myY6k7YHifGKtAYNMPWin+zRlirgpfKrp2MciTX+Dg+ngwmy422pWdiGL+7+zilBt
eaWzz5yyRXknrlvBK75oU2ZB1KfVQ4B9vVs1973XZSsp0ODHOsYNkvV5zLiPzmLy0PLxlKUbw/uN
6P4sRAYkcw+HR7iYl9q3ULoFZdXM6yMJhfh52Z8M06FD3TDfRFHo+0UjVy/WTK4Zt65mp3gQZC3Q
TV0sv5+NIlHe5HjM8SLf51/72Tn4tdz7DTi45vDp8igMUeEuv591gUK8ZpwAgwCpe35oCmimTOK2
EP62VOUuU3/W/AASwKzNBhb1EIgFG1r+1BXOxvcaHZoW52PRK5BmQQa3vbelVJBZWMPUm+yihXNC
PFRt9PhwqKIeeA3K8dxnjylIplcizeT8WjT7KWjzZ2gGRtPY75lfPYAlbNtGydWCuOtBsQc+MrAQ
D/Udn60o99cYmQ1m0TFpiZVzBslTL+KZ5e1acG7spj65iwlkpi47pCED6dC0Li4KKLXCLu0NKC3x
bs8z74MDmYG6fHZkuc3t3wQ8zvySNf00UXfwcFPKi51z31n7UYGY+/IYTFbS4hYi3E4+KFgpmBoQ
hKkE4qJTOt2opGy2rWbO0vXZAPjQBgn0LME5AybpnQXZrDh2T0p0n7YNQQvcwLYqNeagAIFQ9r1X
5Df57B9C+NK25rXFmKBQty5LxaKyr08jqE9zFlyROV9ZjE1bDEcLXytFFTxKBBBdeXMdSkvunInL
E2q2f5WT/ffsDw8FgiIn9sGzWYjK9jpZ6dtwCa8j2eI46btsCZGJdkdvJAUKC7KvfcW+u4w/VPm4
JhexPEu/s1Y7WpiPlu23UFhdiiNeoAiOg4pdc7B4vI7zV9d6sTuQGF6eLcOQdFCbjWKStCskbj5o
D7pXCBjsZQrOTchV5HsJeuc96BTWrv0Mi54ObvOCjgzh4nm9NcyfBi6rR8hGNxE0fL8REm8DqaJO
+c8Awqo6Es8CDU1ZWs+F70e5VW6qXoR04Z9N2yOgOghQFkFB+xGFtXveNVeXZ8KwauiotlaQGjvz
nkUUu0zlxBGAkYdtTWsRT/BgmgYzJrkv5/pqhrQixB2sNRcyzaoW8PXodE47J2Anm5P9ct5KxvIZ
PH6nfCpWbGPqQot5bwomrmTKojfIgK9OClcUKagMwWBUr2lTGVK7DlmzlwJqXmG/xOL484haxH2A
Cgo5pfbKptjUgRbVqvZHkM5iGioGzT8IQVt47simH1NqhT8uz7ShCx2sltRgC0komLLqrlGHebLK
e9q1fN9S3AZd7sLgpzperantEcXxmAs7m7wjx+XmIyjpvO/bWtdil/eKDr0NZ4JYebUn5V3p1dM2
+xMtePk0JmMLNv4or/kP6s+PY5rclMO2cgqiQ9Qap6rqNMYpFNqd424geQVCF0+thIDJ7FoMj9Ty
iUyQOxOXpvYhgzRws8fDaXy8bHiT52hRLBoq8PkoUw9RwNrE2WEEvwMIQ0+Xmzd9vhbBDDzBWGZg
e6w1kAWXsdoPbFrT7DF9vLbjdpwayOwGPglREbavMtofhBRQkpv4GneUqQsteJsKPXQ29D8g7HGX
BNOj4OSmxCPzf28fENvrALW8jP1Jeovfu4l4DNuCfO7yIfm4rfXgz2UrQ4FiWORwzdkdftS5dR0U
7oYVcflwLWAzCzSyXQUORsid1aDAdcad19TZyvbkPbdZWtdC1h8bP6YQWo88kDthsc373cDmr5et
8t4ua2l8meqzjbasC9WNNabUTaE+2UzdDV7zPk0suJ5x8PHY9JwO5DmrKr4yye/50NKhFsOWrBwf
Ok04YkFCps7Km8DvT5bbHy6Px2QsLYSLIbWGN4ka0HOkWLw6cvR71a98vKl1LYKHMZZt2OBWmzGA
xunsAJ4M9uJtn64FMC1mnlfxcmcb0/gg8viXF1obnV+L3GxkycxG3CXwSd3aYMHkU7VyIDBMqA5E
Syyv/8eD+rA8Wtx/DnrnVLp8w1EW/qIzshVjGFvcwZdL1d3bVkPBDiZ+McmdbWbXAWgidqFeXKC6
2+vm6zAFubS9+kzxrmLm8vVa7HrWVJaAzuOc6Y73cho+1tTa8Z6cVCOecOjYhSJ44hA1gU8tQZfa
CoTrNQRxgbfGCet+UORX3gjccZDrxik/IBBPnUTyqinClY/pDttOf+cVXXPoMgqtsHbtpGJw9mCZ
8LPUMDoiZgFwK1FLK+g65H53E8pObljLF8ssvZ61HoQjA2858DF5z0HLJa5HDP9yIJk8UssBichx
UTajaez4ThzUmyytT1mpVrDOJrtoScD2gbtMfdjFa8m9YsWrz5u1FdbUtpYDCG3yCpKHSMdTlt9h
Z8z3kG5aI3lavE4/Ui8217JAAjIhyBbDMLgNvW6DCsjj8Aqu/ytL/TU+XIPxdWhbFXulh0I3WKcG
63vi0fwwhngHAWI7Xplfg5F0bNsI1tXBHTABDYjs43yQUTok+Ta/1FFtA02COu3QeBJ0h7Rzb4O8
XknCJtNoyaBJ+zgGDzfFG0rqQjSXBQU0ckkBElqHJ3jv3eT+OqcbVGwFd1p0A85eCEXQGhB8Oxv2
douqhctdLBubdxzpT5yb/VddZxB/dOCmXSl/Mmt4pAKCrRktih1hw6/Y8T5c7shkMi2U45BCbKFF
ciZcVc9T8sPP2KGRjG5sX4vlwm/wysExELsvoliwawZpE/jXyu7K5KlaOFPKrTJWuIcdVD7s3Gl4
gOTht22m0YJZxjafOjtGlmP5/Zw4B9GrU+IG29ZdHVMH/aGyGRk+PRTO0WtnCqWOBNoAIljBYRp8
SIfWiRrw2qnCTbhlVRDlYezRm9prX6WHTkloFRThtnytM7ZltuigwYE5niv3tubWB1aEa8R2pkFo
IU0cCikkalGsYsPdEPrX1CZHReK3tb4M18jaDGGgA+5mqGKQjmAITSpuIRpy0wPBElT+WlGTqf3F
f88WY8eOg5bS5UlFjfdj5n9MQ/9pnKCCftlXDXGgo79GS0rwcsBMCspeIMM+4Arx9+WmTTOgRbBH
rUaAAAzXxMWJiRS4HBt6Iw811L7T4eflPkyfr4WxbVOw9AzIqH7lLJjt+WiB3HUlXZsa1+LYpRBj
Vj6jkRdm1X5ygsjH5eE2w+uYLzsRY8ArOI7kyZOX8ntfja+XjWIwvI75wl0ArT25vPDFdM9Cdt16
gTrEYfrZJslVlScrmA2Db+rIrzwvgTEBqAcX5s5rWB0yuzuWcl5Z7k2j0AIYFQWJkhIkz6S2cR+Z
JOU1iPvnG56BOdLFJRYYPdu1naOps2WIZ2HWCaEa3mGqO8ijHtqY+fuK9O2xm0KxQw0s23m9Vx8u
z4/Br3QEFjS+qpwsditz8dzm8b0VrF3Tm8ahrcpW1Q4i54g5CPbu55gcJtTa7ApAKUrHuerXeUNN
Y9CCO4yxk08HXBb0SXOPKuoHCAT/fdk8pjFoMW2NANznISaeifx14d8qm+ajKNTdXFE8mlkr/mUa
gRbdFVWFtOWyVx2sA8D8txA13nbrpEPImFXj6Opjb8QJiKzKTrKdNfVrtX0G++g8aEXGfahC4sNH
78qaretYfKExueXdL3/bNl4HkeWMqDlbzpekLq9d0NnuVJbOK4lvid93dqg67RkJXMu3cUsToRD+
oFpxKKsXaXWPM1/BGhvSkg4lQ8YmbBHtjJqQffem+WTj0bX310juTM0v/nSWKpRd0EGCWzpCBWcI
UUX1gOyd71WbrmxNTR1oMVwEbu/GNYWiQ+w/40nv6NplNBfxSniZ7K9Fbq8US+rWQV4NrfxQNjzq
iTfvUOl3FfRsYwRoMZyESkFRF0aKPVRuVt1j1bNtcasjxTonlbEz2fh+AiD23E+P7dit3JgZcoIO
DCNJIt3AhenLKjuFqQUeS3f1Bc8Qtzo0jAZ9DoXbJa/lQj5BClp9ZL0dPDgoaT4FINnfc9mKbWuz
DhKzVG4DGg0rZaW7T+LyqgKmsQzXnjSC94NYZzmTKu5LG0gW7Iiy+pmgTvpmZBW/LpKGHyY18j33
JH90+nZ1p/outAJ3JDpirIWsWV9QQiOAoyWZdoVb7asKWhAvNP45ZSAYzb9hc7NrHLWyATSEig4i
Axp0zgNX4pDYkY9OUj4EQ3on5vwRuX0lUEKDIbVgn71QjsLFPJWeuJJxe+O2ybepcqKgT39UJc4R
BIo/h7yDL15eXk0+rsW/EjYJyYhB9cx/AB3xbVaPK+uGycO1qPcK7hDZA8muulwRyMeiLrkTEIjt
E+6dhqy3DzCn+L5tINoCjheQ2GMciMFceb/AMD4efMgfbbOSjjebGWDyZQLM68iDSLjxAx+2iLHA
j3WgmRxjq6IQqowaoZwb1nOyt2m59oxsmF4dYNZZLO+GRtKoBYcB5NKoB264sEuSaJPVdSK0BMT6
OYlbCgaPIdhBrBeSw369EnCmj1+WxLO1lSTTjKMzACykEPS+tsBCj5KzLcXVi+GXXs9ar4MJ1EI9
TFMp0DgovKvhkh9UUJcNY0gWOg9aa7MsTVs8URdUQu5VQOEyD66rOr/KqmTjS5QOLyN4pC5DKF6C
dpEdBsCudomdyhWfN+QiHUDmpbEMEoI6l7oNT+EMTsdgbkFsj8ohRNfRKmV601hJ853SeK36zDTj
WhCXbatK4QgaUUDxPaBo6bgWZ4Z9lA4ea5Rt4fIZz8oMFOgysV/itKx3fJpXUrfh03W8WF4WsV06
eP2FVC3ZB7K29z2pNl4+/AsmNpJRDT4km5gf7xkEUny2xg1v8NR/wcQEbtLz3AZKVHSHLozvvLY8
WE26E1CzWvElUx9aJJdiyPN4ANSnzHCCpmkIGa7yJc+de0uRtXpU0wxrAT3FTIRj4MN5SPeoyv7U
V94pLvnaScs0w9riXBW5P8U2YRECuHqgVdxHEtVpKwnD1LrzZzqynbZ3vdFG6w4UbkmqHmohny8n
I1Pb2ko8V2PWgJ8eop/lNN4U3G123KFru3vDOq+zmwkvcTMXqhcRkz/A+nIk/I6G7gEnuGTru7iO
FRMjxFmEAA4+KNQ3v/dwKzMm7fGyeQyOo6PEcH4uxVwXNLLxwVeTN/mvfjrJO4uN4edtXSy2O1ts
wsYqc4kHt2jgED9w3freH5ybJG22HVV0uFjDoItacbEEmH8F/dhDv1qJ/ZYI3jmi61gx3gRVgRdJ
vFOp6g5q1jcOKY8l7LWzQvVaNu6Rl+HRz9muqOi3jFSf6QgZsMQ6+Qp66zKIZEm2FFdj1SZakHfY
z+R2jx0yd9W442lBji5Ox4dAxcO2SNSVQoVq447LnEZ9H6ZRxkQGMM8mXPEyAC3OczHmMgzQegWp
dYzvJMFsPtZ1xGn3tM3ZtHB3uqSe8A8F6LPdve07ipg/p+HalYohnehKoHXd5yFDDKICjNwmk/sa
Nmvllu83HejQMkinjqG33LzanH9YmvaDNY4kU9PL4fU8BOOwIhDRxqXuGB6CJruPabPppBPouDIc
PZnlDQEuger5qoUYej00X8CcMckvcSP6Fb98P88GOr6sbstezKLDLco03Vb8vh+vQ1QgJ30aDdPL
ZdcxGUlbqOO4DRlo3nEATXz2t+f18VdSsGmtIsXU/PL72RxMNSeWNWZAFRP3tuxJsUurYuXT39+v
BqG2PFtkKJu8TJaw7R/DCVrnLUepdNO4u7kNrseh+AUd0PoEKF11uGwt04xosVyVwnOBW6Fgdx/o
18KOSbkfm1pMu7Bw/LswK7tkJ/Ky/XC5v/cXqiDUArsrucqEinGNE8SPRSjprk3qTwpwosvtv3+P
E+jCoJK5EDVNsZKjwJ18GrtkgOx944ODOpTgVIjEMHrWrpJzW+/zqrK2yP/5gI5p4yLYrHltarkR
y4CxGN3+B9id915pP8GY0eWxGVxPh7/VUxm2KThWIo9VctfDs6FMGmzhkF9GoCUXkqKEHgJXSIkO
e61ll+9tm69V3Jo+Xds8uL2EoE3M3UhIle0qhq8e7GqN59Mw6Tr0DbgKKwUpF0KeuHcg7H60w+ra
KnBKGhiKF1wRAaOyBgkyeLCOVQMX/sjD/+HsS5Yk1bVlvwgzkACJKRB9RvZNZU6wagWikZAQIL7+
epzRs3r33G22p2WWUREIrcaXL/fp9lO8OdWxhq+XL5oqOv67Q/4rvqzrEA/BzfF06qBZ2qp4fcY4
WPwDQeG/RBj+V4RJs4RnWloOtSuB7DTdDmJotjEBra9blpylMhjzJguiqYQ0Tvq4up6bf4Bw/9tL
8FesCa1aq44D34LqRQK7qTjI7qposP9mVeL2Bv/Vem+ZnUJWdWxHdU9eXZLoh5W3679ZssbH/003
Q1Ms2qDBwbO0LqzgW251xPN/dex/E82InsgiBO42TkGWvqZnLer5X374X7cvTYOs4x4fHmVy3IdB
/33a/D8hOP+ry8btudw65v8nI6LnC8wc4NMNclU1bYXYtgc0Hk9hHz4xi7F2I34H1Xgeu+5pwhI/
bTB70wHEVMwU5gngAAOLvLYOfrpBf/7fz/O/hIS/mWlY3xx1DbrATjmz/8/msZlOshrD/dJ7ixQ3
nyLsLP7Dtfovb/bfJDW7QM2kEV2ywya7B2Wef902yv7vX/LfPvuvK7uqyHctJF13SlWwvxPws2nK
KNbRPzyp2zH9/70R/1tLyra6bsMATyoU5muuqmudktJq/hAN0fO/+wl/J0eLlTg/Iz6va9UUwTo2
0Noa/glj/W8/4K9rn4Z9plaLiOkCWXIZPUbb/LLqdioN6eW/O4W/OWqQixAxCdDzyPmFUnIgVfsP
012KUPu/H8Hf/DSR8S0UM7D5IOZrWzQ81l0e0DQC0S4ML62BYMu0hKYMajGcPGijUD6K/Umuo94T
N/ojfKv4uQv89tbErD2KLbRQqGHbIxa967IRjOxEOqdvSttPH27mYO3UPGx+nS5iodg/b+b5MlGe
PnQkU0+thNilFDzKY9jaPyS2Bt0pi0N/Zi3vrsms+2+x6eUh4rV4UG5G/pgaUky8Xw+Y06lrUHXb
GWxlXaartE9mbYFLDxJWDhieXrZ5gz4XQH253Dl8aygdYZuFd/1aqLQdPiK7DfcC7gx5azN06TPD
Wl0uUADXBRcExqdtWH8b1G2rkqZ9C1dOLCHnMYMMK5wgq+9V49SlTeD8ypgNHrq4CaASOs3HpZpg
6p5m5pxI2+YNMX+iEFxS59uf1YDR4iLXoFxtEO7AZmoPWkZJoYPxZxps27cNSlw7ra0psnozJ5qY
Lc+iLcjKetRdEY3LwxTp/hRkQ3Qno8jvzQSrnDFom8eIZHaXgShTkgV7voYyie42OcHo4mEl8O7B
tpks1LzIfBXqnCVDdPA83fYhRk9f8aLdgY6pyudOy2IawOo1N+ffcEvDhxVsBiDo4UViVbskXrES
yO0jkcFLssZQ45zFj5rpH6aV6m5N2rkgw7wdWOaHXbpycUwS7svRV6TLl36Cka1Dh1mFyQC7TVYd
xzGaMdZtbUnsLHd8VSJPZq+HctxMt++k/xP5LXskPZpT6CRtQDQyAsdtqu8gAtU+9BA0xP3sk5Nh
IynCJMTXB0KVT9aDxZhhIYhGXVDWNTcHkjpdxkpteZtgx5tqi5G7q+ty3eT7FsMR82tsZvUwDKsu
64U+RYmfwGeTHBZ6cOEuaLce9La5NTdkGi+bGyoPoEWlea1mAanM1pWhbbq99srAvRnV+17PnO4G
1rTYqprVxPM6aNAFgXbRvqMS2sTdlqQTv7TBUIvH1rdmKakK8di4b1KSs6WdtrNkQzaXnDd+emu3
blqxmUibzJZbH4bhnU6iBucPAvYhrAkJy3acugrPGLL6RasZoWW3tEO/76IJAwohmvEnt2LMV0ch
4kmWsf8ABCDXfYeL/SqiSS77Oe6k2bV+Gfrz0m7bF54hvw6b4z2UyDwROcwcydXWXSwvs4nCKJ8J
Hx897aoPDaWYB1wvZ/K4hqtIbj3kIRKxyDc4X21ZGYeOwa+WpFG0m2xvPqMlkx8wXRyOgzQRLebI
GZ5v2i2Q91gIObVdDXvyGUblfp/FkQuPotIEQSlTEuMdSF0lsASN4pnvZlEt9SNWtAzLhTGcFn4N
lh5rrjW9TWuIOWhKhrioSGqznQeG9QBzkOUR897I5r1L1xqG28zq+wblZXtwaulMIZJqjvIANIoe
suqwpCkzOtL2ZZWZbMtWLqrdu9gJfe1indF9U9kWzdqmu6iEP4d5I3Ii/T7dkmgpDW6SPaExEjzv
V8XtuzSd3/ZiGZLsPlZZpT6SzbJmB4JAZ8HigDCxzFsD87/zyiM/nLBrT75UlfDlNU4pwbMGw1ZX
r12fmvZa163Fz6etXVQOmXb7qwJEsrwKuY3sTtAAbNAum/kbFl0rdh2zqhFFrEbYk+ouWYYH2uqG
oLOls7i3AOHh3bxhqnVx05LeST63lYMzFVXzNR001x/whrNTDv0Rv3W5xNp4FuRT6ob1w7OQD6fM
w7kQN3BctlWD7RWp6W5qlql/nLlLhr2z7VbVxxZ7b/o4IQ0Ej1m0qHTJSYPja8uNKY2J/zQOVH2N
y4wxXM4MXNkRiVrvTQmJuC567aqaklI06GR3wdZH7c2jLUwgsUcZxevYCVY2lYo/RkbG+7QmLbTw
ML34Sbyl9IjvkJgnKeIp3NlKmK2Ix0AiwawOK3PL1OnrxHiUlT5qOlFaqIt3uQX3EaBlFIYPlMUI
SjUb9ZIbOzhT8ialddlN0AQ7ULtCZwfciGHNWxf1dhdF8zTkIVEa4upzhw9b+0ox6FdavHMgQS7s
rPRmmqvRC/22mNQnOOiE2NwjZlTHXug6Oty0jGUpXb2an7Kx2h213LYhnxt8nbu0nlX4fVWhNsVQ
kTrAvBjQ8yPuatucDPYTpqcBnlq2MJNvkxIrMJzlQZK6b3WbmvB+GuDJfOAxyd6tDEOOC7zSIG/X
NXmpRz/To1wIg2WI8+HFM5hIlitli8E0dPCoJsKsZkUcEOaLhJFJnLauc/R5m6Z+zUXvGp0rV7nl
lIptIkeKQg6PRlFvr5VeBywxb0KpAxzdXZ2LVHcsbwMoZV7GLvPRTmjVR8+hnlaws4S0yR52jEoU
XbDy7tHHg253Om0lOyUrQw4fR7+ATiBHoU8aQn/VawVE2u3ClsbumWns5uQI5RmUf5Qbu9dsS7uw
WIH3cSjGrbPqkQNu00Zga25BrI55jytUYziVVDXMJmsX6SR3sNroHhaR8FtpN0/6iUbJ+kMlSC8l
1NddUobObM9xErMA6TTT7afLJkzdQwA+tGyGerlW9VTHRcantQOcSagvaLhoeErNWIrcr0OW+TGv
2wpyH1kW/IkryH9AcCbBS5cbj3vxCIWnUOEdY31g7ylUjfsnCEw6exxDm31r0jAiH5IH0EQp2pGa
5Ys7mmWwjQCztLrwbev7ZgerGeOuUuqk38/SYlKWIWSTo2lhwQYtxjpanoab7+YDTaSiRSuEWKFI
5ke5b7EaynyJZBLppbzBBdA8HJcGlA4/VmYs4SPLZNEtdkl+IcuN1Z5JE4gzivCszysILkQgFale
fiaxMtelGuDNXaV9z3902WL0IcUKg3oG7ane9tU6jeS48bQyeTrw0Dz5yGDFkC7YCN4BtcNWIl9p
6Iok0JZjTx4bEM+LGFmEbsVC40zXcdWXRvAB1FHu4vFWJKKYaDT3v3sM/7cL7Rl4HTQ0UCZJatnE
Z9rMkXaFWY2fcPVDRJOHFevf6V3WduIp7UmXlBprgy7foOHfA4VNF106bmhzDWTGXBEQ/ME1ZHAQ
OG7JhLXKeNJR85KqJXozDQqkQwtzveiQaTr29/0AKde8N7EQBVx1IguXgzlZIGlnewZX8ci74EDN
OsGqkkricy6XKi0mUKXAtw15toFZehP7u6LUsfNn32lr77DoMFYnSUZaf2OKpxRMsWrqSxfDlRAK
M8HaHRD9dSDyYTNcY1nBwS4UPcU0/Nbx5HmROQ+ETG1toHMXTVF49lUdIg3NflRfsUCq2XcO1oz4
7223lLZaeFeOoyDwDtmCZZR5mK2xPZKKSLKH70sT5hXeHfbmsxoTijQYVPWNNsiDJwBbXsJdevHb
92XDik8h4G6TFjNu5XTHUxbTnG2isfvZxcF8RqWAss61Oh1OFfz9xj2paNAdo1p7UywYhWSvqDI2
8SOmViI2J9GE93/odT1CCGzhddH1S8tQ1NBZ+gNzNmhO8zKT+posUXVTeUJ5+9Q0k/CHCsX2ciRG
p/oBqnAtveO3JcYj2hAxHDNmQgizJr1rf2nWqfCDTNw0bxJLsNl1GxyGbAXWh/v5Kza6k8etwcAU
MvgB9QfVwnv25yRp1++bSTn1PPcQQNs3KIZpEfjU2Mu46kEiHAhLUbwym/IJapegpO8zwYIEdEfY
cF5tiNRYRNS38jBzqO6fepb24wW3uV1ffN26sKhCjFjwWgyYNbNk7JMiyqxxpeFQnt03tJKgKGdo
+PZZ5KFkumi7hDdlP1mflItYlou5MeFOMFD3HqrNbLHIu6RFoaqXebXfXMJ1laNK6Jvnzc5Z9qzY
5rKdXkUcoZU0a1wYFdu3tCXc/dpG3kQgEY0V6rBBOXekScNdCRkJa89BKvz2mAx+toVQdnUvvYA2
2kVBYdIV0Tysd6GtJ7NPWTY+ik0NQc7nMFs+FGnq9DhtiYbGu67p9BsmLi6C7QBSxjVrgXQWxDL+
VDfJNBzXGvzaslrr5Ffss4pMRdQZArQT3Km4vQaZU8EpiJyuC8RUVZd9nIgBpMJJplcK0laG6r6x
yy5DcJwfXYLffEqwNB7vE4jBdj+qbUF0LCkfYp/TYRNBQasgbEoIiw0UDUc7cZ3bUa3ru4a1uDtV
TU+SPXYlZX8ABuCTC1Kciz4gcQVh0l96YrShGN8uAmVvxCV462oL+v5rC2yW7Xt4LKnCtjfplpgC
u892ZAuhdf/hapLEINBjVWy9kMy05LiAFG3l99bNpnPYfZsJtrehSB6mpZkHv6Dd3VxbhClU4gqQ
jITasWYm5K7jNoyzHIXQoH1h8cl8J8w8b30OhzNNQxxH5+NvqNTEiLJtbJv6V49VmqBcMm3X/QyP
L3EcBmJPs2zrNOcemeMzyVaTfWa1IfbZ1c3AngfF0ET34YT+KtPRXLJQhgeGoqMr7JAkqkBvzo84
BfZg3FjNYLuR7THre7Wc0H+F0SWG91N1zYJpfOYo4etCsx4GvpH1FMv2M53Hh8DSCJrO8+Z2hIDP
W8SQSIGZnRqXlzQaHNmldsi6UtlpzhkZKLvWVd1VZcz6acA/j4Rdo6EJ0lx0pP3ARevafOrq4dEn
yN67ZDUdxJrHwd75moG7o9Og/gGlbdzEGHAb9H1TzBAKaCLOn54E9hvyPLJehwD8wJwBiw/8mSXM
FwWhrslLo/YpXUVbpmwM6iJbehCFkXW8uY8cne1hhj/VmPfDwkifu3BJe2hQM2HoyzhDLCoPWlOL
YlrpTSd+2KoZJhBxbMK56AQSfhEMVfQkeaXB2knIn4bYVOSOLMCiSDKSRxNrtu7ciklnrme4xkKq
cGwT/P4hMaBLdmg5amORE+BYi36KjNDT3aVxQxuUn4CbnnpoPsKJQrDCkDgoUfzWd3UQkoekTecc
LhnxR9BMRsJqNR7RTfolRl5wjdw1uN4iD2EjAVwk6ZIHGsu0LxI7QJUg6PWE4kB7jq49ceEZgWF7
c7FOig0dRVf6JWiPaKY7sR/Rhdwh4dtDVlfr78lO34GaNcd4VnI3slDveDi9ZWPyMNmu2ktIwp2H
Bm5cspMRil74qOSVaAyeY+pZHtaQfC9RD7MHOkwb4DGwOoYTmlMDXfKapvZhmwlGdAFvIXJft1QW
eqmAPqzjN/QDj+sQ8tPtDXwV2+pfoq17qVM/odWO68e0BhTWEtuLzxWv3Rk4kOOFNV1T8rixz7RJ
+jfMinuyA/IJYWSXJcGP0Mx94er2vgrRe/cdCw+R1VvRj9g9DvJxElHhM09OEHoRXc6AHDyvPlIq
DyEFUCoZse8QrllKbEMlzzgacx+oasVOrqIvbpjrX5g36twMcD9LQUXMPcCol8gNDYVzGf+EXWOY
t/3cg7tGavjNIidH9TwiQvQSgqi14yUc4dBoZbW672iFtmZ172LtdZm1cVW0BprrZzX56aNR2Lcs
G5hgVMWtxyyWrWXlOsWA80fgXhmcYFK37CrRvQRIGMe5b2F2Ag8HSH0pLKOv8x/KqxFo6nyuefK0
Ksy3hjpEt6Tsaz+oS9j1lzDdvgk6wmGWwIVe2uacAm3aAvJ7FW4s8GIeDBMvU7Y+h6x+MNV6jhN0
S7KCins0qxc5dlcUeW9x5R/EUH9WE8gTFMVA85+y06EB6Zbpxa3J99sfB1Lxwg/ZM8qZ7gkB78wS
dAEbWb51CfRLkfBUmXoDabfOHBbo+RYKfiCjRasXTLKkfX/bS6zTM3Ahf2l4yE6rjDPozyTJJ+U9
wFyTTGsZVPrQqugCEcV3WouXBj7POR+CdxlmJ2WTX4rrCEyCWZU223wBe2ybD3MEKwMMyNdJ3DW0
ExhxoaDkajm2E26aduyu8dsV/eETSh1AKVVdxDU9ZUtVpl2A8gU+L7RqdlMU/WK+eUd7+LNZGxia
WJcTXV+Bh36reHDeIhwv9hL/TAqj1JoeAxoWadN9AUe8AIR9DyN6CTymRoN9rQVmuUh8kORvngAd
ISemx6oN/+haF1DdrwpjgsfQ+roAhH4vwuy42u0FPcMVuMS3Ks1+uGb6omH/JpPwDfAH1L75x9QA
vw0memyTG3lJPqpZv2Z2nQuadpjiV8zA1CHC7kfc7wYO4GGtm6Lp1GGZgi9ILtM8kzrapzERxzWY
85g2l7jH9EsaVFHwsoTGxk1vNb25mQf7ysR9vsnwTREP/ZURS1z6pKALjYX39HHj00618R4J4FV1
2cX19a5XGJRmMjgBrkVikce+rg7awQUFwIFD0A2qXHFTgOtF8zVW0X6FUtCwbBbRw3z2NZ5Il45n
udTHyo4vydYfEwC8yDBZmq9e2cIye94SsfdO7eZo+q4hWxyyBeEDdhOwQwrXJcln2NzEXfwSob5G
FLkK2F9p4FuV0x/A+78YVfWOTuH3Jr6lIBodxTC+o0lK89G7vcJnhZjQRJxBBnU79NqVt+cO2cjL
gGlNsMS50MsrTOwuK3jTEtMBucG8iMOLaeHsYKtGHpO6ezG2fYXTrSlA2x9y0nXfIxgNuhTs9FSn
hzUY7xlpsCHqq3Mjoidr3Sfn9APcmvPAmzeaYbRyszkLVnaIUfDXS3UnxqbNa95fWtGXgvUHtYj9
Ujc/IVK1S2m0AxB6ybIJWROKLEVKdZFUw7Gv1mc4RfACcFlZK14SjS4vQf+8NNFXE45jPvQpmgAw
q3KF6iuHQo8E0LOoMtT2LRpki3Dd1aXZkm9IAs8JnfdAVftcgJt2Wv32IETyC/jNASr7p3rl95l3
fzIZfZqmOa+NvY/X9YGpbctZjRamH/YG/hM8nF/mZMC/1cdgWe+lCO8cU79WW5cQcigFkhQwwvmj
jQUkyfs9Rs8PsMd7CdLh0HTDu97Ss5Rb2WUwojQMpqZLkMsaiTgx6XuopmOQZnfQhXi9mfNKuCZj
p/ISwfcupFAVCof0zxjJYxMER9KJIwDROxXUrz1x58zLMiXqZaPpvsPYF0O73WrZE8xsf7Jsws3D
2FthxJ6vIX2MkBtzX9d70c28gInyH5Vtp1FvT109kwJ57bl1/X0gxvvQmyO7abq7rQW9PzgRg6YW
wew5jdc9QJlrk3KZL3H42UbLI9rKb9UsXuKt2qFVOzay/6bGrWRBg2IXmWHV8StwlSvqqCmXcv5t
8L7zJSiaeH1Za/0xeHHuhNo71p46yXaC6zNBsdmS6bTw8DRm9OoIokdNsgo4a78npCkTog5bC6Oh
YHkECftdthagfHhHIg1a/IBeXcFeGUkIhqwugiOcnp6WoGoAigAmBe02Liii7+3UwFo+QTJ9hxbt
OvbAI2Xivk3h+mQE/b7oVud+XQBwhecQTlhr0x0iYPR90oK60j1DCuCbQoBcs+k0B6aMTYX7Pzyy
CS8qG/wzq+dL0mLDINxqiejLj91aXbARVQIKPw6CvXjBDsxWX6NbHgLSz7k1410wzldhunMYRw/Z
mt1joel+8+b77Y21AymImevdsHWHYALKMpIzn+jbICfALEF06pR8AUXo6pe6y5OBwLY3CuFmhpnf
GJHTkA3vdKWfEw+WvA2Tx1rVSL/Ne8bEO2r/+wxZaV1pKcl8XxHxOoL1OgBWSbTd8Xk+tijEbntc
vGxQiMB2aHhIxPSr4dMXTuQFhQ6ETqc9jJt+LQoIxdLPDzp0x4p2T0ufHTYXHzeojkH3s/BquIM/
y8915MXKYmjf4GJkKr4QL2yxOJDg4cn9mixVWAoePswT+95TcTJ11e7AtDtiSepYV/xTpTh6HsQ5
A+i0Uxgwos/DaQ3mhyf15+1vfY+t+tlfCIv/QE0afod4lLAYePQkOvayf1RsOELN5NkCGqmn7X1U
wdXpm8xD2J9gZ5hDG5Pm3jS6TELwf5x/JUz+hp0ZNBDTOyaAmpFYv7MsvUCRPM2zAG5wAqYR6xxc
k2x+C1L/ZtnwB+pK9yMPPuMM8x0kiL6TP5JhOBq+3rdGX8Q2nlNi9skgnudO/fZ0ebZ1/6NW6yvr
oXuTNB//edH7Rh+2Kj3PUXo/zeyhXfCyRbF4XFKSHiBaXBek394xnwb+oMRhBPRVAgxH8sOpYrP1
YmFhi/f1kNn2fiTilCRVlY8h+cKaw34JqzTfhuyamtnkCmBckgGob2tR1q36QAC4Bgn5sQzsMgXR
j8F2p1sEc6v8yqosyYHKPISOv/cDlAcqzKJTPLcM5pt24nd0S/KhU0Xi6ue6Romd3WK8a1v8R9Ou
TrNSI1OnLDo08C9lEclD36ocr/V7Vq8+B5noOPn5DQIxeAtbWM+3HQFKiZE/oIF8VHCjaEeMQWRg
npoVfdMCwxx0Z8+QPb34cUyLPtU7PIwQYTH7CqxE5Oii+wiJZXIhKzHefgwGdpbCuxykL4ESBL0W
tJovNUriKU1/tlNyF8hkOvVoK7GmfcbUcWeNCvMtJhw8nii7crO9Yk78x8XD5fa4Bpscwqb9Hiwk
g8/beLHTwvdrVH1fYAZbREv43QH0aPPBxf1HPYr+h1PbmwA0gsMYURgyFLHBdyCn9DvKcViMQ+Qd
TxstNcaCbdPsZxXZs+JVf2g1WJpAXc/9jFOLMvbaBrU/0iVKedHMdvgRNBqG9/OC5zFlCUavWu2H
Ka7zwfZfIklYEQT6LoXNksczqTjJoI/X84On2+ctAKW9/z2yABlDy8+p92cqgadPOn0Z6vTNwCK7
ICuKC8wAMuTT7NsETsGsAUJJnHpNh6uX6zUeELGQLxqNGT+ro263tvGJLk17a0b7XIZjgZWDYO8T
tvzcwHzjxRxk4W9o6KV7mg4D4Eeo78bzUOXM4/ZBGjPArnbAjqju8TqAcpxjwEl2QMODB1nP7mvh
S1Vg+oBpYtMBeNEpqJWxRPeaE+f8N8GYLOeB8f1EAK5FSdZfQwW4efMqinLQAH0ZZCBxCPBz4M6o
+Yt27Q77u1ieGl2j7uZ1kFlucBHLGWLNb+vqGS1936RlAmnTLe+yBq12wHue5csmxX27KIWOJpSH
ePDBh23Usp9QI59ox0AoAJSFFihmYt9C1B8KMXzcZRt2tKTfYIzVUfnFMal9Rb0NG6QxThQmZTUG
O2Dsxv0C4Z0xXIoGWjNJkayhAbUijkf1FkjvNgw7Vj7kjZj4M7gb0PKHK8RQwo13O+N7afBFek+L
0azpna9Gilm0ogtYG5CHSIoxFuQLCs5S592aVl8d3rg79FT2UvU8OVloSGO+kW7vIo3mc2cxEcqk
xOiBTFcfmvCpnltBrnIZBOQW4e8icp1Y81nLWAx3sh9tsOunSZwbDLF3iUDBMI8zAkg8VPdR3RiX
9zPX+5uNMP822JWmJQPLpSk77Nfy+7id+52UNH5EXUS7oqt8empxzg9xFpvdYkMyQjJLuefWU3p2
bkxfIcMirytGwtcqGVAnLFlwTsa23uPNb8sxC/mBwv4mZxI3QhKsn9A2STEs79mOLDU5AyCuiybz
cyFSjg+Y2nY/jmCT5Lf5+x7wsd/Dlif4VDNJPycbDk9JF8kzgBrj9xUxCu3OOj9I5vhhFMnkcr0B
1vUdFR+bCxjLo8plh2nS+tjb2AHNAE9o6VcOKFNOp4n2cilHAEyQ7WAALHs0VVCjenWd9UUPvLC+
22afwHRq7faZR+u60TXNY9z4PHWSF0GLe4olz/bcEK6LFHyVI1dpCVRRAl4Yj6Fxu2RcTks8FOsa
AsiBwSxKqVGVbZtgLNKTdzQLY4EvJfKWR5fGBceYZTu6sqc42yK8FvwDFjNvLGw/euVQoAGpNhhq
QRfkEcXlPfSW2ryz8JSjDsAO51BJ0iP+ybCfkWa/fGznAnBvXyzd9By0y7vts6gYeCCLFXyZgIdX
jKUOus/uXNrIom7WB7fM0MCT6x/KtmufmCYPx/CA870PolBfTdXcScTQta2uVqGa8EFbwCeIlC5z
bE+0P6UD/ewkgZqnOEw63PuU3hHoOGOAc5/Gw48mUKe1j/eVGh4GA5aT6NhTUK936WSSHLrk/8PZ
eS03kmRp+lXa6nqjxz10rE33RUCDAAiCMnkTRmayQmsdT79fZPfuVKImk7PV1laKSSCE+/EjfhFt
PT1Z2DFNB2uSm17zNTdIkmqNBQCQGJUJWpvHFtVCQaE3I7mk0ZJM1NkKxEu8ZHhPdlkuMy3LXSvm
aMh87Sn3po/5rrtebIqqfxeoeBUtpzLrdOnYPWsIW60m20x1u1VquerVcRNIfY+eNrGySZlpAJub
SqZZ6fR7IsRDRIReJgJtgKlMmYcIjqfha6/YpTvW7VPMkoEXmZ8bAGp5WjaLGpmSwWR0JGczk9bn
gO4xQG8IpGPm567qK8euM07mOKwtRd0kMcZO0iZEWrdFM5L8GA9gm19FYL6OGv6AuSXoqNBkLLX1
fO2OMmyy0uS1h9ouUbWTYlEljAHNoCGPigVKtAeNRVaDZ7KN6FjwtDeKbWVr1RZ7WKI0W9P60jnT
7eQHhxpsrRdRMee6NN1eje0jr/khRI6jQl3PbTGbxyqk2E6dhxVf45x7ftNInPvJNx58TTtZtrh4
WXQog2aph8wVwaoBQRg29PzOCk9d8zNXUaCy1/YNmkbrRgRvaqqcg9DD0W/Yz3fUWWhypc5LrLe3
dSm/aKqyboXzCM6O1nEA7CbplmYgqYTFImnjaGnRbdG9aoOyvZsNwzNdLp9ZM1jCQt+Q5N7OT1Rt
irNtxtvCK096GH9Dyx+A07SUVX3XmJNwW2ADiI9/Q2J3WTnhM/ONTR6FW6EDNOtaf52JaB8Hw4L6
edt6d4PuP+cz9kEo4qsl7Yve60tRVW4WFk/zq2Ia1i7B5Cx1u1jK9KsWKifVz26kqp51yxNUSPKr
zoxi/kFGX3VwaLbaDAKUYgvKkplQQcJlTS6HwwH49bLxhi0jMA5nqxwXHoidVHBGaPWi8F65xLsU
2SapPClWsGsF2ImBBjJubto7yJullmkLnwggFJZ51t3N15GZ1RHYzKqwk1sqpXMpWHfIS8UOHpK1
wQSBYf/7iN5DY0dLlbEuGl2LqG1vfPAIsaMs/Lq+VyzbI22qp82QoQasimHPcmc20q1l095ymC+q
juLeobFK640EXdk4+Ts+0Xw+XUw3jbRF5WSnIkx/1wb1IpN2oTvDMoiyt9lqUBkzwi49zqDblar3
NW8YCw/lPlNfGyU661W7jYXYxtObbvU7fO55jrAhQQpXxouCTYrVyLWQ9tYzqdjssrh37HSLmBn+
YPhp+0aymJ/CvD7CflhOgZaCD5WvVTZtin4WOvM4r/L0W9cmj0qZ3rbe7MIp8y0l68f3W0CLba3h
iGiKlmrP31d9vAlH+wvB6wbK0rvttxQOSstCS6LWbaLEte34GyCb4saQQ7SZInM76O0LYK32ENbK
+E1RA7/b05VJS7doQiAunq4l7Lo6XbemHPdi8NqXNOOJJiEhRjoAKpiWM+romAlWqUKGxvRXb6Lp
huTHuRVdmT7Zg2/u7GIMPzwgkUuj7uRZ7QgjwlIatnkX9AyW2jX4DYcIPTpnXRMZPWzgntI0A0wy
5fAsfOqk2I9v26QZyQeZecY9E5qoRCZopNx3Ayf2JqQSBA9FJRXVzco8TkxPj6D9pnVW29quroJs
UQya7cq6ZiDP6GrTqxn8iyAwgBlF+r6k6PsySrNayGnqdmPrRSvHDuudHQZlTznUvhkMu7dCVOG0
zVPPvwRe95AxjFy2fmy1rqEpdOxmqyGGxt0qqAECj4m+b7Tc3EVT/JxL1YNGO+VPAV1VbOM4jyPv
2a6KR5HDXMy6eK1iI+mOujwHURu7dhKVbun08YJpvg6cIJcu2t/CZebuu1ZYmlRyabZN+MYDXp+3
TR+IVdNo5cYZJm2hamB0fUP9KHF3d7WOxgeB3Nhlk6aw/Ib47GSToLGKzJXfDumxyeyHSJOH1gD9
aSNCT0dg3auVdDWu0B2i/KbWlI/GmHp6iamyHXIl55CNs/uurIN125F4A5WtzXeT7G9pJ82dqVXN
l6qNnAWQwRkPynA4qevf6SS/eiI7tU06t5I6ZyFG/dmyxKtTdIxZzJYOdlFUG4Q8qLrU8qXHBwdA
sf3A+rRuhrQJ93ponIex38os5Sn0IDH6jW11O0MRT7blt24GoPKm1ulcW3WbLcCV3NSRce+babId
W1LX3DELglaXLBlHImBf8kdFWn5LRG1xcE3NpswM7+JbxgvTu3bZ18k8zlO0XRrn0yYgBLmmOb1p
sqPPC96hZ30BSqRMDm/SnjMuU6FrD6a/Hyo8CYtWcnpONHdKetOLaRDZQk0GbprizR/1ye0GLYf3
MYpH3UxuKZ7xoRX+G3K5yaJlIrOq8HZ1gX4xRY/ru3oYonXjD4Db6tyBpmpTZ43NpbCMhAN8TF3L
0g/TqN4zOitddHtefRXO+KxkSq1jrEND2ytB+AWE752amu9BkxWg2+XCQK6C3hE15zRO9PCxTR2z
8j0M1K+V1d5nSaMwYqMkYcuYS90p0DLr7ZdAK09xOCaLRnd4ARn4rDHr5QFNB2UhsJ/Gi4PmssW4
zSzTdmHTcpmtJseK4wbQVnywPPLxIO5eJAWZNa96puOnzuvOJK4PEeNe0I31SwoRHbTCdEbZ/ORU
/hdkhWPgk/aLnClJE7mDGo17mU9HILadG8bVA+DNmGbXbNAqGEX7mR/Auh2sF1Ao2T4aaUOktkk/
MtknY3gjsm49BuUO4sYlLqc7Q8mgnfaVDhwrMw+1Iz+QjKtcr9YctJeAPic0CJfWnC81mkfXc9hW
waiuBp0hWuA5vLeW1ixyoLzWQgwpkBIrnGy3T9JCdftqGi50ooMXaY/BsfDjU0+QzLXYd22nbShe
8wXx8yZWg1POaBgek2kAFPePxtQ8W8m0qxOGwEWafDW0aJM5PMkoJoyYvXjRx7EDLm4zX7OmZ88f
2mWuW8ZaUF+6sxh8b0eaS+t2p0o4HLqyN3XNpvtXbNUGaNMwHuoq2ha6fVCDeDMJ8L1T7R8Sw79k
0nyXXblJ7BZtPmuoWFwWQVx5IqIfM9veOGQ3tZPu6lqB6arfBXU/rLE061g1NA26CnRh6SXbxmLA
57cgR+vAWaq+dYb388gjfVVDAn5RTMs0Le68sl0VBogfR4KV6DUe1jyRbLv9oJgWwKHWW81qw743
Pk0ZY64BhBchTG3dPDQuvm0JalgNnkaY0ULqhg/wPO94fJ4mho9p4IfEX/LvmuamrdKHyCLaFr45
fLPMej9CGIgyeYOK7z1Q7jXqn4vY9DezWHAzOds20d5NTwD/7Eln+4SktP+SD/mzk+cnuxXkByJ5
iovp1WkYWTDTqF0LnZliaM7GkLC8YJzlmSANthbYddKVu1SltS2ZW2bjW8fBTsThANEPEWYBOjoy
zniXlgJM+SGtwb3zprNwPaQfTayfGgvXKj4+p8nST7ybYR0WpKktGcjoHEjhfPy7UX1agNhdzn96
FrYwzAjTbW8RIneNlLAOyJe/JVFH76X0F1iTLpOO3msHyJxgUznV2jejg5/2a6UFnDP2ywBH+66N
thIXNwGhRlPlndDpRNoP/njy4oggz2WqynAzXzxbZekp1aoeX7DfTtSBUS/LuTMuCYYPk5rR/kEY
m2czadl6Qhg4MZ5ivd9hWAe0wP9WV8/csk32L+Ns3c9eUWhB9U397g/JskrtUxvbrPVqwVWIzFvY
s0ZIWO095AR0Q6eqHu+GlnI/eOWfVJ3cXdZMOJi1aBbJy8nEKtnJ45UVhUeNXrpM4neG03SB5HAf
k4S1CyCX9m0GvuKhqE1TpSxiBs+I8UvTGpcWPkTEk6ka+u+MhKTpuZ0MthBUiHOY+jFqCRkaq+9h
8jvdpZfZiznu6T05ELUb5sg1XZWh0QCPVkwp04x56rSusrXM4pMxjaBySX6n1IN5nbwOIv1mtOpB
cErygWBdVxVrdSZ918ZLKp6myuOcqxZeEaz7Pr2hvezOuwCCxoWTfGPWzLoC0bhV6xREj9RtjGZh
T/1d54t1PCiASGq68cWWtSH0dAvacpkboImZPiZZdFvH0bHTzYvgi2jLDIncMPc9QBZbOpY4q5my
9aNuE8XJerKY4GLhpmjxWVejizX09CShLHPic05Ny9xuaeaB31t7SlIsI0VZZnp7NvXkGaz4zqiq
Aw8CwPRsKk1GVcIOsEa8mTg96mUsNnYLiXN8kciCuClgDEHBRj8JxLg53vDCRzO7+Em/6ntnOcni
bCSb1qlf50WkyHAV0y/2NXq01Us4ewAFqju03ces9yEyBNkmwWiveeA1RiBcPHEQsVxaaBcOVnWH
j9yseVuk3wmAPu0Wh5EwzTVCe30X1k9Cs89dXZ3MLoP2oB+Eqd70gIPBRefft57U7XdHNg/zCkgG
ZJfMoYPTUbwWhCAVvftZsipRlUtWs+XGSxN7GwvpDZ3ADDd72xTI1Xfl+KZH3W1stNtkfE4cEpAe
cXYWWki2yKAiG48p2y3tOCel0yBCE2wRezQVoP75dKuTYahVs4y5e4qYRUJ7ccjrlV4G7oRkmVT1
tR02QP5zoPbjbijSbY48ZGnAxSsWAdVk6h2z/jQBhAlmKhtl4LyQYOVdYi3c8aH7Xklv49h69Otx
S9bhisZza2iNgHb2uSluukG/tUxlWOh2/TB3/xA459VHqnGOA2+pdK0bj/U2bUkRVImv9YF21FvT
TYeUy6XBT0rr7WpU9PRgWmX1DJwaH7y5tG6EfPi+4WYFz8qIXyy2fKrfiQFLej9d2wQp3Na+H002
bViFoUkHVDwFTuQAHIdJTPBqw+F3QEE0nQDIxQ45u78gXd6WtPLGcj3/UtTEgGOdm3zUVvGgHrmF
gryLF9dW46bnPc2jJaAcZ9mw5ZxvntNRHdTA2vvdnGyEEZ1QSQsET44RoQhj7Nbo5yxgor14fbEu
1XTfKPFmDugieC19HdLAt/k9ERmP8zvBu3Rh0Ro3h5BaWFuycufwMb9iIx+24fQm6azP32uZVCTz
r+i4EAyGt6qDYe1wpgzleo4oPOEMoFkMZTrH/ixL40NYNqtixNYtewoIsz16eXPYDtPwFDXBI7dr
1YKJMEqslboYwvDWb+WaGJGmtSugUBocEKDxGIQaL7bjge9KqVtyoDD9oradne9YC6e01hM+Oepg
r6PKWgJ6oiLTlsCAdtxNCy5sMR+X0RQ9Gr0FySAlBCAU7Zq5dkxoj1NNbQfLvJ/ja4HgZBuV38pJ
3lQWcCpGkd5FgNMmhkQsLGIozYpNNcLJrJ/izLuNI5yE22E5P/icOZCT5qv5AmK9WLLk1VYuiIwG
f5uqFzObLloR7iImqvzX+XVz+ILmXM47pwKZOMexCY2iMehpxWguvJkb/iQIdto1+QLl7GNuqRed
IrGJOhpa2WHiyU0s8iD5CgKQ8ULikiMk+R4u/ZpLaJNqSQuRkhG09Aj/QiNVdM74sYH2KHll5q0D
kHNRZN6+L5yB3BtF2ZSxoQvnRKPhW9EAypK3MOnfsC14tGvnd2If5DFFjxfR1NxG6JouYHzhYWmy
mXUPIafWZPgkPZtuoLHJuyhAQqWmZzevn9h6a1XvRRXmQ9nA/JgfIJObZeJ1YpsxSEvmDwwCSlzK
rIdq1mMFRXyna9NJTWivTFRxhp40i6kc2WQz+m6OwPPPsdN8FF32UXl99lUk4mzlAxMe/RUKA3VC
dd/JmfrVXfJ+vEWi5Jzr6lezk3tTqVkVGrYtStbeJG0Pr2b4Ni8T5re/x8b0hroqzzaw37tM3HWZ
Tu/OoLdt5fcIROZrOWX41mhUTJGj3M2rkUHuHVj/Q5dmX+Jo+hLqFZlBcYtM+YqmwpqHuPOVfmWk
Dshg+cUs1RM0jUPlRPfCiI+W2TwojL515iIAyJSHOO/gDxfhnfSc8abABm8N/3PfFOWLH2lPfay+
+rp2MRISgdBwNkJFyjPVZbBU9Z6Q45R3Xlee014/TWZ9sEgNqCcQRS5VvqT7ruMbWc0qTuEP2WlN
hp+MlK1q+i1rvVfAdAfKlciFwWAhOGbMiFGmtXFCYTTv+yY3B1dLitvB7DaTVd8WNAZw9FHvAOcB
QHM+6Hzgz0JDG02SdFFBTXHhJ71JEdZulY/0dYrmBBhLc309fyW0P6jo9q94HS+1NZbMGNSXWtUe
SeDPpmFcejt/9/MRoZkkW6eTteKWV4KmrGpaD1Gg3Zq5va7tcNXZpLe9+loKgwhDNOMEpZdbJN8q
QMqAf2ptKVXssfqGNhCq+tOQ/N4JgBpl7Tk3yKjMF5jAgTIh42ZhM8ELZVRj1Ha/khQNQxOtFKus
D8mQvRU8jLhuLjn0r6YH+QdO8zzvYMtkbNN35SIpteeejKGIKWvmQDQHYIZ2rpeyc3qjzxearnzV
ipl2xdgxLpO3AkBB1TevoTHkizCtXwcjfKezk3FyGwwg2mVdG1+zDFBKY8MyqnS5qU3vEVrIE5P/
da4z2RZEVWPIXvK+RAujVlw55vu8cu4I8bCWauKt4lyaKTqSnD2Zhffm+zaUF2Xa23YHENm4p7dy
MyTJSw0qKEuyrdZYN2hKcOlcikffXIzh3hZfWuZWwVMcOGtPxI95Ap4LqGi0QDgE8l6yC8UELWoi
wSjU4CI1ghRqWPdYfYEcb8Af6BGBberiFVygl6ZRmRVG92MyfdhhtzajadwqQdev4UsB1gFdWLqT
XZRYs3HCRwGlrlLb3q5BLZv91Vpw9/1bU+RiM8GJXjc1hCVP4ulrdH64AMacMuBvLyjHxWcaGaCi
oWChMJD1W4cOzxZubHixkhAoWPkBtZnbQcjpmV8+lobpf9MqK93XwB8YY0/TeiiBopmFuDURSD7E
3ghwfNTAjflG56p91rqJTZHrRDKG9wytUeZxuBGR+TFozbozyveysC8yHHZlZFy8oDU2EU3dFSD2
NHTViOjrmyYyn0NiIvyNRpxd2mKdNr6yMIwu/B0epQM42MuO/8s0W9i/ns5Iz1HzhV9svhZTT6/I
rFy/VA5TGtxBDN4MSbwrSmaB6UnVq4+/pKxhXim7GOXU1IURIt4Rpvae6Qxliur0n4he/ERZw7xS
dklEk5q8cT4dxe5ZREVweGodyXov4vdf38FPBMiu/Yb8EJ+hLgIbOgEYlCbjdtU8FeznWRdm1oT5
9df8REXFnP/7H0Rq4HRqDM8GlLwHuWA+chRp8omAx88++kqgxYJGBP91vgM6N5CXfRV1k9pa/rUL
V3+88EavcytPkM1NQFy4NpqecvT+mmyNeaXLkk8CiZ4IernS1A+1at/moB//muaQeaXKkk5Mp8o2
1Vc2BribeAga12zkZ1pMcr79/0a15tptaAKkF4Udmy5OK6ZBTqUWZJidhVZCMBpltoJ1kj0reqp2
oFhV6t2+mXq4kWaP2DRSxylsxQKEwl97TdcWRWWnh3k9on4BhABgXlHA5ATg8Ikys/GTu73a5lLL
x8CzYsxgyypt6H55433Yq8NBBbAYrX+90n6y242r3d60ZUQXDeHK1L7PqD5opkINEA+a8vTrL/iJ
zI0x390f9uA4RrTtggmFOX2e4XyhfqEP4BfvIvg27/aEtsOvv+knW9KY//sfvqnMKHqw/ERn0vfe
iz79Iiv7M8XEnyhLGVfbvc0s1IcDPpsirs8vE51jExA0OhNQTYplzcTx1zfxs5d+tfNDBEqMCPjF
KlCyVx06qFEWu8rvPrFN+dkzutr8miNGDZ8r3CehCaL2iNxK1/5FOTPjavejxFIPMZy91ffEbn5G
QW985oT3kyu/diMaJylhHs8sEEt5B9raLKWf6H9Nf+/ajAi43pBqBkYgNf4fS1Rnq+e6yMy/JHJs
XxsRdWNryXaYT9RCBieJCjFipcUnUeJnz+VqAweF1vZMz1gwXn8zGxlQm979ei3+ZNHrV1u3HSbh
hSZK+hLD8UCvmN6ZSxoNPUTB0oCxD8Xn19/0k3xAv9q6dpOXhSLRz+eATo9RFeYM8DuApdSMLhMI
6JRM686//rKfhDz9ei8b0sQWIEC3DZ1AvFfkl75UdrqQ4WKu5H79JT97LVf7GByGcExRGKtEs8qF
BQS/xY/qrwUJ/WoXdz4kpQknXDQPnScFibDMn46BY+z+2rVf7eN0CCEJWrgp5mG/UMLuVodp8euP
/kl40+ZT4g8xujMRL7BsrtyW4VqAioO/d1Gi+q8lfNfmRFWRR6Yx22GjPDosEBXyd0GSq8tfX/xP
3um1G5E9SowsPZy0I9rYq7kRJMvJXP/6w3+yBbSrfWwYjgnBDyX0pG/zgsa4Z3j7SgBhcbUiA58P
VS0GL2nKwf/X/fzH1+F/+x/5+V+ZU/3P/+Tfv+YFaH8/aK7+9Z8Pecr//3P+nf/3Z378jX9uPvLT
W/pRX/+hH36Hz/339y7fmrcf/mWFL1SD1fhHNV4+akAm3z+fK5z/5P/0h3/7+P4pD2Px8Y/fvuZt
1syf5od59tu/f7T79o/fpMM7+48/fv6/fzjfwD9+O9MwePvbqc27t79t2jD7ePvTL3+81Q2fYxh/
dwwVwSobixko4qzj/uP7T3Txd/R0bN2xNKnPP/vtbxkCucE/flPk3zWpAQNyiCR4tNlzUlXn7b9+
Jv9u6jpAUcuQs46K1H/7v5f5w4v6rxf3t6yFyBFmTf2P335MqlAjRa5IFTazCx38Lx/643aqzXAE
SJHZh6BXnaMIsbAZ6yi4aAi2LWRr89dITZzbMgGrOYT2J2fOlfon3687aJ2rmqqrGnd1nRZZFSyI
THNwBUiSD7u3nKOiKPZeRNq0TsokflCSeRwRKk+6ZIbGDFJ71q3+3RcOLX9rfNTUyjzI+S9ja0yb
vlJesD6NPglkV2Zb36/TMS2oGppQ4bLYVyfZYJIKtp5XHutMwrQfa/rcWVpFh55eNa5lDgIWmX6S
fvNMYY8sR2XcU2KEmz+ssn+/vj++LnUOzP9VuHAdhopaj2aYmqYJRtBXRw+AZ21WNRRHzRYAS1FX
OHctcDY1N1gCgboJpgK4mdkOR0ta75mV9vcitVFIc/yjiKx1BbN3P+UOoEucUO88C8XBwj47qr4H
AJgeCmv8NCeaj6ofL1o3WF+GpgqL/2lXFz00+IZFqm0f5WSjK2mjVriy7AY599Z5bq0BvRuGyJss
mTjoQjFCVRXMCHuUY6wyj5eIivgwgKTlrcooqA9mmTCEbaOWMV2zNrFDe8wx5TlCGQgWnqb1B8dg
ImQaoP6Hqm3AbIrURUA0fy+c4NiJsf0KJYy5YXALBjDfs0kMiOyjUm48K1r3+i2o42xhI5lwDFQz
viuqPnQNP6lWv36fcr7160dj83RMTbc09AuvDmLLHsD3VZZ31JM+pEkikr0TGMwxG9GvqlJpWWWa
OPRZ8zLOL1v08IMwTIm5ONs/1rqvLn59SX9eYrY2ry8c5EzdkKBYfwwJMvYDK2s8/zTRy70p8PDe
jONtWEEUqBErf4haP3zQJCpyuauhJblMouAMOIrpCJtd33pFuAH+oj4yu/buEOzZ2AGk0uJVWFV+
Kuvhs2f4pxg2X7AtwEAYUtcg5/x4wZOvxyoSFcHJjk0slj3DuKkrzXf1mRnvyEhb5RHMOm+AygNz
3YOT630g9G6saqGoe6uUoMinJlpnU/0YKRmjm7FtgFtaIJZD+fjr5yt/PJ/ZwjgnStXE4UIzdF1Y
V8lRo6KpBtgmOGWMvga79w9WWlUbQZ/BZScjXTnofbQeojsRMcAAkVIfNRqwCHBVW3tuP+uGwnCj
W6vZZH3S0/nui/bDguTqUGvTOHZU+v/XC7ItA7OaqFRPQ9epyz6Zobp+HlRL9PrapVGiLuvA/Vrr
oQkIQfr1DobZpTCPuujgk7TRtFX71t4Kj9lSJ8MbRsbRUiLBAsMuAUA5NfG6HxOYCbquumkIcCgq
/BcpJtVVnczeaqNhf5Zvzc/0+q50TbWECSnMttWrZBradKU3jRmerA7ufp2L/Jgq3aaxNWNvjesi
0Wiooze0NEMYWCkaqEqg3EhzuqCat6oVb0QjZExXulov4YwAQg/pf02As25C5bWPS/9oaZW+xOEB
AK7t5zeJYIKYjeHaARu48mMY3DEAtX2RI6FNibuJSM2eA3SZduhkuIXnMDSOzUWmev4Otcc92f+y
lMAzfr38tB9zz3n5WcIm6yAimyjwXAdjz65LoaGZcqpzf1pLJ11mhGeAD5C4sMfrF2mnjttQZXSm
9tMXHzGO0QacEI1gAQCeFXRxB3noRj/cBH4N4LbpGDTRbofJDx4hqhmmtii1nZwEEdwURcWvCKMZ
UoFf0WX+mUypdhtpMuGyk2o7yvKj9VNllaNodaPJGcQWTZ9UC98z6x8XgKWqLGfCmqVZNLN/jBGx
ZgfIqFkA+EY03EK79LBMNfUtBNk7FF9fErWYXSD7bKXVY32bAAzZBIBjdkaEjmiiAIuePCtcxgiZ
I8ZVXXwQzHs5jQKMHSwcJUwbxEDqioYrUltcRLrrA2MJp2ZbJd34GnWwP3KEl6Q6dRddIqPE2H6P
gnN6n/ZGuQCF+k3FrGr1PaPpik+78VdhkhxPM4VmkBipqmPL67iu27EP/kn2txPl0rrAmKyHRWMw
1EHl7JxAhbSJS+sqMOId6FJAZmEg9gWOQAtLr0fIuGG07uot2i7iPdO3GoqtzxKW+jJNlA2sWWc1
maY2i9Do56yHkl44xdG2wSgietM9jKHubCR6PMg3xitMWduHDByeq2NeataU7mqAiM/Ck9250z1n
Hxj1PkxNKLeWeEAzD3AFhkx3oPRSiEy1eDclQkPNtLPF4Bfw8bwl7MPenQYDSD8DCDgCwFrGyNog
xHcPvw1VHGEUoNATHYbQqG6xHRsXVlnop6o9BqWeLaeiMzdWauhH20hKaEN5sen6cVhMmqHeDeVb
OMT5Jz2L74vvD4tzfjOWRUaH74jpsE6vkoC8TWLwkXBfZIDQPvop+RIR3fGGy25WRlvDAsFDa1Gq
/dJTcXpVjTlp698SZZJrx9HTNROXfDnikOLqvtQeW7UFwCjik65XkuFfDqNlZqq0GkqOCsCiAaW7
JEOPKrUfoHkeMNroV4yffh1rvlsL/uHGZpcnRwOUSqYqDXLXq5O5j3NFmoUWnurZX5L2dvYg/PAm
hmNSSMt4zHFZqLFxPKBve0YPK2RoXT14Q3PMAKqzTav0CA4cqlmjbaH7xE8KboNu1AzGJ2Hxu+nl
9aUSVim6KNUEMfLHANEAP5uCRIlOuhd6rshgcjuABC/gVN26HQEehoq2iaIHpeOMqr0EXmSXXfQg
9DfpFHwdVB9WOnj7MJhMsiZSHk2TT8iW1ucMyT2EQfyFKK36YE9JAWm1UD5ZRn+upRz0Z6XFAafb
0K6u/UwAFmcT88P4pNnVbayBIkw7/6XiJezRMIvXlXxE8bQ/VZXqOrEArRgZ3hrXPdgwI8/ezwYd
sTq/W6SMh908zdJVhc7GJ4vCuD6L58u0+Isp4Ftb1452GAcgnB1zmdLetNokNpiPbu1qqGiNWwC1
jdK76x3At4UCei7z72yFRipjobPhZOFmrGV1QBrks6b/n1NxR3LozLW6qrNor69r0LNS2uhhnPJs
ovZt0C736ihfFrb2qGP6tnCcEkVHI4CNlyb3dpzXYD5TEmFgwu6QVMonT+q7VeqPa1LOMVsQlR1h
6FT6P/S6nHT0ErMClapHibm2Jg0UPKwRDFsNsPBg3VTdN8ktGKTnenKb+6PCQQRcORHjjdExFy/K
xN/4YVghIQ/NZjTrdoVzuLOucjiU1pjJpZCrWUJ8X2XDp/v/T6muo38PbpTONhnvdT9/aszK92WS
noTNxcTKKomcGAeNQ2WaCBFaMYip1MiWXWXeNZnkyKTwX2nmTTV1bpTU3nqKkQNEC181P3UT+z6H
/vHx6tTAdF8MKlObx/zj401TGPWVocenZAKVUzcwVhxPu60T86Og87EePQSoFXRD0OkV8WKYepK/
2OcFxNYZM5L2NEor3+iAq5MQMLTeOC+tUzawqA2kAsKk2dWwloXWWiNgsgoSj1dFN1pkj5vIqw8d
5gwo4BpiX8b5bTsirxCmczNT85eNCfwtUqN6WRJCl1VtNZBQUT0pUnGE2X70HP/JQ8duLVTUamuU
26C2D+HaazWIpxEzn8JJgf7WZrkZfUVZmaZXL0KaMNtQag41tHcLXLw8pmDPoFTKp7587g2/eBxM
mH2xrE1IRXG9ANFbvsI8OqjAJZqqrA4IY4b//0ud+pdmFGTXuYy7NqlqykgojmMmJ6RwR4736Dme
wuXYDsW6dRTkXB/bGhXcWCMCxCOGzoryfyg7s+W2sSyLfhEiMF/glfNMStRg6QVh2UrMM3AxfH0v
wN3lTFVFOTqiAkVQtJIigTucs/faI+WW4pVMiVWObyBtoY6ODgs46gL9Uuh5jMxXZ8FvB9O6IN23
TscdoxR/2sPPUc9fryN2y6rjcrGztPxS3nD0IK1EHiUXvI14Wsd+39pFcJTwt3pR2LiYBP5TmMdp
UYuzUmR7YDrNvuICXAvD9NatkA/Oyt8n5WjslQ6VeNA9h+IH4nZjnzvZocD+tGn9hAh7Na8WmlGK
P03V/+FWpZzEfkejpsjm4MvNQPZw27rwyZn/0ON1vXqCXSMPBYXIDX2ytxot7sXjY10pY7fNMM8f
0kFe9T4xV5QwupUl03sW+fs8MODxVIB5/jBvqP8+cZjCYTXhUicUXKNfChPcRrBMnSi9NBoQkUkZ
zc6f/3ekAtTfw08KTvhHMaSPdlUd2wTVbBSh8YWNN3E0GpR3cYZ8zHCWpWTPwna/RsnT3bS83uim
ZiBhxuFEjWpXRnawFWyJlviZ3Z2fxDg8VDP5qJ3sMwMIuhwdo9j1LtcVm2V3E1iK84IAaV2X2aIV
Sn6XXlXcgzCp2M6DKwpF5R2cBGQoI444OsBXYrcv9k6UqGs94tq2Bn/8CbImA3giCshim7wMP9Da
a6iUom7nObmyVqPcQmRsxfhqulPoRo+Rk6iTLBVIjuIdE6UjliMEG29axU8YtTgZsf/TjGyR02V+
svc9BX20Ot7jiBgqqr9s0ZVUPg6gllVkUXpj+hQ4Q+INUOcVQ/utrXrQi7zEcq3qeZzEyIq1yiKl
e7Dtrn4Zoie9IBEMBHG/1Z0oe+zq4GDJWF33luLuAHijFRmQYtGLqCBZZt0qqfx468fAxAGRHxPd
YQ2Cy0l2IAf++3Uz7+3/dnsysBsOA/wUvTVB0b9m++UQC4007I2zK4aBGKGa2JUEw4ENRnpj5Q9l
IdOjnvGJReZW2ImxpRipoK/LmEdZfcBQxBzobWXIHshvrJ3duYw3KJsPWpAdekN/TDTx/N/ftTZH
Gn592y6lZopwKpWQrzvWxrCkVmZiOMMVAWbWUjZoO6u+YNlUVxj5jZVrlfoC5m74kcr2CZXMBVVL
thtdckVqiBFPoZMU4AhQeo6OrB+o67/nMARPPUzMbaB3sEY7uTdzKl5gj61rZVYnnUCHtfDSYeuU
8BxMG6shOJdr4edy0cHZJ6ijkCet0IgXoeIHaJWvWo3Qt44Yo/oQFX2YDsrJE0zn1IJvjaePwLbc
VWWo8Qnyb3yyE0DtvagxMdN4RF2uJuGCqi5wLoeM+LqEofTrAJCLPlkSbIescTaDa9oHz0L2TmMB
+hO4hFXHCmIrq71SmBWRLvZxzPVgGziBWFomJm9P+MoeMNy4tQOlQpIqG7BcObRAaGOIZ02AesgC
iyz/NpcO50MRdx+y7/MNl2h6TLLgh5eG8Zb4HLkxcWSQBcQ+BF76uLUIE8EyohxlO0YgKUgMzO7c
mCRwS9XcWpC2uGG1jSG78ma02pSko31zpoBM0NEQAsxbFPk9tdPIuwnFfgspsJ5AT+uLInearWvZ
z1Jpq1OjWAvFrIPz6FIeZL9Ot9k3x6NdswPR6uzmDXrK74q3ydCdA8Nt973m4DT38B2TVQ0XNDfk
HpHlC5JhbZ8J8gFHzzMOo5uuZd2C6WrDfTgAWcXY46wLpfWaveb24qh2XBq+B/ZYq4N412UkisAu
swAydPKg2HxpqHaNy3zoIjgHxYsPYflFaypnbzgmJTCB7cVUBGatFor6qWkpgXTUxJctHGPAS+AN
e90xDnjeqlf7pru+8czH4MHqDtwTOTgYOxXPWkU5zgUdP14fyA8yMPSVYwgFgbge3yqKlU9arqI3
DIboGLL0OyhZ6S7ahnETDK+zKhsHm7NfNNxOdoxCOB8gW3GYH2lldKCJh3+8De6laQd3Vb5YsRB/
GJXmMts/b2/Kv4Y1zbkaLZ2vk5lDHV8XmceopLOXDNvgZtsUCgdclWzU6ACohqoC9RyGreWzABrh
PbcVs0CBXUTDKzDgkwldZ4eJqFsxzrJrSyDWqQVqUoKLPmIVdlfpIhTP+3e9MZbetzEqlRejIlWq
xDSGwXcTW88SrgQxXCnpQbas/rSs+NKvYvBl7DJVjfWRSRvza8ebuzatOlD/5xCN7BFw8t4IS75S
4VzYapXXxNoACK6P4Sitq2q13Y5wkeRP7+LLymF6F9Q9GWOZoWzn36YArlErsQmBwKshxDXzsweB
zGvF+NBsKgUBeJPIeFlBoF30kkJmFKvjKkMKsMKGjoOm4MUp7LsdmSZ/uBBmpeo/LwRav3yh9Bbp
CRBO9M9dCLdkDdhSt0gDAGHShxiK4toDUDkdUtTfyaDh7Ma3B2dRT7ajWb/WI6pj6pn3IKHko0lb
f7b9dFs5YEPhbZK6EeLvGIbY3TCEEBhA0JFPpBU1/xa/dbrjMq9XVU+FK/H9coMa6tk1GqLvIm7p
Iqr+clP9gZwTZATklF0qa/A2jheLJfkk34PWznag1scnUGUX0xnFtRkUHBm0F5l2WiDj8XjqjPJk
Ol63s9PJtFr5n25GZyYziHQSlrsLfWGDTbOOKI9QmtMZcLrkmPWCXa5EEt8WnbW1vJ6+G9Zlzxyq
Q6CHPmxubfxT5UT7twuEdQH/Y9fPChMcyZfyMFgoLcOT3V9hRGAFcyaSR+mHeC5sePGwt7MVIn6o
krG/l2YznpkcwekBuCSjRj/X3s8gS8F6xaqyB67VYdT1x0VZdvYWvvqOIBdzQezVylBy1tTSe6lA
8hxHlFwLjeF+azfSu1T6LQ0T9xIVrss3pGFitT0Q02Hj7CrV0Z+t6kkjWuapKuSGyKDmXqQPxWiw
zDLy+kSP4RN7g3gfvW5jjYn2oEVdNin0d70aByu8RN1KquNzwiv3UVLJLcLKAeMLY7vso2Knkliz
cNiNLMzGab/Nj1SHrCJB1tkWg7UAOyAE3y9+Yyek9B3TQh5G4zORbXhVSIEjSC/G/yLi8dz50l7b
XrhJvdI7kfQjAD9X/R4Ic0eRs6ivUNvxvEuCcBT2GhvHBztRq9E5DyPj50SDi8e7NKX+7A5jSbz4
cOn6IljrWhhfqnjU97kGliJKu57VjAHvoNXJQhD6viID5IT5cBs3IThoL7uA0VWehObRPCONhVW0
hH9rAOZsYriAhQvHC78KGyB7C+dPrDrdQWzaAQ3A5Nr/oR2lf2lHsU2kDUGV1nVosNIH/LKTGTvB
Orce+2s8jNl2AoQOUs83iE+XyYSipfudZCayB1Ecc3wuFkibihivpe9X4apTmUk9AlzW/ph+FKGJ
dTnrPgd21jiIUmfz35ei/+ndUntCJ8LOnMbRVz1/rQcRQJ5ouBpkQDEO1uF9rHauEq8yp94XMjYe
/IBY1gzXwxi3LmXs0rio8m60urrrQGGvatyfBzOThLYTxzC6GkiBLDgMNpme//93a1PToaAjmPfF
1wZmmFpFK5mRrqMZZyTANcmw0EvjHMWl9kTbEy4TWRVnHEc3/h6E66KzuF2qoV543kObKi4FM+1C
19Ve2BDv7uRFvkeW++45KWX31O7/tLH9WkCYLgfb0ZjQqX6wFvhqZujGIcWZRyAjC7fX1svkHdSZ
d4D7gnXGUf2VaU9+mrGqT6C3GzpR0DjtGHtpePBb3fimB+HVSw0MUaAO74pmSkiVrPVUIoyUzhG7
rmIR7I/JE1/B5JIxh2wnvSy8tSVwK6M5pFqbP9VlFJ2M+CkmAmMV1GkLRJVyg5o28Qc5O0d8dysM
+/sscMtTF0EJyrViWyuxPBK6tR5gFI448OkjpFKGJ7d8rbwyenNrSbyaBXoX6iRRNh2CyVT3Dj1t
ll0KVWBpjoly7WXxhnpFvgLEmaYHFnZh7F28ovT3pdZxZ3dYxzI4Gr1Gs2qI0/Co+zilzWDtJx40
J5MpTbBVYfh4buDpZKHQNgVgRBp4ZXixHRq3RtXJjyCZBjGKYzSJZCjUx8r1qRNY4pUkR1CqsoNF
Urk703abs6eD4GkL96QDNV30ju7fOtoIGKa4OEpN7LNCHIBVyqPnKe3Rywd5HLCMDdJSaPdpLHkC
R3lxbWVXeVb/2Kb0ZCSkMIRloXYy39shSa4Qgaemufs96od4WCDkYyh2yvBQhkw+kDtayFdAoOMm
sTBkEfzkkqOyxCnqrAo8xJOHq78FlnFKq2T4wyJlrjT/Y5GC6JEGlbCE4WimLsQ/Fymel7djVYnx
aovkEU2OeibpaUUbRlt67LRIwMwYhAyYR3RAcH4+d+Q37dMg+xzcFGqeMXZ/2CDrrjqtjP75pmzd
IEvMsSzVEtRn/vmmurIyewptBvtW9QkZ0RUIMMr66VAFIeknAYoF2cfhMWjlmzm0JrTvGOS+5kdn
N9jZuHcfkrpfBkJXPzz0ni5VmgeG0Y/BwWUpqgjEAwzID6gQ0aKSLTNmIqGTdc9W7eYbYlKSjVan
z6pIy70Q/Qop9UpKl4zavFk5VJ9OOsX1pavgWFZ74HSAW+gw5q+VpuHIh87GfjHcKFK+JFWvHR1P
9ijJrKPp6NEltYzi6IQFcKOs2rcRfWYAMoWjgd+x9iQs+Y8tPBYHyh5RgN29D+u/orpVF1qcF/De
2LZbLHwJySAsfczDRytS25NmINhIcNqCO2QxNp9SVTOYTQJlGTnadt56cbGZB5ieySLOAmvpBm28
8oehoDDvwuL3ZAHCQaOepRpD+OFpJg7f8tFhmgiarjy0VcMkXYRi2VDgMh0tRlsujdfS99as8Fes
Bx7xhtWb0h3EuZ4O84pEqMbRL8jMsNP2zRR5vje0jjO1a3eN2v/syWYfFknsP3oo2XYievab5FKI
Wv4kJuximW5wcPS0W0bSNW6qdH+YpRkd5jOpVbusIwAG/x9GG/2tTDV/I2r2WBW30I68O5Jh+87b
Nh1rbs/TDlmah8BlVcjg5KnElK5XvtvyRanjZgRxelSK8toQe/RsmYVxEBEgxrRwsVuhfF9IGjcv
iIBuIyVLPj14el6zlCOZcQ7L22PSFT6wadvwN/4IzkpSXzgVMTVDmTNmopUpiQh2or3buOYuJpkN
+BPeWqT0rCc1XM9ILmBi2pBZfP4uXN1iY2FwWoeCuFA9jMybH0Ia79urBRxhPb+hIfG7w8CHX7Ce
hXhvOuWqsEnelH1V7c22DyC9oXUxsIvm3qBsa78CgZMk7hPJfxBNW58sP4a5xVwrSGu6dlrpmidm
2COFkZNImv4WdhL/eY94rBUJyUzBsXNT4ARTuwLgNgGLRlxdNauJ17HdgVsn8sgyyvQIxIxgQLbr
1H3c4yetwOixRxj3iHzmbOc08AdyLlaahJU0dJRhRt+Lzh57LFYgdfYzpk+8hny2b33prCqcp8C/
SZIKmundsU7RgOouJO3FYyN895AN1JOI1qm2ua/B6Q8NeeN2OsQVdZ754rbIGM27Nbtt73vaBZJO
dhXf+h4uQk/M4iVA7rYtTacjb4CwSxfDLQr7/FLJ8k0a/T0sxikXutWvAF31qzc9SvXxey2brWAN
tVa0YTiqshiOLRfjAq++2HdGqh960tVWJUhsYnA1IMvSopMXYEr1cDuwLxEj8hOxQF0VP4atgdge
0uCRUOx0hAvtC5KnCl30x46b5qgrTsP3VkO3ZZFcAr/TfgYE2W4VoFlHI/MhvzTDpVGgdahhYO7K
6aOvJfACtYzWuZp8+DKLjvOhkl54rGBNLeuOsLIkbl5qVw+vVWdSfFLVAuCQT2wU5udDG1XdehDQ
lwNHlIcuK++BGmS3+SADleAxSuiRPV6qaMiX9L7arV57jBg5UOnAUyGpt8WwafXir96yqFqlYAXd
pnhTrcF6Yn8ERidiRxujzT1b3Skl4vnUCeGv3FQka5rb4iHrouwgqT4u5lMyO+7K4LUblb/+Oey4
3IA7vyqaRrwNYTXwfP1d4I71NZoO5rRfqd+n/dV3qudralT1X9BBL7DXzZt0UwjcfSSsde7HzbXU
diGr04uX1iyU4AkvbKE8KRFF2CqjTBn0iEutgLfSlvJO3Hl9N2jk1fBba9PYlA+urnoXOy69S0wF
GHxLyR6ZYZs4GP+QdxpNBUJyHyr57MSWeSdKc5kOtCf1nHs5yKv+THZcd9ZqcLjV4O4bsuo2kC6o
IUOdWY8puRu+oLOA7rHdAGnz1lrS3JyU5ArQtcFxCKtnq3TGS1oOqymwfCsl2zkHN+kaZAdkUbhg
R8QI9bGpQnWfpebO8kX7pPUFpu8QinFQD959AFrhReE+tSm7E75VPVie/uZprX/MQ9adbuN/D6bh
HkyfPOdYsM1puG8MClY1Fu+10FNEo4Z89OFBQP2xiq2VY5ZL1IytMbCDA8GSZOsdyiK3Xrgj3iWu
jSsyvocuYVMZJPHwreoCgsN8nc74pAsaaaJtcpXbJc6AO4UKs1hKScVZ9F1zVgfgQ3zPsE8EyXR4
IbRTioK4XYRQV2vQ+ysrIRIltP36gRZY06vdk9ISvVR08k7xkEAAg/GtRV0E6j1pzk5uWFffIe9t
QkDOV/1csNW49i+x8TqQJDbdamJM4kdo44iZKuc5pZqwa/S8vyJXpOdCOMnW8fIS+Wp5MBM73pmj
Pu6CqoE244OmMco63sRIFVbSC7YELzYH37eZsIsygIYUuOwXTC+/aGk3EiFeNCuvBBCaFU16Bg7L
rn08VIrSfI+CTCwka56N1pUWw1EHHGw61KkRbkW8DPIBYro35OckKPIzo7mzrEKzQySq5uvKSdhj
oHO79K2fn+eDbpYCABz7EYpK5txxX3eBO6w8F21MO/hQ2o0EHpUSjnsQbttR7/S/ghB4nkMyTJsI
kHuaXPKX1W+lWq17U4kew1CNHsspSJh8Mdpn986S7k5SV3i1VPASPqQcT6MgavA1bKqulju/gspQ
dEP1QN3FW/VIANVQshV0/2p1vv2hGr8DmqToj5I0X/g6YTiA8jPSf/at8EGSSEpjE0+S3sDgAxnX
80sLcn4bZMlHGg1ySyol4DclH9ZqF0YnYK7L1q6LjZF67rbV9PgQwAlf8k3Fu6YZ4NJMovYSK9aC
4MP3qin8Z3b48ypMVJm89m18sEngUEM1+HBtCk0+Ieh9ZNz1SUsZdaMHhrDKdwGkwGPaq7sosOmW
cGUuVJQhB1d3b7WOGGIxqu6dAKEN2FcLpAlruJry+yITCDmDtHS/VUnJp4W6D37rubI9ccMTJW6F
HmkLkxHc0Ai+cGPTOCb21XexhoRJtCUQVdJQVHw6w9MG0xHR97FtgGlFP2pcbKe422e9N3wb6wEY
Q1STMDZtsEmDe61ZFzzl2jSlD9Sy4ig6KKnlA4EOm61Pe3RDZ0Ff5LaQ5BjJVZEb9k9HL0NK4BIR
C8MRcl1r37I4nUjlEZPLox/Xb72jNONNsGJazjexOarvURy3S5+cjnvt9NdiyIe9piP2RmNkQr4C
Z2NBDEtNQxzUgYWDbhB5LYKPlFQCkRwrkjtpvYhDMq3xSsAS1PHC29wtqOg0Eb7IyNgG+1L23qUY
2fVDqyOwEL0HxDw7K1ezZ0MgDp4qOA+Bl561UkkuQa1/N0enP4K3GlkzsxyJUhDBhLp5i3Rq1cyH
zurMdRwE/WJupOVZH+xMMk1gFhrKUUVNvWUV9pBKFW6R27bAc1qmbIoEYF4aIJ9aI+qjlVX2Dg3O
xiyG+hgXHvlOIDZcIwuelE770Wi1djKm7Sb5sfhkIztaW0DTtmMwkHtVDx/zyNETbngNu+EQhyyN
cZiFqtPfBKLxBTIyZn+CF8cD+WLNQyO3VBqIZQC699pa3GiIOQew12a0hzgUrlzawien9j6F6nXr
XA7GTlHRDUMpjnZZQp2m0FRGbbMcnxBZQ5Dqo/bTM+4eqrcVCnKd0CuorvDpPklB3vsx2oBBtZpT
68biwTPKZGF2RXKYT5Myzo7wVc6pZ79lmVu+9Lo3rls7zcAvJvqpZum9htuuvECwfkl12qAaapRH
z1Xw2ajGS50I4vwquziwXG1vbMEiHVqZSt4u74/1thN6FyOLXVLoCv+JLcMQ1aydZVyvI9p4OR0v
SU1GgyYzLaXmRZVa7iIrNq5NqvQ3Q2b1XkAQmpK5T/NhLLAW2VV+mgcwk1UVgV8lJs6xJk1CXkr6
vEutc/UHgoIXfR0yi8R1exGge6km0jjG3kLdgT+aiELvc4i4cNq6+dFZNODViEEtB+G6zp2+W/n9
MDzOj9CKQaWZzWBgl2HH1rZxHhz3E2GTe0cuB45MdnvXb4e1JvzhvcvFurE162WQ3KZlLppDNdCf
COEbzdtSR1duNIcb4gUA4bE99QEBt9HRzjVvq8dw7anx0OXtVALxtLzf45fInlWLqJBGr4iBbiZg
4tAQSzUQhMZ8QztEKu9qfrJpJ925v6DMJvmvw4j/Ax5VXK0ZdFhh5KncT2kmT1bVEqU6aufQ8tRr
16m7vrWMM3bos6Wnxn4+k9NTetuSoFXkiGEcxyGBARmrEaj6M8O5C3vMCMiF7JKL4zsPtpmzo23N
a+/W7V53OmPX006cKNvDksBYfc9FrT/X0yny2FPJleKMoIrRQFr31oJCZtoZ321jqqeyituV0SgC
Epul0nIf04c4U8uDFZtk3lgq0T5of+u2ltaK5kWydaMSMm0Tdhe9RAWcd+JC9spw6/LBXGb1YC80
0SFgqRvt5BoVkJrEeBodsFZG1xj0w4zwylKessH0fTZOqDwY2JJSBaOUE7tiYQehvTRxgqzLlA0P
yYTWMUpdlO/6COcPOpksDf1akdP8kLXyR5ERFoLGXCPCwtBYrsWwymhypBs7lvHJp2hvKumPepLJ
I0HAUM19n5dMzS6hvYcUuctq7DXtbazC99CbeLT+oD1igFpwC8gP+rveckDEc26FedUIg9+5oLLY
LrDGzxJIf8Qt2EjCfGLNQCEjaqLlhysyemRrUSw81VNW82yLRnpks3yEbsR0qCQkOoaF+QPIVKlb
xR0Fd7iy34KsLV7DoQ+uupV9dl29DFKk8Owyof6Air4qmqHvWa5Jdla1/ZiLkhJY3LnbLsBK7JVS
2QUyVZbzf9OyyGoMVDeIsIT063QA1ec1pAEKX6VBPhIhPLRFQWpJ6l3mQ9Ewt3ihtTHlcM5Vu781
FMdOZaSwe2XXTRIIG1amA4eVwWdTW9yCwiZIfRZh42TcQaKTG0l23nsYQdHVwh52XoLXUyAqBeZB
XdPK+o1f5yZjqHaQhcwvddE8joSYX/rKaPkKcvXbOD0Kcnv8FsX+FcHQi5YS/zbfGLYTDrwKAq6r
3GGRuTCOzGat0+VZiD42mIqoClHxanc4RMMLDZdtLNIWrziso7QLs0VuBtCLaYKgamT16SPEv7RV
m69+LTKaQCf8O0ND3qtqdiSgXH0BvPCG2KegHN7LU1Nqn6lnTLG8cYXHplbOmN0h1GcsiNUwUYuD
69J61KrMeC5wAMo2fmaZlq07u3GodRvKef5X88EmxnGhVHoy3W0/m1qxnlxse8dQMjvMO9ExTROu
+10Qxve8tKqfeEIfcoOCSl6HYl15QXV0UlWcMiRV3M7jok276glSj0O3VSfGJWqnLXp4q33VuiQl
1AQHSabjhIem5lYvxsp+RBi0nwvlIwa9lZVbACP17NMynKaAvWd+K1rG2Q6T0ePgnBKX3qMJVudn
Hb+UExhaIpBYlpVbX3EeUZ0uXtsxq2+BphQUMFh9YACqb/Nz88HeJ3aT/+2JIS4M0mjceDO/sp9e
HgCmVFKEpcFQbTXQl8exM4ZLXgLxBi21/z0a17RBVn7OeCfjXF+YOiGwJamI2J/i4EgqK+wGl/X+
EVnOuBo9hg27H8WN7nG9JpSvX80r0nltqjdRvdcKqH/zS+ZDMbCrioS+ROVPgAoZZjt38KlCy9EL
Ll1UhmcZPrHCMk4ZSQE9gUYP43SoB1oUWW6Ee6AR6oPv5NoDBaMXw2uH4/wUWD2GyyL/LgADBYPz
ohZ5ffOq8h7ZsfPS2jI/agWVu/mHQ19AmvQje63Lbko9S8Otw530a1Jigx4zZcJQbs29VPWQoCmP
6SJxBrq0nKZewFq3a0AyEwEmzTG/o6d3L2EgD+2kMJwPNYA27lGD9bWxg3EyvEg9JbXANprTfJEw
Rq+cWtOeWosy7i8BjmP2sDMF3hY63+FrMjYHASLmAwHH2TUFTdKCOZd1bPI8dIq5MtWO9VuCz5Y+
ARF9TW2s558mEimA3tLPa311T09Ne3FkLzdJYpebgCXqC2h0QkRayu2SD7sNDfuRdhjIbk0l4SLm
cv51wP1O2kaQHuZTrHiPoUqMGUl1rDB9GqNZEgRAq1kSh1KiksbhomR9fFFd+r1BF4GF5i6yIwaP
3GayRk9uHTTf3Iym0r44taLjaiJkL8EhcRQwNMmPKbw964lXVMb6NVQwRS7UagBUbnePSimeOn9N
+joA1ow1zkWp41e4Y7iF2dUefDmkzXE+zxSFaTBxO/bYurdLfBwMgHVp7R4aM4blJzp9l+jpkqpO
kCFwMbKDNf0Oadkqi/HpYV63lFKYHcGou8aHrqXZQYReSpa4CmxzPie/IP31pM2sFhM5wc/nw++X
/37N/Nyvf00UmL/u7ZrevFJmh3A6ZPjVD/PpwFBH7t50jpoL/uP8kIYhz/5+6d+enB8Svfa/v0St
rHSlNkO/SKi+w3HMZXZQpz/g16Ppz/3b6fQD7HH/99N/nc4viebfQBdTLH2XKs/8G+ZDYLsD+kK6
ScauRqzTWVZ6CEgGhir3++H858/n86GY/qhOVrzInT6s+UkaqlD4ha6tvvwh8+n8F3/5mOYf4BJu
N44MHyj0FgdZJ+WhL/ocPPe/zr1eQTap9rtkWiuZgzddKxRbgHYCpXWLblelQz0ujd5t12Ne/OxH
+zNvQIhmLp6b9sSMDIjQKN9cOK00Ty6ZO2SoVa2DTUpemxqrLDMARLvmm7DpIFVTmmeYs5bDJyHS
nHZx0r0Ikk1WtBEdpl82YSzI38RAFGTk3pRCfwsz7TvwzcdSD+8l7cx11qpvZjG+JN1TIcJPWsxP
BqmYmUPwUaKRwGTWNKpK4vyqpgwpM2UUTbFjBB1vtnnShX7PvW45+kT75W7ykRnFSxbIeuPk6grc
80thaoiilUrAHp76ZMZ3t7FfnKSxSUM4arG7M6rvRqFd2yz9mXh3zJj9ytfFgwj8tRuFd7TEj4aX
g4tsfgB+bVjPwJpFZ3PKbPbilrpJiM7wW9SBFP0+kFMai6n4UZT5zajVS/oWuMGlnojjStUvYiPi
jQVy05DSjK67JlegErcoNC9lqYiTodW7MhHtCmIAmNyRlPhKgxBqpSctJTYaScgq86r3WPSbPEva
nVUEj1VKwanOT6ZWvCG6Hsd3VvpY5kX/SAAxkO1ObGVibKaVPrmG5kXW5lJgBWFep9VUXXoq+qZB
xFlP21jxxdbRIPepaIwstF9669/8ER9UxthUfPp9xw9DiKlOpt9J8awOrf0Iuf2EOWintXgy0TIE
z3QA+EzMlL5e8FeoIbjUj3kSkauda6dqCG6hEqBtYkNF20q5TyucoNGf7EmEF4iT7eqHqMk/DUN/
aQ16mPrWIfgT99rZsqpy5bwq2yEQICsrNV/p/dFLRhIFoidXSo03L2mcUIB0qfCui95/R0fUQtVZ
4OWg5+ZKJErOA+bfA7XxEiL+A9udYpE22Xtsyo8UdGyjimBT1B910B8pxp1UNw82bpMIgN/BSSuB
fwc6hekAFH6WgHpItbvp9HC0+8JYYBZ9KbtwgWoe1L2+EmP4Flsk2HQoihZhQomuIhAu9Om9NcYa
Djf6d8tYj6IGhx/zsUEhr5toiU2A0ICYSYdfVyJTDrONYaO3x77uR85paCbMOlKruq4/x8o/VRGu
rERny5ZlIZB20PfhE0qBVYNuqmzcHvtv9Yl6G9kJ+HczRLpqVMmVyZtEoEvjcy3HvkmZyPY+HUE8
b2LrdA3jvdO+zuNTUoTjxEpniNMjxx8xslIuKnxzy3KREW8eC3ujt2PKirzo18P52b+9YB4XkcSF
68RFWjrqRXmYDygrykMd53CtsmY7D4vzlDYP/L9P50fzc/NP/9NpPpCx9msq+f3v9IA9TWMA3v39
3O9/rLaQhYEU7kpbFoeiNYtDNR3mUzMGhg3P6//O5yfbMCgPaEIWaWtHe6VHnrQIp9kaTjAP5zn7
13nU5+NynoTnJ3//BAMYKIDcun55/tcvm58cTFw4f/tlv37UtoZNfcHH/Dn9F3892bOyZ3C282Xb
VcVhpI//t8P8XP2vHxgFGPw2bDZ11oxLC/jrj+C9kP74vQh+eiaFpdB1h2826dzrrKM1l0Hkfh08
2XmbAq/KbrT1/lyCMFiXRoWXS7TfO6FdHTOhzYUTY2Wbg/4/hJ3pjtvIumxf6BJgkkwOfzXPUs22
/xB2ucx5SM7k059F+eDc3eWNNhoQyu42rJbIZGZ8ESv2bH79hVE3wzZyGueMMdnaIKQC84ZBWFIX
kKij0gyS6tTPXYqaSgHTG91zr5UP1dB5G1oyrb2WDPJml9TSRv4ps6aE7DW+Bwun2/G36aXU/dsd
skBerDjnMtBhKPDfmZzYrrnv/WISbu9o/HsZfOo6xciZvtKrYovjbrwoZkKiUOlrGaqnFjY92hAv
5BdFWMlbXSoqxYlI1ynIly9ZU30n294zcFaUJDP/6nytOSa20RxzxxzWUQZYo7INdtN+mZ7CSmuX
SouKQ2k0IU9FbTwp296VTbq2LK0+cwCJb1Kro1vJ8a9oQIDZ5dSeCsajY/xFq+WyiNrqgD8Y4z0J
amRiGW87K+r3UfxWp31yiudBpJE69tos5tzRrN/KxonBinF0kvNxBsFFnHuPad+sryeJWrSt3bwM
AbITN+Ajja7k7eyGmhNLBeCd+/ELgQSvqNy3zPvqmvNhhoLWHc49GOSs2Me8kRcHUWFdi1JtdDOc
nkxlUEOSxTfTwxbjoxsjxE1sSzqx0wtZne3Ig9c8jd0trAZzVZsFYZMm6g52zTI0JDQ3zdyZNA1+
BqHKLhSV14SiyB0IyThT093HxH/ykZp+dUb8bSK8/paaXHA1vvaVo2D1eyK1nwkD/0Lb8E9hqJcP
uLDWUeyHG+JCTDM43Fzz6AU/rbu0NUoARRqTVk2gUTUTb7cz3GTfa7A1JjVOm3YOTqYzqNPGDUx4
2aBp2avqQ14yUjS5ZZyexgACfxetG7StjD13WY6q2nQUxu2tbI2CXbWKDTuWt40KwnGLhAfhf2o+
AETQzfkk3MC+hZP4YRiasyYC5ZzNBL514OfsQ2oSY3HJUz9JqNShd5xSZ72wkzOhSZWFZzNM8Vdr
zbhraKtIXeH8zG33WVDjFQjvbczpPyn9HF/LNKl9VvLwy81mZYzOcMOF+7PVsdyJgbowxu8u6nVh
bsd4hEwQMsIKo/5Q8Wg5DoXot9Uc93b7B2CEzExnEc0v3IeeTMQ17HFBZJq+tYOqOw51IQ6DnfVb
qz/MfvlzEeTG+f6TIQduT+SqVdESfiYNf1Z165/vP9XgCU6xx14zpqgBwzrzsvnFkRTf6a0I1tRO
0xFKOesePob4LWzRwTssCqlpCw9lak1DjLUnOaXWvjMiBA7vbT+1tGa2T3oB3FxXZbtGry9uIVDc
W+k/FpqdkwngdxILqGzr1gE8jcE5FCO7PkepcKNouqEyBPW9rktzZ1gDwwIQnAs5hdnDlOIq4Wvk
rLmXeCtPUdCnt7KnIzKMSM38/1+SP0JkchsWPS7SlUUmbNWU8uJ6kbuzzcKgp8Q1TmTf0MeqnC7G
2bpX6SwxXmPsSuI5CY3Ty6YP2B9SxcOEsH3TDGjnS5O96e/sU2tX+gIdMF8nXv4u8WhvcqEhfEir
3aegJJVveKchK6CJNeW5Uw4VlAlz1H5EpEpBIuwMLf3Wsa09jNlQLeoMxZnvl7VQZ1iL2WHjm3Ja
66K2SL6yNIVFeLDocjqJOGD6UrGZnnQDk02OMVu4E3kY3baXyp4b+MgqrZAaL2am8huTCncRQWQj
55m06y6gJZg/tQkpEd+nPZs4PHD8J1TjYVlzqWO2SeRsGH1reMMRjW1EvqUEl7alQZ5xZoBnyck9
/USi8n9f6DVdSln6B4M2HvArVfYbfNWJQT6lPkydgfkejvesFd1znbQb8tq0HeTV9xiGEIXUFo6y
OqXxpXKCc5lZwQoUXLszFGehOlTeIR767imYxnzv6XW4vP9ytCtnEwzElIaGDOSEw/Tt/hPVLxRM
z78Hd5a1luTROut7rrGWeNZaeBNTFZWljFZ9OPiaa7J+5tbZKt2MUobE4AlXuUvRzX1wIe8odad6
lTI5+oFYb4xV9t5K4DJdtxiy0vrZL+zasH8O1HpjQDDtB698kUYg5j+crhVywSoyiOnNpqPV0ND/
xDaCSFukZeeJNekJQH82efjka6KAsYZ03GTm1sqsblOREN/KtJvtviXYorrqGjYHuCbIJJ8g3zJg
bEIYSK1MTrS6zuSpot4RPc6P3lAz01FFykRsGtaDsLKVsCpv5ZahdbTZ1Y92Kk5aUVcba1DNrcC8
NSZ6+UuWzfPAQO1YWuNw0zhc0Cab3TRq0d7zGkvuS01z8TFxfPNCDGNhKmu41XaSvaVNZy3HwWuu
mQotZsTz/1tMl2Xj+c+agz0348lTVRYrXmsoeiQ4CWO2Kr8awVPt0BPfWiH5NzNdaK2tVm0dl0er
HJJ9VPKdBCN+EN3m8SNembc3uya2vLWdUl6kdGL0ogjKjRYPV41qmnPeelTduhyaoznAgOo9Q6CY
rc13hqrCrRXb5Tlm0n8bqxhul6bRspZRhmM6QflGB1uwABzU4lCxwg1yMStO32Uw9ygrx4xSrzQe
tllIC3Bau9uEFfYke+0XOB75XLWm8RCgDM7BBT4VZp9F6oRPoQqcE0CDYZFVo0bdJLTw/q7MOwVD
wCbFTKayg5CKPdC8XdBMFt/IMGzciM6Td8fkmCURoXHMYF7V7rey3FStjmFrdsAyPBqOute5t6r5
et+y5MmMvafXAB+K4+99mX7n1vxBRL96ULQ9NWkQkf5EY11EeRjRYzRFGzUj1jQG3pu0k8yA7+HQ
sMP9khOqQfL66jGDv/uwEeqdZd3RtTzp1TnigL7XTXKruWujvjv6A5NcCHzzy/2nGr/DXJaGL29m
yYFz6TeuQFFp5gJdax7ARniZlrbPMJ5Io8MTZbZNld3wrudfqtkYPg345iffeNOiAc+yCg+sIsSt
aNq5DlXKuF/YZN/DdpUYBcwh1pPTfCiKSqR+g1uBzDsvUcN9gWVroduZInMbmC+5Js5z4jSe+vGb
CT9tUUWmeY2CWuw4OUIgJN23MK2ofMtiiUg66RudOd3qblh35uwMFL2H+6fb+V71AA/hYLch0Mm6
p9Wd+hI+iZQm8XY6G759NWfSUlNat4oivyN3eb8NZhmysO2ox9uZ8+lo4oN5weH+t7oWXiFDVznJ
WN5EkckM+23ib+7/1vMbuSj7eSAmEITNlBkYtBPzBUgLxX+xY/6oOnc73b04ZhCxNZndRvl7YyqH
yFQqHvG4x+gZeGAr+KEUrtpyq/UkhVuhdGuBtyK9mg0NX5otASEwXappWHipdVkfneSm4e+bylSa
iwqHHDYHLdwMJfsHaLQUCRbn3k/TjQVwbCXm6R34NvzAHu4z3sX9UzfC9MdQADkaYmoNZ50YKBsf
FTVyZo6Ny22vKnf7cy9bcjaTTtAzz4Zz67flFoxXilkjjM61KnsQXgyyC6W/t6HnPuAmaA9pb3Ee
4nbpXeOb1pjiOa0xGES0l8t5kpm0xXSo7zcsxpF8YWfw3DDcvShNubhiNYhputfQSk+fHS7EgbKf
RudxYS0aH/NhEYvT7z+Ou6k99X5wiubHV5hkzd4uJmathijXRu/RMo/j+TkeZknAVIegmVgbG1Xs
fcpQ3VTiAMUH/FRoNA2lDsc4zfyAcOQfa8YQO6vpz44xkjZk+fTrEps73LXaCYaXLmuecy/C0xRB
P+gSg7wMg+t9MIv5GIOIaDdSHOqKhnRAYLQK5/Q2xo6HmSMJP6LQbxeawXgh6bzxW4IU3Djc+tJv
CpL2sgbnUsT7IeHslIZWA8yDzGUflN+nkUHGVPQPyVTiyUt62B6W+ZPVN4zjhzS0ecy6Rbakdrp/
aGGYLLIBO6M9iNfG8P0jhH38fJ6X7gqHrXxEyB1zpr7RMJnPS390pKL7TcjKu2Zu4F1nPy2uJ/q5
OSg0VAb7/Vd4i9WT5oZPlkdUpKrH7K1IrE1lok8aXdOuYEPd+sANbq0fkpT0UmPvdEX1lLAQHmn+
FmCGKakh4OKLeFrGvcxP2Itf9Dv41NeC+qVxxI/5tnruRN9uM5VRKI5tdpyao1XznChRIF71DH0M
zCfuySEZrm3XOzdgiuSU3BWZKabvDXmleK5K9ZzmR/AYH3wiobbumk9EZbKnUDM2YesnK89nibbq
sn4YqnpXmuRVbNs4Bwn8e+yt6TaLrZGusKja6akdH7y5TWo+fDsV/aMcquKzKOZkTZExbM1ktSw8
OW1G4sON/mLMg1MKf7udOe9a7w+NaqJ6iyf/vnAoTuk5pzx16bCfXL4jXcM8UfissI7Cg63brzQN
0rNnpcPBL9vXbvYp31+s2mu2fu0/1vNOm+7MCKud1ixHqr1c7M2judBCHa4ETs8L4A2+DZ8DyCpr
zIUMOW2XJeflFsZUxYQd0zR7y6kLcBfYrFYRKt8m13uHHiGck4Suv09ZqT1W2ofVcyzNO0T40tVu
QVztKF7u1+6YbBr2daeYkwXL4ZC6JCLt53QeyxNOLZY9GDysxkm8sU294XxKc1lLE2Rlsi1jWaGN
D3ViPQZuv+87F9dK7MpXw24IXbQebUZ4kayjPhrWteMZCtzJKMHXhgEfA06W+4uyyk2mZLbUfMM9
RBEKqlb29ELmnb0NBcXP99O6p1ajXT4bcdLcvNBk28i07RBBi4K/OYzfmSMuYUdtHDHy0JtXkrbk
1hrT+ZnNFsJTbF2okHdRkhO2A/DL1gi8NuMHnCAw92S9wYwRHxgkhieSM3wsdRGynBmXxqNsujAb
iKuULiIqSZpW+bQo0zKk3PmqBEs19uHeShSWSj+NqS91173ffSfC9iiVXl8kyesEsXQtmUG5Fg2+
SrP3fi7yWz6aH52brUjLh7dBxICQ5a/egCw4P4K9AUGl8Is5qEyOT3W43inFWrS1kiekmgc8pgPe
CSFPbj4NC7eufpi99J4yjuGuBymj9COX5EGQXTXE/1WQlNXKnw8sdfyjMyRcVMNBuqinL2n11kPR
X9B4fohYCEuW112tHQqOEieXREE1rvqOPnPZQhEzXKWeiorYCR9Wljr+gQb6aTXUOi2yfNuTa+zY
D1oriNn1GjVvafW5s078LFyDdCQgwjbJ6aTY8JDBLUEreShwl+qD4W1ap+T6VwU+YintlWlxAEY9
RBTBFJTz+FiqFGbNOHRym0eiWjOpCo/F7IcgHegtYpP9XDd6B6VjJfUqEnOMFib8RFCjGyK/O2uM
roamyaUWa8cAstR2VH517ntmFGPJYtzPv4wM8Zc452cqG9lI2GG6xfOc3ZwLDOWfIa80CScb9Vte
JxMHj0FRNlK26W/dHuZ2hPUsBTPKxWjIZVwZasnlV20Mb8fmrbv+e7SU1PmfiTMXoKHE/gkYmX/+
+WYMAb0x9jBzhyq/YJvStnbM5DjRm0cq+8SmeBTkFpalr3c0Wech6QJH+0CMf6E/Nwds2Mc3Z3B3
918FYFoPykrsxT15AP366o+U9jouptVcmOAfR8rOeE59tzDDmKk97NxGDFgb87MHLvdnDgiDsSbY
jFF/ZT9O56fPIIe6dP3VN8WbqeUUuBn2l7Dp6KHO7O5J98D7kVnYNzRV3Bj9yoV5P5am/qaNA42U
qbRJ87jVydQklcHkS0/tJInJsIrxGLlZZhc+p3FeH8O8/mXkbHOnqPeOoRztmzbKbgHcOPqBcPnm
M/2T9VONBelg9chEYyjzbx3yVrC/n9yCLir2sdbsXDfIzujy26BlL87/BG6f+UjipReE/OL3i5/I
XVs5YA1nOZXSKdAIVfTaUkGeGkH5xPYMyLCX/CRAOhw6B8wdUQB3A1H+a14r/8VKw/WcQz3jAbUW
Mom89eAG8MXn592oNO9dRD/jXK3LVH8EGFU9OAOyuh4SzDAOaURPRiJQqbTQwOfRu/Vj0PfEAFsb
6TCtWhpQNT682ZPdm4P2hF7QLTIRV+dyaqrz/SczdAvwFzZ2hUFT6ypwvfOo+l1Dhp/muNjK90Y+
EMKhK1uM0btP4gOxwN4ZPHCPA9mwx79c1X9wYV3ynICGhCWgvIMk+edFPQVRrRUkvG9MAqBQ2TZz
T7/TUBGyAs2iTxdd37SEo9iu5LKuHgw7MhYO0Ha9RMlV4KfKbMKHoX1Bj0pIXNrJNlQCCncgjd2/
v9s7CO6foU8HNCMgeUOn0ML7XFjAztZvJkt3rgmx5AVWIoq3y6oFC8uLHwVs6kiw3WxsYwu36bZt
Rp1vxChp9TuWUAgF8rX1v3hR2z+EpSTTOuGiciXGnm9GmibnRkDES6kLNZzJxdGby6dhBJrPVvUa
4pEkaRyj6d+dp10XvJhDnVIfC0ejJWazqth2LZpKaJvM9K/KKfI9+zL7qcr5bWSjUaeTEtLAYhDu
hkCIhXcGJ6ueBuSdnezZpS7hUKiQSTj7daFbb140NOtwGDiWJvEXRKhLRMFzLE19i73XYuNO6M6v
Cp7wy1y44Y+8F7tglD98TNKb+1GSzWZ8tTKxrJIfzGCtmz1nTdgZhSsMUuOKys3ZkWdUz8Dog0MX
t0BRfFDUiUdANijItslAqbUV6t2Kvy/ctBPQH3ZxLnWxk02+zsIUlUcut4em/Q2Ry3r/eel1LJet
Ig6kGZljf8ZhTYyvSNbI4Fan01q0YwtVKNQ3BLdQgawQg0dZRjtHc8odRjgIxmN8jlJzZI+fzbOw
ldvCdNEwQKzv2m1uFOXKATxJ9DFqH7T6Wumi3YuURvuwdc+abMSbyHtz7VZRTZFj9q2+Vz9U0vFv
hdlGKze19zoPxRXCRfdk4KJ5QGRexmkZ71Wl99Reomp29SqvqhLtmRwR5bBnSmeNSx012dqXy84d
RuzAzNjgGT67/siBhZE9TgIvWNlhaW6RUidUrQGbMOqF17XD4feVHFURk7ew1F98R8+APk3Zepp/
OXhOtmUbj47uEyRmAxOifOL8dr6YebuVuu6/BjlIb2Fp1oYDTr9vUvjs92Dr/cVMLMYn3rTksxlX
93fekKhYe2lYbLvYzW5lqX6FfZI/Vqjh7FLY7g/tLFTJwARL5Wuv05TGG2yc3sbOxnEl7CreGlFK
7sx233+bb42pW6Y1h1ZsKGhXRvxzUlSlDpUW45CcA7BBBLqqq5sHrlSa4cPmCNMEAFJRvwQcGnGx
H4uirJd9KbNH+iIexkHUj/TC22gvSCBD1TxGZuAemdgA0eEcayctaYTMMF6CKNhruLwXzGG0lUf6
CfFrOTLKOMKKZnSRThTGT+lrOL7rg9twyrCLTSy/+51nH0s5/EqbMGWloJW3IoDwI4p20k1fbRSF
QwME68Ql+4aDr1zHVpC9BtH4E5ey/+Fjl3XG8NbnQTI8EGMAvD6V7hnA1zuqJ5E1f/paFJwkA4rP
f/9URBEdLxNeNddsqDstyl1z9wxCOyRfMT5onr/qOK0sNdtEfptfTD/2IJOCI0+8kviaGvXvyhgI
degDOd/GODAfcs732Ra9CNZexLLiGOXqe1UU/mUa8OQBeiR6gUF/qdfJRzx4/q4Imwsa8kCaGGR5
6ny971+KvPc2uGYQuJj2JLMGpmxzGdTOTL/3MIfJdBdXZvMU1BmcubT6MYGSxHObo1nC10V1Nr8y
xVePfjeWj5pBSTmLdXke/OmRZwKJ9pDuWyP98FOcOveXehwulYBC1LXKefBG2ENotTumPvCuvKla
AjuqdpbywqfKQV/QOaRtbGeCDZq5YolJxcUoshO5rz9HGJgelarWumy/FkE0Z+ssLI9eQGcZ/uMv
Vfye2mV6zrr6jGyk7X/fGG34C2uXJBSFYKa0iekyE7pvXmSc6abuln4voO3NyRjUPYCTOrdJGH/o
M8RDBpC9vDg4TLOerpr8wSZUuotGszpxjQwcKsxlr1I8sLp8HeJGJ70g6ytSH3Kso/9IM+k9miHV
8TNinSLXDoKfeCZpx3fnmOlNTX586SburxaAeR7Y2aPnA8SzVgLx7kOGcc3Zo0xWjZ1aZ2N4rbsu
f+GQDLKD1KHmB+yigqlZ5ehVRw1Sx7KYe+DvOrcguKlA92DhkSD06JTYNh3kg74eUWXMBLXTDY11
gDdiZfajfmowL0DCE7Dy76vZgD/GtNhCKTv/MpD+ok4nfIrmyulZpjO1tMU4l3zpStNZGnPeAqI0
phx7OBuBzZAtbDABiq+kWuz9nVP4f9RCWfkvAvX+esc8uB0UDbJ/S4Yk2KznQl69qx7qKNPhgXk7
h4vi4DpZcy316U2bzACCngu1e8y0xf0/HerKg905RFxdI2DEybTINBvwrQwg8tQk2MshJ3L5+7sL
gagiML/KjHijGxjmqUpAeLAR55xu3wYdX6tK/JyhhYzeurz8JRy9/jC1X63Vk6CIRATpsSQ4bA3J
VfUDNd5MwdGYcfqFdVE9QOQoN7LTZjMcbSxdbai3JjhoVZ1/0aD6kflmq1wEfLCFGfyKStIEmjMT
LcYsxMztIGINQ3gr0ujWSJ1sm4GaFCtsjRztjrL0/GPU0kwbI63f+QyNrJOtY+Q5EuDt37d14lMr
BbAe4L/ShH1juLaty08sD1+B2QxFZl7DLPYOVI2/aP7gMlwSnEEaBonxPAczMxQxj7L5B691yA+Q
TU3Ua09I8GsfVs///p7uYNB/bDUh+sLDhexLD5cnPgPBDcB4ZY57+Ex6xLwqLDrsKGuOno3dbqs2
/yik/RGaMKxIXH+4SZ7t6m+QEcnlMmSRQqB4q/4L5Osx9psdcWq1zL3ww4rwk99FrmLO5jeB82ZO
VcxGI0fXNtsnCX8ILFa4M3xSAzFTsEXJIOuM32fR16Y4BHm1CWfDGs9zuTH8MdjkoAy2ZTd9rcfI
eZlUXWykNK7C5hHfpLZ/kwKzPYFa7FQMKpZwhNwrLUIW33wZ2V+wDlFygOeUFpxRWxhFbZ6VkcWL
DEjTouolnSf0eS8nX8lNU5SvHmnWPR7dc2r0l3iyDqZuX7CxAd0KB8Dd0o+3Ihn2jYfR26jG8Z2s
Duxy5N4mZM0SJofRzD9XkhNGULW0x8e7ZKjjfWoxhuPOtsh17FiVaIzSK3ys0LTWU1ntg76xnkfj
b5TAzx0hUAI9AflY53ax4K5/7viy4kYRx8ujC+F3hmQ+XqipF9uQDdnivhzdX5yBs33Z0kM/aWyA
A79e1y7TcA7KCC6Fr/aGydZf+WTPJ4JOYZy88/fG1Fc5iPWOWOrpZJ0weSakizVzF9RdvZw0y1hW
0xTvc0wVK1FDDc0thVe+XPdRp128gOhY7K4TBgj4SIlnJR5+23+/5MUfSB3doy/CEuy1vf9SL5ZP
adGpNi3gpU0kBqHVbeyKlN3gcA0IMCiSCuWdLQKQSmbCHpE4rD+OAmQr6ZK/vRn7855f6HwTtuFi
HaONyvl0MoVWIwaRacXFCFWyroeQPWralZvU5DStj3sCOe62KMIv2pBjZANxurK2uaU3S9yY+Uq3
a9BpbfzLSBP8QpmKd0DrwgXLT3KwioiDI013vaZ/C81BrGUDi9QlrIhDZFE0sXfqE1oTSB+yEa0q
JuhWx5yYqKFBcNSmeuwgAZOmWgi7W/Kgj7PI3Fax8Jh+SWM1mmWwsfWQjVdcGEAwJEQ50QdbNXF+
BppzzarBe3MDkYNZkY96hEwyYGHaTOh8y066m9oSTPVJfzLXspBJyTB0ZgaMpw0PyvSqbeeL/tFj
3nCIwTpHvvchvNZ/c2ONc0R0LRJbcERiHCEZm/OQrV7yphlYLDAi6x0hRGN+IZdlHy3QCIsoI3je
auiHOMi06/0lKoR2baMEE6UzqN3QPCZd3O/tqdU39Eou/aSTextg0lqPtXrTFdm+YBK25DQ3wXeI
5M7BvwBDv/4C3wrYI7r7crbnLaOkffZV9MhhE7TiDFvFI1KscztQK1h+YsFJ0nrrjWblVArWsOY1
xy4o60OqAQUA+OvslZUum8C64Q0bvycKvVm3wnHfJZwAqGrxr+A9D5UdXrs+hDFTN87fWH7zk+kf
TwmIIIydIRkTU0Ms/VQcIiKJUGEM1UVMw9a2q/EJXxiCQh/pazs09zXvjoRnjRamj7vKGLOHrgGB
Uww8R/3ukUa8fA3kgDt/nIaNGQU2Di9swYWpvqcBh0rQz+3G641oqznR/t9vMuuPc7VAWhWowjzj
eNLdoevv3x+jPKAtUvw/o+DU0Xu9uqQeDmSvIttgUMCcszd5Ig3QrTI8rBtXWlglm+mbr/BkO2Fv
bkOj/arIVe09DQljjEvzLRkpIMD5prZUFZhvg8RZGqbDJfDqDXLyhrm12pNZK3c0EFWn8f9+youQ
3wvaYWH0XN5Q3rtjHI7PeeonCL811KZaW1bekGyUxWgz7d19UFjeLo5G/y9f6OeqR1efPxHTFi54
XrrQPmPF2kR2fsDQ+sIzmY2SNx4T0QLBOJvK7R6qWEFhaQA1aoCRcu3d6lrnL1/Kn7shrikqP3T6
gNA6xGeduQIZUWNWrYDfVfl5yER+LuylMUdrowwnH56zbi2SKGKVmMaF3XpsBbJUgawfgVvMIlFc
Ntu/XCp/7NEE4h+fCJq8AQX18/MxqOB+TXWeX4Yx+Hofy+Wklg5pMw+UH2tWyx9DPzIi6Fvn0vhg
M8HmEzcvmgJMnF9oJ09UoAHmqBzBgn4XAjhb3aNyXaNF67ptw90YEqtTWncz8Aqf75QP1Uz9viAn
s8gne4/ts70EiY4oV9aLbigKPIKAoWnlIL3exu2qKSpy007wSt5ffY3Gnm2XzfXFYnIh6zLMgrA1
90ING0Rpc/3vH9N/+fKgOuvQESQNa0K3P7U5NYE5ooep8tJrGB+GsTj4ZHJ7+pVHXFt+0uzoDbU3
v0WcFjg+VJs03feJMC5uKZ+6xhr+dkH98VxnoqezsZEWxgNybJ+mKIE7goGSoKqSuKG+NBiZyTaj
uw7sDgEM9AIR2BlOYkpvLUrrFLgOnLzJiekNHcqv//4J3cu4/7lkQoucl0V2DOyzPq85k0gD2jS0
5oJnWm3yshc0qfQ5GexiXNV6MRAbBV0MHgfvGsmKU1WYxmmsWnPra+PraPRxyzM2zVataOqrr36m
kU8bIcjBorCGiyzVRxEG8R4MBnV1JMBRHwLj4jOu3FKV4K8cOwuvOhPLFBHmRDPoeGhLYyNCs1tn
oU0YB1GmgJhzmHlzy8wajAezVrs6qJP9VDA7h/LHibcjnjWaMByAE7l/24z9cb8ZOleQSQ2wLfnO
nE9PlrF0XK9jC3aptZOFteqs6+O7jH39GAxDxIBjmbDpPOTxobDy9KTH4g0mWrFMs/IaFY71F0ry
vYbsH18b78exDYOGE3L6tjtv1/7jUQHj1UmcwOguPODGI86iZBW1rbsFrb3EMvOSsHivG//dmrEj
ceNDz+lgcyZNLfaWNTDebLOTKhjV51Pb7jKjghaQdONuLH24gKDYOkw6f/kUzfnS/vSuTYMPEUq0
58Jb+XQ7To4j4mbgjNK3GXyHFE/OgJ3epfMwYwa+VEZZrwmZNIbB5iZDnMnmttDYreq916J0BAaW
477wHuk3wJEWYEef2xGDJCoe67b6ERu6fZCZtwnyhF6IXsOMPgTfzVQ+zn508hrSWA8qtRZ+lsfr
dgRHP3J5BQojuWUc47EO/lJ3KP7YOfMtzTcWdXJC6li5//lVDSrwPMocnUtfY8YbiISc6AS6WlC4
DqNWsV2r/UuB6+B4b49q34MYG4VXld+bLnZ2fcgWrczoeHEz9Tf0/Z8jXYMTvg4DwYEmbDnGp8WI
khzLpQFsuvyvoH7HRdX1zGUcnWunTc3LCG9rN03lWx0w3b178O4vd3NehLv/L1fJn4u2YTMBM6Rp
c+JnxD7fi/9xbceZ3wC6HsxLqjPtHhCye/sbYYiaXRk54pL2jcSll7ToSrExWqY3TZD+MuuJoc3A
NGhK9fovGxH5x6JtWughgg4wV1j0l8z//j/ek+kHcW15ubiwgdd2hRc0OzMuoXFH/quoffuhFVF1
rXP9VMT+prfovyEW9O4yZl6kbkictM0e76SY2rTncU447VWDKFcUwt2R9IunNEUsL7DalQmO2Tnk
kDdpcsKdsiwxJS+DfuaKN842CDvvVCgf9Qp+I6dcUBNzUYSYfZi5ir5ga9KpfmWDsBCZ229ZmEFi
OYnHWttDltAKRI1c0ZcaFeUHFLt4CrYmtSAfjeMcS4K/X8dGuhyi3OQvG5c/T7W0Ws30fxYtD8Ky
8wm3ncc+VafcvQRhJkQv70ECmz35WE7RLiTYp+QgIoGNX0zvDavSCmN7e8hc0g1/efL9cV9ivQCi
jdBgsMHja/3nV2qYAVp0I+XFxiJw6DWmLqkpB6D2Cq23td0LSpAOG0iV8F7CELaEVmA518UmLbR4
A8I+2XrosSeoR0TnaHw4FuUolnaRyqOWee1y3kMpOJtTO5tZpuBsUWCD+MbXNA9vfQZsCwYvLzXg
5Yc8R8nMrPqsQxDtmBOvR9WkR53YwLWfiFXok72ovXbaAfg816WTf3Em7wQyyNqCF+q2MUGqlZdG
knmClf3l4zL/yx3A2QSShGuwC/acTx9X2COsuNSkXkhRaYsko2TGC8FFx7+qWs/+h7EzW25by7Lt
r2Sc950XfVNRmQ/sW5ESJVnyC0K2ddADG33z9XcAPlVp2RHH9cIQLVkiiY3drDXnmESKwOuMan1K
XaK9U4N/wNsbsjRi0Fow1Kcc7RHvgi0ONDifdR+Ve5w1nyEUv0o1/YyelXz7iZjnOBn1aypVJDzs
3CS62oH1KczycWFsi6h9lkSoK7ZR/uYe16d38GF1ot9uMBuSV0PIOHP1xwEhQGs5juZ4d6ZpI8ZF
WR/7nbbVAvOrr6r3ozYYB5HUw8L1fY3vU+kX0dnMW+3YsIKpXcuJlzVt7UhxsUTi7anzQfaFT13G
obPgqImp0zTjJWC7x1HLiLWlDNk6NfLyWN6MSLynZrAVHiUsjlXdNqK8tkHBDzmPReE3V9T49Qaw
UM849HfZP0z3wsf3G0sH5e1oxZek6i5Npg3nyLGJIYqch2Asn0e6T2cZynTJ7u4gnX6KX6d/pavh
KSV5Bld40B7SNljMcq++LM8OOrsnPcDW1XorZu89wJTqjI0twprSoFNsGnqnSgKfc6gfKDIjo5qZ
kip5DuyvYsCQAndFouh7kWQ3pXbkLkiG5FpBrlyklVK8lN5zwvrwXE4fi1M765Ht8jF3Rx2gOqeQ
MgLt9fdTxa/7FmKKKSlYBqOfUMp55Pww+/v0hJukbjxWJBDfrdlri8TLk1Opv8MDMq6dVazDLsUn
G1nlrofmQ5h2GR4Dq74zfOc2eqh5nbg9ePjt6wA9URb1/kUrx6tuFPp6FsHWZYp1CmrmxquHepdD
WpJePj61sF0atfzSlTaF2ah8Bqz7xavG1zhpJNWwqlkRwve7iGIK0L/cDjQBNFs1qKY4tv1zDkdA
vzkxcjoeLRLKrS2Srx54/ucg0ipoEuWwHJUovnOMlgaUYg70B1KC2pXY/5QkUUcbmOMM6PEM3Dw2
lsAD2giDD0BvPFxy6WHeloB+RpR/RspyGtaUyoWTH4BC26QLoTSaUUfiU5C2CKk4vm7F1GxssiHZ
mxxVF63wLEjTRXyjN0mYSj2yJFZOuLf15yifEICoVI/sSK1nqTGulzO+dsbHdopXXdzSdyFBI32X
ofjKRj66DKoa3FkmHHwFRfo9tXSaz/6fvmnqrNV8IfVxYwvf3Mx8PfaN6sLt9GAHRWDNnNd/Lt5l
jvmGoIzOwQYFmTpGgOoXMHi87txnisRHkr+OtIvWReqUu9zslfs6Fg7FnpUmR+9gOt8C4m9JecGw
0npN+5QqoQaep80fZmJpPdong2bHxSCJcU+FZC2kqHZaFUZrZml8Pmksz2kEDLe1ntvAdC5RnTz7
yJdYf61PiuiJzar7/Nwi7Nn3CEFffQG8LaXde20CmGVh5t11dCQpQ9UVPvccQlHc31LkmhskkN7y
P1eohji/d1p/cgaNaGMimqYCu0dk0dsom67Fs+y/q5MRuWjcjdEV+j5mr7Jgj6Hsml6rHlhJDWfA
qDo04t5BISaDN9q+C6fjhGxHJOnBnyO7Agr1sEsL9YAJVX1ODPosZW+N244WxCcm9Z0zskjmeoDd
iJLSja1hEOq3sgfmloOcVTJ5mim0zNMUhAd2U/PTLoKNSkLOA6IlQokI7cOJRp+9NAJ5Zw9Kvgzt
gLGbKzZpFf24nPGfXSi2sUjrTyIxWqrNUtlifSrQqt7PD/7ZigrnqiIJ8qcW+L7Kzfjs+FA1vRSl
cNTqxClonr6aS3ZOimnNJPbn4EtT244F3B7d2fRFaL1KEFZbkUp/66QyuK9pHZtp+ZbXxM6kce9d
rCSNF+w3uiarJx9TcUM8nW74llipOHpuVg8QqS4NXOLNzSZ681sUDfe5k0afRmzr665tKyDooiUR
s6cdkkMfmdTIdsQHmIudXnjop+fzgYVxYcmd3dzpEoQozeT8SdXlaVajRNEY7mUE34JMrb1eWvYS
Zkl17gofjXAtVnRnh3VgKT1MbGkQDoYHgSzmcFyEQ9iv3c4Y7uBfuVNrub6gacpWRM1c1BglSm+b
xgp+ewSqigRbNfXPlR0iQPP6XTQKedSG13x8Kc0GWCSbSt6sAXkiDr+4vSnpf4G2n5GATT6c8yJt
FvmQdxe/L6PND1/RX1xqZQzJbvoEOD0dqWFDXmrFS1xPCb9amSxHQ8cVOdKlozO19ml7sGvrblKx
XiCY7mMrquARN9Ul9q/sYoa30r9ZlVevCWYzjz4NjAVgQ1hu9r5uM/PYTsFySQ5RPzOxTemd2PSe
x40RKOkySdCf9XCmSp3EvO5pPkro1GVX8WBWy0LpDjKt81Wc58mLwohANw2duckEgOTaPRlxjwmT
2uTWn2jftJ2uZd6hUW6pAiqM6Ov8MJrLXkNSohWtsrea4dGJ/eyiuzXuU2KgffueNgtpDaIzF4QK
iKupYFaF2JUuOQUjT5KatW3JVn3Mw1cMh/BdqPV/jjMiaOQAA6D1thgPvgkYg31RAbEDpZs0gAYL
Yh4WHV2Ye7vVd9JNe+o4iDWUuPKp3YfVKdB8LlSLK13lj0RQHB9DWNCLxFesrzkDu1Hh3UW+hdgw
sFCouHm4gpISvggCpZbemOlIwWBhe25wTRzilg1ROo8hOyP4c1r1mbl/Y1ok3k5Nmtwz4nXhoQgb
RO48TaoLQ7+kdiuuUaN596Ps1RPLwtUeKBHGDVKIIh6crcQgdfRajTMLHIhd7FtwjCWmRnME+ycS
901SZGL3GI6HxBijuyR3lVWYN/FLXFn37AHGdwLPtxlpwStkfvbZnjpNNSJ2OWRnOamo/LFg8gwI
0y00GpSkL+mfYD88Dm75J1tGcbA7uydYEOdBYyqvNd4J19WDjR+iwqEr3D7Gih1dVEW7G8rgkE54
4Tke0ojo0uTe0U4S9KVKki3lzMJWYu1UU3DHrd1jkITXNZtG7QkfLenzfK9kOiaOmRLCC/vE+N7p
0qlrHWTL2X2EvJhLdd/qgXnzmzy6uPIkNPPMujpgXB/hoiHSxmJjHD1MM0TXUpbRLamuS6lWeyVi
vcidoT+bUf0QjS2eqMqnW44Ob/oXgfP5UpMXk+rO1axUk81BGn0bQqDVhUUhNazxuaTqQ8vR+Jaa
nXZ0oYCvRESkR4JwEWdabKyGekCKx1z7rCGvwbFd9SfDnQxa4DVESEFPAT/4OsjgiSx37eilCfnG
dhg5W9XWNdzAGkRym3M9Q678lku51QNXf80ZMyuUeCk0gmZCtE7H8EJEDDwb2EdXA/uYHxA2B6vI
61gIilKc46oWO8Adj/MzhJfe4fv/DXMHU3IHe0XzxHiBNxk/xFF/8yZacw702IccSc8ftjFmUGrH
KQyntQ5YfRnp+YMNbfBegFXYtYJWrJk1xYPAa1MUGAnxs8CQm3jC3fRgDo9JnKYrOeEM2G/sjMoL
nlWlEnu1tbO12QbW+e833PYvjTxCmKbi+NR5cS2yoz4eTSrkjHoLhOAud9uzwhV8tkkpAkJp+Lhy
EKMRx4ndS7V87nB2nChztLVut6SRBN6r0urqsSw4lULdZHqbniI7fs7JvX7y++IGkDj7mufpLfe1
aOW0Y30006ZaB0YcbE0nVZ7SJdsjZVNY2PA9O2hvqDKN+4mUGWtcNt+PJauMvnDnUdtDa5S9Fz9+
Xx+lIx+JFwYYg+bfl7X5ikhK21RmuWvTZtIR22S0sgPFA5/2zdoVJc4dP1qTsZI9tmFH1h2k7lfP
dJ7zDKO6ybsQOq/Uc9X3Mhpvglnjc5fg74v9tn9mg2Es3Vbrd/EI7T4qIPsJxFJ8juIRyLv/NHRE
ueaR/aA0QXT/91fLnU/GH07Opkqao6oZHJ/RBv/cjXI8pa9tYdl3fj3xXcKQdjkHk4ub2b0Jzyty
FhRnO9NfqwEuZlPq+bBRhU5mTDa8QA4s7ypKBCjUFPlJR72/YFsKQlkhcdQ31GYN+U/C4C27lR0R
7uQQUiwX5ZShkY4yX4eN04iFxOFMAaK+NJbfHekv/6kpjbHm/jURjBsjwScxkkh/SL+6nDIzZ+/k
nvNYmiC/xwSJqgCYcKeUknwhl0iooomLtZkp+hOxuUiVY/tO9XARhBOvBxOnfUaqRbkna4JNTQfz
xL0E2dfx7olY8u49hGuTWGdvTipBfXpI25Nv9PdsDKJGH9gDICcA/HUL7X7YDHLEmzmm7aMR1M4D
ggicbfnnXOmcLS0Nf5Wh91jOYn6jFgmtPQIDjXuzafD8D2Z9LaYH4RGMMJCatikJpxEwUb8EwyfH
yaHlV2p6kbVy7GSq7oJ+yrZCr486E5H/um7VakE9UDw7NHexpHnprUVvva5YAy6d1XibumqRIbtm
cyjafJvzW+6GCf1vQ8+i39Xy4vC3YTQGxur6X5K6sr4OUX2NPCs/fefESj+l9j62+YKmfH6LqMLv
3EZtyFKdXMzC1Y7GSBZ0nxJ8rfVpua24FAvexnCR1bD3rfF+Dsut7bJl2YyMnTYBNrBKY3aJMAVr
hBpRqS3XjhVF+6DrilcjvzPieDUWSICRAWxmn/EsIKoGv15EZpYcRpVmtkrawb6khY5JLlkZY+ZO
6TP2BuphesKgVx702nxEapos3IK4JuED68VQfMcq8uf8LCoC+8A6nC+lDRwA7a+xmS/Z/ECtwFnm
jRg2QdXmG0x0bOrpcL9SUdiaOqpzF35QERf6oUZrsypo8b6VxbgHkp88t6KM9g0W3s0A2XjlKqa6
lyMW/iqoLlQozGd0MOixx+7au/lnGInpyoz94BWBIzlUQo/vXC22b2nOJOef+iI+0SImoaXT7CsY
evsqyhojFzrJbVtVLb3sID1rGRBU2/D6Q2iOOi8Celpf2a+lRkiPAkIOBY16RR3drPvpq2jGsMlA
u+YprJLcJ9qj7opym6iFetLQISxz9N0brw3jh47klHNTeWd96gV5DbusoO5fbJeLmNYagVbTtnGO
5Cmlj4GQQKalFaRyNRuoZ2Gklo7+MuiB/MwE/WrMkUtFlelv2yDDB4uQWUN4pLoEABWB8sKZidHn
xXtjQONID208KA2Jj72kep9KevgkZlJoCbOvQkOHEzWheKh7ygperpcrvWf4T6UL6vgwVfKh3jN+
F75tdgfWl8JbJoa9kq7U966eW3RNgxGMsBnv+ayh0mip8xyZtLMgmkK6iffSAgHMCXfcSlpnF5Yc
puqxCrddrDWLQYAlHWrsaTKGbi1KXTx7fm2DOJkqGm2Heroadt48LU4P81eK0h8ZU3IXTt6fws2s
IycH7y9wfOFY5TIuXI56ur5xB4OBUOvP1khYqqiJu4+mZBZPM6hEtN5CYOL3e/WdPD55difyrHMH
78LaQgLyOBhEJoYG6zHwyvoatspnQt/WzErtvurLcQlw6tWpB+NYi/ExQRr7NZH9i2dV8q7NimaP
wr5cGIq8AVdInpqCarsxtP0KmbHcxbZpLeJ2GZIAapk6pddEZmtn8oCi6r/YLkFJ81ucH6jSx5Ct
pXOPOuVRM0sUMIEqj0TCU0yWSXSOWDJ3echY07ycbXDQf6oIPF/Eo19RjguJQ5cFaevsa63pIZGi
nKLBoTSoRDvbk4hhaJA75kxaC5Us7Vc3dQLEQ6F/hEdJG7iLr40urB3hufrVCEn9Cugn1GNZ7Snn
XZ0JD5kBhJ+7fErefTHB/hEUhg61mxzX80PbP1T6dKfRHaNfXmYl6UDe17lQ04Qc3EBbNf1m3v4y
gGmlIhJZWFH7kKR0IGypBl9Si3suEiXyLdwA88YbQeGTLce7OLDVpz4k4jeCPjLE1K8SbRRbriCp
koz5gPraaRZdZ4H/pyRZqsZ6NLqIwWf1PJ5Dwi1CtHOlpBoHyR3XMlxyS88IA4fVg2xe8fZKmr2T
fmUe8eEhsLdi69DU/aIjg/EoS9oEQ63mnxq7gcAFzhXVSbw0g6Q4gC7H2qoyBw3SGkhDsd6LKXUX
QYd+9jznPTO0VU3p7l7CIEWLrH5uy6LfSUoyq1SvmXKqPD4GzHwbtXHYbNO/GxgzPkrr0VqGpEFQ
rIUDkkrF3DSt1T5FavwaKRzSB3Bri9SQ8S30y6+RrgxnzDnaoqaRerACvLzjYJrErkWhuRrSfBEb
kp2dbmdo2Md0GaeW8kW6lBtrODCGIzyCwYJgE2MYRbDshi+4p16tNEy3qSKBx1TF5Iaoqze7Hr/0
bHgebKcsjqZICZQOxEMVq8qDimfpQSraskgreU2MIcAF0vnHAr4dx6YwuUgR+08sSausV/x9adJy
mO0VoJfik6NUfza5G+4Ds3Xu0tzcU/6gkarlzhcNWoPmF/VS6azg3hsQwbvt+JAH3St5MM/zJ2/F
dbFQZJgs6mlnhx8Cm1sdn8EZG2/QqqFi3VcGLRGl5GCQFNZbirkSbWC8GX02a/WEDoDZFnSFeRzG
O1U45iXWtHpns7egYpsAOc1S62x46OZj8851CThZ2apWb6jwNutsqDy4+jbQr8bpV+MwEk5EZ/gQ
VPq4wkzpLTN0NIu57hfGZN70hkLKQe9MiXdKiHagVQmZCggaydjqKEYMdTHUHyVl/yPlBDI+Ky/8
ZhnjCtg99G9h68z2urIL2dusUu2TXqXgVXObJC8/MjjscpQLo/7dDZBwztHN1Qh6OTZRGpi1eZsz
BYDNFBdmhptwndXA7pk9hMb+cXogXWH9fV9kIHvF1hvR7SAjK2sojNITsVeBtc8tyak3bNu1XqnD
pi+zzyaulpPtFsM10YGFqGAVDp3SKJc4V19gnnA0DLCplNLeDPhq9pWjQx90RvZs+rAjQfMyz/BM
s85OqfN6L8QIJtexLklbxvSphVxkFjDaKHAzmCjoUkMV7Xzc47efvHNJqSunBLASlc2XbrDlKzkY
2HdM2P8OCa1grKQPe9Gronajk3iz1rxJazIZIouke+jaYBNm1oFF098bU/6R3liIUtL6xRbEnWC3
eFPG3MFCrho7uw5fTY+qCcsxmYpUuFpnQtGnieSDzpvuHpTjFI+OsFZY2ri1S51UNq+JrqJ3ODCO
NSJXdt1A1dJ9H+O/0iEoXDkZfzO0XHn6PqXKso+3813hY+J+67VHivTTrVW8qhw9dmOGGJPXua34
wUMiS5bNZIx3lad9BW3k3ge2cteRSXvSednL0MQOahm1eyf4a0eTDIC1I7hLsHXvpU5tfKiCAnCw
BYQWUMhxfmDsQDe2ERHo2ECfDIgKce60K0eYxQJpBHkJtuM/2lnprFMDhR/bVSIIR8M7Wk7iHR2C
3kaRbJENjThpzOpBQc6xdDrF/p6WOZsKRRCVIG79ahXo5pL6vTjPD2YT8BeEb30ufb9lEkdW0DhG
jFaOWVypX8upgipN+eyEA2cIt8lOtAbWpaa495nawDWA3fVqheMtK7sjemp7P0wWFmuysKgYlohs
UI6TLe9cTq6iQlcfPdmtyYZmAQu8u37ENa9XWfCuq1vKb1RWbVddQ+jvvufo9YESbkqF+T8eguqW
wcJe5CHpIgmF73kbMI6eCYJmHAEPOHvD/WbpFIKy6N6aDldROypYKrhjgvohkZr6ACBfbrVWyZZt
qK9acBnI15LhLOEwV3gOVQy3M8tRM+hqtOVNcTJ9W0xsGCD2SD4rTwFlmuVPwfB5/hsiEdWtza8R
jNgHUBC8tVFknBeokDZxfw7TOLgymvwrOotwN+RZC44/bvfaaH4SOLxPQc/DOAHCytLKNuS/wSAi
En7DBUiJfeNzTRr3JALKjo2ZP4aloj0UZr3jBcHKtEBFTNQqOowVDiGDetrECesrd23DsL8b43an
TeNr9IbqDh4KbFecpDOwxEqG7Brb6rElwnQ1LTFJ11gno2y/QnjLHgsBm98oJ1PrtLkcpk8bvHbO
GTtDtAV9YxBZ9aQIKssdmQxfIBARgnbIAhTCHKrkcG8ofrlHbwdRsO7ce1U5qno2gYARsKTS81XW
pX5c18T8LuPa2swEtdJpHbpF4N/sjozSaFZPyiBN96ZQ2J/16hWJbnDLsQkORvqgQS7Y1bmHMn+E
CTp4KUtRFWjozbD12QG17lDdl9O2AoD4cHYrlBplkG74JOAQEIz2PSBS6brTMO+vzFhl3zxmCxJQ
6weC40wqrd1T5Td09yZeb/O/X9X0ahbf4SwJS+/aoBCJOsL/HLPp2AxR0O9VT/MfUUV+0pCvfUlV
AkYo0mrXIRbxMvLoPsRKMlUW7Oyp8MhFbd2xefercmGpWbfo8JPv4J3UHpjzjN666PqlzmUkz4CH
XvQdVpmJzllFL+jmvP38xODD/fvyj6r/Uq1zJiUrvjHTMCfPyk8KN5k2QztmnF04HOarWeEmjebq
CtfYGpN9eX5I/LXnN+Gd4uvGNu3Jz5VONtzFFYEhvOM5rCrLdzoD5zuKkM3huzuaeDUt8nvHOFDI
UxJrg6okjMmhOdutna9J0cN1z8Z1iUbGPHEqY5M5xA9DnU2C+dY7xz5s0FYB0xd179j3nLNqjcad
QcPurEbFYqDOdrJqF4wjl6VU0SLrPalZjSAUxhos46o1RnO0oEKs1OYpHZimREaRaBiHc6X7zb5R
9LcojoY7Vwm28dQekJ4bneqAg9JEH54rFgaUcleL9ppn79uWNGk7e0Y16FF1GWgPOw6BVEDvllpD
hnMii2Uu8KGwMa2zQTt7A3JMHBx0cAeEg2PzJoKgvPq98kDpRa66uCXrxreYmNpx27fs5jllBHth
5A8iV0d2tS7BiRCWFyOXg75K414cJ17LognIsmHIlSVko8Q+zzw/JyLRWR2gdZgrSvHyhaKyvlXT
qCWHTlMfexAD3gJ6zx3ia2v2liyV2ghfWjBVKyu3OUyYi0HPg1tmU5spBkQkSuFt/TqgNQNAm2Qs
Pe7TF5/uT53CNcSHkGxGZSxfm1JQVktxFwlpchH/J3Gv6Cr1N9qOGanxoXbpoE6AY2FR5FIZwT8P
Xj32dFnlKY0cy+R8qbr7Kon1KUqrvZku8fNpWmnItMpo1QuDjEqCqcw4eM6c5G32kKu0coUfZcfY
RGevN4qHk7RK90qr5TRZ2hepSVAkSmCsC8N1LmLMz67ph2eglt1KT+BCkL9M8V3HETp3J8eu8k+d
7rKwDeQWZGO9q+zcIGENuWpO5pK0xWuEB7Kxu81sxa1Kp75UXnQj1WUVR0p4VksOyPODEdjlPvHd
F1VnN4bCFZvqNC/M88R/Zoz539ooV9d/Pz/8IiTRFJR2SI3Yg1uO8QvURBaG59sgy67CYe4Lw85Y
tu1YbZUKDA2Cl3ynquuBCt8LRq+D3jXtzXLS6hJYeFasEtk4AnJxNHLuAiMLlkHAT4wAZg4kO5M1
mrCLGlQ73gt7KWBSXeeHBmokJUp559oeKoQhW/elqh1qKS/fCsUu7m23PMysTXAxB6qz5f3KsfpL
6dAP9jK5m1fMXPo7t+iVdZ/Y9r2d1Q2gGyf5WtFrrgt9WxXAm+os6k6NYrYn4ee/s3qoP4umNYUe
NYJYRdNsA1XsNPv+ID4yabFqfpY0Vxpi6pyDNkGCdCivelcQWTTlmld2sawGB5c8UaTL2JH3syZL
99Dlp2qp7Fz9d7O+8vOsz+viRem2oyISUo2fKSBe3YjY6aruqtuec7ErBPr83FeR+F+HqSo8PwRF
Q/4TQKG5kUgP31tbUQ7QDKpWtqKT9GDZYA21ol+q0+xBQqh7CBsAU1lWPhZZbWHNzrpVwDn1jKa0
2AqleQJmp63mLVmejqcQ7sHjHDHUdsZWjzp041SPyCyb75429UiFqzRzPSMojIZmMF7ZdKtOONL5
IcrYrqdBuc0KqH/dlAOW4nBkShTxbn6K30HutLoAxnWm6NQ/TZr8PQD5dgnGSf/hKduCgrcH7D4y
mNuzCPhIQEYGNSJHbDiFKGvh1+omS790bpHdhymERJ6IHEfZgi/8iYeHij7bStb5+1bF+J5UeAIn
fHBnqvfKlNU2U9WrAjkElbgZr8Oa35gkWKoIFFTiG3Z+W1QPtq2sSYQ5R0BWtmZfPliT5qB1G3+B
bT7eeyQCguBzYbhYbbAaqGBQFRLPXUzf3mGLuPAMUPh2Q+3y7+cFa2ri/TjzMoBseGImFhhFNxGh
fxzYHKZjNw3z4UpW+aLPgv48WNprV3rdytXI4zBC+w6yxYyIQZPnYsGknzaz91hR8rOFon+lkEy6
74hh2AT+01xitmqiI6y6fgc9lS/aYOwuJDw/hT3ozRlSnYYoCszkls11NbOAq59WERF7jnedehZr
cPTk6wgjPqJGjI/zV3UU51uBT+lqSJe9ADzAthDubhCkY8uCrFcoW18C8kM3Ucq1m2uUFPFCznW2
p3xJBWPTQY0JHMfR3pqS9mWjwwczTnoLd5TQ6scg7N+4TiA4avPMvVtdRmhXnR/0FPtFsAwnCBGS
SvswX4n/97X/L/89v37/zKt//zfPv6JALjmi1z89/fdjTrBv+t/T//nfn/n4P/69fc/v3tL36m9/
6Bx+LfMq/7P++ac+/Gb++l+vbvVWv314QmxcCCOleS+Hh/eqSer5VfA+pp/8v37zH+/zb3kc5Pu/
/viaN1k9/TYf+fwff31r/+1ffzCh/jBkp9//1zent/mvPx6DtzB5y76Fb7/8p/e3qsaSqZj/tOhS
27ptE9uMOviPf3Tv03dc+5+g6cgawJyjmDSz+U6Wl3XAH1X+yd0/OQpth52ZPi2XVd5M3+K3qQpO
Q+xFmkll2zH++J83/+Ei/uei/iNrQM2EWY1B1Pg4QdsOvj1enaFhtNF1G+f2x/tLkY10xx6iG+mZ
7pLdoL8ZW+KwZ+Ue+qO72i0eejWLLmadNEzeJDszx0RUwz3reYwFZFJ5yGOpfO4nna0C3TCk20/6
AxY/xazCnYI2ca7szfmozkCgUzlGE/glZw/a4HMWbvE5vnWx3T5qdYpXwykNhVQbKk8lAc3zbR9p
JLXEfXTg+MOYT4aTgSDrFpdMhCBFKfGr3fch/2HE//jhzKvTfyaf6cPRdUx4yP5Vm5PmL372WAYt
MXbobLsoPDVW058z6Fm1Is4FVP2FP6rtAW3rQCpTtq21Md82FKQfYtKAFqbR4QIua2J0C+h1RuQO
t8Amo93samfz/X1GkW+snEkDWrKv3X5nCWedpDnbR6sOjfctm9QHw/xVlXu/W6A/Tq8MLhMXs22Y
bGrZgTmz8++HfYNNgKbdIuPYmiMPpALLE4KxnZSe2I5K+GnuXoxYFXJBnJdlAo41o0CSjFkA55qo
KyghSvqTyO2zztKOoev/+cP99NeQ/durYKObxcPq6ATpKhqog49DFETwoGW0TCGGxuVytFNEapNk
LoctcJKJQLFV1xerDVMCdSgGoEwJHgj7eyv1zN2UJg0yAUZ3AY6WdhscJ8cq3KeWPEs2xO2mGpJk
HWFygpbVcp6eGPHIOop97rocKyN10Qt4p84AxDlCQ/EbYYT+0dA9XQLT4EgBIV0Hk8bl+Pj2ZIyx
eQCex8KRK+pKiSp9W6dqvirLMLlVZMz8Fc6tivIhy7A8KRQHz2aqKMtMDcy1XUXjXiO6no50+22I
1PRYDi6Nco2NrVYzYu3ajR8EsNieyBNyYDQdCrI69STAhQ5tZB1F0Ofxpq9z9xhOfT0/9IzfLOXq
dJ1+vJtsa1LrOJqCDkSBjvPTIcovDJMNWtyS6QbTxCdLtdCD2xxx0XD4RGTddRsScpZ+T6u/GF7m
Ujvgm0ujFemnEVXVunQkpWz0C8cI5OEBPEr0m5epfXQ8cD0sjMAc8WwXN55l/XxLqG6mWwYH3q3u
q91aqlP51O/bdSJigIHTHGAFaEtBicHc9URUfw5qfwcDyAP90Pactp0vfoCp5fstng2ZSx1wbVMy
oBg2JHdiAlw3JgcsdHw3VZuEFKEfbuZ5oOpV7TdnK+3nOd5mKUFzg6VSdcGd29M7/uEm14BFe3Wf
wVas6uxkhsqwLfqgXdLkSr+Ox35Y/tXcnFs3Y9HWW2MqvjojFK5mMxxrV4fMhYPnvk58sqtc39oO
6niQpVNOG2bzZsuw+I0HWp/Gw8fxwgqIThOUiIvC62dPJMLyUmsCBZGhn2fUxyuSg0R78kz002nR
NAfhNOVTYHUHDULLfa5Zz2WfhfwA1gehFqvIFcQXNSOi/GGQiGQaECOkI5oQRXOjC44FFBLKoBVF
eQs2E7Z9dPrW85z7QRbCktWQemyjPqnFmK+94nd1hZ9sn9NYYwG3uBcAUuCy+XmBGUKUSUCwy60+
L3vF8jszEEFFN6gP/K8KQDVpTsVQZfu2Sgd6HdQIQVLfs0oX21mfkiX0aX97dPt4ovz+0gBXcnI0
NLYpyk/TUpbbo9HpSrllsScHCFDoxPGpDmAkdLJaY+wpltzrlI4gV2bNytLlS1+C0KZoh7zBCYu1
svg/mNGJWvplxnRt16YcYxisXeCGfxL+0R2EY+/kqOlRihNkNtjDIcxBAEmF2kDmAUA1+1sgYZpQ
lMYnYg/PFNOh/RTp3grIfzfSq+WW7c5QOjIcA7VdIrit1rWSrXO0VGCgyAhR2uFZU4HxAtZe0Fk1
112BZg3+Ed1bJaM0ga2pCDWUB4FNHkwe3tKuVvaIUN6NxLEWpADZsPVt7i5NpivdVe1NayvWqiKr
2hBadEZ9QyKVipBcacjncfN0EbbFpyC8DnBaVxwvLz7DBzh0tNZpZC07I/tm5vJzZCNRoJjatGOH
3ZBGn5oHa69UzLUHCGaRYdM7oavr18n/Z+s8liJnwiz6RIpIeWkrU46CwtOwUUBDS0p5b55+joo/
ZjazIYB2dJWk/My952pL4kULlncJUAdYJR79NEnzQCMvEw0vTo00vk+gwHhm0X27vXKJyvVEXqWG
SOWbLCWIo/ObsizxeSyUA2Ze42Ku92pFukqUdaiUsoWSnG2gJZksOol6Pyun+FEvlcvU9r4G2oro
zzQ6puQYDT3/tDmTsjS6IkxJIoGdHXn5yY4rwqMJZCZYtSadi+zltsUYm9gcYHqr3TC0QZ0I24qo
baywCTKgOW5IIik1XrRUMC+qz6UiX9Ju/JpWKwoHt/BGx+S/C+JH6rgfmcGA4W4/o1YN0hQ/WZkS
Vq6XvHtS3FLd7JZKeRGm+9WrcjdUPw3TaDxsJGIAWQs0dXgjvE/4wBcxGtbuX1L9PDXXIAjxHGeg
wCWXddVBMo537Ggl+2TYEo4UDb2++Dfr3auoWw10SkvSTGd5kQbsIrYY3DvQk47VwsJkKV/lIDzi
txhIT88isQ8cR/eA9BrPHowNOjx8JpN7sjKCL8Gk5z7buyBiT+2rcUXeRMwl7KQYD8gb6NEJI5bZ
Lvoc71k8fGgdu01LH1FwZysl+i6HRwKcH8txYuXEUqgsrGW561zhCVV57oxhCtU6LTBc6e+RsTIH
6XREB4gB4uRhWSC6mjpxIYABPxYiwKuRjIiki+dDlY1aqLbY7K2mvdUMlDRUwnP319ikCbrZvjVt
D6ql/UiN/twCyg/6lE2GGn9Uo/3K8PxIbxK6KsEn9bYAq3tQl/UXJnjTRxX7FufgbduezK/FSgOk
QmCiczdstjTJZmJLLDJSWonjcPzJ5lLX29WLCPMl2oiBcjnfFKlM4HlH7LeMHnjEjZquTHgt8QxJ
OyGaMO59ZTBsDweh51TE/gIp3hZoie8mceaT71IfoP2KtL6TlV3umSFNPpbJP06e9c9WgY7L0gOV
zHHPzkv8sH9KJX0zDRyeDi2NZ+FyM9FAUqLNu3WIb92qvO+VqGER4S6PtpofrltEI52Ps8pENK1i
gKLIlT6L26vDaCjKKhy61T6BudfPOmBEOYN4UKZYu/QMzI4M90DyRIq4bzpSRLpSmM9dz4pplMIf
4r49XM1PWWs9q9uDiOcG0bIpEHNDK+xvAWKXqIn0q5kfIlIEAmuak1Om19YfUzyislneKlR9N45B
UCdGN+vPmM6ND0itOkfqaLwOJtB5iNY7tU/rfRwT+FXnqxKSxq2+r2g+lEEmzw3BtGzFqwbegy3e
RQNCqms1hJPsqm+6yDksuapfHOQV07a3XJADQbXo3jo88GfRrn/qJlMf48Fg3ZE00OimbtjPOBVS
WCKJNnUXxRTLbs2TF+pmRHfo6L8Wdfl0cwfYckOylVvOJt1s+rpuGJU81juPU296txWJht3O/wJg
RUTcpedsITNRU5fsZE5ZGwx9rD10m96e9w5PQL+EFlzcYxapX7BuUXMl5jOehdtrzW0Npr4jLTTz
OnsMSD8ioHpz9lz1ISgzfueTmvF43Y0gs8T+Sf5UncGpqrTMzzK40+ho5UObtSGcH9yfq4o/CyHR
s8J8cyNvVo5zHMh4w5wCNVnvhPvWT+mj4a79D66Zw1R3ECMNo/r118YI1bbwB/12xRq3d1Rm7trA
2FuLuPSJaeayNiLrfp2b6jBKILpcchxypBU8Z4766mx6MkiIi+csTMBgxGXnGAlcUCpL6beFzUIj
0k7oGVAZw3XF/DmDnG/Wc27zNE0Lu37oy7I6bVrDnQsWDjbpOu0AOvmDVpSfSwfKyqEeO7lDL59J
cX+8ft/pwBLLAvNEk8SDd3Vt/vo3U+ygVZoYHsEpvPmZmZ9tBWpOovf3mtbUPu2EtbtqEqftew31
wEmk+puzIkjN68oNZRM7d/n24fpZvXMzHcnf/36jXZUi5PmAXGxFSwUXS4O2GMkLyQz/fVhJXwi5
SVT/+guqloHFq/I5RGyD3KxqlrNmtA02M9f08KDEN9fvsfT+71f/70uzaDDvT/WtAr2k69R7O+e4
bSHa3Ne9LtGcDf0RMoiIYMC31AKEYsmMzMDNAlNIlVq6LpOwojq4y8zmyWZ4fttp3bn69X+gNWXW
MQFZiWMyrau5umDNAqM5a+mDW6GiaIqC7SWGVqtV24da4Uy6Fnmzi/NgG2TYW5wmjhQowBhGlUzc
sgxHcZ1xIQpAtOHEpHPPC08Er5mrAVPRcMzs9cMeWkLH18J+1ggtUkdMNspM0lEhnPIF3TX74/Je
NV6YLHYPBmGMdzKRARUiNolZCSoW9re/X0ncrYeCSqAvBh4W6Ku5zh3NOio9x/5oo7dFaR+fktEi
/29pbrhryKmynRxhc922WCgqdq3bh+svq9vvQWzX4bmErZ5wuI0FgrqV1yNOsvQv+gEd7i1qITmY
b9OklDeTlDY1TftTJJNzaSqQgZhtnqKFOfIVRD/VvHRX8ZfmtDg0lvgpWwjMU9ffJ1G15fFFU7wA
/2O1SZWMi6YAZHQlAArF2pVKR4KQi5wVFWnNdrHR/67zGNS0DI8lPByCxyhxyZbpMxxtWsZ1lnWP
g6nJR41lp1fNPUW9S8ZJ1MxakCMSfiCu82Wy4pLkx6G9uSpq2uFlXScWuZ2S0wbiqXvSq4ynhlJa
XqHUcXh93ESYQal/GR4NqrWvZPNU1W57dlZzX+Vbj4WJ9RSZHBEy12WYFBODvmxR+mBZSwK+q2Y8
iq5/IfNsva968WOozb9x0LPLMqZtYC5GdOcQ7egjUEkuQ2YWIQsccarcKn9i9fSBZbY6GMx8D9ao
P/Wk9v1RavYmRqs+roxYg3lTn5oFgrnrv92oegsnqKr8WFgl1fI0vJXZpZrHmDA1Y6QodyQJbpK8
hJzO4frlGBcvv39cL0sVsRuvWWfDrJhjl8iCwcLg0MolzJO6IiAv/Wb8M5KcxVfCIekzxQJ6rBTB
Ogf1vsfJxTbTmZVd32YEDJI+9iij4lGoqGl6AiQ6Mj9xkzhqccS+YwHs+1Na36aI0OlVuXWgbEzv
E2dE1tETeTgk9yOOoxXZ7W1rjGqoVcP4DE4QkayR6hiNIueOacZ/I6WmwGpY6da3gb4agxBFH+kc
Kumnnbh7mFMLiXFPnPK2DpK6Bcn4+soJMPHnydoQzxbLN3URib9WR94Y7Q1D4wzlThZ7sy+Nu753
jDs0m3+vB+roFmXkcaE+oypMj4ib5L5GKP9q5KRKIgvaGWMpIdgceajDF+ITA/8D02ZxAGfNmsme
XkY0ubctN6Wn2twwU5xHxI8JiHZluXNGEJ+EfPg2OKXb6wfTkPe//bWtkoDHT0mhzs1nJuICODbe
Aw0vjktjfkrX5A9bAG1Gxk6+Oqgt8uAtJjhDs34a7Dg+do37rfRshYc/7aSn73B98gMe+Mm3m/Y7
x19zWWcZhWbsxEfI00/U9PltbpCpRlVDPhzvf6aJf9p0W9u99tq65kLuWU9w/JIH13krVZzuiaH3
sjxr3m01RY6Z1EYo+yJhZllOJ7DWrP/mRA/WVot2MQ/5wE1tINP9gmSmw1B0/fJ6eV6/pwKsPSIt
MUgWiuZjRAZYkKxZR90xj2/TuvKazO6futghCepPSzOSQTTV+kvFPf37ZVv1+QN8p4dpmkiBjKb8
+f/7jBHPi1mUNsvIGkvT4KgHQoS7m5mXndyuh1itbs24Fj4w/dgzN9R7fbnGimaYv26MljXoQnV6
sxY0e3FZqLdFs7xIzFT30OybfUVT7glN1ohfbONlVsrap7kzXkgZqP2uSP/77Pqrt7/P5hw+Hbvc
MaK00osT2+aYi6rO5lAriT9LKqIu4wIp3q42TEqQ7SRbxsbx8HelYT6hgKOLKOCd79OCIuOqbb2q
XEtRvE1ybA9XsS6uZvt27DNkx3p+ayc6Bm6xyGqflsNfUi/SLf2azkzbhMGiulMbFi6akQJw3rIn
rt/ThtY5ZVrpdQuAM7k07wXbGG6nPmZVUuHX72MU+NskclVpQUpdpl6W1isgJ9JOieCiZRjpQmra
Zr8zdPXMYLJ7NJ3qg5Z4OuVtV7+vru31mRnfESQ0O9ZyF4HM//2Qgi0JroNj6gnjFm7Hz3VwXCJv
2c9W7rtU3E8zz6qg6DK5FwSLZVt+QFmLErzWdoXTMz6U/cTuFXBIQCngnOjEJYkMbwDMlTscUT+i
aBHFZI64JbMAcXxlliQOsU6YBWwd1NOqR6wKCZRNx4phNgmLm7DLTdj7DtcYOVvrBn+qrD7UWlQa
qLcbYr5FkgbY2ddnN9cfmuzB7bpvUETWjbkdXdlojKeqxPcWt+JrmmkP5VKLU2M7aLCsSGWAUmAu
R3Xl5V1CcTLZ1RmoNfyd64A+q8BF9+vqXvLIbPdLMppewwTybmV74KBX3DUTxFQ5KPYfY/wZizJ9
Lp3ksqqNRvxLm+2yxV13LJE5JlWOwt3vFE8RhfcbHjs5MvJ6KNYcTPjwwVZiMVS3Xj6eWcujjXWk
W15ytS9Pgjk0lldqBeQz9m7S5X1r5g7n4ASVehqnXdloy0fOUrwr8lPWV+aLbOc0XHWAy73an/Nk
7G7rH6FU8RfjA5QNY3+ersotMxrl/aYXmKI++eIQ3BzYLrDHFH/N9rhR8BgShGNcWVg8sKwSKRQ8
I/be24+azePT705LS4iiswBcOJm8Xwkq4DHENqbQKm1Pi7qEE7NOr8PowNujvfB2ghwzzadyyveU
oerJaAVtvZ6i9RxkdEycjuMOFXtKK7FOACfx15ja8nStOn/TG1e0T0VWWScETnhT7EyiIxHjpi5e
d3JUZXC9IKKy/Li+gNNaGecSVbY3qbI8JQWa5d/jd03zjgjw+bG2F1wfRTOGVxVso8n8mDajFd1k
IIQR3FYgFufuKKHX3bIIeC2rPmMxOH+Jq44kXyAQKMtj4mypXu3Y7q8KXFNVKlAAzr9r9M/KGNLL
EKMELiOIkxvxzg9RexzbTrmbRf4dwdg+rIj3T78Cu+sO7PfSiTZKcVyT3H39q1oNP1cyOJtDVl8+
YGq5AYnNlW9oM55/S9ktcQxqe0yGCxajk2rZ2ZsaMV+XBDljZXsEw9zuBemZuytBYOnlDcBXag/F
fUZoftIm8gDnYZpuDGAUr2ivLlYR4eG3xBK6dguNbDPZGEBDmXfI9i37ly1lwoHI6qnK5FeTRPKU
xJ0RxlXh+PM2eb32FoyglsOYE7/s5DxFS4Wg7Fp7q/Be8AZZzaOLZ/gAouW55IlCclhknhabFWzc
8t/qUHhOm/3j+lnp2Otx2r53/QyUe+6RJRqFuWD+BZOhfZwLbO8Rb+1+FAPpzNfDazt/6OUKtgbT
kuYvqb794yyqQnAN7EO7lFFavHanqbeW82bX454Fl/2KN5HINmscmG5+ppFYH80oRWA34wgpeQR5
VZkDz9h6KKvoUzLnM5MMrvnlunTUzfT+egRdP0wZ/1Jf1Ldr14as6fRzvFrzPu2Y0E7lQAvOrPyu
6VXlZJXKr9Svss17t5I5XQztisNqfdeiszmnuDyOOd7HqOzMi22VAObwivAq6hdkLJa3YDuiqZHW
u2I4JHNLNzmvUqlCwnrgD25ByVwROxujgc1e/rfnG8YkPwxz/uOkGndkflIYGkhn17g4Q8o4YdKD
NP8VYkyZsZtFtKkHSmXL/z6LVdPP6ohlm63NpwKAelhzGJHIIulRkvFLZtq7iWH8kDr6P2UghhkQ
fHcWdRJMzKLuilz2DwzhEWPF5DAuFe0Efu6UrD1PlQZl1VK81TimKaThvjvDNt0npz5IDfVU5a0V
Zu1ceO7OlkUbMO+0fRdzGwJ2TUJyfY6n9mbVh1eAf582FAWfY4jRjUgOJjR0J+Iqj2ymrNh0GOaq
vW+SRNMy4JwEOTqYRaHlWIfBStEJckQHqk4jmsTxO1tYYnjdxB8L/VMp2zlMluiYbQMNfWJaqMf5
39UoTyoxZY6WSyKWsRPlaQ5VzllDLXcar1aS8aZFiFElB1GOCIA7i8aKTbNn2COj6gTgECY28r5A
xEX5ZSbW2ic5xeH0jnOPoDGe4XVM4pQJ4UYFYQSdZwmbOvqp+WlDuDEJyQ4Sunt+QN3u+G2epDel
wGnpJglbgflp0utLC44KUx5Rp4DdZgRMgdmHWFPZgUwodJtqT4AiMILc5e9Eo8wwbns4ZcTGKwxv
F3cJrJ5kNi7bT1NQ2GhKrAb9NxQJ7TiY6a7vOhufptdGbBQoAuGUkM+qRsN+iFRmUpmd7Raxl01d
hBaKO87FbmLEz2RFou8sYswGSjaQ8GCRfvWdL1AaR7YjWJLL0G7fFg2UFRlM6OOUZk+6BROWVxI+
o1U0PmZVxrjZ+jjENjUX0S70CWmARrUICBbbz1VR4hGEBemM3YuNbEC4s3I3EWtHDJLjG3mhE9ZI
qitcpMVo8JekXzS9H1GX4j7QPwvYgmz/MVE45BHOuQW3gD9H2zWG0XZaLYt8g2TLy9mhBoYe1LpF
/tqwWPBE6/5pGdLs+yX6MvuUHWfKkLvEfJW26nxYjfhcm+bfeenWYEn7vQscNeDgV/F0biA6Rv1l
0oJqguIGrgkTFXgPhxxynJXCT1w73om4fu26ehfH/V2Hjve4HkXuvBapqbI5ygdPSEPZKyp1U0wN
hxn9QNf9vSTlYZmrLmBfeTbr4k231psFBBODuErF4eKiXFONNN/HS/YaFcOXmo5LoNjdpzSSF30b
nKe2GZGMroUVXC3PLsiESrFZNmr6Ludo2QPwZlPHS190UbcvlPEWV8oXO62nJfnZ7pWBA9GJFJCU
eoZxzoo2KoBD8HO6rxnXrmr/L85tVkNdc0zG5XNK658eb5pPggF7OaeePTypGIJj0uOi0r0lX4/Y
BydlgzfLULN5oJGatpfTHAxjajyPiH+8WRtCs63fheUcwc7lPN+aNxT0tadm7aNRuBsQTT4tJcF2
pvveYJX0KiEeCrIuMNT9I73Mru2YmSfL7hkm5FaBymCt8nexUBI5Ut9FiPMlDEZCKZ6sNvUohmIw
oyRbRTQupJc9mQqG2SjmoFqmTPjpdd+dFC9Na+RsNNQPBTBNPIFh6vL0xpJJdNC19ega5acTN6qn
62z6qtggAkonY9FKoqPmYIDWcvBiKNrDPo8ovsBysSNbS4AF8GTwZMehYRjA/YZ+r/bFX25v2D5Z
T4eOPppBsrU52C6GPedHFZjssdfizxmNBX0wmi+lgbVRiWPBfshZFRGqzTZaYUHl29Envntc6F3N
pMMs/o5aZwddJf70k0WS/VKHVa5wdrFIS0hU9ZMyOxizTYRZUwTg7961zMpOSVl+duKYoK33B5kB
xCi/B4BerA3qharFZlGGgLNPozx0+/nUahp1E9kvh1EwDx/0nb7ZYZkWGTSo6YFK70WcRsyWe42U
haEEDNKxMfLWFk5Zj0CERRKenF6RF7iJYRnrPJgwdGFg2LZzzCU9F8FXxFopgI+wX+ciWIvucTY5
RWtD22ciM/2KM7nScd8bDG6X56WxMGvMuCDHv2MqI65OoyNauLnEbdr5HXOkoBaZ3wqlBJ01teQi
z4ZXJGa6H1Ethro+cBlMi3WRLlYA458wmHcNg8krQ5qUMigVr0zzXHT6sQLy6SsO/2vazTtHe2Dr
1+G/r75NR36UIi3f5yQmGmTIUMBny6mMlyXE3kl610S/IRPzBfHLwNyzxCubN4DcJqYCzI4b1w4j
S3nhIFmCVh1JC8eIHbREoIMbeZhaFjBOJgSLNnKPstx5T2dNCZp4DiuFzbDdNIHdyI8p6ZvAyFIG
4KJW931ifORqiZNfUPJwV8yWxWnHINZCyFJtyUlwc+SexIu/BqvLqW0JyihZdY78HFR2d7XSkGEP
ygwAhgPVtSZqRRZ/LQaRXWMzTgG45NsMq+chfW2LPEwcbfVJ0XtvpQZplOhjly5yZSTOCltV6Fdg
J9j6j7n2oYMz2qtLK9vpa+I3isModqjvSVURvuHepfmEaTCHYscYAEEDyC90wv2BC+a4jkrQpm13
I8zGCQmJ2Yu+OdSLcG9yEFLk3umXZe73K0cgY+PunjnbkZ9+8JM1gjM0VqFUkmoHo+xnUCGqj85Z
z6bySNOYBGjwiYAw5Bk914Mc3IBSV92PMWwX/uf6qVs+ZMwKGdv2LR5sX4xZfGjz0Vf0ycEOy8iu
WHCmT2Z97vtq3SXmDMcHunSeLKe66T8KHpCRSb+p2/Bxendmll5opzTO68BpRgAA8YPhZEXY2tZN
NWz4nLo9TywVwxkVErnoBlaoNffWYY4CJZu+pUY2hcJEJ209kt7xQuK/Z4n9wUa032ORXD0dtGQn
68bT3Xw5FoI9Uyzkbm3kPbHc4JaM+mTKlkAXd2SsIb4qYriDqWY6t+ZsWbURaZqOa2/s3FcSl/RT
2sqvsmM+oaK4y5QysJRK2y0NhrWumKAhNA+FPt/LdYlv3AhTQaLIICvigvfXXsJhUr8nTUt27ijO
rswpnrv0R0TqfaYIZa9X7KsTSeFn9BEtjopapRFvs0s5QIb9PlGMsFuFgZyPkg+MJpsahBZrY1wW
YkhZp3R3UHitQA7wkox64YDdYuWaVT1MnID7ouBUaS31Hc/MkVM9OjTpujMzSv+aVjgEIvOMfPhc
rZiVHapBT8SUNkPHcVp5iQNtY+wVUG9s6gJF+47r7BNoFwAAJF2eI5kQLTRKOIY2ok8W7eyx2HV0
/V5SiNd6wk+buuk5xhwHm8pug3mEq7CIrNzjaB98131Za3V+LJ+Z0L0u83qr7vq4p+6PzIces5ll
0U2TNcsJamAgi+JPx+H5ABEQTj+DPXsQe6dl6l/M54KwAXwv2kvr1rGnAbIDSMijF3FmDiGQq6hC
sGuelKH4oynFc5wuOEsz5Wgmf9EPvVHTP1RKWJfm2djEYEZq5A8qUUgIMe3oTRvLdl/n2FftqfY6
A81/X6RgvQiCJ6jFPVXK/BCbtB7WyJEC2StgClU5HDnwx0XY03YFUTtWAXYn4htnnGOkQbk6dr8U
i640GvaIA1+WUeb3qGVJoh9IJKTTkNPkehyRB4pSylfRYVgmVTQu3vP6Ivr+XWEOFwyY3GkPZsLA
TI0BC82ovpU1Fc/bfadW/S6301Pcu6Mft0NBbndPgdE6rClmBsxTh2zJIiUi4zogcyEN2ec1B637
clbybVD85ze3TQWaRqp1EhY2ejqWttuSTD9pxgquTsZ7y45oWuqE56ctj7rePTNQsXxHds5Rscx3
jY2tn7ENCmYVUIIr/gi96MN+nC81yFpvLmaTVy+nvbAAmrmjEyYpxwixscFQJ88ah+x23DAxJdCB
S+nQTFyQjEX/WGTn7vRosg7SrB7bxJiYIQFztCpsYubjrIGnwt9ZHDhDdzGk3UosF1lmOyKXYL9a
43kGGHqBJhCaNCf+osI36oF0QyWy4RJWJRvg2h4PCe4FX1F7zS97o6fpGG/1gjn92L6pS8SFhoqp
Tm5chMXY7CadlbmCmHd+nYgF9Go2RmuvJJ6exGHb9W+9Aeaxc75SzX0vsG8COHOPEcpwPyEFinXu
dIBjU/tuqpm+Cu+vHPWvYXVvsrWPmJwudJtKfooLuA+jfquDTBHgz4LSwPJVJOpe52l6a/bNrele
lDbawjWMf2bznFG1HlrVsDgBMWKXEXOgwVp2jWZ2x4lcNEAjp9QRgR0DKY81DQdeO+0UOcNQKzsB
vy0+D+XwbcDt9tLPrEorUjXYfpm1+qo56QaEhmXaX+P7CEBVZIG8F2/tWpLJrjnwW92cLNOjuWRT
EEn2WA23HhXGqngovhFeuSsqr+RzjiPkudrUek09fCkaW80VcV/a6AjADGf1e2H+U1SEkuY4L+T8
lHawfQtt78EVPyCbx2OsxX2gWjN0YJkfON/ms6nHX+xTPCuqtHNi/O2sihtg+/u0JR54z1Ryzsh8
tQA4wSST8FYkD0nQpCiJ9PvCARkyIShh9zK+R3GbgHA067CfEzZEgksAAQfTPSBNXWO9zzm/sYN+
loAQShc3NM9tn2u7SIcb2UDYqSLl38gGxXcbi2coxMvTOGV/xDXvj7LTX/v1kmXGdwp6dCcGhs1N
khyyXi+83C1+Zkn94sBZ990I/s1SvKBnkD4CpC/FtD/SSX014VVy19Xmdp+HpNsqgVPODKTJiEjE
4k/8+xxF8SHZRs8JuYQoutwiEANFb5pTjWqmCO0Yco0+LUhKJo3btXxc5NKGLqxZOkSe+mSqd33D
707nv6pJpYmFKcbCNOyp+97tHLOiZJoBowcic65Q+8+s53kCVpTrNch7gQl8l2o6g5i6Oqbqn2Ec
Wyy4abdvIPegLudAXpWPqhvJSWtmnnzbhzYykZoL2Yfox3jL8tkzU6wv1kTQrFrXh3EqCuQu0EET
mx1CzVjbtMYfFNTCs9SVAKzS5mKy0bRA9DH7aTroaFq2isqLU+tMTcbDitGGPZQ66w8rsFgTNu7C
4Gmd35jGM9fRjh2xZl4F54O/b9lpnTXtGOplE1F6NpmFu3KSjIXU3jPUxPGQlbB/YMCu6U/DUrOV
OxSp84qCUCHbipnyXb9t9IGjpBQ4/Wl1W/4KabS7SL1tdT0gkM0JSrCeXGyW4LYQEJPciNOgIEkx
L/qg2+SSrcLxW+mmelvmH0BTCJBv2zio5LrrbO67KYnOoqg/S7WyQfHUIOMiBLY6Ai8s+fJwnBL1
UjmGSwhDGpa0mH7N3SYmsRcmGBQltx8F/PIbpId7vVa3ko0D1BANt3TyravEOfdJ8zKUjytz4h1T
uBRQeX2SZv6aDtWdDuQgQGv5YgozGIvFfUTXQMMzyeNioOWEbRwx4QCm0VYCjLJFTeFgf3qw9GU/
hW2u0xXryYi1svonm1lnMDNDPdE+aqPZ5REvEExVnetTp3wqqMFwLdl+juoZzSkmn/JZ9oeGrfjj
mkev5JIYfpSgBhxsOHoR0zwLkJSqDwAnS9v2tg4wMNT8Fr72C7vQca+1Paqt2NjP+agFEky7P2Z+
yh6RAnAu+KyiqLCQdllrOLPi8osh3sMzWIJGASxjuc4nC+ls0Q5SxZeZKC7oaD5R1kViVcjO6DvZ
7cg6IPKRypiwgZIqVhuHYDGVp7buaqgw2r3S1m9tbPEcnbUsIKz0o4iSF1R3zpGgmUMdRX87oqhV
boA5AbxMj1F6iMvSkcsO+O9NrhXwFx31pXSdf+7k+u7sOF6BB9XrKzUoOTuMLQesKHoSaqYDUHPC
W9La9WrX/lB6QJVZ/KQkU09eJnPXIdUe4pFhsKEut4qzGDsF1DHDr+HIFdpBhiAqnFbVDqcyhJZv
72uei6GZaF9AQd+HqUMpLRLgWuV8ToAX7DWMZWObhNIeiJMwOWDq5qHt1sdV6z0iULsD3H96kgWc
S5eYQI0qXEERBf6kGwwGK0jSc4V/N3NmPTSdnLOTabHbRAfyfe0bgcRzhaFdtcOfhYnZEG+4bOuM
51YLET/P3sJpelgwUmS5TTStAMps2l339GNvvHUWKy9u3UbnuHDWwFbUg2b3bBHTuwFhF7Af86Vr
0U12lN9B4Zzdrse5jdfi1NE4moWbBshwb2QLORAuoticKnUYGZoVqtMQ7WmFAsQKladNNlMnocL8
4SDuYpbF1Sptlpsk1KaatqsyJud6p/9bB0J9gP6W55pCX2YQR7I6voeNQw6fwVe2C2c6U7Rdblhd
CDYh28/2wxRvgZM0pidAWFRCtrLLMGnszOQ9Q2euuCWkK7Q/BL3nh25wHqpSCwyTRq52h2bXy+lN
5DUNUV9+q02KzihaNUTRyYHqkL4Lr81gK4eSn2UPsJaaFZHP0XDYX4zZY5R2gDv6lvO+h+E81aD1
HA542dsF+0UVKVLWHlcoyH7CqG61kSLViNiqnCH9kjt3bCN2wD90n/xzJkwE0J7zAspLRlDjmHWT
X3VYIWjtP7uY4h5xBOSQ6lg6w8FoopA6EQB9ZQ4QShBop7Je9o3LLHxQ4pqZNN70aXDvq7ovcBq0
PMrNA1wmLMYwxhkzLPoN+tAnRWghUBf9gbLhhgXysBtb860qbAiJq/OSa6hqFWulk2DEO0NPPJGv
9Wcsipfc4nBsO84ky4l9Wc1xKDp+HBKvF89Ix5+kGWJ/LabLbC7mTY6pIGhqwicdEzWmw/5uJ1o8
WGsih2PNJe8Zvfm5yqgjWLw+NDZUoqFW75FRMS7NlvVQDNaP0LVH1+UdyiY2QqU/pwrxADWJ30Ny
ye3pr4UMHymnftOMA1pY3prWJnN3xTrl9eAsQ6K09sua3UeG+djb5eznYq5C/lcI0JpkooikSe5K
Bf0EqW9d0tKyshWK4MBaXbK+5IBPvZGEDgVWT9CKoseZqdH/W5vW6X8oOo/tVpEoin4RaxELmEoo
S86pPWHZfjYZqghF+PreDHrQ3S/YslTUPfecfUKBlXJ+GGQPF3+J74uQykC/E6gCtX1JG/G4DOMW
b8J4YE7IoFyGW2VDNHf0XO0cfK54N965QemH0Mc2IDlcYbUQ0gjl8tLHVbWeLG+jdsKD22EVGGhc
bpLR28nYOpqgONvQ6B+S/KegbuxJ6GMu01NKHe8rJnQQWej4dA3vyAjah6Gdm1M3LPjUBMdO0/JG
hUFBMQxwoyJvGLl0DYK2tx+4nQRsKPWTi5hL3nEZ3zNhX5cw4HZbx/Kiq1szOck1d6sDlRr+KYtT
LPzmd4F1K8q5vvNkdIB5wulPjeQNTtCTzByogCmw0bE19S7nzxh/k5IdX1Kk4dGXXFKpsE5ZOwzm
Rj0WMCL5oJr3KuDD6eklu5ThY2cqmmwE01LLOdLR/cJWFx0ILmtthM9z29l3WGNOPqpp1pt/XCFA
37MyCzLLjWwm2407gx/qCEqfNUgUHGfBKbTZoVGdtx2CwjpOqYeUY6XiJQjiV1r8mrsFIGyBwrzn
Tc+GHkKlYTYws8bHuLfUytndwIsxtgPZ2iY5mdnYXYjfPdYemolfmMupTjHGdrn/X8MV09HG4zSn
Z5cLwb5qLIg0OZ9tt1swnkDUZ3qNsGyqbdXUf1wLwqjzwheY1qyARPgW2DXQEppNHUN9xJS87dLe
2RcOvoiZRt2h84towgKL8jttBZDE0qjZMIFUwKoJAMLAEt8mNheH5gmMvIiWXPpc3IyIIT27EPPZ
upFYCU5MHOl2rjyuaDaJTREuSMWDPyH7YRLGKLdNG/0dCG1wT0AOdaR65+382en/2Ai4X8vw4LT0
gCVkIi/S/gIaNu8JMbF78r0rYmIbcVX48YWjNmxr/ml8DnhRGBDqxHwOLEnpX8gA5YtiY/KE1FO4
DwfvAwz4pm8rBUiv+ScL97lGwbsYVGT3fvnodk330A03FztXxM76sWoRDH+gj83XchJRsJHV1NLE
05VQOEvCN1n6QIeLv+910px99zzqkPYkXGs0VvFHZU8Ti1P2OCypp1z3682IPYL0eHW7L9E18F5G
5rKlsPmtJTMTPE+/4oZPd4BIy2/okYc8q3jxDOXuJ6qnq5aJvospFE9afU/okLcdl+eF/XYyd++Y
CR4EDVcbIJ85I6eznN0Eu9UKSNxmmnQchPYTgcr3Zr4bZBM/VK41bIX0v2KbpheVfTY0AhLa4QCa
yA4xcc9bR+b51q9h4Bp5AgGpOsxGBrbJs/GMfmfCKw5lPfA2ZsuwDz2TcEJQvqjiaw1HrS56Rx7W
rVPSlz9Ev09lv96IqmHntISDBIXljAi85UbpXEvlXzvdOyfoBAAztET66FI4IljdRUPiLajtrTsH
lBQm3qHs+wd8S1Egmz1fJR2P1O4cubPvZ2v6TbB7UNKSmZcNLxB6US5cLJzgmiDAYEgH19KQTyZM
ffGpktoJKdFV3P+kAGQYygaq+1AduBokW8c1rGi2/cOQQb92pcKLUTT6GRL1BmzMvuzQhvFbfjcZ
a5Gwl/ORFFnHiiZ9cp1qOVkZieks4Vk484Dbaie7h7MQAQrRG208m4WZv3TGl4H1eFPU5G1GP90H
kHgjeymZhZox3prDIDCW8RdUs8nzsRzuimVmscE6d1ubZnrywEVv4kmdORVJIkRZDo53sqrnNnte
AhYudsX6YunZMobhpU4qYytH395aJpxoPaV7B0SNU3C7Jy11c7uSNrh/iKbpvtY83IvxyMKEXU8N
nIv1XcpuQnUhnwQnbD4A5ziLzZvorg1ueTYglZ2cQD6HiBQH1+ZdiKHQc+AeORnWFS4Hv8T8KX7H
RuFXDG5lxsO0ssCiio9FwxvPK72jpEQzqXNLJg6WFMHNM9jUmXmQRF6+hoRrKn8b/8swqUhOaLUd
Wv85LOYGpnb/FZfWGefZAr6y7Xc6f7GD3MMrBF7FCEEec016aefstuTVXbuQYenGih8vNpm6r41z
NeCC5w3+1zhDd7FU+Qoy2TsAifi0MWhEhgXAG3gySHCTV1R9+TbLOdDu2GpN0Je9ya6bUpYP7nZw
4qTudrk0ruvi23bwn6Di3UufBYUvlrPXIX07M0s9N39jMcYItADJRmO/GwzxhkJTrrBl7u3Wqz/+
ShylAjJZkNLnPTDVHwYzuUuSozf35PQsMypZ72xIhmFuKA0MYu68SYuSbwij2MJMxIDBt+Ds09mm
mgbV9kTxJRNJuLQ7z+/fWCtm+0Iy689tJBLi+GWHBtT3B06RZyfZByI59u70ykwVzWU8EhykDiv3
rL++8K9s0e6cdn714GYerIalCRFB3vEl4Rs3HnYxn8Itnfdb4FtbN10aenmY/yn+M48dwrFWCWqH
Ky1GQfMZjMOX0DOlM/51JiK8ESzsZMCpk3kvTg7PcEi+LOxEZ7/kNDTgq45LeR8W8tDn3FxMjUaM
QehF5CU2TsBYG7NRB3KILlmMXO7CHbi/wW3kQdnD1XGd96y0bmHB0TxfpZIPy6DnU9u6R7pvdvGS
AuKd8wdZDtDQ7fIuHYZyV7pciEr/6hUEqCbEycEwVu4WplHLTj87/M0K1giWemZ8NkG3bNEPw+TW
B6AXt0q24DY9+trENHU7boB87wvG3mxCLw6bJ0gPLE/rR5z6j31ufeZvucmvNpPl0c/810JM82GS
6gjQAGTdAtMkxFcd+WZ+lrZx0DI8FOS6iMiSxrWT4Gvp6SBmqCsQ82y+xODZ9pfHOcz/NLCEXYdE
nKXmLiRoLjC0pkbwYOf+EuUB69pYpCBdC+RySEZR3b6tuWUFG2aD5sAnQLkvhVs6m6yjii4t5vfB
mq49uZ7B8WgX8W2sFjzAdYbe1kC/hrh8Ij0PHZW2UmPKT6DnBzYx/Y7aOqBPVXfs0vwPg4gbcc02
tphVNQVSb4pEcuq0F+hpGXlPwsd+nrwJlaAodwOmRP3TzY9OgPufdfbAHrgwKfcqa7HLaYO00KcT
8Mrg0lN/L6povbaSgX1Nbb1s2jfHnu4h8N3XlDvTRJHMG6mIyoarmQf8Nmzg5vVHTHwb5qL4xmgm
2ijlsRSbt3b6LwtIDqVEg9HneC9IJlGzC/9L3SA5LJRd+A1dpOnwOLoxnpQBts18tlEdewxfMeTj
TvYfeYk8C4D1g+q0PzN58IOReaAvkq0t91bhRaWLdyksxGPX6ddist69DHPt2JaMb9lFYZYwsviD
Pvbf2lMePY3DmYznZfAxJLbhaxNn5TFFdYE4uC7qYwB+Dq5Z+960x586IzuMjFkp472ZeByaMfI3
RseI+AaudwssTrKQouWlccAv7lQ4brPMv2geyhQWWOusTYFJ4bTv8/KTZkGUu+uFIZA9m1IcHzyG
A6Bt5CNa5/y1MMUyicVX1fr/WqgAFJhNl9ET4HPT/KcOzF+Eq888LE9si1O6sXE3yOkW77PG/WsS
nOes31mnxk88e2mahEmJzIgFqK0PbuPdKvKmvWefOZA3hRDdlvmcBTHBLyNhRRLazMn+Lp/zXc22
zV2H56UgZdsj7bttcujG/4qsxqNJ+3CA4X6bzP2+ZT8crT8CR9mvia1fh7z7oiDyBx/SXuftfUIV
/GpGPooQzUA6f3GfoAMmzimYQB/zLs2VeNDzH8QCbGIr1pO78KztjZqYA5Xu3yeD5HrLnQN5iace
h2Q58VnxCoR5Ve5I+D6KBJ0NSg4AwlC9+Xn6QHYAGw2xY+CL6tVtB3vjoz77AnIYvgvo41yxsMnM
25DUCkuk7EUFmCvZVgwcIMGms23UBIF6sJQ22G/A8QJteAO5s44MHDSI4JjxrBTWdsoxDsKWKiCx
m6psPtnpL2LK2yLEv67m19rIaYR0tzH2TPYo4BLm6+DnvxhrP2sbKWeaSJENxb+FJ9vWTMP7hgbD
nVDkUjOKOUli0Qifpvf84ffBKA62EZdb2k94KFh8B0kWZeXOWAOcGtFE1fPGc7tfBcd3GbIac8Zj
5jMDjGHyGcfi1X10QzN+Mttvn5zpYckg2LhueMrLqYtEVlXXKiXMT2ku4Xph2+uIs+HuhwxixX8L
S+S9NEQfjS619FxS5LvGsBl19AgeYpgC7HAxE3auOHUzZ6U2bu1ceJtlsVhm23dwCBrWDd770LNQ
D431kYhvYyB+xZuuWcmc2bF8EB7B81iOLLnq/1itwSe2PJYFXL6cCRE9cziM6U1IorjhNjvogz83
x9KZLfoANjItTnqMd7WEmy3qCXJGOGwqkCnRiD96Mot/SjEQ26oxOH69vW8/YSSg/SAd7vzRvPE/
gHlqCL6xTgzWwOZ9THOezKuZi7QuIxi3l14ADcRoZ9vVB0gZpLHu2wpadyO4ie8BSkRqGC6Nx3g1
8vE5TAF2HbaDx8zMo6rn+VzNpUdBFnVmZSh+ZWw+g438ajis2Y9ZzyMxqY0jmgqCQfNFy8VHWB9l
C/crG8Yqyr3pE/QHFJweb8gc47mBmHSbq1X7K2KuuUvVXrzFhyfBHikzP3x/PHbhvC8TTDFMnkcr
kfmjm2tgdsSLnTj9jZf8uckdl62rc2ors0cP19i4sGJvzOpgjzRjGN6Pb5U/Qe/ctGNEFAtSX15g
/LUguuML9c/jE/P2baTy4cgbkrZSg3rEOKkOTcwUQMnHzLyF3CXZyfl6OFe2KY9kxbId3vdXa4Tu
QPv6ydHDqkWfZ0SZ2lHg6pV7F+Lvpbuj3QG33Ut2ZktSXywSVBzT8VmFVzTNsJEZTPHqvnX44quu
CxiEO1q+EM64VkIv+/E8inEnuixFbxenRqK1K3mkycXeh0L/Uw1Po4IBjA0dwT+ImbN1Qxxn/zpn
LEHbhvhQuGx6lzRwspQvpZ3vsRe9wokmGq41eWmDR0PVh9uU0DNLHT85OXb2PpunbN2ut6kJdpfM
DZ22Cesbg+qfXDG9Bh2OVgN7JLQ1aiWs6eZy/ONGm76yNLlaKCSFE2yNDpOPYiTcpE5GDSVszcie
mouiJ9Adk4McSLnMEHP5SddmJExxmbuBkgB79tnqEer1BrGRzmRuyUbdeQHGXFQDeS7GWzU376Yw
zDMW2zsoNOAuPfksurw5jSYuVbQowkbzG1X1nFllMO6GjJrv2IwrTAsJKK+pwDeGrxqP6iVMvPBI
Jd8pbbI4IrAbR82Q/ZdR0bylXTxli+s9wpDWh7iR51Kph0Wuojp/7qb33COAo4SlAQa+rDAuXlHi
tFJvg/oStXc/kOzbD510+TF1ZxdMA/6w7OouPWwlGoV3s1/RE0vrmFImXjXkjkjiCz8OAAQYwlgP
LPTJjS6tKZBN2Jn+4BA4BEErAUUq3IYVSaZa6L3btXyQyWiSv0g3ob3knLzGK5E4TrQkHbcW6cid
H1KnBUUCE+XFUWQyvThBwq6tQ5WU26oCnO+E+T726c2knGtDQRoBlSY+AOK6sJvuKeme/rPzhlQW
4PuBakjelwTv1FY4Vrqtsv6rtPSvWdfpnkOP8XKeX/K22OHQ+AoQtfgJ8Zh31aMVu+elNW9tz/0z
bNbKhLnnnu7wRVVpZC6IWquXdpIsNLSANGE5480hO8FR3K33DJFHMgHc6xY2/UbivwIBAVHKxOqe
wwpnJtBmeC8blD01q0fDm9KDUzz7k2b6QUrd4Y94sKWGKCLUZ7v0TyM0P/Z3E87DZd7p2eT7dW4i
YMAHcCwxkKAPWP3NmYKGoxFeUGseNfDR16Fdyl2ml+XGk/R9DAa912LMiNKUF28krDHzwV7S9NAU
AXQWm1sKjxcsTq57WEZItoHBH54WtKg3GOzikuMHk+AkSasEnjufZ8tJKCV6nY2qwOoVXjMfl+QU
7Fujtq5zkP5ntDhaKZetIiJxDeIMt24+WkFVvXGsPvtdCyeUHyVVekW+UBrPSML2jesiv60Ac7eE
OcJmtqPxQkT+5Nw5dKb2foZtwQeRmi8VvkEuQHFFlZeIeYsgsrbKTy55+B+gL+bXENDrNPM3lPPw
Zgbs1cA+FpGbsOvpHgofkBktiHaEeLfv2nhNYvDpAcJ3njLKoL0Uzs4yK/8cJGTKmuA6rbRI7bG7
HFPxFNQ9zMNScSuOmxdvpLg8DZM9ajQvRegEG22Np1D8kC8izg6dKfKz8A1RfM2LgtcOWtIjyk3p
VqdotSi7Rzsj6BGEy7e1WpSVaiFju11BG1n1U7L1h8jiptcmsR7UG0d5ya0rszjdHlF7m/vJt7jd
oSNZPKBitAVOZGo4spkPXp69WoChFPUVM65tu2+JoHKVrF1xjofvzgjpA7ACKm3EH1cfFvdODTtK
ilMgeWFmSVCIDqW3NrWvZWAg+a4JObM9z+kLFLfkDv80nxtyvFNKKAFzO54nBYG4lPxr39EvkGg+
oInS9k03AWS0jFARyRcmRxpD28I+gXDaJ1SAnKsyu+OIDU8y8DOUlJKcDHemjSgQcnXWDPhn6M8y
Av+lq1J/0wY1m8niZouFPYCR7GqQ9BANOuAdHGFdPPx1Mph2cS5eAwNPRYltlr985r3nQcMBpmQc
RLc8x8D8aALgJlneZRjeIm4BFUYOBmCvMX8CLE79ZHxpE1dlMLYqIurI5db6gh2lNgKWt6DHPZJQ
7c2Q/XhaUk4+xfLEXqErPO7k+bpDKt9EuVTM1Xww5IwONCFnYITjebRcEyXyrfQaH93komvqNFWz
4KRP1LdRQckJxukHQOc/NGlMUQ4tKH1MTQDEyPMM/yNczAdJDD4zmw/LUhzpy165/r/CwLCKdasB
2zeihuMAsMGXc7k6D9XAWRkre4MrZtHZv3KKLa508XfghPwHUtvu0FPm4Vc3zibqFts46qULuIkO
ZHwNzBOsI5OAZN3Ci9a13G8MzMT7OB62crEFOdE63o4THCzTSp7FnNpHZ83jtEFnECdF0on9GKsO
3MyNArlkFfSUE99n8Uudk9nUPMdp5VVq2S0KA322c0Yhjn7XU5xVeLu1tx5aWv8kDMWVYuYMHt0H
wEPbXKW/QZC/y3DvTSPcio3vg4Eq/rUmTY1pXyIVlL/52NFrGJt3wsvJ61NWbmSHsLEf6IH56pE4
5vqzYBM1TcWub/o7rfXLNLsH8gRX7g4PdTJ+FHhDh4HWDyXuA22faG/nxqr8W6JxsqvseQ3jNHQR
IQuTkGu0wOApt0E9fAiHwE5lVP9Nk4Wa4Qc/tqEinHS7OUvOCe4bQ5X7tFBRZS74WUjNWa1BeXQ/
bcfAerb0txr5iGXpgW0sncvGY4FD0EaFdptXnVYnTJHcI/1TPTfOmVV0NGZJE2Wt52/Kqj73FiYg
BmmjWpiwgGqDJi/2tK9HCUIsw/EEjKQyCAWG925gnj0z/GdNJn795d1YVx9z6y4nr/fvkMMP8YBI
YCnuAH6JGIHl6dAbA39dCBHLVJRrE93jWjBUioax5ddS+2lgK8FKjtmN9RcY9VPlJ+owJ7Jkgiak
aOXc2zzL3K7DwkiVYFRbZXsM/J3vhPUqVFnRVLjfodM9+nMHl5T9IB8sJZ/o/JldeCcNyh1vcW5K
dF6kBqYuFC034m2zX6Z0OHIjm6O+2wbtsLqITn7RlKc4RrdZpk5Hptv7NLOSx1nsc+AHO7ESiAMX
lkuur0YM3XqgrDZWzw41FNfGDZ/VwH0rDIpnqxJXW3P9LSx+9NqiaI6s+39Tg/E4ift9MiUdYn2i
sJtMa93f/FiaqFZ+WEQ6gJHiVsWhCq0wCl1v4+U4nWWz3PmlPFNz9Bq76tYHGtsLcR5kx009NMaB
RwfnuUJiaQU/KscOH+kSZFwSyc5KjHXu/R0S2ltNWo0Gc4IAFaKq/YRIVRFkzoRaoL3niqtIQLFK
icHWnNgJWXP6UXs2CYPFJtc0q72Ml98BFi/Lr76O+AdjR1e+VGzSedRVw972aM9tU2vvOxmthYgs
UUx9eEufiLvK2VM4EvF0J1Y9+th76hdJ4atFzr/RQ71jcfiDleivUOAlqyY8eN1v3QxvnZiL3dy1
T7B6CAZLeYghFdXqBm3qgbOJUcdjFh/G46DaS9ZzaZaJ3hIOe6k7HD7zN7fT8ULl1zmd2dKQbmAP
wpYUDGaMYd+6pppMQOl5v90icJlU+dpQKlirYbYRYKe435ov6eSnYOCSZd/a6EOBgducZSkCbffD
ddKMxnUB7bcAJYryP4RNYIn8h3RMUWS5wSTeiu4bumsc01KoP2PKoDC8aXkLqNHYlD6pQrMx030F
a8cWfHm99TGkXFKJBG/CIKT21zzbmuhjwiEvCMWcMIzcwVwD+piUp55ObUChdXpnZOpqLMrYB7QV
Y2EeIxvzATmYYCul+y5iUEP85Y75SvpPHyhpQqhhwwcXgNX5d6ZJM7pBRjefh4F6xBtUF921HGga
HUv33Ndijx15B8HIZJe0cYzW3FOOS7rGppfT4pyvl2G5jkl3HlgO3gq6oBJupls6YeTe7IGteDPZ
YBIwTZPcBu4HzDbv3aTHqOhyyNnExEEAZqwfl/ykZvuQp+jUDXP9NjHcOeoiRydcJ43k08OUM1bs
+YhwRHQC7jV1DlviIqwJl5ISQ8k7pI4/iCehAfJhOYy9fSjblARWRY2wbfPQy2Iyn9o6Vojce+hi
RAlxxBtwHNTYPcl2PgXCgMZSdId0hoVDvie0Rixtk7gZafgeMq/RwFdj/u7dFyrTt0uBFVMYZLay
diS/gDdntTn6HfSbfEHySWf5zoC9F332qkOy2ugph4LATDwo+2SzuyX/xG/PM465ofJSdumYyHAH
DGFLQKyMOWX5FOhlItjm+fpAFVY60f7h5tZrGdgoQQIc1FSLW7aWGw29oDE1LKNiLYnstcPHmg9A
NoA3tDoc0FT0dhYCpzZZm6NVYhzlFcKWRY6uwACx6HbrFvlKzdJfsTcfg75/zxXxdcRhbmtxfG2G
kOyZS3Qut2nRoXp98VFrwgLXwAT+Bw9T9ZLXDmqU1XNRto9hV3ZU9i4rpvjDKUd967yfauS6TC6b
/louw/bjxEoT16xPZZqjjrwY1M+6+7Lhs4BZc9q3VgIHjJ8/k9iTaeEpqpb6MMd0EpSzz/Txn5Xw
pvWW8RPjxW1OJWjVpXugtOTVpS1ujQb9o/sIvYBQWNOiGNB1KY91ADlIS7ahOW2HcxBRKp3t2Ve8
du786ScIG9Lun7qSJkPHTr1NkFD5ApX2EJvpvE01qkY9ugllQ/l7ztezGVyIVeAjnjRKJgZVXoTU
v4uFMi/gBLLL0vtXZV9rXBc76h9cdmPrQpeGsVFz1evSh2Fs7qvQuHm2Wq3+qIgNboUy8Xd8qyva
07qKqW130nF/e6ZzPKPQ3VM/4LSBJx6FVDVsYjXei3gIt3FfsS73jphJyBYvVr6ZrDxgEsCZKMEE
Rz4Oy07SR5d9NVMXcyZyjAX8YjpjJmxJyTMULZa4LgtQ0/d/8yLxj1zWNmXOmSOCEKNbGJwZmzZW
oo4jjqMDP17o4RPLN+xNq1Go3Nj5kh8JxPoI0u1TPrEPSCtm3azAnOIH3sF1pztBdB4PEyGmKp72
KimfOS+XQ06/K3MZMoeZ2qsB6SxGTLptxVQQF3UepRaka2VqbgGYkdjgOPz1cAHZTLA8SJfhXtWJ
ZH0/LDvTzos1bQ0PvMf1RqijaimyDWEs4MosG3KYNt9tsANQ9KGK+HXKAx+/cop1zKmPozVjn2ud
KqKT/Fw0xv0wCWamqlRH4NUbC9kokrDdNxQcr9BbW2A6syx4LxLZpvYZe3qdsuavCb61AqRIlkQm
JE4pWsQfX57Z0hyKRIgDJl92d1546xLnmBniuQ+VjRzPs9fTuGljh61vkBZPobCfkLwJ9OTgA5ys
4eDBF4nZtMnjh5QLIJl01T3GkiNXNrbepEmprlMwPxtr+GuYtM29ekC0NszDPMCNNXDOEMg6GQKr
WltZ+4AqwchK+NUMf3Ilg9Sbltn7tlRB1JnLYQhdtkBO+ChzA4IM9daek7P0V0hy8f1sZs0Lg3RQ
MZKrYoKnhifInePmjCqIYgeUPBJzFQ1G/SnM0QP9OQMxas8eBUQMD7LcK+ouCT4Od6b26GIJnwh4
59smVCnZLl4Tu/zMAxpDWwIwWZH80zPhZx6Y+9Li6KrS4KRnOrrzDpt2A2JvG+fXLln+ihp11kP5
3yjjxA6fXWYdf5sKWNSQg3AxxZMD+n8rtb6lMT7iFHbjPuNx7uNxbTqbea0SeFUKTFnqJW4ZzXyZ
8hwwWWkIDypA/kKL5ImN670FsBljacMKmLAXu5D8vh4puS3SGdLFHDOWsbrpPSvm3pZTveNThy6i
VEFqLzvBQo64PsSlw5BTV26IT4tA7066Od2YeFy5aoabTrQ1dC7jLUlmczOxtT2hgUZyTZWb2Aw2
ow8S2hx/gYamuwCvy5g5d5PIbk5OAhLg6MZlNOFamgdEGuwQn6izk4nH1Dvl4bb15lvVgRjmpPwH
YPzNFUsAf5eMn9Uu11quXemei9PAdz8MLCM7Py3+Ah+LEHA3tVPqjDrQQSW1YEI4ySkRsmVvxxuI
uuchEQirrkQ1o954zOIHB3JcW5DvZuFP/4NXXenIBPwcOOewADJornsLTYUBx6+fo4VzVnSlll99
6UYm8SYS4jtZVM+JTb6kHLH/+tmv3Xf7GUo7qva5q3OcGy1NF0Vd/Fe5LCB6545TctxhJ35Z+vHH
zqy9CLAxuw6wgsWL72SjnWNX8b5Jg/6jNcGnSXoiViJBwWGNUUZBAgkIKLNYJHsoPQMmGY4NY463
syBzPY1gfi10hqDtAF8O95ZGDm1riH1e0X87CgaSK5978h+bpbLW5m7cRBYMssV4CHHgbtsWJnJe
1mcXSEXFic6VvcGmzPPWSf4473G7twON6UCUBqd6ITyzrWxjOvu6gb2XrviqwtqAwSY0x5ekFQhS
HfRIJCk4xdCD4EtWs05wkMvcf5IB0Yd6eHRHJI2wQEqxxtImYV8wbOfsgCzofJolbGscq8B6l1jB
h0JBMSSHB44qTPlwVG3Fzo8kZziLO1rB3wclwN/eD4Kgeljm8TsiFVhV8H0zlIoSM1ehiaXgYNvk
LYoEssGrSzuGk2gwvAMhVMOD4okSboUtfBB+k4A1uVOG8YMf985Ll59RMYTiWaWcFVfwpsTcgPHt
Uof+H94sHkduPewC960j+BKltffdFDHWac/cxy1hE/pw97Y2b1URPxeT+vZ8SVSN6vesem29OxDJ
+MYlHx/C0/e6gD3aW1m4H+TZbcijspDapjM8iaxSd/6Me8LU8b2uDTw1ZX6xcvB+ZfCQLRLXS5A+
5nyz6KDzYa11I51EROXPyXgIOWI1dBxVGuSRbpIXisZnLKLvSOh0aZ2HZkE9CHg8Ns6yzSRhPUgC
FEOO/WEMQefTAkXSAdU48uLicyIXtHVzdCtN2NH3V2RqmpF1BhGxdfFM3Lk9YZ+BElP21PdklAqE
NC4HpEeHWv2betlxIWe1IW5Tw/N4jLPPfupZb+qTwag5dO5/gf7rUQ1Z/oUV7c97P5vl1l2jXqkD
+0dL676wjG+43Js0JOYH3v1zJDm5rNCLfoG47XnHZBgvPNBcPaqos2e4h6kkeTnjIuwb6jgY+rBU
0hC2MF72S7f1UY8mQ59tp/0lV/Di4V0Y5uJH+vb6mzmd0iAuQF2Et2KwZwRhZ6tV/Nk5BHQZRP6G
hP4cI3AelEdOo7EwHdEkByNFQVWVYCGW6tmvRH/yYIxtko/Y41cEYY07O2he4owIXkVrJMvNe4+t
ggM2Q0iIOL6dv4GPYBa878C4RW7sRik+DXRAWC9OAxEoOfr8nw1BOQ8DAOrC4P4iDWq2LgQ2/s2F
ehi4WLOqsO6rQhLkGml9hjxZOdVlNEnUdq3CTKTu6oqLHhikvdQ9UH98NyoLTcSR+do16Td1b9uK
iCxO4Ethv0iXHrcEo5GWBB/YTG6SJP6vmmN7g537msj0PuYLjTF0GO2E2Zs2l5znf0qsNMJHuaU3
mWZTijpwUlNqvBIgPMyxBZCX0uVQGcqCQ3qy7uE1vIM6Z9GU9N+UiG77RUY6NW/d2P4uDPC5GEnP
WirkhyJ+wzn/F+YkoojLw08KkZG9+Ltxurs5NPdYL88arGtY6Y8lnzIoxDznrL1NVyOJAoLK/ew7
G6ebcTjW1G/b00Nrylsja176tkXvrZ7wBgCHUVxV0/hQ8D7cTfn4QJznQaWckG1rGRQweCTo6U0g
QuqbmJnRs9jm8L5E8PYOXtxzbPYuAwArQHEw3DWEprMPbkP3dYlqyWPtJR6C11zS2yjNOd6Rp6C9
KDjrzDy5y5s1D6cyDFIGFe4kpo0Cu9Agia5C+zr8fByKIPYfuMI8etmEouszlMzjqQOwN6kWqL5/
sS37PiMAkM0ret9pX6q5v0mj/kY9frT7SxWWr7Fqz3EZsodH6oHkhpf4fRyIGBjOsVfTvlesLnp7
v7Q0P/BlYNC8tZX4Ez7Xanbwuywbvxapb+GA3aV3d6XzP2Pn1Rw7cibRvzJxnxdaAFUFs7Gjh/aW
Te9eELTw3uPX7wFHK2nWxSoUihldXrLZDRSqvsw8Od1n8C/kiHlMNyA8KLXOzJg5UPDhasOTB2Re
NzR+mOKghufbzG4H1rYxviH4sWd62af5qshnjaZz7usgPGttwxHDwxWDqqWNm6ieDm2iHnjHHyJm
voNWzNhRShNFGj1amDqgtLB+2MULdahETbwUWtUk4eU2w1PD1ANCKOfXaMJUSR6ydOphpRFZ7N29
VdcrnLur1Af/lnGb6gPu7YmYigK6isQ+vzi9IrTauufSs5f+xMhf+ow4HTJvkeM8W4P96rlUmOLz
/8qS7N1onWEV+eFFL18G2AeUhyzT2tnFdSqWysQS3alnu7MImEKRk9TGGJk8gn5ZoTY8uV21qswQ
4WPXW9Nm9PoHL82vw2jYdQRtrEbl+L+KZ1KOuF/FM3ipc677HyQ453VXbZEh2dGiDmBLqlYIoSIf
XouJ+1GvzzrKD9cZX9EHaCq2/zYfp5DsFAwwopETToCRxcrQXt0SCGxvQnloKXitmcLxbLPWYVKt
ddxUrIn72gFzgQEoCLTbNILtjq/8EKUTG5TYeNK0/uXnDe8QqvFjYXGNoW/ICJ3AnJeLCgePyRiK
rCCi/kNFs1RGIM7Wd2H7PUFj8aP8TpYJzL1F1JPaHAJYu9Jm7NazBLRkqFmJV1o/naqgYTZDllgE
0T7qUP3mT7pPw9d4CB46DliLoiGA1F4FzYcJNYn4Tb9qovzRkN1Od8ggSCwiOiLpqu1NAGZlcTDT
7LbNozUYrJ3f9UsxCJ7d5Z3kGM+J3DE3qa6/e5iqcOEKa1MNzUahYtIhP5xwLOERLlXPADq9yXNY
3KRJMTFIbQ2EBCmdDE+BS6ssx2uvTYm7Jv45aPrN6AKBKVztQYsQTG0pkarwuUY3cTeO+6kqLhLw
JLu4dmNJnBM/E46+SV906a2DQFwpDysZc70zWs97S4EwofDnGrUpbVsbCpAbwa03gBsk4z2SVuTU
j77qQOnb/qMzC0GVgINJEx2GwWs7tLYEEim4FuM68FqyBj90OYkldNiXvnUTBWNMK95SKJcycG6Y
vKzCpePID62CccCM4CHm6LKs0VpjYI2iPQemQ6VGhftbiOjKqjdVRVZmsL27ApwMM2QOUIH3SdcY
JvAjp2J6VsxlVQ475KdzmUK5C4ObPqmSlZYNT9l9bVn7GQVVtxAtilo/smTDVM5T2H+USSDLxG9a
kt1kllXu7OjWzrObXqdYYdqqSJ7l4Lz3Dji7QRLwl686bWxrqgG4OAV+QS7YbMjuE2NoV0YFrCWm
EkAPylXRGA+lSpFhC8gTdOUclIbyGWRgfPEN498x7ovS6I+WhagPSXFciZRNG7c3xoQ8FAeRipYp
a/fStcXewekLEZZ6GZQed2/CJ5jMCbQJWOSF0bGxSnX5bTa8PRA7jROG0EXmjsdqxB0DJclaRErs
4BWdTNG/Yb9ivxlUX8V47w4R03yGWZgrmm8r9sFk5x0S9F3DVGcZ6EF9xCail+an0oY9Hm00waEu
sbAVXyUGydkNe9UTlMLpCr2e14FB3kAoSefCO2byzs+oOThjzy934WTcm/XgbzpSmWZ1YVnGWR+w
W6zeA9T0Vc3jbN0w/V6SzHutJyJXpDld6bu7zmFzSobV64ZumbTeieZa3L0OywXncugRwTZJYC/T
/BSxHOLLSrzvQHJJYDmkvpSZpt+jj3kxI2qrOsRVpYAwAY8ZTe1ubKqrTpXalof5TTSG68BWF62s
urWhaa9Tlxyh+T4rNtqkK0ub47p9hiM7t1BB0Su20unPvVCkkdL66PXtyXVwTNZVTQaCKOkiQU6f
en1DVwF7isR8HwOfBwfGJ6wbySJkZ0GRcDvs7Uyc85K+H5TVHZ9ArHNUlEZ0aJDVcc3guTPALzpN
aK6mcGdb3ZYVM1mUdkWQEThTqHvfdpE2CxMxbWtonJ2q0dgp3QbcUmsEtiUjLFna1pU+Hd0Wy3sw
hitBDbHOVcXPwNPEDkknyolvjP3vSxYZX4UwkyMNwPTMBNFSMM1f5BbRa7Syw6hr05ZdH+UrekHk
GluPtCvMz5Fk+gcSCVs2goMxnQaeGRQu0elL74UWpmdskBiKULyAITDS4DlDYcuydhrrzDb9UDq0
KLhWwxWu+rdAN++bhlyUqJLZFD+zKS+CLPrBNtnw66pHknH6icxec633w8BYxq5XEPC/63HY5D5n
Q5HLPULXpbPNOy58A5iwQUI6Te/ggrznhr6FDMFgKbUp9OVBuqgjJ9wRDUUfaK6g8bAZ1WHckeK6
ONpF1z34oKNxaif/XdTJVV30EbYxmisRtpdjjLQBuvRD4piQ2q6tKTgi48JoObpuWi6vqQrqZajc
Y6hz6C/6uc7Lkt9CHx6sEH2e4wmW6WqvEdBdWEmubwsnOHZjsicWsaxNrb4avG5TMQVmI5rWDKnw
oCWYdTJ2p3ldMq3NPMlUgGCyHPInKKPdtqZyCj0LadHXMBhUhbMSWXUhLXBfOxp7kh45NZJBvc6D
a+KUaAM6Pn9NdHzqBdBeLmn8YAs6vHAgSfXc6urKni4dCTt6PMpo1Qa3pj2Do5h+s3fp1hKBkE4a
A24BfGvVlhc6vyceaMOesEiOU1DTltMx1hgVeHG/jBrgB02iRjRe7QNTOU1u1msAwmYtZ4ugJXGo
p8gGoWqSvQP1j/YJJNERFuRSS4rbFrIXHBCa2KI64+t5hhMxY6PTWfZTJMB+ZEMtN50XXJid3KnS
Fstxq5fOQ4hJbtmBqaSNs8TWTGyBvQEOn760V7qbwL8BeO+VAosDHojKrcGXE0gohp44l5UEGyCA
tGjMkFZNY2kEVuymRrTWDTLASX6V1D3uW9t+ZaJukgWN2ffIJmP4jESkcgcsEUSdXp1E3Qa7CN/a
IsBGG4xE4ujAiomql7eWCaCOwkcjImhVZPapKAzSOy4zAxclo4/TG9Mh1Zar7i3HNTtnkY5jPz04
jXnTTiWMDG/T1E69pUTve+z8Sz92LNjtMzL6jdE3oNtUs/RGQUm0ScMtdGMI+Ny7rh8dOvxPPWFa
L6hu8959wkkLk7EL5LJYotnZDIah0sCuwJSTd59kCRiMod5bLh15mKQk14G2ZFMX8+1cd4NOSxcY
cePRgttJZkE6cD1tRH33VpZY8gNWWoziCpF10r5Np3yj8X1YhV6F+VLsDLN+6HhGrTrZXLrAY4jG
8L+vewK9lUEyzf8iMY7TKHxrBLwWno3wfvzmnm3+J4rWVpXRYaj765K2Lihl8QcKHe+G/LKT9JI2
dokSNL3hLfQ3Gqd0wGZRGK5ciKI3ykO5q/xd4gyfyvD7rdSDJyPk3Q20R70o4XMrdzl18McqiGcL
UWrdxnIzDookfhezg7NU4UetNzeZJk4OT3k8W4x6cFzZeEVtgiW5SxzeMl87zTtWNVeXj+aJBU88
t0T1/AS+pohxzZTohguK5gHKVMMdviCIuluXkzbyXz3x0fDAq5HZi9HlqYMxH73l8M2Z71GbI9Sl
9jLFwy1LDpVoHlLNKMhrDsxwTH54gi3G8j12Jk75ZVnaG49OyKbmRzWpftMYkrvCDLbYTZ8zBgip
gSUr01pYGaxxpYJPqtoH2UzwQ5A5Pf/F8Or7TnJks1kZCEZj7Q6Tr7pMQNbzRlUxYDBO/A8VJBjP
CV8fcujmC9fGaYc14aUKrRY+Q7hu0nnoMwCB8q10X8jrsuDmqgZnmwFKZUDUMBuNWA7IBCLH3Oth
eVRuY69al21DmfobS6T+0na8N1lwydAZ9W0h3POxpAf2xcKF22r2nOgIvHCc4dnOJXENOaFiVi/x
z4KZajNOElo8LFMx7X0HB2uX9u4mAfU1zqegkjmcrYpXy+6pvLM9VgjP23YTsWMMj+x5ebhAf2au
MU1Y7IPgKovsdMWMBbaiQYvhIONnCpn4ZEbk4KIdLo2ODq8cno90SD8YHnLTyHNkQf7125BUu6iQ
kDj5gGWwrezxzvKHbdBiLhgnB2XqJuAQuqHnDQOFjN5MHcFoKsKXaWbqMfnjIoVBkIbxSdktk3Vu
lQwnY+p0e4Squ6qnSE92+XVkl7g/8ytXYKJF/CIxrX96rGG9AepmsmLMuw5lXVTznuK64LoNdy3Q
nkP6QYTkRbTEYCN7lgjQBEEwTt6GJdAKrygH2VcmQ1yG8QxT8+555roj9C9YEu5tcNRsHhjQ+Wwh
Yg+Zoyus2TXhbvDVXTj4bcvUuk4SgAYeV1k/eaDSJWG9Dm/fz4HXyTjw/oycNKaEZvueDsG+LBoo
nYW7q6x+WMNPnEGKDHJQUPiou2xJVdZHm5hQs5gQgA4zX+JOSBwfr2FsTBunJkVVNi95WH248xMo
EJMAHDsdy+Q1QaOio4tno81keI0T6kLQdhDtCucukI+SdhlTfvrCwJvhJFeef6RyhpKqaUKRN+tt
BDvf4Lsgi6i9wZRzA1D9S4T7KsGfYcaMwnVTwSVp+oPR3I5cnMzceLHRwuae5rhup0yaJk4mQX2N
Xf1oTTC4W9Mg8cDeMiRCwYTbfM85eHHTtA3zm9Q/1RntwUmtSHikKbA8DfuwnQ43hYAtkkgJwKVh
u+WT/C3ZFMH+Bdo6C7LYJwPWkiXAloiQGB8a/lsR8dlpdo/NKzwNbmBt+uFDFwTetWgefwo2hq6l
oasr1qJRJg+F6F+qacAh7YxLJ+ixUQ30kid4TfAAsnUkGAj7LqQlY1BYlurmlMWhvx7N7InI+MrC
WrNsn/C8P2UQQOD/DcGq9avjaCHWQP4Cf1i24LgRnbnW0dpLm6wAtExSMgnmBdAe28mGa9PNJyeO
hboHCdtxmbm3EfTf2Ja7vBrX+FeT5TiY6YrVih9dYczNiRE1sthVDG3YmnJRwSzrq3Cd9sWtgoJj
xP51EORvURmzb6uKDwhZk3TVWunRIxHq6UTYbJWYnEDoFIajQl3DGGFpaVUjlrrGtF3mVHwW/nNF
3+ZlwF9uWtptXXWf5MSnDVpfs2rkFe3V6aof/TdmIo/K/Zw6WKu9hznO12VH5QnZg8HTrm0dcc5g
IyVE86Dr1W2vAs57c5bM9LqXedGQKZTAMbDvkii6WH76oQX65wR4cSFiBC3kpMZGU/das2UW92R0
DMoSMMFe2D+YBPFXQznuyqT8TECZrTOR39pV8to6oWJoGsMspGtrRRn6cz0IC2BZ/a4Y6uKg83k+
stNSTA+c7Mmwg3rlWGSYOqze4/hAgdjAFireB8ObwTocZt0Nub9nrIEHb57JV2b+5qXcEpW0Hjs1
8HjSHAoyOZFEyj749ZM5O8LHfLDBUTJnmmU2pM9mCZwkOsVYuvUpe8pc6I1sSd5TszxEGaKu6SFa
OXxGuu6YS25Fume5TGnqTfXoKqa1hcknw5aO3JLKQdlzyu6nMMMqDtJFivBWuIzhaiN5G4LxaqjT
aEHnHGfXyZ6DW/Haa0ipihgbU2mxJuZ+vZGR9UlRUbYNiMRROr8bHSivY01ShDk/2Y/7UEBf7PIP
mcIFyw0SGSU+MLvVV1RAQLrIujsFawQd0rn1+ua5ZnIPBsfGGLhURWhz6OBKxPAfLstGT9fY1L2h
cReMTL8LSjzjrCuoI+HOZmPdLDoUbTjlgncr/MjYFWKVz/nuVbWrbeCpiIl6lL2ZNc0THf0eofZZ
J1B1mJCsDQspLi86IoQ5FCGbuGXd9x8Kit7Pv/SBwidaAYUbMsXclF4AXxbXEvcKMGZ8oGFxygVH
/njkaeZN3RNljGurM8i4liUuX15aDGh9y34csT7ZFhnefk0471i6VlHNiEnYHEcYOA3wAogooRRy
7ECDEtM7nZV0RsLrr93qsQKTbNb119Sg7s8vVBYk0fy4eFVsEVaTZJ3VMm/t5uJc1aj3uPQ1R2ek
TYrZsOE8xsz2Enz7EOJwp88vWJfOLgfHT/zB4G/HxXWMRJ+Yh8BrHsf5J/tGma5Npdkru1tBIVh0
5nSXE+mBXocuykVxSEFrjUTE12Vo3AacIQgk75WAb0Zi1iX/I7ZC0eLjF18WJ8eF1fMaIpsEliqO
yUi20O5XxsBTmV04rhI3WeqFfOyxxzMi7C9OhW5SXTWD/0rGE0KcFB8d/ShTBr7JSxWulqF9AgSz
hinGA5chnubVYmtSM+lVM1URaVr3OVdqZYF3VBJf9UzvyGSLZGoPJjLTfOQMxGOeXT0jXeyu9VKf
Iw6ek10ooGHWS59DEtMu2c3FOyFJ0A3W/oU9cbRlX6Tx8FGnUixNXRYI+Di5PT9HqIyY0iIkio3m
m9+uGHfMmyAItIHcoFmSy4af4yIkKqC3jBMMSL7kEWoZPjIXCk9lt+0z434SHf6mZrhTubVqvURs
3cpNefrCbRsA6/kZSVGrgJyi4oOeDclSsaGVrOirkGHm1p0ulqboDefIDpIc0CjxgcVA0TqIFD5l
N2QzLGX2xDRivAIVNCyq6bXK+2JDdLJiZjtPkOdPKk2e3B5zv9fMCiVZHbJ2g1wSkvqGvcvJOBLr
akDbyfMX4eR7T6dEmOfJym94dT6FE8zM8A34kFXgrjKOB22EE5LTJ1bOrWscaLiDx0EBEWz4SCwn
vVrpEO0WTUjC1WQZgErzIqTXLTvmzqrlvTfs5il3Eh2IN1uXymQQYE7vhUovYzSVK70VEKKRO7Vy
ZJEevvEqvQdZydh7CKiDYEDVlLxSl/Ixio6oQlpKgnLD4O/LUt7GEf20zDIp4yLJhUtDkfoO6K6q
sukNHI3aGD3lKLL/KvS+2Pm4iHJ9gjsjyz1DpoxrnZBohqkIT1H1XqNjLYzJzTas6Z2Gr074zRnP
EEQilDY053CkfzTpmyP/cGZKhQsN8jXPnquiWFcx6f9AthKYBQ9tQKTYfFKfDduxdBiIyZyEgVem
GvLabDZKDD5tpvchht2FOwsS1BPdi+y7aTOFWk07UUCVH15AyODDmpjltLErF9UVPBWUJGvZDhOZ
Cu6kJTVX/ToUHFVcnmI8oext6T30TEZFCyIkfBCtUyPEyjsTs5fognWbYehhKvuUlNkd5xLcsLwL
dEsNoz2zLjY/ubWIqpOxgHFArAGfbGucwgB/tBpYywvFfthi6s5eazNMPlema1+nhrGmlZdxG7H7
pWYywtWNhynVN5GVFrtUCGhWnVo0BZ3r6LTjwm+OVO3i9Quf2pCTxeR9ZWbN/qFZCvJ+J4YvT9aM
8jfI5SymJv9gQvqed7OD1AR3TUVgShZgg4G7TfCAh3PerRsQ7DmOk3CqF2OCwoU+4fTcnz7HAaz2
tHCDKSD3gz5ozFGrKdYYVUXhJYlgKpsklJc2pweOa30Gg702bsve/Ewld6CTjnTgTGF5LazE3ukT
gTCrIEFu1Ko5Oq4or4nI3WoRyVkrR6/KIg+FlgKHtoR4no4sOiMrjjUiKhPtfmCU3q+6uHO2re8C
pvPCN+qvHqvOae/9CbmiccyL6eXdfdPGMbcXDl4cjHtOgt0Tyt6xbbSGSZcV3kVYdM1k7Hgve7hv
k4OSUAGMLE1zSzp5eKXCtlgnNSMSSnhfvLk6rbdbuVdAA7hoocESczzGVlRf1FgzbOzmgMUESOGg
W9GrMbXRZxXpVy7dUU/ZOH26A4rSWilOYzb+hgff6uahV3PrOgO4xCSEiVp0RbUWWqNWmQfIldou
cSCWUNxOyAm2jdJrOMG7F3dstsA23PKLvc0dtq6pe3t0KSSpiBJbpNPolOP+PQXj+JJ3E80HZePs
xyxyrYMmjs5clvjzP4b0n+ufUjbiuFhdrcY/hya0sn5kQx5MPpqJKxWQOltjkqm3EzLbs9E7NUkY
oAdeylgHRzoDG4NeTq9A24zCfB2oNN06Xf/VMU3YaZPwz4YGVqSSxIiTEhzx/H/FpqZtQVzelZQR
H6shjY+ZYkCNRTThTrzxnGrnGRM5jlZupUFtlMrzg1dSUTVacLc0CavR1KkwtEtN3rAAqhvTNt2l
H4bmhhrWGEB8Wq2lNXZXSeZ2VxHwTUBuHnv7fi4SDMS84/j5aNhhFFsuJXvT4t7fS4PK27K2fMHs
ETawl+TesYDbQgiPs/5PhXLmQ8DL+Hsb2hqLK28E5TyRN1nGdjN/SYIz20JHJxoaruhHCt8zC6lc
wkn9402fTDkefzwywrbjK5ciEDUG465otN1PE2iV0bodmx05azvimOkG515ZoN/nf5JyAp4WNxmp
uhH8tAEViR6NxzgImlUpdP9o9Nb8QEoA79omdQB2SK6aZtSdkcyIhbmEUMwl6nw04hTwAWwVTB5m
9srmCR0/82CK9oOlTTc6XMhdKDWcQgw3fcPhgFphyB2hIaLvRNn9qFz/Pr0t5wdabVKXRVSqfZoU
oTWbWnqrfTL8oRScITcGxeUYQFgLf+rSfDOIj3WNOXIu2PThma3SKpJ7HZAqHA2M4g0br4NoUowq
Wu2X1zIeHxuZeYfmj2s3nbMp80Udk+jbFa688614OMuQBjprvnKxrUSnUUXaVTJUj1ijx+sorcOz
7cSoE2IM33sUlkVY4NvBBJjvurCujhkUO5IGfN+xAxmbEivp2aYCihZgNRj9sfGIgs0f9z50FJD2
Bj4kJsMRy5qObOp35z9eIlQnb/1TG2mYfrGIMAts/BwjEEj/zzQxx6cRdoReDORvXfwwNXmR88+F
WKkKc5A00h13c4fLc4j26FAMk6wJrItsiUbm2acWNazyeiDv//FPmR9jWpnfNW4Imsr8GXxi5s2u
r8tPOxDWOqWeaWnwW7pECE48azPaSKtyORGA3AWV7xyU8YGIMZxHUaTHFDyWyFV9CUzz7uczAnIz
p66ZPNBakZ8mXVf3sYWBLSiMl87Om1Wic4wMsQDK5sgVkRPOtL199BB1lVzTIMHnJSMKzzERLkw9
U/dDQ82fhDSLad1jFNWAmwpSc2mRir5QtsBQBPKqI8pDBe30krbsPhy3vCGkcstG3brOLbt5KDmC
BmmxmowKvVmh0MFRrU7K0ZMT5VDgi8YN1mTAn8NY3lm0mZZa8R667vhc6paO1NLTdmG367D2GfQn
Q3xUomQAI+voxnbLK7Nz3bWhe/kN80+yAdTSrvx6fjfciVyk7oPz5rS7xBzVn8mRamQe6Ckmoxzc
Vr1zU3V0dRV1fwsZ0NpzZMecFffFUzp8e8G0lrBKBrIXd77nqjtLOhxYVPQK/EpfRhpHYL8prxyD
+L2UMJ9kc4L0ql0y1sy5dApNPzKB3kgjO3mFh6EWosYVrFD92ic4zcZ/EguwWZ23oXroinEHJxKj
tAsA7R99JoL9UBFWKiyyip1Pd5NFnpvzKBw83fbHVxIlbG2Daps7sOC6yl6bY5V+9AlUW5BXxlkY
GY0yQ/lE1A8AZARj0FfY8yNGsncgPqgA0NLoE+1gOw7BoWoK66HEXbtsoG1d93F7M7tT13HXF1Ce
iOvbeU6jZgq/5ue26M04PHnjpJ96TR+Qa6gJBNbPRdNJ9zZcaWSPQLI78RWzKuolKxWeVJDQ2+hA
HKxGGgkTITl99PYxl+yhyd+nh4Zhy0GMmGmCe50xGUhkq1pOZV/ubWVX26yAeKsymbNQ4i4DKb1F
K1S7KXactfIpZiJAdm4NDjdRYLDMEx6MnAhSdAdRMTUHimAZCPSA/oKsuww4G0GoYpUJo4zhvHTp
ZWVRx7yoXQmCPUrES7jZ55hC7l1CDQjGohyIhn7qWC+2TdPr8Dyni9DzntsQ32aIWLrGw8zN1EMC
6IcJhIprL8uKIt6aRuL1YJLfskibRVp1bccg5R0suCCIITU07S7A1w5W8bYCLwFvpV/1QDROeLjc
XcxzlI45SkvwqtN+GZL34IkaQhPtTw6UUoDhSbxKkbBkUlGGY6bMRCCuMsIJaLIt7J1JA2k+VGxq
U4ejUOc9tE66djxvfjp571qVTjNKi2FZW6+nUt1WwvW3puWqhVuYWzur7V2T6C+ZKR/ZR6RsXQtn
OTkYBF0TUq/g1iCZAkC2i3cpF2MW+cY5HGh0GXHrI6Y5GDr1I2tbzrkMe1GmhW8pTyhV44tyDLb1
XZ1uLS7KddQ2xjZPcvwx4Qs6WLhgUSejROAS8vRdm2qv4bz+jbW47ljEGayWlzG2zsGIoK8H+rQS
nf4omFYtcafP3i87hrR4wnk8PPJyUAVx6+Q0X4ywO2lXktd2NkJbsA6calBgJN90gPgxh2OYFGEY
JNUjN2QOVn4g433CkpuRvLFT7TvX4BYaqgQC0ifNOgcDMDQ4QUWY0FvS+YehC18KNuqYoyEaEGZ4
GIoc7vxEYWA8fQ9GalNXyY/l6bSBZ+GtMO2edZMo2Yz4oD4s2Id6T6Zw2uR2z7Ed2WmpywEJr7Tn
icxSelF1dOl9HkyCjY5e3pZCnNnw5tw11WfFuN5OFFM1nEiFpRGl5suUChyarVN7PxkO9tbyWebe
pTH6T68nRFrX1qvLwS121JFPtNl6Mt4Zg8D+bY+PgLCoDI37i5Z15T5sKK/sZrWySQ3mtTiCKwbB
jaI9PupIH4AtDzjt1w9GkztruM059a9suyyjODmOE2w7pVOnijwCNwYvrECgqEXMlLNIVxzoqZaY
v2lTDo+D0DgkJ4bkLahyaucoIadzs5JiN2UFiZk82oqk+WxAZC19/za1huY0hLJYIeOcZJ7RANEj
GGnWsYuhdXfTJU2x+FfGeCiQXbduXD+Opnn4eSHxBGeGeobFDRsX/exlRrqSipJH2kBZJhZhQrif
kSw94HV3Y8e8y5pTQaLEE5CW3Q1h/GRFPPtATdGjAQxiITpw56RIKVEc9btIjC81F/GqmXMrdoSR
0WEghsUwfilb9kZzjYqKJW7/4GbM9f7FijC8ZB+RYgrYxRC37ImgsqXvY617pEHs0Rp5XoZnBwA2
IPACLtdITxsr8fz0fUYJYC48e7anENC3nh2bMvqobShjo7GRPXENqbmPLR1lu4JFDfM8UkiJYSNo
g5toat9lxVCLNr9kRUr4JVM2IbHUuLZG/cHSsKFykGLikyevmB2tNfWAqmr3GbuDRZkzEMpNZlce
CDdHKQzQDkN1eI5A2yKGt9GsDu80r/qoSZL4o3qjcR5iSv3z/jnKwJkdlhtXkDyr+V3jomQgZYP/
Qnf5ucnyqrxBQ4HjMaU0S/B63EDfZxm+ZpWOB2ax3q3P7Kixwq9CcoZwO/++gJVDdTlnEJnrmP0o
ev3127/+9d8/hn/zv/LrnGhMnv2Wtel1HmZN/fsvIX79Vvzxf+8/f/8FDxAamk2qzbH5j+vaJn/+
8XYL8ZCvNv7FB2NqtE3UbIceyoFuRPVNzWx4oc2kPCJpXpGfxqlnk5ubxrjjoYvWSvUp2J6bXOvJ
YsYhjaTSnd5sA1EpIb46Zh4o+Xl7hSGkOsHLh9rPsr9uu9SicsG8GoO5Us01sz1dJ+0q4pGNOJLY
n1JeaEllnsleNrASffPz6/7rn37f+uf3/8iLsYIn2PyXf/3rfZ7y33+f/87fv+bPf+Ov5/Cjouzq
u/k/v2r7lV+9pV/1f/2iP31nfvrfXt3qrXn707+ss4YWqZv2qxpvv+o2af7zc5u/8v/7h799/XwX
nBZfv//6yNusmb+bH+bZr7/90fw5m6bzT9fF/P3/9ofzL/D7r/s3tvph3bz997/09VY3XCfqL4Yi
HWgYjmFJ3TLVr9/6r/lPLPsvgrOvYZmmMNiFC+PXbxkXQfD7L2n8RZemKbmwTMp82VX8+q3O2/mP
hPUXixOmsrnuFGxxZf36z1/+bxftH5/a/3wR833+6RrWTEPa0hFK8qP/+drV/DBIE3+0tiITb5yz
V36aHnxa1bXc+4gr+fJP78n/cK+Y1v/yc/Q//xyIKSJSagCzgBv/2pe6drQbZ3ywDNX5J82U1jMo
Nco+i24K4lOnQR3ug+TFJRe31PMWe8NADLNkuLoJgNh1y9FTxgPXt781hBzuMayWm15VhLCLsr2i
/R07b9SC1owBN/K5oPrDnHKX//cvxPeab+9/3P5/f+uE++dfqQpSp3T4uLeG4X/JwtHro9/UGsSz
ipuyTBCKVkZe5YR5xkkcSjstnsClWitLKBubT+OzR6Xj9IltZMa5TYZR9JGCDSpQu6KYR09QESsI
qRjvrtjDSAxgGgcNFFf2HnRQRo55Yk4VXIHTcQtG77Zb74bcaChcb+Jsk6Y2xm6GvMGlhwwD79AM
9evIbKiqLJOE2TT3gWSdhP4RWnwWDbsVCCsWzZiO4ngEFjm5aHRldAzpal9jE+2MrxBW2FHW/kAr
xcTMM4LkWpdnM2dBZrmfXGaQhjwODkrjpimm4a6p+vBxFDb+e/bF2HkDQz1i4mABNxsnYpNnJ+3j
2Mj+jqWMDpYA1moIkm/knO52if0aqNy4kRYc28wgQgMitLbvDSYaZ5emnRNQAsveOnYJagxLHun+
iWZQN6gkGhvbwIiokk/Kxo0QVUVXsbYmXknHK7mh6OxZilKBbAJVbZr+VV676XkyNYw+XswunjCw
eVR5xWgUMMUmwUt1GZOe+XAAVHAbDi7OS+SdGcbWaNMlSpsxOohcqJckJS3QiM6jyQADANWt/t4x
MLJmhZaffR9scCPD5NuizbFcEYUm7oBl5qNX/Oo8IqeRzF8O5DyLfWzqWUmeyda16BWPu/OucQXe
OMjkG0uz8ouVOfklkIzCliC68KlNleyPdWRU5yIvZ7YDZuNlqvvyFPX8kwZ4/pygub9S2UAUH19t
+UER9nBj8cYyHtdqdbDyeSrG0Oela5r4XtSVsZm8CJN0Mqj/oO5M2iI3wmz9V3p3V/KjeVg2OZAz
kEBBsdHDYGtWhObh1/crUS4o7La77+reTToVUiYuyAxFfN8577kSVo0KEpN0uxxx1TxqFgEY2aDY
BwtX+qs1N5Z8VNt0tmKKkCW6xrqJB8IYMMrQFEy6bS8HlucYswDW6t6j8ONs75aqvlZdSPyA6cq1
sO36ULNcPFToNI5IXpHU6xHBngTLx+5ZizV7T1QKjR5qrAelzSxcuha+MJWg3mtJZuhriUTnnAUs
OQ5aFQ+SPVjk9ou4CSfxbOiaN9oIAxEMSxW4t2XbwJFDV1lrCxs0+ys963qvWNI6qCaSSZcyBpi2
3qcerNkvaVCCh47BNuiV2q1cBula6lYIXpbG/ZOBEu0qYln9XSUkJ1z6YSFfy6inNpBmaXnbFmaw
1bWE5VHlQIbWBz+4aijRLgDb8ssrSP1g951fy8zjPTXVsBeam9CoJImUTkYfO7ivFDd/85pmuFZY
pmwck16BGANxL+CBb/TcLR9rK0LwoQEDZYrPriyvoRJcovjGOm+jADEUYA0UffgCpRLEqUd3dE8I
EdVzpY7XmQH2s4gT47L3RHyUAKWe9Ky0b+pu8icMcL4O1EcJUwXl+DaoRY8bpm++BXRj3nzf7NZ+
rDXfejfpnwItip/aQcot3wyFj4/wt6oNdwpyAEVepQCIeGGDBlrCjWTzg0w6WcZ1gVNUlnRai7xF
II3W61FEtQHqb6iJRfZLyCsyv0Sk4D227C9JKgiamGwAMM0b2hf9StNES22pbZgKwIgl4J6G6psH
N41Eet+Xi1x6Iw7vDPa901liA1eA5FsH5fhFznSHlaVOLy0JSCXyoxr4QJZFdxANcmclhYbtUHPk
eCAc0KbUag29R7qSrU3ZLT3FjDor4qPiNBJT95jab31JEn0DgBV/pgNu+6LPxugc+Kb6R5eb5Ubp
2K2TXlAsosHMD6pBPvJFnsEJjgvHW4IBdEjRVUS6Muqqu/NQfDyHTWZcScX1tmgz0f7kqrjrfBSk
AljjHRYeCsxORGBL6LuvgxKbv6d5rF46tChXOa3a3dCWKBcxxaPEU0ECmY24HIq8f4VKq56TfOBz
MuoBd3OMUo+27UTk+0TRzqdaR5qjwYSLuBuJm9UX2j4ztZr9G7ZTW6V67FWE7Qjoi5cl/Mmtn8Xl
UxJF2P3UPs43BptS/hRFXqubvC0TtptwAxZdpXovUW8bz45vlLcVlu/HNu+MTTYUQ7zMgfJ1a9Zf
5iEkc+6PpM3gf6a2RZMHn7GfS/qJTDDjxUiqyHc96BpC72zrzqsK7pQt0+xFg5xyixIhVGExWNgB
HNOBZS4BuCtVH9+EjlNdhlJ1r0B3Ts5Wp95ZnYb6qzRNH6FTrMHuGvNhhepo/IPbhq5A8lTQdzua
4BYKvJk0MivHKBK1Ow1bJywg0+lohahT8QNSzzq31YlnMbYnIQR7R5GFyOwVG/W1boI1w3C9TW0+
a06hsjWWpqU94IMRiySW2UNXtsT2WsifVchFZFbSPHZHs6brm8f997hkvkOiTRDqpehw9S6IAQTM
SL5M9y3VjX5f6mlFOcZ1+jUthI59rAh3gaA/nVl2fzBiaAnCI8QQlG/w0lc2Oplph2f0/rD1TXAa
fQdLGDaj+7suO//YJWZ3aSPdOoSjVT1nMZQjxQuqF+yTyqaTsj/EiiKA4mDAOuPQis/YNqiTiMxC
xUlvkkS2yDo6Yw7CuKGSEEYyfx2tNCb5RWnp4YJOPBgGTK+4slx+oIoozcr5Jxq1hdoBWAd5mU7D
70ovXuvYHx4NyzdfBgNreVy30akqqflKJPNnO6D4gchNr8ijIutaqSToS34lh1ok2JWlMKN1NAzQ
v5AVnw1Bykcj60Optd2KpZlHiHqvbeyuyU+x2TTXyGTEwseluLXF6J1NG/dPJNryMW8JGaqcst1h
41O3Xm86uyi1xXWdSPubbbkwEwLXDzd+GU4F0kCnTwC7nuaho2mvCWqJp9a1xkv6mqCT9B5XaFAY
G9kF9PizsqwPIAGjS5m2uNqxnYfGRael3smu/eapMSt10TYD/ZSoBFlqy4LNoo9JBQ2vBzjBA0Jp
N2OG8rVwOzjFtu2fdFouN20myftoaX9cyFS2G12Mzt5sIWejiCnMDdhx4Vyw4fAfTZevo1Lk5vOQ
BmIFcgYJTufY26KOxp1uwkHz8KShWycrnLWYXj9oVkWHP/Cy5Bua0/J7zA3sXBIyRN+eJR4+dPPk
lwOW2aZzuI/aqBGSWvcONJAz/o+SKnx28yxJ1q3lBrvattBfh4ZP2JcaWHiWMkszr8w66+UfGUDX
F1N3q4eR2WvVs7xD+ehZ1vegHfPnBLOVw54BiQBKFejVcR0+OgYZl7h/QTZ6XsOivukPmrRMgvMy
A5doD5GV7kR415sIlhX4YluNduZa09rqO/cgOkseBKghQglkg5Ng1kZA5+ZoIOyosReZCzLEGoRz
o9UGlApX9RzcVrpsD4lhiqdUMZRDnMFIIIdw4goNVHDs2L9q+JM7TG6JBJ1SmI9tXGN1aVu4fZTV
7wjY8hfOWIo18cJ4B72xBrgtNJSIkChQWGljfYwpcj9ngUHYzqib0aueCP00CRmg1I3jWeGLR05n
byMIMyc3kiO6DNcLXatTRSqD2KauC+erFCPmITRgFBp1xJ1ASdXuvkeSwh0cz/hJNtCU+DS2IF79
VL6iQMOuR5+0Oremap2Fr6H/xvFlf88UNbmfokVWBcXsZ3zj3FXsqhx3me+4jypi2wWMQ2QvUADh
c9ltQOETAkqz1a3OXOdW168TT+FrTB2NGm5vhtmzU4Z9AS8mqYi1TtLm4CDN2tZaLO7KlKIeyHVv
X0Yd87MVKN2uKmJ73fceKnOlU3z8kxFQBMV6cZOhvWFTpK8yz0O5a2h8CI0RSfEKZKL+qGoIlxeK
g551y+YhoEwNhcwtUKh2wqKgOTY+8bElPHdsgNTAFv3oTGhPz8TqZPTQOSmZcjsVmpBXfuthKfJr
lyUfUnKsG2Bs3bsa70Cy1NEbGovSQRN6ISQ0JRjIOFc3/BGjZIkCVbUWsmzBcitFRWqBmJr5aKt9
87JEKz4RrrzoDF9G3WhaZdzrUVrfIfCNd2gC9DvLkRKOclKTowkVUL9AgZITbCxNrFgNcUChJlYt
ygOa65T99NJI99IkTq7WmnaPNqx9pgLqHiJFiEtiDuxTYpHayfIQ8ltY1c1xtAxnZ7qZfmkZ/fAY
qjCwWjsQuNPC7JQ3bn2IUA4+dIWwbxwlazE/eoO/88hKhiLJtotOrik2dhZPIWWottdC0Y193vjA
coxx6G9BYzhrS6FcEKC7PwgInZDKyanLEAt8d1TkWUUTo91UnFi/IUMi3WOIwwtGStBzkVuQA9Fa
duQC6/6xkAhBbRbS+aIPK+XW1wVsdgOTIL+7Wihrj5L3U21YQ3ZKYj9OjyWbUIIhcwfaQdTEl05P
IIcR6Yh9VK+lGxFGCI3NC3i2zU3NJqc45qELdqVnFWhf2GoMxYPdi/cSUPxVVuxJg7sGN7oFMqeK
r9SkY+1mqhDGKBlhVmXRh+felH80JDHdq2WoOPTT+2StcW+6b4UebRSJ4fGCnn19E6ZWyo4+1CB8
lyjaWlIkH335wqb2HoB19ntZtiqA4DTrl64XODRiWe/exEVt/lEF1KqQnenZwMaNQvPU4yWPCSKI
izQd2r/xxmeiQcgRGcPW0aT4zgSrXI+Ni4UkHH1xTZ5kewM8lHyajFALYkx15w8DC8apslEC0QNF
iguM+0pkEIE1fKsn1tj2cyHK+NgM4J7pFlXVfRH21rpXBzvD/ZkaD6TFC5IsVMkWnW0pff4MteY5
TlXthqp0dNOhIWPWTSuW1jHuQPuiV2v/e2GUBJWE7jDlaAa05hBBA4ZbxKy3S9pCQ/VUZr7sFtwF
EC7ExNESdVLW7mPJLuhai1OFbBoTwiwZej0lK3QXCJ/qBHFTBEcARw4dZfDuo17EaKci2FzmmFxl
ZrAnLT1bR01lxYuhayULk0DuDNw/yONGFtrWSDlZCqN7SuAMrLM0xpQ51gFrItnQHXSp4nyn6xfd
h+0QLUTTaqCeZAYRtxAmyDTUueM9k5ZxS8Wo2iuB1+yBeBLagSebKGbLQcSYJsqVm5XaJlWIXmVl
1d04mGOYjszJ6qi4VnyOK7BdaENdA2JvK2ChC1NRkb2GTvZdY6reZH0KXCtVzLVrpNYDGw+sFUE2
mTQyYVQPlUIplgqNg6dXK4PojkRcgm/oFGCTM/sYwmhuYawYQ/8s4pjbSt/JycWO5bu7jN1UbIGo
WxsjTM1NLIOGWanPrwLSPcBYuMGrarnmFXfAQVvxK8SIy8Sabu1A9S6xFIUvWu5NHw0KsaRgscXs
L6qksOuFVQ/DdYIT4Iheu6Xzr6ubPsiaM+5rKkZi8COaHH2ClzjR+Z+FBlKfBrIiab053AiIsERk
1mMrsF0q/Cwn+LxlTOF2xEzIpDFuwzbPv1kQ9ZfjiF6anmB1zMocd1oruwbvblqnx4GqIfvYpF0n
BIjjtpN+fSU7hfjtuK22iek5OyuoWEOFo0P4VUUGDDywCJOTDLzfO6NuQMHglF9nvs4MxLSpPtHH
xAWCzpF3xr8lYfWuQxy2B5tAxDdXZZfOvd6P8e9Kx3tKNXuAjU0hIgYVd6lwx7xzUHW1TxqEF776
At6rbunecxonvrNGWhHI6V4g86VfOABJlREy0jodUjr5pDe4CFDNJiIwr8jgobIX7unSgjBYqyhg
HZIc9bRhlVXQIEfXzb8gLlt+Bmt1OKJl7zgrtmbeZafCeV30LshpRGqN9U3zCuM5EYl+iwBjqpaK
nJuIZ1Bx0xSB06WuyvDBhB2xSl1EDgs2YMEx9ip5JboAW1SfVS3YOr7sDR4EHZctKq8Jm1YQaqRH
Q3tHe00woVT6aexRNkNQJA7dxROHeLfme2JasNxMPSPGMhBXJXK0p8HN6qs47AeslRCDHmujwWOq
pT09n5Soo5aaAVaqZCMSJhCc9No96mvcSInznXQ5sQEIZi2JCmu2zTAlDrEg2DWgay5QFncXZpbW
R0c4k2dQSUlmTVOy3YeOMsQl3xm6hnoxwcjIWDSwDGU1yG8brc66d+kZ0yT1dwnEGsIxfNSY+IO1
46hapNfaRd8/2Fjm3Q37nvGuSMmplW6T3VdW4S49qSirvkr9cxdYwD1TiK9BVGMJtYjGXo8uWRuq
10R3lYisSzJYu2swmOpalEqzU4mjJCCBcDoq4SoUf5BYhnLZY9tkeYg9ZmnmAYw7CStj1fbgCS6I
gBpAm4UBYXOYd9rpJqrZ3I98WK+L3FbqR5DbJGBVqectSyXsET+UHSk0SKC40fCrU7Z4UP2tR82U
ZJuWJOYSG5ReafEfSo80lICNXD7EzYh+Vq0rZhv8ZFu/tFhSFjG947gkzZyF7L4aVUyj/GPfsEAh
ZE71Akid2r+ZRK2TIO2mb3VRJgA6HON2dIb4lhyt7D5MsbzpQFPO1ojyQGOZtqscabwR3aI91oER
4htRA6Pirk6ykqW0eJdR2pELa+oxrM4MIdcgohbdvMrcOxSpdeemjoOZ3sxfQwvNNwIj5cy/09iT
Vmzf2x3lzAo//aYZXeqi7aCbx8ohrZYed1DQmCzIOXfB+AI40crXiMkWO1Be4NQKAZESc1cz8Qys
jtY9eC9iu/wyveF/z/tdidgIpWiJ7my/RQnmFeLo5V3M5x6RCNw21lypb4K2QHW5ABgEXjLIRwxY
nXMnCH6hzlf43A3JRWZ9Uzp1dYqC2MH+58lj4DiYN1xu66FKUZhosHpvBh06/wFB2DLrS3zEWpjv
M8WqTl1UaNc5aNTlaAz6zomk+6pFAewNLwr0a+QCUApkDH5Fpxy7ENCxV5WmwD/rJzlilVdLMy76
GxagEGIIslxkIZ4TlW0pEHTPIIJ7nDC88IzXFZ8oathJ4O7hUNqrEb0pvr3ImTAoQMOWWlQgf/Zk
tiXG1ccKWZTf0qFz3iqv93bAdrqT14GxscgRvVM9Pbnqs1Zbg3Qixo6FcflojUXz6MKdgfiGSnJL
P3kKc2VidQyNoGortc/IQyCZJTlZh6WbHKIqts6VZ3SwkJN82+hwc/w6HL9ltS42dY8PGPWAevZF
1LNaqd1J4zj23VFB4sNdR3N9d5F2fv/gEnETraiH6cx3hX2vggcEnaO3Jn2oAJiBa5jklWplhgBb
lI5LlKBAkF5QhYHGin73qW8CVvMiLqPl2IOqWFm0tEDdBUg2sJVl7oolKIIGSfIqVCwfTkBEIS5g
z/CIBaKib1XA0c1zv/heGWlFnE6BYYpYIK40DByhoXNXuJ68l+AcwRl7yTVEJpKgKWhmZxlhHlB6
qWLoaW3roSiBNkxm3dDa6yVfHgTt9HDQOzfqGYvMgBIZ/kp7MfcIf/Skf2m2/uyG/190zP8/6oVr
Ov3jnxqJv/TC/7MWaSr+YyfCvKp/7aLPr3xviCua7f1mutRkHcNwXTwudFDfO+LzKe4unmYiXEZJ
+qklrtm/YXoyEFwgtVDfT/1oiU+nNN1QURUZLPw9T//ftMTnBu5HY5dFk0cznk0fn2NTs21z6pl/
0nVARu8Vx46MO7N48UJCoMaToCHJHIjsjNyhjoB6tHzshuIWXiA25Y2w9gQ9wV6769Rqkyn6loyt
yiEbKI92ubFjCQPrfG0Uv2NhpTtDNDmhdPC3Fh72vVFTLlGBnmjtrBz1svFituL2N6iIxE4CprlA
QP3p7/I3/XjT/KV5/dd/IxqHz/9G5ECID7LEuFOLtWWf+5IyvKEXGDEtfZEpZbWGVgrVY6cGHvjE
1gT83TF9pv4Vle8Dfe5OvGSAL+CC4AlK3Pqsq/K59/rbQkVCio5xreRvadvu2W6epeneDh644awh
Bz6rtVeoLql/UQ/lrS3tB131uj2mc4hEBeY5qn+rphnRFns9UYoEI4/layvNf1HwaJP64C9/aZf1
PZ9ER9WmD+Ln34IMayAKQWrc0Y1b9l1/YZb+ouIG3AQvjngh3R3i4iHHAfbPv34Dzcc//WD9iyyi
i2rLB/Fq3PnxJmeRsUu8VY7PCQTshtTOdtxVmxbBZ79Ok1XgnUR0rFVKcls2XtTHB2/DfapVL+nc
2luy1rV87+PWksaTbR8S8lVxKVdbGjWspUQo3ye2X5RAn5VPv4o5fnx4Jq+KpVuupX/9v48HvZJ8
yfW7uCkgqQNqRXeE3WRj293l/34O/Z9Jiv7bq/5f1BRN38f/fh69rZ/r6D/u84jHt//znxRYotfn
XzRJ0+t/zKa2/RvzIZOpZ3q6hiboz8lUc/TfTM9kwnTYfunMmz/lRY72G5ofx7ANHdkBr/hzInV/
8wydjC2P+VpD0eb8ryZS7cssY7u8u4r0ydCdSdQ+Kak+f79SLS5zrUus3wtDHK1cNaCDpmSkIRa5
1Fpbv8eOSGl+LOkoTmdVV9Hez+p0p9/Ppmny4+zfvXZ+q/niv3ut5j0TTQQUtqWfPT8wxRSS+LA/
jz0sC3tnevgyFgej/PNCpTrYed1vAnMsDx8PqfQ+H0ZmplC/2XiFZ4AlSrMDiDCKwNMhCBZ11XWh
g/66MB90p35L8rq7CtimaKQDCKcEWz12w5Ml2ZjXmvfQBv3a8uKadZMKP4CZd/T3w1D4+/mZLT1/
n/tQyoFIc2Y+Tiig71ra3MmgBisTDOlFXRpxsAROpkGAAiFHCdDVsK1xHNrNFXIv9YU40JidDW3m
eAzFIZ0eQr8nulol3/HLiflwfsDpIQ6JTBRqKNNTJv2gSw7zubTvCZ7HYLOCXdJCqRrdU1yVYB6k
757C6Rlb6MnBaQFIRBrOrPvNUwvluk4JowHpLS562eIVnx58JeHBAUdlSTgHaPWDhptTRog2Gdke
Db/6hFBjPAVSMW81EVXA7cl/LPvSug0D2R0DSX2QFMglUnKrPSdJXO36cIG8rjrTXKzP/DvaTR5F
hIdMY/PD9F2ZfEnBdj60aX2f/+lF8xulVrsxSkFiJwUgOuFRM+zxTnx+mMek7vSfTsxjrSnvf/zN
XeM0xO3GBGxOmmoEf9BX8DKZtjaxI8LbviJzt8WeTVxpV6N2q429punNTjod5gHYfydr2p3k7ijO
eu+CelWS8CGBKnHR9V67lwAEkR5hECewLP42P0t/Pqs6JXof+3jmGDoUP7CJ0DkgampODuEJBCfd
5Om4y1sLHTvYaFqcuOPHEDlH1YW3Du7yzVi2xSboVfcsqxZO/uRYCftuRdkte6r9AU6EqURHAAb+
IaBWi1lp8NeiMRGGY7rRUM6qRKB5FGBkqotTOITipBJ9cBqmhwLJBslPpVzPJ0p3CDW+N5xRQtpW
LrobWnaQD9MnzP4I19muKrvpMM9pVS2EMyo7A44OX0/+QT8PS7QYN9TrNIOMyJHtfkGipKnt4wmk
vKwTGsFGN5bvg+/n40p7sWUWbpwMQpQgHGzRtErssqF/VWhAkijlGycylclMctLxW0sUwIVaRLQm
SHapUyrMiLYCtnzX3mj17w8gonlF9Hkk6KmNFuU4ifiH6z7t4TTpwyURT9GN8EGy6JONCB3Rpo+b
/sGqStSExWUyzRbzA7Oev7emeWQ+zObJ5OOYP+CVP6KWcUotPtRI3I8I6xxwNtb4yNaVgqEOazca
b83Rih4woXSgEEmzYLGWHbF//bi0zcdDbGbi4dMt8W+WsJr2q/7atD32xoBobNNjzc+NZrr7fFqn
O/TcmtAO3d8TOwJ15iWQfbBRyx0KN7GrE53j+enX46+Xfjr+y9Ovr62GkcAL9tMr0xjVezqa5wKx
DzHhUXwvoJ5l1ZQbDVM7nf7M84Nmj3SviTc95HQi56FMFzTm56fAEzMg0qUPgoTrPl728xUf45Y+
4qKdX/HvP6PIyyN5iLjtXYrUVSu6GwzJ5YHMAboedi2fKS3vgt4IvhH1EwFu8rN1ULryuQX/HCTP
wHOrdR0Jd2NDTP+mkE2VsRvpxvq2D8b8WqEjfM7C5hgMTvM4YD7Z0DszV3hdAbG1yPjRQYZXmVUF
m5IyP7kc2IwoR4ZPrV9NmkQUHNR2h9ssKa6dabxyMQup9Bq2BYKZh7FRF/M4eyJnTQAweU9ZEj5p
NdDA3nn0h5zVcoP9cR4OWnNbxzK6Dzy33tc0VZZ+F0RPCJOW//Lpc3+V//LpwyXOjGcaGA5tjY/i
r5++MTbcylbt6C1GPwdyiltXrCbjk4m/d/J8s2aQvnGm7satXAxPKlnjC0j31WGsBuOMk+5h4AsL
MULExHP6yaE01OSQ4Vt4fzaPKW5GJ2IMNl/G52v7xp5hA7z24zQFyuvSgAr4d283j6lVfCnD5sax
TAGPq+kOap1ZB2Id41WGcvCxtuMrZ/pyW751XSBqf5gv1UPzx6XtqH+6VEzuA6EY1yiRNHLfyB/W
yD1almEdsKdRTGWU+TXCjS1fyXUXm/iipmdqauI1Cxp8kPOzX89+vU7pgT5Q3n9/7cdZgUJwp5do
Jt3cUw/K5GP8ePCkto0NG47pr+Mf1ya+VA/zoW2JA1J0zNnJMGAh/Ju3m8cskV/pdFE280vnN57H
v74s89SzkugkfZJ/ieiPuOgUhi0+gfLRHiiVR7XbvQSyPo4Jzko2+iiyIoU0siyiWWN55VmLsnJB
qsg9xeL4Sp96zD+PRi8w7qOouNfbLL4iN9eYz81HOneqjyv/R68jsuDTu3z8vICfMB/9+hPmo+nc
rz99vtLKU2ebyKi5iDFEHwF/kWxr6WKZOSYdl2lsfvbxAMGME0GK+Ejrf1z3dxeHve9v/vmbjF/i
l704eydj2ibpOgkCnmt8tfFIggEdPr3umxKkGgUNuMk6Ogb2H0K7RMyh3M0HSbLpLKncycgWt9Hw
3GbO3q/i4GjbJeuJn4fSV1lPxJ3/ftabeBdeMCwpo26o6+oHw0yDTSVV/YBSOdgY09j8bB77OCuk
r+DX/fO6+VkXdWctH6ND53isXk1S6aguV1fJGPx4mE+IxkP98nNsvoQkBNY10wlpoeFG38XrtGlw
fpv56vlCLwHR+c+/Y2cqmX0qtEy/Y4rC7AFtzfSmjeWvk2UfRmQ8l4byFsXqbT2Wk349jo9VArtn
njVZdr2iJnFvWF5GRxLPfoy7jFc/xwl1nUCF+jAt0157IrA/XT+PG4HzmvrPiNvOXp2OALZcsOD+
z6/y+7NpTB2rYhVHNqlrYYUKd/4ez6fnh/kbPT+bL2QFQpHYMHnHefD9zV0NR0GBEBI4BhuPIk3k
Rd56+b6YNh40udVL5CzRcj5Ucze9QWv0foRz17o1fAAGUZ+JfWQ9jZg+XH+w9mkxVcD1DnxLlGSv
BX+i2Lf7p4ytCP7eP6+wrTfyGqrWtbeUtxIcsTYfvI9jafzLisv+618RsxD7Q53aj0vRbPomfVpw
AeWPcJuFxpuV18GiiiIU9D8f7Critzgf17XJ6lAGiNyiavcxhJKGyKOoNVCbWCbtfXKYE3L2YoPu
tzk05kmfHubxKDZTkPdYQr+cmM+iZ2ZnqwNgxRNTbwU99PSkIvBeoqp5JKJN2yLaqa4ITKuuZszC
NC6gl2zeryVgMrkC+LBvzVa/H8HcXjtOtC87adwbyeBeT+cKWHof56rpyDS7OyHSgQaGUmyrTsb7
+VncDT+epT+ffZz9eIZHPibjpiov//kb5v5lFrN0yAXUzjGEMZUZX75hWB/VeEhyzFtDviT/CttP
MxbsWVQ2LrbmguyZDgvLJ3+EaAuK0KySL+bTXy6MXRTPi/fL54v66T3mKz8un99yPpzf0pXWFUJi
tCvIqE6RaWC7qv0UQ9Z+HhlxnpySediB2LwOOmyLKV9BbPbTK+bz1LGaC8dJk8tRi4bT++kf76Kx
r6YYSyinCFaydNEFtEpTHtDu0aycn84PlZL6+4y44emk2pnl4dPFH5cN05lQdb09RK9ISt5uHnp/
6jcREytokjUxkOJY5fmwlqxiLhyqEcd5bH6w2GvhnJiucTtA2OpQbu2wRkjycc38LPTqH+8wH3rS
8nb//AHQjL98AgzXcW1kRWhDqQeaX2rKoROS4TWo5RsYm7EyVw4x5WU4KMd09sL07XY+eh9yNICs
Zd4MBCa53iJ9P56uns+jjhp2nVMCOnKVo5GFE2/TAzhCHuX728wn5mvRJpjLWoA38iXeYsSkyneL
WB0hCUy9oEI21A7/DYxrwB7FU0du8oK8H/UW/z0IXKFMkjoVoFtEJdy1Q+OYsGpaYcYub40MaN5Q
hcHT9I5h4qjTO5p+kJxdsIKXpgLKrO6IcTdV9bLou+ExaiG1jwBed1pq+9fzFWlpdydYoZid5vlq
mp8Q6qoHZ560umIgl9MICNj+eebjQqE36ZKMN1BJnVHdeL0Au9SHt2bhhbd61+gkQbn4w6axn1fU
fUEjuPfPqKDLG2sM87Xuw3mspsN5LEqdbA02JIa4NJUckBr9OM7ZqoPs4MJ5TPHiGPYK7uL5xMd7
ZXPlAnwD2kCl3pkFqjMs5yecdBREpmdoI8RJWrm11wo6Kr+Oz1fMJ6dXzpd+vAhBnziV0yt/vu18
xTw+X6ZH/fvbzkNfXv7r21ae+JdFm2Z+2fw7quWpJtsv9v98QA33y6c98MbY8mStvKDlBcPtsy1W
SrRFmmhIU5ruLB/3Erf1+pP7NA9EgGohmk/3GZTbhKiP44/r57H5lWM09qf2lQ/S9K4f7/Xr+7//
0Ch2/nCYwGbGVIaE6KZ1ziGK0uv3ld+0/GML/jESuFlyDcvVbHQ8E/yRE8IGbieqxLIifPJyhtTk
ox3v7UKnszadnek10wuAQlTvL6DiygsAeqdVldPmYbmqeEmD4tIVm/kwQNNLkJEmNup0NvT/PDtX
3j/OzpX3+aw6XfzltRo4gXuRddl2lOB0Bj27Jp0lf38AyvQ2ykTbzkPzycZN2y2hvH9kWpVfI6MC
aO3ptBbR/OXNOjamvE5WNQjYksWgD9ZVMajN3qksubIqP3iia7oo/dB4HEd/GZD4CPG1wTonyxC/
nBHeaglZOCjzr+ahPuoFiyyS3zorZm5qOn3l1U2+DhWEMpYmvKvC9NwrnDjelbSglFBNSbcfJ/rE
M4+FAnlyuuxjfH6Tps7bTyeoFcLARacGNNU3x31bFlQ3EtbksQSvrNivBJj0j8ghgdwiFL20pRwe
/QaTZuN2Z2hi//I9cKYOJcsL0ASTNx0rhGaopqni9nFo2xj2lxpY0wEpUouxf+lLKv0q0RJKjqKx
t46s026EhU514aDThcDo7cdYbW8p21YbZIrke0yH80Mr7+x8LJAVMqJHfG5wpvvr+TCEl3IMYutm
Pmp8kL1t5P+BWa9BzKTQxi7kj6rVMKBN7jplP9ew3mtVqeuF67BNk8XHdcZcxfIaMF6etVTS3bwI
I/mLyGEJu3Ned8FE/XzoEdu4JDdrTdvLOhKRfDsX9+cHQlWvg7aUp/nI509AEJxjr967AXFpf1wv
tIGARRaoOzPujeX8DJqIe1eAXCCmZ3iax/FQmgjMfUT2rvw6bnQqd8MYh12nqYH/Lys5zZq6Yr/+
TW3HtA2VABnTMKlv/rrMdgu9qofKFi/V0LnwC/1yW2fNKe4HDE493PjjjDubn4kkr7Z2WZ3Ya2Db
nS+eDhH2xUSQGudUTZ0jnfcMlpsX7mqly45OPNorh6DoW9ZR3kUZRVgjsn6fNJKkuRKOB4R4/c2Z
cBI5ASs6NcHjhIilwuUO9JW4IRUjcgyCYYb8Oof0hlsFN6NP1kYLTep3nd7mMh+IgBunhdbHA+GY
1cGdHj7GWvwEqtYTh6t7Gn54P6jP+Na3uY+GWO+NBwNhP7F4UOctZIwPte0efN2T5wZV1TmufYh3
efJNOleOMyYH/leSw/xsfnDHEh5kjGFMVKm2mcdKr6VDpAfq5fuWjsbTXSor//JjEzjvGz8O503f
vCf8ee08NF9hK8RgW229rWQw7D8exlYOcHayTYYIa2Og3youPs6+H5MBeqthtaWz35lXo90tmzwr
iEDmaB5C3VXs1bo/zkfMMT/GkVxjbYyBCH2MzZfQw3nSmqG6BG9Yly+xoeaouXp7ayCTvEjlEHzH
sgS6Hd7vXgxZ/oCh/n0cXZzYDmH8X5Sdx3LjyJaGnwgR8GZL70V5qTaIqu4ueO/x9PNlUrdZt6Kj
Z2aDQFpAIolMnPObeE1kDn+EAg+uzNa8BzPL7UcY+K9YdYWfFi/vkGtGf5srDo5o+oSJPG7vozYd
+3Gwn1FUj15R75eBJ7PRZEFGjMzQDUWLLKSiW9D/0g0t5Sr2wvW/740N9Te8BY9Jno2ObuPMwM7B
tsVP7pc3VxSOYPfms/EjA7q0d0zVPcmD4iI8W02w6+51ZtgCPdYJhN/65CkaYYJa+Pco2fe3ouxv
wfJepBl/klO1z6EyT4e49wiMigO4xSVQ2/Fyr7KjBnchBFl3lV6Yt25oCeJ/oTbuUtYZQ4L+Y+VV
wGnhrZdjk+21sfJeKltR17ZRktEVxXKGNAyEOGTXSRGTOPKBRYkSnSh2UIweetU8y1ISzsVLAM5f
NMlDZvc7H8HTK1ygP2I1A1aJN8Ouw9lvIVNgk9h//lanirrkv/vd6xSLzPUt1/bbuM5wp6OF6hy0
teCzS+D8NX2vrDU9ZEmZAv9sz3iypVaifqpzgGF5h878f3VNHFYfU3S14LqtonEctm4dOmRe+vCC
uUh4qVTCuSrUEbyiwottVZm6kK2yPLjjhb2+uQfYiPy4rIOKE15qJUEGGHHk9S/jMBFytqkLDqAK
w/TBmNtvs+Opb7HNNs3MCNzIYl2i5OUgMAcmlNYGasfacAd/e+uc+uFST/v6KIuBUn04VtjhX1Br
b2EC2c6w/up86IMCefM8WVV0Lm3tQ65isorc3JHXm+jBKTznFCTmkwlNF7sIsdfXshkyq0ZE8L5R
v+/KZStQcDAFYmd/b1B8+HujFrkHb/Z5+rQdIhZVZO7DEfhkrLuk3KfmaIhDkJUNCUPO5iIpeNoh
Ov93lTyT3WQPWZQHtXWwpvO1ZkvWHd23oHO3uo8vdgFT4QMtLMGKmeZzMgT+mzc9hE4fAea2/CM4
23wpi7qXmSsHGvleFos2P/a55j9BbP70G/t7ok2goIUEvRcW2Sv+4kfErqZvsj4S9bqp/mO9Q0z9
gN8s8H+RDh1tL1nLosyJymyobLinTe91nSBTzupeaVTj7KthsWHxQ1xEFO8H7++iryIXaFVmtJWt
Aa++UM5Ec13p8XmO9n5ZGVAS4modjGa+xr3FPeMpYmEhOFSfvDfiph3a/rEnvvxadj4/9qj6NBPF
3KJR2W5AppefFRjviJX92TVD7zZ8Ft1+G551yC+IerZK5tqK4lOEdegv8AcD3sYizhzjIOEP7AS0
h2bW+BwASEy5A1FmZpfoYlH94HSv0Qgzc0EMipcDko2rMVJqFPpIYMk6y9bIYDiv6Jb+V7fc+kgG
3nwWMNu8R3N6mgnuYTTj5bif6EYEub8Ln1Wv8kUjtCphxWg//PsKgZzPb5g8i+i/ywYDTIdqEOZ0
f18jVLXKCycKG2L+bP66EZ3UbIiUgzpYwUeUodpd8yrkOjWBQwFel/VBjMox5srIMEd5+OGpBZoR
sWVfCD5MrzhvL2W3vLDyYwCa8VYsLKQtGhDLewhC8RKrcjiW6vCjyLr4Z1ZePMtEvDYnZAKhwP3M
MvwldV7nnkyfDzlTq+rUprjKak01bNvanK9FpQUrfdL0dzFPj/jmz3n+mkdXzGuEf3pQlqBkQhvc
SBH3F9+Yz26QFPw0NOoq1+x4LgQQMpXXeui6i+wlq2Vx6qoZRUf1u6yXVbJRHiZMy1daa6FPIq8g
KxsxJTaH2AnmebCVdb9czHVQwJji5vhLXdbn2alVsZgdKsQH5BB5KSvv1K2eolD4S53so1h1seqt
FK+Gf7hrOCA8cwiZbXPkjrGaaa5GOjr5JjY1MCtuyv4lgUV2iku9P1aJ5pfIwyr9UZYLFy+QFs2S
Nc5U65RHTUG8HzD+4OHO6KCc9Ox0oXOeTf/BhmH8LKu6lCBr06rWPvKs7FnFl+GomNnPe4/BUn9W
uGytAbggJCxG6jaqjS1Yi4WcQ5hPPqdjdu3szjrLHmZaJbtqmEZ+ozTKOpAy6waA6vV2pcybNhl0
HX6j9PAEfyWeSebW26jBXk3W6igjrTVPc2Adcl2j8KtHg2jgfVIcM+EJg9XfylnNufQvURocXIs1
ddmiZL30Sn/a8aomB7XIlpzGNnuX3WXViPrdonV78ezgTnyEdg6KBgdNFuWhCoDJpbZ+kqMCN1B2
dclnIu9K1hl6fsgd1b3I/uiD1pibk1iW/5tp9L+JDerJJYUN50RsI01WRHEw5pFnm2Z4a4QAYIqP
kIkgPmJMKFqb2TG2jiKepbperPXYbLdev5msJv0OFifFW8AEDaHo5Vs6+zuN/PZ3gMGQfttCPxpD
Pz4pff9Dq/zke5APRDMB7F1cgNJI5s/2Qjbk9vizrxzlEcpYQsq/TVfyAr2FzBEiNVPRTxcnVTqI
gnwU8iKp/1JANvkc2zHdIsTjgfdSyg/iqEviuv5GT5t4w2uc+aS0xyGu5gpHhhhJ68JCboDg6LOC
59ShHISsxRipFWgUfelrQf4oWzWcPVd2pCCdJjqHCjINDaKOt6lqvsMVQciL63Xqs65OEaZ6c7GW
RbAk6kMcWbtb33ZEHrjS0C3BXuUPOZtTOsoWXyIMVgB9PqM/bD5l7EHFlW41vCfCpQuT2626Spsf
eLZDnRZdjBTxnc6D4G80sOGj5j/3XJqIHPpzuJX30RWqSQY1/7rnwXYf2i7Nb/csvg7gvyzwB2LK
1KoQkXecnSzJq8j7NvVhuN3Xv92zHDQ2eGn+ds9BUqtk54vwoc3HzaAk1rarcVlOSEeulQ4jOEUh
AISzC6dTCjgFrhig18ixwHaLFhcuPF8azMdvZaVl+YvRrVjj5spwMXBQ23zjR+57YoTl12RojbXh
STbfasteR08SvbJcSVZhxAJgJM9xgylAh03Gqlbj9JnQOq4AGXZgg/coO3SObqxVt6gRmqZ/iark
E4NlRzkkwzgU/teQI+/LYGzVYRpFSzAF077o0+XXMNEEgn5ld1W2jfQ+fUZqo31AGGt775FVU8ef
2RU7ORdbJu/Mf0SE1cqS3T43IIfW6MotyC42e1mXj+pwmsz4c66wnXCNKl1pqhtvzXa0DmqSZ+dg
rDGjHPHXE0bVRf06q0iiQoGc/grnTZo7zc8pnf8Y1Ex/cxG9WcXIv10AFLl7siPOVtPb4HH0Ed/O
ez37BrQaVxAGxV205Ymgf0c2jWxGO2dP8srjVFiHOOY9GkDvtnSxC010JFDaOPzLGHQ8JixF3fW2
a50jVo0NVujaGhcmazUllbdUfdd9VRp44UjkplhlfIf0eimysg1gnV9Dd+SfHI/VJoz04k+lC/6o
1N6GUQLtzBwm/xmWubLCpEV9cA0EbOW1g1wvD79dN+oC9xGeuIe3ZTi8dcINQ9f83643VBEc06JB
K3UqtY3tpMambvEF8lNsAxGpgbs/9dp3pcPgp9ebT6/JnU1YT+NOTYrizTPtA/xdZq099Kbnojsb
Y6895FGCqqAcKSKfYTU9+56GzzLGIWs5IMu3oIfcb6YephutHZq9CGK+zJ59le1EvvNlrVUDEuvq
eHGUKcMVmSuBLH2c0bN84WfXwvwOk02l1/43v97cBhpuv9a7uThomGs8DyE8OnkjGQ48Ss4/DqWM
/qw7uEqgJKB9jwblUERd/jYj3LbT4ftvsrbrPhPgl7KDYtQumX0tEwDJ6slzAS7JSzUWxkQNu4Zr
gKDUye7VdCUbFKvZeDw13zvIRVsc+KZtmIzKe2HyyYtror1SYbHppqcA58BHW8HVTt5lYRjwLNn2
PdmK2x19rTZuU9bI9OqkwD7b2Q6241zWyAy509tc6Hs5MskMzOuHLOO1WfEe8gRhxZkl6dXK8ldh
JoOQeZXtcPttb/lwmRS3Wswu0NHJdvdEuRY4z8roQl5iNa0R730qxcFN2dtVRqys5fIZ8Z78BL8y
BHx2W1DLLJq3vCwgQyL6y159Gj5PbCfPsmSPnXcY3YFluCj0LdtczDTSfoHzbviamorymATlUfP7
4H1EZph3W7QxIj0K3utaG7edmiHgJlrtDI1ixZz6vWztB/NnWrrqRZbEjPrgBq+5mLGfAfWLKayK
685ZbZGEIBaQrE23d08e6gCnzsLVfdFXo75D2e9BFw217yrV6pdmmIQ7Hvo2GZCYyJCWZMQfLf0/
p1OIx0E7j38G2rfBRG7OR6sX1y0PwXmSsi2gDizIMBFBXgeI0VbvwXY3VpE9zbUaklxVH7465wqv
52OXrW5lPTdG6NsV2vFysibHi0ONH9PISzFFtIKjFXp/oV7GhXSh/Y5mKl8zeSFeqP7oSvzhdI8w
UYRT8bIvbMyXAgWrCsUrtrJYDb7FtyApT7I4GvouAgHyhGq49ZzP5bqY8uQ9COvkbJRqLzbSybtr
ue62Vv2v1hhDB9BN6IDJ1l51vpvYjD7IoSinz4Y6vtXQLq6EHhAf4S6y3KwO8qYyMT9gkH++Kdkq
dCjkTSl43LJZSKqtNCvwBYrHE8geWcwHXKPQ8CCC/HedGwpkjyuBQLI2ULAulJ2cG5ZHoALlRLdO
8jQSnawsm1cVGv/TPC67zIuf4bmjhzLka9T3O/SmKalDwRYtsh5lCfbiHkxwcisRaD0ZQTFcZZvf
eg/pVLgPskTk+ZmEQ3Er+Ybx3o2OdpFteZD90EIrwtZ85go+GasmNWEwiAu6Kgx5fhv+SbZqWYDR
MTYQp9tFumKEFJ26R9mas84vtMysj7dWG/2ESE8dNLQCdL2RNwSBe8YQJtmDKipeZtuJYV6oeNOL
YpCq7dmt/Q+HSDHfYujNweSrT7JRbbkUIh7eIW+U4mVMeiTs4hH5NDF08A00OxFaW9zGtisncdMX
2TXLEUXXvYCNu+gadgMCZyAGN7IVWb7iQGYlrYfmkhpmiNVepq0AozYXq8LwftGJ0zh0EdOKsbq+
VVYhUCEYyNo1zsAA60iywZgRc6hwqDMj+wCjt0djCd001HmeNW/ILlUUXlQFbYhlLTx8GsiniDXR
aqH3fPQnFynarCqeZZ3OPtnK9O4kqyKc73byRWiSE0xas2v0ouHpy/hRK+0NziPdShblCB1mQtJD
N5aXD9nrTRbm2LItnJLh2qEgJhvlYRhxEu1KC8E9McAN2x6Zrv5pxlAr93vhMEt1qwjcyjz2SKlT
DJoKgxhWmIUsysMAjdto0/Qsr+TNabOLWL1QlmWAPKgov6P5yRclvcLKV9eGilsITxpsz9sCsTXx
P+gLTXka/rr9tU3loVtOzGwjJwAKrT8kabzVCZs+y+5Wjtmdrs761+27iM/OjfVOhhoS+zzbG3DG
S5SPzevoGAZq8PyMPcU93KvkWYIPKinnESlaut6qhl7BwGLEUBqDpNvwBnEhYl9wIscA89VyhK1q
ogcjA08yBCUPfuM+qRFeR7cYVNaQKh+Rl7j1M7xu2HQOPjVeWEarIQm0s2Yhr2ElYbZKxjT8w99L
rMm9HePaf22X41maM17+UmRYesKUFV6Y+KeZ80KmR+5FCei9F2WKpBCdW1uls4D03lvl2KZzi1WN
8sTeHUvvoTG0n1VoTB+2G4Ybpa7RGBAJaHZtZySVvaeWXajs5cfO6zRoxBUznMIJhjNG1177Djko
eIbVY2qkb2GaTB9lHLgbNMC8TcfS+RHyz7IRrgwdtSDkmOTXyujJ8+M2cgp5bUnQOirX9y6RZgFg
H0OswkKEW6ehIJPiePnVx5N5b5GDPN/qqtwdzvbYNivdq8MOFQ2cTfRyVLe9reJpFMVAGGZTxbmh
d1et3xuvshWHOW9ZIuCUEj/eoNJDSUH1YqEhy3UO4dVqdTtdDXGY8FO8EpP+MaHac5AlWe92+tdQ
WScPqo1h3cRL2wPGMchajaA6J6fpX6wEOxVYS81mEEUTZ9a9HWNQK1sLMwZwUJuAp2iUVSUJCs9A
c0qW/DLEIQHrmSO6Ub/OpmobHAztR7CiLbDxc6fnw6NmoI03QJDceziJLmSbrLPxllyChiUgJPrL
Oi85t3Wnn/o4u9wHYr+C0pyY57eBKE6ryGwn50FcKfLnryvJAXGW+7tCd/EBz1mw80HTCGEFzg6j
Tx3eId7yv5+xwyc577/Nakv0iEgaUQpTfbLBuQ5Vb51kqRsV6xhqxndZkgfH1CZAwEjJGdmgPfW9
GzwhhyHb5DSo7Sri1409XpPM2VLM2IaWdQJqED7ZIcpuaX6KsvlNl38S/GR7ZYa416Oa2zzJQ1zX
x9QwlLMskVfPTuOgvclSDWPuVKOLt02BUJwwRsB1UhzIdX6dWWidbNuk+pQ9Uq36qpfFCbkQyyzj
M7jZdiFZnDNp2oWXKs5lQBrnQRUNmaB3FqZvYuaiOpewGLyHfkSeS46IY+/nXOq73rfSfY/7wRN+
KeajifjprDdPWd61Tw6PdpDjhFFkB1k3jBUYJbP8GtSAQ350sGtyzraFvmei49XU5uZFHgbkRi/K
HAebvp64adEQIkNgLDDhMy9mj5Umqqsn2U+2KkPz0uc+n7aFpUWOi1xg2e5xsCHTeRoctZvXhSyL
VsUP/nCtoH8MsRZZ5d6gP9/PAmUKV7iB6c8KrI+VmXi/tt77jYV1Krz2RyiSHgRnx8XAx3/xtEh/
qkrvUdbXQK4JmzXlThVJjJDXpGxEQrXv2PBMBT6Ksv4+PC/7AICvk1xbvXZ5IfCDd14kMPoRZ7Wo
k2eyTrbKfkOPatRvrVDdvsYWtV8vkdrRt9KG0W3D8Jxi/3eYymktq+718qwQvpBo3zVbz0rmFzP1
zwoirLg8+eeEBJw8CauvGqdGWMWLgx6ZQT6JDhnfg1Jr19TnHSKSn5w8bTxEGEp3GgiQ8JkiXQ4k
R/QxZj08eP8Z4fKXXuwsAzINYbveuY4xr/RibLcD2pQvfMbKdkiDHIkLimljtSeLsM1CFpsx4TWN
nUJQR/iqG4q+GTDJfJSNKFHXi4pf3lFpDe1FTlzHFYFVUQxtJvZyYu0+Ed4XfQZgbQH4KkN9vEic
nITPCQGXHi/htLxZ1amIvh2bJCvJBqXmu2KjzKsrebVr/cp4r8vmc7KM9BoQ/3z5h0GKNuEzXuj2
Oe8wMcMdlb0SkLKeE0SSI3kyzCtWLHtnG7a1Qbgj306ZnxEfh04ji0ZjCttrFl9ZbFEmW85ZWD1O
U2oe9BQ3OnL/04eq4szUd1YGJh43VE0752jyf8heYYmTY11644fnTkTQRS+jV2QvOfifeiHRpq1y
zQ6JhiT9uwk0V8xQtt3XZWXxt8vSq0kHRMrQvl9Nup5d7ofYQGWkVM/3mkxjHV+AmlrWtVWeZAOJ
9vzSdEV3UsseGl/Gb5l15jVqU1uIblubxFStj75uVmlTRz9iR8PNuWzdU+w4+sOIVAiSiDSIkX4d
J6/wGb5Gan52Gyk7ADr+GlnpCJfLkYWwZa3SFl+kdhf5cfUddCOmouFPWM9EX8refrUar1kX/RCR
NlWSI67T+gaYaPFMpIXcltNDJYGnIUclxfTZhXP03hKMRzhpCC+h6ZcHzSJ+5zvgiBF+BHyLoPwP
xPlWxO6jn4nPiqqUzQc2F9UKV6bwoeicfu/WxSeb/mxVjSaxKKBwy6Cd3G9sOBFJ66KfmsWiEdf6
J+ZJAotgRVet9RF+dRN7VxgaSaKIWCCGReOnaSOX5bG2aor/2bEgdJrlXfxKK156J/KX5ZSkO81D
XkslVbVjtZiXpRmWL8M0qA9tnxz5jRYvsoc1urtgntKrrLJrDw86HLj2sv8cwMuuMi1dyVaC+JDl
R+dRXkpWueG4gnjdPcpSG6J8l0RqcJBzRxFKSXYRY2oibgYX1+KMgfs32XcssvqSRZhOuCTNj50b
ZS+Eri496snfjAjfMxMY6KF23epNm/NN02jFt8mHHcu3mC9FmasfpfpDdlc0N9qOyPNtZdHV8Cls
h8/C6KodkgTNRlZPPb5aZpy953Wm7ws9rNZy0l6xDgU/RoCMrbeODXNf1kXylKCftYzMnA2E0/fJ
EpdGlkKk+HWiyU/o66UP4dSvicoPCDMHdbfDahfzV1n+Pw6+TSWu9o8TaAF+kHFb7Al4EBJtkZXV
e+811vLm3GmYsMj6XMNesAwG49atRvv73q1101+72WyW9pDZ6vMUGeweFiQR/4wSDNHRaexOXTub
7/B0iAw00ZuqeuGDbWO9NYuHKPuDfosfChh5UbQry0JqUDdOsugbr31gt2+hUZuXEeFm0phMhojW
wgE+nJRxv7CzqfujafBi13OCE2z/jzGKIt9Mw4kF0119QrEbyYekVXApBadTE5PbGFGpPMaTVuM5
lsTfrL676HI8fo+LbojqP0t0dvH9apGMNhDmK30PAHs5dXsliqYd/qTtAxYj3apMQv+NBNFfWdyH
PwN1Z+kG91Fp+qubuuOHI357ChqpV/QPta1h2t0BIbTw3PTYnEfIYbyo4kFBGnP8odjNRqmIiZmB
1+8SQ/V3kwKyum10Qwi0uKhlE4SQxQlfgR3chPhWVHTf2Olek9yKQ8CvNEN+fqUWsfmaqiPZciPP
WV8ptlY8UrSLW2eHdPUO/e7q1mrXQbtD3oL/qegcFg77vBTrYTm2tMmeIPfQ3cYa/pjt0NXrb62Z
1Sa7zlXHW6vnldEu0DDBk2NTgaINek29tc5p7G9Jseu3C9U4HWxRqzNurSCMrS08TetWDCPV2Kqt
jemf+G+wtmnbuWvc29h8HOatjjPxrVXr9RH1B0yd06nZN27Z7iBnv2qtUPmo+qw5ywMf79dZbMAx
nlFR/62H7IbXBtFwq0gRyGRoUyJbn4cWtgij7yGUq7tnlMyXKc4eDyy+SFuGJDeRsg7nW6XsJw9B
Ef9wIkvby5IcYSs+od9s2MRi/L1rnBKLQlGX1xdxmfuh1dUXPU+Hgxwu65s5Uo5uCAEPJLizkHV+
jLdGVftCGIyJseukJbKKC9qvzfF+Mb9oo2OlFNeEF/JfLjMkLKroUsdr2fd+MeQ995bblKd7fRco
2cH2lTd55fvcUa67SwJj2m0O59lHc5mYdtLdDgriqycsr9FpQb727+o0Da12Ict6qd5PLVJpBQsv
FAwlW6kALE63U9m1LVNlEbaNd2v5l+naNAL0FZBaEJecxDx20PFWJMvmpLiYR3qwfmKXvVkyf3iD
5u0rjB6I9lO0rQT5UiBWZ4ghwVsNXE7Wayib7Ksae1B9mOYPrWmhaTYuHmBlZ75mRANkfYIJy34O
QXzfJkf9iBwJEoTEQNjQgtE+yUOJ+vapFgdZbJFg3Kg+xC9ZN1QVSWpy/OCVkaMgMhU759hpHVSO
0Yn0jPnIImwSGxMNto92MIEv1pUkZ58tO8oWDXC07B2Ksfd6eeb52tcwWbyNrQMkjQtzTNkbNdtp
0pUTkIbUNTPYXRwmM8rPgzjIM1kXkTBaodYNTP2/G0KW5F+GxQpodrUsDr/Vy0nkUNLk/qZmu3y7
4j9dTI7Vau8HAUQRmSP0i5gkmuAC/i2ZdXfu3Y2Ql9r41KDFvK4lme/eZzACdal6yrDF7AtDTgS/
nxW9DvZOmaXbIQzSt8hPHo1gyv6YG0SpXQIOv/TwwvZ/6eErVbua5hbVCA/fKK9rCV61QX7SVQdZ
D/zS71VOGtvN4l6+j6j1pNsh8XN2xSSy/tbZmVRnhQ+NurS6rr1OpdDpNVVijcROPNJ9tbMrIBIu
qslqr7dKNMq3gw4IUNYVoqGpgY/yjq2u5DS3Bs1xFjbo1/WdiTkq2OSkqd8t73U3Cqcs/87z/J0b
+ku77N80aG78Nt3vE8nyv7NCJX1UkkT51bGwyyFuXo1L1Kwj4gAodKTjAsA81IJJy8jsFJV6rGLk
royQomzp/EbvVkGLgrHFp7yRlTjYG4RFJiNeJTXeH8bQPFVI9uJIHDl710sIlwx18qi7H7JN1lQe
Unv4Y+XLe51tRaj35qkAz1j1UwhW4Kl4kt3lIUX5Y1cga3+7hqwzQzVeJg6KunrhDjstU8HAIDwM
enNIz/jnBbuwm94rv8DX1ELrYcCUlRbZB5xyu2y03kAjljrZ4BSdtil6YyIpneqHwkr65gVzpGxt
VarNvyl4Rkdo/NSyhNc0K2vJQ1f1ZkwDABJ5Mx2mKrG3bByDK5ILNVRYU3tLeHVeDJk5/WnEEIA8
a8BLCgEOZzQ8MEumtkjSqHtR8L1a90adXgZHTfdqmsR7Rey71KIq1ojhji9lA6sosh3U0t1kf5sJ
FQKCK377Z9/x80OA++LP2aow2vKIZCB5XGdKS7JD/ynLM3loogZF68a4mFUQnO2/D4TWgnM58ljL
IlffYgH3KRvv9b/1nccqFNi2f5zjPjRM3P7QZvpazn2vl2f3url0o1PkPt9r7l3vdfJmkvmsY7iG
8T03K3u5OYDeCmsmkg9Wc3ZDr8BHIjCQ2M6aNVTrYjVnj57TWs9K0bovZa5fS2dKHlQSqS9Np+FN
5bTpsR8y72X2u2ZF3MXhf0Cr2Qz2xmD7v8YkxH3xpsnbzwoQHDlT3Nfa2QvD77LRcsLoyefnwp77
VCdWuc8mHBDQghNH/IyzIxkosAyyLE8zvkQHEK3t0cLl5BVrlW/8KAeUwyjpnfac5erwcCuFJoEt
d7zeSrazy+ZCfZQlLyFCYqfmU2447yrGQOtsaLFgFgcdIOw69w0ViALFvDK/GmoQlYjmYPbeqlZn
L1LZoiFqHMBe391nqJIY6FkQbnOkA073+m4oEc00QF96Q5WvwB+aa7xz7GsL6OZqFg6adqajI3xU
Ai0RB4OoyBmnTXYivI2wK6WuM4KtUWOZK0uybxyh5F/bUbKzu7i/dt3KjpXxpOLKvcKnx/gRo2yP
+1/d4b+rJhmSHkrpXKaetJpsqLA8S4xG/ewHyyCB3P7lZYq7nRDNxb6mRwrwl9PYAoJLWreZl3Gg
o1ul2eWaFxR/L0gHLS41V9uqyxc4dAUZsxwyWG6WLxkbnG3d2O1KtmbOaJ3rIXsjGJ22yw5iqNtF
DWJrZGcH3DkXljPAd8NhaVv0aLYs8i5XDw008NsBu4Nfiz+U2UZXXVOCI1Gh4CjP/LkIfynKht/q
UjGidHOc5uQQbW7XPFusXU0eagxDMh5TBts4VOsjXlLxo2YhjRtWTfUDs4MXb1SNl6QbTRiKpr/B
Z8p/RzeLsEBZ/6jmrAOsNbUXGCrGeSTbuaxqHB/GKFSbbYDS4DoH5XW1h8Hfaw1SQWaj+1ddHHhr
qi6DYa6qmHD/Ggwsm/RmuMhG2Y0l+i/C1/FBziEPaJEAAg82pKnApYXm/FbP1SYwjembUeKj3pFI
348Oli5RDyLcFwSS2IijS1GFwRI6q00kguK9ATvc6JKZLdAnYwJ68fcIBYbKWQG4icMhVJC8cT6M
wB9466kdxB3L8n3oftiiGs0Qe9+J4CBZgmoBgjnYaWqmnNx2UE4lJK9TA/J6jTsOiR/RIOtkq6Xx
mruQZeCw1dKD+6Jks/PgtSDEXceMfqhT+tRUFUI3QLswdEOiKq1y5QPtjqXsAF8pWXVVgsWXGOnn
QHWCjgVCUfOnTMPG7gtr47VWymqXGA8xqsIPRCSHTZAp2S91srWOw2opwhmbyZv6ZI3h2rWfRpcv
JmPlwapT/eIVL7JgFDwgFhmgv/1YOH869dQla/bd6dps3Wx1H1WJ8YFR9otm8p2tbJC34oN9wFck
iBAhhlAIDQe0ZhO+TWWbPPQlsgUk9Ak41/O0darGWcturk+KADU61l3R+v8ehXxK9dp1OJ4Zen9F
S7S/wkbor5C49lijGKd7fRflJIrn2eV1kG6yIUlVBAscfS8HyXr+3mk3tYMIcTnGA9QLIuyDa7+r
lvqRpYX5M8aZrpicvxScg4CGuOWbg6ngqvfA1xlBCGUxd/sdyCzjwcKa9Taa/+gH6OGfRtD9xXTB
GS50PCxccepUWXgOLeStIz9NEBal7t7Q9uMDyoiq4J0DBm7csySOSVZY3OvbQI3csyzJelEle3l4
vGxviV89LwD8CZpHOen+o5I9SQKIPMyCFIJO/xcpBLgoEQEfoyQUo/uX0O1OjdZOD5jk9C8dWXds
1Lp5LxsjRF43cwg3S7aqTjoes9wQSQuG1lkXPk3guGSjrIJpAdTWnB5kyfKJMfjNyef1JkeydsgO
qekFZ4y81BXKbsQiRBHxFfI/4gy+N/8yWR5Fn6ZS2iVWFPlCddxxX8OVfHZdtAd0RXc3bHnnZ0WF
+Ol64+skSrJK1fW3vCqwkBL9G76yW2herDqiB64N6mMfmgTwafQgU9T6CqSYvgxHPbrYkK0QKefp
U6aPk2qzezSjM3kpdcUNDY+zhUYk8hk8Nx/Hui8BV+pQ8rMJwr3SfwC3/ggQIbsmB5uHzaMDJy2d
JrKtaeZsYZjD/EF7eGMWKSCBUgGkbyvLkPTkjnTsXnHq6NHzebgjcDd8cwl0m606QfIzjVXBq+xF
nin4gq+qUtc2us3HGkNPXtYG3jEpaX3iT6zShGKJnLEkD6pf4Afq42+JPx1hL4Ek3znj44RXNOaS
0IgDrr/IgeoeDL2elxhy+UcXf94Dv3/UxOvkD0FxfSpVI9gjxPDp9cH3MA68LVZhHnpuCrEtXodZ
JSO+RfOrFU3pFlVrf+E24z6uS/5Wz1650QV4u4Uvdhley8rwNmF31RMf9HmlvXSG9g29Snehgghb
mZ1PtBMDLlywiqU6AfxBvXbZD/x6iBLgCjy3TYxQZadePQ+fS5U84UKfEYQDXdOuAT07ygG/zAZb
kxER4Y51WU3j4whscREW7bkjHI8qXvRnYuUagEGjXQeFVm1Qx8gWKCwvLFiHS72MADpFWDN18/e2
6ra+9T9sndlyq7C2rp+IKloBt+AWJ04cJ5mZ84aaLX0nep7+fJC1d1btOjcqS2DiYCMNjfE3ybld
rCejlurFRcnMY3Ea9m4isWNK5n9h/1OWReKz9/2bThr3ov1eIiCauuW3oQBMotf9wZhRlwWt5o0S
Awdd+RaVmW/JhmWl6R5lFZs/8/JD1NnB4M6UrqQuY7d/VcKEnWW+wwZoAiDH7E5konpmOpAyUJTR
15cyB2Bl/dATfQHwTUzpJhVCWMP8HXbkvi5ZYOcCF6Smzq6JAFm9RNTtLJy65VT1R9CiP5WxLF/7
8F/jZiQSZfumkB0lTliu9UQCCTcwWNATCuvzYu9UTb+Cx+Q/WXDlQg1mBiI5/s3TSF4RDRh3Q/7a
D4P2hlvdAILSx/7qVYMXsqsgZyJygRdQOJvnSpZXc5kwSVDjlyUrriMKRnsNisx+yfgyKPQOR9Q1
ZZBEZ7fp9rZem+cQXwuYL+Ot1xJJ8Nk1x0Qg3D4M/TPQj50p5xEUshlolaNgNpIUIO36u71UFCzn
atkhzCCDOB1RwACbqyJWh9yNnyrY+o0jHLPKLAG+gusKK5dqf2K/RVVNmajrnQAd/57pXFwde2le
bHMf9404dn0SuGWi+gIEZFw64rQs8BhMpjgP3TMtYFvu+GMPp7wJ0T2CsWY23QyKQw3gcLcBUUSi
7xs8PoM+E5NE6YOXDby33PuvY4uuMlBWYjiC1jxXNYku0JGcul0F4VcOf14gKiVSaNicTsuIZHRS
BqPEiBw5h2k3IXoUxG6iH6xefVL1ugkAki88YYkjn3L2x7sWUvSx1+e/LGICmszi3lokqn2FyMBj
9YsCoR8ypYxW6yvcvHPnz0s59d9Thw3cbGN4WOq/IJnfET32dGp658jok72dDr/rlq8ndpfn2hRJ
oNbIxFGBr8rcBzbrPkksWf3OOYB+jV9LHBP2OdZ8e9n/LeyMFEYHBShR6nq/KInzhFH9uVictebv
xeGcXDSjfystaPNpXX/vylzZ22HLl1doYB7C4VEV8UAJn0K11lb3Nhl+RBIbxNzCZSYTFFTwFDuE
gyx9Pm92KYrp6CbckAJfcU8vrOGxqbhZWh6/FiN1fb1h6xLGxywtDgsJ5ZOI24eiqCSumdXbWKt+
nIZFgKUQGuGRW1PRzA5dhd19Le8zguB7VRue61D7wOSWVA3+FSr7DTTFhgEH+cEKFF3BYk/LzHMe
q+NOds0/jCQrz4R8rcp/OlKv3mSmk9+0+c4No1tXGtopLQIZYYclG6+y27uax++NqWLGZkxsfZ3i
mtgC1W9jRBIpApsq3eKsawQJmZN9dNJd+B05s2+3DzU6y46YBQ4TeFraRe0cKso91x7IoozwOC2t
nmxuUR/CiRgK3o3quUrbv5HTTxG5sD6MKoKRRcrpKVbd05j7HRn6oFLmv8j168h4f7fG4iWzjPFc
UnnycCwdcCPTJ3+2gPPheY9vmq2hIlry+7azxmtyvKvTsWMOdibzIEKBMZYyjTsj197zvJ7AriJ+
NTvuLq1xthozyKnxmF62Zoit9EJ19JLjzB4AgSqA8Q53J4NgQWYJHQcF10/5LzWsd2ucf0u9owaW
mA+AsXHsBJk/k0c0BRpKRii/tYjVoBGSvzp4q10nlnsE93J5qqO2eC5mcHhK0t/ifvFM3Nj3BUHd
ToeYtXMtfB+FNoKlLVC+1tpi3+ixEdSVk51k4UQPaUyVrR2N5LK4hXUOidSCOMm0IB0NGJpYLV2q
NBtP5YT1FdBw44hE/vw4JEVEMAutFXhMcxjGUQdS3Wr4C2f2c9FFyT5C8LiH1mPGgmLq3Fsvbk1I
XDZGeUpAhfsrCtLvMnzRNRNIvBXH1qsw3NEfUSt/azHdUETil2XqvHUU7bFVtfp3mSaKBy8//mbM
g+WlIOq/LQ07J60Zqg+loSbqZt10ri3T2kF5xbOY6fJjsmD6JPBaPqAVd4CTwT6AU0WRoUfdiAWs
9zqoWh+TwP0qyWIVR3sLO1zyIh+RVYBvrpbxg3w6G7asGT40F6O5ApTUh2u15BYXR35EFVPEFObN
BxSyydMGUz5HihEkMxESQvcuCQk73G3dNF70a6nAIpqSjwW7aR9ekgmmG5vixpxYZE0zSAR74jAy
hyv2ZuO15X+9TI48ADhjr8wCtKvdAqplbluPxNpklNxnZZHKa5dxy0bTHzAD8+oQK0m8MUevVrQM
4TFjzYL2gDRjCew3avmFTKbmCyDjB1VV2gO6yD+dIafE3CLN0qjI+6jLfBjSqEPSqhZ+Q4rUGzQj
f2qs0fbmODP2GSlgz0CaTq8y9zax+h2W+jpkzXzq2zS8LvwvSioeQCq+5UkYP5NI7b2cTQThhqI+
YbcqeeyXZ2HOLNiVnH0SCaDr4jWoDtnJqkPa+5AZuoPhWH7Uo0Znqkb2JMa+OruL5gRashi7sV5+
VH116LBAPjbtSERRu++Ag3e9HFOILzz/4QLid26cmH9FgA1xRkgjoLXRKQqzBHvfnEQrvggzUz5k
rDSFMhSHUFZwAHgWSnbV16k7yklciaKXq0zMTqklZulw2Ph5roaOfWj5vVvgAl9UFCJZHrA9Fy9j
7ZJUt4pD2xurATFJjcqNnF1WRcJrqSzv26QWO2TCh8CwhHhMYw2L+WwBt9CSLtNMJtSSEBrhifSh
NBpAusbDrHTWfrDQvYTb0aBUa1t8sidlmJqTNmfXWGnDS8ejip1d/du0l963qDKeBtV4QCydFPJs
a3v8LapjFcW5b6ZvrdCa52jGoIyM2g9mbyrMYzwHCCAM84BUahspT6Jue7yuJ8UrKdc/tjHquzq+
DT168UHSweerSPNknXwm2w24oQf4U0nXPJVWHR5tTYvvOQpbXg39XdWyK/TGAz+J6dq1VBszUIlB
FDqlXxTOY64SBUZYnA+O+mSS0NkbYp49rVMCTM/e4ljYD2Wn/JUTX9RkacajWTflHi/0P60Bfkei
27fL+ueql+lDPuAwpKSzjVHB+NSx7ttQzz1XFUVQqGa4n1Hy38UDTOk+DINyrItdbCt/zckcLyi/
GcepTvyknyy/xd3V62u9CJR4gAJqkBidp+rszMMISadqHsxRu6qSLZUBVASjK19X0hSwLBFZXIiL
xKkpQMV+9XEb2iMk230yoSLhNPFywmewBVpZv3ZtdVOQXvCdnrKj3bbftTjXfUNqJk9YzsPnolnU
T7Dk0GlxouYq1pxoj8LbflzxS1Dn553K7qN2kziAo6RSvVp+tK0BVo6wYMdDgcAj3qD+Mk3xTvTu
9zwsTa+zB3Id3WGccnmZWoEqSDddJ0CGJRPsIXeidxuhnf3k6rWfxvgXT5FgMzxwg/BzOAgMCvax
nb9XxTTtGlJm+1yCKM8T0ISVEl2XQq8fyilZ9m3IElUI0/Ds0M0PSjrYfleknR+HyZEcXB5kS3kW
qi4uxPjYm1jdyUzTZ0PTlGPNg+SF83MOgGPEgPrWsp+NLArNSBay5sMr6ZqWHasqdSJ9dna1EU3H
ohbaLgVgg82wb1vpE1YpFuFNO/gFCMmdZWe3xI0viH1KvFC7iLp1oR6wkbBOi626MH4bRDcxLcGV
OysOvaXvl15Uh4TKsxfhRnoIZ3Xf2hj1QVfOD6FrMZOEcbTv0u67lgm0Ivt2vGsFaaEC9k2j69hP
uW7od4Yg9xSm0y7X5Z2vyiHH4vwk/ZkjqlfvotnY2TkYmYikHGh9W+7HXKa7Scc+wEim+D0hPwPP
1VfABgJqx3txIKQ4NDg3ew1KEKDDq+6lyWFeGRQCXWr+cgJBn0/m7KlE0maPLzrzzy9kFsZLnOY3
JWwWDK+08DFuje/YJWMOO9RB2mfxGZ0x0zMV4FwV1YzavtjsMqGeXgZD3Wk46fpNo6nMeyHUuRCc
UtYGnV4C8ppyD+h+44XCUo+qwp5laCz52VgLKAizKoYdGgK30M0W/IONycfKpSCQVdipT0UKEMBt
zlo69sE0xkOwvfpqImH2AZ4JZGx6nkx82ZcAfPtxLnPnyJeLt3Ou1oEg33XoFrxMpmwJ4oaFIS3Y
tLnwkvztag6e2Mc+n44NBUbTcS9kLxyPVP811lwZZE35Lp2CBEppjvK0JOjkslD/0J18DhAbQczV
6Mv9gN6pVwmtQIbGKj1ugnkelHwgvXCc5qUMWEVKNkETjo199S4wZQw63Au4PqmW1kIByKx8bJsR
Mp2dMNgawlfi0CS7WqTdD6GiymDpkWbNR+somQ4DqWZgFxPCUq+R1Ssy97/bruw/79X2artNyWJp
RCrh4ngkHuNjqBUlO1r2GdsrZ+1O7Dj4vneyLic+NI2YwjEQ0RukppqJbq/1lcHugqqsa6fvRhmV
mt+qTXbuuoWC+7LDj+qmKW66Lyf+MYpvllavShBE8G0bhj6T1PoBmqehaq+ZwnQRpxzP5nA1qw0R
c8qb04hwsR+WoeOlyXns4CUqBGvAYCcj2D4BYh7UhbHapmxXBywMzuJvLxFDq9n+hgbq/4AokQqB
/v1alS5bq9EkX9M6WgDQQQ9iOOZ+bcNja345S/6LvIvDnQ0nfrn4srE7pl/qg4e6enzevqtan6pA
rs3W3RoTMQ9+5utX+f87HNZ4pXydjXx8e5gx7XFAQmurx/kgvrM56f3WzHWxF7h5r6zME+4eLkUd
TojqLlgqB4Nxa/akK8FnxnYD5I5mAPF3mP/EYXqmAjhpSveAKHRyzhVsssVTX6Nr1ifDrQzrh4x5
ICgLI/fzuvg5FwgCKkbreEXfK8GiP7WFiy7lojh7O5MKMp4x5YQoXV7CpiiZu5cCL43oZlMVC4s7
FsNvUnWM47CmCVTLKoIJd/FJSv0ya8sOCr872vde8gy7gwNesqhe3Y0GaZNCjCBSDuNZqUTGo+PM
+A0liNLYSkvURJ7RRbyhGfIA1Sf1hBgpYRVkrAu35owWjGJ5C1VnT5kAaTkG/vRuZN4nyyvrOgvc
avnDl21jm65YZ3MsHc/R026XUCLTx869jvFiHEkq17DG/JQtxM7CNf5JLSA1Dmyj/DhfnWJzPKat
lIpzVaE435dHiPbLjiqMy1lJ6BlTrPlqS+l4yT5A/ctLWKamH6KtsWuVpXnIEM4wtEp5r5lmD/Yk
nXPewd1wFXbKi7V0v6csPtpLdxwAy9xtO66OPALlKSSP/l6VGJCVqfKzD83aRzh+ADEa51dFZd/T
usO+zpP4Z4QbC5kkv7In8/sQxTcRJvbfIiaftnrylop4ykPClzJKG0+q86kxW/GLzLxDLoA5yla7
/kSy5IXSIByXvoFoRbZkV0VtdtYVapp2YS6nPnSX40LpYAdK09gtStfuCR93VT2mR7VZ8x0uGamS
TGsX9+IK0P+kNPHwgi7gzUir5HuI0w9McIoJ+j2r1WolryR71RDLSzuq37tW+yjHrrmEA4RJqv3U
YaoCynPqogM0lrsog/kbp1kBuTWbmaT23Vzkl6aox4u1Zu9moL6jIZuTO0jlTZ3TfewapFRh7O3C
Pt9PURq9gRT8FXfO8mhKjCcMFcH8eVDHvdMXIButKjnkcnK+S/LX0nXA1rfhfCHxifOtiZzSQAX5
ZMxkqEs2VK07Gr6d2doTOwDjLOukPbZwz+6J2cF6pxL+V6on03LTP3LmB0OKxbi5VV6jmFKYJxfR
2JuBR5bfKXH5O6//IiuQUCPFnWSRwr2DNkbJPbEhDDdLSUCdLU+kGP7Mende5ri7j23n3HqELZIS
PPM8sCzkiWQ62urfOR822GreGbW03Pvqfx7eztwGt/7WbKd/vftr7P97ie2wWMJtng/1QsESM0Gt
VElYVT5fVqNGEL32t1fbejMkKidt/f96+XX86/RtbGv+z9h2nW1s1rpyZ6g1XncDxXkPSHDNorq+
VG1CGNKp/zNqDCYBwXo8V4Ds7vX1+Nb/fOtnG8+UARVLOURZ3ARbU6/L7GhiTOBtfbOd/6evxC5R
5IAr16xHL5am8jg4heEDIopetrG6EMzuqTket7GtUeGmq8kYPnwOFSJ7jpjGvt7Uja57NnVgPl9v
KttFUt9hw/9fYynugJo2qOevMXacCDML46kyc22fYA9ztGpscCulsa5qbarXEKsLlr6p+ykd7b0A
iHzXVWUKljAu9qKMxa2asSW3o9lDWbf6jmlsekyNOjtRGIG1DDtxzLWdprvDbpA5uZSwfBTV0D6Y
aX50WGMvUkyESEuWn2GOHTO2/JdS2u0RcZe3Uub2qg6p7hW2XUwrkXgcuyklwlcf8asOEEMpMFgn
9mzY3JxAUS17w9UEBtkF+nHV8jO2jcjnRrt3EvqPZSfV7+itlbt4FOVeXbRnys09W8y+9kWVTZhp
NOXRlBWVHhVBJk2HKEfovcuGQX3D3A7AaJetbAoySXlhgYc3I+Mjrf8Ybd+yUwbQ2EfW+zKa9a6A
O/eSJ4gU1FP1i1w+IrTrkIz0/urmmHitva2BKBwdWqjfu+38bazr9TfXGuTD1huSaqHCND123eyC
U+viXVVk40sZhyU02GTcK2gTvmxjSUWwCzjquvXcvmkuSVP8RYbmPycsk2UjhzGAQVmvsTWF/i8Z
rfi2XcatEUFUsTjxvk4Y+noN72V+3sbwe0weOiW8ujiHVDM6g7B3n7WlwGxJZvPBdqI1PcG0vY1F
VnIrSiqo25BVDcslzqvf27y+DSXjMvtqrenHrZvObfUykxX/vEKZHRQdoNKGed1ArsBBn9M6tU9p
y/yKZMv/gG4/T2mRTTW18NvX+P89jxR/CRzS0A/b9b5OHLTkPlGNY2eDOjcKTtUjkoHm2ZhW/ZwG
p4ltbGuGSq0eu7WJUgWrD31eVs0nqDn/e+DrZC1b7FOtq89fQ9srHMaqx68xJy3+qlgoeqVMXM+R
bfpY6ZSM4yn5z6uvMaF0gAikG2xnKFSYPk8royY/KTpgGIwcR/LUZriqt3RvEYmgfUjMcNi6GjKd
B/Yk8K5tq0WcPlxBPmuucD05GePilMYxoOq1O8Z9fZ4ScCZINbH3isWb4ebg2zB0+eyaFNVPegty
vxt78TaVcjwhAN/stpPzqc1OnaznXWTClR86YQehJCgRGdk5JCBiRNJy8WoPJVswN37felahIY5F
nWDrJU4oXlHrRiWpK27bUNVHRBNFvTxsXRBTpp9N1vcGnYedPqGtayXI2ip9ouwt13VeNUKjk1oS
1G3dCqkX9NcIcraTDaaLZxgMl+1gCKLj9ZvOz3rwx9nguarrZ3W9aNYR7nauWz5sJzaYqfvh3GMn
GYrc28Yw7wz3cYsKlcv+HkvEARINS9y0LWzb2uTouMN+lnGwdlRm3xD6crLz9oDCag72M0qOJWoh
r9F4q2tZHFylyQ75uOpejuJOksCi+Kv1+wpU1puSDWSncvUbWqCs7nNZvFnaNBPnM8u5tsiJxQ37
siTQne21OygTxRY3fG/yPn8DIlzd3N48br2mHuWrbZyZHZO9WJqjDSoosHXdhb6VaaepDOO3diKT
lTeUpKDR6CetjGw/piawZvlsfwDpsk9ysz+QxlpzYw7hfHGfe6P0Tb2ITq6+EysLVaiDvG2Nnp8M
U3kySvmt15XkEDnN/MSHRoajmshX5+xdFANaZErx2I9EDdVQR0MQ1azqZ1cOz2HYqK9phNIkiBtP
mm54L8hrZQ2xuqo03J9ZA120NtureI0xRGU+RmWUfw5pU5gEijG8pG3+uxaOcWoxLr/GGPV5MyHu
pWiKD2Lv9rdjxtdhKrS/Ev2GzG0tNktPeFN6BORYdo5dB1zCQpddR30qWvHXcSm9yNGsNzNtzwlA
3t9agTCc8py7FppNorpITS0PlUaetlTScg+ApabonXwj6GuOgwORIe7c2Athdj2bQ4UxXSKS3zL+
qUaLOLqttqLzS2c3q+QISzTbsTxxSNqqIGPxzsVAYCxfxz5d2YV5HGxdXAQeKb1oDzDvxXPYz9Sh
+rGBq2FMz4k0V35Z2h5ABaentkEjxFLKkzFkpZ/mQp5I+sm9udLK2ZkbL4T+/PmFGiQFih0gqH2q
UOinqIXJlN4lJG+EZ+q3UeleooUZyGCqPUShXj2OaQnqS9HqN8yZ2ydZlDeL3drbsDjarWv1w3YM
6VP30mPI4k3iT8/k/GbGtntHBNkTQrfeBsuY74sSetuxCSE4cs2qv/VU9BZfmoHM/fo+/BiWl1Iv
91sPp9b6pXWzQxzWFvrojXIjv3/cjvWupd5stPA/e7XZ3LpxOZtqpiJroZ+yJl+uxdp06ojHQ6eT
rqFX9+1wGBxFoGWki+ukazZ73rnwyOigGbANGuuR1GKNmefiUuhSXNVR42g4d8veTLDQ+Oxvh7aG
AqbZVsN163xeqmhai6JqRRoVa93TOBSkJdu4wqnUkjGEIZTDtm61/gGKAIJ3r7BnqhbAiehOnc7Z
i6Mu5z6eXz+72xFN1kOQWNm1yIcPs0qrc0HG6zoMzX8aFDDtfZ2Jxv8/B0bVnR51PsrXuZ1ha4bX
TlrjASBHWmS9StKRDJr0FMEArAeejMyZDvEAmVLL1eiJJwmSgBiW+SEBXrWNbec5cx09bV086p5h
3JFlWN//Nb40LfJFUijoMkaSUC7E5HgOYxinNGXalQCMoViOeU0ReR1LTGZPhIAi4Byiey2s8q0O
m/i69Vx3DldoZclml4NjlypHZRQpG+myf1VFqT+K2v4GYqQD9MIZDbBUNsf3rRNLakyFzJaHrat1
QDkg4+XHrVvPZXoORxfk8PpOZDyLp2VMPv/wNiSs2U9kHr1sPasYSbGOaKJs3WRMp70w10T0+vZY
WHUAF0N4WzfXbetZQsHdetvn6yL9lItCPm+fvVhxXpOVKuftjGYFFs26Vu+3bh2rCz/Nsvm8misK
ZJBShKDWP7VdLQmH57wmxUthmdKapZUqtuutDATFAhLJc8NcbVbtSRVUhiKh5W/2xBydRpH9EwDx
RfIqhmHybLTW8o+8xftMJvR73UMXoSgf30t03TxMOSpvYL9yBcGRn+pKhEFnLDHi5kpyog5ZnipE
PJ/0In3PkWf7gxkMCu3x9G479Z+yqIRXmdkUaFhIPjkp6BtyP8mfM4X4lgw+GwMtctJrPpUpSJwo
ulAiPabT8iqW0vCQ4wS+UefisVv6avGKRuPnzZM65MXT1ihC5E9kQw0AVT9tFB79IYOB7oyYrJHQ
HABcAT2HQ6eisdnDYnG76QJYfjnLtvlVt7mCLU4xv1p9w89uetZCqb+LJf5dLg4q+tnjMNfhIRbx
36YvsqckTdCtzW3lAE1ffa+tVCNo7Q6ao4u3WBwpieXfjGUZD4ayGhcq+SVS3N+E62pgyuSvmVS/
+ik2Ke809kkDMUqVzdmnNUJjk0xzFJggP7ixkf0YKRLls+UARWooVto82FkzuTs9przUAAR4qaoj
GfmUkl98mLsyvecd6sRUCbRvzRK5J8ul8gnwPd83MfKYpg1YaQQL37ZD+GD9cGB9X8dSezHUNoCI
3nhUoaKDWpERs5C7JPEyke9Vic2lbTxN0w+9I0i6VZ1wTnPRI384AVCWPnlG5aQp1NXgNDUHuPM6
8iChEfwG6qFeczJgO/SVxK4UpWegVnlmeURiU0Tfm8KR90Vn0WZIf7Ip3APutmMypjSKOcUPk5v+
nkts0qcR7dxlqf8t0GDqTnd/RH3U+tYQdzeKt9rRwjUyiKySrHxSO7uoVI13kJ+/MEmq/5moYFIL
+pv0PQZT9uqjVtWIQ4xd76mI1OG8Eo0vaqUlzw0ola23NY3VaQeI8yTH1jO2Jqx1kC6Tewkhq7wg
lKIB+0tPYCP2qRgJeDRTvc+UVveuTq1761oIKV6L1H3cegPowvtoQMaexPCwDRmwD452Ippd62Ta
3R2MDpQnAKK1tw1phoXgW5dnwfaGdfU5G6zMxC7JqdLCVe2z7u9zCKTVTOrb1qsKLdrnTlgetu7E
zoZ6dRdsPVfX+nui5CAE7GH+HNNnVzsPbilA8nK1rSEoOfBoFM/bGyJHmfdZk6mgETiDqDp97nWq
D+vVlLWZRhJ/CqSB83YGqe4xCCtUoL4uGTl5gPhq9vmZi2Ss/MSd73NKumO2NP3ehjbacjIO8iJm
pau69J/oBLrSxE4vdixe8vFP7S7GKzlNfzas6YV1wnitp/p3nCE0sR0jRav6iFO6JxCj5qvQOvBc
A67t27mloUdBgyeDvx0dVSo9aptY2Ms/s97XgGHkXOCvQAQBFS152RrEUao9dq3VPvvfMX1OCi9q
XMS7hZ68zNEEyit00f42j3mcGHen6o17tihM+mBazls3Vdz+rC3AQ7ZTtFEYdxaw2S6Sz/PLljLy
hErrSaxvbyJ5AO4eIogOt61Revtla7K0ZbZrx+lsR6n90qGNfp1SBZq5DgCtMiPY0cVCnmd9BxnB
+IaWHHuasCt9UL/tnhs07QE2/+d6sv9XFUq4h9kPMEqflRe4dPpB0dr+s7uNdabcSY31bOupUVsd
lwaA3WdXD3nXUhxDgBtP29BkLJTz+lT1cUaL7tvYvISBVvJgbD3ZKcOps2TFGfzRrRnE/FQDDnn8
HIIFeR6J/z3DLpNn2+Ex79DOEjOOgNR2qRQbY/SyNa4aH9XKWK5bbwqd9opDxLHS8yTzl3bNAsvG
9rajVcIqn1s6qbM2Sw9fY4ab/XVVlUVvqNubhg+y99fuD9bUqi9bw+8IBY+BavXXWGiObzJRp4eQ
hNrLEIXpg9TEx9cJGfsUlDfa9vg15uxI+0+fF22HEcEKZIR8axLzg56kz93kFlfWwAJPrCIYIEEE
Ww9zTKF620s3j1+0zuzO/zW2vc1qq1+yC6OdVuNPjyS0fdsaR5IltCEEwFBnrFYVQLrUYuS4y+Co
3mUa1vcwq0mvuWly3MaKpCRXmQIxj8uq9ucmxM0nKcLzdrJpOD+iCpViwwT+U6ui2+dMs/uoT+Rd
LvVLR6LwEb1Xea8yRG7NWAl9FTooXg/jxe7NgRvAwRj41I5CKkgpTci7Osv0qU2d83ZwG9IcQyN5
37pnbR7r62xOFyHjge9zNN5ac6wDd5I9qKA5Kh5lVO/Leq+oY71rW1vuNCtaAB6F7cFUDPtxyKBo
pMPqKW+qe0s031ojrODDDw9hPTxaQ4Rie0xNCl7Cr7BPD1aM4EFmsdOpiAAwXG9OU4Jhj1OCYJNn
dYhgTigxmG510HcdMYjfEn2U7o821QtvASXs4xUCkTRkNd+qfeBjYNebYNBVZQxATLxp0k6OEQsC
CW4VSDog5WHQL+qC1lynKQbFBdhJjnLMJ/2dfReTDeiFXW2o16LPz7NiKw9NX0OPHUbnXAwQ4Azj
LW3HlO2fwz4ZtGcxxM59KSwN1XYlIN/RkUw0Kq8o5w7OlKdORo8mDdl66ETtzq0HTJcX1kg2w4/q
cNPi1n1eRfhmSAxibkx4j5HxYLapelBG5IKr5B1N11cqQruk0+pDJTrnMhTGLEkE8PKrmUcU4IXR
XBAt+wbCYjqHajccajxePZAa4XUo/3CZOEBuxfDQfR592zSo3FaK9lAQqxbWpN6MnCuPTbFcLARn
oxiQSKEs+wp31REC6qnVRhnIPpR71XTGXWvb0UPuyGWndvq3aMI/AMRUv4/wfGnUpb5ZwD9ujW6+
KWnSnLDN6x6QSQRXwpqyz1u7e6iriiyJPsLfWkI/aubhASDBqZcIMnYy80tZH91ics+lMTc4PAGI
EoMZe0YCN0IO/clqVkRg1Gt7c8QHC4DwL6SafjLLFSeTKrnP3Rp84HC9jzobGTx+N6JVgOtlXXfR
aNFJAK6FlgQ79t5gtTcEbBv1V5PpM7w6U15GgAZnZU14GO1ti6i1NawmROFn1FMHyWOEWUoMzs7J
2KlvevFzEMo1z+H5Io7i5+kN9PK/xTGagPqbykqYSTTX1GD+f4ydx5KkSJSunwgztNiGjkhdKUps
sJJorXn6+TjR3eTk7b42GwwXQAQ4jvvxXxSV9smE4WHS7FnuteshAX/jVFsjD6PbLq+CSzAywsg0
3t8pLLbQO/EX9Ial9ZYZISunR5PCiV4n/AH2RkIM1a7q+hja0w93MSAbXfypCAW2IaHQK9ihgeBW
97ZzDvoQR4gAMo2GLqdW1Euk5DNEgHw7xNGvJisxiY3ME9/yPgGxgrxVfeCG/qlTLGJGwvCsPmDK
0VbWI4ERfRODLtthOfqMwS0cM7cxeImN4hzW9IOxYuLu1zfbsiMmUOePaJqqt/1isCvmuY45WSzV
Q+3IN6Ee+HuzA6kXajozFMXp6HutZh8kibsFlHWIiuCXwsoDSgwRikKEMn721lC+tcia89E+dbmP
74kLp0kPWANRR+ipHsPju6AByDM/MSNpt6x7VqWJDWSabVRikGmshlzesRYI9W6CXPwwegTYa72b
WBUOPiGswuezrUAo+ShFlyhL3Y4gLzEjAptFMBbAuAqHx2wJXs9pcLC9RX226n8Frp8hUGYAb3R1
jIPRmAJ46B/D2UFvH8L8ptOgMrW/B0iDEbDffYOBZVjbDlFnZ2PmrbpFaLrYq0UHQrlTMGDRVAUx
SPRigsBnYaF0n6dq+jSGdnNLqBEvxW5CFC1rH2AvfyLS3Gws9OTP3qSDAtV96+zY7kXxe++iJL57
sRacThV33xvXuy0julmzwR1UTavqNKOw1GohbsyFe6y67hveBwacYDvYK2Uy3Q14Fd06BI+LhUAc
pPpz6rg34B8mRtmLKZw+fBuZtRPdCIAv4RioG52/aQpIFFlcEahoA5NVt9I6VW5VbKzEbo9A1wtA
cZ4F6IaPwQEy88XJWZTSCzS3kI59Lq3OJcpTaLskjo/l1JrHvq68L6n3ApepU1v/52zXOzjvfEu9
BSKj/IyMfptbWXDRx2Dc6pXa7Jipe6ce4NnRAgcK7oQlKcVn8tZBuHesgqCHau4YAd55ozU8pgMa
RQ4pxGQwEzaDlzxT7Jt1Uw2Fc03ajPzPdg1FrJ6te8tn7OgNFjhGNwPoWXnewcfAdxt6qK9pdH1b
pswbXQ14FX3TuJnrmGVTRh+/0lzf50EyXdQZ+SaEop60OPhtLQ5RUHVuMdGSxsjsjA/xslnEc8x8
1G5Vs26fhh7P4TZeem5SXhm0T3XEULeq02MZONjepQ6PEUzYWWmZf3R9ysjDit6SVEfn0CweLWO0
D2MeMf9eNr57N3sdPLRWi/dN95Q6TXIJmR5cUt+JdkYBAQA2dnRj2eaTHhiwN7yRFoUJ2ADiivhe
vB+U+mnWfYJrxGBo/wicadlJMGD2siINVRhYomktXlcgMP/ZKB3rRT3apni+8qqGSGr5JUiNMfNa
wiz4NTjIni8LAcqs73X/olQYbsGR6PaJB8c66EFjTcEwMeP0OZbQyC2C0mcaanHTmNPj4jQOtcO3
dyOqNFvsKkfaHOt+vcnDMlMXoJkTpvBKOqQnZw10kWcWNyAyTsMEIwW40n1ndk9Ki/9TbsbJTu+q
fN4KZi5cCPwW+LO9M0w5nILZvR9TTWMo2GUPHktzl7ip3mbgRq94bYA2LL6HQ5S+qjleMF77yy18
GrdECZwlVFDPOjOdlAbleK52J5uJTxgAK0/Z+VIbDfCAQaVsFcCePkiBqc4xrV3OUMzaC/7Q+TmL
S7rssXN2tRUDD2FJARBcMW8LFNMip7B5L+ytSZd3N2hQemuAAkoHsCppuB6SI/5dTID1lMzhW4gU
HOKjB1wXy53jjBDcF7wRAO0dNnvVBf3fVEF9q/7DvKa9aYfsWI81n0lQgYmT+Ec1gSTUwuOs67MT
fi3y0viMhDyKnOMnPQmsUzoon2aCAAu9FTd3czEeiL+pnXGKvTFktX7nxbN3DiPrPmYpbZvqyCq1
ao7wnwFi3L5xTX261dL4ZVSZpYZVgIxiCGV4MWmqfHRtkobrAQV6uypABFndHWwWvMFylfZVOCKd
/nSDoz0D23WRxlYmJgIm/bS24OrztG92RWp7j7AAnAd1eplB8D0agBHsPGgOVZx8LhkYIF+JhWJf
spgqyTnVM8Z8ZQZAU8HWuHNDxk9GCvzF2uVBZ2yrsuhPsCOKl86smxM2n9ZWknriNOCNa2sTNkpz
x3CZ/9N29k4vg1+TrUzHIk7nG4Q/HvsZsLfp2slDgJTLQ9BoNSvDSGE6vZPurdqujiU0cCOAnaEk
SMxl/LyFqeEOSAU7IYuMBS6885jtmUU/GMQ56MV3WfbQhYDFvuf2C6Zl7TlbMDPlgqsLQVicTech
WnCjtTGpZ4AR4YIklc2kR2+KYvj7+J8syZfq2fLa1Zcy4L56LXQ6HMJTtgL0bHSQ01pdBTv/MKkG
A8PwJW5ACvjPYxOkhwA6r90acIuG8RmhctQN8by76moIRkhwQ5nJhMGNHZS8F+0NKej8FJLk+GNy
m+ACLsua9wxW+SWyK2+0VcElO8luMhNBgoXF3xvqArSv2+ooCJXKcVoghYxlAQ71wK2DBq8Hf5Mo
2hJHIDcAi7VnVeWro+S7RA2cp+mX2Q+gmJcb1yxnlL0Vn2jjtT7vBaoomeOcTdlJakZOy51BFjH4
6/h2OYnU0kJ12thOlu7kVyZoTbMAi/DZ4up3DBr1KAojjreF5D6cwXD+7JbnN5qRc8pRo5blYNkk
cv9lF1flgCUtjO8kmWXVMSwVHf+Z5Tfl4D4DXDdOckn5GV7wEEbVgDhJX+29svwlx6VjAMd8eYzX
JyyZgpfKfVZdrIU0uuaNpd4dkVrBkwnQxxX7K60B2i0r1OOUjntVr78LHlg2AzDqroZfRzwVyZGs
GmzMiConpY93m70sel9xXqEafOthLu69Bq97ZBygNrZJ8yzP3k7ch4G4z2GuDbp1a4jQ22PozvJW
cUkdpn9tiGbb+tDADutAqJtgJ49LnobslZrLsq7sSiuwQt1nXbnbeEWfX/B19ECfye6ygYhA21CO
lcYsCn3BZAaIAMw5ZUYz79/tytEOjhQgkV0jv1x357QHDWVHJ7ne2DTEqJtd3Caf51G/yJ273iWo
pZvCSqed3Gu5K0lbMP9vNcRXFoi1PBM5QvYk79ocJC0bI8UxpOlCIJqIPg7dJ3nw16Ypt2ZtDVJS
E/ncVGDYd3Ir5Efqfc39aYNC3xJBZ5RrVT/axTYEucvr/TVzp58BXhkHDOEtWt2zVuUtTNvwkM8Q
nVt9+qQvXYd8trPYdo5zMIMExo5vo0LnRAm3QU/ISvLi/7nwu98gu9heQXbXQ/1a8/r0UJPJQZoY
+k66APm+d8iNn2wAWeOnFC7v9eZe4RTv3pp3oIqPd9BgGa+IYE3OzcEIc23ex274Tekydb/eYTrB
i+64ULrXzkXtHzNMLA/yW3q/ekhxRz6g0djP2yYLb9tBV4B5LP3Q8lrLkbL3n3leV84IB4TJTlpC
H6cHhjBMXZaGoI9IO5lwrNfms1Swq5kKpr4dkGA7SQseO2s4TbnFtKTa586A8ZG7gCv/87p2kZ79
EKywlxvAFRZAytr25vjO1RcAo1HY9SJvQ/e2dMvSkiS55hVEf5YeydJnZ+871QBmJX10AoU+UurL
Zn1b3zXR666Uz5U3nLzG3EpLuB6CrcBReWsbFgikL2TC3hxR6D6vb/jaliVPksHSCtW+PzSA9I6h
Ex2kzJTGLjXW4z82QUnLU5O96zGSvu5+KJfkh7xrsy0r2/6r68FWjgX+1DwHcOU2KfCYIgXk1tsg
nJcPh+5BNA10JqqTfsCHgnV6xgXyxAdbxxjUecjn9slhbMD88FYnYjGrxaaFOpEDShnq7sZasKrz
WD7lg9sdTHNmKNHo6k4NCmI3PQIzGxZ4D8IsmPLFLtKch3oXROWDk1XvHrxcVdrB9XVa05K5NpO1
rUiVYkjbU4/9oDRG2dRLdy17egJ9yYzhPMndl5MU4BknMCs0u96HVr+VtwRWO7my+y53cI0vuYWI
ksxbJlyD95DqvtrCpQi5YV2spGfi4FBD4gXfMCb6a9QDd0fGZC/3WDby2ONleIJQLnPkKf2RT/rF
i43soM7jTWKWCJR53Uk6GY1eu4WzW6KeuwuL4PoFMNpfkPKzs5xQnrzs0dO3CxvGjoZf8+A9Yi/n
XjHLfmI/+3ieHXJpEWtnoGqqc+a49ffp7ajt+gni/XoXy8yhJ02Wz0zmZtbOt6ALCakEXsAXcMkG
I3EP+VGpwtoalBMDXZRRs/ZXHTMZbIHXrY6T65wngDms5x6hR6JRHNnbDMew6+jqOouKtKBgzU3X
rp0wXOr72kiMg5xffpdvR+O51R9mI28Pqmk8yVNdH63s5V33MzamaDMWBUr/UMj/mqCtHYci335J
Xwd2TE9LHGmYPoDx32uZncPOb/PhDkF28wQ0rboIa2eIuupCW/hThll2fb7yJNY+Zn0wfKB/4z2+
MSev3lkQpJHFcAwcTgpeApcefIdC4L7klsmTkWYdqMQeLeDBfoFvyD+duVRYe/T1SV4b9NLfrzdh
LZU9qfL/PxVjtRH20p28TzJSkB8jyetYfE3L3jVzjrD9YECLMIMMdJXOPql4LEoVuex1yCW7OGzy
ql13Wdf+C1Z//VDK73w3yrgeW+buFljALQuC2GPwoZfxK4sjhK7lNVnM5+dtMJnf0Fohnhz2yalo
wlDdS/Xrrr98QSPAIF2QXsdx0lJlRLdu1rxpzlhy0FCK1ICJLYMw+Tvr5oqSlPS7sez115fzCBPn
bizQdevZb4CnH2xWqeYter0Fi1A/XPkhZn3RXV09y82WQZ3srfd+zWMhCM3rAALIWlmuvibXY2Vv
fYxrwXq+D8dG+WuHUAd9GH2mdJxIuIEtkrS8edzxhGn8Un798XOpFZtIGdR3w0h5hNeWN38PINqf
pblGuuoAml6eQdh1SG5IS/n3XTn62lUBymlObpnuPlJBApgi6xTuAydECB5Suhasc0ApkM1aT5KD
/3PQ6vx8/fVLS76SPdZ35jqeuTZmyfX0vGP95J/3TvautWT3Y1oOup71Xa2PF/h4lKKxsNHaL9qM
1Kz0K+voQY79t7y1ipRex9myu27keaxJ2ZPj/vOs76YzUlsqfrjUv+V9OOuHKwVLh4/RXN2FMPqW
VxwPZ9Yqqvk6V5UXXjaEUiBnQiNi8r6E2dbNmjdneIJCv6NO1RrsXitJdysnX6u+K5Fd3wxACLEE
f23R8rKsb/yHl2p9gdYXTfLWw+SI/8z7cNi/nf76us75Qu4vYtB+487FoY1h7TIWlg/XurnOZNf0
u1jFv1X/kHedTyynvV5BzvOhzvUKQ+LdasrwR+28cCtdg8xBZW/9RksfsiZlbx2QrZU/5H1ISj2/
RzCg/6nVSCIkhQ2Rj5eTtXeGt9KEr7uSK+mZUDbT6qzKDrpXPK/dO2AqaONrWpkXGrmkpednLBQQ
UbIyy72GjvzAauetdA9E/5FkbVAG/ouudu00bJUYgvQuRTlDwkT8bSdPUjZrdytJaQqOTPrXOmsz
WPM+NKH1NGPQpIQsXJhegzqbu87R03kr898EgAHhomR8CdohOlzfeLkp6+bara5puV3/mZSC9dWV
ZEAg5a/uW9IfziB5c5aAndASXqO1s78OrK/l8nzWIxu8Spi8ZWeLwIixREjezRzXanKsbGRgsCZl
70M96UTXvHd/XEo+HDJ4lbKfjTtQgY81VApcA6QGkXJDA8mxfLhKHPHaZ+m6/CzJspPcmTLp8+w0
q86myRzrJE94faLXd/9dMPPdUGGtKnvy8KOiJ6J3rXQNcuUOoidGHCGToqOVPcxeyXIMai7adC+v
6DVOKS1gnPW4+SIv8l9RrVoN9lhns3TSsDiY59k5QSIYljikNdnUDauVmzXtW4GC/llobcpFd9iZ
LQzI6JDXyIela8HR1P0b4WxbLABEKto1clfludQZVCa9Kl7KGJ6J8Mn15QHPLaI77TWe+eH2y019
94iuU9frXZc5i+xeX/OIxcnZM6e93GW57LqRH7Am5cZ+yLvO6qTkI5lzrSnF61/Sw1Df2ljrbbAx
xCouyP23rojHo4EQ4F6HMUsS6hkCpMUZn0lKLZ21M8NBpmcp9TxgnnqS4N1UB8+Rlh215RxqUmd3
ZVC3G6k1d9l4UubS3Kl9BkhvGIpNE/Gqy8bLXHNrewA8NTBFt2niHtQotPI9kkEYLjOz3xOVBDU8
OedGD5oHOFmsNSMaC/E8c7ZJEau3qT++LIj2TwGklE/wb+odqnEjqhwkJS9D8ChLWJ6oR1QgYrtK
P8Weg7Kg2d1NMVoIDrCFg87a/tGz/PkxrZqf8B1PvamVb2Nu4qqV+t/ykiF5jQ/8xQ9UkOJZ89J7
s/XdI1rPyq4fsOCgtajjDMMmaOr6cz2D6WVKXr7qampvUdQBXhUh26UWiy2ASSh5zq0K/SZV3VVI
BKMMVYLjxoixuh+XEkJJmAkMOAqEiXZsCru8n6ekupc92WRF4aB7lucICxOEt4o42JUV8kP+NHw1
WTw7tuoi5ZeplYEdCUocuyUAvHF9Zm5xEaN6rUL4NHyMRFUUDHdtVoAJ8tqB+XBTuBeQGiyveQTb
W1S/pn6KHodlA9ElevTV5BuymspZssoMk250F1HlKhA+MyxWa5zgsUEN+1FlJfQxVTRtO41jwAyC
gtj2gFalNvcyx1J0YA4+DUN3ryWd9zAvmzoDtmfTtmBXU2MtCPUs3WqlgyvawOqMOWE2N446ujD+
7ymJ5vtrCjQHyr8ObW49voos7wGVmWhbhe0G3VNj72iWuZumJkfjDTB9YWjmxXaAOgNr1Xa6rSft
Bit4ZDBwAC+9sLytoNrdNstmTdI+j0lBDHVA2siGm1bql3w2U2OrmYZ2kU0xBX9nFn2lbCcPlrsX
pgSbETV46X0Ao6499l+TIf9isJQOLhy6P++WCZ8ZZCJohaJCJaaff7Pc+TnME/3r1CSgFRDEeQnG
DNg1OlgPs8ZasjUl1k3l5v1F7+P2lKZxcc8j0KD8t+qnZlRoXFlq3qlG/1KjGnTnRsnDYFcN1Fel
/hT3LBw5iD3uJSkFLIW+Ir+e7+tx02PcsZmW6rGWYsoXg+VajmMFmyxHgXZLn7F7d7CVf3PS2byR
U9WNqd07XniCHIZTZ4Ys2oEPTrVbf0EbJH/CcE6u562NuX1ounafq8jabH0slvsge8aocCZoXzTM
lW3zBqJF8wnueX9P6PgsKYx220+Y1kGGykbEmpYakucY5ceDEvdFddHjwjUQoDa0HyIWy64Cg+4W
/bT+th4IK5cpaidS4KBkcUYGMwHNxq3QTaU9IrapbSUptydL1eVT5YAJW+6PPY4AXaploBcf7fHP
9e+kSe4f7aKGc7bcPwSnQeRlk4c/PW1mHEyUU2RXNlUww3Bf09LaxhYJyXeZUiwlHeSO3fAAcAYE
XoDONbH67+iH0inp9Ze6DsJTbw8BGu9h9a0sD1IeD2F9SHVUm6pZcQhYKy5u4cQDz00QBbfdshkS
dE9cwz++K+j7FDuZt8C34z0UhvimHDM8DJeN7EmeySwbywYbRbVYixr8Bv+johxyrb0e3Y2YA/5f
DkndAXyFqh0/nqbtCkRun8b7UiUauP3w66S2XGQqSr25TduFR8Gyo2m1MGBRpLyLlk2OwMSdJCff
R7Ew8gfI62pMcH0pLlWUyzdrJdnDQe+GD1/HOjIHxy5RlbCsPDwxJkW5OG8WUHyUpaT0w6GSlAu3
qI6eHITAr4fK1d4dkenmvisBaHwsWH7VVMaQHZ/mwv6SYk8Kcml205t2qtIbd4wAnGgob3YZ64wq
qxX7pAi1Z7UMh1tXr3/koaY+D3ahPuthfd/Rwd6zNg3TBdFBvn69gf6XU7f6jQ205M3NOBWLOeVd
iprBW1Qpn+EjBw9SaJbBnV/E9qOUgRTepxDqPuVLzbF+SwbNfNH8qHjVkrNU4ZuTPatNA/3yPqzT
6bYPtPRuXDaI++nDxkxqdu1m3tBng8ZbklIHoikLOb77W00G3EtdYpcwl9K3zKvR0daMditJo2+G
k4Fr6q40LRTxN7bV9Z8wvUK6yBr1fQSh8q3psUVQ4esdF37lG1Cwcmdnvnkascx8LO3xBQhN99Uq
v89u4362FLe9ZGWEdJKtd1+bGSCF6lj5IyI6aOmG/Z/AsduvQLb03RzjIm43/osG+AwN23YA78le
HLb7GWtY+MJ/Z0GL/KvwQ55uOaBis/m2HLx6j19bicKcU7xkimVfmrSb0NzuixcdxvQnrN83UqgA
Y3sBgfEZJq96J1m237C+4A7lUZIjahJnzZuSrSTr2DUfZ1bpJCVn7Ab1TkXrTYcRfRNMM7iEwgqN
mxqtGGjRtY8Km53fEXSPux1YPGQ9kZbdV/7gXKSkb31vb2qDRbvD7WT26XkQjIneerXqt3B8oosk
nUi1gSlE/Y0kbYyI8IHU/VtJzsr03eWbfy+pqc8e6a/zRyMG3+OPwSmMBuUpzVr1LvKhEYc+dlVD
Xj0C9NkjO9E/lV77msStegNYYXjS9ZZXJUZVvkrcW6kg+egiHkqlzu4lSzYmKkeRDYGh7nQMVwvc
YzM7eJLqMXS0x9x8apri4HZuhWFhvUfGvLyxJ6e4iTrIcotYcHmjqGyarnKRmVWnXezhoqXbUfMQ
ag5W4JP1gkJY+lW1Km+PbmZ5kiQcHSD1evFWmiOSlEYPlmCppvWTv0HTD1RNPuKurLYAxav0Kyjq
7Agd3znorH18tS3jJncV69kMM+euTCwAFku1dlJ/T6Alz3zatDuGdRpuROy5y2bWUn9LBK8Bv/t3
3lpF9iyl/V31unb8t+P1FgBMZ8cP9Tg396NSAZcuXKTvQHWZfIl+56r/ao6D/dY4I/pAuV7cZqFh
o2xcpSDihvlzX7lPUnU00ts6MrwvdZOrO7eOrbu09DBgqWvUUtCFfYWO9FNB/GofF1sX2NCtWvJS
uWP8vdMAiFmG2zx4ZhdcFNtJjlEaqs+oqtQbOb0zf1FLr/nZsW4EjMiM0WGcjBMx2xLV3dJ68mw0
x3ndHYQttXyTZHWBMi4aVbclfeqtXYa73tfjS404+V8F1zpSXK658EgAPyPjv1PnQI13Uh6Ce7yV
s8WOS6ZdQSesHPN8TUqx7mnJeODVjq41A01/sszEOqr2AHd7PYXlmDc28PKLE1rKPtUKHVuqwTlZ
4H3PeN00t5phOgc7yabHCR+XXd+qzStvowr0x3W+MXZ+QptH+dN4L+6QMCQdC+vw9Gy3hfkTTiJi
kSb9PK2PlzZLHEgqwbyvq6q+j/W2PplGNVwit7Vw9/VLbAk6B30swKp0fDAz9RJZLL/3v8bB+JpE
pvJbAWl5vVCWa0jFFdavKR2+h4rifNHsJkPtWJufQxttcIYowQMUaveYLaLiquKnN30aW0fCAemD
CxUIjHNjET+jI7P9OfxKB/wN8qHySw/wQQadxAibQXgSuObvDGVkvetfgmfLaNpPfQdmGZ3i5sVr
mRN2faU9gNvogOfgsATvytkRXPP9k64beFCNziJpoKbZzax12Y3sOU7NEiASCHddgqwL/jWfNGfw
XvLU+6JNsXJn9p7HPUC+tw7T+iLJzkB5Lnfi7qzHPcJUGuOyc1cCdSsa13sNIKRvqiFU7/qq9F+j
ev6qW4F+L6l5QYA7uvUgVT3NuYk0y3+UVNgHxzYt009mofuv/sxaYmE1z6XhOK/+cfQz52vMp/LY
jmp7dNoh+Fbox3qo7W8liCwsc6r6NARD8QWbu21vRe4n5pG3mDwU97WvIJ4fQN7o+lDbXPOWgqhg
xRln3YXJMh4RO5p4iRBeMyLjt9gdWoiphU7Qva4VGqM2dpXdWYcBS8H7btnQMKZdgzfyTpJSwIJt
cd/MuG1hWX0D2IkrB10FugHD0Q2xu+LeWDY2Urw3rmLc5U41fyIK8KUro+nbFC1AjxY+BzpQSO6l
+pd4HqZvYx1Z23HJj5b8/13fRXJpre+7PucBnrZtAhfBt7/Pv+b/1/n/d325rl4NMLc9c2/mVrwd
mLA/lcNUP+mOqR/tJQ+5jPpJCnImv9c8qYJQZPNULnkfjuXLiZyV4h1jnW+ibKyFbelVjXqgZWR/
5anYR3u5eVirSeEYe96mruEbBOWDkrUWhEk4X6NWD8He4V3f9ejY7LJRKx5kM5o8r6J/0zdaU+31
MFFvgwoiHp2UJFBoV2/bZSNJ21Ag3V/TWbXrma6h9fh3qeSvSTlC8tC2u8kjAG1r1vVMazql05tH
96Hkdn3vsf9Akcz7msBnolGV+dnz4ZLqo/Npsnvvu4EAHdFCb3iwXBfD0QS9lSJVI1ZfYRNDPD43
pXIwdG/+jCLDcOw4qwievkHLOss1wgw4X1+11h1O2N6932ksdC3nxrziQeeuvYIbsXAdMIyD3rTj
Ra9DNLv/cdi5mutYYQE5l8mXFMimR6t77wKygoneO2czNUvEdVr/KXMS5QmB6G6nnzxsxJJ5RtPF
QDsGEXLH3DAEgRcTj/VRqbL+yOQPWXzjT2W235AYGT5HMU7wSdf2D1HTayc1brOzP6bmfRjoeGIo
5fyWhukfQIfZHw4OsYO/KKaJOhbWv0/4yRyNsQvuq6JpnoplY6gMD8MCucSlgqEvVKQGyIbVlvda
Ci8eyWR1P3hFdy/1pRoGT3tMIycM0BCnSRZPdiDzeMn2yVOAWMceX8r0EdEhDCIsjNGMTh0P+KDV
91bQJccKas1dkkGqMEZzvnVckMWw4+0bJxuic4GU8Y1nRtaZsEdx8aZ5uGTVOJ4VNSpvMqPA2Mfv
o9uk8ZF4Ghz3NiknvF5rgiRRl/iHuG1VHBjU+uB6xQjRFdFlBKD6R9Ynyn0aO92Tj9oTusFgB+lx
QANVff88d1j9YO48vkQW8siduem7kKBUUKivDWvQ23BUjbfRddHyRvf0M94z/aaKpvHOx4cKCeo8
3VVTGKGEhX4c3yYIH346/0gad+/jR/aF1esGXZto4drP0TNY0j+Rrc4/lMT4QeAXerkVECgPXP2Q
tXyc/cE89ssZ3Bj/DnBgJRYPIxMqe0KkE4jJjwJcot6Z3z2wBkwBs+EGbdTxsU4cfVHjnxFdq+88
a+qQQuYNYGZUnrJGQ0gG8b7xPkathUH5eMpNJXrxFc+5dzTYtGIEH5o9lDvLH059OkxfTJu5k6YF
L27Bm6JNeYFsgDp+iQAA7oNy6E9ylB4n59oYtEvuaMOOWGJxgREUM1VdkMGWhyGH326uWeaEIKJU
kb13mfZSIpkfS9bqYyb6hFxgPY/kVZULD40FvG2GY+C9VbZYObZK99ZhYHkZfTVDvoJbkqG3Tdxy
gOmxJFG08/ZTW+BzuSR1c4K0ZFrFWZJ+Wmsb2InxBpMHSHK2w6Rg2eh5iN9TaU7lzeglFQ4W7Mlm
rSN7kofTOLUbHYjSkIPG+j8cNyMYVUJQ/1/nluS7Szv4CJwZCW3e5a2HyPXHqJwvWfqlmcLwhT7X
3xSxY511H25FnxvPquf4R2MIle2c85gdr4gf7ao4SUoOMg3vue0y786ylBPSRfO91zVQCtu8/dyP
TrUxBif43gbKC4Qi75epaYfcpTtAB3wbaLkeUQFR3i6L/xDMeEAdJP5RRXXMZ6dpvyx299vE6so7
4tw3KiLudxAFqrtcq8IDcqbzJjHV6m4tkFIGWH/VM7HkKVpnq3ZvQGRwbl7OIIdIxTXZ26OzcYaa
Nct/LvLh1MqYwBfS/bcUjCqCmctF1hNIMh3UE4tf8WXnDopz240BBkRYh+L4ovQhFBLdeTRRcnxM
7aX31QoQBmboXvNg+mKplLonh1DBnaNiXBKrSP1fk0seTt3DXbRsJA8IprbHF41VkKV0LZB6klfV
anYwB1wBJNnaRr6PkIXZdfFEeL+qf0QQF7xCrb9qwQT9rS+nN6dk0l5Pjf+cz3m/AyrWP+ldjBqm
M2YProGoSoyI291k9cOpAFWLgmMEZh/bqrOVemiCLL344KjRfZ6q1SFjrvuoorVLxIDodWrVCoH1
Invl14VbYt7u58RGAcWaTfMbnqJf/Ca1f5aWf1EJZAYo4cBrSuqEofRrUbY28n0EGVjQ6P6Mk3fr
53nx02ji74pJlJreEgA9qCHL6nHDMpFasJD0zOZsePXroUHTnAmElI5OWN6EGVRAKc2x8Lz1+7nZ
SGmchhmel2jKSenU2ul9rZjfkuVMrHjkD2ldPUtZbLrEnBBaYkwePZStqtzHOAmxH1hz9CB7slGz
4Ousq9V5zZI93FDDXYyPz/WotVR1MucYsxC1kTynCZGbdBt4p4iDbtd663XUIbtrzMK++LNO3TnG
lQom0vOYeCVLRD6LJ1qq3Xhup92o8KjgrEfaMZ2RipEC2YwuqkFbZalTK8pUHdZjNF/5Wc4lynb/
nOZdFcuJ4ZDJydez9dh0bHtnKnfX80qxn8Zc4l3N2VaULXZY5s6wPYhgy+mVoYYiCIP13YFScL2k
/MAwU/2DZ5pv1zxDfsF68clLaIK+06nnJmx3//qf1tp/nVf7lQXoNlx/w3IXZO/dj11+3PU3Scn1
ol2ZPcQIu0IVP1qtq94USzWp4Js1YR7ZlRLZTHL7Zdd0O6Qbhh8eK0J3SjccGG1gpzY2d00SVdsa
A4sggmoWNPl3q2gmNPTANPbq2Q79+eh43W9gudMuRVhRjX72eoJ1pGnjR+GhD+YN3TlM21915nsH
xkw3LhKmUaVHO82eFilb76etYJEddxulpiNHaNZEDt/1iDE2uFu5dfLGPPMECe/VbHpv0/Paoesx
vdR+Bbi4e9WCkZNB80MRO7nv1ebWieFfVqCeCOjsU6Jbhal/D4vhVmHVcyqwRJyQYCiXBb9CYdEh
ge97gkfMNNVLbiJFe6rbRHlUY6a8JX5Gj5V/YzIWwV5uyRrGHppUmtxd8zRMXDZzMWTn9aiASN4u
q5FcwjdVeZQCOGjf2xnGVdX2UDnn56Z6blJzeBwYCLVOjRZ6zpR8mIGMIF4W80OCV6XEZAWHHGwP
qs5B2aEdNyNUU9MDb2il97024gC2bKbUf6oHePxZceMEgwXqn01BtHgLx2w86AVaY5KXo8BwnHFZ
I2D6d143M5BA0lQ/VrjoFa7lP2T/w9Z5LLmqRNv2i4jAJAl0BfIqt8tXh6hdBu9dwtffgfaNd27j
dRQqlUeQrFxrzjHXB3AUXu00970E15T3cHEUNcz9sj4kuVUf3NmZN9cPWUGs+xQaBYah7t9L/73e
SfGa2L11ur7kao0Jl0wtxIV21fb62vXBMkOTMRHMxuuX/J9PQMyz5u7fL76+bJsV8925Ko/XX3x9
LYynjfR6K+jnlon1+kdeP5lkenm2JQDC9SWbtvqt42jBFMXpQ1VvKwzB971hJA/MzH9V0oTHybBu
AJHnF0VY1f31wV1g/YO1snf/vZbPY0mIG2T+TNdSDUtjaJF5PZwyO7Pvafbb/753SOR2qULSj+K+
88vSZdMW5mQMLXbt7v99TEJSs2urXPjofPl8XNvmeS2e0869Wzyqg3FpmBU1g7j3vEy7s5NztH5g
Jen/Pii7fR/oWp5mka/bQvw+pP8hzPjv61QG5ShfWHqvP8jRK0l2RXJP4N1wW1dz8O+MWuokQmvc
b6Aid3dVW0QPgibZg5lWj3UYqfP1y64PlGTmhlig+nD98Pq1BpT1wG5Qjl+/6/oajoocS0J2wx5O
+Z4eefd5aXn3cLmXk2UNH1HYQglZXzedYiRJKt2EqYvz//plEDCPTO7jm+tXUPnd64lhnZOF86+a
k/6gRZ68xyzq3JMg1myN2CXLQC3O/fUTRg/cU68Zzlw/vH4CYIq4bXIKRpI3NMixcc8o2bL8MWH9
zUb78t/XxvROCTPrnH1uNunOnVFMgLOMH2rcEAHxLNnWciCj+U7fhDvLsyCHw295APWcPIi+wxtq
ZfQPFP1Q18oJFVqzTK4P1C4LaVmkeZqLotqoI+LwNMJCwpXUFwIe/t9n64fw9V7Lniw/sjU89Hdr
tEpIOPTp+oy45oL59alfXULDKmG8Prs+TFeh5PrAphbh5PVF0LXD3jOZeKsU4Es1P8X/hFerzlun
7G7fdHOhzdKzi12ND/89UCNjdbh+XFxdD6MoXsVqPBpWJ027/glkE+E8klf/kd0AdoMGSVMA7u7p
+mA2vVoIOGpX/sb/e2rm3leSmTAwuhLs4/XT47jgEL0+TcHOgPzPUsYcgPMZ2kHZ+3fE3JkIkgzO
SOpKRojXo/jv08BezmtXZg/7hLgDHGbYF8RWmy0Ni93wMw/iO4QWkVfNXhH/FdjGY0Su46kaxjeH
w3pOiAPb9Yb4iGfhbdWqqs34MZV3ZsUpttf/97+jfX12fQeYYcVbEXGsNFLSzvpgBm0WiUNPUNtJ
WlV9lGwSsiZtN5o+7Cchn3P+a9tWOPQxdei8w5wCRktN7gKkXzQ7SFtMzKsprVwV1876Zl2fFUAb
tg1YEO67o3HqIFtEjWTQZdWQ+LJcXf7PgcGizHGTXgdC0TF8TStC+v003JrY/hJFrG0t+1JNrTp1
sZz+PVgiUafQXI9cMX8UhtmcsPw2J69sgI5fn5auNxrb69Nr9Or12fUhc8IGtZMHDWPVzldrHEtt
NRh0KDr+vydW7TnlMSkAAawe0fXfvD5c/+H/PhwKC7KMQW5muHqYllWjeD0c1dVzen3aLzS8ysKZ
g//emet5+t+H12eeMRFvhYGXxbuCE8iDtcr+/nuwBxHvB2Gfs1V7fz0Prg/J+uHEiGO3JN3l+lId
2oQ7RC7VyDXWYLwmGkht5P0dq+pPbnQt6aNWiQdsdY39e+oM5nTMgHxhkueYrnyIRhBjcH24fpgm
UIiNRPttKSmnM8GQ/WbpnJFUFC1VZ8etAouYrr5S8yYqiNaNyacOdLdhF2Pq4Z7ez7eXqyejXsG6
1CPkxlYEzmGlnxmdb81ixDea3RRVE29glDEoXer4ItHC3ETh4DNv7zbTXNwWBreI0mvswIOyetab
3mfJqBmh01msm+EIbmDd2i76A+5787BMJAhJl0xa57Vv+3InGMKgYh9Gsli6aJf0BFGSBK6NBfMR
ZIIBN1wWjfROmIb0Z2PWtqHWEwszmjvY/+DplmdL5MeyrunfEUmUdOK9mRoyC+d8B34p2doY/ap+
uMRRq2+4OeJMjqsq6DBkxMMF8Ct6kpSRrqYzeo1Smip4qXygbMluataM6N5ChUuLguG0v9TmRL6x
2wU1iIrOpdc4qt/O4cC4o0dUCt+/jN4lmrPUTwjYCstUh2tKRGli0K4edcC3FvnnM6GZzfibhjiy
dZRUvlpsdx/CutHq/tCbMQcBDl0iJEdaxHjFu0mgi5lePHdtXRIEST3WfTvcute1xTBgxzjyWGZ7
S5sxAmvo/YdJ21NRLD7zxw+K53jrzvj3a01msImQ6bgLtafAm+OCR0O+yT8eld58yNwHBQLpwMRT
vyCmJT3DJYFBL3mja1y6eOaHCGCwG7k6WVuDgDmF6ynWfvuQbJlW3axnkJnK/iaPlx+bT/plx42y
YZOtOeFtZQ5fTQEdyeQS9Y1pJKxpnpg3xg6JOXoqAhqilyrrSMCV+MRwcAc57QRLYApfMj33Zb8i
RWAtb5TZv4bcLwIorxtymckHLRjhuPwu2XgJTIhl9FHlzBC97Juh0XZF1IUPM8T1pXH/1jmpepEe
fc6jtutdNoKTMQZrAThKKz6jldvZXvytwWHdVIpsYkMtb15Dw4IGpKH9OEQkwjWykqNl0MnzUv0B
4oLrW3MehPH4NBvujiBc5CMxUixN6Exb2SFp2VfWGMNuadQQzHFe7zT3JdbKcmOnRbht85L+zFju
bKlVlyXmB049ncHEMO4ilfagKefjoH+y8499b3bG7dA+dhlRrS15XfTzt9Kr341+BM8CIMm1CD3u
xxcUuRawozT2SfEsNlSDhr/AX914BKZu+lkVm9SJD7bQ9M0Iskum4gWQWCMQSYL5yqmPGj0oU9JX
XIihujEcDCuy+dz8GnnjZxg1LVCn6jtd3hYzA76Wx1+Ic4ugM5+JUHwe0UsydYGWOp09kKnrbKNX
gxvQa1Pz4NAyQwQsQ/OX9g0IE/meTvZtpRja595FmHxZYUw3lk71z5qebkdSh/u6u4TLQIBsOe+J
55Wky5bxYf5Lcjb96qesHD6MgUB5vZ/vRUrlPywrrreiEUg0OoM+wQpdApkc0AwDNow4J/y2GgCC
pZ8jB2nT1oQCa5Z2rBVFViyMxu/3HHs9yB0a/kQKnK161xZ2+EC2Yb9ltJP6qnGepSoCqxxYCDQw
tHn+RsZ9HhgeA++u7ZNN1xWv6EUxOfbsoVWWkJeEelO2BAmvObEoo9W20/IXYP4PoNPcTfc6Sgh0
TZLhu5+ObmJ+V1r2XSTmV9dYhAW2kPl19lB0uPflNMw7t2BYkBho2d0cHVE8R28GXVBVAPub5upR
T5vbZm1UlfM6iP2xOofohYk/OEYq241iA/eu3SpNrnbn+m6M001SSbolq1C3idSxMrgpFGiEJPA+
WC+smjLyU+PYFsmdgxBjU+fVbZFVv4XlHJtGfnYJGy8l7mM3LwKh5weEKvSDwp68linEV+9Op540
swhUddCgQN8OVgqRZxqzQGqk0ZtaP280u1RBaGlfLmSjOBwRoifWVhAqZfaO3M+qfSLmjTF0IfZ0
Afb2QiczLp9Lpe8Eqd47N5boh9GsJDanmVa9eXqVnkY/it2VIfZntGJo4/nLvPR5AH/mKW6Xr0rJ
V7OaH0bpm4VsdjJSNwtozkxCnuvInzSkvKnAWLtVB2ewMpmoie6YhSEybbmfEi1wE7Lu3+ek/vCi
/EnWw0VJNI369BL3+aFDg5Mpzom073Yg2UDTjJcYcCCCNsBobW4HWc0OXGsDq+X6hCpv54emqyaa
uDPMOPjQQAPIrojsj7lXH2RTFxsn1547F5BNn5jvXZF9TeD0rEa94y/7QbaLLtbaL2NyHETxNGMj
93O9+lMPwMsTOExjhqKa4/EoCBHbV4wB0PxZ9I66Zc8AEphad4yG4YFMIzIEXfrjU+/8dKIDTcEd
loxtot5LAfIXgPJGExORl3oJtim/mH35kIHm2RjLZG+F5+2V9I7vRQegD9rQsVJ2D28/Qyw/I4+I
ydEkjf1MKEZ1i28YCZ8DNt3kiqxDOjt0hXv7Sy/6S6ZPbwN/FFu/1wQRBqTP/MVrtTMr3yPisnoz
DA6HPro1SKavbHPfp9NBVeGuO3RTues4LCwS7PyZHaoNs72E+n8CBezUtwldqkNPnpreESymvEtW
wfocrIx5SrmbEq7eyQ1/8pwI5Qx9WqnaVzn0F9Pr7wc398lzeKj76MMu2DdiISO6YcrfHTz18Emr
0Wc0Q8qDIPpz4dxgIgA2vqRsaI2JikZtXUtHYDzsBfuMo8duuSpuiR5tqQMSnV4Vl8vwKnuaykvu
qg0cnrs8Vd2mcSAC6gLBkVVET5XMf+petZuiz6eg8QYSIzEdtrF+HHXvj2NRRM4x5OwyGs9WR5Vd
D+HH0HPdLYO5k8C8nW68sejeQU7JAhB3UsuZhjYhKFG0UyB3X2EQInSKaKFZ9A7b0eIgOxxGIk8W
FnSjCAbT8TD8u+5mTKciKB67AkbUmGn6zrRgNnRt8ocA+D6Ebc8NjkrywfvW1TBcDEBk7Mbsgxv2
T5qYwW56w4foIY3PWoLuZfhoO28XjSBFu4SMYi/zgpwWQcuAI0cYH5S6xsVDEdaI1G8iOgKDrhd0
rLNDsYzukZDJVycB3sMdfBjrb6OnNp4nLs8Kvk6aXIRWkTA3wVBMOV2a5I/B8hPgTkLVRH7PkjSX
KKl+CRmNN8IYGCtZz2HnElRS/jUg17lLi0vCIBEsTFzyOcubIWrOkmIx6svb0WNoSL4IqKsbDEQv
1NovLkML347WrAhTfc02O4DMHdWt63GrkXOQucOaMMjdXBIglXZwVJvXzGy4OiZftot+Z4+FohjP
s41wqcFkjm4jSn5H+tn92a5WQpat4L2p6dmupq1h2orCitCMxIHtIId7bVL1MdGyeyuiICeTtjTt
cm/RmWqaZaKgjcc9Jm2rk0VAQ+hZxtFf+FawUzM0e7HRcAVw0mi/NP0+kyo7htJSJAP3TCtvixqM
GYh7sclR2x4WO2qDDiKmN6V+utg37eChTR1+bO1E1PIlIZi1pAkN8BHtXVZvsTLep6MQO71s3oEs
nIZygfhcrYjmj0YQXK08A7N+FT/XwqESQgPl0iTYNHpE3VklYCaRoJfuHtGSTTSkM/mpxNwjZ1wh
9mc6gIAcp5nMdmnuhDU/mbq8NClXYMwRzgShEkwlf2wnHIO8hzhcbGND7hOpPhZ1QjnznKNI3ZAL
0mwLg+NElPgtTgxkIwv7dYlXqZ/XFrz9qkHmW7VtPvSQN7M7a8ZOEni08WztUVRiNwK4XRepagMH
FSvUjIB6v9LlSP/IWNg06ww68H2Mrb+m1OZdaI7AkrGQQjRke5rn4O2oCG2Ps7/S8A5QmBCbGONf
ocbvkxhGUmb9WrIvN1LR7rehJrFu0kK0wQua+kPi6iZUOSfISDndaB5niWObnzRcfshQrs9jxtTa
ZHA/E1WUmcYfgH1FgFQGA6VlBHpW2es3bBN6xIFpMth3s72w4dIaSh0cY3SpA9LaBzXXQU/p31Kj
AUfdn7WEs61qxabL6+c0L7EjyRNgzGCpqJ+n3iPVlybFRubxfiJxHGrnciuRsNfieza8r7pY0gAh
W81pOjw45fTudNMXJNHDMs++NI2PSiU2tOQJRC/mi1C1NnySqfSZg+i1eBwz52HoXGwZaXEzugMD
lEZnkO29p3ZPon1hPYX9n0HooLphiJIgRuKO7oSBisub3BYXYUgu3agnz4k5Rqs7dzW7jrEqpyBO
9HsCR57NkVRMbyh3UTz/iUN7RAvoPDBQIcAlDWE2L2+u98eVGiIRc2XxFb3y+z6lwKbABF8XBalZ
BTMUW2LON2M7MG+I91pd3pT5M9g8j2FneOCc9Ns6trYqNdiJjQZfaiblVjOl5bunLgLYSdMP7QLZ
4N6A5qR0tlOjv2l5zqhlMPehgrmnQsLwcjBojTP40dh/xQ3Se9s6Ul90ZU6BMTkbm6qS3dd0p2dH
Kmkb6nBOSlXi+UY1Sn4NeQi5p/kh2tyysQzfddPv2YnfYuaU8zwUvjbCBkw9cz4682slknwbmvtc
MJAu8aHiQY22khyYSgxvWRmtHWp2/mHKu+bJ1ueGwKykNei0klen7VNMpLPMnpXi7m2T6r2rJ0qO
UfaMCTvGwzEh0Z7jwVD+rkMyMrK4vu2jeGcRJLLzZnWuM/NvrmHYjVPI7ytvqOm/UCQ9MxCvdhoa
lU3DFb/1NIe9ocelNE3dbTnvPCjA80y7HT1XE4RZBJ2twhbY4ETImWqlHd6/PKQXkiTfVZhfdEcD
ap7WJAuFNqOnpDvEADY2iJacTVuZ35MFdip/NqRTkrhlfDiGdnAWRf/EQ81j1d9VBeoUXvc3vJlP
Kupp15jx7QJyGLJvlvmkwUIhWO7amAjXe8XdlEsRw2H5iSQG6ff4S77lbegRsZywRhkEnRej8+IZ
6jy3wEjgzJElb7V3Yys+S94skCgPSeaZe22NXI7r+ZLbOtT3pBx2ScI+Taf2r+vphWsUGQii+nU5
lNs2mvd8H1PwIQJ8Gx+JFXrODFMLSMDav2AkDTdTE6Ie+vbUa+Nar/S2n5xioNpEmGovKM6IrsY6
cc4zj20qS1RoUfBybSKypdfbtMhr3nVpfjQGWqoCzQQN2z8VB29TTtaDlme0DIX1NjK3NKJpDEj/
WXkqXnSJbfEULfJg5BToIiKUj9WJCgDSHntY14Td2gwWQmNIwjSs7r04eqh/WHhDJj8TzkoVjw+5
YKcmW/w06UQsitDf4paghtmsyIOangCQ5js0XPepM14YK2D00/JbkUd9wCbwMq3k1tl6ND6j0v10
hu6l0zkxM/uF7ItHU5aBiMgpJAIYCjhBsvOpa7lasHWhED90lv429PZfzRnpK6N06yyy61KdZkzK
/d9ZEgvHxHhshtusgQPOAoAMboU3G+/hunl1teiyQCoEqX3JTLnQuOu+6kbtGkd7yYkk3jixNflT
ReGt26gZQs4WqpihrDys4kLf2CI/VWH/txRYKOJhAUqJ/KkdHp1cnK1Cdr6pDdRUJfJ7HUC1SjUt
EGs+7+AZW6zgRNGn1VdcxAfAFac2iXd6Zn/HbkufqmUKSJIqUYrJ3pzr20wSKNo2+bEeiUwd9HqL
KvwzMzrkoiYJ3XayTTMGz2mP/i0sAQfbW/6E8xDfOUmJSHi6lJoB30ka8QbTYzhZf8IeC0UY/i6l
9mQSJaRkFT9p2QfMxNJeTF+LdNRYk3k7wx4LrN74cob+aHrJYzUxWccB+N2H68GO84/ZGF+zEl81
aQvQryr+52S6nbPppkqR54XRJyXEJ8Gq8capxp1dzx9DvfrydG7kWuGhCFwq2OMmajtq87VTqfZM
8eLAmmnN6olJALxJNyH+8GwSKbKuvBQ5cUqV/adwJ8EEXXtfoumiNyCkvfLGZAkXjrvvq8r1iwnI
Xdlvkyl5S/JW+L+NXX/ZVv43rGu0lmb1UEBr7J2CxUW2pC3ZPXi881JO25D8eFROeLWN+ozP6NHU
RsTpOH9xWRzmCSxhTDZomuo09YZy5GxEc74IK9CZqcLgivCClJOv+/2iUpISk2y3RM4ZB+WnFM1H
vix3I5wvxmryhivkVWbQ2rQh8MoKDaYb7c029Z1pQHCskRaVLreYl05Qa5d9Y1tbG7wB9x+DPMrc
d02urnHRxwOZDlD0kYErdwCyzj9VW94f5dC8ceinbCwqOs7i8sbKXwaRBQSo3rdx/xaPjMDXU3CZ
iZhCWKLvIsmJgn/idsnDPR3xt9Dpb+nc3oWA8tkl4EPLG2NLCtE5F8VjH5vvhZKCjV5MWYufyvWg
PImeG2OZPF6lApFOU4bmcX1gN/ZIqPZb3adf7H6fcIH2R7D5ZCovYYDv5c2uL20dvlMeoMeIKVFC
GvUXjUFOaxC2Msx2tnUL84DKiLZeOluUDE1EPqR2qZxau2Wv+aoKervL4OzIyy6DypYTe3rl7YoF
FM0i8uxQtjdlpTEg4Ads3Uz7Yt+7mfFCiCR0D2rR8E0WICsJyYqUG53GZGLTCDmB2b7m16lNbPFs
7+euME5azgSrwYnAJMJho+bGOvYMYz/PXnPEHpds2pkMJmVYxR9t7oDGO1m3v3747zUw9CnXZZeH
gYOFAxB/bXKv6gkbd4qKLIM1/Um9uSIBxk2AhXTU7DfefKwcLOmYnD4kfWRDoD91rEE78P/sFoNC
dRAhnT4g9mxtXpa87fYjFXo7cQ8bWxqQSf9IvvDn0Oers4u7z6JNR2GM3t4Jfx0yO/05Nz7RkXGv
6ZC7pbqIyDnO37UBoGplUdrLyfgJS5eLhgq7CMO/VioGnxaRG4ANEJ4FxFkv+Z8ky5LbnJJpLdli
7Rw7aPhC5yv2zK+xQ749swiHQ3iExAwgnY5V75mvXgb0297Vs3bTrL8uWScwlkQ+NUG+99wX+Hlg
D0uSJZbSH+f0sujyT1Hf1akYN2k+PZYR0+fcdY9tLWhpOneZiZvccb9bZQPxj5r72c4f0nV04GkF
bUPVnoUeTX7XWlwRHinwuMpO5GOUQRM1ihl+H1BcT1zW1rEcBYE6Nru3gxXFAtgEyg5dQiQwnBom
amY5EBqjdpva9V2bjm+qWIMWVTruQ6v4nZKlu+khbUS0t3WbnbIVedxgZ4v5gGVtvVh/S2bnxot+
zc5iJtuSh+ay4awTt2R5TB+L6SW0EuhCLnu0OLKiDRbrjephOahK+a6Xsnd27GnDTHWfJrrxmnms
1rBj2d3SYlEF+VBGchYD3Rc5ilv22E9SL167ws23WisShBbRG4wRLOyuucfNpPsIPVgGV9GhQ+wQ
nUOaVIO/tj23o4lZ3eQ9Ntdp66IRDGln2Z4gU77LPFvMwna6Kz8XnPzFRKsyHBmugFDB4s7EfeoV
eziN3CW3zF0/k9LA0TQ+GTlAQN0C+TJWNbIqGlZ2/Z2lDeyXcjrkM31mI7e9oymOfdEPmzliMNUt
NJ8cJ/scaPJxt6m0TYnoocur+Bil41pAm+82FpcN3coI3Ilq7/WiYLBi2n+rdfQUfjR0WHwj06hd
+0tHzxKZbHuKsAYOFCMPoeSsLCuanYOO72S8HfHX+WhU6q1X2lDSZ8Yeck2sGRo6fskyTMzLOGEg
I2T7NoZSQXm3UW02PDRkpgcd8UYrkP9MX/4mshs/H+jbKIgaxkRbk1qqPqZjA/GDO0LciNBvhkS/
6Sd9V1BTbmYH53SykFgu9DuvFtZe6EOzgxB5XJrU2cis3MYmgS1LxM0hikR3nui3Zy4C9zRTL7JE
ZKr3z0zNeP/LBekPHdkw6dJTXtFWZ98KpzaVRK+MO1gMUCSaMrn0DvPTpqVpX1tKwxQLDzL3iu3S
W9yMp+4NRM+2tNf6s8Iat4xHO2MlzZPqpZSLdXDMCjWzqOaT6NaZUIuchvgNNHxO1lLX5uSJ493Y
ipjTQpsEBuyORiAXGtssab8UeVv4jlGGPsiVEi0nrtc69YlsKwFArZfkXa74FdnMJWzlre0LIdY8
heZii/S1lxzb0OjlIU0yBExc9th8XlrJf9zY/Er8RHRiIsmyxkhGuuOr7dkIi7PiAupTnaPqQaeF
whlVbkLelW2cdeC+u5btHr/bqOcdQSMjU2eqLIdZz1a6deWn0XgQbNyJFy6IWB1EuWdYbMGI2Xnj
TRUT3oJX9lOXgrh3M9yO6fxqTbguR2d87kK8nsiA2n1JEA1LdH+nkoUv0n4FKUG0daK/tSWHwHGH
U8QMlcahZwJGiWba5rL+ht/MIZrT+1EfNMKnXRwwo0vsRokxoanR05p06EzCRgYSNkvOZDsEt8aF
hOu/vhFzz3KjSvMIqKRaKCtszjlRG98qsj9183dUyzfoGcItAIXbzf3SSR0yTkgfOvwEvsV3C1Pu
9BwHBSND6DUdJhP6Hto03k7MmCUpPmk8brtYe/da4W4HoyVwLcmqGyZ/zjZfXNLxBDMdxl6+blDp
sM/B3EvFyr52D9hH+DAxsoDb9jG1wvkkQ53ZBlsfUSLJcaJK7TRY8OiQH3st13etew/jgsJQn19G
ZRyWTqcrrNrnfmQiIqfeN6Oy89XkGRSK+cJfH93EXf+eS0Zk1q85Jvcuu302wdwVx1EhNWI7MCgG
0LGnUbMfWnzjdxF5JFpFmDXhTsHUad9tNb5bEbleeXiTDWgrxfA9uTT065QWPOrKp56mAHlvHtzf
UtL8sJ7HkO1hCr1hi0HnU1vda7Ezn5VDdEGRpg+aqKHn2zOn3FJXmwopSmCM7PmclYnf1eWPbk1/
+1GnYpHTwWDt2a/Q7anK/6LdIL0S+inzXnbGptP+4T9KOavilPaLne9jELiIDYNMSw+FTqBzG1r3
Teelp6rj3LaaIOIgb+baQx7IENxoPHsb99N0W7tbC/Vs4CpB2sbwOc/VHXfYlCrY2oga+1xblehA
6t2crobdnn0HoW0I5Jf6O8VkxVYhfTR1L/TjhtZrXNkJz2ic5FE13JUSZ672Ra99+tCiA9NXHbST
uB07xmyLKr8cZ2WzCLZGbYewbuRdMfRlH3lLd5esDzbdtwIl7en6kswboozoPNSZ5L/t1giaUB0K
5I9ock3WUoLVXc2D4t+Oc1A3rMNhbTylQ5JyHuivHXiJwDBNx4+sgyulHYjFe42SWOByo6dddcW0
bUM2MsWEDyLdtKpqjo3qnkanXvZmaiXbsc1vFZIxZsdM56w2b/ZcPAQbu0MGR1gxq2USRwnHGotL
H0wF3eGt1XbD7Vi7f/KSA1ou+aaojfa29/qaDO+dy03frWGy9Iw3oI7dteFMk582Yx+rv9NgQBF3
GMung/FiSZSFdfdRN5BccHRRChVbr3XuCiZiQb2Izqdo3YZYB0dGrDBz1qCN6Sdt5yCUY0984Slr
B7UD/I1yMbz1lugmkuxV2JbtMrOO/UnL6McY08kgf4AiR/2w5AKPctx7w2ofmiGjDSOjl3xm/im4
L0UQpFtt/lXkB6ehZdwmtjUGfVlEOy0nGaEx3F/HRqNZ9C+qH8ONAIPsO7PuO93M+mwt30K5h9Yi
Jjv9dSQn6FLkX43CW6s7PbWfRohROUfnyaqf2wwxRc/JZXZP+DjOXovCJwrjbZi0UDwGc+N44mt1
nFCIQyfpPNPyQ9O5mCivc+Yv2zGSRw/Jzwmj4rOxxoxHtca0veIAOOK7yzFb4iOqaL7uVOgCtUnz
J08ypzYdMopggZxkNd+NFtMDW4Tv8T0KFFYVP5yW7WAi3R/bm3nI8j2yjOM8hnfEhWB9oReRGQqp
jsPPjOb5tSjtn3ZRN0IMd1SpYIvjcxbyFZydGoKgbpeJgbN7rc6Yo9zJNBaUs11B58Q6NHZ/NBQ5
6IV61ObFuBnQApnogHdVcihaStzes37MzBo2pexetapf6HNl3Aw4bibOzAbRU+vG555ZGj23T1P0
/cUgLDaN3Xmn9b0XdEvleyLmbEkecsgMfsRaX7V7sEpHNJPcyjPdxN9ff+SSOLFQWSROaz+RPXxm
Ivvbt/HC2W/up4b3RSSEF5K3vpNL9xFZNCHTdLXTp0zQLDKezMqNfAGijA4DE1ubwzy24w7hEyvs
Ke3TZ97/P87ftm69IKJfQJuWpn/n6RttYltlRz+qU3860/mp8/7VnbtHphChb6YanHyH4CwPolQT
sh0QxqreYY6qkRosBZJsIg/czVAsDVt+namzE1pnQGl/jXBy/aZEJ7ZOs8oeez47tTwgduc4Kgn8
4TRb897hCiqjal+wcIdSe7OG5Be4WUnnuVH7SkfWhv09bn9Kp3slZ4pudFndNWJnhNw5WdOhK3uH
QozQj8u/ZuaiTVfbwU2Q1OmiJpcB32m9xs9oMwK70Ph2zB8Gmu42XrwbhSQtKA3QCEivk0ZH0+vF
J2UvxiZN4pu60kittIqLxK2WlU2x72db3yKbs6kuJn8o5d6YVARtrG6IYGn+mPxgCGtc/pk4tWxK
IxydpDvGGK+9pmeF3891+hNXzQqd6o9WqfF/k8opJF0cyls2YWsG2jy9GEvsnels+Koje9y1E2Or
nPIprtt7ayAIAkw1f0YSTAVaV5duOX5v+0ZmbIUaxuV+MusEV1nZBabeA/JvoH+qZmKlGGIowp1Q
Tu2bXqu3U33XL7pxLotxN5VaFDQZRVndHarSoG6lJ5yUCe+eKrduvNwk/0PZeSy5rWxr+lVunHEj
Gt509O0BPYue5VSaIEoqCd57PH1/SGqL2nVO74ieIJCWLBaZyFzrNwkLkOsX6VLO6wfPxrjdk7Fd
AHGkOFK1dGIJunL7Je7LZdlWbAFq7ywpbPq7NPvwSOgVIWaUjicFC2lQ3826OOlyvUmceFjWCvvd
uI5M4kEaZKEYRRa3O9ee9i3Xd57GqolPoEU67KcDxiHTDWjurfMDj5R3gl96Yb+QQVn32MDBadlp
HEp9j21E76knCCsnv5NPQdeA9lC2uRcnK4XwgJmY5151JigP29G8wEhxAOual+pr1QdPICzZjqJD
ZdQtRI3UPKaj9uhq4VVnTVnZVrOOynHt5MqDy5Mcsui8yUiQYU25DEOikTh2hkE5U4teWwCjpGR7
bHZycDFVQtQcLneQ+euhVVZWXbMrIdjo4Fkwy6V4r/flhxu2H1FFriIcZ0pxjYum4UcD5c/Nvqi+
+RH0xo+mzdDrVxeaHOdrxO/Jlw0IKxSc2k3/GyFZEvZ5WhI8k05aNj75hvUSWv1GVrVt4bNVlWp1
j/wOdA8djE7DA9Go7Ga2/6no0rKQcx4YSEO0jr4yCp6wcvetTJENjL7pmo4PW7QlqHsxLSJxcZ29
jq6zKIdRX/u18uzgw1oUzpvfTIj4wN9LHUAKgHa4QCT93kjwPc1UAtyJ/Syj4ta42QnBoxbkVftY
tMRiag8ybGaZB4hjGNq5+TWByDBzxmGfNs4iGA1clOhCxmSvoZNCmtVeGXZ51YzkvazwKpNkC619
AGly++TohJc1B1qBYT92tcKGzViw5JKBRiMBGK7+HGHQCd0EeTFDK99TuVlIoFQLXEP7QD2ZioVn
KLqBITH3Jnc30yOPvMDrmEbGTPdTuOlQfdzCuBRadTTK3p6Ta+TYjWndTCq0c9yY1TIF09PZIB/7
eqc2ZIM90iml9B0lB6weia3OuhIFSXCpqsW/tiNfHscK51JrSwietTFQcp5r47pRmpdEJgSGKtLE
SF9LELsrx2RTwkaxg60ypQHRkwqQnZC9geAAu1+3+lrYyqop9X1jWeih5DhDRqzZCFpYGQHNpj50
uV4flCxoDgQgRtJ6nbQBPtLNKinvt0ml59dQl6Irx+rpXlRkFfxHdIp4bJouWpCu7ynz0pCr9a9m
Okp9u8TWsDiJKuAA5CEM/e0+Sdh5Ieu43S+NscqvxGGKK3Cxx1xGvENUadi7HgtH3tw6TL1iDExX
vFt/cZ+IQDos/U6VtqIfYOv+0hfY10+zigvcko0PoZK0Ne9M1FVmVc9B2BnIuPxVFwf2XEHU5yR6
oN01gHYJCWgbUXfS+/bXhbPdxdbT7uFTvc7eACmdjoTWX/2VwkTFQt+TJ1WP9+oYa7WjB8JITCrq
42zAeso3zpxFVrlauOcQT8+nwgU4leVd/SCKppNFkwfcuAz6sHlySi/eqQWxxNTrGp4ctX3BA2Ee
Q7+p56nVHzqZxVcMHUqnmnuA9baiGMZOuIbYoC9uE3tut8erkKDZ9LJljOpcpNy6ipeynfyVrIt+
EK/UBVg2jq7tEZCge9cUyYbjtDQXxQDm6aFz1OekkHgfsnzSCqV6FPMojCSUURZ7MZGRAuorUsdd
idY6NOYDmF5YNXF2ERcjLspVVPLTQirL9+eNmaF10SXVXDSDaM4uvGCwKfFgZhWf+iTB6IO6Iql1
nyeqhp7zQLomSKGu6loLToTY/VXW9fGZFPyEHMjzCxJ11iLzgvYaIam5qFBVeBzKwpy7sG+e2HuV
c68z45ea6Bu/O6N79Uf07KzYsL6kvZHOYqnJvupl/gNTWeiSZfpqt2Hyvc9TaIOh9pGOANljO/tZ
9+woEnIqZDiyeSvnLByjfHZ7djSzck+0CkhuggqNbobAD7AmZrvT0nvM1j65kB8kInZaPRYfcWld
LBD+34IufLNTv3yXOROwe6ucN5Xc7SwK42EV5B7WKI5SXDCTR1cztliCJsNlUedFOZTKUWLz0xbF
RTQonmKxSLj5UhRFQxkQHAq9WGK7w1S3frnXL00gZgtRrKcJMku1l21vo6j3+zXwes6AT5NHM7oi
8+djackrSVNQIZ76iPkdcoLrvjDa21sVDWnlNuu0Iqcluoj5e0kG59/65PuzAjwbjPTN2EbYRZIC
PeEWlGyawgixBM39Az8zaVlLffiIiEEwLxWj/prE0lE18s4jR3wZbdf/WSTGOwBv57UzVRsL5Bra
bGfFRFWcYielmbaz1M5ecXht+f0nKnlxrf3Sue0XI0PKxTeWsAf4B43ReEmt3HzrTTWbe143Xh0l
yFaOmSC3k1TtA+h+e41rs3vC1rRaaEUkv4AoDBFM8s+FHF3TUVWPWp4gtKCZHakJcoFN5BdHvjgk
irwsOkYcndYaWguHKNLjdVOgkhKnJLiSqBsOkaHVay0FVZDqJP8bXUkOSjOoa5RtvIPiqOaaH4q1
jyKIABkLLr+yhxTQyTqH2r/RjNC/sBthS6dY5ncvfkBXwvyoOYfPqtobrqJrYIwSUZm/uvZt9amr
Bs35KuPxvW5rg9W3iR5BT4V7vM/WnYu2KWrLhDNEHQHPdVvknb/ssAtd5KVM1s/tLola4awcuuNS
DcbuIi7Yy1pzDTmJlSgqUz+lhYnrabmxzlnaMO4OiWWj6uNt1aDob+P8kKCyrbrlA0nwjxE3P4Sq
iPSD9T/XuYPsDTwlToP2JsNFBYxlBxkYXsJFQ1V4AWinX4q6LrPdC7t7MPoobpITop+oszpt0Q3I
M4lS57vJEYmyjSiJieCnOZsQ9zzgzMwhLoZuuBg38xu614HnLEnlmuq2+d2P/MdCRdruJKpyx06R
dCs3WYmFeh/H9UJWO9AVBFDqlRTq/O+wg/SXsBHhY0pjRCxLrU4WjwWAAFMlsclofitXRYkAH3Hc
W09RRDifUNN0uU8hGjLDq08mKXU0p21kYLrqpLiDvBGB+1SKeRN8Mf8flZ5hyhtJIcQvBoqO4iIa
4KGSDp4Gj2MOfDxyzK03HUALv9SOLfGfk5cUwFpQDfxK1LAiyWNkZzVHqMIY4eNkDQlHzUp/pGrm
XAIP4o1TEE8X9YnlPCL3IT8603a3KKDFSH5D/zTbZTmqUMaA27Q7pMVS1Dc+J6KuyV/J4liIE/XY
q4akLhMDy1nF76RdZfFtmonbesC5NO1bpMwNaSeqyjCiVZRvt6L23t46ENfiRPr5qV4UP9UZqq1s
kyJadjYxVHyvhp2vDr8uslxdgoa/ddTBiye+ZXxRQsgHch7lX0nafRh6br5LVvpSK0q91U1NX9tK
6C+dREP1Aw34Fz1TSJ/B8EhVm/XUU9BlKuPgFcdLTI1ZMEFlSMtKG3Y2KlvuEGoLUOGsf2l/HIoi
+THkiHo2lfrFMyoZBGlmc2LvpIfudaMqLbKiMqn7mdxp3sZNUo7WNdQuW03ec0d5w59cuiKYne1S
FZnBwBoBJPTNqkjy+LWVSaINUqysJChcX013zgTJsnltSy9/UIoyXskQxLZZ4yUv9jBsCUam70qn
ZbCeXHeX+G14dXXvp3i5UbX5DxZ9drKypD26HlmGfhowvQ8QlOS0QrCBqenpa+Qkv4VIkh7ERUv7
5lDoDfBaw0biQOKUXgCQPGhqoPcz0Qcu53QLTBsOnL77Vfw9heie5PlrksTZ5j51rAEL1qW2XjYF
1IC+H7fotjhHUUojCGhWi+y9KIYlKBbgqdvOro4WCcF6WxEBAR0mB/OskMrXoSWvGqZ68WaN5K2D
Pq7eszh5BebRfcei+dCwH/1RtSaUrNTDwT4bZ5kNTWAmcZCfwtGOB78l6UHI2J4+0e0TeOI1POVJ
XC6zChTmVCWfBVhLr0Xx3hDFUoIPMjjLlnD3KXiRWmzENQSp97bpF86qyoH4dr1ZbX2teRAlcRFd
jKmfKBYTu0jvPOJltXUJelnapja8rgSWOqf0FhEFFfLVIpiaRZ9ScuV5HBMTLQ2DPjxWv3Oklx5u
Q1QlnpeqZ5xunfk/HRWcJYzSsC4Qhpjk92vcxnduUvLN4jUqIAW7Pq+71bwGh331oiS9utORI5BL
sDq/6+yqqRcRITCgO0jCwVxRz6Vs2/tCDcs9XJZXzsTGkwytCr0x85xXFpKyIXhyiy/iXjQaqNov
wIHkGzkHJ1i3Wr5OLfCuca15z4GbWcu8RRxBDXt4VNA7Mc9pobr1ifk0xqBsnMyTfqzIr7k/0pYt
qVbWxlPCXEsAstG+NzR/kYcxBCKQAo9EM5c9c501QzMex9IlcGqpnDAh2XE2R9Rd0+twJlotjUzn
UFvunvQ8AqNBEB/zyiyPFog1Uuhl8K2wkocyDY2XUsstOBUeciBjErzmEgGEqYP195HkUiuC6rb/
DbzIbaTJijXPh0o9k1si4m4V8VMXw1BCwDO4hK6LbpRSZ6RIYmvdDaa6C3lGAIdJGjLaYbZnfavX
QyJbR53PZ2lFkXbJYuzvAlmynvpJsgg93llR6Pa6atxxmCWTB0NjDcqBVGdM4BLVrakqBcF/yKfL
rV9d6hneFtKvEaKlHgYckjvdxYIQcjs57iWIxOZqao3/mJtoVgQIvS1FUVzooFtmc2VnP7GAEB66
dxB1dFB0woFEQLqt6zQ6zrSttzPTuDx0fpcsoySuX9Qg/C7+1Yr2MzA6/yPku0owfcDoYhpjI1W0
06cxsUVMoQz16mXUpvRB5/7Q09uY1ImVmWonv8YUJriUKE53UKqcnVIPzo6UJ/mtTiUhUYSpt4p4
NpS4YdOUiqbPt2yCtYXUBKu4L5IGkwIdHh+uurOKvx6VZ3zUBw8Rhpkh21zTqeJ+qeMAA2BQr08j
RNpl0+O4XgW9ts9SNVoGRii9QpI/dXwLP4ygPetVp73CW0hJi1f/1tVNmpPYuup+f86d4FfXT7Pq
o4zHelZEhBHf1TLVnmW3zJ+89o9C0L4rraneWhTnj5bPY3In79ZV6QJCGYsWZ/FK7nnGwvgnISrr
S3EbKQgCBNMld0IUJu2TjG7Xroym85q4TdGglfBU/XutKKMMXz6MGiFrZ5AeUsPbQRnR1zGp4gey
8tKDqIf4TvBUVCpJb6OLPPUm6eekM9GrMZXG2IgOlagVt+JS2Aa5MqsJZznKGb/6i5ZB8b42Tunv
Btb5s8dPYxP3BOaUpEjPbqqkZ3HHLvSlJpn6cK/vXU/Z2BqJezH0731Bm/7qW6PdO0PjoEF22PYO
4mIg9Mn3KNGXVpGgXVI3cL/F7b1PNZDu+NxHNJuygVhLi7FMAMzQe5IQf9+laS0Tn55uVQnEl7gT
l8rj2QU8yZ/d61rVHorDvRyZY7QKE3TMxGAojig1fZqHcCVJmqoyWa5scmR/zMHGyZqnQy+Dr8nh
aiHX1zrBGSGD9OzJfnou4sGCI+5qC2dQkz8bNnWLgN+9Ntc0a0GmVVuIgeKCtHJ6rjbl1FNUVB34
MJMtxxqeRoLTzOtIuvGAGUIxE0WoTNm60lBaEkVVhzIqwdXci2JgBgsekOpT7qjqOUr0J1HdBWi3
1joecuGQDq+VQqqXI4S1Fa2SIZ9w0hwvGGXrj1U63qZ2Yr3ZdWGTo6fEIDIewxJdIc6j09tSYtQE
M0PSjh2+Sq+qizPJv79bfXq3bMP8FZmk/vX+bsWUEe82qRBoLmDpr4USesLjYlVnHrjoSSz9po4+
6anfi0Xlw0RzgNCIVtEw9jEruyjHcvoWK3G6EaUhKXYslVB8YmXphOx1oQUGwRltt35REc9e9pU1
AGXyk7mLUMExYyuEdZJrkH4okc8SvW8DLc0HO13Yk69HcDakKjiDN/M4WnSXCP+LPQLyu0bq7VdZ
5eUHp4d15Djnoo2eq6k6deDZlBHp9LqJ7Ne+1sI5gfhgL1prM8QTY4hePAX0dK1jsdN3kv1aQhpb
pWXYr8QoVe0IRzZheHSk2HkZw714SVtq5T1Kr2QAp5dyw5BEbplKa1EcouFtxHcWDasqf6o8dyle
0qnJjSkjztdNG6svOqyxKLAPdayR8ZBlyMUYWR1wyrYOXWGQewkV0wUXqj8OQ6wjN/S7uZfAMNyH
jOM4sIgisW/waNUMWCd+++j5TfuI0RKhwxhwqOtRRPIGA5lueL/3UBr3uQu1+CD643pSrbUWoqUo
ltOEUxZ3mkuM6crEmKMp4qwdzVjXzVCe+hS+PRsAoPalxK9VRiSz0Uzvw780fpt94OGUgBP0Jq8B
HbbtWNsQ/bvw2TCrb44mpR+RqwJ/MYsvmmoUyxplwj3RSPOQj0qBB5JjfQ2lYiG6FjZ5PrWT7esY
4w03yAFPEqPsrmPutDPxeiYkxbg1i3c3B6ooFT2bMSkydhWkymUWmPYrwIGD6FqH6ltry3AQVVPh
TRHREX9D5nbF3OIc9dffEHGGuv0NWcKeSvwNJayh5yAtvgHfbVduEemrWI7GDeCAZKEi7PEsim0Z
pQvVl9Vnva5+tY6Op/1RlCO12JA0SlawncmTaFL4IuOTvpAHuTwChu+2hRJVG2ST0RGVgnhhoZv3
ZRjaVyDQ+k+72lWxNP6oC5YJRMhDCOWMHh23PFbEM7MGwYVOS9+7pPDX6GUlyN/FXb4nModl1HT3
qdgg8ozNsF7POQfQuyi6AXYENtBunZjHWNGWbi8Fe9JG9jwm7roU9YWtggWC6JzuNSNbZnWHZYTX
MEJzAoxfnN6+TdBtNUvHVUuZ7PUsS97rOljQqVSEHiierBxujW3pK8uybFEkmBpEF9HqtGq2I4GA
in5IggolsFVcesZBJ755MKeLKPpxZ+5GzCVFSdSLHkpC/oikj4UydRpCfZ/GdhkeR76RrHxcb+ZC
gB2m63OO0P9j4AGYrBRwFkII3RqrZ9Oxo0fS6f6tPo+teaOo1VfUNmCbtx+ojfMMA/5y8XLd3XhI
B61tP04fo44kRy3J7YfWyXMEoJt3GdWmBTKOyhHpVBzQmjhY9YVUvZSy8uyVUYekDkZZQ+q8GiEe
KqFiRfsmLzo8QLQB1f7BO3PGgIydehdo5d1eU2vzYkwXXQW3aGSXIQzMSVGsOQDB3MH/A2tZ6lG5
VUe2Fff+TVUFK7nmyCbqxLDWB4U/BE2yFkXRIAflD2TrjYd7NwsklVVlyQnypnmJC7c62a00v3dA
WYatWTh8v09TaVaxrkdIfWKQaGiaoF9Ese9CuWAiUafUaY/ZdZBsRbHNXHOVBjloCBlvHMczXm2O
dLvOAQQgitUw+EuUauSNKFpR9lyT7jpDpnIfYaivqroxXvPBg8DmXJU+1A+kLpDg9+SfwLDkdVjm
HGlEnbgEQVrt4VxBW6avPGbayh3LfFu36RtYYKjnjqsuFNkOr92QGmdd/dYQW4A4g13FFhkzKK9T
Y1Zm0VXWA3khkx1airpbg5u/aYOq7EQJKUXj7KTfRHdRExiKvGXT+uc8YZzJoCJqaVlabQuRtK7e
PDhUtzk4XADXLsY3yC/2vHTITIek/pVpAQrQe328l1z3VhJrVY/Kxb2t/Vvp9zixyP3uKcaRc+oe
1Y5c9bQA/u55e72pbRLc+Q/jnN4D/eh1W68bogPMxuhgRO61SYZ2gxxLdLjXi7tbXdGTMOtANtD9
Xp2WrPQzUa7G9nvsAczHn+HgJkZ2EHfiUhUDmipq3GAg9leDq8hB/0dZt4JNJnvJQ9jhQ3mb5j5D
W0nDUgkn7b5pfnERc7EpaGf/+q//+X/+9/f+f3k/snMWD16W/hdsxXOGnlb13/8ylX/9V36r3n78
978s0I2O6ei2qskyJFJDMWn//n4NUo/eyv9I5dp3wz53vsuhaphfe7eHrzAdvdpFWdTyswGu+3mA
gMa9OKwRF3P6k2pGMMWBXry505bZn7bRybShhmb25BD6e4jEXjtV25YHDPBa0UVc7KSw52kJ3reY
SUHnsFHBJCBeeWGkH8vR0G6XZFSOOkvrA7lhPmvUkvQjqPx8LSleM7v3Ew3k3DDQzAIkk/OAoKiR
borU7g5GmvQHcaf9vpt6oJySso0Dd+pzNDm4qrKtgya75AFQWlcf/ig5qbw1fGdY/fMnbzifP3lL
10xTtx1Dsy1Vs+2/f/KBMYDj8wLro8TG9WCqSXbsGjk+4m4x3cPershvTDXF0hhwJgO20SMdMl1+
VYelg2xgUbkHieTmItFlA8Gbvro4gVUioUBd75oGcFK59WH1/VXOm/J7EZcN7jP+SwFc/xSQDX+R
1Zc4qptnDdLUNQLLLWrtpg4PigvFUBRjhaRKr0mI509jDLgHSy+uSsj7jfEC1iKej1Ya70RrmkV/
zN/nf8wvafK2a0qIlq6C66nr1oh1VO2B6PM/f9CO9m8ftKnIfM8t3VagfOn63z/oxk5tNqxe+oOI
SIdeDJ+f+IS9xOFDNZCygNiHWp74jO/NXYYsapWmD7d+ftXAFEZH9MHXx3JPWAc+bMQXLjGHBtPM
qbK1J/ywuHVdfbq11F+9csP80Rbsuwovd7ZoVmnL1q7H97qeDRXx8BGDmJWcqM22SXT7yXCVs2hP
OOUQMVdzmJyueSyRN55XrT2+u1X01BNjfmIN+DRhDPzgKjsaQMN5H6NbOhr9ubUsf990+UGUEAkc
zr/q2zM+zyjwtXnqzloN5UdgLtrC1e9dGFrr6W2oKunlYmR/sslCUB4+0iFI2Af9VXaLp6FXFAze
WmJJdj39LZ70xbKWQ2PIbzLq/xvAQuataA7BMYXD+qjZmAQFmZFgmMro/zTrNLzU0EL456+GYqh/
+26gsGMqNgugKSuaYULT+LT8WYmUIqKFvEbO/2ueDJW5k9sgBeISKFxv96ZrGDvQ1/IceBgoddF0
6yCabpfSwHC3gypeVj6mg0kaL8WCSeq4WNu1D2hyWktdrG3XmYQRuFhmzRZCt2gNcQ2+OE6/kq0y
O/rQOI7irqma59Jqgu29Pkcg+taj+6tR9EcH7NcgUXQ4goRjdc3UlA1cFOD1BgeqTcYvROeTrQ8w
fqF55fDF6UaeQnLvHyOnu3WTRqs9JD0Kym7qyPuuCuWVayCvYE9FUScuQH4R9LET5VYnivfOokHU
3TpP/e7F+8z2NPOnSdW+3XO6tk9OXx+tSjVRCyPzLEXdq15yoNMhO+wxQnJQvJ12ZFKYfKm08hig
l/PeNGyLtqlXe1eXlRSw3oSLNMAod6r8oE5/tFYZyaYaSnUpiqKb6kAkzpWWGJyLJg/f6uTchnZy
HjBrOcOVeW7zXn5wmsyyZ5qZ9xst4SkmuohLPXX2zey56TL54V5/7yvmJITKBJKR3eYLEQNGOckv
5+YYR1ctGpRFX+HzkTtGeBUXNQm+jok+7ETJRVr87EZfREGM8S1UqMFTVLN73ad5+jSSl//8AzJU
499+QJoKq9FRFB5hpmF+WlwjsO+J62f5V8i/CQ/91D8I7x6C8ySmcsdZGJWR4g/42+7nU7Mo1rnx
VgEN26G+SnjBOSE70l5FIeLxuFARs1yLotQ3pA3c/sp64eZzgN8/iszy9m1pG5tBATHqInXdYSYI
0lZDWnnRlYO5KcLmNWAHwEkdZZGa5QukGHALoOjaq50SNRF1ppI5p3CQlD2L2VqUxkFvZjFpC6RZ
2ry6Dhj46ECfHf0Cfncp3hTLdgqF3/SXBGjaRzdr/EsXgrTJvO5R9CgRtwazGGdbUSws037oCr46
ogi/buKLBh1iIGO6x9hwUWv2cDTzYTiORZ1jKuXLSGI3wPt9G6D0QjRVkvzVyW19MzgYz3u4kG2y
AQcKr++Vq29VCD/IsUICbYDjP92FUx1KIeqBAIYy7KxIcR6QUFce1Ng/C/iBACII5IGot8IQtTzw
CiMKErEfOjvbjKzzKE0MJX5FFXG+VUtsYq3gjLVjr2Bu/RR1ixgtfpFfqdU02voOppg8f/1HcUG2
9xJFVnUQpXsPyBf+oxj1ew7RI/AQ9NL4xaMD+Ne6KBY76KU+586PT9WiaLUob3vtre2+ZIplVLS5
zcd9TRV3hX5oK7s0j9PvG8xptNcsIOwOlRszNLqDrGTJyrPj/tJafsCHaoQvjQ8mEK+h7L1I6jMh
V/enWX9r08EkqA2kNDNH9aOqla+p6aRvHoj0eWr62kOuhuFCncJvgxpah3AK0QXQrrapEl1sJFhG
/JipEw2p/Wj66BK2skQIezKVnaet6q3v2+8+jVcZTEG+BRcbAvL33zexF95qwr9upqZasU6Sj7mw
Kcf2QWJ/g/hd2QEzNSC3i0rEUXgTRe3mKzAZwSUIDeMhl8HO+U2NnmmFDsgCF0+HBKxRXVl9yks4
nGLJXhdsLvb39Y/As7kKRtaE29LX0tu3MbZSQm/bBRHMlhEYhas339CdR7JP8aKroTvVgyWD5y/K
tPg6xSFEj6xRgkVdlgiaoeh0NF2dhaCw1K1kY+KrsuPe5UkKLXW6iOL9UhbyutNif3uvasyoW2tD
GYwvChSptWF5S12X/SM5P3T0LU0721KIwA/C7OvW0mHqZHbYrvzClOeiWZ86Br0f7mXZO0pBEa7t
AHKe1mr4z8UlUulJmiIkQUgT2iJfHgBY88pwrdfCMr4jo5v+yCNoWg44Qdi4w0Yqyv5bJAV4ETWV
iwuwjnBtm5WPGVp25AWIgkChf8SCIljKTQTlbGrUgtoikuesRKOowjIIlXgzz7eiKMlxtzO8Sdak
i+p8PnbxczzFacciTxe5UWnVCoO8ZBlg1LLzYxTIZd1ETUDcikpxwUkIdfHpAqrbyGaIjv3qLipF
keXWXNt6T4bM9UFf93oZPPhB+IV0j3NyoTif2umO8CKptygflqKhi7J+45ZYSCjJiMi4G7Cs2P3w
RVVXBSJSr3mrujuvR6oSyB0odz0cX8ZUlvniquFVXDzpuXGB9UptEF1r9DZ3ylB+vbdrJQTSLu/V
hahT5erdzvqQjYLV4YIWD0ipdV7+Xhtw0x2QhWD5SXATSezmfFOS7/+hR+7JCMTm+hdNH7Kr56Cz
NIVnRSk0vD9KUxs7De3WliHgcS9NbQPUFRw5ExepkCY8Qz0gxTD93oq4Ste9heS7+L1xNqyvadXu
XL1a8SNNjkOtSC+GjSYW6gAwaav2KivpNo4z6QV/xH5faGSgu6lXmHc45RQ+JNOpNQ7BRvpVrszI
gTozMbWaxfFZqZvbq4mXbLs2W5cuyGFRDOGQrLGuD2fo3KENNKrEViwI/OmAuFWLPNhSAThzFRdE
qY59nhnoIVYnQ9NHTvFka1HGrFUY8mwrb5VA2lAmVIsIj9GQRxgCJMsA0vU519qUQ4vUnVBVEjX3
6ntXX8HbUTTEidJPXWVrouPnIOI3QQZRrPfRnnNQXv5BRBKMjfvDSmxEF80aUFo8GfUpzbjvc0XZ
If7YN3M2idIiK9ThqxYHD445ts+yZ5UPrWf/Ua/3WniA/v8t8RLtysNnLsea86T0hfMErnDuBF1+
FSUUtL8opFYOoqRihTJvmyLDv4aurQfjLZfGeC2KAeQx1BosdSFmM4dyeLDUCX0N42DVKlm4VFXo
sqNbGohlDMaptBQOnZDVvvHbu7RK5D0jtmdv0FnTUNrLisPgElDJ6pTEuRR8WDGxR5bg5tEdPZJN
/jCANDfbK5TqBsFfuoRRC3mV3UbcSfxHWr8+jAiur/95N6n/h82kJVsWp3QgGQZCNH8/qcPJTj3o
nvFXHC5nZls0UD2l6gqvNnrIK5RQwdDUV1GXW5XCoh83a1EUDSOUuk+jeknZDJlTS48GYIt0nNu9
k6Ae2dxvdNNIMHD0VMDYwDmga9bVTlwIuhWrzJDfR0mqdqlnIUiBTFG1k6eL6CKKSJAzTtzeB/8x
RszTD+XbP39cii5/3nxbPIdQGzcdRYeq8/nzqkDzAFDRujcV+TiQygrIoWk/oUwXcZf7MY/1QK6v
JdTN7T3Zd8sF2o1TrS0JcINIEIrMYaJqQJVbiyNQ5nEYNZXTp7tWjdVbXf/77v+/X6eWq9rwxrU8
YUAIGdhETsxwJ47FoujpYbQTZ2hRjIAq/1EUrffO97F1hvTip873oleVvBCqd3O5V6y9nWXZyR4Q
TYXo+yguMNxwPXQ0bW0Ujv8Yj056MpFa0jEi+wbvV0IzIK3JHrQqWtscIn1bjzgXaBqIvdYk7zir
+G9/mBHCbEnchw+5wpJs5mjywc1Ov3gDS77k98paFNPeepIyK72k6lhcfVkjraUlyFVlCI1ITb28
FcMREYTOHQ5d2A4vWvojTMb0C1CtFMyYPX2zmVqqk2CR2XL1IFoHHcswPy2fYZ73HCd4B2IyOQlg
RU/v4FbUpxWqTS+NkxbXqjWOiQfC3jBCdJW9WFmUvWXskjh3z0E4gBWJiuAbP443IInaoyaH2tZE
WmpVGWH51ba+SbXlf/s0EFvY13/+/qvm5++/ZpkmQVJTNVRZ1W3t03oxaqyaEkj/F7Nn2/GiK7a+
qvwQUo8XL5q2cXeSqbk7vy0uPvIma1ES9fX/Ze08lhtXsnb7RIiAN1PRe4ryNUGUysB7j6e/C0md
olrdp038d1AIpAMoFpHI3PszSWPhXTK1inII2QDSe66tu04nFYSG/F0KiwkhEciN4AXHaqO1Rn8p
CjM/I34yQ7R4uIgq4PntspVwDxJF0aCrzoNZNupeVFlW1+4rnNlFSRx6V8lRSCSqAlrfWYSq6y3J
/lmrDIgcgg659sIiE8l7GVyIQez7pUfYjnjK8BS0mrcpQgvgQYso4ErHrxZGs2WD5GW7cH3kxaMc
1NlK18ud1yB1avBaWoUTBQC048cBXi2E6BgBh1sDwnuA0KcR1jRCdE5z813RXJMMWA6kqPWaYidP
Zpr1n7NStIgy3tG2jfqlBRHHCZeio9TLR5Txz1/iAKJ4q0PpeATKsBc1Ga+jwy2iUGNbvkPOD4kH
aDeogtrSM34y33Tm/pMoNfUJr1v7CXWU5F62/BNWkdKz2vj9TiYvBmmukZ6VoQlWiIksqk7hHVeQ
gb0wV4f3Ff8huDYbD1LIofC7jPxLWOxEXZI7q6xOhpUb5u1OcqUGxY6h3Tmxaud3t7I4u/Wxp96i
yLbv6DvRQsVwan3dxPkEL7a+mz/dsifiTPcbKLYZjrLXHIrnVJ/6GRmoR+SeRpYHin5SyGTMzJIV
lDYVxUGuwd2men6fATndDqURWHd1i0NpierBl25hgSK9jFwwK8XR1XdRVfoncUD5Ozraw1kUiAZC
yrB1/zlr1HGTjl2i34kWK7D9uaIrqApMQx1+TDubjAEzTngBmAPeGcKHKOUmEjkecUhREockdool
wkDFpI0RXsRBzyFjNjnifVHrH9Jy+Fm5rfaETL8tSiJHE0rjp5L/V6nCLO0pitxPba2bqXNCr8nc
y81xi2SJvBVnddeP1zNRF40dypFdDNahiYutZdgYRmSKKy9Mq0Hx53qOLlG0SlDtRfywVTd2AQK+
Txrk4FHyXhXS4B6bLhkXErnJC+qJwVxP/fopNUjnuV0ZvvVt8CtkP/nDSBV+zj26Ocir4KUTsOmo
EOyyIi+BJxXj81JI9rvpV7/RD7dfUyfDVCRXkqeM6P3cRTDlP0TzIHv944LC1jRbZvPIpMpkSvM0
4X7KBkam66ddUVlPeGfJd+LV2+UNIH20J7YifN1LyJMCEoq34tUrWpOg+miVFXTIRettrGhFiHuD
2GJ+/6/G3wb4au2BDSnVYZcWOHykNdJdiaV7h1BBQUCcmQ2m2WyGWxXq7xTEskMHOqUaVDP2y91T
Dqh6hq9a96SzaW+aYS5J6knXg/xltINx21uZjOITRSKF8sL20E0QRdOzSNoWdXEYayV7MYxsBkMZ
tpcBaNurfXOt2VWxMlrVfEKJ7iI2gkM9Atuvg+oBzw9jXXlIDXl1aD2hjXEJJLNee4avrxGs28pV
lr4ZEvYbZF+Vg67hPoTknbFwMrN9BkT3LKLcf7omVfrRFZEo5drVRjI263JpbtSqddDhC4xzLCFQ
P8yaHWoLLPYazJsOqhomB63u7Hc1GS8mD+U7kmm/LL8336C6NXdO4o4vLtmlWW6a7RPykKgjOWrz
EIfoXRUNQQpZQmQL/xP9lKZAkTqr9I8gdeVV3+j13ux0a61KvbN1bLDkmpThHNt18s4u8DseTNyF
nCALVk2fW0dUEiXQIsN4RmPeW2RZ11zSMIvhw9r1Y1Wq7OXVtHtm4tKQv+iV18BC7rzKOwni0fjK
X1L+YAFwgGJh/TI6PHqbzN96JG3WRcef0wK9Pg3ZUNynefGOHpKCP68uIzyoFFv4ERPYsbsT9Ulf
W6sSm+9lD4njzfeMNUJi/mPXnHoebgAVQ7gGnDPeY4SLlFDVRj/0AnGxIsJyrYBC2phNDjUg9pYq
4MkdooggZz0jWWDe671EnfncOWPzS4rCZdOg72Zmoboe2NOgLxw1lyRztaXWyO3OCoeICdHLYY37
+QO2r0yXSCm9G8W4VHJgJ4i6ozgP/R0EpGRdD6KIcBAM49Lw56JBsRQgheJUTkJORafrqTMNh7ua
7qLg02VEZzuo8buRs3ijSg7Gix0ZSnfSXG3wxkLuw04e8cBFPk/S01+a/9aN/vgj5cVMTjKV79Vi
TNfQ3+y1LnnqWULCdtLQLt4rrwTYxpjUtn83qpw95YkeLRt+ejtDy7uDpKTWHJGunnB0KfNaDBPY
Kf2D4CgKpSVtWqWI+rIZH25Vt/pqVB5E6UpvjIPqeo2/rRMXEXfo2/g10aAmmIFtzC1Z8x6btqiO
dWKfVSn0H0WVadTbKlKGE0aZ/qPtlMncwKZiJRpDw062ekgyQBTR+SIeZ650Sw6rWQUhHyWKoxaP
9cmspRpxVKwvEWYm99Zie6Ig4NpOUS2yyyFoZac6FRhKPqiN96lbM7QwJ50XLbKGdU6YDs9bks1q
YZOBNoaPgygm0cD/H7CGOeEj7ewqGWYCwVY2XOKVogpdtW+a7NQfdaPJg+6iJ41oHgNYZeS7/7BA
V/8R46DbumEDLQE4YvBwKoCJ/vF9UgC6GLMwxUap9knGLJlr82032iuTuNt9MYEtRoxTHLv+KE1t
t9LUJnrW02u9/4ee/zxO9ARbrz39ucOfcUEklauuTMc7PAlIp7hNR3rF2ctVaxx62xyOokYchjgf
VhIAqLsvDZUZswsQgWLbTuQ5BHeouoZ7QMwsvPCAI39dumtREge9QlGTiaKcKYYPYKut7QbND3uA
U46HlWnZ2FI3zskaAncbaOF9kIbOSVSJMykgXdN4I9LhfxqIbpVLRK3gzzrVAgaiihspC1ZQ0vkc
Xjg2uVZqPPgwy3asHyL8L9T3kjjvY6DYv0Ykyp5KBfX0AfWereJGxhHxQ3+uxl61ybPOwSrM2xDG
MC5o8eYPUZ6uosTMXsy0C/dGQ2xQFCGbq8xaqCWXfZq/DKMazKRJkSpvjlKcAlUFcD0nGmbymHdG
hskL1uuVfowrCe0IcEeLNlG6bDWM43dDRUVwiCDkEZm2n5pcvWgkW38kLSkUpBrLBxMt1zWQZl6u
/9yD+CX6Gsi1rMouV5Yj/sU7U02SA3vgfIErR/LMu+ynoOKo6ltTN9UZ2rKlr10Lby5Vzw2iN7Fx
7uJM2YZESpCnrIxXGfkyvzeSH4oEE0v04NPL22aAFWaZpK+qHGEXP4lYguf58EpIHZBwyV5ZzYPg
ddBmgWR3O1csU1y/8fbB0O972Ssw0iKLUkvV5KYVork5dOpvT9GPhJmj9xLpfMwWHffFRmFtxqI0
ehzaQJm7/DHnOHDqZepI7cHwk2Hd17K6HYLW37m9ka0zGy4o4cZ4GZZecM//WDNvNRLKg5eY1ZI1
+HjQimGcZ2qmbTxZGl6x7JpZee8QM3fLQw8WG2856nUXGyTN7+k2TVx9gVzan25yVCDbNM1gwEe5
Wo1bgugWRZhyRc5vXu3Ri85XqGhj+ebFXbyITRsgSViAPlYid+bFjfqOCnvsyeaPQMYdcMQg9mR6
jrqt6jLgw6rFS4RDUGJG5o8kjn+lUlc+WkWR/6elr/GPKKFpqnIUTVcVwmmyoSv6l6mq7iPFwppp
eJKNxIEt9mxrDRNvin6R0TooG8ZR8ZYEYX5nSnVzatHCv+9V5UXUR2OEYg7uF3mJUULeRxuxERHF
oDI+F0WrmdW7IsjvndGO964SdEu/7BFcAZE264l2vGnJCMc4R6vHsTe5YRW/KzP/jsiU/SLZCkSN
Tkk2JH9+13Ul7yS5InnTIK3uW+ml0h31oZzqfRB5CC9qw7cWmxdkgDqZ0LvY0cMVkZcdUrczsd8X
238SXP0hQLttY8aWXsPmkFHQMrRwZcUtK0sDJYADNuTlRzDd6pS5U7st5uUpkDxf7ru9KLte1u29
3mjISqB8/qVBdDFzkyGiY40e2iKxe2C05hlV+Oq+TPXyvkFSE9SReZbCtrr3UR3bZxjEzHNZlQ+2
VSORJk+bIVnO8cUJ+p91AEcWyulvyy4uoWtLrwkckFkUlsp5tCb2IrLhpC//Gg6582M439x1uGl4
+u8SPZJRG7wTmtnd2gr69IToKEwZz0xfyzJAU8oyk5VUVumrb5lvjYshelCMwYODj7moHpzUXsdR
5S/EoHRg96erpbvHfK9+CbK1rrnJqwMNfkeWuESblmIvDQ/SmJ8EEjwt3aMVGsWjhzLyrlOQMhT1
XuqdXKUqHjWs91IHaTUUqpZ6XbMEZyW/r4bu8+FWh4Rht9CzUrsTXW4NotjYmPDm5CXmaVcB/FaT
+N5BKmbBckPmRTk5v4UJjlAF4sERy8JtAnJhp/GArrWwaQ5+iX6G7LXo+YTYBg1J2F9Q/XVnuZ1W
T2hMu3eAu5pX2UcLN0HV+rvqTjngPENapVoO+MyhqgSS3fDwv9EG966JPPyIsF3boQ1e/2i84EFr
xzT8jUEHy9Upf9ZX5AXcJrqXp1JmB8hHmtG9aCOjc23TJsjwnzaRk/vncU5U+vO2S9WFl8PExTEC
EZoMjJs+8XQn/Ow2y/0WMc6JxIsnGGTpOK/dO36RzQP23huW8d5vixPfzYI3YiEo+kl9dIydWNvK
GjSOJFStB7skiz3J7/zC6YynH/inUsjo6KbSxVZgWqGeHGx7z7WPXsF6s1Dj4S0rvF3gxPWhkiNt
ZRHJuyPw6f1GMSFJUUPBfvUtI7n8YjVRPi/sZjxpVj6sR03NN5oLPTWSYkQdQ+D/sV8pO61UgoOM
xv4C0Ff0onUxkih8JlAuSJ/o/vchshR2hoOP9WTPTFPAofbKVru3/AiHICyr3q3uG0tmdGixOu8O
QQ8/CVxC3u2m/GSX+j0KKTSACPo405Whv6sN6O/yYJjntqvfytzpX1t7GJZWqhNrnBAltaLP0SB2
Hoe4Q5HZzoKZXOvBa5Nhgqnx81iLojOWMOu97oKlUo22R/SgTr2cTIvXSQ0nR/QieEfkU/J/pEbX
HMkn8FXkSIrfQFIjoupkmgNi+X/AVqj/z3Ea6k6iCtEOBI8wYyJXoOHJ0htbckHOSs8rZgYZdR7I
eM0j1DnzDr217lvt5fchvw4PybkFoi+Zf4f1zW7QWu+9HpUGO/dAf5LH43VhgKsqE/Wzi2PLS14r
47pJUnREp6LjIKYu4fqwu7byZ3WpZx7//Trd/Kd3n6lpBIhVw7YUR1atL3F0BaFZczAL6RHmIjY9
LnbyQzG2J7lLom3VlZOPup89uhnLEl1NrJ85uECv5iG+9R0MsKsDUjmFQXfIiij9+fFdnmnmrXsi
2x+XjiW0ga99p0sb+GrcVW6tzvBotGI0AbHDieN4VxPx/QXvYNs3WfStrlp9hiJBeoZgoq4z9h1r
3IIgXtpTGBTLjW/JEO48FuViELZNEVFQcBojuAlBEMiNJHhEHOpOnbLzfoe0W9SR/J1mENH2p4Sp
2de2aRwoF+s/4FCBzH0JvE0iIJrBq8fU+KfLX2B0hG9cHTih9aiR2p1HzRDlL7GB6LI/RiuAYtUO
PtmY48DDadmQjqynw7Ul1QdnJiq7uCITOQ72zEsMkKTmeBA4FwGHEWdfMDFfil1nYCcx1rgE1zxN
G72ZTI7Jpz2gmMei026bnSIV1h5NSaS4TUV/ChK8dKZd0K8kx3YjM36KQYkUMMjCVwrFz49BVeTx
WPq29mTFOUv9+KSi9Puz6bqFrVY8JYWXzWCnpL8CrCgs9I9ecQND6kCTjQusSmORRYF5qJHIW495
JG8iOfIPBnCBpT4ifuL4+rPvElCLAdnsCdFhcz8FYaRk7B5T4IK8K7vhF8LVYa3zAwGPB96jRdAV
n6UF3tEfgwiEB9dBbFuLP4MGgRQosSQqIc5eByGGXO6nbdP1Tq4qdY+ya5IiAQC0anVk75El9IPn
sfa+K4at7DstCrdjHjosdokyVi5r2arvvbWIQRYwUO6MYnCuMcgkAIgCMOkpxz21k8FvSpKCEVz7
u4rb4Rtkqn5ZEk9Z20ZoTdWFFmZnT49eMQBwj0D7y01VqS9p3btHUSUOougk8ZLAe7j/Uq9Xqjpr
kq5cpMMlatCgEYB2MiDlXpzdDqIu8tp8HaV7Zii7Zd8mP6S4rGHf6Rp7ZUrtWiZ4WtVOTazETfVJ
tA6NbOxL58Er+2qjJpH2Eo3OkiSd+SD3ln9f+t1DrPYkwdBVWyvwkmGPq9pCavpgmeVluu6Iv8/F
U6vYQ7p2Bru5FkVrYiKbowwrI69/G9PWrHdl8PXAuKiiKIXKoQD/eXGzn9pgSfsKP+qDWOD6yjKw
5OJwXfOqNmakROfVdk5wmuUM3mmLDus5MiU+6Opu+MYu05sPle/v89BPHowx/FyPC9i+T43kYepv
NInzpqv7eNDsQ1LL6VPU+AtdfKIgyTcs/e15p7Xy2hwN/gMSH4GhuobOG/nZk1TjDzf1HdIm3yTE
h2ddpDYPQ+/nq9zWwqVIFLpRokE01/F25St7ScNzLivDRL14vIJgwHpp81HDpZS1sbVN3EbCCb5m
exnWxatRR2dvinW2Yb41EYd+6yI0wpAJCU6FG7gbZGmrVeA5+iVOY0TBwar8rPGTjKrfqSsbb2l2
IRiMwcKfE+SGvtR8boIjlCKG86lPWtTWG1YxzyLlAPZlyhHBOBVJhbQiZaQGOGSJ1rbcAL0c3m28
zwb26i7/nTNYjfUxxlxn30AhX8S4zL01SQmDHC+rJEMnw1Egy8cskgACmpA84SE9JXX7KHpgAM2G
NYif6hxpdQgkwUbBGezSTME30cNCJj832uGQM6fNMQOvTuV06GSzm8t+osxtxUeaKzJDKi1Tw7vD
Cp+SPjhqalycxcsno8SA/Cx+xlPbrYT6zKfSn3F4LrX/4eXjyNY/v/8nuA2ZH4VEneJYE0viU9pH
MySI1HI/PI7OtpSUrtkECZgkx9HbObIG5k4QI8SZ17hsgHQ1DuZh5UpgyVp32aSuAdi9K+YKsYld
gY462XP5MbIi/DuYqlbIkoRL002JCk9gYgEyDkevOmG/ixFLDrlIHqudycz6DJXnObUj9SRKsodJ
Rxo+RgFRG8VM3S3zNr4VqWW8DfDALYBy97lTScdobPtJLUw9Do6EsHjU3/t1W70nfvPTQM/9rSSy
BnahHV5ChLExEI3P0eB1xyw0clRh7OxYOpa7DpWu2pTsTvHmkuCqFO1Dr8rjPg5wZB/V9mEoUnUW
4ta6NB2yCjnvup+OWSH9A9ooUkKMed36fcAC4ZLoCdpnugeTS3HK7wpPe6rm1os+6Dhq6Wa6Mou8
uffN/BAD5X2LE0SNJ4ChXHf+bOgy/2yFxX0n+eGm7wNz56ZwUcSB1ycIRQRYWWd6vEKzLGh/dyrv
WzI0QeG8+vDNF7Umlzv0y+oTKTFepU0wLJC/KpZl5OqnktkJAlZhL/GRJflgOz5yoE1kXWwXIVFg
cN8VADOIok5eJhaWaSwulplsv2BL0r7bdpDdFV1ZLcKxCVcmrOIZM0D34piIdZS63/7wjGFVekXn
3zXaY5vqzm+jle7ZSa9rsvPzwYKxMETqrK4VBHUT314hGOXsMiTU16YtbVEfThcK8jdjjPumDLoa
VWCMA1pwccvMbdiBp/VJzcHvVYAO35uoO9skW3+RciJmYzkzRPmxJ0ZHfouGAFBuwz/SIcFNLGt9
zCzHFtpCvO89P7wXh6JAvluKgPBNVZEklVhIoBsk9Ic6a5It6vLX3s7PhZnmjwBvH5XSiU/Qz+Sn
TFKeM0+xjmqYV4fBKM8QAYD0Y8HBFu5XKDfpXg68C2ZMw8azkkC/K4NM30sEoJ3FiLP7W2cSNc4b
uVyKojSYJztne2iqbXdszLrHNzdN33QpnLxXG3+nOs0BmKYN/vkvHo7vcFb42s8o970VxNUPfo7g
2EQEMQnXTF1E2fGrb5KFy0brDk9kRtJTEYdPrE6q44Bc1ozlk7LFuKd9lm1maqDhyYogyU/eu919
Yrfaoe+ttRHrPkqQZklATweCPjXi2Nvdt71lbfMxeifHSI9OMYaNE0Qg7UQ5UC1MmitMt/AcaBc5
keVnljHNAug9r7WpaGomgqyO0sDoGfNl4OTDrKsrKSMVp6W766ml40zjsuKyZ91UG3m8oGxVmvlo
J3a+s02r4VwMoXGyk3rF7nOhO9rPrMNATA7r90432vNYJ/lkAFAuy+BtLHkOQ3Y6QxNWvzv9ATHA
7qmKfGdfuCPGKbiFzPsIT+EmZEoPpMZdy12Q3OU8zmeMnvNzOp1ZunJOmPR3oko0tlmVrDrU+Wai
CLgpOUpK+Q7pcpdNKmVlJLebrsL1VRStwBuJvEXfQyk1H4Nm6C4JVgXxVMozGfim16JLKfcSpmcc
QJN9nMWR1q5a3/x+q7p1u/V1tLwgtcHd/4y0MJEExfsbSVp72xdVuLEb19kRv0zWga54hy4IqpVf
atGRVCKeRrlWnEa7tNA5lFGd6byzw5t5nSVZskvtsd76PP7rJsjsvZYNeLIO2LX2RY3SOriPC6YQ
iCnrnfyYx/eI74M6sMcEodowXLd6WW5Cz6lPiAXgMeDE5Zvqpge54EnHzmzTKGn1LSyx1wWpl5w1
0q5rgFTyus2baFZglbNQiKJuFJOrdYY0vTIQ47Dx5vgOlXmhyqX5y86TB4U1xKwiqHjuNGnRYW34
W4dU5jMXvnktn7Dzo+yMEWWzLof6aPMorSLV7la9AVZGtmxiC6avvshG9a6aSfg7NQ+gNAnk8jCf
TXLPb5aPjn7RKtVlRDd1WSDwvrexmnNCcoKuJ1VnGEbNLK3IBBQYt+F0Ef+S0Sy9c1LWJCZy2Evo
hdluHDXjgBiVMvedTnnVkaIlBmKTqHQUpuxlJSNXEvjGiIylXGwJU1rAxbtfcCuYKMnasyOuzPuk
asKdFiAQbiftcEycaftiGO+hknvQMuphrfh1szI9lkhKMNw3oHR/OMDksJ9JhsuQICQSx0jIlmnb
vBCeIEFCj2BaONtFltyrHV5CTV+tZcuLN9aIzKgyohzH/2W0GuTaPDk6wiJBV3hIkEEvHtQAJfoc
OH4fOO6joevV2UK9K8rDu05Dk72YVFX7Oj4EY6GuyCDXCwHuwgMmm5tdUGwE9KsJJ3AGPNqjaK0a
lHUsQ3+U5TaFrpoRMsWAzCjbeKbpbbdpGsVbjLaSvkHE+EXWpT8XDtSOTPN/BtOca+Drm7dSju0L
cVg0sMxNG7TDqm+j9OKpnUO8sql+mA4eRUiE/sJl+lchB9ZTIesjisXRmz3g75qlmnNOpsOgoK2l
hvxQsetQJVRoEeAdSytf+G7pnEVHxzEREA115+5Wl0uYfpQGE8t0FdEtNnrzbF+vfb1YbCorD1RD
240vaK36CzvLU6jiBADhDLJ+brV474TONyvSnEOgsb/2q4dR04KZOqr7sXJ2elK6W8ux0eWDoDIb
B18BelL3ayeuVCwP4+GUT4dgnQ5JumRzHKxzdgpzmPvqi4mPhFb2/W/ycyNIZRYq7LZLKcbrunay
RUfsm+ky9kacM5modcm475lH1vIghfO4MJUnM/SstRvhf8pPnudViV/BzMTz0a5YcMm4Mo8u6JFE
M6xlaGr9vDMiXC7kwdpnRdO0d6TkHgzUDtei7nZQKvuvLpWtEldDThgCToWVWVW92FVX4fWqB89t
mWXzNjG0c+T4bFHBQoDnXoXaCEUAQgL4nthbd2rRYcJcH7pSYwtIhOohIc90VyB8uRF1SqKZd+2I
jDEMrjMuTtYvclFzzAhr17MvnsYqOVDl77IkDVDMs3GrSywEkW9ndh+m0EQhdSwEo1dEq+K3TvYB
rAMHmoDLNgFwfwsqvd01o2bOot4uFyYYesMPSEh6CTaaeZ9ugjHlechlCRulEXML33Evg9VdPNM7
wI32UAkPJQIsUbNCNT67J54GJVlCMFNSagkmBqsmKLXlE8ZD4aEnrkEopC6fojyzj06kP/L7QRZz
gM0DXdZuvOhkNQR7hvTKohV8sIJd3LxoSQALUq2oC9EwONb5D1EwfV9eZFYXTRKU4znyXJhUSt3D
TNDG87VONsyVGttgL6YuooHdgn4ypL2oyTvktGUDF99aaoBJOFaxb5r44yzW8miRteRd0Z+oJuF6
+lxPmYn4XcVyu4x5Ex5KA8tQnHhQ+lYc9yAO/AycTQPTCmuI8WCUJi+AJLzHmgZfyoxpUUieKmOP
8xffzMaYNE9FXW1nWzVCrikLbXVW6DC7mtgkC99Hq1HGlSsrEC7SXe0sD4Mx07B6uPf51KvBGuK1
xNayUL0RNtowhRBOIFjnrSHrvKZBbjq5Chcn1N9aSH0Hv/05aBmJ1gY5EscmcJsHkbWt3Iq12HSG
8lOVXitFWRxq60iWd1i2TVAvCJuSoshhQnZS/OZGfvTNkAjyY8lQPzPfK7M6dL0HsCjBQg9L92TK
/CiC6DubKxLwDY4xamPwapmK4oBNAahawyE6AK+NJrW3zG2KMHQXq2etugR6BbFRNmMo5nzBoRNi
MCc7ZbxxTcyG01FBUT4fiQfokRFjVCJp9+JQ+FACWW01S1wVP+rKuoFh1KvFpo9L/dqvU/AF6wlF
oT3sLHO09dFfVfQtNirjneMO2aPim9Wlq7Bu7ZPsUbfahRPJ0v20UHebSnnRQKzuCRC416KRJ1ii
DV24TNQ8RGCz7aVFnvnYCMpxTC42+4FTXrYLU+QZedYCdsx6f2+gBIS1fTyuDMe1d1EpPfsh8j0d
DEm9KatH/GjKxww0Uq6h3pR7UvnoaB0iacPQMMNStMkDr5SW0Ixbu0dckroD1C33mIbmT2Ucwxcv
CctNIGOWVDhehLs06R69q4K1aIURgXOVr+egV2h1JWNOxEV6kG1dvvD+AMZCdW+18BZ9dB5MNpo7
SxoBDLaGtja0ChU0VzZhTEXVOgHANIcHbj4lhBLWIPHlOXF9WvFNWuUZr3cpsgxCLH650oGJLsRY
1Wm9Va7kzeI6tgF0xtueON/UmRVehZkkyHjRGrXE/nQ0yK5FYFq8sJB1XIrOaReT3+yxORadZQ9z
0xKnqNV1bN/jqExCeyU6a22tYlFju9fW2KxwxjSTYn0dG3Qk3lpSQuJPiEZs2MiwRiss3daG5bSn
1husJcYX+d6OdqBPgkepmrWK3D1KitU+JmX/DIvKOWR62q+LFvKmpPXdCXflDTKqDtwhKTCvdbXy
HSeI/HitahErOOokm105V3F2Z8cM0NzfIq3ZncQ10hKhNvbPwcpO+1lipR1LvMBCbTeMd54H8RvW
24+U4NT3PPfVO1AexilxjXAd9Pa2rsfk3BjRUyNH3gt8ZIR6dAXDO5SSXsoIvyRi7cNStAIewPej
iJ2taM308iGpsvbsBbb23HyvisRbqz4yUXmHBR36nCXSzQWubCFJTqSsx2Hr5GgiY3hs/XWKc8ew
1ZEpVWefOnw61RMF/7uB8IFnXFxImM8mfx4JWWC8veM9a/za7t0424qSZHT6KcQiQZTCMc2OOK7/
EKWSPxr6doBTdI/k+lgWzc7uydGJq4b1iMwWyJR5aEraaXDlj4MubSyp8063ahb8+TZ2vSfR6VaP
tqay8AcyxV8aMi+UMXiDLXDrLLoQj2CvY9r77s/t3JYNo1EqyhN8+GXQ1cObPZrufKwBNQ9KKh9k
lXAX2Om5HbJH9ofSx4wMErw4FJMSiDhD1Nzm8U55h1uogIg65c9ZnCUIT7cQSr40iM6itWsk71Mr
ZB+PFHZXEZUg9nq9alXhJ1Yhcx42kIoJsAxjilVR8HFATzHdxtNBnN0abv1uDV/6/RddbpcfAcRH
GAxx49s4Ubz1ud3pv+jy5VK3sX/7Kf/2brdPcOvy5fIV9jYfH/9v73S7zK3Ll8vcuvxv38ffXubf
30kME9+H0g7FsvGDi6i6fYxb8W9v8bddbg1fvvL//VK3P+PLpf7VJ/3S5V/d7Uvd/8dP+reX+vef
FHmHktWhls0QCGFpF0yPoTj8m/KnJlJRjMJV/WPUtdzoGLKIq1zL1wGfhv3LO4hKcanPo0Ttv+x/
u+utj0zeeVzcWj5f6f96fzYzbL07PWR1frvj9arX+9zu+7n2/3rf6x0//yXi7jUcCKPo8Ev/8+3f
PtWXulvx6wf92yGi4dNHv11CtMTTTb/UiYb/ou6/6PK/XwpMfYMWL5YHejhUx6b3rUUJIh4DVoo4
kCMZoKcVyB2KYLRwNilsdy7ZVaau4grrxKp0WFFOzaJjP3hg4gCvICJbl1s1q3t9Lpo9HOP12DmA
+YVBJ6ra0Yl3hcMqMFdzdaUOqHvrJJXw2S5mpBmAXhKc3hkEXHddj2b9Hf6C5MMxKf44Nfoxkmai
VhxU62Pgreo6ehrn4nIpzcoq/u4GeJDjAGfM0iSJVuSkiEfJSXYBlbnWi7Q+IraUXiSiL3vDqc+i
TfQqeHIxtyr7ObTw9CK6qSi/3vkEW7aiC0YdLJFSlqZcVXSI8wwMlx4qd7cL/Zd3x5/mbBmqSxD1
X9zZGVBeUt13L9WIwE2CiyNILHBgk9iiKFuq5SNC53w03xr0P11MXaJL1tMFf7jrMDFWHEQ/589V
jCLCRk6HvKvkMFq0MiQLIE7FgSihFUKdoel2uHaKbPsA+nJYfRoD8vSv7p9q0VqM7Vmvyd2dVPkp
e03dPLaY6R3FWVzFd22LE82XehZEwZz1Kb+hLwP62t+3kYdaw1/XED3EIWd7iwqU2a5udeLMj612
DQ3y1/+j7cya20aWKP2LEIF9eeUqiqRkSrbl9gui3e7Gvu/49fMhqSvK6r7LRMy8IFCZWQVaJgFU
5slzPthlkbJxj3U52/fiFJOTDrtMnRZS58ECM0md0FoORg37vV17V7s4xS5ntwPwOvsow1kI8OTU
pZji1/HrXJnWmJG/iYwaneksG3dAAJAmiWfdW8Gv13xCZpskCbIWCt9aINSk7exxF3tF+2kI1PZT
rZXOvdO7n8V0s0O/9RlKaJe9BqFyyIAj72wz6NfTMlNs12vISjejXMd1gul6HXGo5fwNRucGZRXa
dOUMUqjLa7/uh9ZdSPi8cnX1Xc+lZ1e6d8N2Au3QbrwqOofUcO/V1jBSmPyrrLlXKgVB+JWvqPUv
5y0S5epawv227sdjq0EEGTQ96jax8do7nSid55LdoI36djDKZtxZZPPF9C7kY+e1+IPYpR37Xaih
+INMl0Zs6AtWkd9F38nelYCMaZRuUtc+hgsoAmlD9XtWwA40VLQ4vEWEtqahpDxka/3wAfSTZIDP
d2J05rA40f9qkQDZFG/YIDiNjog5UTlaMoD8Up4iqqhHyevJwYFA685O2/5KmlfO6PWwpUifWqph
1zigFsMW1pMG6riyuSwMBbuoreNNaMXQmIIUzIGDoLk8+F59KYepvohNW2wdTd3huiFHu5OxuD+s
M6rxIwozwaG3m+HU0/t88oaFRlnGsR8aR1dHtLcY883VQfIJPMDodD9Co40o3Ov9WlWCcnNbocvj
17U+2JBTN46+/vDBbKuRsld0lIWXR4M8Lt49V65PG7qJ5jU5BO3dE0Yi/8MT6fqQGfxIXQeAntZ0
+DlrX6FimiEwBtlqgRp1nVBe4ZC+nU3A7ZvVbSzufkiuMz7YZcgOut+D/P/WDJ2LpJXJflfxaGLO
zEg53w6537wOzaBddcBETuIU+3VuTzfOOpjreXubRlbd3/Rlpa2hU4KnFeVmJIVAp29004giQMAa
wnFO85sxwTJ63+bOcMrjnI1p1FSHeE6rQ2Kkrvo0WOQOVCRZ1hJTL4GJtCpMi3BPR9WNPOSDmNwQ
EUleRgfoQRpNzdYeRMereXTmOx5z2iPNrPqjnGUQq+szQr43u26BkMt0C+4iQj0VUO1KG0tr7/Cx
afHDeDuQ1uNfAup7EyneUhlY3JGJorP2djWxNcslx0KhJMPVbh8grGEN7xt0HH/9YGGeVqBjzDUd
rPphTqMKjo8cFb4ug6hSQVhSh4s67LLhh4smwrqmqf+T/xYbGc78IXZwvtVcJq3CBzvQKAF0DeRo
qdeQTsqDOwO+puHqruyIjCRIh1dbQWNVMVbpTmZcJ8s6iDWS1KtClDyWtWp4zLSNrGiP4Z2EfJyy
rE1rbXSUGeJFPm6T6o4z2qiMLeqBDdqt/NfZP+2QPhEtqX4P7RheD6tJH6s6ae5HPURwmz6XzxIr
dC2/xqr9bFGmAfqg6MiyOBqPJOkZaPReoRkmYbg0FKhozV+90m0gXscF6CBemVt01CFfaXh91lmb
1MlXCJTpNA+bZOAr8FO3oXgrKEiu3qwoj1FtAmhqtH0MxAOyZpQaISqhg2c5uzlutnDxguDQ9nZM
t4LEyWFonVcHvRs/Zyp88zBQRL1NkEt8WEkuMcF2shKHBN+unS4fCvRVc66ANRmOiXTtBBwvssf4
N/qgvHZSfwv4A1AsjMwtAHztt8rSAFmV0/NUDPTnKQmkZn0AZXCuOhQ/Vf8cpLP6pEV8YZfpsmre
5vVhJN/7v63qo8qtjYriOGteHg/W4Fp7ze/pzAafhci50p8iPQpe0B44BBXZ/taN589FVazHhRiN
/rniQUecZRUsUTQt8u5so60rXg9RDf4pLCleWZKuvOEk3shU3y2ZTzmFYtZw2+InJYWUCoNXgKB3
uidVSdpD54b2LiNh/1WZowd5Dt8iUoCfhzJyrF3YWChmmLBTIbI6W9Ve3pNn5J+PppOvP7wr01TJ
G/isqsbRil+9rzbxRE39zjONPH5W11d1Cj53RtGgRQ3XgpHCyJ6azT3a9Mrw8DakKBqc5TDnzoHm
6PJsKx5YtdEt7hrNjZ7k4AHwKBOweDKC20JHzLE9Gr3ZJPAsZ+M+64aemywTZn7/Tw4qa+s2irR9
ARVdsp5a9b5sO+csIZPuDw+2O+9vE3RUoe64g9JVLxN8tbDWrVVF15jrdefksSyK8LqIAb3jYzhR
+JRP4QDDv/Mq31pJrBxATacbsE3DzlyWnxUX9m0zCZ6VdKPGcLsWXTM8T0Gtr6PBCu/ENoK4PYGK
+olA3PAspqowoQrK1LOzmAbQ6chq27xFLsOSTd+TYX0Tn4SbyMWtvYyWnVb1zfsp83+DO2Q4egga
Hyd/BIUup3Lg9q4o7fEW8DEKHc/XqRIjQ79og2olY6jOoq1uzf11zVtMVsSTv77NlnWtenpd7LqE
jMvM+awOdbD/EGI3Kk/UwPsSWrUJTbJn3ru9EoEdnFVO5XAbi18ixe1AlfUaKWP7Fnl1SSgFiWmt
BfCMSJCsIWe3S9rQ2Bnrf7yaRLJHDWEdBJmo6s346EAwuEFSM9nKsPdCbL0xPkKz7qwGOCh2Hxz+
kKI/FKeHj/ZivA/LTDvWeZ3aK1lkdJ/1qRweAj1oASdlzs5jZ3mx1axe+fU8HGQoh6Rz0e/o45OM
KtRvL501bvIkDB+LZeSZQXChMfM2pYKF49whLOdPaPysva6FZcDLftdo/47WcLzM/ER0yP5k+nLh
0QyHXRNl4JSqGmr4drjUjho+0wgArtJ/loMR2y0IIsu/Txeb2wBUnWc4/8VLtb57zAP9vjK91wl6
D4QBQV9+5JhoRcu2ztxDG7tMB3ubn/rC+esWT2sg8C67uUhA1VfTOujD6U6Gc1t2gNHsaC1DxU2N
p7z8miXp69VQcatIX9rOwUjbBNRNYZC0cRe1DLhE0bNG1WcDxXpxFluEhvLIVv5fY/Ng0Ch3FoO/
TJIoGcrBiOwYHE0RbD44bkM0tMxdaCEcXX81NLc8j5MRXOgqptgEK//aAvi4aYdm3lGFD599Nwov
auSuUKDL/uaVuWbnrSQ2NdzgWebT3P9xvkSEkNNeI25XeLu+OG9rAAqGyxcQumdF9AeEcHgldQLR
v03zztlV2i2dGQFEAtbwR93GwX28YKxXEt3ZkbOeQmP8JIcW1tRz6TdbvW6nT7lNk0cW+0j3LP9C
KKZ/8xurPl1HLmW0RrHGVSJ/jjevfLrsH7wpKbF3c7tlLprC4XOOWOEdteqADqeU1pukrO+BC8It
BQD2aQzXabQU/BdLocbevT3mf4nrGrTodaeVG21vc4KhSFdTH7yuIw7IVf8/rnO79vjfP0/Xz+oa
TfhqW6UWSpyNvu/RZjm0vsH7Vtr3xmmqWIZXr9Q4pbYR34+0AOeLQ0yDeK8xEl7RlLPVWo9ekmWK
RMraMlTGWQUiEED41CbVtBWjuK9XlPCRJqQtzVeIsLtR8nqXLidwPqvSNKa7bm63qllF5pqkhnkf
VZkFdJt7fhvwyDvJ2JP7u/jJ5Uzutqza9u71vcYfowNZPuWBH0jw6Hapiypki8TOm01dHHZU05lT
61d7DvOOeT3Nivlbr1vlQebLLJmg8fXZ8E2BFmWZL46hz9yTrU8KopIj/RwIlYGVqE7zm27Zh6E4
xDbBao18I621/z1WFk6j4HfHhhGttp9LxVDWcmYCWrme5YutTBXrWc7+hzjXcRVQwSQz3XT7gRtL
hjowXiWPAMy+cWaJvQ774B2PVgq0IEXzMkGg7qw5QflCr/HKNDMwzqNpAGCOn43FjKxrgkgvKVEZ
WhWt93AkKQCY5+JF10jCkwWCcHQJ5o3+usbMO82n2AmfA5qVXjgk/GxN3mNQuLARGlf3Rek8Nb5d
H94NaQ459AGEJnul8a7eALKyS2yb1kn0SlBivViT0R1FwsRfREqaSIEFu4r0jSMaJmNsJyeUfq8T
ZJYcXCO9TpWRzB+tJN46QGk2pVul5Dq7aV9okXEpabTadiV5MtOyEDRebL6Ccl1Z2M01RBwTC6AB
7eX3pT792QWWdk9q2LhAanqvxqF61rrWRSn8ZaJX7NIurqlrlbNmj3et4XjRmlvodJ8o+l/XSJNm
LdDpZrGWa94+TBrA9R0DiynBsB/FnrZeu66Q+Nhfl7p9GHHLB4yd9PpBbssVL5qXOIc81gMIE9gx
Gst+0o2U/g6oP31bClv61c2oTTO4W9kvSjiYbyIhrb/G3Ja4OW622zLzsszM7xS54vErKbQXGiqV
z20xWfuiM8u7NqvTz8oMZxnAxz9+DRgjBC/qgLSMUAFNKn0yBkReQgaohraxsavs/dBchhIsXgm+
DcX7YW5hA09vwVivh0WvLUvAA42++w18q+bfBxp06TTxwPJVl+i3iVgbuV3jLNHNiBR5bQzHov0r
LSzzPoTi6UgnKf9VlVJCsKMMBSpYi9U1KCqREhLvtITImRzqhiapq+fj2I5a497u/yg9aO1biZPl
ZEwSqaMVGrWsKYCuPUj6jDZoDsashcrdWJGwn3mOrHsLOay/0tTMjqCBS1KfUZYdGxBRa3SAEeVc
JjVu6m2jrot4t8odxTxXpUrX+jDRAbhISS1DWKOmRy/0u3DtIAYsXkvt68sMVfmZBrwXdp3Fty6L
55VWRP5L1wFH0vpievGryFohqJe/+E7qrooi8FBRaFDBtejZ7Qw6migbePeaYyD5tvRpm3HsX4ea
UD1AQ/NuePNK8P86N02DaO0MbMnbpfvT6IDHGDVS4FHkOWd7YTuhfAaKfaJmeByCaiu2EcjljPbu
4l6mZH2BmOSygklD19bT9Hrr1kp5B32Ku01o2/1NT+KvDS0GF7Wv9Ef0MtOV2POsNzeZCozcW0C9
tD/zaqZ98+eqvecP0KBUkiW/0d3WrJrA8x/AAs5PpdJexB7oWbVLfdMiMcZFoqbddSZwohaezZfo
uxHG489hDpAr4LZ26ct2vkP9pLpTzSx4YjsIht7O7Z/Rd72F/0QioTebLnYMLczrmzV8k3Q+5VO4
gcIipQcqJWtULz18YqTVIN1Ok5OeQeM5j3mFwqUSWDzN3s6CnFSp2KK3s5v3ehaPxbnLIceKAvsS
8vZ64LtoPMiBJnbzwYp9dW+nRrGIVb93yHCK/UtZZu5BYm8R8LyTCbPAnPZp8AS5X/6s1Wm89VVg
/0VD41islOXa6p30j3aM17M5jd+DuI63c4206y2iWUok/zFCeKLSOFpnUTh9NwOFho8cqs097DYZ
vyJFDR/9ZQfShJ6zsdDCWtthG5KJlc2Js2xDxO8H9DcokXX04AztkKXGIV4vdfnRIDA/KWVNU8iy
p3k3bVmbGvB4bOpzGyXZH3pPwteovPJpAph4GFxF341zqXwlg3WNMGj6WWUTxEN2TEtUTn1YW/jW
kZ/7ndKzdoRZt32CR3F6gPv8zsj52Gu1mIod2nXDRmLlYKjp71DYIQ65TK+6aKanEoVFNqWf2Fyu
+7mmLOln5qadnPFb25CHKwyyI3PTTl8cPd9ICzT0qGyHkVPZSJezqzvayrVt5PkQDExDrVeeI3+a
trDuFzadMtDiyiG0VfVesZYDWPOMuwinYGtNnZaC7kfGvZFKweKR8KWn/d+d5sEEyQvtsPS9VtN4
iZb7NWRfFjWc1GJbT+NC/ufst/muKYMJAlcOM7jb44zcaOpOzp2YDAMWcfgrfwnJY2M8plNormZY
ODa3ubc4OQuSZh+/LfUhLHEfFU/LUFeHckWPN21mbdrWzj9ZZcpG00zifa2jUNzoETtNNaVxvlPn
g2XWP4Yy83Z6r85IEaAPmIxZcxFb6/Xz+iYc+G9t6jKXDj9aU28xslZaN8O6Q79tI4XHG0H0tWz5
ro4Zol6084fhi1Qtr+4rd/Tfz6/lTdMwaBKWJbuis3d90X1xow3klytLH9PzMPV9uE0UWj0RHvw4
TJYuY9RSsxPafHsZvYW2y31MbmZvdllRRmKXiLd4sZuh3jy+xcslJdT7blcQMJULa7UcitK3t01f
z6ubTc4W/syzXnjQ2EqM5cJLSL/+67zWHWgKksghqYLzOCTOtqgWYeG3mNuKLcRre6pRP1E+sO+r
ynq4/j1kCOsVbdH8AW7/Iqps1zAxubnD/fxt6nUong82Mr6/+0FdrTR9ULdNy51N2AXKxvgJoL5/
DIAWg2FFUHEhK2+CKkN9GZ5QiZJJTtDDvrB4/z6pbZLza6lEi7Rx65k57W5lMqEhFRTTKintESVU
xgHyOLt+opQoNmWxvQ+k63rL3WoRT8UjbnLCGpVF8m9grw2Ih+I/TSpvByWfjE9ymNve2TgDUvI3
W017HSVENVhluWqyLe6DzbAIh8mBbDV8qzU573z0YXBchMNCOzEe6vG7BLwzd722g842W4vttgY5
OXBPjeNc1xCHnWveWQ941Vwu1b1dDxRQuptnE73MXx28c/xB6bU/3BavPH4Gpdnx5fP0OxiUoIRZ
aNUgNawvhl7QZ+2Yj00OyVq1HJYAMUmAHGLnvUlCl4mAla3rxF/Xui3/61pT0X7zoli7d/Vw5dhW
8ySHWCvMfaD53auuTVtAiqTPnnnoFkmbvs+8T30WLjkqtGSGYDD3vkr0dUziilp8rr1GO7TjfCrY
ynyMvl1PZqjL+mKbzNH7NLK+jLpSe4my8GVMIucyDrzuVYkRHmQorTve7BzpQmvO0sOTxR5S2NpR
BhIUwkxPL6P5OTLb10Yfov190oOaqi2awdYd0nkbreGXIzNkLh3Ir5e6LbVcyiGJe5YwrS3Ci1/T
57esodJ5dRq4TOYtlS3Vz9EDDwFZgNP/FGY9qrnpdBSTHEpYnfbOnOiQORJG5hGkRUycanXTMVGc
6r4azdipdlrR23eylUjkESencoDD0d+0mqatZJsiNtmWyNnNdpvxwSYLmFT9VqpbdNuQBlAgQ9CC
vSMNo1nUOdRqihLDQidGu+srYVgx1VvL0qHI7BEX3Cn0T+7qpUA6J2W2o80g2VVLNfXmnQL9j1ED
QUNJL1rTp+RsP8DkZSjekpLj1XuDyQucnipteJ37wXFdavEmM99ktA3JbtFFhKbR17mEqcvXYPR3
e8366nf6dwSZ8kdxdq2+giRP/1xlKLNOergXc5ghxGcM9OGOemR/HQu1OeRqmWzEawWNsg28mDra
cgHfqV4vcF1ydD5cgGLiuwtEbuPuoDIF9UqbS3uywmTNkLSLDDMLQN+k6es06e+VKXdPnT9Fm8aK
oh8VjRyzDv8pQnDmbtALG1KLIvkyKvVFAgBQOpBdBMbjbSbygOGPSmMT7Pnmt3TOrB3iLnytLFjr
0zGDHybia9cvYJfbQWw5wivQ2+b7m92L6mFXAZQkz4U42IepMlQETLnMpU8Xvai3haenOOLLZHVB
Xa66RZ9CDnbRkaiS0zoGgtUuh5tbbNMchJt5IBEkjo9LXNcpawrFZKE3hl7bp9th6Prmvi+BLr3Z
A9BIJ2OEaG/zr1NaDvu5eRdTtNG4T1rvhygPw5Wsn2vlqlJ8FR62FzVosVfZXoLEImeiCI1QtH7m
3eZmDhCUhNOOIusvi75b72b/ZdEAQaw+byLXWet0Ti17CtmAWL5r78cx+X7doix2Ofuw/6BR+Bui
X+BplwjwZfouikeyxcvwFussq1Vh9P26AxLvdT/TV8MGgJN7jI2sIqWT189NSgOfqsw0o2SVA49w
5XyebDrTIaz5Cwk794vG/ZMcnuaf5riuj7oBEBL9IuOZv/mwCpVW/am0j6LztcyxKv11jq8p/qkJ
ovo4JwWS68O0nrKCXTEZ7e8t9+dVD4nLY9300HmoAbuvMJu/Nw7cD/BFTuu0gcvRGaZiQ0UlfgR6
PB5sd1L2utMUF1fzKnY+9GEZHnTLC3nYFA2fxr7Rv32YpLW1AtuqWVzaGt4Dd9Kdgzl4U4bqBC+Q
9AfVzi6xcuNrUo8P6eSmfyRGQiclb29P8GvW9JgSESqq8bUe+gfJn/1TxNsa/zaCJjbE2ekC3rhd
8gVeiuyTAB26rUp166s1NTUNYOFnAVQUoWrfj3BsXWEOWWkA9UQNY2eMsFd18O3uSyPv1wVa7/eC
hIjz6LqozG83sugEWlIWFQwFjZ3OddFOQ9Q9RrQEaDGvKaozfArUKj+hbcAOBHGy65Ae+uYivLEa
JnInMKwsJrEvpjpW85Ms8baOmBD0XDuxovFnhr7fBvRI4xUkH8FptvXksVmE9LowzP/oln1663nf
ETv2NykbrWuE1ar9KgSk44G029lNTAPVWz4VOoDmsShTDQcycpPkT29GCx5sZC4Vti4ym6JNtdLh
fFgeyIG9KcaZ9NqUZY9ZCZdovfC9dVU8Aqj6u6O2FfYSiyMgo3adkfQe3+LFEcSledINeIjPI6mq
rGjU5vk1vzMYTrYbKVCL3t3G7yf19zZ5QSkUDqI+VNeRN80PGvimEw3sUIS9BuR9tK1TBTyfErv7
qe12lto6R3vyLWdDuiTZ5RApgjLSoqs7UnTnGPHvgX4IvcqU1rtDqtPELv8yYNZbA/T/SzfC9HGz
w42zNdMkfPmHeHux65FXgGxs4CIroPdIk5pf6ZKTlLHqBvWKsrGFoB25C6/UxpVpZy2SsZXx0lB5
qVuSkCQHHsK6K1fCsjm5CZRWCnyHMjRt8z9PqjQTcF4+nUlSFdDfLgcFnkrghehntPO/bIsjRqYM
RZgB2JOKDjrsxqXmVqe4maZLuBzy0do2ZQG7+zKSA4B/M2p46VwsXtapjx21YhlB6QgfB8g+JJGD
480Uj3V2HHr1NzHJwe684uCqenud2UR1eMhr608keroj3J/IGHVj0iMOWnRriNAtakxDSb59MYpH
IuXsGi5jM8j+zFNVBS+TjCe2TNq2mvthJVhLbaD7hvdyPDKWGDmTAyxp8BYkp5sZ+t64W5Vd9zqh
bpDYrmb1MdEdpIyU1nO4Jys6f7mu9rdTFbibODGmz00fkke1vIuuguUKxxL2UFtTjuKcB1WloRKh
dfG6rlXdIVrtr8Xr8qg525PzO53F02cLLuhn5ACKuq67dVErj9UAt5hEFhbd2dWUqwdZR6/56TTW
MG3FqzfdcK/R7wobJp8IHEf8KdbLe1lWIkBCQtinVE8yinKIKNlyVidZjZxVB4l9NUGjZaM3aqKH
Z2k927A51L/4NLNS8IigiUKJ9G7gi3wwoNE905XNrbkOys8V5BgrdUCZreCP5pPwCZALajZqEI93
XZADuFhSp2yntXUUhRWseAwzvQiNFWiG5MxDCb6W0qTZRjGdTdzG2jr1s18CQwcRAL/KdmpeoQJs
UX1TlhKcP1sjcO9h7fVj+yAmcdoNBDaqZw47iRCH3UHkJPPFdltEszowuln3IHa1UQYkadDMol9f
O9Vdld+VoX/xZ8WE+ksorYJMh8hKgyN19uM/Mp7lkKssnrDxOEULJtnZaAevxAh3M+Fyeg2FujLf
dh1lKeSpN573Ehbt9HhLAUyKSVuAHyl3kjgQR9SYI0LYTb3hBmt8EkeqN9S8C+0Fgoz03imKnBuf
p+/NrPMeyhZdg8yKEFTw53mt1k780g5usXLmzP+9cquHYSAhvxrn7yUbPv6qRUsHSV/9mZjZV2tI
8u+dwn8t/cvTF/YD2QaIb3Pp+oKEgGlpZzcc57spcLr7SvUGVHn1v125GM33V7aWKyth+VBOBXmW
Iv1O0f79lfsu+RqXmbqOc7NH+jvfQWIGG/dsKnuzmJTfjYHvudclOmTYtbuF4t870fPf31NHR1Rw
iNVPCYRma6epym9W070soG3m/wW1EZXOOfld0RT1JeidZKPzo/8UpL6yp387vo+SuDmPbTxvLW8u
PjuhD2F0aGo/ENJ4/RgaH0Pxg+BHZ5AE/PAxptn728eITLf45WPUvNicDd6T193I77kakK+gCJF9
hgq2uBgtt5VlZHoqB7B8uTPlD2LibavZeI3R7WUo08MZrJIMW2O8Tqev22nWy1QaA+gxhxTZmc1o
0xuhhUC8ll3YagFMaK1n9ASs5z5YkjCIIB3FVgfBgvpduK4gOX4GYZRdbP91OpJg1BMji2yC2amn
rjVfD81ylgB/t5UedOkysqN+JreSGiROFw/kPKj2aOpBhaVyI4INpkZ2gRLIfIINFk099Q8xoy6K
VMwSJTo1EpXP03QqK/XCe4u/jsoSPsxpMOtTvzCoyEFv+573Y8igI+gfDzcH0ghEq2/R01hvi9a/
Q66zWxvkzw5SvEsTuK9gmHAhQwVnLV44r72DFP4yfUaO14Ve1vb97RU4MA9huPL9wd0XkVYbGxF/
1xYjmgruXoTdRSxezsSrw+K2ahdv1YKd6YYW1XVIwh7n0PisC0vtMpps9bNQ2IpvGd18S6T6Fvnr
PASGr5GlURs0kgEL8wdr2iYtHEryCnh9GxTjGJXohCwvi1Iql8M12mwNunwpzd8O3qRM26nk7XcI
7bvYVAxACtH0HWDXpky95GWK6pJWP+zCTZtEHkwWVXq1u9PCMOb60/fFfovXdPNPXt8G7mHkXsaF
sV0ObaLTLTJ0Eek2bDdvsMRlTjsDdpDdYp5m4UOg8eBq24FOi6XM43l+sBmNTL+X6o5TfJrnqXn5
EDU48VJbvE/ZwV8U/tM6w6Zw4UaOuXHzkALnIsw6GM14qSb+S6Ws0evs2aS8NhqKc0lN1XiGZWer
8LxBM8XqTkrKfk2UavRU43VOD2kiWnRskH3JgaaHzVG8bWrdT9BWPAVBaMoaYu6RFj2FGWvIkgZ5
MPBISbbKwiJBwaoLn8upqqDfAahUGVH4XEDcD1mLu55H2GfXldGjaej7zq4y7VdvwrZaporpn+Yv
EeJ0aLDbWmjSePW6dtpy+ac0VwJzpzCrE/+U5spZrlphfRLvvFTGxUt1nOClbn7zyq9JhqGjv5/7
T8HyW+OulpyGYx454zq3PeWzEkx/O5tG/dU2vJ19iFNitNzHph73TZ4Yx3B0Id1ZvrTgIJ6mcpye
rb41jmU3paga8uWsofs22L28s8uX2f9X/BDDBTr3xWCr29J2SBBBYnKcm1A/Tnprb5CEN1Ziuzn+
aUguQa9WMu/mNvLZ3rQhCtkfHNqyfsoTd9O6BhJfihY+yiEr0s/0rzogHv9lkjN43bw1nPLpthC9
TDGWcQNtiu1CgfZrdBQCdk/tHzezMQXR7QqZU7xewbHAbi2scd5aD8J0KzNuwbaSPQdDdlAUWDbp
XopXVTbGuxaVT7TkXP3Qzmr1oC6lWiXMvKPaATFYKr08aZunxoPizbAqdFuXCHFkjXnQ6CG7TqK9
uNs0iJtN2uw/IEfarpTUK39rS8qRlp6Fx8zvyxf0yK72ekKlCEEic1sldfVbybuqphXFk5H7sBVl
E0jjxd4v0+mACm7TKyRXnwO7+4rIRbFBey95HlTSLXImtmGxTYtNzv7fxCkF6YVchbp8HENt7Rkz
dPvLHc3az/3UfjP1cDpOKphlsSZppq3HgTtKGRroV2y7GRJsDxEeBYK8Xd3E2l6ELmbHeLC0Qn1K
sjH5FDX6TzFLlBu56j43zenbEqV6zt7IwMMUivnMuybdzBY3Aerx1rPYijDcjDQ5XgwLfZIYoeaN
A+p6LxEywZxIdy4CsM9iWyb0Nuyt1zyAqwcRIL5kC2t3+AJcuj74fa1vwyX15WC3Wuu9vWBb9H2J
/yf7MKeoz1b+KhzD7iHJB3eX6H2xLfIw+wKNoXGHLqW3Dv02+zKENU3LTuCsFI9hPPskJRadIwnW
DPh8+mx4EGdSxvNTAglZwKvTgM7WJgsK/bPeDdFlcNrhrk9sVyUNZ7f3JQ/LdDVogX8wjb1mNU3/
UxxKAd3VMdPH9v4ajmwfejOIUAHGqmBhmcvxwYyK7qXd2KM5vKhK0yI4NaaomTAMym5hmFSQgV2G
qJKWiCvQyiLDbETBLLCGZyrT3sXt7LOY+evCUBQAci+TmiVdVNAyhGDuxOto03ffnNpdkrK/uz1u
yY6k0yoiQ4IWwLvHsDxtbw9ff9wuTb3vAsQXigILzhmZl+uzWibq5KAjyJBOJuzu7CG1YdcvVbas
G9unaPZ3bRcGj2LqVBe947D+KT4x3SbdbL9Oase5Omrd8FPi/28nRR1oMdge+Ghd45IndcZHLw6A
epTNYFQ/pjo4KjFvm8+53xaf88T/S1veuiqnjlYuL5Nn6ASN69D+dSjeWzAZq+Z8Gw4JHWdaGlQb
Tzn45tJZPBru/IlRIH3G/T+ODCfPV0NqV09AQvS1lYX6xdW1aYesdH2CCK6/HxrEcjzHbR7JLxsb
BcDEl7lCSGMqqvqHW4WHRgNvuyqAc0NSgFBoZvxAeSf8ZuuOvk4ot12X7JWF9tHJX5ccZgBL3WC9
LklL+Snguxu1zfBNKfQeakbOJnrwVugcDN/yhmvK2bDY/jGuMGZoYj0IS9djm4U70QbzSaucbQeK
iwri5K0M665GKBxFTlEKE82wMtOd85tdpMVsEhg8jJOYd8GzmyMbvOLE9Hn+rJDquJ68d/2HGBXA
z30/R8Yu6IxuE86Of4g8b/rmIGfdDUX5tdGK+JzCEL0a0fX4JmERSo8HOILR2TSdVan33l2c6P4+
pFlxQ2OyuY2Gkv/rMp27jVGk6H7IeGrNDloR09yOiAqhC2rPW0N19mCZfvrWFByEtx7QVfsoZ2/2
m0nss6Vd44XiXkzWAhgZsfNUDQ5iF5M4/6v9w/p8x999nl/Xl8/pCaLjbe1Bt3YeXW07TbFRC387
9BDZTnr32OUJvO/V4FK6yOMfteH4yRZsO/mfuoNkZJlwjTHmGKGX2EEVJuYu/felbpa35a7TYyh9
7TFDIXxRQzALa/kWNeXa09x0JzbRTuhgPn0YUnVl9Dq82DxKDTPQDpRG1StubHBTc2U1bnd2YJn/
ElXG6wM4Ll/DrjCyJcxri+4Ma4j9JflX2NyOf1vt1zCZXvgB/8U2335jZmOMAtNjW1po0huVc4ma
yLyA9hzoH+aLXqintIXZQiIb02jvbNtw4UrU2ZQs8fUcQXUY1nDd/h/WvmxJUl1Z9oswAzEIXpOc
x5qrq1+wHpnnQYKvP66gVlGrd+9z7JrdFxkKhURWdyZIER7u5DNqtrNqWqDpGHIss4+6A9iX7U93
0NezeyaC6QzaiDvypmWlh+eWOSeH9FYeJQdqxQq0fJ9BB/NFr5CSCHgQXqgLqr9dk3fxowZFusd8
NNejqnFNM5Oh6qktV9SdJsPcg4xZn0czGQEII4tiT6O0ZATBjQt11ZJjBk4+WrIAvU7Wh93FDgPQ
omgeghWRzyhuopq2yQEThxzcmWIpfVhN0MSLwy11jTQSJ6ZDs2ioo+IpRN7o0crmUAo5NDUon5fp
bVvrvsf7jdGZUCkME+9e1ihVY0ottBIDaCd4B6BxP4D94T89hNudGolX/R8eQE4hLK5SHn9Zg+P8
vpaxCX147FlytgESByEVx7TQTop2f0i0LRHpz7Z5HKT6INmvG7DA2oVm7OzaQlaCgdUUFcH1mVMX
KZO5SwgbwtREwp5NC6bmYxKhdcjrw0Q9cv2YyFCOcI5ClFInrLz1WXqC/CB/BDSYP3LGXlDG1VxA
EsshWV67G8S35YYGO655lxEhq04NkqkosmvJMwZWWsxOYzvZoKS+2dJ0V28NnESb7/NsNQlSGjvA
++M7MunugE0ViJ939Ank4PanCHrAKxqlNRhycIXOhnsyiUpDBZHg6Z4+AtS166PNHB0AkH8+EZh9
oPqlPZCl03OoPk3fgyQeDhSAa0GQu5vqvpoDeCI2uytetPc0SF8yZGMh+p5E9/QFi9IOZR//nt7m
VbWOHAb65iJ1DzHeA8DuuofOq/MnmyXFU459kilTeQtrE99xm1m+zaJ2T4NASE97E0QJPk34mI7n
VQ4S15FvXKdMrqb5SKAJhpfQGpDeCew74LtPaySVGyHj76DB/eb00PcB0Yh3yCOoMfIsM75iIo3T
xLHS3LWdADRTrDU9YQdbQfANrR73SIsbCnrR3iMvbK+Cqsm2LlgLBGSQvvRpbILtNEMGQ2UWOyXl
ouxA1rJP9n/7I2d4YV4T9QeULktAWFMgFVTk748YYMXjyjdjJDSWgU/BwoYigVyAVbOI8QwfhhJc
GiK4h4pXcO8YyLJge+ztBsjY3oMjADF/B6VfwvXO5MGCxLiT/bdptO3Ez7zIUfThvwIunMS3FTtw
o5YkX1qDlrTrBpp96g71wBC87aHeHQwoelMnOzyXHMj4hd2Bug3T1xFYYZ9jnDywbflPN3pVDDYU
tL28+6tbrVYjIPOHmzrHzKuRnW6q9Va73JRW6wcwKg+pAHACwmS7bkrTE3TBslNuaNZuBArhFokS
MPbScB/7AKHrmtnlG4ujtzgS1a86gd5dymW0MiUg0E1U/uq9+m3UouItr4sE0jgpfxwZfsyVFmU3
CFS836U25Oe7OFacbJAHa0B//LU29XfWGChNixMwW8QR88kMbciZVuZvNpqkKDjc0IDEhuduMsTe
HiESUx5tpGwgzGNbj2QL2y+dsIYHYeB14NmQHW4mcGEt/pC+AqSx1bFLbYzmfm5eh26CaGlp3dmj
dI6m2qw6wG5sjXRMkMae2huS7RJo138bZ/F4MprKM9lYR9m67s8y1c86WE6WC+4Ys8X75+JfPmXi
jS9xV3+lPTLtlmmjPA4Qm28D/UB24bm3yHSBfcimtz6E7MAS3qUwsLJbDGLnlhNuqfJgFC9VCKUK
SEUY6xh5RkjOJdPVDFrdJwfbe0m72vKjAsXqTRtmfjvp4XaKbeuqAXE7N4bHorPXWpshDxDeogFy
EZBb8gv8yLZkG1D/t9btOIQwXd/eBgG6kM5O5bYsWvz71aWGAGQ7HrFpHL+APZdDotLWjr3qMrat
PclfK9DSnGwX6n2R0o428on7fQsK/4lrBZiwql/VaGpf1YWbVu8XBvhx0xaCILaB7GJhZMZL7Xbd
Oupb6yYMaAukTZwfkTAAo0MweZuKQRUhMYLCzyqQ74TW1OAbiKveBdobQB70dQNJv0Tqxua/+5Aj
NUkCtpNIeS+L0VWUfyuKzsNxyzzTkXMoo+mOadOZZMjShI13aoxOmDTWMHxb1OH0Y+x/mwc+FLDc
S+trA1mGFYiPosfIDNzt6AJjI0BjeGGJF2/6ujVeSq3/lpcy+MVi8OBhV/cDdM/mSqpJGvtnEsC3
8oKCngTMmpr+Mkk5T4Ks6jypKRHQAtxEC4b0FNe25meTSHzEnNJTGEiQtNNIFyTj+yUNTamOAIqd
T0dTIoFWqLLKUkMheGxAeB1aYPHZC8CgoeVt86BZSeWXVRt9HXNx4zZqvVaD+Da0bvcLJVO/I9d2
X3hmgofZldYt5XoK3ac2OuJftrqko8k2reXyR5a0r3EQ7iaVP6JGlKMHbE2EunHqZybSxaktjwZl
oD75fAxHbjQeqdfpUJzvRm/aESSolNApHxpE9GaEkIIPgZLl77bWAQMFiVKTM/nJj7mEOqL1yO+/
rgdur/Dipt0Z/BsoT9G5tl4iLIOlP4ElHZgbFaQpLIACS9sBVZlCR6uGJgXQdtostinxrob2tcax
+xi7XoVTsq5J/BuG67krRe7cRpEnqNyNPYQLQJwUq4YGwGQXrEy7iHafvLFbXjdjNlwWZ5srYu+0
evzkBiH3eCPtvAEX+CsIYrxLW1a2ueoQDzh4ZvBaMRZcxxbnljXg91vHBPnY7IKaq2mVxIGGp8uY
r4EngqjB8nySLKtAZr2hB1NHdmvsrWuRdflaKGcaCTJk4FZ6C4Bg0s7Ofzz8aPWcmQbIFlGWrtgO
HUWPGLICdZl0qRPx4TJERmEkFlB9wGaoKaSB98kvGowyWpOjHRsoDzIrbh6YJWbbvII5VvsGMm1W
tMqrHHIThmHdxelU7+24yw6FaY+3CUKQ0IhL6jcJuUeuhdovV9R7p2T8a8dz6dOk3EnqvcgMMI94
/XgzseQ8KdedCz0RrKLbI0bkzJMC4NruvGTcMCj0rXJVqeCoSgVqKln7CFp5F9MSBnA16mgPro0I
9FcoPQAh47sfTk1gLmmrGnhzhHxWH5P1MhY76KNB3hjpnBsww/KWp6K+MAcK9S3LHYjvgEdFj5vx
WHr6PfUcZaIr8JZk+95R5QlqKi1CA4UWplu9AvyOB03xvoqXZd2a9YikxoYbxJvCwkFTpgyEhMut
kFvCpwGCZk+ryTHZB0nSXluQKmxcV8Qb+kWV6melx8UjlNzYmXpN4HWXou7B+4cxarxaFxsHiItN
UnrvNlSu3gel5s6/RVTVFpdqMm/kTz9FkMe3mzAS9WZZSATtnQnZ4gutg+Aw6DdGniDIBEqVSvFf
GWn8uxUJv7MHiHe3AVjryd46NveNxmCnJizkM0uiXTe6xlsmDChZF824I7cUKfTMwMG+mQZ2/G/L
TkyrVo4ADRctmweiOJoEC2y03tyjajDY5PbUbYmFjLoJYuufupHqEmWZ3tTBZhkNBIISevE7xGvh
eYCm0LFN8VdS14oQLS8dF4UIajSxFUdkVAGXqLp6Auxhq2j6qYuUQXxJqy6du+Eo9EtYab/mlZDx
uCZh8Y16YWvb16HTX/g0Tc9d0XY3DTpiNBYZZnTXZN6VxiSQi3fNaIIzAHcEo0Z9jw3WPgDBynOs
TRowReOWxvKBGQ8OCANpXm/3zePYxT6NVVMYPzn57wrfvJ1IgHXvg2J4FHmRgpYrG06OIncCbNjc
J8yqoKUDvqjZBdU0tWnb99RLiowBAxgbW+oOhiyvRepdqUeTCmzQVwgQDCfq0pLc7e95mjyNivYk
G5r0QVNR26KKrB02GAPkbqLqIFG7fyUXJGWiKzQoDsuELm/1HQoBgKBQi1DT53E7LxLm9XAwAV1e
gWHCQyq7clZJ7QHNXFmWtmKaHUFkq/XWVj8Fd1VWBneolsz2MeSNVjr51AxldkXVX2mUGnIej4UX
OnezU9rg4dLgOzCvm3pgStLtNNwvk5Z7Feo2RgIKWy8t7DUKroAh8UKdnWz843zsBXIRA61N/U9v
fxmP2abnCIJXnb5L+mzYO6gWegwj+2eUTPmPQveQOeDlcw66tL85pA1/9saymh3w4h321YhDl1oh
w2HpgYNHZhU70LQvjLC68EwzX1m7nYI8fq1qWV9lHAKnrcx9IaJdCuD4Fsko83WZ9N7Fbj1BJGua
ytP8ZpTMw28kjkqU90Ee6VPTBwC8RcMIlV8MNOrdSleQeedXHHhiU3prsniMYZ+TluUuyAqo4dmW
B1nXrN3YLUue2xxbwbgLu58lYlUas6zfLdJYFR+TN7tDUCMDPhsn7R7HQ2y/j0bVoNhOTQ8gdjNP
n1y9eUbKY9gkGXb7jcJCOAof0TYWXpe8v1KP62BTmLq09Y3RAL5DjfaueB8NQ5TL13YJxJSa+jHf
c2Wx1T0wmMagsEYsAIXwg6pRyUzQquAH8oi8vQuuKJwFBs70r714ovEA3G5rZnrTiSZmamJHxS2T
fKqzeDxyVVZRd25xtdUVdUMnwO80GM7GBK1tsHCAn7EuxZncyGPSwnLX9SCLPQB81PuundfIeI7a
XBsQZEm5ig1d3BmDW12BfdGAZkXq1BFVie9npcRJ/5lhhql3D0JAcJhn1g/euu2JXk59E3tXyKDt
ughver9h4bAFk16zXrZ6aoIjsu5EJgGavq3umgBJIzzaJo78GmTVAcQ72i/DNs4QLp3eWjAL+Bz1
/jfwZml7u9eHPcpLgdpUk7iNusVErw+TjMrbFFjFKh2L6JKpitM0BjxaQBJo7n3Y7dYu2nUu8mNh
gktxIZkBLBS6PlrPwa6qF0cayPD12pSZhRw/C6Dk2uvjpQZD2mv/uxJG/xoyGYIjF6xoXu2Zry34
v7aJIeSWnMDa+j6HObX1avywwmwv6iK+72szemS5CWB8poO+qknix6wtmzOeOG80OEVRdQFF9aWQ
TnY2xzRbQxkXAouq6/V4A67okppAS/AIUyOjTDHCIdyphHqcDRkH+zsgcdm9NfL6mgE/uuoGT/8S
NVJblzUrDtRNkbGAOqZ4Tg11BAPOdhWBGeZLkNQS2ArdPfDITU6oOnV8bIdWfdq2L1MeRhddGz0Q
6AIGACHZbq2VbngsVVe5tcpND+vognglNNHCBskwoLDWoLKJjtT9cDPUagCLgRuNQAVT8x2VHWDY
qspvnoOYuoqYJ3ojgLTq3av0ivKMijhn/eGBlARKABIhfEd5BB0o5ckDmkTlt7B+X4M8NCjOgYsI
HMl4IOkPHZJpm6lGDYgsa+MBpfTGQ9Z62wZRyht55HFiAnHgyRWiU+DZ5YkzrfC0GQ/kbJkozG7H
BpgrTKUZjVoT4chmY5Viyv3K0bZysN8YNLUOKeiYVp1ihrGnoDpRFyI15rPdt+/dUI7xNkap8lrW
rbOvCgiG0VndwV+9b0sRr+kgT6PUpdP64mx1IjghqJOsKKvVWR2ogpNi2MaNqwGknPfH1jLdkw7U
1pwdSwNQcklkWGkC2Sl11owy3o3AAM0rLRP+XBORIqgSrtMI2x6WAegW5UN656V4o8mJ39dBARMw
BCfJ3K+LaUgcSCJYufDDLusTn0d5u060Lt3O/SqcFGd5bB7mvhHg5VuXxZWWKHMnvRtlj/Ohmgy8
3bx+hhJbkNTJYxaf8lCkZ+x23pvJTQD2+bMflRWY15sT2WlGF3gmaFR1opoxr1yBzachgGAwRy2l
GWhsRTZbDeC/v/QLgKI2Cw0IXSGMjjQqkHZRnD9O9mg/yRYwmTG+9aCceyKLqU0H0Ef0d60yDaZe
r5Kq5yfyKJCRWDctlNAarXGwo0KpZFuDQ4qmRpCSPaIYy1tRFyWxxvX/uBM36/4uBsSlQRbe6zMb
ldJTnZ861cTSRL8foxyYoSk/0RUNl1YvQU5sSvA2fswJyZ3GybOaKvD5/HlJ41oz1BtIacU7KwvT
NemGH3JVHVbhe7JmjS4uPQD4FzvL0nWmM/MknfJXG6T92RD9exMmVn8mm+OCX8+2shMNTsqjB1sD
4mgfLjQiUUEHSmfwquXa/ZKmmgYenfSxfms/KsstpBnIRGkqarQOFJXKi3rkShOnqJsnzhmtf9Za
lv/3WmT/uOOyFvvnjrQyKwrzhFpsPD7xMKpTVN4Sgtf96OK4w56TDo+VZRTbic9dGkVCPMpYc7Fs
TVwka4MDXm3HjiVA7JBtvnQBUDkkhnEkGzWFU6GeWTUoMwBJ6WvU4QQB3q6Wj88a4Pduor1WXV1+
L0z31cUX4TuooOcL4Enni38N6YHkL5DKOKrhQs38P5b4/+4DCTBUeYG/e2P3tn2upWOtiOghj7Jo
20CndmaHMDmUXapKt68d/uQX5j7FEzNf/zYpcFkzs0P85ySZVOZraFrxWRQovuxzTd5R08U8g1am
v1gmBOLunFhtyNNIib7qis2yqIydEeOM6ghj/DQ1630tqMtgXnIwwNWhSxWUUHdQMb27OoiMXRqA
CJZsFjKUq6bjBahBi2ozoKb+EPA2exm1aVfUDKBWZdfN1FvsIizf7RyMbYca+LoXu8QZ8sO++P/b
XtaoX6Ps1Zz4UtkrUF5Ck3mck2U1aGvPvdc8LfmzbGD1brBd6S/5M4EUJqKwsbtdkmK9Fb5loSVP
ZJrtkV8GqCijnNukBek5Mqun5dY9Hji7uo5Gf1mmCYbPS9PAaGTz0rSQDirnu95h/mSgQrB1JgQG
M0BSrlnlOL7WtDnqAGRwnUfwhBoPqGt5zpWN/BoWQEERCJIdrTDPpQU+VhFg90FBk1r0o8H2dF5p
MS1r1nG6w/uGn2gQOLCHxM7684Ay/rXMOXbcaiMz7zzw4qtGC6lZZXLBM70vsxFUXapL2xW7CJFr
E0F6IpvjguAAoPAbDc5ual0HqfDtYivY72VZbXQ/L0uTPA3BrES0Kc5R2AbRsgMYrWmQmu5j2aDF
UWGssKuSnWYfqg47O9rPuCFwENSl/Qx1HXcQKERCamLp0ihq2fB7Sc9uiFPPgAriXSCnb16HI1HI
9eEMQnHs8ajPlZGuqImDAhKxabOjqQFY1vHaUFOov6wQlCD4N4fm4Q/7vPKnm4yZF6+4W4gtQhzD
QfLwkVmD/pVDiNUL7PhH3ieD38jEvUICuDuDxgPlhGPpfTPqCznYUCX2Sw5O+VpW1aWAjsiaBpyd
CY2p71B2rtdOLeKLF4X5NZqAPUBqK/7hsKehMqZvJorS19CxLdS2OdghRYzYQwvhTrxzx6+5brWr
ODXDu6JwrCsN4AiA2go1oKHEbh6oNPAvBwx1FLI+ciMCtaKtIFCyFQ9kE50NlN04jA81IoNbM9TE
LcgidjMa/b5Vm9oEqSTqiU6LthoY86EIDJHHkHN2RFTlQEUtS6ELdaHubB9Bfj4Pkj/ZqRmRWjra
sbP/066WBTu0diyNbv/JX9npBumkRScU5MyDf0xH9S7yx7qYP95Sb0NugEQWp6nKdsuyDJj6S+IK
v9ZaeXEcJHQkMPm3IcDrGoVm8UObeoD9llBskI1X+IZlVK+8bVDGJ5rsq+sCBSBE8cNLQZ5UOP3v
3irWaZpz6Ic+IBmU4JSStX7lmcFvpM4A487S7zL+iRq9+tnq+3ET4dF4rvWiPBnIrm4n18KmEuQD
qzB3ux8mC31tyvLf4OB+6e3RevU0ieA+Iu9XR9P1A1RRtR3Hmew+KdzBF51ufB2t4SAcI/ut8+nY
j179FaBNCHSB/ZD37SoSw/SosyLZBVadHmvepjfLjcK14Q3iK5D0u7FKs1/6GH3ps2R8GYQccfo0
irNn9NYZv+xywwdevvIe4UDlanbTIeZudKqb2ParMOlBgW23p9g1pseuNR7B02F/hUYz1JwCqztD
P6x6AE3bd7Ljj0FUZqjFpQBt3X3TRgBSx+5a81BcBwLM8KrlRXypjQiHfdMcvjf2xkni4gfANZDJ
Ug6sdcYdaiijTcLS4g7FL8VdGaDACwGHCvF6O78zoL3mrqocn3jKbmRCDZeGzLTwzGgltXIfal2y
FQr0gf9q7Z65WbxC2FgcTfXemwcCVAtMQXlHvcgJykvOossyKSvx1h+jGCSeHwsVSBiv8WNKthpB
RLChfl+YfHhktKvcbX4Q2duk+DirtB9PXb4qbEX5NhO/zS35UPOpX8lwOrXAuvaGe4SEzcp2wOJR
ZuZ1xixMkMZAcCDZEsYhLFh7QYHGCw2SyYmMCzOHd/8WCHekyUL7pDWu7RMdhVU2X8rYMh4Ygmbn
v9iHuvhsT1j3xc7ad/8aACCf2CvwvfniBQl7kCGqqeZIVhEM7Tu/K5IgZ+6AG5QwCVSqloN/oWs6
cE8E1h3+YcrnAZJM+w4l3NtuNI0vEx68Yc+j73iFgT6lTbXz2NvTDSrVLogyUJCsZiKnWz5LNbMt
ERgKnWqeSQ52gCIwmmkCUXHrE4iO839m0j11DogizbQjV//SAnxEDtjpofYi3ORhYz0AIZ5s8Z/h
nUUag28Y4tV7szUr5AUiE2rhvQ49ahP0qiZLf0C6aDtWfApRkxhtwNFl/EgsVBYCMZu82JMu1h4T
7FaKUNsN09Adnbobz8izQ3ycl/VDjcc8yvOG4g3biKcgBbh3FT1MfQPGsIpXSlXEems1vfD/9tmm
3vyPzxZW+qfPFmsaRHZV7ReVbkWyzf3WjLrjXJylukDNd0cq+2qZ9oA6kvZQiTQVK0RWQSFH4Tq3
4fXGjMEYMBsdpG03roy0FdLYBU6tHd9KiJn5kQzwr07Gtozxjg7t86RUvKRqil7n2zaE2Dmv5M6U
vDhqgIRchNPLC11R0yclGMoCx1kvA3UdfI9bPVjlDZdbMwnNg8ur6MEdVUnbCKpfIE/OKPGsXslj
tEyG/Kb5jOof4UOPPTxKPErMJa3/KcY/X5LTBCdKAfAktrdCRjj2g41uRHDX5i5qUIJsUytYcWu2
3crogAwcAAt6cmxApK10+kJugQ6aU7uqEIEbcNaI4667dsptCFHLp6b/zU3il78rAEWEjBXvn5s8
36GUG3k9/PK2zI6mXa66Iqv8BLohr2lR68eUOZAd1yb9TbflrzHx3DskmuUNbNqoWFf+puE5fttz
ZK7Usnlf7Mh/TPj7siXixvspR2U7qLXBsLt1gRnzkV2MD3S0pW6lJ8lhPviqUVRsxJ+6iGXGh6TW
kYmuUV3qEnA1jO1hZRiDvfEKTz/bhHbFS2JwtijPuHu/I9RpTmGHOE02se6MIhPQS+Qgqj5DoDNg
27BCUXnJpdjSODUaj78lTsV2smA9aljQxEU4XMq2LlHKn9lgkHEduSJjXLbvPqbT937Vtsj+Km8a
6HkowX8JpYW0QvIWWuv9pRcBwITQl/K7EhKNIgWaH6l7XGLn1W3B+NatXIQm5YqMjRqhKxdImUNZ
89tirwwG6o95tDfXRgWgocTOwMZr/NTSDw0/oejSpRZ+c3QZuY+VmSVQOEPcnBrkqDKBkO4//Q78
QgV4/cnyaSb1pzQ2oFnu01rLHAgJIRSvGpZzc2PJzMmuoAfrtjq4wK+VEZgXvX82FNyLGjLT1RQJ
03eSsdjE2KlwnEEC9zyFuU8uKdlGr2ig3xNZm2WFJtafcTqJQNPn9sVKgyrZ0VMNXYWp3RVgUnBg
xHnO25C1mxoL8F3lZXMLSuftuCcfMll2+c9sWnLpkw91yzK3LX8ZcQxerg0HgpKNQMJIFPF7kyAa
2aBeHv1MujUIh8Jfsy2jEXK3G15uh1z7TRHIT0HKNI6h8hOBPL0Dmv2Ms+PnaOYfwU2a7NrhsxZr
L0BBmxemgR9QmNEIpfgxudRjVoB7qdfuUYTG/LqLGGI8WbgCY2TxU4bpBiDFAtiPGMI1dhD96pP6
exk63ZdmRN5ecyL9ARseF9yTrY7/xzI94KU1gAWnQTU/TzcOXq74PdgF/i0SMZ7nS83staPRYE9V
pDUqidQINY4AMmsELZ7EabCLGYr2QIfxBuDlPcQ6m0d3qrwzigUbn+xaD/LFsonqWxqY051nS+xf
1IQIXAHIGJX2yUJ98ZNbQk5X6MVzWE7NSoKR70zNKLT8rKtmsVG3F33r2xnblhMA4aJoL60Tls8e
ULAPrRv4Omsi4FrWjVNkz7bsymdEXgFvrPoHcgzL7AqUlHujXpM0P2VRj/Mi0KsDrWoW4Xeo1izV
gRYPInGgbjbZ0xpYIGtH3c6tkB5EgHtL3TEOWpzGGndtqpuCKzQ+ILth+jSKTLx2rEvQW9Co6wzx
peuwQ6VRXbLmhpDBPQ1i6xqvKnvU97mmmRPYltMGBRnNscPmAKGkPA0u+G4FF7rSRPUFfNliz4zS
nlasDgYE4EcwwRs5DoY5lJnVFTUhVAGOQYxm6f7Nb5lGM8iFpi3d//elllv+sdQfn2C5xx9+NMBb
0R8G4zGIILKsQSWkXNHl0oD4w16XZiVXEErITssAj0FJX5f5P1Oovwy7asWlS1d/3iDrkJE0OFgO
//dlovrjg9Fd6JPMxuWuZHSa2ipXjmXcT32Ms5v6EMsU6s4udElTqip5hfJmfdDMuLzrIA1pIxV0
LhRjJzXVaAMFogWVPzLz3SboKkm3GkSNLqP6BQAb3bfbpk9RK/Exl2aUCdBykrPLYp901G5PGZ5E
dNdlYAS9jnBEei3cCDvzPhqcTVrFnj/f8WNhRKlQuA0Ob0H3zvoCp+TaSNbzUjQ56t8yLqLbvFTW
G9UmirV6dvE072qChGgHhon+6PR6f5yveDa8X/3FRi7StXiGHzbmUVN8XC02Ry2zrEoDi60GS6if
WPjFg97Ne6gGDm6qCEzq1A3s1HvoGSS0RcpukfKoIa+2jzp78GmwtlzvoUS8Ja+FfpkniR5KgSji
QeQLENGib4uba5pX0KTUP6vJvmqOXv20en6NOC4KWNwgac88zsDN5OnBgTfymQDpBEMPFRYdkYDZ
vpjIg+x5Pd1QZb7SRxwIMju5A4GedZ/ECb/igbShHjXaBDbnzOx+DmOYItPXAZFXeXXru04AFgOe
h6cms9R5vnbeuo+rNDHebXQ1ZJbzFkVjttLLnL/No+FON7zHtO/Te9u203vwXjvntptOZII4RHrf
AYh/C/Asg2qeDH1yG4b7CGRMd+RFTde0+9QsxYV6Mk7S+6YoX0tegElDrUwm2YKzwtFYeFhsQ2k2
vpvo6Y5caCDrcxRdlCjiIRutGdWQEw07K10vdw15b+5SCQbqZb3QzNiBGxJ4LcPFB07KyT1ZTndP
0+hPAi6ihsxp9Wl1owYNbzJ/hOVPSHGiFGD/ui6mImjupMej8/LJeh7EKwM0iahJxT8Y+bZOE6w0
zeGf/qqaBYCRMtBVkQs13gQOkNZojfmvokX54EF0L897f7mt3hXuXquBW1/+0qEZtKPuii/LPxwC
pOD977PD8ulkYXu3Mnyjteb/Q09WKuo63ubuVFlHMGwIVUwjDpxBJEErc/ktabsnluXpUwLJxiPX
dSB0lR16dqZWdtcJ+3CAP91224HK6ODmlfXcg+iOnHSHGX7n6M0lNm1trdllvuohwPc4SONFdGNx
EarnVN60BVYEzMm1Zzw2jmzuXJBedW5qPJJpMEDtFeZhfCKbHMJqn8el7s8TbBY+SmMb9L0BJk5A
9LCvHpIDLQ5O3PSIqIixoi5N8PBl0RxD3pNpmBBKzOTQ7GhxVJvk58QsftEgfVwtNk5I4Ya3+e6d
KYA2i50NLebyVFx1q7qSPzVeknwrU26cqSexPdwFnA2gE8EfNGkyvAdSZU2DZCohkbmymkAeqZtO
lbnnMYJ15EIfQaAyTp8eyaBxaLx49aTv6QOA1kM/hr3EURJnKhG/6rE53E8W7++qSfwMhOd9gbT7
uIEi4LgPJbpRr61BugWMZuJ556rJocCHCuov4Cm0QImbd6dqiAFdY/ezeYACX1/X4AtBjMZ/P3GD
Qm0/4/QWbH6K1MdpKKrVJ6CembQQEzfMBw0fuwqDV8pfh3rxvW/78qlCkm3ft5D4QZTWe1IOlNrG
HvC71X7VEOT8ntgAQKbC+p2a2a3LRvbWJ90IPVBW3DtmPOzcmsljUDsp4hSpDtZASz6lI5RxCwh0
/lDToVFq/Y4xnecIBuMrGmwDM8NXI9NRkqDqyGNXA7OFkaL4LIvkCzQqwOUM++ImVPV55nGkERFQ
m90c1N6TG6oj3lcblduyWpz8CIjoAJLHI2i+Ud6hrfLxZ84joEs99grZ4RqgRCPft7JLX+rBOvPK
iL6jnifzK8Cjrz1n+qU0RqTWzDH+/jFTZBCjoJmlEwK2bZr6WksSJIjCInuhqyJ00vlK/MX2N79Q
N3Q8N6vsU55Nc8zxBGaw/aes3pxjs8dHzZ6cA6XX5lGOLNnG1mqUmXzk6MiZVsnqdk92mWSrYkJi
91oNVbVzQD/wyvJq5rNyMtfYpKbbHIBCgjhvVs58VthLw550INBmnvai/F3EyVClBpiCTQLirBJs
o7DzfuR44MGuo/S/9IWf9Ksg7oOTl0J2BFCZtLzmk42EiyHWNIA8YXmNoSForpNJroGhCk6LWzDa
0XYMM+5L6384+7LmSHGt279yop8v5wMBAm585zww5kCm004P5Xoh7LKLeZ759XehdLdt2um80d0V
GUYSKFFKW1t7WAvZnD0CNbZt2nW3QU8yCyhlg326nADEJtEKX4ko3W3bCxMAXBOXVbKPXgFgGJK6
rtkVe9oQC29Pk4T+7Wm+yPl212YNLF4qiXWGmQX6IbdXhWrPrmo+qVeRllYGu2QfMPICmNOv91Kp
IWBzblEDQMyQZioRVvbFM04t5hs+P+OrXsQS3K9FB+zJYJSKIxcLW4bN4IGddBUj18oa5kUBjr5w
tkX3VyVIu49SP215kL9aEI7KNqj9wGjUSXLrOBfvecCln2Dr2izfAIWyMH1Ezf1gzbyklFyB9x2V
5B2S6ukzWzF1DeKKEjaL64bnm23jd6rJ+3H43Ka7vBS1n10M2NWpmcINnybZcb6R1VdxDg4dgnAh
MYzpOk7wHFoT+uLD4BMETf8Mb2lvdJIWHGJVEEDmOgFlVMwnkCjHb21lMLK0oGPMTAHO0w4IvcD+
kHhzYH+JOKr2WavCXIC/TrXzX2LwJDcDWNxVpAnNHwDFbH2nRkCvIzcSnLItJFEDNQL4/srkaJAz
16UC1/qMl3b6MYJmNGsKoyv7LZOgi67BLDdzcB1kjZd/JsDaBZli/5NMA2+0cdSDS8/vVw3tuBUP
T+dVj5RwA3656bEcBpdhaGsZ0DvDvP/JlwnoIJF/wfVRepsh9R6p2/jLrwrQhkIk33JR+1b2Xsv+
yni+tvqsAjKQBEGJFI10w76yR5PEpWX1dPrG86vQAmBfrEUatCswFkR3Wlq4ec5ptxEAnzaQKPMq
7Mefc3nCY7cgQSBtqAKolM/lExwZei7U5Qrib9hB4R92k0x78ENLuROTItRLfgAJAatRgnDSm1IO
nLwfwWvGgQdB1Waj1nz5XqbEybhCbFt13c0fNYD14b1AGbtkFe9lea3UdumRzmBRbizeDWfga0Wi
3prFt72Xc0o0OTxih/WEwbS+M1tpYnUN31ptZS2kh88J5CqLZc4K5798Or79xcq+qkVgKeBzECvp
RJg9GxWuA7uelOKuqrIXEVbGl7CsbRji+p9C6sUm4qfGfauqsOwJeW1niUINkk2c7qmp4KoMEYEZ
itm1DIsc9Bx/w4rYhzJbkdlfcFOAy7WYQESL4FU7UlpkK88JdyyIi5UBAAD8NyLdwZCT77VZ/GYt
eSRglltFkgyRXHBDvJZ4DrtEGYMDvat9CWQ6QvTiYVWohMpPhRZEpiDL6V6LeXUbTHltDW3WItcb
+eJg83yR6vT3mHfNrRqEjeN5ebr2UxlMafPDWItJBON6WMtPMO1HpqdMmanw6rgChCCLUWcfWpaV
lqfIxGKXPZL3buhbA0mUHZqmCBcfm+OUeUjtj8N0DZ8GEgzB8HANZpC3slLZcV60zgJqfcVZ4YnY
aufKaXbFK1nAmwhZ7LkjrGsYhT70C5Pl/sdwXa3g6yXYwsDyBCDF6jqAMeZUxi5ZBaLbm5VocAoA
EDqpI3dIA+82EilmbGoV5sMK1BDvlxQAihhXcReJPiKkVaoZ8YwwDqrWe1pX/lGRm8TtxtgzGKI3
/bO8zcXEzcWZngkWeAtYvglICQsdy1Z4Bt5Gi5h/khyUlo7AesEPkchhd+TVCoBDs6gdg7e2XQBE
Y5G0wU0gALy69eDIwtlw+inxYOYZ2vEBdDFv5SwQAxiZp3LWfsoiz/K5CTkGTROvpD4MbDg54NdT
J8hF+MqBboOkkDhJVkKcNj9Yi6AJJScCOZ8OZSs1TtDzDccPzpfXDHge/jJkyciqtiIU0HABrcF+
xoa0rT5eslpY/Ps1G/8y7P9Wu7j3vXE3P6pUudaZ/GnTj3C6ggq93A6wANhZJYjHDCFhoDnOppfc
uyqG3nsVp/K3KKvqXZsIOFn6g+ciCrw63dOmBWdlIzKV2HrjR6lyIi7IYXuadaB2Vnj6+SPRJtHg
+af3nOn3vOoCYBLrtAS5j4TM656mNQiKx/YtE/u9HTgZoJt36Z3E1zzmaV8BmyYV7URGcHEYl8UO
SfCZhbCn8r5ShF8stZGjvyC24pf3e/hwCkzOkx9bih+TZa0hwri03y+1eiht0CMHdqL4viuPSL2S
hwcW/Z7nHajpAm/cq5Lau6TFQSYsPeGpjk8NxOHID4IOb0GJCBEsiRwaJszCUuEyGpp0vpTnS1Yr
dsjtZLU4K5I7VvvVvTEN4LlIMwCoctkeagL0ShDQknJQt2XLQ9Wcy/uKAjBgbB7LVs3F322sqDfg
ozWBcOun14E/JzC0oQukbln6lSGH2ASshnTFFWD9GzklvvOTvLLAJDXtkPKVbGgRU2cqcvEgRoVs
dDINHjuS3aRJLv1GYj/iG7X2JSj/vF0JWoRvdDEBkD/2CuAjaDDFaKkrN52H6IHhni1/Vk6kjDpK
UZ3Yh7SRpAfkdm+zDMRI74REaRE0jtwGAMOdQEj0XiEUEgg/uAMQbIBEVSBqH8YVvZTDfssumzF/
u2Sph9gdPtaOny9ZbcQjPezsvfmEGJ0yS01A27pyrWRrbVawEI0IRja1TIMdu2YfcxMvn7J1FCuh
K0D5ZHgGUdu/enIeHGg/SDf8FO8ZGIKY9aKDsNHIZq3GdHpFlp5/gG57asWKySii1ZCg1ay5/vUs
4FecWmV1Qe1WrUULFkoECA8V/xCKwIbDuvaus6AGHjeE/w45MvBBeV0Ao0sv7iaEioMcsRZvmrxu
jFzIhh+RJj51mhK/krLB7bMfSk5KHJX4+IVqIFodfJkHIZuPNe3XwEbpR7hJOiHceQL3lHCedFIo
u1hI3TwKnpiaxg4IKrJcdVXs4g1T1jQJcxDJ8IXF0LwYrlc7eMmOq7BVzMhfrLwZWqR2zOVSrxrv
TVk5aDoTbAxaqQOwd3KQNJM+KKAXzwQ1eE49pEErwGLbR0nQ71UkUCPUoAmeI1ADyDywN4gSes7n
O2MhnA5ZKj5k0Gx2gGDKdtB6sx1OINFKHrh7VQzDrRiFtk/S8pgkUXegsYKAlh7MoANsLkbl8fyK
1XKd3Li+r/481fIjfamR/LGFcoRTC5U4UF7CQsbasg8A19lyn3FX7CosNWr+8a//+e///hr+r/+a
HxBG6ufZv7I2PeRh1tT/+YPyf/yrOBWvX/7zh6SpoirLEjAsZA3oI5SqqP/1dAMnOFoL/ydogDcG
NiJylOq8PjbEBAFB+hJlno/cNL+E6VaTVqI2oyogk/6miUek4bat8gLXOdzn2a+OM0/nWL8P4i0y
VpyYaVi9LHcrhJrJyZ5OQeqoDFcOdKmSHoxl6JxYBuOw+XSNPOJ9gECYdzUjiuXIhDcmBUEIkInY
hx97H8tY4zJNTB5zfAN6YkTPzh9ylg47cf4Yoqaycwg9IDL9WZtU7Q+A6acrueOhscsprRCPpHan
Juxe1pg9AGwKvP790Evk70NPqUQxs2QZPmgqfR56wOPlXF8r9Nj04biCE9hH1JQwWanElY9VDKfJ
rE70E/KgS1WqDqwFRc4TUrV5hIl93arKPG6TBuqH5/T8DLMhDi3IirmNLNfBYxJWxIzEuN8poMTc
lgVwMkb4pu4ngD5jeOnL3BT404jxnpvyHphG/GR02TITqvGqDSJxI0kEMhcpDcqFeamJy8GReFh9
MToSQkOoTOXPg9OrcakidD47npR0WsjIy8+le3go8mswynbXSNW/Y+IwrDPOZiKPXc6tEK6VXY8F
uIpJoD3BBtxaVE4zoKZBMAVZDbIGWW5+kLbaKbOOiE3xJov4/EHmClAGFT2ajrm0rZVDwOXVAYH2
Nhz28jGf0fRLYNsC7iD2tqwMkGGx0xTAf2S17IYqHGx5xuWH1QystVUoIW9PTA0Yp6L1pGRA7fcy
pDwOHjAzxD6ujNpDFmHQHMFdLx8XbSXhUFOyVsHcsVDtGcMcaWVtM1cy+rmp85Gd1MPoAfWXdwUp
fK16Lb1t5g9YCotKjgAAhos0pJ3eIfVwk2pFdktaobI5YcotVsvu7vvkdHcO8N6rk71RKghvEamJ
P4DLd40yS2WhsVlFSfjgwoyQtE8zQuZ5VcA/GYzZCtKQFXFeTh8kFSQLGQEl4x9lbFGgj+OHfS8A
XpnlGYblvaDV5IkpYRLXDa4ve8OeCzSoaFwFKsgo3jEK2BNLLCOPPdHDsj8rrSgKvZnZ3kIEAYJ7
p4xALhOXW3YTq2CXZ8tOD/P52HPqWkWUzSiqyUrpJ2HLS6qwZX9JQyyWehaOiLaCo4hfSWq0fq/+
W5tTgVS1zgXZ81nsz4MJACgq8VTVCIDoNPp5MOOg4oUk5b0bZahHuGJTTReQv3AgIach6DsVrC7R
ssecly2m67IWVRUgS6+XeiDcAngWbsRCRe5xV6xq+BlmOVvN0vXDB5KMdl0L8jY0YMXg+IDRSQhg
TvOnzKhiAfCuhE+vBS0OdWZsYRV8yr1VwDsTwkoAWHdOajMjKgpg2Xhack0R5/L9qGjK36aYKCm8
rAgEkLu8JC5GBRqV5GdNQm940OXuxJkwA9AmMULYZpZbhonq0ygyh+I6pFNifoBezkFowOCSWRnw
85AYqwJKnkEre8qIOLiBNmZdRRywuNPaYKGAuQx4DlAh+1t5jhiMfEdpC+XhvVVNEZ2m8KBu7GfT
UOFFAMUIOX/FLtu5rFeRoRSM4t/KWLtiNjWdGs/tWNlYq1C1Je6xmuG9dcWfpCPEMHhFiB8BqYuW
a1YTluDY8irQcLHaD601qa5BkCtpbtCSeQqMPzGdCjsi9bTKZASqzOV8PlDICBgVgZqCEz8A+1UE
48uq3tXacCRzAkmBRGS4bnFSmq/mun4Eg1LSwCwHirDAzwDv3AveGuTexb5tQsDMT423VVPlR5K1
zQ0ryrF1mQl8GDa7ZBVCghQqXnj6fo4Q+W9LRwPfhiaAXECTJZzC5/oPcmjUeGx3o1jeBIEwW52z
h6iuwuesR9ChN1D+AM9PiPA8BAADXy94LoCIAf++91jArWSDNxUoGQoNbz/fqVUdjwPM6GopFyLH
FVgstI8q2KQAV8su1XCygqKdjl2gAFXEz+wQSKAPRc7lO8DEItR0vsQJo1mpyoxyM1+mFcBHS1Ue
VuwSiUZvj2SXoEK2QoSaWaqIWc4ygkKP1FY40eZD6jWyxaEZVdUpcQiGqmmdSEh1O6VeyymAJMAE
JpxSr8E2l195ovwh9brwh9pq+7Q9dcH6GZGYg7hvEiuPhCjtNSWafxV3yH8dkMTzKLYETOE8n7qI
UFBuBb9ce0EhPAJVpLEhUz2HNYsi4J8X8HX1jYp4pw4nCFZOpebp/bGiP8ECPN/OHlu0uQ9TfOHW
rTQhbhTUjWPZBbfAXJcQnwNrXaXU67GGRwBpBYoB9IvwBepTpqdT6d3F3URMjxuSqwyxoas278ia
PUlu4AF8f1LPp/6NVgxITgZPVucNBgFpHIzTyE1W5w9WLlfNaNWy2BoCnd7KWAVrN+AukefF0zPU
0AGJVX2l+rCgZFKb/gQA/IYxQzZRs5WHSXtEECM1ImUMkD8B+lSlqYTVEMJgLxBRxDdQ059qWG9q
L7tDMkN8xUMcXo84GIHzAgTXct7dws/lg87Oz2/zdKpBE1B0DrukZdKu6w6B4+wSJMzioa55O2rF
/BoWdsHM+US5IWWeXPGl4gjjoNywoiH0GtMj3mSLcxmRyhrMHafmXp9ke1Jka2asBWkQ0A0TumYG
o4B5yOayZlAQG93xSAiHsqQCuu2Ry4TrsJJh1MvrtehV5e+OxE9iNKnIea09A8d06VAKYu1ISc0h
HmgCXAOyOO0ibPObr56TxOshLUoHBovOKjtQ4mVhcVPM2SgIgwRL8pyIknE5SBvrJMOSQhn7kEEc
wNrSCVJKDUv45Ifxh5rn5jTm410UI0FDLakAXwtO7NBuJSRo5NhIZ3BDOSlMJBYNm75qKnjg+q6P
d3WUl0Yt8No18EkDR1SLEIwz+ejGBNZ5hCQqR0rgKKB5oD4jp8pKUl/67bfatmvgkWG3IxxAu5b8
IHQQ0DTZ30tCcblbQmuQeJHHxkAFQYBM+SwIYYYqGzJwHQjjBZhYew/uJZYyALipgxa0wgpQYbCI
sLIO3FFB091ODS1BeAOUfKoUwnXUZdAH+jL9lWNWIrhMenhvgRh+H45qL1wpM8QKw1lpAbKK80+n
WQxUpfUBfsT+AoUjiHENv67Tkx4hIvrYaKUx3rdBQw6sgocH5PD9MAhLvXQeBpmH3jD/Ryk7YX/Y
D5RhQJy3yrf7t5h2RZszSbHkeTAfA8QLZgCRTMDLfF/0iS+a0iCWS2HA7igSBPmz1R8UwLODpywy
vv/KkrDQcxRBFVQVv5wK4SH97eSJTFMBRINhtD8p9JOnVEBC98OfsAkns1EeaDuxU2oe7/xZzPb4
SkAo1d+LfeA2nop5sQ1/gmrjvXUdNYoph2UGjCaLmTlTRQvviAwslzyxxqAGcDBcHmYWC8EN55dv
f4EIQTL7FmkemS9I5jj/9d4uA0XeheM4Oz+8W0Jk7Ok4Bks4WIhUk3hcf57O/TgNYTXJ8Wr0kOol
GyJIWboJVNsKFE0YkJSbfupBqDsnnPRtfEDQW3X/3sLjpAn+ITLove+BtZEglSEcBlA5BQCYTrDn
IAs0D44yn5abfq5ll+zDhyN4pIPvBhIPrqq/7s96OUaesCA88/32+zlAZuvC59fF4lUVoIRIRFGQ
k/X5dZFqkY7wZPmrUw6XWBgniwxs+9qO+Bkcl8BQqeaPePJr4ICjvBsz5LQBoFqPKVAc/bYDMB+v
wGztE9EZgeUc4LyA1N0P1+/1LCdMrU6z+X8+2bBqZtP6lRdjFfpBs7j8L3Yi/Pvf+Z6/2ny+47+7
8FeFvfx3889afXo0un/7euZT8/Tpwsqggo7X7Ws13rzWbdL8aYybW/7/Vv7rlT0FqYyv//njV464
i/lp0D+yP96qZuMdmSXyX8a++flvlfunFPfdPoX9099veH2qG1j2CPk3zysyj3O0RDB5YV/pX1mN
IP8bZ0JNg9dMVEQItj/+BQTLJkCH9N+QGJoy/y9SkaiQK0iZY1X8v2UVkhBTCqJFhFHwjz9f/M0K
efrJvrZKCp8FFEcESYFAFaWF1QdIhipcYzwgp1zhanDVQ7oih5jodNvccRf2r8/b13sfi4kv+bAc
BLEvuPS63Qf3OoBmHz+M8xdGVeHzEeH90bNR6+NWgDMsNzONu6Kr3Hhu95C7uc0/+7+l/aUezn37
hRWk72Ww5pGah8+ci6/VAmFLXiaVTg4qUhi1+gJgra2mbRoJtCZTgDwlRfWVFTAqEB7V+JlZtRD2
05AQB+eleE+DyQWGLrVKwHjpLTK09EwIOtivVfjPQmEChUcX2DW8P3oBDDBwKQWaqXZFYndyoG2S
ISiNJg5bIwLAECCnZRBb9rmyqmIxtIRpLOwwFkS4kT3vIe48sg6iIfoZgSsMLMGxdzeABg/urEyn
EyIkNISeV5oHBFaE16ZllJh+k8RIfwfmFc970grWOFCR9ZmMdGEKALu+AMVG3srIRyK+U0R9ZXhB
k657b/BtNe8qwJp6SIEk9XiXDH28pZJSHLW0EyGdq/xHUEyNg6856HLe1q+ghgI4XSSlTgWPki6r
szEah1BxxYEn3WmagViIGihcSvPegv1Dtnmac4Y3VakFe6NsAbWIblQhTB2FzydzrEbJ4ny4oqQq
4JEJgyRmWfZjPUK0gTF5LRzyI1TbSoqlp0jsvD0fENiNQrVbKwDUscAyOayAPTTcSj6QSmCXCg0B
CcHAxuW8DTIcRXOKImXz/QSbN7v33eF9Bs8L88MMbqVcQbgkZrC0C1fUhLFGdADTf8n2Pa/jrx6/
ODsjeniI5XmBEAUsWNXrCK5HwMte2Mo/a2R/fXlxLv/w5QWv7bxqKCE9iFuOyB0qryrgaMbFYwLY
XhEOxaa70NWs437xIuJCWdC8TA5yLkEangiAMz8A48wIJtsd3o9b5Z3UXLB+nvk9mA7+4ZU0qpYy
0iEml88qAtPkc9SrslOUiPqlgTxtfbg7QWA2aBfe68wPtLSA9RWnqVpcT3C713bRQhnzr9Pkx/eT
65x8FBfifaTVFMBaPrk1kt1bcCQo0kpFBppEf/vlbVeuIQ+i4fb73s69ykLO102dcxMQ7FwOCOKI
0cNh3dL69fcPX6jS73NtIeoFAVgTAg5vLkCqzXh71dnIWjfAX7iHnXkt24D2MNI1XAJGb/EWkM90
3h6MPdjCHO26tI/ABliP1hFH2f0msYjebi/tb+fee7FD4CSStVGNbzaJwMDv9mDUNjzkQXz/4ucm
/kJADGOedZMcYULWv4CmYyI7Sm+HH3kwHL/vQJi/51dLayEj6pZLm7otJld1ABJiCPqgx4YGKSRu
wC9wQQkgZ7ZqspAVSE5PAmCcTy514PK9z9aVWxu5Uay8o3aXrbqNaheGZwU77EXrSwewcwuALMSG
r/JFnWEDR4YHMi65xxEAQ/WBVPtCDg0QB9oDCOkVcklbOKNOkVmJ+CA9qAKN0uvyCV67RLJrCXmL
XARIxyQCN6TaasAjD1oKTJoCSSFhApj1ELGvSlL0N9//mGfmIpln0Ycv4GddXEG3xBcgAM/wyJUY
K246SM73j5+X8hdThSzkidenYVUnw+T2PYz0nisK3AU5uDgm/bW+WfmHbx5jfRe1VoIiL6+kF3EA
o0ohgGWg6WBFjyoNsI1S3ThdAzWrigayUQJR2MAI1a4DWHYQAkcRfwYMSUOoU4R9IjPbDuDoA4lw
DajbfCJ6QRFFFco0sYJKzW6kfgDckadGonjhJc4Nz0JGTSlH1cbH8CBd3lRxaGs8/8KjhTNygJDP
vyycry1Q+qrJBY3HXrNzQ7Y4gzOqVWMJ1m/uBW+7yS7IHHJuHi+EjqaGSdMiTg0iIdzKcCzsgDG4
irct8ksOArqcntRfvDvc0Ydm1x+JW6++n2Bntl8mPT7MgnpQ+yAK0HEeaE40+oDzPaYIv5rhU3mE
zEqP3/dzZjSZjelDP2GVK7lSYjThGvatTB1Ae+VFdF1EBfgogA9sft/PmfUoLOQPBALvZRXc+GpH
zYGkvxuv3ldhcUF7PPf4hbypNATXNiO2HgQ99cGoJ9xe8toLU25hqPlrSbKp+GGQtL7LEz9TRze1
yp9A43/8Va97cw0T6L2NBOhtZCPzUx8sdZXpB6SaGMT8hTwxRzHb5/gZyY0v3w/iOSkuLMQO7YoG
SZnK6NbksY9uO/ozkiOda7YEKLLwZSYFUNylC699bkznxf3hrTNOgdYkRaM78ryZtR2wGv19PaYX
7EFnX2YhJEqfF6M2wqhONh8a3FNrd1ZqkgeKfe/78TonS9lO/+EVCCAeprSjoxu4tdW4/U29K5Gi
pGdb5ASvtB39UR6iVWYVRqsTJ72XTaBn2cLh++7PDeBCeMCgwWfJCCkY+urtmOLwp/JmmEruP3v8
Ql2R5+CmQZVHNylmpOcUSleXk0cuUKsLM+DcxOcXukqG2HcOYVyjCzxjU7XAUaZ3pqwrpqJPZmN2
JhyMBkLpTYCnGP4axMNrajrxOjQmo9hAjdEbI/lnWy6/kCCdAFDERMgmV2oEgFQDTsSsokm0/tFg
8gsBgkyyBJssJqPa3IDuZ8xh60eM7PcPPyPM+YUy0uZ9V3oJ7UGKQ00iD8g2gRO7880x6E1/AsBG
JlzYsc4psfxCRCCAhsZx7hPX23HHbP0cmYfxV2cIRmb5F2T5/Ot/ofzwC8FA0w7JWMgpcQXg3ynK
VZr/HlIfDukDqZ9p9YMm44VfhQm2r7payIhU7MCYoqIr1YG1wfRXih1CKRc3ABe9is1sg7y8C29F
5md+1Rf5LO+kVlOjrEVf4b5ZSxvZTG4LF6hoUC44A2lCOtCKdWXjH+K1f1sY3FYzLwafnel6ISk6
Di7CDJRALt0AumqLHdKKVtNOuSApzlk3+YWoQGx40HXIWoAXUm9uh6Oy6h64V4rQm13M4SD4/TT/
Wt4hzOfzAOawi0kDQS9FeEdbEJT3QPmf/tEaItpi+dOODF2QYl775DaMnuvuSVTtpIstjyLvO7v5
/hW+ntqExel82DBib8hAuoxXEMvOiEIH0T+6AHaDQUGizlYApl2fCRfe6FxfC6mA6KgWMHfoaxJf
w/ZqoC5HNKP1rpTI6ZCqxbWXZMLXWizRFjLBj6kSD5KHn1974utXtfOtXoYeMx08eQc8USGFLAcj
nwzD4/fjKMxy8++LicAq/0l5AGIdEAxmMdQbktOYml4agZkaVE9gnoCBR4eafnehr6/FK2ERnR9+
NKB3iE1BMZDlsErFdZEgAvwakSqRYMddgehwBLa3Ot+lRgKKGf9GxalBXAvNmpdXJZKuLnyNrw/2
RCOfXxlG0aQns/wQr7y7wmyfhNX4mBM920cXxOG5GbMQE6TnW0SroAf1WjBvB1268nSE0FyYJmcs
E2A6/vwCSoVEfqAvCG60BvDG4ObbxBlsBA2Z9Q7YtcAv0APgKm389XgAJyEiN56/HzpmhvtitqgL
yeFVSk+0GD0DyMPfh/eiXd4UZr3JnHFVmNV6stOn5CBsqd7cczt6yJ3wDijR99oGAWh734jN3vZ3
ilOu8+Ol4RDP/J7qUuKovleBGIm4jQlEYj1yiMNfD2ZoQS+oVr0ZGopFcQgoYSdCpC22pdfHO9+M
7UqvtzTVy9X3oyPMa+ar0VnoJk2mjdqUYHS0I5frCjD190hBNDTsgT94M19jR7pqL3V27q2XUonn
c8QgorMa+QyVSQ0g0dwDf1iwol14aas9s2LVhUBSBYmj6YBOOjO2QIRsEyt3EruwgU7uTCY1KQAp
x3WzRQiZ2xgAqnP4rXwYnZ+JVVwSG+fedCGiAMNGu6rHlxDteMVbr4rTWZrDrS8pFOdkoLpQXnrC
vwl4EJHp83vVDjUBJG8UOm8iYQ56NGe/BBeEwxmJqy7Ej6ANgy/NP1yfHovhnnLHESHetbcNxvWF
ifi1sYB5YT+eCAMuzvpiVvz8+/ypv5nW/e/BVVb0yP/KbzkH7FH37TF5/b43Zqr7atovxJHv1aNa
SeiNGKpDN7c3k5Fhqd1I+IBz0L6KDXqFZBGdmKlZW/e+6RnqPxtMZSGQAGKhTlqFvmNdsuZtq7Eu
aUnMo/HFeykLudKMdaTSed6BkC7XJWeyVRgMeL20qnVqpTeJiWAiu7aoIa9EW9ArK8K6OFC9eiJm
bns6fyXvhi2s+mAOMvkLa5L5qr76WgspI4kAVI1Oa5K3Mntw23vE6G8EfXKLdbhCbJMlOW2ix1Z9
L+iIlvydu95VawM9z2qcFdHTNZBtHWLD+mL1q2Dt28qFicdse199t4VQmpK4iqVZVapsf9W5rYXk
0VVhxQ4PFwdSKnbVPjxIP4AQsQsc6qhGaH8/Cen8g3/Vs/x5T0ScWwnQQGwCk63Z4gqg13rj4qCt
B7bncPqt6qqmZNAN3YAv2NaQ+KVzRmYWNt0AFslU9djEIjRhM1xN813QgQDUi9WP0GY9059E2B6Q
OGzAv3qFwO194lR67Ho67KWBo1raOnHaFbjnLSi71iVV5cw6VhaSr0hCkDjNL6WkgNwpwp+hnFh1
DiIWQOZ8P3CLILU/bWZEWQg/MYWjspPxk7WGbCdXpSPYvRVb7Z1vPcBE5gyOZPO2sKm3lwTGGWsF
URYSkAMathLz6FKGiwuQrM69gOnSWp0JLnFsmIGdWpP+KsAPVpuAWdELp7Qa826wCkcw6nWgHy+8
/Jn9TVkoagWs7zlIonFCvoKLwKKOZBRXpSGYg46QXdM3gEh1XR6KXbT7vsdzHS5kpUfymg9mWQlb
NWjIEJsOBqLC9vLnVAyMqr3k6D6ni7B18kHX5kEn0A3zz5rrvZXu401urOVri5iJdby03M9YBhEo
9nnRBS3CwIUCnYBbMlf2QmZ7UWWk3ToeqV5Lx1C5iZtLRi5mgv5iidOF4FM6PwGujYqx+8X9mG5B
edQQvXoBHvcTKBKlK8RCBpM+rsVjv5aey4fvf7Gz3S5kmqDxBWJu8ZKVmd6MvyezgEQLZjmP9Hiz
xZ4WwSrpm9WFKTJLrK9ecyHJAFNaN6BdEFxOvlGrnyF/KPtA//5lzj17IVCmKcpAFjUPYSQh4kU1
eu6uFy6Zz849fSFKeLgSlaIBHaCPgCxhgN6UvlaKfOG7nzGO4Nj9ebY1HBKkqw4DA0g1EP+SnX9T
2PFOOvI/KqzZ+++H6MxGQhciYRj6KqcJxcIZE8SlVjUcBg35MWW0MjTVd6BZGWkEc0MxRBe6PKdB
LQOEgeyRpXyEPst7pdXDfbv37stddBVDHTXb22oFAvJNuAYWzu96RVbFBsDXDvii7wKo29+/NvOR
fDHt5IUmJYK+cOJaTI3+t2x6OxwsxR/RIcr0yRkqvfgtboqbah9c05vvOzyzt8kL2aGBBImGGvoj
9JjUe6SYEO8lBP/8948/YyUk8kJaBJmSTKGK2XLVHfObZh7L+i656s10Pf3WNv4xczpMom1uxZNO
cYItr4q7fPV972dWgryQGRXJS7lPJKiO6WOWqHpYAh7iks577vwvz71+kO1lr5XNkGO6UIdsmnVo
gexUny38gMk0gqenJ341WZM1a3fFBa1TOnMIkxeSI8moP3YD3ghj6QaRK02rAHj7sAH4W3JIf5ag
51pjv7ziH7wHBXCC2NbugRCPkOxVl+kiQg07HeBH1Ah3w2/xPqn1YqM+F7LZP4D0hmyD60sOq3OD
vxBDeTSBiRFQMy48wVZ8G17YCM49diF+ZBCzA/sPj1WUZ6GMgS30C1yRF4Qbiyr5avktxI6vZCnX
M+H2K7wh+//H2XXtRq5ryy8ioBxeFbvVuW237XkRPLZHEqkcqPD1t9q4Dx6dkQVsYAMbMDBiMy2u
UKtK3N7Z9y26pWhtdPNHGQjXR/VgnBQretKcFK5qiSzPsYJ/77aHwiM+CehKkXYpIP5qcPt2wCaT
xOi/wQFD89fmfqxiW7BTT/WhKu58gsb6FLuJt5Y3WSjeS199vd+GI2PSGAOwDnvdStwEkcLkxZ4G
2K3mnEtLtoGGsExHC7iDpTisVUfk+9H9x5LP4fzp2ChEH7GhYAL+8iUkNE8nNjuCvTHZmVdw4Pni
DqRQj+SQnImjXOr3Zhf/Ki+IoBKo7XiQdRBe2iA71KfBhXTnGnZiwTbeAdbfLzg027uiS1o8pKib
xWjIq/DkAV1taa22cuAWHFFlZqFQn4PQxCDCQqE1xU/6NLNQl6+sQpcbLwTv16lXM/VF0BRzxSaK
9/v3r/Wema0SLPRi1zdwtt8VBZp9DvkdZVb90AZS50MINrSn3i1WbuuSt6DMDBYDeyVYgiekrobK
6UfU8BK0IE0NJCcuUrUv2DU2n4uM2vL09J+MvjKzO0MuT0VJMKLcl25ZmQE6M7eltpbnXIrUvtgi
vl2ToS+ytBmxfrXHndFlGwrvp93w38RVtu/0eg+MUl/aETTyr5yShbqe9AVu/DamkvVxDUE2oH19
NCEeh524ow8RQmYx0LwW1G42KMP8n9dvcbBZcJTGaT+VIGDY99L4GEXSrezkz0pHUY9XD1UMHe2+
8dEwe1T6yo3S6Zo11I3q9kDZeKW6cvr5dyzcvjlIOANYXukgO7QHtW6XeLx5LQVII/Nh7S399z2Y
I4OlrKWsC7GmOvnN+Y2CgPPnH343D/+4YHMo8MAlIlWkROSArHtV2YQ+GObNlAJOx5U9WjAbX7my
b+eBEbOJdEjR7LsRPEUxOhFlAqqfq1jlDgcQ3szStaO3YC6+ahDfhppAPElDqBLes+mn4g0tUU/R
RXfTN+NluvFfbMVQLOWsvp6Hb+MYgtZUmYpVg5bDsd6n29hOHcOZbBMPjwbkBHxgbmmWsCuf0g1z
hOe1F2jpwMszi8HJAPY2dB3v67Os2BywNST0ol/6Nd8MgfQuvxmtFSrr4NKl3ZP+fldEcI5QSP/g
gtnkxJDInJxhA88U6Y7RK/3EedXtyB7ctfrB0ngzp8YEiXEfjhhPRqLHtB5bq9qvNQosJR++ykHf
9k0BM52aCvh4C8DBeIxQsaSbAUBp87/d0zkAWJskDuWUuzkiYNuPLM7XEFtLHs8c5ZsoRdtHd7PK
vSIYNvUpC6qAOkDAHvmO71q3cPqTsaFuHCiZ1e9otXKrloplc8Cvypu+BX5U3GNDXtChA/0qyZpC
n6mg99hM5YYg5Yka4oagt6W85sg3llb0Cl6kqHPHnew2lVO1KPeNIFPSbZAInOTzz+ZrKQT9Co+/
7aje06oMeyx4Vdqip9kQvv1ImEWu5jHfmRfJ4Qfug7lmrXViyc+do4OruqyNShQQ1NymPfslO22C
6ql+mPzwoUwtJHURsBxbP3nNvJU5LsRRc9TwCK8T3ZoYEoSeF7a573YCmAxkzv6jPfsKiL+tIkSm
B4ZuKBGWDFWA/tJus0B+Hjadw/a1227KzehAmCdI33IEiIKvP/7XfOAc8qsnet9Xd59LlV0T5AB+
hP4C1YK6Ow3iXbwSniz47V+X6tsE8ywyM9ByIfxta5vf+2rSldTbQu5nDuaNS2lSQkggQlyM2FrX
emAodXn/GBJQWUBWa8h1Cx3q/+0ofPl53+ahRGE0jnfrWLnITViRTz1pC8yjb1x/HmEhYp1jeSd0
pfWykQOGIPVuLqLkDa7poViD2y5dn6+/f5tAWqE9zyh6XB93alz+op+kgF3bLThMttMlvoUPLZRe
rfKtWLk9C+/Jl+H4NuCociSWBXqPS6tAzC3VVYF/+FxLSS3FDF/v9LfvgxVqEkHXe2/8ZFf5GaUj
CzyhDkyP9fHzliyc3a90/bcRUsKEQQGXyn7sjWcWF26S8svPn17w/r7Crm+fFjhThEqMkFBTrf5P
+sCDELS7KzdjyTbPEboiOgvjsiLCfjoNp/AN8rOQ5DtrT/01CvreEn1InkgFeBVs7ffP81m4jF+b
9G0+UGwcBINhRPD3mojP4YUFBdTG7OLcrSQ9ly7ILOCghpjGpMSSgbf5d7qL1973he/O4bgKWOa6
osF3E+hLQV8IGqXP8rCyz0tbMQfYloIJhrLBEPZ1ggRc/mhc0Cwa7s0L9IX2YkD83M1O5DFcQQsu
3Yo55HYcpLYkBONV4wmkQK6qvAwpujJFaKqwS6ltOfkwWG4p4woMcuEkz2G4ojTxBKQtX4CPJ+Vc
H6r1GPPuev4jRhLuW/btVBEDHCEQFBb20XG8QfXoJqOeI4/29MZOpf/zyV0yjHPgbVqbIlXzVNzH
W8WtnvSd/jJsWSCVllYhd6dQK95Vp7TfGPAqyxXXbsE4CrNgQo8o1GcFrFq7vedxnkQ/3XRQJ1j5
/NKmSH8v3BhyOgjgidzrkEp8EFQ7NC3ld6evfH7BMAqzUEEncmOW6QivJQUhNBaFqSvh/FIpVJjd
cijhVRXr8Wro5CD+Vg89eimhpLyNL2FmNZ7hmXvgsv6TSRHn2NoRmsVcALvt/h5aAWqz+flI/dui
iHNUrRlWvWGSEHcQrerteBsJ8JnZWppH/vetEOdw2iLjNeTKdLwdQYniu4pumSRoH/OzvgMgIFAv
QEqcwOqkFRZwmmgY0LzEiQG6Afr5ZuzA3WXp29X6xr8TMBCg/fuoIX9v9GgUQpIB2JrcEwLJZ0hx
hY/lrtsj622D+NRrg/iobcCutQG9rAM2dKBJ1Nf/ttozIxH2Cu+ze5aDmPCgSWOl2i8RCNWfv/7v
iyrOIbdlD7L3ihRIbFjynhyTrWGRc3j9+eNLB2VmBcCJn6pDhY9X0UWFTovaJo4srh2UfxsB0Zwb
AaKBapkM8Cjrd2AnrKp+NJRNP23N9D8e9JkdAO9QPtF7nUlOMqvQ9m36TPJsxcgsrfzMErCRT4WW
4+M6MdxRL97AZe70ILrIDcPRkno3meKKw7TQ0iTOobItAcEThIkB0t2judVD/31x1T0TKKh613uD
VT7CPUCOSTsPf6LX4S05NdSub83553OwkC0GmdPflwj06ToFibS4Hzzh1t26YxTIR9SPHPAq7WlA
HPldA54mvwrOWvi04JmAM+bvMbUGjKL6Pa1xx/OouyLQPTgIuwR1o9Ymr8KuvUAFw/15hgsVXtGY
mQlJr0ywm8DUit6Ne3DaD+0jRKmuyUH9PezDbbGPN8U285BBqX1I8R3FVQj2v18rtBP8PdGC6o1B
KB74xAy9pBY8SHWuPFdLn77//ZuDEkL9pEwzSJlI+UMov6fF2uFfuLtzlGtZdaHeNDgQ4AtF3WWE
Snd3jaiFntWVDVmw23Nka1ZGIJ4BzeNedJSnaSs9CczK/PAsP9/9UiRuANodAalTNhTnP6D3TfF/
Qcfk91pIunDB7/RD3xePgJiU07ZQ9jGoY3kRHcu7HDrMoJRHBxWa2Ma0YmeX5jozJVmoopNVxVyr
bsBiFt22bZjXlr1XZaCj/XlFF87CHN0K/t9WbTM4Rax9aiEN2wzvP394wacX59hWrQSbv5hACly4
xY/ypkV2aHAbbqUHvOn/7Z3TZ9agaKAq3XQtEusaK50MhOyMV4ep6R/ksrnWYWtrHI06KzOSsMX/
69iLc67BLjdUkPjBP9Vy86Imml129UY3h0+hZsc0jiSLRVCeiFh9EsfRh7iBlw3mirVdSOiK89KL
lLcQrJJqWNt3IHjS2gHxqxbbkhv5yin1iE1vgMdfUvSyskfwGOM/7q4VzhbAA+K8KmMmEbi30aME
9y36VQCDPXmKHQKq+hBtQmd8Zf546A4oYjjAC+RXcplqi2Kv6U7zig2ImSor/lzZhwVXcl62iWIT
Mq4ydh1Kwk7u8d10aTzZLv0mWGtDWYDkgZPv72teiwozYhWJYigvveQcq2lz4HuRcXIqO91V+9BT
XcULkdwGNOa/efbzYg20qBqBDhNsSCL9IS0yxMYIdoEyX7mT/853iHe+te+2K20mExTP2ETBrh+0
4JMHecB96v+8L0umZLZkvVQSrSU4oNCmIeQljx9+/u791/3r2sl//+pCHuKxj+7Z5vLQTh9mMYJI
/fHnby+UeMQ5UHjSqKTmCoL1nm7V0MmeeCAHoosk1ACXeWWQ+y/91wxmb0YHTm8wLiNLyj3u6RZ0
wbbiJttSL/SQvDTPqf3zQEsrNXsxaC4KmaAw7C8DyDl71cE5L/QrKZOFKia4R/7eB7OIGogrIvUu
1JZ4EjsLpQwFzma2qbcA1OyQ83c7RO6b/AaYbNDeap89rgKGFt7dORBYMsAOqBQxMsFWCgkDZAZu
+c7YJ2gxv1dTTDvxQU3tstgyX/WVIG3J25zjgSGVFMPo40inWw6Qf+PzPX1MdplrOKpveNCfNt7H
vf4fz4k2czfHUUBOKsf97IPhZATsECLldSbX1BJt4dk8jyuexcI50WZ2IOkrRSLgZgUr1S+Zx6DN
fYq6tVzewis55/Rs0koq0hjWmZUGtYVJOtI2eoKYhN8OiteHKHOHsqNC7nBqgEyHxFaIm/HzBVgA
AInazFaEdVOpE0VsikY9t7l2h+zw2WL1QD2z4Yd4JfJa8MzmMOEsTc0E/Id4DIV019LRbgbUJzrz
Qc+07cpMlpZxZjN6RQCfr4YxDF8JcJsDQHCsPfEL9P2oK4N8VSH/YZjmqGCpkJCouaPA8q3kNv59
kMhlB+lVcYCK8wVq1Ttpq/vRQ+rTJ/1MtrFpjYiwzJVfsGR/55hggHGAwLhPE9zjaHaq7HtDDfoY
7TXju/AqzUHAeqWDTVFCaq6VwaTeHkGhu7JDS1+eOZ93ml5DByv+nmwaK/zapczmAdqiQHkxOuy0
5nyZ/34+5lDfiUypCfZmTKFx75Aha0JGJznXl+z556ncf/E/jsEc7auGYRYxHQOgdQnd2dNlOPw3
mLKozpyCqpaUJAEJ+p5Lf1TtT6ejf3ZYOTwLZkydXXYV2neEjfh2kQYpMpW8+oyrp/+2JPdr+S1G
hm66CqFHfFtIwCBqHAchsyQZQAnT7dAK8vMgS+ZKnV3y2Mxa6KxilKrctdmpEAFOJe9UeQqBr9Oi
o1QEpfSYjRsd5AkNe1kZdsG2zMG3Y5hEWQkBgz10HByyK46Sm1x80VdVC/h79+dRFnZnDrmtY40k
AljZ9xHX/CxTXcPo9nG/lq5esMFzaC3JdT0C74Swz8bIbVX2UemKl+vddkB0sLI/C/diDpI1EypO
UY0xhrJx4vStjw1L1gDdjY89X4vAl9Zp9ujniZFx/f5elvpGIcBXkrMers1g6eP3v387xt3E0lAs
MYN8yN3G/CCoFsbq2lO/4NfOAbB5xUlr3o03OlT9co+uxh1EJmy0o967FZF5+fkkLdi/OeqVmJrU
ZgaG4V73pgArfoelC/u1WtqSYztHvYZU54p4D4uk0YrP0cNopycWaI7+kr3xZ+lFr9EjE9vRAcT0
pi2iK9OBwt9qXWrplM2MQCKWkIrhGB7S1bZYBQk/THcNZ+Na0pXAcsF5/mq5+HYMUtAI93FynyEi
9+qIV9Y2UO9eCTsWipHiHM7aTNH/R34Gs2LJ6m+5ZzyAuNc1eqtzpqC19UewmKA7cC2Hvxif32f6
bUbdBCnkIoRnLvUO+I+TjQiWFCsVLIlaA2pH0qamjgauPJ+dyd2sjZufD+OC3fnqOP028IiccFxo
uK7mKUaLVLNfw6YtpfO/KmffvswgLjRQBb5rvpfekD7FrJ7bd9nLBKvc83N1SJ6Q5nETH5qLe6ne
pImdBuqrtB9XTsmCQzOHO9JGgeaTBrSQUHxokWRP3RpaYSmQmgMdx2aq4lpFIp07aH2g3C4bO/wQ
zpAlmoJptKJ3kNc1z33QB9pacnChKosmg7/PyKATIRzvOZz2JbtVQJSD3/tdc2Qn3LausGPeamfb
PcD+hwM1hzxC8kecqgGF8e5KwDxg6f4AK5gfKpzHlZhjwZLPkYudMXIRAkt37Z4q22To8LUEpuiW
yLNqxc4uOeNzsCK0YcB7JeIERm/geiEut8HXGdlPUFb5+fIsJTHn2MSqy8a46yphrz9EV+gm0cf+
j3IbLhU4i5HTru5NP+J5DPJD76SpNTqQO115rZYWcOYtMqiJZ+Ed8tGZx5S+tvW7SVcC9wWbMAcl
NiIUFSelE/apGFuTgAaQEgzzkkXytb7XBQM+ByTqVK+jUcLO0Oo0KLYwPIKh2IoJ1OvCo0YvP2/P
wks0ByeSSoEqkQHbxjXNysbHTldskj4k6PzSdefnMRaMzBySmE+pAHW6u5ExTIjuTFZVrnU9LPz8
ORhRyVBFE+7yVlVZkl+aMfZ2OtDIi/K6fWhSkvllZq6Rry84JXNkYhGK+mCYYBXmE7Hj0PA4f+uR
7Ta3iXrvnPtQY9X9eckWQPyg9f7bkPUNKMSnhE/7sL72oGJC40XZvRGU1cCjYO6zcBs2Tm3mUDkK
pH0i5F6sRCuP+8LZngMWwxayjN3IQf0JX9JWlV63olEtvahgoVtl0srRW3oh5rDFRJCTaoCs2Z7s
wkD6kz+i8hno9uilx3ojXorHnFkP9GllRZd2b2YMEhPcbTkH83ZnRxsBBH69WwJUGt0JXkCjFL8h
ZQTy1trurZVzv1QPm8MbCzE0xFCUwRxLp2Do0lOkossSNskCPbWr8myHfA/gdlJ9m8b2XSPqfwIz
QyXr79Nj6KyddLmf9lAd4kcVO+oNYR+u+ENLMezXY/LNbSGJXrFWBV2mgBBAdMhV3OSgNuE3aG0B
PENWUnsL53AOeBxzg6AaCgBgK8dWpD2OLYXmwJlMa2/TgvWYYx4pJwQCmyA4zbq3qdgWVIO+/KmD
r5Ki6+jnc7c0ifvY39aK0UpnEboiodyx48NnkZ8gBVyGnz9/fen9nqMa1VBrhWigwh5aaIDMNhc2
4derldspiR221DWT7gLVwM9s7B9+HnNpRvfX9tuMjBpSCqKOB72QZS80TNtA3yokhK20FVfO78Lb
N4c6TmVbDgw6tXvwEF1TL9pqm+a8VnJb+v0zQ0DHHHoyd3xu177TSIOC7IaZPifvPy/PEkZGuKdg
vq3PqMlmkTb323HRAvpq+EikHsSt6LCA79JTdkCZloCFJvtQdmt+/FdJ+H/dUUh7/z0oLxkwHbkA
Ju9TvD85EKW80+RZv51bs2GtJfjQMxCsZ2IDB/mB6DborYcOBEWJn9iR/yey30F5e0DGaw1v95XQ
+tcvunsD35YhNojUED2S98VUErS7ZdpOSRoGKnOTXYuJ4CkZQqdjlWwjHwYfFzz6mekUXbWfCtWJ
TPUXEajspPEIis8W2ssaRRWc31XuaVE9iVDGdJsWIjhirQZJBuCYKRRoEdEawMWp9BDm/KLqvAVP
aAKaMBbvGGcvZkY3iSY7kBf2hy5yy7D7k6V6YtXmCHXghjPIxvWJFWU1OkHbbEO0UbVkDoXaqTQP
MiglSDXRQzlpf2JozNpVLukrtkJUFlYNLTt/r1pjKJHRthLMBTQU7AkdkFtTpWio0qfK/J2rtZZb
kdKCmo9xONPoxoCwmUwleoXoUg2i7qG76tOYncu74k+FBIAClSOq8gDyjMPkj0keou1E77TM7WIw
7LqFESOAz82B2wntTGioyQzNiSIkdSmqUSYvXbR2gQ2nkcaHqWozL2siZEx0xCRjHIPwl+TDuauo
NDgMAm6ypZNBkkAEo9D+GqYj2Zj41CuYVUULOnPmC2eT4BeTKvmQ+6KRBUmb+lNNowo6KZLwjvQb
cCMlDgAEbgB7cXIMn3tk6kvBrVNxuMYsBKVSAt5wmcJgDyMzdT+Jm+4Z2BZFcikv4k2L30LsUs67
T1GihLnlFCWqNSIf/SyLRfvQVyy+DqSQHbNtIPiYTfFBpYPodIr4Fk9ahyoZnbQUIsehttFADCtb
NB6GK54M8beS00y3M4PidhUxmx500yj0XVlE3RV64VFnqVCmPCokRdYIXdzFmQOGCNCYqeBtkfMB
gI4cHOh2R8XIJSOEmzV56ByqoZDLq0TwCi2EloMsZxDtHuDfegqkd2yeEQL3NjICsxkkRzNSdL2b
1WAlOch85W4MoaALeaM+UTS3UdTyorFeAu9KlpeZFwkUBcaYJKJk6SaJgN6ohfSt4wQ+Xl6bVkjy
0Y6bHFFZXkCKSzGbcVdBvcMrjFGAsKWUYUAEJ+zDEHJxJ+Nt88WMQRcTrRXW0DWZL1Q9fQ07ppxb
oysfUpZNNgEdzWcHTMklzyfJVu6JBpplylEuufwsd6ks2Fkbdyc9wUpESSU4YysL26JHh1SupY2n
pCKEnsM6hYATD69ZVw+22RfKFj+G2kmK22sO+uhpYsfBX6EXlSuHUeKVBLiwZkLaoQsn1c0FiP1Z
MQ0rR4iraSu3OsjVhAoYynSUjsLU8hOEzPqLlDTduYqhhMvFpLHBVAJHRGXayey7ChjLSkivg9Hk
tzRUle0IpneckYK4kxz1OBdgX6yjoXvXoS13GgkD74MoonUugw7lcySozE7DqtrVONVnMTeKY5pA
Fq1gunrIk4bYLNKZV7ApLqyoZMB3whjahQoXRVea8DiYcbVTel5baaW0uwobYgPZxf2qU4FskAnI
fCucXjfSlQKtO22lQIV3RCI1TH71hvCcZMV0SykTmN2SpoTJVGrox3ZoljxQdBr4RidDKm3qO6vu
G5ZauiRJm1A2iJfIfXtu2ZCXthlPTeuZNXp3RGTi6iJ6ZJ2sw0qjq1qCdkU8OtUEpstCe4t4yu1K
RzqVjg+d2m7qRgBLJbPDCrhZFtryII5eDlk5Sw3NytJ1Oj2INOycpjNHF9rykZeJOUj24k3VtTZV
h9oey/zXhFPtwjCDnrmNNkqtxuAybv+gyCnbQosUU5MdYk0uvE6AiGteCQPWXuWfRtoPiKokXNWa
mhb2w84SCKdaRd7CvrTE1/qstmo2/MnVooZW1FS69aiedD29QOKewkiODo01BwzvTtMAi5Q3dp6M
tty0p2QyoH+nTWCthLxdoNSAmGiTrTB6SuNiH7XDPon5TReh66Er/UvSQUxmINWG9UBUJZGCfoK+
AlFAXb7UZAyRKUmglDeAPLmEmHYqHYGKbG6c63eKi6jdNGEoPzODHKRyBC+trLkdyI+nEdk2CjgB
BKO9uNBdlkEqdBhsAzaUxfSAKe/qVIbakdxbSRodQ0F4LQYBkUpYbnjUPTICZh4KHCLTxF1R5TsS
NQGvcIuN/HZ/jlMt8kJTGdy4F3I/E0Lk9hIRj7seujVuog3hQ69CYqmouV/LLc65oWhnOvSTixdu
h3WR/ZTWXkJKV0rNgPB0A8keF+gP1+iSM63joMCJSZrcHTU1UCNQPU7Rsc7745iABjMSHGFIZDeK
uw2t0SQKMkurTsTekQXpUMr9ALrnWLOKlgwW1xvBChvKQFMSVsdyCNEMjIDbRoi0TQ0gS0zxJEFc
zSLR5MMWo11aswGw2WQNKCDLGhiwZhuWhgW6XL+p6i9pPs/g5nE0WetQPfQyA1agB1p7gyd0D1J+
5stddla06VxBrGGyCpmV1jioN/SQqHbVNb/HqcqPjPfo3um0EqwHCaQcTK6QRySVcEm7YmMoxl7o
aGXjEYlR2kanT5KmtdV14rhTWQtwikTgzhrjQ94UtRX3rQmEqqo497rZizkgKCghpWnJBaW+MIRb
ksQuN8bKH3olcwRR2uWEbcCkODo6w60PGxkoKWS/odaUVk5skp0+6vDnpkb29Uq7iK101c3QKbMc
TAPqFFR6EXvdvZUk5N2LXo2vggB/KuF1Z+d9csjAOFnw1IXSYvIkC5kegLkCxM91M1lK2TOwx/FL
ErGHieTM07EnuiWLymbS0AyIVFLjCQxXVm9NEEOVI4o00CM4hGoKls26gf56qplenIN1MSndVIrA
WS2Fkk1EhteOZs2TphfDUzVNfhoOXkSE9JUopPNVZI/suBJEG/IGoLngCnAJHE6AXNTVmYko0EWS
+g6d589a1nyd823T58+hoh8SEm3qccIkOAgsVJPGm1iHYiOOnZuVjVeFIQmSPN/CHRWh8i0Ox7AV
H+I+Psq5BjROQattqYQhFNmpYhukxo2BAHwJp1eqWzdtJDGgpNM/VAntXp0kNxs8ZlueG5aGscUs
O08D5VZWZih8ZLWnjVDaCtsYtnp0lVi7FaF8MrQhs03gVphR3kZNs4dSeZcz9T3qAWYu4zG3OzHs
7bpHEjMyQmppenyh8fSo5Kk3StSFoEqzVdsGHTuRyVMLrbOWkcAC4wyyPCJ+rDbgspCF3h2kZnBr
rY8cVRYzt+gz2cnHhLpU1NH98gx43zufpoPA+2PNO+gwZ15qVih9sO5diGmQjuGRhOVuSouDiMma
jeg2dLiGIlIm8AAfVGImdjziUZjglwg1bL36Zyzk6hBpihPG4eiMkdwiqQzM0ZBsQfNHtkJoplv4
s8pWBk43p2PlNV0mOFFhVge4IZHTivWHOgBK3EkOpapX0EhyiaBCOJ64RdOOll7n5UNhNOpZpoVT
auxAMnOnDdM2VuCtGuheNUCImzdPXdIBVZj3NkecbimtVO1Y20DqtEfBOuLlDsXxszyRRwWCz6HQ
29Cbdqdac8ORu8bYeCatEkvS+gNouaFGXaPRoYHMZ60+KqSl27jWHpVU2mO9Uhijzme56cQDdTI9
cxPZ9KYKXNpj77YFLAhcd3gbgyXKfQMkHwrPph5BUApirYKp2SKj/tTix2JHr9AXgzEReGPx/ndd
5vomgRCppTehHOiNiK71GJ1bGaijjvD2TkpR2nXS7OSMXWrS781cbiEXqh/Bd2xHxYDzLMKhFVCu
gwDA2MApCC2zFX9x0vh6IllQfA0miKjyrnJYjgzPSPv3cSjQfkWrl6lIWz8eyVkc9KdOACwu6gvP
bLkD2Q4n62Q7jyIbQDBHbSBKYhJ7akVX5tBAjOKPCWqWtiYmyA0307GMy98awbcQP5yooAFFLVJP
kY3AYC2zIlnpnFBCb0eJiiwrlU+9wZoMykgCMlJ/yPSPRqluGauCOlVfuZ4ejQRaGpFcWobIXc4a
OKxNbClddaLIJY0T6Gs4IsW0ATizM2NbNpqN3ssuS8RnBc1BaU1QL5WjySNGPfoj4GxeMbDITlh8
qsc8cQq9kbdGrP2WB2lAwRWCtJqEELgwr0pdSPCJFMUZ4vjMhOmoG+pB1MRD34IHNso1TC5v3VCE
MpapikEJXV6Z1KVVpspZYhGE/6gjtnhVC+lXqfYHMrBDJpeXnucQ4RTsfPxd47BkrXyJ+WcmA+4E
xIIs/2qTd0AXL7n4poafJOSTVarmwRTIVqrQlZR/dtw45SS8FXX2QdMSqqUMYlU0OUWamAJLOaJp
KC5gewTkthvpyqtqdDQu3t9AKVIdJdJ+QxajPvYVAfJaZZKB7mBOr8r9fa+yX4zcdYMrt8pFdxIE
P75rgKfCBeLDAQGGO2/v/0ATLTMSjnr6weT2lpTCwRgHZ5CTD2lqLkmGGBtoj3ZAOrMeP8ocyJyi
dbNEO6tMh1bewHyG4CM0IYU1im3Qy0KAlkkg1jJtk3PBGcLU0dvKw0+1hzZyx0Rx0KvtKQI7KZW8
GZrKV3IdfKKj6SPA26YFXDuIopU7OWWqP4xtD8APjqvUBxOnFqOTNRlNa/O69ov8pvdQUI6gBB/l
B2rgogpIkWDnT4lQHGLG3EgIPRltohBDAXuWgSJhAWI9cSissMr9vIQjRJ7gyW5aUWVOKV/BOgjA
mshc1o0fYjjA19Jcria/RjjzfaQfpQFdrPLkq+mHjv/lRLbVVH7F44aALMp+yWH3kXXqaz11N82U
bwD12TKRHnPghR1ad4EWIvVQVBcQOfVRaSthfIroeC7a0CJaJ9hiC5crjnElctiP6qbhfS7kP7VC
n6TYeBCy2KJt7tDyxlE4zPgfpX5puqemlICWee7Ns0oTl6gvI/9gamsNNWQzpce6hhyEgc7S/+Ps
S5sjxdV0/8pEf+eMWMQyMed8YMk903aV1/pCuFy2xCYWCRD8+vtkzbl3qulO542K6HC0yzaQIL28
y7MUmKHDMB16X9lDznjYIpY0zRRNPFhNMyC8qn/ns/3GMv84ildorO2m3N75ww8Qhk9m08V04kfP
Kl/rwJjQsfcOxSROGlBT0Kv977BPrldshMEyntc4QRTLORXMqmLPZGGL+l92+8z1NqZjwdPM+c7s
j9ndlIO6r4uHTFjPHbwcMorGBur7AU6Jykc1LoOY4u8J+WIHdwb+j/Y3nVlECNJbV0FRqc7WqAhw
B3eeTRO43cEKu8ccoQ6Dmtz5GuKZvSu2ep5iNigb4QjIDKh0DJwl9Xyqpy/SOo6gznTguuLmMw7E
hNrB6S1qoREpP4z0vrbu0kbE0BuIGSR88novR2dbD7g2UPSZvPcyJyrtZlu13lZKL8zHl5LPr2bN
w7RDlkZvzx9uCPBirJKJfMXkJR5Kf9N1H97QQbRUYctnVjLq4cZH5cfPOg8orpxyPtCZHosRfTUY
HJdD8EADL/ZzZLApusz2d26MbwVezVqk+JUfA0CAmVvFE+icmQSfCbpDHbjExBjDNhBPGD7vi/Lo
oG7UpsLOAA6h0rGLsZmPmZrXlnE/ZHfCrnaGhBdXXWI3wojHLHZzJ+KW5CtOX+ogiJpOGxGdn4jz
QStxkP64l5382k8y7LiGhqU2NqmltpbnvQ7o+SC0rPTonQaKZV3OoYHKrdFwmFPQN3NezBJXOsIs
2nvOsrfaSRNi0/saNPJWNckEby14hu1klz5VQ3bPYFTDtHFIDfPZVCg0u0ddvdZedrQg3s4nN1b2
Q9pgIaUMq4cj6c7qr5Yb7O2RhLJUB9Zaj1M2fYN/btC0K7CFE+XsjLZ+zlOrX9ko0plK0UGkWHPU
TqOqN9cVA8MmvRuUg/QC4hAhmmKPaCzCwseh0cTUDzzgU52XXiQMakSW6SZiUFgG3B0OM0zad2j3
8lDpIeymLu7JBMmNfqf4u9XjiVHGHwUWTAp5VXRvFGSj7WHrYvPk/RxzX0Yz8oQSnu0u+jVDhVvt
9WFbYhyelnAYME9jdXYyyhJnLNH8hOLNBP8VMYflcDovIt9oYwtWStZcx1rjsoAI9t1b14LAPnLe
gU8JrXwQLX0bPQuxcv00GuvxzjAaoPIO3D7lok6mFP2zvkLS0oc1RU5uk3VReBvBXuFKvPZ0kdT0
1qsa9BVIRMx3bedHN8jWrWg2weA/KBgXj5lOjK6KHQgmUaidMutopHj+nYqc4S13g1tVAq5MX1HD
oksgjtTokNdygREs8vZsBB6xhXGh0Ua0ctEKq8C69RDkEOhkBnN6Rto1Nsmxtna8+HFu4wAeNaLv
sPF8E+yxbePJ2LfKyKxuJb9JsbOlvwXcEUqIgLvBNL4geDONWCBZ/qbF9OAziFV7wQfpmq+aAB4+
9CGaUzvtd68FDLgC3NWMKYh2oNhVHXlAYVTFGAzCVcyu9h4sdFBHZH1sl/bzjAa9rm9aPPZ+hLwS
tvKAhju+HQVHb9/aZHX3qCqFh89/GCLDxoaDbd4+Gv1NLyDJ3qUUupr5Cc67Rw3D8AhIxFUWlGAY
/DApqlOzfWyImajScEPGjEQZ0445GqYNNtL2ou72RlrIzdD8yPJpB4OWpLDFCci7KEuzu8opYC2C
AV0q7K9QOXrhpTz4JECzpaCxC2Ny6cPQibrD0SrcQyNGthUdePww3fQ3jkleqDO3SVGLJ79iRlgP
X1zubx1aJG1PkPtChUxvhrNnZ41KJ6wlj3JyZ3r9K+nJW1rXLy1y99Cn4l6Po/PFIgEgbbdDuxvQ
y4WM9torttook/Ss4Y45QLuxGh157j2sOrc+gLBGKtZMwdGGCRJOo7vCmn4wIVqt0b6DFHjoFSZZ
FYG0nllFAzQUesewVsU8U7odLBSkUQA/SUgTZJn/UTW9qw7IioebVnrj7ZQNaEh7nJZPftHy18wx
0EjJhLJDS6LYSAujWfmzsl4CDX15ZhhPns3tB0EmokLfy9IapDqCQCOFlVyZtp2ndnU5sVpsf/zz
D8MyHc/xiLnU4cAnndFRHTHDDUn0fX7S8NU4T/LvxhAh88ok/zxF++tJyF/0N2pYjAWwbjzo7r4d
jqS7y/xrKIjzZOfvjr2ArLUOJ1NpW+YebRIoBhPb6o6TxTEXyWjNb82xRoOwB+5kRJsS3guIYU77
7s/QyoxaE1bL0ed38tJnXAyqW8QpDHNNNLmzQ8XvLMQZaaVXJlt/D75ANfnnsVanbHd2PY+ijzim
6GB77XaEFPAzUamJ1ASTBozeTPoFRQ9kOFSZ//i9D7WY9faS5SXAvgBMouEFff/WDud8DqKqJuLK
2rj00RbjXkHQGPNKA9oAZEhXrY0X1ND79kF2hGVwYBr0KfNKN0opIskwZNcoIn8/xibBYlKoO7+0
irmZDv1cuX2oi3xKsESbrynPjJve7q4hOc8D279boAuKIVFzQagr7QOjbCfUfA/Q1ePnj+fCvVvK
WQghxsnrPbJXrHG/el0hb1A65WbMuFvcDTJgD1kbIAoH0wQSpVLX6FwX1O7JUsiCGDPMTMRk7xX2
Wqia+mvjAk1VS/tH0A3b/qxyhpVaS7GrO7hZ9hUMhwr2I6vKVcUEqrugAhBvxCRvfhxb8mZzUm3y
QF4RbLigQ0GWqhcjh1874619bhEZaKXPARkS2TEPrblgwjwS41UP/UJOfPyDiyyvRHELHCLp1MG1
HfIAWtx4N3olgIk17mKIAGpve6NQrxjXpX6o8erOItcz1IuTTVNx7vB6uAWDmyei9+W1vX9hofqL
vd9j+poTYYij27v9xnUrvc6zEcliNjlJ4xN9BTRyIYAt5TPSERw9rwjqYzHbQzhKa48p0A+D9E+f
L9a/RwsR/7w/fgE0BAoN5c6avEMaqHXfFqe5aN5LXa7nYN7MVFx5IVw6zSJktWMnJDSrPfA3nMRC
2RkGM7IXm8ikYOqr3ZXXDCUvuAWTpbSGMU8Fccd5PrSmjpzRiZzpoSqw2AMPI9EXguZon65NxK2y
gryVvrLrLz2oReSyyUSdsgQSz0OPYiav9gSPt/nt86d06eCLaNVMtm2VaFiAJSBPQwsDNcdC+8S/
8iL7qaf9N9FwqZ7heZWPF3IP3/KuNrZz0VFAzDOtv7et76CRwKZv6IhYiXYxbCZelr8AlcMSFwAV
NGzQaXNMq121ipth42N8iBQHasnlTGM9zH6srE6/gKw7rpAC0JsKyII4LQCdb5yaxK7q2+1MR7Yr
fU72di30Cj3A+cha4b84VusCVw/5oafMdlmczYF3KI3M+YC5NXoG80TJF6/N64/Pb/WFlbqU+0DC
2c2OxQF06jyAF3YQOY0LqAbW6YNRWFfSkgtgQ7IU/Mg66kJdFGfhdpGtlULrYZjcIZ47T8czF94x
nX3j4Da8OKUTZwcwwib0sDHeBFtERDm8aH8vwizVQGy8LwalXX2YPIl54LQvZLVpquHK4S8EyqVW
g+ECDUM0mw5Ge8S80NIrP1ijqf7507qwMZa2b3JInVrbg4bKFhifhRFO/pEBMvT50S+thUXUwqDT
EZpqfRhG7wzzCb4BRbwGD+2Gzs3KLuqnz89zAfBIluoNdlfz2ZqJPrgT+mZ9jjGF7cIJktA9BnuH
wbZPadYC55PC+M1BBf35eS/dvUXMEtWkWZBayPLsu1TesH7X5Vci1t+DHYm3iFi+19Gma3FoZu4K
kdRwHTMgm73H7NudrzyeCzncUsiBVFojWOAcugYJrPiqpvvfui9LjYZOQnEcxZk+cHmvJLzZ3mb2
/vmhL13zean98r7Vg+fPoKtjSRXfkMQUqOM/P/CFfbbUXOhBSqrQSMMSgtq4vZrM2E1Doa8c/cLj
XCotuE6vWX4+eqCiikB/P0H3RXzxnQg52ucf4MJiXOot8Cpl8wC80MGxwEzF3GkY+9CfroT1S0df
bGVVdFWjaVUfiZzS7wIvmqNXKXZDx8q5spsuRIulmgJHA3iaHVEfVcrBF1Sms3bUWK2ZEbyQHB3N
xuuu1bWXIsbSe83t+7rsRoAZMd8vTuRhBggP8/07/WCH1xwsLt2zxR5u0C5pgBHKj3PLWI1RWZrF
rQnyeK6b7BqU/NInWSonpHBSKXOm8iMth9CWd2X26Om9gVlxIZ+ZP8etXUR2fQV+f2H/LWUU2soo
Haer0MnM/OJhUHw4pJ7Dt7+1hulid5cCiLRSdHgq6ansb5WNJtdv0b5Qm/45cDQt4U1llbhwPkaW
va6QKGCM8vl1XyhZ/yKcAMRpxmbclaGMBNBMP7SMoE/dp6inouFK6Lv4pM/P5JfYN/mmGqYSZ8nr
sOtiTJElmhZOCKem3tilPQgKV2LJpc+z2O2jR5UBQiFwYI8U6Mg8pFOMngwD+BhQQ/GbZ7H+/HmK
TBWgGp7XEizc0jBHioBGp0RnHfn5VZmwC4H9J6j6l7vWm3we3Lasjn0HFdF516GnDLCItK5x8i6d
YLHNPXPiXVVUFQIiOnX6aHVjqJ1dMFx5m154dywFFEQ+StsazeroIDVD0y+BpHBxS1oMZ+PPl++F
Tb3UUHAUwLGQpcItUo8ccIdRX4kWF27NUjgB+gVNLwwcuM65ua3KLOmLDFptQPOiHKqvrKMLlCri
LPa2cMeUAp9dHac7sC0rmCy+V83KGkMAYLIyApqjq6+8pC7EdOf877+sprkcoGc4GvmRYe5kBHej
/aPuv37+GC7sur/IKBjdmM+8LY45INzA3aH6Y2FhhbaOW2DbrhGcLn2ExeamHED40Zth6GU9svbg
ZdvBuVJOXHreix3NTeF0btbj0JrjhWp24HcboEaUJyqsx8/v0qUGhbPIuiEmCS+VPIM8keomwE6A
UftiGgIUB8azSNVVFc3ohm1kUOdJj7d80qdqXhfKNzYmG8Yrn/XSplls+zlvDQCsm/Koxjacqw9v
ulLxXVrOf5FR4FPpt2VVHpsesCWQOQGUAior7N/SZ1mHeo6Gq4QcLNu/aVwsDcKoHIDdEm15nC0V
9d6r4e6Vf2XzX1hnS6HKHvLKM3eD4ujPUCfHqLHNX/l4bdNfiIpLIcq+dDqjETg6cql1rV97+zY1
PqT/Oms35ujSfr7aLqzopcbkxOArZdKsPHaiDqlxL50SBTiQuvO118eFtHepMInxumBehjP0H04y
b/JHd8V/r2u41JHkkPsIOtB1j/PbcG9+bz7S52C8EnQvBKul/gUEHv992QSXbZzcA/1ojkF8LXf+
yff9u5W52OVDU2ccmku4LRTWE/K1gf6dtEP7mx2xF38TpQnElj9/xpeW0mInB72kwmc4VYAx+D2E
QwAHBxuuRg+v+71ltNS9sPPeMOoSAPV8ZCgwAkzswHsPQq4rFc76mufThZi0VLogZVag35+XxzJ4
K+aTld5/focuHXeRl2NSPkB6DMdVANqHcOd9KqdrUt4X7v5S0EK0swE/WixSwB1lvYcI/20g9s2r
uiKYcenaF2/sFBP8lmpeHlvTeWsQr6Gvsvr8tlxqQy5lLIrWMH07F+WRveo38VZ8OB/yzviS0UiZ
a/9NHc2Xz8906UMs39m1WQt+PhGnVqjyu5F8/fzAF7bxUrICoI0R72wcGOFt9rf9yYUJbUe28+s1
h4NL7+ulZkVlYtSKsRpu/EcxR6DfZHvsMfuL5SSQrul2/L3ffP5hLj6PxU5OAwlDdVmXR9yl+mRD
GJnGVR31Tdh9TPdOGucwHH9iv1f1LSUsjHrUYzbhgxWAFz1298YXcgNkNrQZr5zgwtb4i5CFK2tl
N2ZxbIGqB779mT1QYOqBg7728rl0x5byFXhRWjCfRzLIjSINLVqxjdsG7YuUIkjo1JorUWFm4Sqw
S0unVMkgun6fgfG3A/y6hjXWfE1l/8Ia/6kI8UtqDW0vZU7s/GmlDLnvhMD2X1kX5+f/Ny+TpXiF
JKPrSBcxQLwZZQTcGYzSyyfrzbtLn1HRfn6WC/nOzzfZL9dvOgYd0vMbi3AQnthQw7YqZWTnlob8
zVMswkDFpX3utuAUEBnvgm+Vl8Cq5TcPvkjeg7b2COG4fi+4KdKDLABR7K65jl/Io5biEzXxKmAs
huI4Z4e0GOKh7iIBV6nxmkr+pdWz2PoWOKCOqpA0T+eKSZyM9krj6FLbZak4UZ5pd02BIwOcWc8J
oJ1wmeffbXOdNWHghGAAf76ALp7pHAd+WUFdgBF9bpfI13gMZDX0jUvQjXXidSsM3kceAsL8+aku
JJ1Lo62KQDYd00fE5LvUWmdrq4v1a/X184NfeBRL+QlHjHpKBQ5uKGAmn9Q1Z7gL4XBpqKWzNEiz
FLdHlyt0iAHvZv16TMPsrbmW1V6qvZYiE7rNqOEDNHDE2tT3w20FXxsWujfqm7wZvsnvn9+hC6GC
LPexSGsH1EvMDPuDgSq5MICOe/69Yy+2MXgShTEXvT6YxTeCNLZVGzb+T+39n2/6v9g7ZON+Qujk
v/4b37+B+dxljKvFt/+6ryv899/nv/l/v/Pnv/jXMXvrall/qOVv/emPcOB/nzh+Va9/+iYRKlPA
479305d32Zfq5wlwieff/P/94X+8/zzK/dS8//OPt7oXaAt8eWeQSvjj3z86gwWtc+37n78e/98/
PL1W+Lv7viuqd+BY1etf/+z9Vap//uG6/3B9xwqoS/HV9c+j2vH9/BNq/cNxAOkPTNtHQkjPPkyi
hlD5P/9wrH94AbiWnuNTm5r0PPWQdX/+kU3/YQIgGhA7sInrOthH//fy/vSE/veJ/YcAW7QGtlL+
84+F8ghw/w58a7zAoTiU6TvLghmuXuNIwKFOps6F1/TUduFsZVXk5dy4SXOxAt/jaAnT2Ey+AQkp
iC0czG4A3n4G23qcjJW0m2nldZUfk8GdoVDEYYHQ8x+tZRmbX27uv6/+16v9Wan875v6f642sHA/
XY8CTrssLxt/Fj10MIPEpam/NiDNHwOgunY7U8ZVa5lrq2IvAx2BS7H4jDZ7Lg4mEXsXfKCok2A7
WmA2RpSMBViY2UM7lSDstVV+MPusWU2juM+Dxn3InaKKnHMNFoNmVG2GOrjNA7xCyFCxaxXInwMX
PpQLv03TIsQ2z4Laywyn8MkE7YMRDI0eVa05qgEyEWP5jWkKOZjJ7g75BDIKh2ly1FiZsxvAxj0D
4rMnDcAUeJsDQOeNtMatbgCeH1O5d9LiNbdngJRZZZ14iXSgEcUUjkUvNhDhAUbfn4JbNzOeYDvV
73LLisD01nuqIMAQqGYVcA5lE3iR1rgkx9qAVbICyW7YNxKyD73IqticdbAhlbsL8iLxMpPed/OE
l3jagjHVeM0eoHzTm/qTZUF1v7zamKbQDfhT6gbND49gg1CIoljUJeayl9FUZDC7wJKrWUNrwpYc
7VcAqtcMaHdJgLsHYJSdqhFJo+01/GvaBU00AZjzbAn7pRzr6T2nQIAPZQdCGO0PvguqBvUOZlX2
IKvjjsEOKXTYVCXEH1fMBCnRs4yvDNQldBsGpwjiwBawF+jl2U3R6Z1H6ShwvAbQptuAgQ1tpHtl
FdmKQvkhLHq2I6Yvd/Y4PCAgJ1CygSeRRf2wJuBgkaF5yfzzuTe1D5ZjX3pA7fGxSljaeNvq/G8U
1E+h1LjLJfJIMAF6Md4aXt2sBkHBUuHIL4PzC8oHwUwUfReqdnyc2jnJ6KSTNuViVdsyyfty3g+l
Bb3X1vXivvzwjBwUOygGxJRqK3QHJjdGf15Hqgcfl767HGWNaGHbRLnXxWQ60jEAvDzbp+0X0nhw
Ys3mFgIB9Xtj48Cs98AsDmaSuNZwdF0K2X0+fmuh5RFPPu7hJG1vl1eqC42sXoHYhFIJfU4YgwtA
KulecHTAuLyjQDbWQR2EwnfWFviYgcAe9md3y4T3ZVaghjgIwQnAlRDBN1sZWYUDmhDMFzf17ECu
QlgQ3XR0WNF0PIzcjGyz7XcwBdhhra/mwdKRUae3lFggAQ/gU/stCeD86pHYyep1mvZfUfq0W4Nh
pKqK+yBnE4SsItlAboMpQOEny9zgrXlmiQKADWQJ1KPsRGXtC8s5GCTQxLNdow9HIp3YyWsHnGTI
TAC4p++8zKBbcCJ3vmY7iAVld1aBflBjTuPGVwY4KhxZZjeTEMaA8Jg3SJYMhH6lPujzrDQeJz2h
CWaCPke9+UlOAjTBrroFcnIPILUGucxtVyIbvkB5Y+81sKxBBOkOhthKBZJvMZ61n+gwrrk3uiEl
1NhJcKttCnRR1x0yH4Qk+DV8kdKD0oLvi5Wqsu2szQwCTJicohsU9XJywjkA46zkvIgsb8JHrAYQ
STUM74K+/5ZSgrXJJNmNHs83pWq3wKl6R0HYSzU3etOqLD/NdZVCaSKPByhbrlOtZUimoj2pjDUg
aE454nKXF5EG3acH9WRltcBxUh6i0wU6lZjtlTPUYAvnPV4JPnC4OP66z8CnnR0v6aCFFjcBHNp8
Vu/zShe7ooHPe+b0UIcczW1Huo36yQTsynrDIAFm46eFc6q11yZgrN57dvrUdLZ/Giniwzx4FagR
gKY7VTpEKrOzJPCxPEyjzbYWq9+gSKxPsnGBFx79r70t+02q7KdgtOe9JR5br6/jUkGJpWzBtq8t
KIZYY0PBq7bN2B7A3J/sbF7JJru1hopGdQXKqFvxzSAqOClxtiaWe6xMedvV9rdeuQ9Gpsuk47zc
ZC0uMacgK1dD/lPV4bnsiToUbXo0igOUMvJ1P5RszSYodEjoQ3gpQAkpt+kKvBgjqgyyMhpMe+26
x2w5CBJfdRiimaUXkmZiEWCtUOLpg24l3ACclTTvQEABR44Ze+CDB7CPzJfJKlXo1tkGgmrOijj6
odYwiYFMFB7zTEERat/8gPCwMRycxcgjx/OmF9B7Xr3JBgjZ59PGhxZNWON6iJOrW2gQODvSQQsW
0X3ce+UZ54KrgGg2A8NUfoAXAzZ4IzcoPaA8mHZjFHg4ulm72Qm6TC1qN6AtbVeQk/DOKjWZgHZ3
1bxqUBhbjl+wIIz1aAxmWAc9MqTOnI6NVh+wu0Kk4gIZdUXHdVOA1g41I3GGnpc7PAxQV8eqWU9O
keRZ+uAO6bi1HUimVhAJMzTrkorPcyyNCsDDYRIHfv4iuQ1TgcLemPM4HjRx0CmwGhA+2ZtrmunR
hvyUO9g0TOex26dzDxETz3DjzLMeCt3Nd3WpzVu75N+9GbhOVRXgNbXcWxkZs1e5MLLnDJJ/NgCo
xLbprbbt+sYyfXBQgyAL/W6u74YO8KOJFnDaRtA+MdXyyGEFwJuCNrDhcNPAuHVkD+QZIFdyYv6x
D5xn1QOeSkccEsSo//0ygWmcixbzC1TiwAuYZRT0zge63c69CTJRAuQdmJPAh97PgPVv525AIIay
zVZprAE1seE05vTOpV1zX5ryrDdG030LCSkQFkVEx8ZcT2KfVUzFs0GqpDSD9Fg4lCcUSmCRhA8H
3MGxTXSJmaPvt9POcbstQ3p47KR/EI35xmw4rbKJPVJLQJkZIiI1jGnigUDUq2OvWGdin2+JgZ1U
BJpHHnHfZG3AvbOV3/oW2EvXBmqIvhEwylZFX7Y7Zlvt7uf//fwCOgdfIQw+UOo3O6/qXJJY3EQQ
J/kG+sMR6D3ZRud+sGkUOpWBzzPkdm2R2EFmP/lM3Y3GlD1VpvUQ1PWumwO+KxsY/nGAewInfQHq
atj4SFCor9zdzy8VBzO05gONMpCQk75t5zggMt3kitdPQyvffQN4LZEP8sEMduC4cnQX+iluhsqG
eE+iGyRFQ4qUFEloonvKY0iGtZBbM0Uyt2dCpLWayyIkos2PysGYXfaTs2rp2EadbvhhGJK87ulD
WwEcpsdiP6a2FbeVm8cGmvtpk5eHwE3mYfL3+vylCrSImlaT2CxZdZRy2iKJSPfD3IPRdN6XEv+s
ZgE9DDQSkLWCiFTNh1zWr8QBhLQbmwDb0N3PrsTg3zRQ04wUnqcse+EZy6I849OqgxhY5CBfAuV0
mldpj6fKuxxiNrS91aqA2r5Z0IQOZWwMwcFKyyKCjKW/yUzYSBlQBtoYFEAbW4SNBc8il/RdLIsZ
jAUEM9OHYHVVumNS55UV5RJ3D6avABllUxCOnR/X2jQjY6ZniqhOkPbdO2a/7XpWbVzTr/ZVCwKq
V75QCRGyRo7fC8nsuKjTPvEF2pMZT3/MxfTBRi/fSHuACeQw/dAZaRK75l6YFi6LHMJ2PSrLI9iH
4Pcjq4kGh8OJy6v36ZTJk2dqqEhkNgZbZenvvZEjskoGpQSQKr0AngMjwRvVHQAomgy1hq/Gqpqq
9tZNjXpVQpj2JHRlrkcmxEGXTbU1ZKZ2CGHG2nSDtZhrEk0iZxumwIa3dJ90lrjFLexCKPAh55jJ
V1Q6464ye6hdjHRLG3dXlWkBP9r3LjdYpBwodUyoezS1jnnhZ4BCYAVqu43yfHyoeYm6zoTCl+/r
5hTkKSbh3qsmzLmbs+7Fkauy1P7DNzaXbAPj40fPos7J8sxzy9xp9lqwtwoilEnF2jYsPZC9Uayn
Mc8GiBpNYjuVUC3yfcj6NH4tfyj/boayBYfH+rHxNCqw9LHr3bDpZnnLW4jskOJ7D3bECpAp7NW2
izzvHLphCpl29Bh4hG8K1+r3QrsIAHqEfJQNKTKzntRqhJxXIKE04DfOR8HA5RVBfwMpmAbeHHib
icwMqYCaku+Xd9I5VQ2ejR7Gcg3xlwdExgHknQTVKsUmM0JvBHPAHHzg4UE8XREJdYDRVt2GsPqO
TcPa8QQqfB6AvN+p4zT2ZFdBrQiblgA7llo3rg9doRYKuGEaWD+geuclCKtITYpBJz6YCAlP+zLq
GmQjwGhCl92ZqkNfzLDkm3BTz5oc2oP9pYUX2VlrYGZDhKt3EB+gVtPUgAC4RcSbBJJAPtTRk/Fs
0tJAHWc3cpQ3OXfum6Ar14LxW5/BRsKVbhDpvjPCwbH2uRr7ldn1iFG6s28gcLaec/okaV8+TKl9
mykLWWmP7elm65EYKBk86Pwhx0KYE04U5KjIgmrLjQ4SRH31jU3Nc4AnQdvvU+0fad2msTXmiEry
lpljGVm4vbFVVP6Buih5OpWK1ejYznE6f0FDO0bRZOAT1yYiKFQJtAXiuVehFUGq+okZKdugIQd9
oHJsb39+SQ3oiuJNdHNOkqqzbbMNQSNU4nesBshfzv2+ApXdhSl6iR7ERKd3FKpf5KzVDfTNzIe6
zR9GUmU3pT9YIa8V3RfEuVFQ/7nVVV8/zhmkTLObiTv+fT9m5j7obJR4DqQpKsP8rlHsODCoflEw
sknKhjzVLra479f+yUYhGY+BCL61XZ94jen9yBXALSrnD6YxoS6ebATT8lzEgkhzSwqTngUA8jcn
o4k1bJyh1WuF90RUOAjeXZfvPX8Y8KYL8khYgLFImCqtc1bxRDEbFZc+qwa33b71qmk3+MNrarnz
nRc0FKTP4oytgfF7O2RbCsUShOEhvRmc8hXqhxmQXanq+kMOUcaKNxEy4WDrCy/bmzmH7r4L8sxA
LbZWMpjuwZbq12hMhyWymXiYRbopjU7Hch5EomzLXunJce+LmeabnJXvyjefGVpGTxXcOJNsRMSn
Uy9XljWyDQBHa5pT/2kchmA1QnNjBSWFNa9T9dUxoeYrXQFuHgRQd3hz81DKdLrRXhbrHjzXHrqr
Gw8snVUfoBSADEoe1+6UPttjeoOnAuXOFlZPpfZwv6gbbORYP0/zLa9rdR/oLDi1NgrIqmcrKB4+
eA1DkmNlG7hUr11dQgIxc0QMpNrXcZj1voJ6QMsL+egOmzGrgzX3i3L1f4g6jyW3kSWKfhEiUDAF
YEsC9KYdu6XeIGRm4IGCKbivf4ezeZsOjaSRWiRRlXnz5rlNPXkHLRcy69xvmQv5VY7kAvlkWOzq
el6fTKjgWsXBP2bfXYdOrG+T4xkvSujPJb/x3hhfjY/c4SxBevCqDIfo6pugGmi0h169L21BXGI2
pSGv3cUAY/mwO8wVkKOMnROAPF0ax/xKJbS8omrO49izzuRdWuSMXby21r5IXBN/q0sS3ChvWWtb
L44Bnqo2jV9Fmtpvy6TuUk9VmAMm2WUUBoZJFSDMTdL3OKGd6eQbVBNyja1vNzbQPAv1p/Ktehso
taItaFiX7uJt50oNuxzZ78MZPXSNsi22QVI4ITy5YlvZIg+HvK23hTBwL8ad9ZkX62PtBw84eP4Z
T15xS3vzNxeKESbYmOFMiOSxotZue272Y1okdrQYrqBCf8KphtE/VoVcHyw7LrNXoeDJ6SbipXmr
EvOo833d+8FDOr7xbnBHVxrwiZwM920MksgBgKyrtH4M7aCxnmJHFOuaf+nYLg5x5ucRklTxlZUc
xa23tDAd+FXbNP+mbEbd/vtF1hZlauSfQF1v2rGHCyPMi2kk8+fYusN1WsyadmudPmOe55PyBOP7
53/OrWz3JtS9aPiixVu+4ljA0LEsn1p0XClczQNb6OW7bTbpmxDT9b/fZccqg5RY8XHQ2fpVlP4C
IHMqj//9T73dfJSG53KkVNOHD37tv98V6NaH0ezm21E6T8Cd/Tn5829sI4d0VOrTmfrPCYiBbwIR
nXI2K+plPcBhyLf5AOqmNln5cRVEnMyyN0q1j9kb4n3gKE0ZRVWrNA+zg0iSWXeqTES/1ACzN0LO
06Y5h6aMrcirBeb6mFIBZEKxQSKLj4sP0a9Bpc29O17NeM6sl9WEpDssBRe3NQQbo4RrFEOe243+
ZnDtBuBRa+z8EhYOqOBtRte1YQS/G1x32PoB1Bu9NusWAsOp6U2qTKiU/K4ZpplsxNYV0wplZTpZ
hQ/DLRtBPi0cNZknzsMaQLkpipvy22vlyU8yhJL9OD5ZqqozIi0vw5ATUuwFYIUMb0H5yeyXpXsS
mF2fOh9O3WADdZMtBY3VFVdtUQrQ/6iXcum/16Dot1PSPNKa8rDgLYXkFBDA/nwLm9Ver30yJdu4
uZh5/5PkCdBXvfmt2Y5kcEnO59B1QIvnWLFavd6XxWbMz8x8xwodSCsNwbjXxzJfxaY4iYmhuddZ
8Vmm/xiD/Gu27bjt9BpvE8f+tXbxawGuOvRB9OdxEiM5dYclT9h/TAuwPakTPXeWD2qt2jAHDJvW
lOlYveLXLoA/uwv8Ltu1XflqzSAbBZkgg2w3S3ZNfUlqvTYcpotFcjbwquRLBkhwDbgqrI7iQfyq
FMt+jn6mfkrqg6CHgwVgeuunAaQStk03cVpulQLzY6zrR65TO9Jd8okO8uqmXXNYyhiGHPSfGUXO
55PO3WkYgIBhlVVNZYClzYAXlcWtcASKBPw/KGOcS4sLDzj5HlT6sy+nreJdN6gwEUvlvWZCs6Vi
Xjd17feXtQDD49f7ZpjEW4seVLtxftFtMsBLzYaPzDJe/OGnaDP7XMxLNIyQTEZcg+d1pWerqyZk
7F3thlj+sGbOkTrOUYDkGOwLq2NN252HqPbbgzLcXwid085IRNgoS+2bCkTx3BUsKgyFihKZ/ZOU
ygABNlxT5J9oWfYMLRaYz9xTTS1OdkHJMNvoxJw4w9VO1x0wsu4M5hKOKDvu226pzA38+OFYFhQC
eBPwig1h18rNWkviN/083ymT7p4p2KmEdx5adR4y0LV2yWC9jxlYQCO3r10x8Ha5xUSzaMawzvHt
zyAqO7ZlmBHBviorWWwKAWkmU+Kj8T2Cv1FPhnSaN0Q4c7RItSKJ22dnmP9BrboZNQu8IvD3Ckk2
k91bYwOfVEtPwIPyzwRf6Y3plb8Dz3skQqh9EqzfA4UZipZb5fFOiEduifQAGHLYFkFthFSNXCQT
BnYzdnw+RzH+A++S+HW7MQc02iY2gsNU4w6g89gy37JjItgL7q0hh19QZOoyNQBpS5v2FWQrTuIS
XNBz0zjrrmXGn+dbaXYC823l9lEY1il3htA3eOoXpNitipMfwbi40WzXDDy8mcJFzAd79Xer5cwH
uQ58qo3ymNrGTcUY+qduPvnMdDeODZzaKc6bwpyni19SUnN9jGEpxsPAAtFBLZJpAFEk3GRNtql7
b7jouofXPfHaoUdY3kh4RTeNOybar5MohhMz2rsbBMU+c4bkHOfrckKhbO2yPnvGCkmVE7PsYRsu
enwYbWHCbzU+S4TEy2r5PE5LbtLt+J92XRqRuaQHw767KA7HRtA4pIguHx3SrtvH9yDWRL5P1dtQ
+WCcFEAmvttvxfEQTd7cHMcO/NG6PFSiX0D+9ZtGJN2ucq2dpQszSp8/5eYafY2riMs8SLz47b8a
SNS8Q3E8vWteKD4d42teQC6smC6cGsqMKVNQxAe5bOs+OAOeAVvr0Qa5SvwS3nPFSAzVnrfqJEDW
A6ccdmnMPCxxmA6a0v4tkGq3XSoItJFNfGxXiA7dSsNsyWpTF751tIvuZa6biyRycjcrrY6ylQjB
9tRtsqEnLYTyeBMEPosUy3EaiynqAirC6eHHE+jmfLWueqEDlDE6ULsA3VOO921gT7oZI/9ysyb/
Q82fFE/dXVaBGfoe1cRUuMaVDMKvUTsXZwrG0GZ7jT9PQccDUqbrpTt0TvXPbIhbYjc/B9hAu6xG
V248F75iSe/U2b8wwsTe1N5jmGTLPKjQnto/adfuJyd3Nq1CbfY5hrctbOGxf9L86+66wlmGgUG0
z1AFUUWMhKjr9uFpslxj/cd1WdLzPM0Wd88YQg/aPi2ufXVNWZ36etrjk6d2Lcs4IvtvZxozRk8Y
aDnLBQmsf2ZIXIaNkuel4k6d5fSeidQ/I1NPERlDB3ZUjlm3JGHHxXt2nJEiwJ+uvsskh15tjRyH
MRAzKZG23sUK4N9lZfU+OwC6x+rHaAnzPtXluaxFSEwGUG3tEEFOZkWvah0K0YMpns12kwjl7/MK
+NUaQ18SNpd9UjdL1BIEGoGdH99XB9Uuc9hUSgcSRzV8xBwNdvVvsPybrWHBBPUqbpK1Z/wLc5x2
eUY7a8z3wJenLiYxQyfONok1NLB5vffVSJlmFtQhs4yqjslV07js73EQkVdcM3I3jbCyav8ImGwz
q3k8FELekmAAWi10EiZxWYfmZL7AlZg2arA4ZmkS3QxMre+m0O+7JN7o1fmnauu/o/Q/jBHR1xLN
nwHKtrImKggJzHhhXBlMg7cdsXDjh172Fbzszk4/k2RSu35G5zKcdJtVCkG+JPfDFQVaRmOEBDVM
e+ncZAcjzifeATgqSpH8aLu+vFABiZ0a0WeMqW02NjLc2fJbqqZ0X2bV8jNo+92U+fAbbP2eWN0t
bvoW4nf9j+Ot+UkKWh4qBoHm3x8NA7GWJ7jb58L/cKduiYKTHTjyvTX4dqRiPuc+odpzs/WK/juD
bMY3Nu5nZmVb05pJOl4JhZf2p+lnn0aR/0yRi0DZja80hGrvalOfqhg5smRcGbjFwUjTN+hf3bad
PYiArlud5OziqmiNw2T/0Y4CSrsuh4kKfrvkxmYYnebYLcNhWVR7YLBUn2vZvJBfhDC6qFemFXun
z7eeCqpogBG8cYKp37nr+KtobG8HLRaPXGaBqqCfPzgLYU0ZVMESjmNrO/4elBcsi9yNqqbYdWNZ
72ofJLhbEtuOp4/Svc8OhpG/515ZbWSpioP2Lf5nnT/woQcfLRsyjmzUvps0OWge/mLNbHAfxKBy
g4IjIKeU6wY3u5T2g1BDe6PH5hdekeSVGvbHtAbJGwRAuWGfZOdPNXzKGTHL9XfCxRX7xAh6fRBZ
lTgZJONtbBfsrZv3V9eWMM2DxYVJ6L8Mo/E84+o2NAJz51oF+zTJClweRwdWgNfFrXSoLakjU1do
UkxGNumadltwozVFRVee40w+eoO4qZKXwCIiBPkXXjueTxjMGt2U9SZkeaZ3xvrdoLx82jQaHJBH
8glkRLFYH7pZ26ExN1TUyiPDHSYu+jJLKyOgrYc7zd+zM89XnTaEvPzTZlUUPAfEUvnFDS3a2yyG
Xe7NXhhbufb9nhWe5Zg3HnkUDuU/CSV95NFFHlPPumdtDruzHZ7LfOmBMrMBfvHdsruE5s4MU0+x
E0JnhiMoPnqGk3ud1B8w394wWr1Sim0yyvZQ97oPY63R9v/IGSz7bKuGGqj6bWD76Wav3zFuACFi
OZ89g89NkjkpYGNB6WbCCu77Q12utwA3NjBBhEUqlV8tw97jMvk/mkKkkZ8D5LW7YVOz85vOCkpp
0rx03NiHMXhJknK+TONgHQjsuDsOYxrXJsVx6klDGmmGBtu+BrEnj8jL7UYhOBxca3pPmoxpMYF7
4SRj81rWh7Hw8isSPZQX2VnwFZPlSA7N0WVTeuc7LuHhgdQvQdzu8bqs9zzhBkQ1rnQ2va4lTg1C
hQbApfG/mUCAxxSNlml+UrVREHZEMRmd/ksqRLCfZJ4Cm7KO3KnErNXcH0kpI68xxn02piM1Puz8
3KvfvCMTj/bq9Ou59215mviYVM5ZS/bEXeeFQ+Pql9mwDwqjiXqBv7yiVj8nMHFnvVK8VebJcGLk
dyMkAw18Z9EEW6P0rLMg2oZck5I3YFq+LXfvD7N1btbSQ5glicdIo3Yhd8e21IsiISQiHwdAVYdB
6ZmsM2kJDtgzpl0lTW67RjbXtccg1WXjSS0c4b6aqUOq2Lvqnku9KmbUJi6EWZTqAGxeyz/otL/t
xHb5uecnCgBIkHbilmfc/7Y2K14/kLyre2m9Z0leyYyyIMc+JOZoVRY+jnoIq9R7a7Ig3ZXYxJkF
ZO+TLz+1TNgexKGG1OLoXae6g+9KDnt7djdZ3v4IRMx7OMnIynKX0TDVfpHLbVUwt9aLtzPFQgLB
U5Xua0WJ6PXFfsjW7mYSIHCrZPOvNafjPpW8WC1b5OFAYZU1a3sp+9h8k8I6OMX0h8uQz1Ye//Jj
EWwWE6UkLUm6Ucz05bYXLdP5598kx+IaGLCz52Rm5c4wjroO+Dj1/u/JfeqMPVTXvqcphZTcGwwV
Ar2fjf5S1+QWzV3ub/VCF7d+dV7ynUzzP85Y6k1lpzuBNZbesglCm8bknBvLx7qCJhwm/Ljdgld8
eP5NnGYkRsmLtm29fd6023h1HsQQVFv2C8h8ze5D2x/XxB0PXGOEa2cZmi6OXpnHw1Fr69XVobMU
1v65lryR45YBcRcNE5PwQBYvqfT7fSqst9XN0r3yIYNmgfxbdQqsRpz+MNaS5Eh2QJOOzJVaPOWf
3Ny0hmy5NDxe4bJ/L4Ikw1LFq9Uaa5QXgPmy9Lygq4alimecAEOwK2vWLLw5+ydeFuspWOdRVweH
uUed9byUIgkjkgN5qOQw3yx2yTQFsNjGbOR6VHnFsKNtwhbQeFg3nrcbgZ1uLdUu28BSH1lMVopq
6SWTsi+Po7DRMSxnj33kUPQmQxcehv0IGPcjde4J10IG3vwEmCs/0W7sWgTAsyfx3uVmQlEieKjz
wIs8q/1OeWk2Req+yR79ySnzm+dlcj+a8bQ34+yFSu5ed5LcAIspfJUkL247nhuvHK+em3T3vk8j
rDdyD3OKUUFcjp89+Nk01CSjOGmzcxQ2Q4T7nxaTl41GPzkThMBP5ZcimJJHU2c8upZ8F7XNOgzj
j8SRRI0r+8XjRExocDaSFIBoEn/9eqjZ+tfGpqd45XbvonnJj9NgHT0237exLbywWxnYFKP4SlxV
vFMQv8qY3mkWzbG3clwWaZ++7L3F4FrGMy/z0aYh9ff9WMcQ+nFM+M20c9s/4xKwU9371xnde+tU
WUFN238sVkDEwOgPW1qY5iZxODHuKaAIYb+f6/xeTEwmhYV3x8mIlLH9/G+ixpjQqxw7Xb9vmna8
tFi08KNum+EKtBoUbcm2ybribqIXR92Ajh2hcAsd/JXp0p8GS34SQOZcJjfdByjZXsKWN/OHS44K
u5W9r6LRCNotPFYOrrraz7J/2B4RXHo134ygMvcVo6uEi7FQJIXUPnkrfoYzApeaex1ouUi+MXOC
4jKsIKv/B/kVqa+4FyCEPx1K0U1tnYusKj7yoX2HFBwRomAfFjI4skQcs3X8YcSdc3aZzQCOFwQ6
5MfBHj4Whon7HuWkngkW80FiLw5weNseD4nrmHfXtwhxqdbfnoh3pfKxxPQDxwvpKAMs/aAB8vD8
brO1oItYs5OVlNmeAKqcAyrb2y490bqUURVXpCWM9sLcr3wUWeBdy7kHVkXJ69VoRqLGvupVBcuz
SV+GxWSn22pa5nM7tyVzfBjRBBzgPHh+UQEh8IMp8sgI8i6MFW+LWZACGJRecjbL4DIX2Qxcf0nO
06SGw8yKwdBKwBd+HGyz1rq0fcVsMWba5Wj1zbfqPx99a9T+IQYc7heTczY87teksb4Gbq5dLm3z
PJXGv56yR6LIkDTwmf0L97s5A+9XZ/384jfVbnk6RFTWeMdR7f//hK8WLhvkEgPpomYFYperVpwt
9VyR0sURnDPuxrX6u7SAjucuuy7ib242TMfn4GXEAHL+/5dlzl99X5NYz5D6GAwVDHxGCfXcfBYE
xFL/udmZIUN2HmVqhYuMFwwDDi6FLP9X2YsZjfGCqGHbXlQ6fWSAEsAk9rw4nfZkJrg6R9DfhFM4
M1GFcwl1W4VpXnRh03GueAwfB7C5kQ7iMYohw2nMRUfRJ6eWz1Y0tqnBeNSbLhxiL0QXwjP2cFO0
3eyEvqCCSuwavXKJfw5u83cSCB+pAHUdmyZcP1Ejhya7TA/vZq4RHBwk5yofaJj9knQwhG67x0Ss
vAI+fo3/k6Kxkf2/gDX/tNomqs2z3gRNTlib6tSmi7s1FV4Y3X7z/Vfbpk3RfvL14S7d0xwK5LrJ
xVvnyPaorAoLXdar0FjS7OoNlrqxIbhHj4DW24zciJDD7/OKpLyr7VH9buH35cL45VUk4eU+RvYk
M8MY5iZkff4i30okoBf3vev0/FY43OD2uxBUZUtvEcKR9t1GKln9IVgPCvh2Mef5H6tsbmP2M2jG
O1or8rJtTweHWcauC+J8Z1fVF2OB7tp24s0wWIVjHUV+OVnKniHETzWaxmXpxPOF0yOBkEYXCo+w
iq6s1a4q89Parm+GmXQ3267vKyPplyc031Mn4JCg9FuD9IC0mtBDixJPEyho1yzdEPl/3WSJO+Hr
JO92ohni3wO/O2vsfVfTQpRMSKw4DXtXyKsYnpOzOiEKFMPUOQuocjT8gKLHX96I4Jc7yJegT+UR
y8DF8oniYoS9T4RdhH4FfN+06UdXgRFYin7a1alfRgmhiRFKUxHmflddkzh/7Qi5IkiyaoD9MxPQ
Mck0+dSlxP9MQUj6VXkoeyKcRsfIGCrQUCEM/5qtyTobWfuiAjt+d1I+nLg7kbbtWzsY6dEn0G7L
yycchL4Vuf1QrZr4hCUjGSbP39wlWN5SF08DVvp7WwQ/WLvE12B1CcelmDbmNBc7MtKSSBBJk5XT
zXSLbz9t5COdjPQ21vBlAwM6SGV/xmVjhbzwW2sYyCWpdXCJpY19QrBbXsl1iVDtscq6NhEmLhl8
fMNeODn8KhsrJhcHQ0vFgjHXF2MILfktXeIa4bg47oFULSYtwmm2Y5+b2LD99NI5U460WVbPZJpw
lR3RPQ1GE6/44ct3fKwzvf2jM5d774vpMCLmdlOfnX3PM05OiI6RhLYCxef2yaWNV4uJB8K7SJLQ
MJEJ7KTHljRjIAuAacZTFZ/A+QuGZMuyTTg7T6j465ZaiwcQfu2JPp5BV2tflbLWTZq0RugOxZcd
i3bPIyIvXVp4F2d871gFPZOHRsTmth81DVjS+Zgw+jYstT9vpSzmSzVTV5PWcCo9oS758wu04X3a
uQwiVhtoOtmUBp+QS2DNj5WH59jYUxHOfgMqaSxbc5O2cu+7fN+V4bBN2ehTyqty1eJzrIv6WDnd
V2zl1o7lBSJdKmN+aTuOY41n/FRThmK2mbiOkXbpsJxtrT1iQYh+2jZEPu3coV3YiwFDgSs/s8b0
lg5+WKgye1uVOd0sbBiZ5dloElMfraWIDJEatyAg0iQtrDfIedtgtOf7f1+8548m7zjDO456zmee
SQpV/IHBrm/wAyezN+69wfusumy6u4sDj3wcnk7srdV26TdplOMWdn/FQIu6eOas3JCxkHyvIjji
Mo2x+PnxDli8fWmtLhr9modfrfbvQMehHY9VhM/hxGz/ecQ05W5uvHxHaODdGyZyLfLjmEnWdvP8
p41jHWveNEaroGvR5Auc8Su9sBOSHWoH9IeT+c2pZ0QWZcGj9M30g9S0a9OMfECU/OlNZY1kmqGh
T2kSzoy0z04abzOBMV+UKEiWRQfWG0qiCpLLOuJr1Xr5qvk+ySAqoUlW3fKiyuA5xT8vLoI+TVEW
MrssXihzAvLW5NM/GawRi2KPuO7S24T8i8lifEfPyUKrayRWRGfPGnX3MFMcAUCd2TbEq31jlWeP
3VtdMZLsBqZ+ev0qu1zfMt+vHmikHfPFPrvkq6ofCauEtFAEyHeOe7TKfkaejR+W0SMNsEnE8J/D
Nu2eUWp9EyZKOud+0dOGo3OMXJjgO9JnJ5LhrPVj4GdyGZxmRsWhR7MVOiZGy9hakae79FP406cW
jvneedWfdcKz1eq6vKci+FHRsxFDOr0RRUOi85K4hDIQ0S6HnxysbWivA7FJU672DoEh7PsgxarA
JERH2wB8HL0Vi2sQ9+u/EhtnbStW03f9aOS3pCMchGq+TZiirTNjJZ+raM9VREIMGfZXWcbMUJiG
pYK7tSv0tmiQY4cEn4RezpopeQhhmH+3ObBa5SbTTw+BlwDY+izG3rqUg+pIUKhVJPp2DEkb5KgY
YhVmWWIdtgV3zltj5O5bgt9xB/KVKsQyNmm1mtcMjx2xZk5H2oKHGWb00yObG/gUkmTfeKx3uiMA
+6YjpAuZYqWxZFxCstI2NrEVd5nr7sber66ZC7adcIsiyX4xoVh5siZxN9MxO1V2te7qNXJVg+fE
Kpg6rfpPnWCWKtf5w20yb09oNS9eaofNKtUH9+lZ86IdVCp8tUnyFrmYx1BBT4poToaX/74Ih8Tm
dMVEYMx9SbaxJmeugzBOchlvzUxohk/M0tYcnOxHowuxnbCDsOtz9NX00HnZX/u83Y8i1qdEUIn3
ggA+b1HJPYv77yobjBNsIQLAWutE9V6+Vc8vOLBC07KKb0URunJX8rSNv5HG4hNwcoxHdE+kpctb
PYhPVjqpn8VyzEaG+UtSiCgrUO0bq+XpmJV1b9RKltB06OdM3RoE5m0TKOe4BhkrIItP5TKnj8nB
JjBm82dZzNWxn/3qkOHPfDWeJGWrY7WknINz4CTWZ1vck6A3DwA1sSJk8W2VU3mPWdt7naplooMR
AwZlHINDa2Z7JwaOXsj5y536d/4wrFLZe2qSp7vYTejjpHsxWMzcNInL8UXko0AYoE0zbmkcj69a
r+Oran40NCYHabNbhiNiOQ0y+Zc6NItKwxT7smLvqUu9JWQLjmjjOfYvANWMc86k7UIk9rUGdLyR
hp+8jmJOXhPfxsW0DtN9CjJW+1Yf4027euN1sF/dBgxlgnvZ5JjHbEFiFOIPMHHD+1BN6vJUbGL6
lpO2tdpNVsuSCgO4l/++FA5tjKZf3chlOi2l23zUOi9ejUZHixqYILdtzE5VS0jOlPivcckjFcfq
4rhoWoEJzSqm9L6Zo+l86niKcjXlJ5J9eeMHs8I+O+4Tt1heMJihM7IEea4ZGWVpZ0ZMcOVBOlZF
iAKzQC+uX5VlpwzwKEcQba1z609+KFz+MR12QBJwZu6NWDVnhUzGRFW4Ye14FsCTXdH5N/msvAtO
E+Db2S9IT2e1VCv1pUD5WBkxYu0khDprP6sei1DjP+SzLqJKJRgTeG7Ek2sdy8STmDkBlRaJcx/t
QWJxZRprFMZ4YE5BCjJbGXuTOOyz166fdqmNa76AOfT1McPocFsne7ktlv+rX4R9shDKj8WCiWxa
eXCrhhXVzKimO9Po8V6vjo+uYIi9mU3EGMfmt832Irt/heR0sacrsbleq9yzXSz+C1sBJKuPTZQ1
HZ8mrBk4/03rWNDJnkfBpK7PMoKq+0zvNfFJHKv1d2t6V8tc9b2fyPPKWcrc6KV1d60kEpYg24C4
PrYF00GdO0UrPUo9o1zOf2Oy3Aj6NGqWZNhNRQL8ysiAR3ZJsIiGfr0YZzaBd/Ma0+PaNa1VwzLr
qpt075TJF8ur/AsNcbVrl3lgta4vPcDzbezY5ne2xAf0tfFXVRJOs/htpPAY8qBLnoZYq20Rto3B
MHBhoYFY6ihfen5Su1+yyQ/BQuBTP32MY7DcLCKzXhbtP/RSo4m31RzV4FpPsnAm7MNBe3Q60ubi
bpZXXHf8TeQp7N3edUj0m9NDVpomC13PbNfF7N/mhm8WKfgPJoR3mzIQTlva0Go0ftSghDm2pnKb
hv4Cvr89ZhlHabzondNYzL3q6kWpG1Tyf6fE8E5zKa+OpUl8zu3HVI5Z1OlffYK8bNXtjR1X/zbG
ecPmWtzvnae3V7Bt5XH/MFAcFSFeMolQ8sTGtKiT/ICVWdKFhm+/TlHe6ZnvtqHNu+U7gAX96StA
J/6dsFC7aaWh3smiLI6pnp4+jvqT9BKGL6y13X3LjNzZxTBarlhirEHen9aTevKL92Eq/tWjlV7U
oAkb/e+HIPfSy0x8NhVVyYzHLne1NwynjEWWa/L80tv61XWxfWin68PEH6+Nv5q3dLGX47o87Qrj
luZxfbMKN79iiGa70iCHe+n8185G4XWIftzOLr9T1ktwSZrhEaBQh8vE6lIRXFqCh4nW/pmbpJJ6
Y7fwmBImHSuDReHWfK86YW17WQSv/31JRjbmuq2ssuaHO1rNbqqc+MipYbyKdO5wvOXG7wESiJAL
DTfD6ElZR9oR/7UKYrLQWLeStbR+imp0eOC0c6jS+GOsU3VJ0/it9dePwnLid8tsqu1szDPOHDL7
vF4Pr+OMq9rnnnXj7mVkhz1hC+HIpg1eDAw9PXM6IOqXZKogG8V58UDHFpF0cygPMS+fWk3nOtBQ
boYhfilqtkyQynRYBC7xGnGyK2TX382uc16d4TGnhGJvKiP+lmnAU5xkOdm0XGxWLggs9J1609lm
ccGISHaja/0oA/2yOEb+Vo5d8ZYY5XdduM4eSe5uV02Uyy9mkj0bNbLe+9hYP3g2zZBXUexaK6lp
oEfroTkcDxwk7oekHXkeo7vE7pgxtFb9aPrXMTMpRdP42rimDqWNCLkIM/1BQXfESqzfU6zzO68s
+5ut3V+dFxvXqh7nu5yZFIlglMTRPCUwEqdDbXbxtxHcWf54l8SuuSbbua7Vj7cnvvETRymOP7Ro
5CBFJVkromL/R915LTeundv6Vc4LwAVgIt4yJ5EURVGiblCKmMg5Pv3+oOVtr+VTx65dtW/Ojdxq
9+pAEjOMf4xvjCzJ7BaBZxJ5l2NwC7kDxZKGLbxwxVavctoUe9S/JC9mikoDjoe2DUc92atVRrNv
1p4NVyD4hBfHWVWEYO4uVqxCaN/uaDsH/hEHVA/wjprCLJcvM6F76lF1bfNoFSb+UKPAgc4lTLNC
OmhQaOqiUzd6Ofo7QhH5oVUsscUOUa9wCLjn3y9qm9BNHG+JLBtkEg+ViibRqFKSI8EYN6CyPWAN
HRdAlvAxjskxr9xNO4jkwSTfu+rKyNqowXAb8OasKzP2lwW3Ug6qrOd5QIkhmbIzGfNNk9vGA31M
5sMIi4jLJ/cxLTHctVah7US8U8u2qYPdYFNw5wbu2uRZ3MUKVcGshqvQ054b7lRbpdWTa+7Yaztv
qR3tGBTnXWbvSkNgBRWTsJlWRzcagV817ZouKtDK+jDOC6+yQRH8jK1mboWGA6Wj25FnQte1he36
zqzqrGKZCa6NamEzd+K0vPb81JyPBdyCgbqGj4JC8IJplahGfefYwtokRod7xbd2OG8oKi4TAlAZ
00TTOflld9IjWW2ZAmUXw47WrKEQuQKRnwZXH2Yp4suMhuAaq7Mur62f7Bv8mnNGR3JFyl4/iNio
5xmfLW6yBBpNo34aMrNhuJk1nA5a51hGWnHJLOvJTBt5DtXhRvusdUqLll/gMEhJJ+nSU5mQl2aW
XKow+RxwArOHGOGmbFpUaDwneEVK8EcFXaKh2OQij46oBidHmiOqBWkX1erqa10bcikDVS4krV77
xKQIrwxRABjkrBW6fHd09Ck7aK7KrnApn+ymiDiW8MNoxdrBQ5ysA93aqR4+n9YWM6RD5WjWrXfk
/6N3jcryoJ/61B1xHO2o2Lh4TSu9r/e/XzTuhXtKpJqdmvNwR1mwIqcUs+FgM8qZTDz0zIweOtpn
SaagfBZObXHcHrONmeHAiNOmvtRhRUC6S7J1NXpqzPASXIkF+dBkIEnEtL7qVcAnXhH5lJmqrwme
aPxHA0N8zV36reExpDaHeMFosFhloyMQx02x7fXhHPcIJ71kx9Aye9iXFq52s7CfxkyJD6HW3XxP
K9dUnDbrVDOf6bPLgOmWf/+iT9+WSrMZi0bZZODGS7JbhB4Vib7opOmpYvwPLmGeVIPz5jrNOsvP
rSOIMvBvmWV5/qKa2sbL8eSWDP1Qfdw5wTwmm0pDsavvf8Wmkc0a5qp20oqZl6ANoZggIrtkrW1K
dyUGkIB/62BoFGzjIoGTOwvK1mSJoKkYbs5Lresb7jXzPvJ+Rn7neV2l0YLL+fL3l6BSYc4sku/o
Rjv3aypkwQwnb9hALrQ9Ng9KwQSQoE1Ha69JG+QUaO3za9glt4HhJrcpZ04iIp9lDe4MkuYzJ8Um
O+jWxvOdVaF4n5MfzYiiQ5p4dyfzT9YU01F6ysoN8peZ5b5QBL4kPEl+aRhKsAjjvWmKw4AlfBug
GCHXxstY8rj1DP1nLR+aY4BUkLJZ4U2ZV7V8JQR4Enpx5yTNQcfnJFks69rc6IH11hbuc1NaDwh7
u6rLFyH6LWfB9VCiYqm29iOd+olg1T1lyoKiMeEelKtn55de1TceSGhurF6zjjVM2Z1mLlumSdhJ
n22WCNZWAvPiZnjaA63rV/RaJET7yym8fuubOgWwScddPw/ISWI/XBophYpqm+LUN96a9tHurHfR
ooWUhd/OdCb/uNsIsQUUvPYGmKcGOce8JFq8raNp8IYC4vYHxZcfLR3pmKNJGIKv3XSIADOz0HGp
vNJS+xFHcbvsTOLXmrflCfVnnhV86iCCjD5/GXK3X5uGwcFK2s+a5OTVO/5J+Mqp60Znpns5Rgf9
PbS7u0S75krEKsAushsc4yVoGbzjxeAPmNS2Es1olXnDZ9o7YmszwllYRhoxdqo46/ftuUOkXrF0
n6y4wXoe5equjYapzDR8rUNS6moYcD4su2zRhIyQTGaupP20S0TflmtBRAdYeNYsWzLQ5lQTcVUJ
p7rbERrfDKY8GVuqEWYMqJi73jWgBAvRN948HdUbM1F/wwSX3uuRhqS4iSdljo9UkHCFLswGJoJz
iHvi6m0JgdkCthKk2lte72yDE7Tv57w4qN/MfTRk+NSZma1kAh40L4rfLFR2h1nOdVAbQZY0tnFO
Un/lavEXWg+hYmv4EbJ6JzTIdsDPcr9mjEVn9+i2p1By+Jt+QjUcrJ0G1iiPByv+vUa3uF3gEXwn
QfJqwkQgdbLnUziPVBejrM5RrcQBlQ3PfRQ/DUgDBcOYpqA8kmuVHvgv+oA4VMZEhsWMWMc2KrIn
gBpPwBXmPubUTsXwhCvyhU2d+QWCxPCjNuIAP+LZMPotVq21ib3097eQOXftII0vIfZ5wJiXQmEC
Q+j6R5rlbgA75Qj/itP7SmfST6zba6al3MAzJjQN8cwkqhgN0U+fQ1CcV6q9jAKPe11mQKZkExy/
vKq4MGOh/daq5Cx91YrhLRgxDuvCvuuaso8NZSXTbtsX3j0vYPyrKTAENznrZItn0D2+gSG86HW4
ThyN4P7wYXHO5Giqb402WUcWA6ZE6/X5WIsFXriPMNbflab7ygPjwmmYG2txdbjMI6a1rKCKsxFm
8xY7/V6U0bEyae+NTeXeVfbWFb4z102TfI0fXEkkcc2iQVxN41Xla+/8fo37zX3vG7jNRSC3o9cv
3WJaokM/mNXSfYYMcGZXXjqdeix8m2XToSibJxUcA8L9E/QnyB/GwvaifayYz5amfHl5+gZc/wgy
CtlPg3YU7XqsWVZufqRZehXyjUDBHgMp5dDGlyfbF0MqqzipyXxWRx+JHRF0y4V1W4qYe6xOO2tl
9/fIs34oReYEjUl77MIN8ra6kHIImbLVe7N3b0Y9JZy5aGYlMIyYe93YOOlcciQLYrCSufoFTZEU
i9Gt2845OcdREHBISfbNJE8wlW/c9JHHZk4fYQvh4TLs+Gz25aYZ84PDiRGoP7+tDPWtKgq82laN
5SHNvsb8sU0yGzBM8ZP1w2cWbN1YK+mtI/Ds2dVDA+AFppg/Hyiyb710ZzhPdWnOpFoXk231h6jx
iaPOxQsHBR+2eod5GkbZqk/SIyihV6gbeBKaZegMCD6SuX65bjR71Qc2100V5yzn73Qb5vU+yRSy
9vU6rPz9aKo4Q8RZMXdpkR64cMHpQBCTr2V5V7xxgZN3qXInC6msKgmveU68LSPnYMTtImRumOvM
+odnvWYFcUX2Wt2UrjlaKnOW0CLLY8d7Blxy7pSUzrOfgXXSt5nDrkQvdT0znfhO9czjmDAdKMYv
EnUIBmYol1B/Pp1Rf0al/CjpRYOMyt06rrXJ1IhOUJEGACSCuck9S7zqsyiRPf5ieU01ORM5CImw
XivMZp0hhk3l7Qob9kpOQNOpyM1bORtCk+w0I3kPE5b1Ol6Ouno1S+MBYSDTPH/mFiAl8OFfAmxM
vEqpqmwAEN3IGw2z0IXn3m60MqzndInJWclQfIaB7j1csnlFM9mJp69I7XZ2D+YkHO6+Ko6wZmgW
Zv7cd0wJDZXsV09iLg8xqw1vucZS/gtxmGcmIftY3cRm/SbS8jkoww9rwLIgcGpVevCk0LTSu9WP
Z7vv6ojzvrQXalw/Mzc4u0l+KsPsxQ6OkNsWYRbxv/GrwJN8w/h1Km3iv5l9rNX6KSc5Upcey2D4
JvMW2oPcxwEoNy26RHxkmobbi1FXTw6ZmYWZP5uyO1u4OckUXnthkyVvT7pBsNWvxYVjz4cOXCWp
Cx7s4SkPF6WQmN76NwKUVAQX6yJO38YkKecBHjwaW8ptCDKgiFuHJ8x94sz0jE7G/iJcth+bO6+n
PtXGQJ5Mu1YYbTxl/DRldI6ScQ2b5s0NtWddgwiGAmRVXKlcWEkzobaPw8g1yezvpW7y2Yi91+4x
dI1r4ZpfAjPXLGgF62u07gvxaZknIcOt8NNP1cee2VUAZqU/7DDvE5LJ0MiHlHOyOmFVg9qfNygd
iq5/OyZVGD362sxN+3dVznO1vSOTYBB0jK+suI1++cg6dTUT7aE2eRDt9Nr09m302htSzZs2qLtK
GzY5KvfMsNAsMw6KVfBjioRDlYwfWyfhwDI9QaW4+9UsCFAZOZHMxNi/S92ksx2wTKb7j9IHbaLy
N4yUk9bUb4MCPkJVijdPoWoON5qng/ezg/yUMD6wauWV/HQLNIJXDEL7bLStlLsAn2RbN/aaGq/z
JPgkIMCZUPlkFP5Yr3WneuulSzrJveR8WhQ2mFH1iUSUeI5x5zR2/KIhSHa/ffE25lK/9U9uX52t
Mpx4LFtbde56YqNZue1VCmuh68PBggHF2Eq/VRYvfQlbILdcvJsIWhX+ig5wDloPj6Svjkv0YYYW
BPpBjITESHSG3dUzAsi7YtbvZUF4X6gfIyaysch/GoWjdjfiEmf0scZQyWpVRkAiwOQGffKSusZn
mJpf1FM/qCwm/dAdaZJiqY+VcxFS4x4YRDSj/IEA5Lxs8z3ZkJ3RFM9UpH/4Jr2jIfk6Z8TWUGe8
QTUHfpPZbGKgtuAUuMRp+4BgfAliwsuWH8+AU8upOMUYa59fhtPUT37KwiEiKDBVcrmo2Mn9JH2l
nZrTqEnmUo2aQ9zG67LWOPp2PUuz0s+RUYEHavMiRfdPSocDqcg/TDNdF5QGz7iA8I5H5bZzocMV
mLEZZeRz4iafEcymDrDSbED3BUPClaa220/NXjcVhPJScX9i7DUzL+PBUG34Qs23myc8l6FyCjtt
IVOHRxjEwkxtvqSKSaQNsnemfZBc3GJTEexKGyJOmu7j3LZskl8k1BWNd95qvrTJh46Oo4ASiS5D
yj+DIPdADl69Dk77I3V+XUs6CEKFs+67mq70UOaAmXllutjay/jDL/DQjNMyMf3JvdsQq1WeOklc
1BvNr9r7cVrWphGDB3lxYl5lYzIDJKLoG90Og8S1j0hbJj2Z6zwRX0oVo0L2SwUf2ozyxlc3GzJc
ZoyvwlGdhUZl8BvLR68pLhjqe15w/qgObxJqe1Srw/Ruf3giP46e8+7aN2YK9zpzeQbgeyGBdzOh
xBKrpkoWnSIuJTia4+RCV08xmaKF7ttMbzZqy7DKcHANmkqDjs83OD+8JJ5L+LxAZjD84Bly6GEP
avVDS/2LN5Q45rgpFDLZYiEIZ6lU24kn9ZixJEiruyh5ddMdNsi+t7F0vAjFxWy0tEL/ySt6vMOJ
e1DYmUj+7PRsuIGoW1HyPk9DMA8AKQ2zeS5G/mhtaG81zg/V7Ih5aNR8hWpy7zGp1y2YhzZ9zZUs
nHOXoVJCA/MreZs8Pd/j3/iQJinOpPHgoXGaauv4LZb2g2V/52F/aNzkp+jFhZj4a9O01ygqzr5J
7txz16OyaRWsQ3BubwBnzmWQXIcOL06aE+0b+FAM5i1Fk/PqW5jLo84J37fWhFIL3zpb+GqJ+BiI
JonxnY64WKP2iq3kW7UgBjqBc3SoRUtN8ofEWXKXQSOTTRKtio7Ll6oxTQn34Rg86jbewPxVSD6a
mRmS3qzBJLlypmPcmpEsDziu9NocAiO2V65H1XiLvPhGXnnwrwp/+1p3L2CxqHgXTEd9Z5HjFcVX
vWgGloPBqZmtNwzrvgLgLXbYrlSdBzIZsA5n2Sk1JYSHZmcMW1iAOMGB55HR5Axt3yrHufd69ETm
CPeg2Wxt3To7IUMffGRAnzr3I2DZaalR4/yKoTGW6btt1G9t2/GBiQ+13T+MnXts7GGjqR0ANPHI
i7mPYM+gpNWvkSyuVlyf/WhbiSty74kjwqfuZjQBtfg1Y884RPGPNXIbkdWb6XjZLOeT4RbpbGBQ
G0OMAftwMpvsPYsxRmJbnHmiXGsGj4mZhgOuSbLmsTAfKlOwJFlo8Hq1BWgYoR71HmZBkritACjo
28GmzJ4JnLyUWZhOCaa9ofMuVDXsoSRUVoMJHMesy3zRimCNoeaip9aDmxNAKLp1XFbzISIJg0Wm
oXobAuXN08xTWHYzEmR7BhWHvi9I3HnRN9ZRNdCWbuYgZdhbC8xpgLdokPmZSOwb9sGDSZSxasOD
2qhPhTOsjSmOFG7UXhxGeGmelq1JBs2iiZvCHxk4XOrr8aDCQIICcdb1lRNlzz1xTU4oG7tPtz2p
cYi2B9T9e1Sw4VUNa5VzCXJ+2CZ7h9OMLVIDZ1wEBLVS5gx7ipkQowI70NpZfUBUCMOtRxS/S8yn
vuw/MLfsTZ0QQm2GgOIx0jp5cHRZoQarFKhbAouIXMQRFtR6+gj7NQy7jiymit19Pk4rFcxgVj37
GttBPR8Ea2FvZbusc35UTFis2WxNaoiLe1BhxlSmOS8Uys6AjFgCaFIpEPtRcxmatRLEw53JOW1o
089mHbus5e39klwNYIVXMVBO2tRME3NSp8oUrcUkSOLVil51tdq6eHIGK34vXTbSqkh+xkG7IQ+B
AfjoIucYdenOtMtH2AjrLr7KeNjoxTRIhhqieTt6aZ55CSUPmHFtbBbxWIpt4CjHenjt1PhFJM4F
Y9/B0Pwb2KdV6GfHMKWY3mewo7TNm+aRPvQKb+5YqAdbmQ8HzYPa14jwW5bKoxF3b4HqrbJ2GoiV
olh4AQ7hFqtJgBwSCE4EMnA+m2xjpTV+ieqikRuz3NVkXR6VBld6/SImv1WnaK9RM24y3VuWSXBX
M+PqJMqHqRvfYaqerax4rPOJWsX8tNLWvjU4S+Z0K0W3Vxxx16PT17Oam66UWrJxgoqoebULfqWh
fC4j41Pwrjpj92FozkWm2tmzzGNvyXMZfWWVfwL9NKLj8YiOhvGKlbDzsS9gYuqgGnSzovX9VQ/E
bZ7H6yFxF0hVq9zp2Q4KhHDiKQzTy2vsWawVsKXAFZP8UcNT0zXPJZkjLnbVOW2bZcrRfahPXUg8
ti92iR8vobUF8xHRlZwQoIC8frFwTpMcB5LSYxyDLSmQIQ5aT6N3mChrplMSLUQ512r1hSFkPnAX
qNJ456bOyrL9p9AYrktOuteoyQ6Br64S4b/DC521jrP1nHvZVLdIMuPMffAFiu3dQjhNeaz+5BMH
QyRMRs2meHK1PeGVe2qx3yfphzG6bA6Z3HXAJ7AowX+2cNL4XLT7c3aGvvIgR+0R5MhLWalHtzbO
TXT3lGTvV/We2mN0Q6bNgdY/huxIlsWWWTPsHkZ85NyIn10E/DjtPyPGKDOP3xXbiUCNSS5JOBLC
VaOfvss3ll1sIo+jreq9uFSx0qq2TxivKyHSCAKaLoxPVyrngciSTrkAjy7HaPEckEYITeUwhuGP
3XXoqR8MLb7VGtJvMr0cKNgskeY5VVhCmqi4BfpyiNnSQGcRUS/7n2zDvv4Cd+aFcvPd0GjrtmqR
iodla6JFWBcMM7tY/66k3JpJuXe18FEwYe2hOhpef057cmHcmkx01bmRA0LKMpa+Kut/pomKcJLP
Al4JyCsOVbEsV2ZZ1aBCyOfCkzyI8LNR7OcwzN4bQzzIrp3eg/eCUGgG7KrD4aBZisf6xkqCexUN
NM72Vdsu7BAkoK+WP6atvIyEV+K8X/VghwBdPCE0XMAm3wFVq0VyqCPtJfBRLRVFvLryCHf4pSut
k143z4CasllsqXAivZ2tN9a6sSYOm8Mn3+3L+JwGX3lFbhg41HAItDAkTyxXaRR7MDMKMu2q+EnN
glDY0K/d0i6fscN9Nx7edYVA1yFv61VWZNlbaI/M2L/ZD5jyFQYGc8vCgz9SKagwHVpxWK9gFeQB
wmEUcW43w+vYEgCPOzhomrwwPchXSvIhG1/ZhG3LVNu2uQeBEMqi5No7XrHphT/PM3yXaqmVRw2l
fO6DxuTa35ayXJcBmKM4afSlJzahwcfG1bAF8IHd/X6hAUX/40da7cbLzMM4VWpduWM3KHadz5mz
5q8yVymGm3cJTzsnxt4mqoSVvC8WhiKVvT59wdvg7Sv2wrkYImuOJa3Zl33U7n9/hL4Jpk4fSTX1
MVtMVts7480AVrOv8knh8/VwWBFMedd0liHVVVZuPxRkLuxi77d5safIgyD9P78voBMtHAkdqNL6
szWYZxkAAo/bg9NEp07zXlRQO9i5qV+BOWfKCrJzNtozEa2ziuzDGHbKTB9ZqCxsWWqIwUqL8Afb
9len+Icw6O/CSBrAv3Y0H5oB//ZYn0wo5uRkcAm5eLWQrGp58iD9mCKK9giMhJstTItxL+ZZHHkr
1S0OUa+++L58JyuLEluqt0Z3b3YNLMo1n/BgxViHiOrqavqSgHRk6ExQUncnr7fUHsLqwwMwsXDL
IOJeZ33nxg6vpLrBiRshCYBMhWfmRNaHqdj9PMOWOAuLH/I06rJLxGPqjE8qlNRAg/PUwEFJtblR
G9tIC6vFEBpLEOvd3FbM1TDWBXEPHlpjVL6w1H3wwak4umQrPCPNppY58I5WQzJqp2N7DrvNZvaY
Cus4spVwsvvAA/8EZf61E1AXoVu9WQlEmaG5krvGoN2pUKdSNsLYxSCF+dbouaqFGvZ5Ro/IR8GW
EeBnVTRnp2aEJLq+mS9ry9mrWBEk2FVIIY+FkTF/Ic4bEvmFbH7PK57biV0TVIDq+Cu5qY6UlKoX
bM0JSaKtLvwPCNzxwlKQQEf8P+TLvb3XuwuLkPbq933V1IbMrRMftDx9yqIRWWEHM8OBEAKjpJZf
0lUnNKiyKfDpj6JceQo3URiiOF515FX2AmMYDrmzqJjNlH3xgop+NIoHxTNtEvLaoWDzJFfE2Ya4
J/7KaUBoO0vT8699RdOUZns71exvgBeLWVghEgbuLa2sa951dy32ngG2xEtdyday5uUbG86Aogfy
jZqLUMV4WqKIKF7zVvrfzgjVUHPDl6JK7YXVY7XtOBnOgsaCTQX6iJHTltwqypzU77EwOMFAq46M
dO7BflgoZfkaq/zjckLDzT2OBjCg4V5mOVpBVf9kShcutFZd1XrBITIZc6J0/kOeER/RZzY8u2Xn
uh0HVWWBtlkv7Pw7hAPITZvASZ7wWqLaB562NBDOuayxLRZFsGmQRuYq6QqCiD7ho5pztKo8eHI8
W+lzKMHPjf3KazGcRXFOkJ1XYcEGTwkufBz8e+2qrmn6cWIYQ7lXfuZ+tOwKfw8MydpFxZKL60vY
tVx/wfpiAoq22PiuGkameRes+pDZakRkG/bPJowJehnkPDKLYYrqJStDD8OFPYphBj4bSRVX8DaT
8uAY4Z7U81OVwEiHpAAfWuX+ZsdM5gKb4SueIQegZepmd+ybU3bfW3BA+8zd+tPJGwTGIoX41O8Z
CSowm5B+HNvYhHq27chlgelkDo8uXjPRnqYALNxkYbAykKESn0Tte0Z9QK+kUmFx6d1x1dbqCsGE
GgfTJYFRpSVawIMypDBgMFXesV/MLRpyn0VzJ9JdbcbpBI8Nah32cB5lDG0LDWgJXDja6e74aWeh
ugr7dJwbCVclA1dGO6sG4a+c6gw4h+l0SAFtxlFjoeCW4dCcgILBNuFSnTLH6FSteoy8sygt9BXu
BP+Itocly/apTXAzzN0+ZEPRjGs9GMOtrcjnasyMhzhUyX6qYo9BjfUzsdYJOZNlX1D8YEwMkB6R
bTk0v+KFA5RRjRaaP3woMmrvQ7YpqxQyG2NZkVnsAfQvbJRo6Kfcyk2DfDYPU2PYQ7/X9lmavg2M
ePdWY36GYYEjVuFO19q4rv3NaGfVvNF1kqSO569d0RTwD9hU2fXEIlcNhjNBE3Pq1tKpHyd9yEM9
QRFNMIJO31pdqC2s2vqjtPXvVUd/afD5R3/S/2bH0l96mdbf2dRjVP1/UMSk2ZSU/b+LmI5Z2VLe
9P7n7qbf/+SPEiah/U21gFg4rqbZhtAsqpb+KGEy/mYDe3bVqUyI/h1ye/8oYbK1v2n8B6rrkDkw
LKYL/yhhMu2/ubaLcdawNVcXDkVF/5MSpn/pNbJcU7X4g1TTsqe/ie1O/Xh/qnizGyGYZ+f6InHb
N2uMS7HQ17qhMk2r2lNJF+djDzP3NDIxtaM6gTTgk9GTQXWQhYNQYY1Ip6l4tgYLK01RNFj1Lf2P
b0eS0ZiYh2SXd0P5WE0cR56JeDEa5lkg4p4RH46GPlJy4VneIiDfs0IxedXJt+zGZELnBNpBaizQ
RlmPZ6diDt2lRbP9/a8hzpN4InZzEw3IEQM9JPKYMBKJr/bosuHWaXMMoUl5tRwOBgMq3aaecpOA
DWW8JHddPYKw2IVBBhIgEP0qMFT5pDb2XHeZzzWFkE+BkwxzM4qIjBkeY+FwTD4xUq3x2TQvsXjP
R4KbTklmJCPturDCj2CQ2TENtWZJ6RNIbz3Jjo07XvrSZzKQkK/PTfXJSJQDbNtV7o1sadMX8mk7
wakxmHFUTa3muXOdZa05eJvjNKuRBTL7oYYn9cCp0tj3gNfdPr9TUjMvEGyOpS99Ano50L6wnevT
+8BySzRGw7Vcu/2pzLry6Hpus1ez8ScdoeBrduYtGBCUjyGkAIGTdgmeUz75xS+FxZ7nbZM+pFqG
da656Hw0N2Megl+rlHFR42RgjAO3EVsz63ZHHp0pl75tfEJHGRey/9AFqWlTFd0/i7imD6zN55Wb
jIaPnFDjv/QqqqPqYluT5iJXUvOhQUYEuSwrulSs7CV23J00OJI4Rs7eM73R0orVKS7WP5gBaKzf
G8Hvl7GS8GIiXV8SCh3w4pe3BofiISZYfjCsFEoIMnb93QdpSFSpQlDWdb9ahVogHzzHs+Y12xeH
abbcvdsqaAc9J+M6jxxvr3kMLyrsC6f2M48r7Q+HrC1LXNsjqBO9K5a8OhiEy7bY/n5L7g7/lSRy
h0e/WWRJ6W3HkZzpLPBDd/f7AfHUYeRJSYq7nYzKIeequWkgh244g8A3ocRygWOoOnF21RaElrqF
61bcpO3OWWrTUxrA53Y4PmHa5UNVRlieft/7zAU2ZDaM4BI9wxOn5yLE1Fz356HCtlwb6qGavihj
4YMuj9V1r4ljFPX+rS8Ve43ryV5nQSlvmQUoDwJ1TFg64sMVLTLH2bWZOGgKyexZPhlrjKFyF/5g
zaEemEfJ38oXjdi4TDKvMLlPflRNAL+hP1e/b2Jep/5eKwfv6hHwBIF94XmbFUEeEErVimNTZu5G
AI9qh97cesQB/7Sk/33r+z9/Kqsz/tqUZmHJ0IRmO+QJDNcyHfdfSgxlTTQiNpA8a/Rm9vSyf0i5
hzH4SWUP4qYy16bvfzJPb7BkoN6RNDBJy2M1S1u5xNiOEh3j8BGqQTCNSacdLRph28+mAwqp8lwG
HHGnPPc84/socux7HeeLLNSDh8ChFcMajRW35eHNlm09AUkE5UkMDLnDsG7kGr1JkWVvo9xIl9nQ
NwvsER3HA4gCdKyYGwAG8bmJy69eGERGu0n78K4cJOqDPqDu/H4bxKG+/vevnDn1ov/leWVrY2qv
4Q21Ldv5fZ7/tMEYYJniojKnKppg1ytROS6x9mU7PCq/T2kFrgpkTPQxqoyUBxbIB7OSr2lkuEe9
heUXFqd/rpCd6Ob4opyDk7v+2ukbvEykxU6/XySD6RPGunDFVsBscCwm07NM9vmYWxhTpx9mIGZI
iCv6ms6YvppZQieFqxMzHWx9p0KDecslMXtpEyB0uYouy8zwVkrDC9mU5L46EifTMgzAHQaUnrQH
iedN5f05coEGmxshWY2BU+7//Qv5f30ETU3XhKXZOh9G2JT2v+zUNfxic3IkL4cabmdLzXOhuuCV
ph9NM9pY8/FZTD/1+39yHsdo1oE7tLtRo17jv79UbmFtIxNucVfzdKaet0VBc+hu844azUWX3y9m
Ui/ZXrEwq46xs9JEeRBM+tcVaeRcM7MHxSQu63mxi/xBbMxM3WEXwenYOlQjzYdaU4jS+eayqGIu
Ioa1JaSvPsZD73A2DV1YdykstjpNLimD+kVn1+2lk1ZLtx/lY//+tZuqM//yIXQNyuupODJpWOL+
ak/NsH/6EALL6vOhwe/uh8I4qLw2s0H+qLRurfKc23GADWufJXy4yhH7spt67Un0DHe9gTYRvy25
IDr98GpJ1hiFURBYIL7VDXslOfctTS6De2HrDzCrVxof72NiK+zHcTlzfNXck0014a/I7DqGMXV8
AnYjruO5Lex2L6NhpZdFfZahxarHvfcS+9wuRCuL//BC6Ppfe9XZPjWOo7r9X4Sd13LcyLJFvwgR
cIUCXtned9NLLwhR0sB7j6+/C2idMdIN6QVBNmdEEmxUZWXuvbawVEt3GMROAbz/uhOQ1VNFZtB8
AXR8ncs7y6bPZY2T7yXHOIFcWMFH2YRXulUXfdo0Bq00EFKTeIgwI2VQPRVlhizsLd8FiDf7wvxS
FGTmJnEQWolUNV5G55Lamvo814MiXoBVkg5+q0Lc2jqoH6fEPfzIg076imEZUx+svBkxIJvQEW+Q
EfuTgTZsAznvkJJ6vA1MumJ5kdWPVh2YS3rwaLZKHSXFEI4nCTKxnqgFFQ/pAivesG58lQ1MGR9Z
X52FOjg3vNXGC9ZVgV54qhFkrltsXrSBVcczXjgRM5kls1n2uDoUsz6OiOrpk1rnkKGkB7HjK2KG
p7GfgM/zj54JmlvdQHY8/DxtORdkPZEppMT8Rfae8zr2ku7GvI0pE4/caxu0pxCW9lPbN8dE1YZ2
cq0syHrIe/IVVfbrjyowrkwGna17yKeLpBu1rkSub03UgCyo4UXTAvXmNelVTyLjrYxzyFq9xGks
Am83lwJ052mRhohQ+qB/NEp/K2vfP82XIum29xJj+rfmf0IJlHSVWCWNkjI9t3b+zeJoT3N3nEC6
hmpxcO/xeZojyOhWqihnhoZEBI2ZvUSaYJfj0hZKSjNaIioSELKR5i6TTuNYMRWk4FusZaol+zoa
Kd5FTBskc7xDoXfEfELcXGqu7l+Uoc0OWvBa9CUtzLIyVkQ9UAv5A05s4kDUozuMIBFtsaTKABQ9
VWVxE+kPepOIVV0W2YkpGs6WccA2kcFiXHphsiEJ0fpGwtmH2ukUzW3z7uvoRYU66Nc8dAjQCrCB
0nqnPIqE95x0AU0g3kMER+g2E1Zfry5yygy3xzNW+fQh68xhO0ZpejVhmqywNb6KXF5i0/HIPgr7
XaB0t/tz1CH5DUC54JhD7ej2QNgMyPELK+jkRuTGuL/XrPObyKNLtGkSl7ORWnTfsNHa60GBN4SQ
z3gzvDDagFHJ0BgtgjynGSotzgGKYsHW0QpyidKx2xphmpJaEtSr2YbLLg09KZJom2S8qQFFwLYZ
yjfYnAV9PJ4AgxkqIgCwu6I2YAppr5GWN/ysWABXuMzBZv+9k6imrTGuHbI/1AzmtAj9t2ZQpW2o
tmU6tmP8Um3hNB380uzdpZVoNWVSlq3lANFrXklI5fvx6XxT4cudmzjaogkPjkrfyTXd1i+uPSnQ
5tew4PNhXxu40scoOFYJ6LCmUpEn5DmaCK8pDnU5ug+jQsVVT5/iHkHQXkNs8ayPIsUWqjHxb8Ee
zwUCE79DEpH3MxT+Pu/L+tFu45c2j2pWRQM4XNU5k4FfTdfu4DArlom+HnK3eAhsH5ipLLOzOzba
6ve73C8VgmMYqpAqRz+HQc/cavj32h7aRd9YNqdmZCuOta8A0MzvwmhIeTam9+P9TTnwn4RKMzzo
dYdBlVp2rmLni+GidZJuVTLWc6NjZ0XZ0lHSCxQM7zT2GDTBzTobOFMEqRBLmQtM+ffVCp7GYzeV
wwWmiKQy5YlR0EVzA/NQ08CjLRm4oB2UyYsJGaa1olfV/d/mqNnRTeuD4lPtS0arMSaabsSykJm6
eQP/U0MadtbzZ4OlJZc/3Lqft0VHYArkTIlTnyJB/bm+V9CLSMPPyx+3jlWsOMHhdrfuWLFBfxF1
amIm40KwJ4wkhtssWnTEOfztifoK9n7iALSPlf5ia5N+QhPGytDaeAvQ113OJCevTNVlI8wJ75HE
Z8WuxkU9EKhD0HVkhdWlrjPc84azi5QKzJ9rqS9OiUMUc5dkjIpzG3kCPVhaEAeG+6/0iBuQzsMZ
DbH/AayeoXdN03VKdzQq4TAf8cKV7/naUXhvtDm9awOx5t4YpF/3/yd52z+X+DykujBMw+ZR5RZa
U/X1r5rCqx1P6fK8hV8ixEGPZIsHSdO3ZKZ+rZrhue985zQ/u8mrGXZ4wvtW3OCabe3cUq/QfxB5
9+reIOvgFbyLtzMVm0RhJ6s2akmQHT+0sqgl6yFxBd0jmcQdYiJUnMTKXefPwsFOdq0KlxOqNqGz
xgljnnmaPxJeoWIn4xDV+XZx7EAJku+I4YT5l5iW80ortVXk86bsO3MELBBqlEQhdKFTG5TJAS8c
Bys/e0zB4mV5r1+rpv8i7KBbdURrnPD1jztPy5ZtWTgbougKxtXdjtFDOpmPl+SkwaPUQ3liYbUQ
OddfnFGvHiX6K3Vwl/1YKWcvM7+moUgPjtrDX4+APuzsKNgjF4kuTa6+zv8clSO7UREQ10Ave2j1
4goxI379/ePAgvHrCuwQeu2oFK2mZVrT1//1J7V9q0+Fw/ELl1O/MhRDnoJCUVeyr8kqtERxIlug
sTs6I5bQP1kYr7e4ZVyeUkZTSJWPua671A80qpPOCJdFabNFwWKwHroKIIbS1wKoYMFAJUBhrTvE
j7RYPFiYUvVJM4lak+TGT0hjuaF2N7ZYlS6qThw6aKFjZKX6tfOZAXTYkYpSfu5pJ+6yoMb/Cmvr
IdWqijzwKMHu01QXs4bW7xm5uO8hmucfVOb613kLmT4zCSG96uMOJUp0FUgmJwvDYwik7DpftJzg
sbTN1qE0O+8B+faneZc2EMbTgbFP2KyZ9COMw4IUjsv515/vyHzxoWQkAd05u8EUyXF3/NxY76lA
VKxZRYM8lDuMLVSelMzy9l1pHzqjeC9ohN6snIjwDMDE1kEl8jRGn6PMv3Kz1cf5koiRNSFMxKbN
CopVKkoCIUljc4YbxyL90NsNNf1QFZzVQlts8piw6So1P5o856wc1rg7M4T3ZqJyhksFTRaRgdWP
AS+YGL1KJ2aqO72mVXEA+oiA+/mrJEb6k78qJL46fE2bojzftx4VrTAnppi+bVAALlE05ZPH8kex
RB9YJah2if8NOZnma826SVC11XBWJxLFZS6lrJGsjbA7z23etgiaC9lkONLH9lmmFQCBFJgU0VKQ
Ogvlmk2dovsBRQ1pSBeSZN3OEMEVd3+6dcbsAhWBRPN2vJXT28HvIpgejtNfg4T1JYfgvLKlgkbC
N/yrE/g/LhG9YYJLg6MYkhLIetRvoz6pbkVG75VHn2E75yPfjZqlEHa2nRe50fa/lIpy6sLEeaTF
DO20xnqr2vpL1RDH4TmtoA1mNAeyeO1FYWE0YW1Pror2Oneka4CquIg5CtBtsg4Wt/7Q/v3R/BqK
bXxlgfZ2/2Jl7PuSUZqqu6jC9a66DGHd7JQBtE0AcRC+0deu8NNn1S3jPXq0r7HP5jayZRUJT21u
fdgMZDH2Bt7Ft7LKWHZV2O5BdiRrANjhUjgGONAKRZ6iTdPPhOWOLJhombtRtilNy38ajLc8JT6q
eAXuIk/zny600VqFvnyY626VmSuREhrKJJnXcqca1sdcMVAX2WsSPYkHEPQ+791MJ/a/5DnTulCP
0muTlt5Kqt33ZgSAo9PkboImfa5idWX7uXELYmIAmmB4l27RrhNbjksc6O25TKPu7GLpcKyORoYl
eGl63TRjscazHR5qqwMpOBJiMdAQ6kSlX+u+T3CFAprMBWxXjjbJc1eQPKKWBH8xlU5395qnyn30
lKIqb1AKvHWrQW2JUT0+5068jDENX5u6dJaK8KqbrzvNUjLka12Hg65sCbJwnWAdRuSsRBo2WXVq
v8wf0SzR93rKo8ymzhG1Zgy6UG3oMexbNK/Kkj79qI79ihVREq6SxN6L7SmIzb4ak+jFc5ofFx38
4L7BUjZO0475Z6XBrelDN60B5c31i+CowrSPrOjSm3nybfogYwiw9ZOOMz8ZSYCaUmhefUaOcl83
9UEV2Y32sntLzT7YaGmHdyazpyyrVEGI2MKc8pdloOpHGBnjwY6LYu0pbYZ/rQekmwQDq2apHzEj
7MJRqkdPwT8ZWGa4taGaKdPZDjQU1Ggbc52JiWLfOR19K3409PDQ+KvSv/xz8QV9YUvJy/X8Whth
M0yyo9Eb1day3H5FU3t4j4njeOBPEV6giVpPutXvWuqI8wDlf9FYAIPST52BPrTFFrMfsHjsnbLQ
NnqkuVdhf4TBJ07wYHOKsXm9f4TXJBjQSplidDH1hvXaKetqV6f4Bufz93xp5LjJkQropAHt5m6m
ZRgVyKSpvZ/HChbkqdcuIO7TgDGsq5hww4TpPjn+WG6QAlDZtWm+q0ebSASHv0psyegqrXbELJSY
ZzOL9yYWiXWnx/olYsFlvkDpSFjaDSGC+YgsXR20hEdHoXVS5gSsjoSZkUV/mD/KBlfFKTr1MDos
0su5gZUENOVZnw6VnYJSk2I4Z40/Aq81FzJroyfoMxLmh5y8DRr7OEIijZWUYwIkwAZjpiNfCqPx
jg2HUDqOAP5QMlPIl2VO2xHZrx+Qj5xOYuv53U8P7qmWnRmdIE4be8BmhHfiRSTxCf0zDHXoVGW7
N7PuueD0eNFT2hv3++g0Cl5If9A2KT6BVdLY2jXXsnjD2cXfDip5puZYHkUhThI1DDAt9zZfEt6z
g1ehtp5ealtmiah5EC063coPqTXvIzjRQFmayzh92qi7gunWiP50Ia3+IgsggguErWKdaNpkgPkw
i46sWkuF2piAdEA7DQoCh/o0Xykleg2XDpi7TkDo7OuppaZ5VL1xDmc0v7dFPHFUQLKwktoHMdb6
S94Uf/lfON4rW1IHfO2h8Wi2KjAEVgSDPXWRmeHvAlor1JYlxiv2ARkoS5oA2QleA2yKyCm3MvVb
ilIgtShJoMeS6wNQdYBT8IGkgnHCdJGq8Qzi0dzlPhYAOY0wTW3kL2yqYAGjzyiYvU9B3Um2xYTm
A31HEDFRejOC8l2BlftoJb7FMcWDUdwBEf59iarpU8/2v00CzRIYkBgIkkP0y6kDbAXbZNv4q6Qq
h33S9LRNe4pi39KvTZN/L0x6yxUioG1iCJyZBXbY0URxWmlqBBqxLQ+qR3HJGeQUGHqy8EUFtaLP
AkzA0+WgaoG8fwjySF3dKxYyVl9xirgbouD7VTH1YrBzbvU8+6QmXneue6+4ui6Ui6zQh8+JfhuH
cVhAd822RUj9oneGuTGSPEfgqisbQ4Cyv9c8+GBhbQwkBgG9xSuGamzudqKNMXajhGZRWNnXrDRM
9Hy2dsGRTKxMTqzHdLYnWSneBn1q7kSYi1sgmr8iy8+XfVTY1n4gLHJDFNBDaQlQi03U37ruYOMP
J8Q4fpz3hhnCE2FYkHahEWtYdOewYwo+vw3aoXHX0JvNpZNp8cv9rTH4J7/I8ZSA5VrN61qgjktT
o2q5T/sqr2VG5hb5J8M+d4xTkKbV7np+dOcLtN9q5arho0e40RrxWLMP1TImjb7GDBKWeAGbfPjc
DPz2mQcaSW384MkjYWW6uz41t+gIE0ocdPcRx6e9FzvZ2h+LSwkv4p0gXUIU8k+ZHqSvSlpjmIpe
ShYhpTq4lYwvc38RNW72h0678cvMAem9Dt9BM0waWURy/HSEwtzJrKMm0NhPqo01PT9Co8Ur1CyE
5EzTRTFbBiM+s2V8b7BS2xtq/I4bio9fTRN1IWovWCHdrm+ocYNVJN/HRrD7NGa6IYRrXLOuDwyi
znMVyrQgv+ZBetYtkhI81J0P8ySC3/x7UYTRLioaVuSm/TEYn4c+6uDFS7OI1QcGqpQ8ummu8wl4
V+LXwRCiLe8dSYwePw7LujvyJtfcDShee6mD69y4AqV3KbdtKfMtt7ImezT/WleWub/3vS3mtGZB
vgLtU+zTkRihDyVb5BTlTsM7Bmbaoi9JxXtJazO5mTemg/fHrUu67D2flXxTVWpWCuMCzUushe4Z
zME86y+AgMlXlTpMgdQtS5us4cx4yUMtXtO08JdJXEfMN9vqRq6Avk17HSOpZx17xz6iDXOPSp4C
KAyDJ5n20Yp0BH/SbwxsXiu/wz77z4QjVZObLCaCD4qvJlOIyUZ/kaeoeBPTXv9zummdhBY4/NgT
+dAe/JVuoNFM6KnCfM6rkFF64IBPnqOir0gIDiocdQVqKVpk9JTXmlaBYEvqjpZ2EAyMLp1tZrfp
vpcWJ4axVwER6vp1vhieeEhs2z7/85KvY8GxW5J369o37v+ZHfbtGpCXugipgsklRNYEWfpkF4Sz
+33aE43YjmcT3460fZ9MjXx4b+r0UJJZ8CzEiGVEOAACi2GpBGPwpAUDWOYmbnamXM2HYV8M487X
cCTVCHKeaWexDp3m0mY+oqFO1H5sXBxSiCpXvXNXAD2rp4rYZhS7LMvBWPUxkganJ6VGr0ZzOiGZ
q6KMoOSF/PUVrdvoE1TfCieaqdHRbBhcYuC7iClEIK99HlvbQk3DbdExyHCz4LtM+v6EFNLD/uCu
tLQ29u40RAiI1V1XMqHC6eVfqSdIHCd6czWXRFDoq21LhkgQW8FhND/7qp9e3UFPrkM9kH1Dx6jz
/WYzj2jmizGU0RZBzFUT3U3t6P43tcuPzOQG7FnMSTvpcaaGSZVt6D15H0oIrdsYgg+KlAckWsMn
+NgnBd7kwsuI65q/2/x954uu8svSx9vcSxLizJQdR8OdwXTzDEo3OY8RcXFujMBbabvikxX71VKF
74AdW/HwI4ADzSyfwvqlqK3qZLVQCtjex/QAQJiRgOzfpd58F/zfCx055a7p3T2EqQGJewr+NCIS
cZVXxd7T+/xYOa63Qw7KrmApGxHo8cv0G7WubJ9cx/uielHwUYZIQn3cSdzZD3pw1jr3uuioOEAa
WvIzN2RopVd1JAuIqK5mgb2UTm8fnpLEGI9pTOwDD60PsAUmBB2+GKSeNL0TBi10arNeKhV1tZ5P
DRIlyr5uNP5wpv9Gn8h+8JBGPgx5gu0zEd2yFz7+wNjH/0PhUMFB2GYBkZ9u2TY7urgoYrWOkLpU
MpqC2g1SpIPsPlDfLiBNg/M2PFp8KIGHA/bLgAcG+UsOLkwvVmGfJc9lYndHY3TXQJu619Bpkf+P
j0k6FIRS0wac68d7Q7B1dqFphns0T+8aAjmEygbwd9167EF6P7VpYz0oSVltUaKlf5AUGGLSDPyn
htIFnVuLNp+mTzC6n2QtWe1nWc+hdfVjukvIUjtPnJhuPDBaJZnVyAmaNjsN5HiIfxDBMfAQADdk
EUdLs1OafWOlATC6BiYz3jc4fKRoWPHWsNX8re+RDHZj30x2tvU/Y4Z5uqtoAl4ZsdQ2dNMHwxuS
r8Cp9lZuW4inyd7IuhCuHaytFsjFI7fWuN23I49c7DcxjsbacmbQaJF9ov5L6Hd/MkYn4secuoqI
EHif1j/qK7WtN21hO0cSaV8s8qwYuXH6wQWCd8E0spVRxDje/cVkAYWdz3ZjhfumTQWZz+gdk9DP
DniQHhRfUtij5ClWTTRaCzSU8jxfRoPjD95p+KKcbOlyjqGx6Wt7NaYNE2r1y/y+rfyWUYz0XpTG
vShxUh2yrvGfo7C6grn4fP9bjOgKXjygYxmbalwrePSE+50e/AsBperZzgH8Qi3GgjTW7YtlmNhc
IxfvcQf4dIG3hT9DU3+9b5iM74CpaL14GsJ8PLa9wYnOTj73NvgZu3CctebW2tEctBbdtQYkkzcu
TVkGgn34PJRudxad+Q0ynbIdS4TVjsI4rmd889BUvfKR9XS54QHDuRP9kpP0F4MK9WZG43ixJD59
I7e0bQNs3l9oGTAC0MEMwlxlwuq/dJ1h/Zh4azH8EHpAp1B6Xkg+l7aboj/x7jX6ru5ISPNEYy9p
T1/mqfm9KT6F7tqai65JT7fzQanUgXUqfU5odswMyqyzFZOfeMMk7grwZ0S+UkGR7Dpy2Oczb+FU
TGlKDBTUjd/0sE+eYy+Dl8sb7CFL6vHMD/keFxpsG9HFh/kbuEGbbmWCzRrYZ3TApspuqgKEyav+
OTa9Y23l/pcowpoVAKA5ELTxWiSecY4N522+u/Nn/BHeCdkxD0wFQCIqY7RrWEHh6lX5XgkTGnmT
YSA1nan/EHyWABoN31ZewQC764HEtjVMMOUVYay5GLzitUqGcZVL8uwXFOx4VD3qxUY9zqfMIOVl
BvzAFbKAMF5V2EvqSpUcA+u9sgMJ7X58qCB3HbWmq07AwUraftmIh9eZJ/t02r/dxQ9NMyLrb9sP
3NaNFQQflU21U5ukd5HY3a/uJ9y8tIZjLw3jmmlT8HvOsX/+1DbBBbRDAI8tSPb0oK1vUe+/Eczc
vBqSCMmBSc2inwf/di+PBKlC6Y5sQg6rtFrfyzS8YEigFv7k4cKoWhyU5n8fza/JELIgVGm6zaBV
OJAH5DAAJK3WBc3nx/tXRCqT7VwREAOob+/ndbPWEBpGLRmmpJloOWZdR57+UX9VNWGc96c1BHwe
YRKYa1GdMPg60DalK2wykshQmGvfNC+jYyJ9wILTR2VBR0OJVMDyKvFDejNWG0N6+Zs70S0IC6Zl
zxUb67T3yjQ63W9ELcRj3gtkdGz8DxqxHx1uG0rrzwTWujD28daJXLqHoSFSd5ye4ShQ8O+JTN3o
vqq/IOxxGHX56sbWlfqqNzFdKMRdoEU5hm/h9twrGjMvIP8JOwXKFGHWJBNj7gPMWmOKy3Rz33zH
wWfR7Awiqpr0kUMtI+CkQdSom8A2bA0C6OCxIg6LpACcjRZE3eng2H5oZcXAG7IIUHYzMEQqOq31
RDN+nmtry8br5JnCe5h7qFnXv8+l5O+7CeakGv5pIzRMNAdUG4KOgvmTQCzqhyYL2iGl8LMyyFlO
cRMetlSncIy3yIFbHA5EWRU+c4Wpjx5A5BpgBB3SsayO5qnLvbcJDfqBWeZdihC/V+zXu+kzxsET
cAwv0KhCv0N0QmoMyZgk6rEuZGUD0lVvOBSSeu1SP8CnMnWAUarbP/mN9D/GIX40fDZkIineldau
9102ws8ugep6DKE5rmd/GOn+qtrU0RhOk3Cwyo6BGYH79a/5H6KTCrK31+I4NSfOC0yeeX/2cm3V
SMb0hLeoKzKcyM4BC7F2wqhdcWRnN+l9gpZkEV+C1IsvyMTiCysgu1FCEsr8hfk1jZzy1dz6JPKQ
rKipoCNcU6XTXB4S46+IxRhqlx+dfOEPy7APtCV9l3blaUX9MKtbXdiecBcmlXcXEGZFVmW8bB0n
XJcZAY73hzipEqQEBj3HpOIYESheuqIvR8Cv4m2bUssW/kBmaDDNGLBFJveTzB/eXr/0qnRL0yeN
AYo76qyf315xLCI7dO2OZ3aacZa23+7qiDvbQINDGWl9oOdGJtgM2q5u0MKVHfm/TkZHlobQzk9p
qKrC7FCpBwGTweG7yFF0y8BG0g9jwaKdtXKiEBoaI6Vm2+XWE5Fz2iq2wvrZ6rrFZOx1+K1j2bUH
GSTLeVSpxZ7JMSr1GtJWXKSskvMFYQkqEqJA7PMGaCnnRntjqaOJvG7KtkiGBPBv2B1jXcg/dE00
8f/cKQonlYaJZgreeD9pCSyhZZZiqnObmFZ0qPBtk+aLF9vwZxTLvMwXVcbiYjj6O05iuQ3UT36r
gdfGXgsy2g2e7DirdiPJBaveTmr4X2BRdBXnMLSkT6FtDmsBBmVXWXKVVXlz87X6CVVy8BGlAUyN
2Nzep1eQtCcDNRIsQiEfyfJZOKIdt7Owv0SbdbCU7IbANScVUlY3PYYk60eOuYRWpZ2KUANHo4y3
zsIvlxQ2DpJpBzOjnmnDoD5miY9pPi33ZhsOV/i2YtkmTKnmS+ULc6/4+mdXFMMuqfJ+oRQqicFI
mTYGcuRZ0eWMZD9BrkqXgJu+dmpJ0lJX5lcyEPA8W9/uK3SAeTY22uax5HCTYdJZe5yxwXbEqCuJ
y27iXW+XzrESnrYcc2WszrglIugbaDvn0sGL1ElLXSBYAd421AFvgml+2qEadkcVH8nf0uEo4UbP
pzIcmfLYN152ur83g6p7Iw8sXyLSbdahLaMXG7eG7XJIcJXAQa8OtdxSUwJ1nNBbASDHeMxutrsf
d8sYG/t8C706g7+jWEctyI2tOsJU7RVccHViFE9Fq0Zbq7QKsmbsaJsaqU4kdjcxphRBxiiUv65h
v09yF0OCw769xIsfoCXYTADtf+3waeUuolzTz/yuYhE3Oo7HqVWBmRqPRvjIWoMJEwHg3kFDvlG8
WlunHQps9pp3n1mvXaJKtSkZ6BSxEc+fFmb+7ffryyzH+O/2ZRlCzN4Y8thR9/53uR6KYWiHlnGF
VBvkoBJVvyXTTz3esrU5jQMJfk5XrQ9abv7Ul6TT9gZGeTzN0wEvJ4+sGjqaYpPDZJTU3prXKOe0
hF/sSSO82JHXLDKt3phk/lxZS/OF5dA1z4ZUBRLAqKqj3UwPCiBSA34WhNzOSNKFgCAJnsGNN2Mw
vjhRaZ3mcWpVctJHYxG7qEQJLpwaD0Zd9FuF2FCVf3h+e7dK1i0VWx9WnjSrq5OPp7m+76R1KAQE
gNbRS6ayyeusRoN2Rp8D7TF+H7KyFNCKRAbZb9o+aDlO6aFNq6kYDlkZE6c2qvmngjiXh1rJfTI9
x2utG+4fljRT/FRaOBqNK5Yy3A+aQUf4p9JC6BpRPC1DxbFs1KVMa7mfL+Lvj+ZPTQ5ukKuyxF27
vXl1W7Jx50WIPicphXSTsfr3GGCAltxvW0as11hZTDxCJT546Bx3owrGW8u7w1yi3T1h4yno9PpH
n8R3say3SRwvUMzbqx+PqW6QXV1g2ulR7a3LATWDmUyRPkjxKs18ST0CnzixTMWjTx7ZeSwkQXZx
svz9+/gX2REafVWTmLuEjYLx3q/4V9lhExTkxGlhEepUf2Wk4z6ZCHN2eNuZeiJAevJqo35KoGl0
qlUu0EZBhwsIpEPvbkDGcu2NaXMAK7OqukmAFTfLT8jv1eWuzJLkEacyICKRWUsRjPaDSxTS1p1k
5yS/Qdac5hQxfnRYF1CQNVG9aZW1meewNny1rYN4ZBEBmCBrObX3HJJT/OzM/ezYHPcc46zdpATP
W8glVY5yB/fwA+rJiasdcvQtnInmG7rU7rXxLaLkvv7+Bv7cz5nuH7p1lbmYqgMK/skcpxeAMiDu
oTHT4LaPLvO6gdQaRB6DWCTO199/t1/Mo/O3c1BLmiw9uFh/qhKRyepppqPSvMuDAdp+DeizMZ03
xdrF7X/phgssPOtZOvBeI8tbumEZb/CIKetqCXGcg0cVMIJqw/xITsN320EBMBd3srKfx64a7p/p
XrPDKUUcrG/013HSDyD8r1ZxIZs/WAx/lTMKyg5NNWzN0rBL/FysWbAOAVEQm2WrdfCUJ3Bo9cpP
L80Ykm4ltQ8OZMqaOUjENmKvlTEbD2YwBNu+le+lQQCRJOwDRG5dY/Do9W0BSPg8pUkhMmENo1xt
7WE4zJ4J4dW0NO2LVdjJJS8MlF6x4mJT8nFLOYayRaqYnCI9atd+F6AcL6Ir1Paap1PQLuPB7jJX
+ZwZ/lez9Lwt/h+OwfbU5JbxX550MxIjsWziwT9Hfac/67FbLBSb/lyd5aRWR09xnwB5b2tI5cLC
M4aDLs1a80vXpZ/TDhSTTHL2gwSODh5ZSyxQ/IeHFigMCdp1gYglhRvAofWQqc7HEBkmjoaI4DyH
5aMrXO+c9xlxg9NHOof9lS7UZtHkbUYopEuCS1vux9aBLdyyzE/iJSMp/mDgE784gISG3YWng0Oe
hX30p7rSqFDJhGPGfdNBtNzViIMZE5HYmauO7XCpW4X5BqFE8PCYDTzFqj0IpRZPUTZgEdGCa2f4
4imN63FJMvkUQQcfOoyJaC2n7ovfclivDczO5tSbQRz5ybYHPLfTF0kTxvgQvoYmBELFHxFCKxnR
sb5BWa5EGVOHKQPrPU6+z6t2U6NIy6pGXWkTAtZxLHdRmgGjqbTBL2H6wwZNbH4gG7t5CCWSDtPp
5TvcJHKbI/5TQ17QbgTtaJ8zIwGAFdbG57QtNpSCzfdMjs/5yAzi9wuC9bNwHyWw5pD5o+ksBhwh
J6Xwv9ZvI01EQl5G+2N45+dkTLnssw8D483H+aL0Ghg4r9G386dNWI3XVH/txt1svdZAkz/lXRSt
DLc+MaZOH9KKXbtS/fN86ZzS3GDsSZYmeuFj1qvMLhPprDrPJJ5jvqBcxf1HBB89dPd2PwfmrTve
pTdSxHBXmIautap2VpVOzIoVQYeNSE5kah8GD7E6lJ8jtThlQX9IM7M6l32a40k6S3VMXq3xmgwp
ws90+v2Al2/GojMvKOOyQzrpKnpMIQfdyiUtRb1cNuBmrxXe3gdrLPPtPPgOyNXx0VdArq+qI048
5D9NtdXqbPf7P8ovZ3lsAYyiHTQSNj1jSpH//lGiQhEMaCsKPho6q7kHz8GZEAKSc6WfX+iwpOsq
JTmmEzkn7bB86UKSGfUwAeeWdQ4O5oiOY+/kS1tVmWumPMGo/2C4Bl6776aKOBcAOXj0wzWxOAxP
wBdsVbwo78BLtgyOxlWIZWJTxQIjsAxM1F1ctBwHOoYoXH8GTbukHhazSWjsY2C5mvlEM5aGj4t+
gfJkAZnrb1t3rRk76H/twlMNOrcmmcFx96RFPv/ZJH4pAgZqv7+T7AE/1XIC8yUSc2MypagUdj+t
IvWA1poeBbYbWAgs0nj2/3FYqES7rHDPqWizBsTOzhz1HuopOPkBj+hsnPES5JIBZ5Cj5dKW9S3S
TdZlgCo3Ckx5tBpsW/7oET8tQtpH6cKScHU5lT7HSaIeZo6C4ohxgwoKz28JIyVimL2MpYsfO/D5
A09VjE10zIG4vBz1aPUWET+L0fo46wSgeT4Vnnum12+sDeRTC79ozOvckG06pzmOrjhIsnnmDkGl
MQBvCrSN5iSVN7jlGw/wPJiByRDH3As5Mfo1yvcWTyFrjuvHyVonVHCX81sv5o5hBfxgdvuq8sgL
4QXDQsyxuLhJSyCEny7AjDREaW8FOdEbOv3iqTT9KQP7aCfQGZrRt1445HeHSupQGLwk4DzHwFeS
2/4wqL1yVGqpcO5RnSU7u6GvJOzZTWMVj4pLL7qp4+g5EORN6Mjwv1hxtEvUek+00laVo/mMqZv8
rDDsHztmGv9H2Hktt42tW/eJUIWFjFsSzEGJkmzfoCzZQs5x4enPANj/6X28/+q+4ZYo7bZEgQtf
mHNMb/kod7TtP19Dzp/tAKUZIyBLdykxqErVP9oBmxawzhRW/vfNTBMRTbmwC3zxVEojfosS3Twg
csW4ESn1E0ZyRo0uO3XDCYfdqNfibrmcMrI7FMZDNHI8ZyWseJbX3kzpQHGV92wri5olFw7+sq6S
UxHr7oem1g42JtFvGe4qHrLebp8pMXJD6GtnJQGyaTaCw7Wjo2uzhhwzdZcj3DuzuGEq0MnT4CT/
+aBMVLVtVxKgxSjvgAKb0BFYcih5uWDu69nI+LSy7Hc9ExHa+UHBJ8AaOnmQaNfU2RgYkyd6H+Y5
2qTvsqQbXkBPrOCBnvj1o5NAx7GTcb1xokiZaRX+ky0R/SOUIiPObroL9kkinHBd4AUruWIysa/r
9gCnN0MrqtePzSS3E7dyr4fAvaoLm0I+ndonNc+dXds2yb/Ukv9tt8WRxRUHx8XUmaT+2fy5geVP
hB+iiZTkNpH3khil2W2gS7z0Mq1PHSary120JTr3ASvuVwbp9BzXZn/LXQQRfgkbs0I8j+0jvuZk
OLLc7CJcQxSYl1bNPS4pa2OTEvOslz/JUlS+hUJehAapcTHxSdM1NkWn/fjnK1n7s9mgpzVA2+BJ
n9cC2tId/MfN3kb6GSaVbd5BDYM9mXBHsH9JaBxgUNBh/56iZ3gGxhft5NuISDuMSWdZOqNYH86m
g2pfPwi2is8MA1lONvreqpLhIbbs8dha04ckLfvM2AfeCELcOS8l/5dD3fmzZsFG4vKeRCDjmtQv
zh89k6ExXRUlqWgaudW7xlWLudQKiRetJgl+gD4F5u0pkhm4Bzsz+wuvfdWHO7e0dEJz4vS4SKlY
4Fjo23X3Rtm+HqqkfBZj5d5i3/5mlap/Wb6Wh/LqJ3KXquLgRlP7o2GxsJZVkZ3GOdaybAE/LTr2
zlb2Ab7bTTHVzEBnicQwYsj3exs6jJ82D7HSNJRXYKnuGr+iMqwXkARnR/YhQRNJd7hvt0LLD6+J
LDn6mk7ZLbJvqdI7JEH85OQqgU3LFP2+YDL6Hj/thFjMINXkYtuJcXCFkq1NAlx9EfWHPI6H3eCr
qJ6t4zCVv8RguCfdKc7BrJAxo6vuP0KniPZaoZ6QRqtbE2n3d7AzpHWuGqRLrxB9Z9kqHuj+UZoY
QmL2T4saT4gw35VGgc1DDb7++aK1//SqcSuxVUFu1WyCp1P+4/hNzLFsi0GJt3eLr52SUMWyN1/F
I7Oypg8Iav/fBxLIPa3wf5Zi8M9mb9g3gWqgrimNPDju9jcDwe9KdHq8Y4YD5S5XX8de74+qgr5w
MPDULH+ePmb7rWhuvqfUIunVcmKAHDNevpTyOvCaHon2YpocupdkEuN+gkK8vE+W+30lGg9XlDho
oVE56xI+pudnvL2DKLEPGkC6UEn2BnCIhz7pB6ymzbQb8hQNHhGNW2W0cDtFnXasSeqaP4k7x10z
OTXmAvkSpIl7XsTXgw9/EaaD5dkDJJw2s893vUXhEJelqkSHg4P81OSY4wVxonWt+bDe9SZLrv/8
dxL/n7clpRb3SE5PuCusT/5v1eroPbw9aZXb+0UZ48vdhuqnXqrFzq2YsojOenJTnWyJ2cUAKljb
2hgLyWxl8lLK0jEOem2r21IXKAZrOD/L6eRUAKKSqWLIE1F6LU145UAKuf87lTLAlLE7h8uWpDlX
8VFOg6tYjIKL+VsiNCyIg4LvX17VRpOXEl7jHMTGRmAFHZhxC0bW7cLL+XuAvnxU+s2+sW0w4Pjv
vXRiCo4sYeT27FAwlmk6rHCGW/e3t+oU9TXXfjoSJiAGyxFESdNDLJ4C7EDsiPsaAh9oOM27G/SY
tl+KCbttBvI1ap7vq+lA4RaTOzbAS1cUK2mySXSzKZ3fbO3zCG18q6Zwq7pxLjQWiRU6YTC+c26z
BkISoc8FB/F46aZ6v1RxBbrBx7tJx5yYui8eBxooOtR6PXtX0YWpzs5emgVm+lRvg0ocZoH+d9Eg
LC9GZGYXgaUiqzv7yVe44jEUv1ci21ki8S+M0n1jmZoR/VegcvaHRtmNuWTfMQwcI2Ujft/LC+s7
1l3rAgaZa2QwtL824nVMx3Hfhbc1ZMr5d6hnFaVU/Puvx6SJyLAm+UplXcHg+mIxhxtcauoe/gwi
eCfU711HKJuGSncSexOk4zrI9XsVpiiltpmESdRMIKN16HJh0e+h5l8eFunoUp8xY+g399BzG1fe
sUTYrzrkxXcmUjgSMgvsdoucRbhMBqrBRYYAi3EMYvu6uHZKkaprtFbONjpUe0wavAaTiYEIX81P
6eYtaMmRzjYessMyRpGV8jOsRhxcs0oVqwgRcym7LBI+lc2Ix2AdMGzYyCjZBRDQzqzktJ2Ymm6l
yX+Z7C6Fzn9uKGxbEyr8JNPQTebh+lxM/Eex4GQ1GAmsgJu+1E1jX3VI9qsxfOmNVzBh9MkV4MyG
HSk0r64kY7oI17gx7PeckbYr2XaVlTjF80MXt6BL0dNpeMmXRGqdmhPu951xECfSPlHCIle3LUlq
3HnEdHaCMoqFrw/Zw2N60HfdLDPIW8wWQW1Hf90ou0BrkE5jnVJKwAKrNGAJNqoiZbHi4nVLpbZf
aqpmtB70HBlFWRJf0DjSgqM6wbaJfZzhrQpu2415oy1f8TNEMYFLXWFE01vbY0lxcjy5+3rS0foq
ze9s3n4vCIvlI71osfWktoWsqfv4l5P1v0R/859C13kDMg9zDKH+OaShMS5UIp83yeBoK7fow6vf
m+HVmR9sPXjIc0s7LM+Hehxd06TB7RPg+sM8kiBLTXEeTwIaselDsZ610giyv0K2mfsgGAePsLzK
Ww7bWrrcMqyEu3ueJgEnXgBDMxFP/lgRZpMRNLp0j43x4y5zwUCIzSwjxIwLoD6yxTS3ajZ89a1K
6AEn+VUP5ujwJPXUBCRd2NfOmxaum3k80wmZeeQxEIiQKKdleTLhLHVMaV+t0Nw0SBC8RNGdA5Wd
QqSRAQCG2zIZ19/6ugvglfk+hqSyOBqUSSHmfbftehLESAqcdGet9r96c5BnF9ae3qX9dbmP3HeT
Wfs9n0rXy5bevzSt38sXGWUN20VNvDxANs0OS4feZTI596babFxYnewxiQ3Hcxe+5EnGKEoZsdto
+GdChKp3WIuVWVsn8ouN9LFq5YawtszWEq+hvYGyOO8y7YHpAm2MuxGt3xwDYUzrsMnAXKcadxWd
1KRF0wv3G5t2ScTGlNB2ZLTGl4bpK6g79yGc00gqxPz7Ii6GjSiGbdOow3pZvInYr7f3U9d1+r1b
ingXVtJ/yXtsQvjid30NaYz1TnDk1GGfwul0XqwhikuACgNlhHmznE0JyDS4lxckHqNBG+W4gYpa
PUjbHo5x1WgwZOBxaSO64MUt3Ej7GfU3OGtlNFjtJIJktEb5TEmwreuUDJUZRhJWwoTZUA9bJDy/
7i5kFevwv+A2tIWV9H/ONIcwL5sDTVMdm+PrjzOt61MfwF0rt6Hfe4u6MiMUbu0XU3jIQ/0bMl/r
4KcTfq8Ug4lCiFteKn+Zzn1aUWFCLTDndRFKsvHS67zR0IZYP7UvP0s89i7G11SIS60W0Y+JS3Q1
9cnJLNz4AF3HfAkEjrewtw1kZZl/jTOdkTLa1N3yqdLAMy+sQd2ScKuejTYYjvdrFY3OuJeLaqws
TK772nRRRGQxCL809ZaFVzfxs90NoE3ojLsJJM626DptlTWYNfwgEM9m2Xbc/HL1JGBunciZ2LRV
G576YEarQQzHsa17IY4y1DWHromaRwGWGDI5cUENIqlydmUaw/Ah0qR9VN0ardWEx34W46ijyRbf
VG/WlPU35jtESaB2QDdjdbeqw9gRq3l3DYsIJ2wChwBfOHOMbreADpUewk5SUbYu77Y+wfz+d+mh
5ubdWq4kFqfMPJBAzh0c5y3GY1mziM0A6e2zEa+3NknnkT3KpiSsmbKdk5oJQnhZPoIRU25Blkhu
RMwb72+MlvjiZYxZEzSzAtWEsWZktmKL5AX7eLxyJuPLRceEd2kOia66YjNxq6OSJ4G+rrVHFJ6b
WAOUGrrE1vjRz2YKy1tOi9/Z48DVBGI27eUPvySIUOYagSkNCLc+oI/qaojFmN3Im513KUunGEGA
Xt//9lbPtCQaUmfbj669Wr6suhir7j+7abGJ6/zuUSi0JoarYm2N80dM9wDrCSDr8pLg3qX2aMhb
Zpad89I1IWVHq59ZkaGQ0IHcLK+OGGLDgxILD0M18AimBXf7hZpFlgKqLL/NAU9bw5OjtwZhtF38
K6YOpqvcpF2/wjpNnCg3iXjV2wGc6l7ax3tRy84K0rJuxb8JoP3QyjJfWZcgc7FEZkEJYGV2Lo6o
F30nE+eFF6UJo/Z64tbv+CikDP0hHaID4R67KOguyxCKW7py6WqUQY15WlwpaSSNc1kml7jtUdHO
DCozqg9mq+4MGfKujfX+Edky2Zo943+O0r8eGK+F5Qrc9CzkwufJVQzXeUZ9VQ1j/xhNv7/IaRs9
fFLxm7I2jA6Ey8Qn0haJ8bHG5/uxZ4zaAzST9JjMQ96MLLDzP9cE/7V3h/sLBBLYB82WZet/jqkE
3V7hC8jbpTkQcTQDB+4K+nEi0bsp4aPcQQOxNL3Y8GGuLseaVM6uIEVhyWbQ5pQGaiw1gzmxPNMU
k3oiMUqlHnxRjTDwEAtvO8PlJYGeuJBsE6Xje4CBx5wuVX0NWylX92LNUav4wIRv34wOcab6MCTX
oiTODRtQuVO72Ny4Boy8AdUd8Rt6fQ4ts7ssc+sxrEn8EgHbSaP78DG4EeqU/Bj1iTogJwPqn19B
IeZd93/eDNx5DjZvBVxbc23xpwQHUY9LUl/ss5iVw2kajBqPvc20uiUYMy7fegXwWGvoRxtFNwCL
GTBGjrS95rAsros/EFkHeP2K4Atc0E+1xVXnxe7FXjSDZvRDXyy/7PfsM2+fldX5zyXM2f2dUcaB
uvMZCp4tUUDeS41xnQdhwuHfN/sRqghqyoj8ASkYQ04WGj9NhlDgU1Ny6f4/zskAzRj/hob5kMnX
Mn7QUZatsxTBeKpPN2u0M0IzUYI0w3gjugIatF7jGVOHgTDiZFwtx+nSEqrA8zYoZLMtMyRY6xZR
UpQI6jlBCAHZPPKPkeHf7vZthVw2YLjw9LUg2Q+tzdnVp4QbLt7pfBi5T80/5tii4ul6qe+i+VNj
xCV9P1Rqq/2Vz/jBqeaes5zA6fxpIvQHcIzWIUyt5hXlvreojRoRtLyPWcsvhGX8dZ5F2qu2MlnP
H8uEKiYgyWvpEZYNRa+bhbfcToTdYXSDHoELXuC6JENmG/Ym4T7522IC7PxC3y7rqvuRgfNBP/S4
s12fTTvEp1zdCT8klS197ybZHpfBWay//8tl+V9XJaIjyN4UCqiaEWn8sbBysxi5eASKd2kBTXsY
mFKoxbUvbSDTae6/tYNJ5Arn2sOkkvtbqehcgrGR5zpTbfR0EdLw1tHXrNarvaNU7CaaSlyEC7Xf
0ff//PNqf25HXH5ex4btjOkd0eqfP28dY6GeRlrZLOcUj1raLOFehlFTrssn45BZZBK3wANy1CIt
sUJq4zCWjMgUA8yJDyfTd4XrJ4gZQiI05gdH1dNjiFVmuSTI1MQ500trQxi4tU1lRL6f6ot/G/3/
OWmcfxWXypCdKysA40+kmOvrpY09lfjtRH+yQ0IGq7na0Xvtp5kED05UHn1/tk6URMwkQh1eA8Ed
Ig7i7LNzDjihs48J457XdbReceKKQ9y61nVpKRVLAGTy/21fMe+D/5TCs99ULVp1U+Mc+28FrpZJ
a0g6xH73M6pn+A1XL0Cv4g8r0XTpStOm6D204n0Goh0NR8hUZz7E+tR9jfW1YyKbWQLvmW+gD69Q
9oeDpeyXVWnsEhF3h2Tzbv8uSLpfTsCsdT9KcgCfDCMLVs3UlLex45brFwmRg2b8Wx39dk9cV7Qd
uuIzZ9H94OfJp14gsoWkzbUZxk9m3V+nSA0/7MwIGQMRKpF0N7tO2DDPyoLWa1jUEETTh09a0Snr
MdTKd1ZCAUtbqhGznrnemIXR1ShZuM6awD4VZnpqrMx9NOagevTVDGv6n4mtmq+glIbH3lZvnR08
ib4oX0uDNOs4zNtj6tv02GDKhigzH5Yp5RyLuB7wBm/wur4u61hM4snaqSGvYtlcKAYgSYwHznTw
pa2ztoqkPKPCcZ6NNHgHC1a+wEJ4DKoOhXtUsGqdEUQE8BENWtXrtObIRYSU3zKT+PmqRKXkgzAi
zNgnYiKAIK0Y7Axdm4vK8utmK6rQOebkTQDoIxBFSrRsXsctRB3xsRlZC2GzTUkQJCqDTR1ErXx2
LAe8cI8sM8WmVMJq5yRoCvXe1rzODcwbOkqTxGK3+OFbzsukWc2XXjxgIRaytj8Ev9k6Rcnt+X1U
7dmyNujoiA93F8+l1JxHKjlGsimx1rMDIzeQrlOX4yXUmMoWZVji9oJlta8S9N8MhDaVkulkB9jq
w8jgA19MuKps4AxllI1nc6IUHI1PsnEdZxUaMDRmz7vKX+FcsNLeT22H06rBrYPkAd3GVWAIQjKt
NkcxLyeXT3mRCbVPMa7NL/ny1ND6nt0q0dG1q+olj5rbwvaycSp4ZZPDbG3sah0LW66MUYo9JQHn
wDx4rWNnWIWp89udc62Wcml5yBz3J7Cf06Bx2144uknKG6iw8dDmIrnYUctvbc+z6aKBKDP/KFZp
cJ+lDUEGQB/490OihDcqq8bzHYBVd70zyFTn7Kq0+HckW40u5n6TygkM3YbGIDdG2ljUVoB+cnrD
TdkO8bMt3VOcDOV7pFjahpAC5yGcEL2E+NniGZDkCLKV/X7wt0ETmXc9lVLq6yi39QejQMjrzhBJ
s637nWGUMe53U/lgCcAdeFk/xVr9NrGaeFqGzK4zpuvCz31yRSeC/jITLlthPSwI3zHTH93WP7Eo
oV+o3PAlVNC4612hseCNXnwqrXcxDnBSLCYbs0XEUuvgYVHus08jAMIuiDqtYgWBelhtI2Fmj0be
xHtuCojkBwAZjWySB3S1QJgm40XBmP1mVd3DEgBRZTpzbznpdDWQe7DyWFfTpnpppwoGShz0K78r
i7dMLeG+JNX3uOpCr6iUBloZDKmQMdNf8GNSj8IdprT4HI8TBg1qfMSpv5Qk1l98EBG0BiHeIXmY
HLP7NHXlFwJE+xugXpLZuMecMGJnVISxsktH1CakeCTPSUkaEQGat2omB/9dn6eIV6G9daBC+g7k
5nfwr/Xq3lSFiktlTrG3VJDtBMB5+Sih6zZtRH7QEOXW1rgssj4mkdVMKnbzwdBftcIkSygn1ABX
/I9ajwVoC1YUXVAxQG8H5Y2wws3Q2O4xn1wUMqISNGm6eq786uVu9owbRz+g8D/JGVQlUzQJxIC1
TAqU6NQ62fdijr+tukRfDXrbvaJq/tRrFxFo5Ad/mQEh88GaukDbGM7S6RDOhQGzXLrkoGy2eZAP
N8XgmoTErKx0albPqJPgF/alat9mzoT7JwVil0Io7GLitRvDhKo2NeF2URNzCXSbRMXxvYieEt46
xiDKjV5nPwZD8dcqPeyFOrR7GFsJ2snOjvbU2De1jL5G6UBQGbtyswB2cisetr0VgMryK/0dwTeZ
wRB1zz4FWQLoFe11vG0D5VV0i0EPZdFnjyvrRLQRh2tpEtoyag5KieAaU8zulQFaLgv5ehPVBDM4
sf7bSBIcjzkHV1CosCZmUB6q5GC/+J1Qb5XcupVXy3H8lV1lYGL1ND4q8K413YyfMnZ8JVun053e
gc3gkwEvOJX5vzPwJzrhU2Xx5bbELAVT5Lm+c7AazfrljP37GGu8c4COTgwHnyJ2akgsUUt3NIpH
JR2CYzBk73fnFTwouj4GJ8s8OWUCC4NIMwKGNkn2OdG3qL6LzMNwX8TCKVaKM2nSD3kzDRdUju21
1tznHrD68s9HzC2USmM+2M7Ycugt1+XwSXQZ4KM0yFZi+DuE4osAKUxOBt0krRB/dmb8Yg0u4s1X
O+MWu1+mMgHemcksSsQioEWTvHZKGZ6DaCySbYYVdT5ac1IefONhGACdgaHeVmi3QkdP1mlxy63W
OTlOsCbA7KwW2rhlk/9JV4gKWpuuAqbC3sf6ZqP1OAhiNkVc2xuDTYFXOvOuoKZLpJ9jGgO9oPnq
EhZDk1J/H9JqlRB8xZiP/NrOaSUxENNvjA2rajJw1ZoEPbSqxmA0gSjUMC1UIZunpDl7xpifKzfF
fipssZHZXIUOiFmlDqBCQ9zPRksgca5E6I1Y3r2gL8jpQIgUmRfQXbuyG8g4drUV3OkQEMcQBLtK
WAN4luIUs9FqI5YBpqEcfELgdcN/m/pqWIENc1fKrzphakVDF27HiIQvGLtpRsj1kP1WOryj9c/A
CojKZCHVjXsX7KRSGg9QFCql+mllykUth98lqelxkDwKOzi59g5h1aEjusj1h1NnhTfDkeZmmNqP
KSEpI5sotLQ2vWWEi5FRmKJ4KvsVGaoXRWRe1mCk4nw7pqTWyerZwnnsEgKWBmclAK7rs95XTQx2
bCLzDmR4MdrcDobrKECh2zXM0To1VqP1y0eMuG5dH5fxDKpzppmvUaSs6eAAqancSpumKsdmajTm
EXl54NkjHgbHIO27N7AyZSBQw2yddUaw0TAh76AT/Bob7QBWBjHQZPbPaTo9iYmdpRWemTh8V/IK
6Fywi1Gy4tPrvZCLZkraidO3ewyJK1JG9W3si4cRLh6syIPbu17alrSBRQVApTtHibzpbXIIVHG0
Evu71Csknfz+vm+u6zlyvaZwQ9vt/oZ0vuasImyy494U6wTZ1OSMrkh1N1Rl/msqLDOaBBAQr5g/
aTjM13XIEKeqjH0/5O8jv6ZU3LOtVr8mOJkuGrQVjAEV90T4Vomi2hpGsp9woK912QRMOW3+LDAq
ie0b1q1dQkqVT2QdvMd6e63iwLmZYfazZs/kyRarv8vKbsXygxVo/8QMY4M9BLm2tm+Q2KpF7g2z
bNJCRVnrU7BiS/WpOwQ2lClbvcxIzuWjbpQvtg/5ruN2MoXuzSj6enVAeU90tnElFZ7Ey5bOU0/T
GmMwxEVAOrtWM0KMIOW87xI/HRJzWmOovFDzuxXCx2BNWgrH7eB+9Z0FM67j6hvEU59rv4hlek+7
o2s+a4jc0G9RRpewMhl9sDBjn0DahsI2Dud4M4N5y8vQZ9qqZwIDzgSQrKaWyUZEqIyboD2HiiJ3
haL+6BfxiYsfBCgApxlMm/LKtIa3UvlG6tdTl8efmjC1dS8aEtblKVFgxnIooAAOi3FVUbOMXf9a
NkG6NjXrI45VOJ3qicEiOZJAwDGrDhkolMm/6nHHC5qVGeie8sE2Ov7+ckC50mqP4KyeA1f7TtRP
sppi8+KLwOdSIGerQW7ld9cmhcaIxDDaqsSl5hY77cEfT76tYZR0R3XrhpHciGFieNUPr8D8VYyK
0e8oVJj9WytR+gf2kAci5MmqZbHAorF8s2IJwdAEZxskFloLgWYORzGZ3cOohqvarDRGCfE5RIc8
Xwt1tnbs8JrJTY4etazhfmhV8kGq5ntfZlsB2mstsLVt0iJ+TFIZ7jurvOlJBL1vfBH8uhvZzeSA
iKRZDruVour8wiFZZaayr6v4ywzdbwA+sGJhMGFf5bloirzUwCZvwWYqkLqBfPhqkVisA8gUrCfB
S7tx+cL/TrtkKsJ5E3CboL+mZrRTmaSvpxAcEr7sc2am1bqX28pJHS+lYqGKYA3rg5WetHbtYyon
qao4OoXA/Kv7rG4cd9wG6YvKbC7U6vDY8r2qmUoOdNthvy7PPXB2rAT4XXVZXU3T2ZR6D8NRxwNU
heVrMRWbIssH9BEY5F3zUzMSbWNG5GKhZVCO4rOqQee0ph0ffEFiaUcbv9J9AABGxbhJr82bQqLt
NqKB2hd+6uXKUbWIm2JHj+MUTWvhDxkXcKRfJj16tyRKNCrQfN9bUbfrKjF6OOTCY31LzPQGJC5/
tRRJOCwnC/S8CBA4/2Br9jtu/AdTJJ+NO8hLKoffrsWbtIUIu44E39hnpmegK+FSya3NYFqeZJt9
hJTHJqPtpzXKT5JLYhyltCprEqc5FEKaBZscT49XvVg5WoQCTESor3Kfe45erTU3kfz7JcIOfpkM
z46HapnthYuQCQrYRolJMzKqL7j5GaBUssv1Dgkif6rZj2SvCr8nVpu/ykqNi/0YKTbcRkH6ZYyE
p8D/mKstioQ+xfbWlUQR+caePTCAMhAjJI2pO/am6QncgueKpNlnFiQ2H9SB0yTlhck6+Ef1I1Qh
zKdFsWZU9GWawefkKmtpdLehUs8meeV2PNLJha8ytddOPj5njXbDTsPhZ4Q7OCcAObTsGTl7yjoB
Ic1g6Ae6M7mOh1T7qbEpcLRYeR0sDmHodkfN8fNjowFXtSysTlNu/ohkm21CXDNbLQmemtEI3pGc
MgvBmuVaLJqsovqR8cNsfVP/YGS+qfnx2SMb5SoDPm5pknEasamd/AhbEjCS8aXzCXPqy7H0ctnz
hhu/0TYW5yoPeeVRbqLBuFJV2J7MQMGW5DpnhlDWbNg6T09KOuH82zDlznPf9/GxFkbMSCQc1wa/
zVWbHxJAV96k8q7gdHQvbumEx74KWYHz2cTUsY+j4dCFsb1XuWwD2m/QOVQjVg4y3x96gH68pq7N
AUS/s2Frmx+UKEpPRFvIDAiUYzeX3LdIROGoB7yuemjDSLgoxUc/R9x1droTA0EhbQdLsgutH62Z
frTuAFq+RCQT2ltsjATqfk4xedGuGAgVdmcsuTJDN9BDjIm6l8GwH7I88rB/7w03B6Fr0guJzIy2
ldo0lzpsbubMiEPHHO3yXNG2+vzpNJUb8NxrkrPNV1o/cTHakL5Mj63XrpUVEixWoMtXa7NhHhAg
m7MszXxNiA6k29P1Y+BYI1CD2vxpaf4x8PvqTYlFvWcNCPqe6LlvdU0iwGiZPxkGc6zBRzy7kxo+
jdQ9q3r+Qm4GX3mayWcjweoeGXmyWZ6fukfmgSPCW3wKFsRD5rLjbwdi6WnwlZYZmWWszRRjSkrs
xEknIZAb4hzBHVuF4xnkY4zsZl4hOjWPVtW8AfTp39uozA+Ji8AknMr+3XBq+J7cXQ7F/NWsqV7q
QbEfWY8bt6bBjDk/PdnI6jWbe9byf4K225F0TG0v2R2CcB7Cp37K6musKh5y8fAJhET4tDw/xT8V
bWIE+r/PwG95cNouObuanzAZcATHQJkB7A6FWIV6MD0tD1abfrGiHY8szP96StOqB3sKp/P9G+bn
IwxAzpTa17+fUnDIRm1xUjC/UAV338Eg62vSEou9NqXtwVJt0n/hSq8lSWt09wLpnJp/aBboHXhb
0aV3nBwy+cyw5PD6yO3gnBpZ96a24PHSvjUwGvjTm8DYtnyDMnbJus3KjaYnRPhWqrr3NSwmfa82
j2GvTGtFC+wfhWvuyNLpdrLIVLoAOJPdMJmXCefZe8sYjyoQXWGDXqcxWHa4qfpuN2O3Y8jjQnhS
SVcvBf5N0wcDP7Xlli6mpX9M86OZk87t1El7cxtLfwzUdNf56nDhCicIS5en0HXVH5yGRPM2tXUk
D0TcNJcksPl5rWDCMMVjesoHkd3cVnngP93QpOPnzPwmW49lNH2f4vrWFEHEENrdxgSAEIA+Sd7k
QfIzkL2xMkqnJayvSDYoesFHOUNP3EKPxIYqf5idOLrC3CbmjGSMkbUXHCbKlqAv9+qYabCNu3hA
VIBSAgJNfUgYuJ6NnPSbOJuqX01sYaXRlS+tta+Vqslzq+IX9gcmLW3q18xuIIikonVfzNrqPFGh
uCqB8u5sl6ChqFYYS6pdeajY0x6GwrTPaTiO20I40ZOpjNqqs2rtYQzd7hrMccamYeffxpTgtaKX
5q5oy+JbJ6oXU2t+1F23L+1O3CYVo2BayeRoNPNr2ubET9R2tl2+GmXO1hBdxXgCOVno9p3n9KH7
wi1+XAcsV95MFU3BBBJ838jJXfsYAHZWx9S8q8qtxDX7TndX2e1H3VSkWZcw0SJqyUdEUmhc5i9A
rCJJU5iv9GumlwfTo4YjeteL3nntk/qRr4uPRBn6lVJF9VPNkPrIQGfc5LXZ/sgFS9H5OxiG2euE
gMnLAMAEovQ0bZM3P2izJymtBmAym32DQRc8SFo/gLuJFgRPBX73RwVH3iWb8As0QnlsktYnnK14
M0ZLf2i3Ms7qkJ4yLveTUd+0IXPltTODdFuC3EN74Ci7zOSowg9zBn6lUCo4gt+ET301hNc+zLFI
CiuwXZ5M35Yv5NiPpNRJmyBD7KzMD0ZrKqfloeWia1a548y1ZdZ7imzDPXbA12E2YOV2/teDMlux
EDzNRkyRJEcdzePyLYtR6+/vW57r2uxEZmH2ViPrBts9kVno/2xQQ8e0ORtXkwbT7khdN3nBbshV
qwOUCu1Xq+fPfa5WH85U/FIcs75K0iK9xJdebZQKlQRjDq7a/jzsaPjgmc0fR4XVcx+bPyRKPMA+
G0jySXJAWsuTuq4zV2at3sd2uQkADUAgKoERLR/WWHbPofHDrMBMht3A3sKuHu10qB6ddjYjafVX
NT81uSaSozLRn6WjhaflO5bvhVCa7NBjh2toV0q5KVraUqBS1z5unRUXkuYViG+2HWrcY8kd9ToW
Te6Vog5/9PylNYqV34SMvzM1Hd4Yq7D7wKB9Tv+HrTPrblNZt/YvYgz65lZCrSXZchM7uWHYSRZ9
WwUU/PrzQNb+sr8zzg0RSJYdCYqq953zmTqsJHswNRZRQfqhBfPj+lIQNbeqKeTH3HOeu6nTXVEQ
eKFlgcgYHKqFJUr8j4q3zrkh/VTEYEF9CAKSCMBx5JJ4V6Gy+LWJ6ZKtLwHnfSm8lL4MecA7+oL0
8ctBf5yaTmyXN0IkFX0bAvdBF579NlQC+jCsvL3MvOqzufiOJT8LJ0n3EeGRJzFSzR0SksuX46qq
rK01+6TwaVi2HEH9LoMUS9uET4WEimnr2VLtcgyDu4lI+Od101MIzmn3P+IQsJ7T1lPH+DPS04Gg
OE6aSmj1K7Xp+lVaIPAD52XdUQK5PmFjP/zGaE9TgTlizrMUP0yNCHt9uG5IZ0ofEB9vHOXSm4mN
AqsxG+lH/z5ad20RHOwqyM9F45rjgl3gvmbRx8gIk9qMdjW8sYgItnXcAg6o8moLrdpijqFB+2MK
/Z3Lpt7Ek289astaB/zRna6C2lC2I7SM4slZN2qWsKMsnrx2x0KVC0TSTgUUW4hTLITxtG7GLHJY
4CpyjILcBEVcpMmlaqmbDSB9bSf4nEtHP68bOqdUfJaN5Sh8DOtB6flq78j45e9L1kfr69afQPT+
nxev+//r6XV33fTUEXeNCQd/IJXpieVze41luq9FVD9Fo8oC1rEYOdoY4ytxJPXT+kwb0LkwnP6y
7q3H159H5jttXDNNYJbwdhkpNk9uT9GqSLu39dDfHygyIFuthH69HtMs9VI2oAa4C/KB693TXFN4
LhNrp4OGPWGoADQXD29lSvF/UMOvPvfaD7u3cYKQSGUFwVsjgQU3zHwQNU63uNWtEKLhRFSc9asb
BC5cf0Kvly8kSqfdpq39Nc5dwcgemQ9FXkQvahTWvh6XWMQFcVLYA7d0gc2WpUwg0+6lbc32hdVH
T7lM0fJYdtM5eg5Q6e+bbvFTRNXw4kIoSCKaoNjCjDC3kTR3vXYhae7XGJsPZlRnPwOaoJvKQTxJ
Dkx9FPC/cOim3RFASfZMCDTNFNbPb9iRvqcNlUrVRR82POCDjKL+kNZz+Z0EbDwDefEpUb3t4AXH
m6HQWbeVZvIW1eNNpyv96ZmoV6HUstgDHv6kVXPLnzl/RrUwXnJhPstuYr4qCWKU+Q8ja90faWTU
xI7AZ2zqRpIUqQ2vjkrKvW4h7Fhp+XPrROcOl81iIdHDruDmOSzSfb2YfyHSbB7WvVwn8Mih7O4u
VuL1UDyImVyd9rEdqBhQLavv4+RWd+JtjL0/dtY2WZxBVVCeiJFP9qkF4krWydIMXB5SZ4MoZrc4
gQL/Vz9V8c/eaz46etyvBWum42R43gEDS/EWlPPb+gJ/AbKmY12/TFwnJ+xJ8WFqyPXxy+CqlBn/
zDpXbCgb+ffYhMc8dBO5qwmR9whaj+t7uHnL6e3sfUG5oCsclwhuE1s1PAQ6PFF9h2pZbEWR5W9e
C9AOyevDuklMC0mxLL5XSkHLV8tipqPGh8Wg0IBXQsjYee3iUjNByop0euO+lr8EhQCvRt6eUU3k
dJivRAOOy/VZcflP/clKlmE/57YkVKu9TcnI2ZDF6a8e/MVkzhBLfKQFiWEeCDor38YaU1NAiSwn
FZp6FOtGK/hpziW3KYFxW9juA1aJiClDCUtwlt8TNyFcHk3ZPg0s8T03tPOMIO5V+k1xrd2Zc3c5
zor0JUCNgPegeSzJYvuzUTBJNmkxBXvUv2R/SK2H8Smnx3XTxtRhBHjOHffYk4B69JzhEHhuaxJX
hwp7fPFjaJ3gPnoW+c+l909uyuC+bmiQj3tEiln49xhxHmds9q/4dukA1S5tflf1p4g0UGJ/WOCZ
KBW8vPL2AZ1+zQT8kMiAM6rRXilMHDrdhmFr2e2WVel0dLr+o1vYFklBkhHkOeYBVplfB8mqf0h+
cssQlFMncVsfGcsjAknjDd5ZI4yV9hx7Ut0CmalbRMvitu6mQ99RrqjfCxycG5BA46NDT+BRlMSQ
uVCVw2kYCr4PdtdjqtP+AexRnlNKWk6FXm71WHtKOFcQL2fhtHA0rM490Vm1t5yGwO41v7/WJNNg
leqCxZXfnOKZ0KgJXT7af+75mjdmF73v6WFBj6VUnZAu0LBO1czMYqY3Z/emqp1wtOXPII/LWzep
30WWpW8Ux1gDVRL55tx+GaDdt/gXm643bk3kvDDT9nn3eo6o9Ts2osmY9LAEDHyIqLnaguSww0L1
iAAL7Yi9vrr2zfjfm66dfwwgLFvDAEik2a0HgRU7jJhixIyF5bTXPw+nOfIvRE81vc4TINZfILg7
D/zxD6LU+LYGRz3r+UjUuO7/AwyoKoEtRghuhm4+VIldU8YjM0pS4JNtTVOIIhBRPWw0sGtnwMbj
xqbZHq5PrMckC1E+5eXp9YUy1hE4r/uRVbQV1nZxR4Sjjk1cmVeTXBb6kJbivFfmdT3m4q3899Fy
bCxEgO/WtnY4X2zGl+Xg39fUrOX0ztDPf9/gz7ssLwO1q85GSTPm74+uz66bfCLINBjgpv2vn/37
BjRux02k0h5aN3/V//U6k8TULkIJ/OenlpfpSHXJDsEFDo5o+vN/QZM1kq3IEs9pRbC3RWtfJXGX
B2Y3j06sjeeSdslc3rTRevAixFYxS9+jYUXurlL9CJfGlqfOpJhPGwtB4OzmZxULgslFDZcDGN08
LxDTmrEm0jyQAnn3jUWVl9TUN2dJBE97L8Ec9YH2PtgpUoasAF+nmizad/0w3DySY2xDpec5MiID
bXKV0cYp0wMXw8Qi2pl2ZfR7wH79qBNYcV83NoYi2fbtxW0dmjtJOJkxvByrrS6khn3rfL1/Djw5
Eogt8UyOPx2V/dBwxxwxGhlPedc+NjZ+PqO03Aevt8eDAniMT+fCWJd+9H3jn83SzkJ/ytudHczp
ol4NSY1ASqGcsxB1t2O0s7aGKYrHBbrZNTimajl4/L7h3nVtu4VVazIL791bWfWvEamDfW/Y34p5
4HvqpPHuZW8ZCQqIKREn5fLcWPl8YmF/MMVEYrxBidTWp1DOcb1HvbX1FPIpoDRi4xE4a9oEAJTQ
qUprGp7dCWp+W1AnyU1fe/VEHByK3hZh0DYxUsnaPqOrcVkr82zT1bAR2uojXfa6HOpPEcS79bk+
9ZHnYSahjqDqYiOs+bdpWZhK111z3eaMvOd181/7GMgZ7JdnhrRvz393XS/ziPdanolsVYYWGNft
ADXsGUp28twQ80yxRTzBdE2ei7lQF5a3f55bX5V04ewTRBehd/uziSOzD6M+gffw/46tj0gpHS9V
N/7X8aDHz+atGy0iDbQ2O1oQ/3mnVMUlMzOHXDWTTmHUxO09HlCepGNlQH3XQRS9W9Dvd+uZN7Rt
eifv6xFq5yMapegzEe+zZQ8/3Zzy+Wx5TugomtvQuesdNRBamEBgNrHVPKdURU+Tyn5bHghV0q3u
EWDde6ZijARusY+YZG1iMU13WnsTdcs+OeBwzTflOB2E31TgRrgmAbgsaY2DD1Qp9a9NQ/ZI35UP
bV09zvjdLl7a1RcjU0hpLbMOvbqWRbge1Cf936fdIoOZrCWJcxIyAofBj/zdrG/j1u8ZfNdXHbQW
FHySNrjjHYifTw9+k8zfERywHvWoZbiQdro48dF5cDzLaPpqESgUy05RIAK0uGQEAc+x8VYSPHLA
cMA9DLaYNIt8E7d0f81xGjZ6U+BBG2hMBFU7nz2afNu6f+rNytxNBpXsOjamd0UxbjPL0aIJVU3v
Q3ZYUlm/mR5i5sn1EmKPeBX0T/cAVQmL3LKbYifdGpj9iTGNvozcFPsg0sQ3TVF8lHh7ZKWu4ktZ
uvrA8xA/OCNkl9Iz3A/pWuRCoz25gMWw37C5hxg+5ZGKSXNAnBscoyBTmxrRd0IvyxfHsfZQmOTD
4q9Cdl9JgwbEsinbeIcLiHDQTvv3kD8aIPSrS+CUjb4ZZ8AT7Ty+SFQfpx53HtKvIKjo/VsZxDPW
1gg0eM3fTdHm3S5fvLON0xpnL9KBrQbrVscYyvi+HF4XnOvGMZhiktNJI90ik9Yhlu9g5b35HpvY
39KUoGXbzLp3Olzr4ShmBikh9a946tTV3D0gX/RUC60aiWb+uDKqHbqltCHE0/86XpU2Vt//fnmO
4oRyaXeusmJ+QJc7P6yPgikhdLEv0DpN5UMES/nP8TGz1ANUhibVvihHYsWw4t92NX+BNEJtU+bf
3AFEbtL41i7LsogbR3Y0/T57F8X4kQmM9H4zyyvjoCRKiA9+faS7taKurCgprD4kJdMDOR005izt
LM0UA0xPYAV+mfIajwz8NvMjanz4odrUpxMbBxxL6gTdMt9clujFg1HqhBauD+fMvcHUKRkujhNT
D0qbNUwLsjY2mcFIPjTDg+4yiDHUn4S22G5dt3g0u5GLiNUOsYSfUWr0uyIQr2o0JtIsbbr7lMXP
pVvumdAZpzSJ1WXQG3VZH60btez+OVaPRKNFwMKdTlEUqmUWXFjb/7uxChlcCsy9tFKLfTu0l6Is
KjIDNsKNvKcka7HxoZk/1a36J1v21uNVCanKALkYZdxaJ+IPysC66t4c7Po+B9De1tGRmS/5JyWd
AT3vxjMhBZBU1MYyK+B1Tf/PajlVNh+y1c0BEYXTazuV/gMste9MBW382Kz1P7Gd5KfMMT8w6hcX
x5GYjM2J0ykYTiXq+lbX9FNXpIe8RnJMCf1cG65/buzoHZ40fDbfMnap8Ok9j24NirmnAR9IgAgY
eQyk7JvFd1nZNCu7rkLnkQJn0IgFOCWkFxvxS9Lp6lRqVPoyczp65qYm3znMEiPdOr35NQ7Zy5j5
EL7SDLG2drIENj270S+cF8euNm+lz72tvAX0uJH0cCoOeockx/ON/ewST24QvzRbJPAa2gLvVjet
BKfXRYG5nVzTQLL3VTMPBGp5lxXJjdBQ6gxkySiBw3N/CM2cCULlE57diVDVr2NDmsDsipqZTvw7
72p5Ik9WbEjNExsZY6nHJrnpoaFtMr/6DLo2nFDhT1xPWeyVmyRxX/VYebs+Hg89jtqwMEmeKsfg
lIzctTXihbYxE+Ipp/Y80kTxlf+tcGqx1cvyCcIRJP5UuFsrzdJQMDsCCkACEszry5zhqgz8jFti
FDwAYabEZ4xkmZN60tYE4QVpdRWZ5WzM+huJTOPeBARQVhRfs5JYRrfBAJ03tN472DipG2+JF3mu
0SmHbPg/OsT6qkE7xFPs7vBoOd+q/M3Xlxo4Ku4rTsf+ruL+Ggz2LrfAp/mYmG618eELWb03dB2Z
qZU5rX125WQ9S7Tx1+RXkPrmCW0SaT32CWPDiwJigKlzl7ZB/54J7De0PbdliSiy9HRFv1i/OkEV
nxoCYC0r27szBQNVmUyVu1ge48RzN5lg6gqMps9opgezwKen+yaNBRSuBaWZqYKzH3hgh0qwiR2e
qW0x2oQfVEhdsQU9F2l/0TOq/0NXhrJlWe9r472X4s2K63bb5grYXU4vgI4XWlZaEQ+4+7YT2Utl
Kopzm9i/vDgnQ7yAeYuVTGNNJw+YU828/00J/KTgn8RKv1Z19I9Ok2ZT0/4nXFfthEFVB0zcNm9o
FKfAoJHz5cYWsbTSBcJ3sPAtzoCRmsWI6rupkeHr9vQqldU9UL7a2Fh9XCazGz4aIjchPjEJHr91
SaBhGsuOkGu1W2ZReXM2S2ZJ6+GxEgKvhc8NOdXAbtiDliEvju+dH2h7C/kgaHfuSL01HC0paYf5
pCUia6if+TvS4KWeAnfbtMMUDinrIc9HE5aJoxnP3ePkgrMjA03RZjgZQ4BP0E5eKJPR+7X3dYIU
BkPaw6TRhYR/XWwyW/7omd9ZKru5s+s8aAEjFaK9S1UtoeEjupQGRWDkACiCdQl6SotCJoKvLH9v
kTNh1hz7/tLr7XSO0mAr6ooVeOa3F6wrQLaz4OSr/lNpi7VOLQx+RI5ZykqfMDry/6K+2he6Nxwc
2/iqaK5cg5H/0Ewm0z7HC/jKzDbVkXEFe0GjZ5O0QnvwZuM2Mxg/prQBo2IT9FRTpVbU9yLrqke6
gFuItruKRsRjQSTnxuhm7YpxelM1MqCE0juhL5nhddKcSajNPmkXyqvTKrG3tcU9mExv0qWqY5Xk
uqsXi9NiEWxOl7Ss54vKEnz5f/fXR8OcayFJ6tqfJ0YN/bK0shbQvjRCcpFJyZvFybDSg+i6Gd+h
QbqCIBob4e0tYqi4+ERiuZS6zlrvYpEK7INBCedUIhZAd0uMXI5BWqMdasbG64ROuen9dMMYj1PT
pvgAwLssvFOU67TnudfvJm5GGyNosUbRWAX+vq/TYGnQuIiVMC4Ib+8PY3C2YS6tjoKq838CS+Ks
Jp57EzX51kXeGBZNpDEGRBEEpAkRxrjUx3KiS+sOwEFE0lJXZRXEoa57CszCCqOos0MNygrZhsVT
jcgJOYUQt9mYH7u0czaxAitSaZp9MX3yJ7SYMm9HOkPKGKi7hB4xvB+sJbqXm+Aewv/HoHN90KdC
mN7TKUPHfbATecSL3FyLAfQtuToYtZBliZIruV0M/pFndI9RJq4Trzrmi7ajLFKCVfF9Noz7M3Vw
pOkCUD3eLJLuA4bImMEXZWRhExUJrHTv9s6HQDuItqavQZ0i8+npIPyp1QC+HXZdyxqh1WV7IS6+
vZh69BPTFDoJK2atltivCdm+B1pJKEC5m9LXcxlMGENy5Nsa86AZEZAsz3Byb3nO+DmgRy+16iex
0Preml34HzE6UOrkCH37ax5b07kOfjS0GvdUKPjICuCuLculc681v6Ko9FiTBJLuVhDcZqf63Rvj
daKwf6daj4hzwQf0hMCEZaSKH1I6z347ZUen9/lqrM56ZlDrtlVkFMcEyN/dYt0WB+5T6jR3O+kA
8kSmBhgBGQ9GWOrtOtEhkyCPcNlzu7F9lApgISCEHvIv4NRBE+jCEw/1UgsP2fPAv8iY5VCRHFpz
euzrwrqum64brKvWNc22N4Jyh3Xo3ydcWm30BJYXTnazjzxmueuL//7s+shqKaRmFmj//+tHEzgB
CNerGpOlY2HfRTL+503X9/IG89a6cALWH/6vX8nVbxKt7IaijX+nVTXumDDsYuKwPgEP5BsTgcaH
DAAxiCpRi7HT3ypztJ8xOKY7I7HLJ3Mw5b6fdeorMRwj2P6LLEu8IYlXD7q+gUuJn2fy3sfU8xnv
Smo6k76JKnp9+CRu6IGYfBhJ95hwGUhbT86tXQZ8+0X5vawAvzhoEB/MNqOANXg0DMCNJPPLpBdU
Z+TonNtGf8AFFzw2o26+0qTVEcp22nndbdwgCHFAJod1t3U18jI6XG1oB9RRXwSfMebRi9uVv+nP
j69U4c1npzzUyfOU+8XruGwaN//HF9oA5Jg9Yelyh9O12HtOfG+hlZWuKCnxDf+ADjn1ZMJsizYu
No38BT2Sllqz+ArSikw9Oeqh1ssn0Y7eGf/w1qo7465BZC9AW+5gexUbtxXlU3YFXViFfpCqAymh
/j2JyTRoK22JCcMilcBdmIvqKx6xIeRZMxzqgcnZ0B2In93FrfljNLqadTqXzSjtW9HIfeHBUyTH
W2zisjmAMDDIZPOF++ljF9y4XvzNi5hTEkqHnDGiPY1Wsm0Ixi095ztm5G3S+UfLTPrHIpbjmxMj
WPZoYqLvTw6FNx/nPifOpx7NsG0wD3QjU/+ISe97G+hPtraA0kxk6PW1sstnOkWPZd8d1Nyybh6O
Wd+GGQ6lOp/P0kjeXRH9MAxmQEatneo62I5ivMFjB1iIhhnc9KbDGwIrZo+r9ykjUp1O8B125Fsb
1E9d/DxTPBXQW7dzQTSMl9Ybzu5HPy7upnnuuZzh8PwDJObE1/fVM0EuO6vb1AFjiXBZGRLOTAWo
GC3MDU/Ydvd6o52LDsf8/GxUc0g36uRFIZ5h2E4K99lEczyPUEolwx3lCPMBSvWSL3E2L9ozilcU
e3hP8pJAVDEWF2tiaaBf0xLARu03x8x0P1ugLUR/vNRjA6XEw3ThDy7pNtUe0P9NieGppSIZFPOP
WEaX+Wc5NqwWnO+O9eyq6uimJiL32uWSM1hYGVtboSPyJOA9t9uUQ/BTn6/I1U9tYb4hNX7v0yxB
yKTt6xLxXF98jx37yRjUmfb2N5sBc1mcIPK5pOnSt2v3JAjtWmy1viaeiHNyBWiY4HmUm7ivLo3m
3V0vePJM7UQtZQE7U590QKsEp6GZaurIii6cKx/xefiquVcgjINRvaQ2JQp9wpsXMZVvsbNrTyND
v60fqEvjjfRmnAvFeUybt5E5V9RFuwfgEL+hQp65yM9wKXZQnx/1jC5VQswUzica1Wn5UTNxRlz1
MhQtU66Blb5vcKsZ9ZOfUwoQmvOjtWkt2KS3oBWDgNRye6FduUifE8plXqt/8ypaxnIpBi6fF1Ug
sSm4rDa1bv/C8Nzq/WdVktHaVojeXEYfGss7beGqK4kin2nuKGG0Fan4nPTgVBrpzmEGOKbwyReR
6la5qLWY2WSMibkrzg1W25J1e1wYB4bSXRaYTyP5MY43nSBtErGS4z6Jo7P/Y1TuiSaA5s7Pc1B+
CVt9AyZxQgW3zUEuqsm+YljcNbTA457WF7HVfJlh4PQH5Lv7dHLpTNj0fboQ6MOxnHAwjzq4SHXX
ParrY0LJxMLG3b9yEyHTLwJR+IMO7bwVOqvW1ITHmM9Hf8i+sADuchu+vOBZr3EQrFB4xfLEcD6H
deLuur545DInFoWBq6CdlhJ7UmXXQk/vHqeL5xLq1xMIFgcfgwJ/nLJ8reqnY69vHKs7KWu49K19
MgztWJvZxfOvrJ5OzijrrZejBZrkZ+WW1oNh/mq0Hw5KwWNjMDZ2gxGapkYUwU9pGl+tn7N2wls5
F3sUos+OI2CbT5guh+EhcIvvdCsQWVoxwv3kqlz9lXn2nsSPA9ybjBUyiv9UU9/nHm+XidaIovEH
wiP4JEP1hRz91LhctG2H9tKjN24hiCblchEaYgLdeM43z0SpEScVZ8H82vv1F8owA48KiCq+evmd
5O5zhyWsDuoH5yc2on3cjDeDGxPOr7JIcFJwXSpNojy61JWipaCFtqxh7uXjx9TOaELrg0VoBz6a
J6eBTMNKD8lJdjBV+oCcZe+X8zmO9+U439zITrGS5XwRybmSzkVvcSN4MTcJsAcpwJVBvRKczcqT
buXo/0zm5N2Ks9scUHlV/1TMlKA/bWX3jqyif6ji+LcZRftcLVArI4Z2qm4O2Jyu4uUu2gjON0lp
Y2h7DALt1Wb56msGRv5yN9+aAVW4i0oCeTDZyVwqDgUKJ5dYqGP/wRjGT5YsCE0MuZNzVIcyyZ7s
WjuPFimHcD+Xu42eRx+GJkO/xBrj6d8mG8eRR+XOLUCMcW85uHRrYzPHBqd1H4MAGua9Ite668oI
oLU95oPzZRF37QzAEiRnbJPk+D6673UR3TOXKQQijp0loPkEiP5nEx2TXYofKQisBkUcvv5iZ+KR
1rjbEQKwoXBwqsgJnK1PO3J+uWOHnVJ4zzUFF0OhvCOs5cMs1LTtuL1vK0nhynaelD1+RwxAtZDS
WWKK58k2PpzqwiLY32DpjnGflEdr5mwaKIqkNLu9Or/ZrvOEMGJXV+MDwjXs6xKECpVes6YwKPLh
KzvAVjh0zGyZVzU/ND//uAMAJ/BKM1h2IT/0Bt0Ohc2Ny/eLzxx/J7WyG/bUb11V/TNH6ZMPbW3D
IoOZgOW+2R0256o3Nq2wu40Hz6FKb6lO13BgndjVwa5TyjjWQRxOpFQfnMI/sEyJwkCaN7OCdxU5
ObXG/HeViDfdgzhlJVRqmFDhpLnpqZXipJgPrqt/6k1MXoK5Q224TbHLOEzGY7oVUb5xNTOMmX/K
7w6RNQ4KRWukkJIjjYawMA3tzjCK/TAOWwwJFjzHKG+I3tZ3QiUHkYp9n9FsxRiVe/EuS/M90mG7
2Oe8bcYbzURBWF0SJqLY9Wa+z7vsRLJxWNqUxKetSFDzGzTDCTMTtN1zx6PjQXCEKFGBS6Qs1YFq
dU64R29zgxVNiARwl4xGiIX3YNnEuhby2HvWTpBXKnJI1uYBreveqKND4n1VrJ1SNNAusmhVjyez
IhfXmvdJ+sbvvuSCPzob9ro27SYV3xkZzxMsn6mGljq6h8iwDlBYGDHNvRinvfIR26bevsnqPaF0
u4aANJPbmfBDq552ea1OgDyPBc7dgTJGmRn3nt9uWDbpH/Ar0yksFvd6px2Fg3xHvFbUciduHxHa
dIrCpzgfaPNT3JGgtLmD15a3G3MWvCo90kvY6bWNYDTdxc1toAsSjdlJ6kR5zcYpWgoNeAdi3Bss
8/YF2GfkBugtdDTgfIG0G2PegfQJg7i2yh33qZmeGoA6o9sgERsOhidDO5v2WupuK1giSQUQlRN8
ohDVUTXw2kdC2Q6qhUTs6TvsTfsJ7YXDWpn4tVAIj6IwmWKE+apOHcFn7DsTQUXtH2qyZrXIJxhk
2zjzghjf2cTQZZRYvOyWlmI3A0qpTReVsXfUelKzMpN/MSYDIKyQSFGextA872ydBVgBxTZOmaun
u0GM6D30Fx/y1PJ87Wnhs5bWIdhmrDmnQsPwXExhoxXXPPJOLODIpCJVzJlf4z5crNyG9aBL67iY
cBfV1BAuf4+XZEeaikcbuV/S24e8qU82UJNcIswHfx+T/MgC/Tx4BXzsdJf628oyjxLSYT3UrBjE
Q2yXl3ywH+omPS60PkDCP2vWVgYnb6JPh95xDm6hQuaMS27eBMRW+Ltc08M0Tm6CWi10B/Kg9aMP
WrHVTuXghbrzM8+nMG+IndWccw5oXKX+ies3HPWj0LrzgrrO+XR8xbTO3+TWL7VoWop+XzHrrEc3
zDHqmk79Lmpxwd0ctz8UeNCK783SjV05azsk6DimNIjoDt9p0B0WwwY18tkRfOk9Pm8wlXT/lw0u
yqNWFzS6BnSzS0BIJsvk1LDqIs4jiQ/0uH4swQTwJhp9BynGu7p2DROOHupVIsnzkTptyjpCTJx5
186ZnkcxfKdphMOm7tR1xVOvm85w9iuEQ2pzcilwisAjbz7G8dj1VPkL1P4r6lLSqXmYHXQefVN4
0GBB2CY4qvAHVJRWjVZjrTt1dxuL2iaNOuPcWdV8U9WDWX6i28NUVoPyHKYoPzvF/IW5cPpBsV57
9JOgDg0dCAIJkPhNqAGcykRjoSPHrxooRhYronKCW7IgurNlM5n8r/CaYH1d4MzAgVvG+0C/6AAG
LvYQv7djY705lLURKvuhYcYErtuEeK/s7BVlue7aSBmXieJPKTRjs4LNCmN6JdS8o21V6NXelWC8
qRGM66ewZk9TfZ2hIwe/1jjqWLk551BA7hFlf1Y8Q3mx00Q/g48NuF30VGTK5MBkU+01RqlwxdKQ
fJEcGaB2Vgs0s6oICQTpwAS8Tqstow/wYwN6wQqY9OCUUNpfgkEQLHHLIeBw+c9qC52RAv9WeEX4
h+ojEj1HqxrlB5bgj43G+gY3Qn/AjGgzVNDEjyjZ/3mvwoQvWQbtliU+xgOpIuYObHAco8MeaMYz
VBeAbGy5Bb2uQfj+z6Ya+wlLcaHy92JkEV/LcjVn5y9xCUNm6o8y7tsH2xqK5WYnaFYD+wq1qPe3
hZYwWVkSGFZKXaVz1//zB00DU/FEniNj+p2UjXPLMF4OPtampWaTnCRJoSsLd6WLr4/WjWwlFhxX
KHgQAN0240Byj150JzPo+sc/H4zq/N+O9+b3xDFMtpYxk2Fj31nVD1eziI/QSKKHdaOmNnqovPRT
pWBApbHQj9LlWfOmU8y7OS7ik3UjbYYJei/nda9dBExN5d5sPKfHlee4kmMadJ2wBeNPWZitFd7/
kC+SyfjeBl7N/RocqjHrGs2w3GbtxG/q1l/690/6s+/3ek7Gjor36zPr30TK5B2sW0o9gzbP0zAx
64gb4e+TTE43DLW/B9/rjtNoLZ1SHbW8JRwUkoGu7VzkiLcVH9a2xXOnkuG07rmx/TNp2xFHn1QY
Bq027BYm1mDbbx0fzjFNp+AyuO2vkiDyw7q3bhyDdJpwfYilvA31utv2/oQ1IGusd6LqSEdS5sF3
4uFum/exU+YtcGi1AiMaLqj0WVCYTYvTMgaRSxl/Pc7fftIjrIKKsrUxZdNjMnRIUP8/Mg/nJqtY
EyEi7gZsvK7Z7aeISBn87jYKomUz2jE9Cpk5KL2QweAajmSYtKZFfAWuhXXTjlgVTNSlYZmRJ2AY
FmNA1FILL2eZhS6AF5hXncN0RqTPdR6/5lXyqskEjqNpHgdq4Qfkt/gvm4Xpsww+XY74yhuowxH4
zYUKffm4vDcKneEUBQONn0AdKTGkb13JGGyjffqTUZo7c4d1h/JQz4fzRFc029uQv8je4T+fRmjp
/ewrXb7p2UiJRmGMvWHYPjS1UT5XM6KBZog13A3EgVgRKG6/h5i71HJNldlXujfW1dbVr8WBT91s
fE3k/3B1XsttK1vXfSJUITXCLYOYRYqSJds3KEtbG0Aj5/D0/0DznM9/nRsWSduyJALdq9eac0yM
qA6l+r4b4AjUpktjuVRX5Q/CZs0nBkS08OHZTY017EqtC1qCIlgw8FERiRy9B5HtIXyXd8Psj50x
T8fYyrjsqzxDPy/9Y9An15gDO4mUGH6t5WGoQo7ZsjLnlQCEviGUAcvpUtn4eg6roMD1Pc78J1YS
YVNf8gFaerbnIbOZ9iMmAgJ7MlVEcL5GlhONO8MntJrUgDWSOvf0IGQ5Zko6Rd1x5qhz+mr6ELw1
nUPWmDGNiIlj2G8LWbWbemffxtmHj0BZX3h4lskYtrdl+m5F3jMdptqZ4ws26eqSc5FfGmxXp6RF
mtIUenGh52JtbBqqq8wvz1UELg9Wrb5bdHTnsntK4taktYLk1I24VW2rbukRmWO0xW/gY69IMz5y
5H9Hp9K85YxffTWbzkL/4CoGkJcg+Pdq+99qAp9CuIK8yjYEPVXP7jXtRn70jF/bTs/t/FQ2pf+j
8xa0KfE6Lkek0AIhbbqWvm8RQG4GH1iUL9xkU/ephdbU8Xa6YbTrfMSrCrlX/8S7cePXJem9oQzW
klsM4XAOm6tvNy+hLrojkq0eKZGNXm55mbNFX0xaZC4VkF7epmF0D8t3LMttNNURYjT4B2Zl05e0
5CvbDWq7ptUKZk6Nu/M2hVm4ByLRvEu87PiWZtHwpjZDEe3hdU/b8JhA5RmWNC1olhuL49HS2eIq
Sb0/nlt8T43f7NTn0aVpse/hZdHalNEBxGK3lw0fgYm8pQlQJqtPMTJqhjBLc2qSn8bQUscvXy6U
wBCtMuovXI3kXhGncTR13B4IHtLz48MilC8/EtFJiHAwPI1DcgwTLzgIFaRAflG/nYBCrJxxmV3P
FXJnTL4n9azxW8aCDBxNsx9WeqNp+qpOsupYtNZRlSvqoVzGdGEWf9jdcmX7sb8z+/a1QGKGcz+n
AVp5zkucBdZKZF27zxF+BcxlYPzl08HVmSKqcsVOfdyYjDRSisG1YnoavWEzUp12bupKtGWkURuV
k2CYBFJZus63xKWIpQ2clmCCuNQIgxN4R3sIwYRN96A0Pqaxlle9JATIm8BIh5Yv6OFORO2E/V4B
r7zCNX6TA7F6JnGxIrHAjZ7Klk4S4WrHrjNRV7kA87H0omD0TNg/URDfW5u6khkF+m3cdXOyh0mO
+DW7qQeV+LFIFpZr1Dfjr9Qw0BKQ1b7D+jk9VykYdrUIPxZUHXTu2kjRi6j1dATWp5kDsrqhnh7X
8yD8jIgnH8+3OfyH/w2c8FtrcUxpjW5d/OUBAWJ+dnutvw0w/XdqaXhw2EoHYRlqE+s2ZTE/TgE3
pDIL+6bey7LJPCQhQ0uvuinsQYN8CZbRsgxqJfFYhrPXmzp5NmphrecYyxJ5087dt10gBbHIjzVZ
S/cgQBzAGneLmLARsVWleyPNzOcQ6xR+WqCP4dQRyhX+rLg5XntAEhnp4U9pitRfMO/ZdhI4R0KX
dTMj49sZU/JrtIvuoHJeEubSewjIk/+JJix81fMhfnFkgfyQYG1IY+Gqy0hrXYVaZF4ABTqnaUBj
slAa3IEWJeKB+ElIzb+o93wgg5dRpta+iMSbKt+iGhqHBRxtAFSwlywjoM6nZ/Wx1XGKFt2hLcix
vqiPWdIEz45luc/Y9RZWauSZPzNPJ+9sKWFCED16IAkDoEV11Skrn2xZI862+yHaCmKDsYAzoOjJ
qfvvmzUdHhMGcgIARK1cYnmn1khuFBg7XgxLa+6wksm6jpBmMRJEupIW4eZReU8ImMbAM06u86aW
IPXQxY6/HisGYPFkAIyDmHBoHdM91poRkaFX04xzaaS4WY10BM/mWy2+cPS0235e1BlLfgREP/3S
J8lahQVCjE1W1kzKrliMUQf136g/IZU2Q8547ExsWasKOh4bbRUcjZjR21iSVeFr+qtOTvDJjKV9
c1vjO4oZIewHe8Gwc8S4oSHGoT9eFJ+N0gYcoxc0O9Ga98EYg509IahXyRtwmroDRw3H2wyZ1Jkf
FvaBvtCLKj5igZWqF/28jSpxDPHF/U4KjZRid8hfMhoeT/ME3V1fsjGR5zKVWJavdhjqpxBtEJ6/
qkO2BJ9nnhDyeH44bZwkrTYZBRCtpyp970acw1VZuDdToDUzRz9nn+wcYCfwWLxgA5M2gtkiPuMl
UqVltHDAJnpFCBw/q+XBLqMv9eFFNa3fNrLDJwpR/6YlP+ukYPDpUAy3aXtiKv8OzIYTRFjdhKnZ
N9P8N54BqSws04mWvEhVGs7yDedmapwqgCEgAunDOUNOl6t/V5Q9VxqnyRxSPFxxfcr14M1aftvA
fdfEfD87cWjcnLn8DDltnh3dT5+sCOUuFwfEnGVfUw9FC4y9bWT8yG4gJPSFOINuZ6uDY9U/mYVx
cyVO2sfnM9YIpDOnfklKaE/CiGC9ah109xggntmiHc1dUhhIQVxRlafvRYdjaKjmmdiU/r12AvkG
Tpm/ro9rc8BGkCfFBjeJ9hJGX9HyrRI2lB0jWZ5wQOjP9pxqGyMyiOibKU2tDK7Sg3hb4KwywkvR
N5Jxh/Dew2R4QcEy3yMpNlnox39YNLpCf1WHYOJyPLo8mU5UHhpF1EbTb0c3UhpzcX4izZmoTjvZ
uPaQvoc2YTXFO9Wt8cvCQIVJhUmZVu99JxH08j1ShJ36h275xfMMeHGPI+zDqrIPK/Y33UKM1BBg
rqScoV+HzNSbpZ5UG61XGeyeVvMSL2ubWuBwYxAzTjdhbaAhvYRES+7HgXDlXjPTTUYpDNIze6o5
9zYGdwHxttEGDfmRLU8MGEX63zM6hL1pGPIK3hWlH8Fo6lXe1dHRwnqbwiB49mRLq0y4t9FvXba4
AAt/EeifWWTj/hiyc0Pd+9q+9ekImz+r8ptbynXSQqoxX8cuLED/VcWl71mC1T9sMheu67IsZk4E
0MHko6iiWX8OKtI7U69Howf5YROa2i9N76GWhD8j3eADN/DlZOB49hHy/4NTBsYh8pycnzYK4Hrx
YORM5fIpDUvQAi6q/SB5zXIh7qhnnHtTZGCdRrAR+bJ/oWg9Bh7JSDB2vooqjn94fuLdSkma1fJK
GsNS1VGisQky24vEO3jOZVgufqlXuVda0EC9hgxy/lAY0P6rkl6bb+e4XxAdhaTP/X8rrY4RHqPy
eFBJQn49f3agvVLrO426e9GhOhrLL3vhX1N3wNBhmHLuZ+g1HF2xhmHm3pcTYGP6dPTxqZqjCRuZ
yrmYGQeRXXio4sFEWtjJjejb7ikUkXb3uVtVvdOG9W9/8q17Axhj6zNj26qXqZk3cE+Z8gF08nex
n32kunersmq6cF+It3H2P+WU1JcuKaPtBHl659QeHx5OitOEWnhvt5KgnD60jqKf3pCUZEytORnh
fV0wQjED8DA9N/HYbJ0wxy4z98Wu7n/UY1qewRec4MnUu2RpB03iiyWBvSfF8ZSFWvoco6/oR61/
rg1/L8hE37N7M/QTNN9FHL0FUmQvSWr9FEMZoOR1w4OuudOHFzF38pg6B+ZUr8XSjgzs1jwjAga3
qvV7W1rmag4m1HBi4h/JfW22W2Yy6PSj3TD0KdEuzTffsPeCgTLbVVFSbGOB5FUt4KFr6p9MaF24
1A50aLrCSIF10N2pmVUHFmeajFOWnGdsQjtLtqiVmxLAomEWTyb9t31magX96aZBLYJqFiBwfGQx
rABFZPGRUmikZXCVgjA06WNL7VDsOHVsfaA3xo26FIq9F4PQb9ABM3b5Lsp+nzZtf5uTDKBxxzyF
Y5W7rrW0OpiDZLKTWs9dFJ2smRpbXReGA5ZYBasAud3WM2khBu1shM7RPYy+pSPNXaEH+c7kl4d/
DzwNhOp4nZni36aYilM55/V+DnRxMvPp3W6t9CUHE/NkQOcBv2OfxrDvqd2oekKT7SEAJ9kFGeoW
y36xSjdBDwXdLrbsPxQW9ZmIieasnmmO7Bk06ObaJdZ1I0l+2/mLrRzRLX5o/cq/nQ1OfUQ2leuo
nOdnuz3b2geUva03l+ZFFcKO22PBo0NrLoc2azmOemMiIQHTD9LdfP7RmJRnj6XDFvxSQ+hzzE7C
D48uwioPTWZpmf6tGpZOU+07/L30kyvmjW3rXQcqnHZA6BI4fCSN0HbDCBeiHma5KWNAQKPUip5+
bOMdsfB0qV99AG21jvC5blYL3FyBv4cFEp4ZRMyn5uitqRP9lYeE6HkApL7t9SxY56IBTVN0BHm1
UbceONc0T4O5pEItrR2LDOSnuRMSJeUgT1qXS47bTBbpjKIUZtkdk6Tfco98d5P/pUjwVgNkLNMp
JGeXiKDgvfBsuPi6K4ktd59jUN9b0tMJiZnG6ITQ5D8P8dKjokv+mefkyZvQ3m45fhW8CH0CO5L6
IM7oYecMjDaiQmWramMOMfQbSlD4sOj3yYCL0ScMlxlIzw7Xpvc4ckAHg9hX++2Y1f8g1e+v1mig
kW7sYNeFEN5F3aGtrmEXyM6Ehkf+VrcZtCLa+Ayj1mZu1dcUNAiDDBLvPP+MAJV9ziylbLZegXIh
9qyGCoYFu26Kfh9247nVxJkRAmW31d/Dyn2rEY3Dx/POPf7LaMPxWCDndPZ29ZXYLpBMv8ATyqpp
IIcn0WTMOMvqjoBD0JsjSI+XaBiZ09X9C7Xfh+oZOPhu9/bQv3qIgQY+3ZtVesM9MbXdTPbHO0V8
s2nTgTOrT3KhesAo60EeJF/U8aydnUrjTdCdOtpL+VbnxZ5Q5GJbzZg3DDN+NanZD1WLCxWbUvu4
B7h6WNt1y1mrr2glhCh6k/n9aBeYY/EzjXvq6DEfAfvOOUBFZDZm6wzveRXdSga7R7NIYEFS5m0D
qTPJKGO8hXNxSt30T+8ugMsqWyaZXXCIRQM0y6zvsm3jW1hjflqOoCUZa/uWDsNKG2rYtB524ErT
mKI6HMQDLYyP9BuMF6PVea+sLyQd6UdYc2tV6PWF1x4cKP/1WItXvL0oNmNrNXb59GTWzaefkx9Q
Y79oehLuJOAKBqjlcGksj/aQa4s9tE7GDVm9ZTYS/AZi+RlR+RgGIxI/LD44bH6nbLWraZ6t4xSP
1nMorZvdxs0xMaS3rWxOBjDeEOcu5e5cdWdaxdaPKtCcZ5m+oDjuVqRGaTeCyMWp1hDiGiVWnryc
wCKSyvrskJzoOeJHq3Jq/DR/NTIz2URuH/9MXA7ZAAO9o9fi9J1AgEZuWawfzaQoQwsuPJpVZk3m
aUBy3F5PZXjwfebZUd8tLg5cGfNgfDFczd4MTSsuXSi8XVjlw0HkiEQSsmKjJdcZKA5SkRjXdGvg
mrbZVwNUe55R/DbzLL4//k+EeFu98OGgwvc9RbAmrtTfyY8FlWgW+UVVykaSgosc82TTp5t4RLyg
6Vg51emmyGtyoS3dY3pDL9ONNdR4HMs26mXT2dekS/5xMkCdnqs5l3Zu2heklP/6h2qj9W1BhZ22
76Yif0Mowt5gfwCWBoWwPAEFTeDEfG4TS7sYheXPyCMYC7WRA3mOE2P46S5ncnU7hFmVwl9YGnNW
kWOzSHz3R57pv7HDOv+gf4ESJbw3d2rEE7LJ6flxmpT0s2sw2DAl3WH1SDDqwOB+zLlOrinIinuW
jocupDoTwfBTXZ1GlDBlIpF2p9bspG1qStupfLyEO0qfsgSPTdghDHsMO/x23iwZbO0Ok3riDR98
TUlwYk2/n/XyGMXyD9kU7ZqwC+MpWs7mRFT5Vwr/diV8Uezgbc7Ns23HnKlJR/Dz6FJzJr1WVkwH
zRn/kaUpTkhDo9fELwfidGDYato97qL6C3bYXeuH+mviyUCk47qJAZzkhLSvoPsy9nTaJ9+Z6VqM
88oSrfWDwS16OUfnPa0dATcNG6PjXIYkS7UrRMvJb8Z3v/aG2TgZNv0J9YxfIaktcf5ZsQrQAUER
8ndmPCR5iQULApBeiXEziQzLf00uRhQqtF9EwLhWEIIAUr5OUGLlCQ7ZpQWnum9yRJWzaux5xPZC
1GAJGwKmaePsNTCvp6nVczD3gubzROe80OxXYr6ybY0dFZGrVtHwGu4qv6kUVcugI633ciqxWBo6
WITEtU52MGb7CbsAJHVmsw7Hd3VrlmWdL1oVHx+d6M8wo+CRsQUP5xIyuOE4p8Yysa7pBoli/726
1KBkbijiSi8GFVkELE52ymUOa3yND4zw57IkRy+W4/fgsPKo0zO1orfibFXtusQg8xmLzybyXwFq
WV/xG4Il8Y+HWSomxUCY0tl5ibBfHfgeJ7Ns4UYvJ2IoxMUTKnIfjxtmbuwaSFXVDA4c08GQ5TfW
z/pN1401syTvRb1iu5mBNgDHUy/JF46eAFjpW0RwPfBtmj/AiJoXrCNiLxza0qGQPdk7Ngmnsd9Z
AKkI9/u/vU09Y8aOHUAtiCMZqqozpXpUVJTtuRvKx1vq/QQR1brtevIYHM09/X1wkhKFfFN9UFZH
/MC8Un/Y6X/E/EsVLnoegkf3NYlTyA6O6oSKPzo+1ShB1VEVJB4eWer0jQmF+ZwHhFAnfZK/lkVP
M54LgSByI+7XauT19yFOmk0aAf4XOvUaFN5Vp5vxz7ICedDomNKT1rSvY2MK/AvxF14/g8BgASrK
snZB6xEpqGEw5GSyfNZAmyPYHpG5jRz9moBz/NAHrzkAUNwg157QTXvQrtqxvslobK99fPv7jnp7
HrBKFSMbI539fmPFzNFqgyMHExFEzRapzc7Q6U926dt7H23WJhEtiAgXQYCFj2cD5wfKYyEhynWD
kV2NF2apDd8L5Xa9PKvdKrs6r0luuxeCFrHxFeYmx3iM4gXlMU0y+xJpwG2k48y/C4f6OBRNcLQ0
0rnU1qAUEuTNJGwJaVbRv3Hbam9w8t77sVu/4JDOn8YslBsuNUQsMmx3c+rRF+lC6oYoAKu0XNZ1
EdkbJ3KsJ7qE4rWxuWYqO/z0f6hbxSaKxHhiEQ/RqROPrOVZ8eKJcl0IiOhqx2w9JryFC16OmBF8
mYO8aIPfvhhaUb2nC8CDPtjY0AmwhSVeS0E3D0gPkC9HFwzii7FkfNh7ZzMhyZKjkHf++zIuoccS
F2CsYS8RqqNu8ZasmoNSHVT81EcYUs+gzOpzI8fyjMh/HohvlSAkC+JhaJ4MfOhRlBr0U7vmqg5u
rj/2f9xCp5Rv/efR6nCGL4tNtyw+nYMatm9KxmeBA3K1cvCqisJlhCnkHQ8XBNGWdL7llVMF4DzD
k1qqGvUlloeUFiBeNjiT6g8mJieYZ/Xoe7RYnugttJu2yCVfFpjtJscUyarNnd57AYZ3kWMf89p3
z+wyZifYturCusMEphEkZ/TgSxro2ACJdebunAiaPqnLdG6ma0VpwcDS6DnmN00nnwtml7g78QbD
BqLsAjQRXc0g48gXNVCw0X3+bYOn8fyraH9VNr9BEuGHiz6Vv1EpjadUivYSdAFtuAQpGc0BsrVq
nUJiat/DiFZS2D/LscjedFNHCBFDKue0B/dfGNc41uW9QiniZ9NLJ6d0T/gT4+/YRNXGsetSuI08
GqFTbf2wMa+22X9Eg8TxkvXlpcuSV8e1ZjSAd7kMcugjVtf8ijja50emB4DC+/TQTC1lUgH3+jy7
v1oTMZdoyXyK1CoqrOqPi+O9jkiAxu9l/hgl8njLbHCal8WPpZ1YuOH4xniwX0+N8YlCBL2IWqhG
JEIjonVim7h3o0vVvVJfwWqc7YPsg+9kCuLHCTMgTAeIHar8kM1FKb5CifoYwo59mdse8FvCOEGb
PExkTENzB/mC18p4Z89VyLdiv/6n4GJuljULomP5a2y37VNeMz0HwTleHgt+brjJyyjn8mAWNGSC
tCARemEYqJ51icma+MAkJm2d98zlR55mxp6DIbwn1cHXMgxlkTZRQy9Z0T5LbN06+k7W3SOMTh08
qfUzbFOltvV1xHEDev+7EdKUAMcCscMF7V6Z2WdaaBDyO5pdATrRPvDrl3kOoRlmcbu1l1PT3ETm
ST1L025mWpXrm4rpyrmnbRFb7b4lHpI0AREb+x5pdJ6W12CZz6geC3/TYwovCaWCBhowKzeT56wo
X9V1ZwJmX4Xh0K3SJfqLg+WeO2HghMWrIOqI9iiBoCoRSBh4xS6J53fdrYtn3Wpw9xRliZg8ScGR
JQw0DMYWEgzsKlB6Fhc7pnpWWviFA8vfkRzi4C4t7b2X61SNvXguKne+o0nYluZ0gWxMhqkdlx81
/v6nwM4QywcZ4AQ3nwjkQ66hHmLHMKDbzdbm73sRTmTXnjZqSkFqrMsSq8/w5I1AJxQ3ZcDUzBod
jqCWBLGR26j+QL30A5ok1ERKwedDLmYdwMPRiyOOTthDy4PHKOnxTL10rOwXCAV/9/f9IHKStZy1
dDe1mNhxLAc7qrsjtXhwtAFKneA+cwogneBi9Gm5nkTymwDK9lndWcsrQWDeybW6x9RpWpRYTumz
4msAbLUxSuDCz+EFO1S4hwb51k4ijzZBhGCZJO1V3KPLdxiUnRnTVCe1bDdEzKwNUIR4YZY1sDeH
H9xS5T5kiIr0kv9xN2Czf1LCw6biTt+Beqm2VW7XL6NxbILYXqsvFSRMn8MmQYDohld3JGKEzzOe
0u4dU0B58nJvr04frvdqy74kfk+8Qh22TsJNw5vTdtEZybO9Kku7hyYUSPxrBJaVFsKDpu5g1CTJ
P70EoQzgRsCAhfG8jEHiEIsK8I7h0NFWP5UG/tcItvlqEtWwh5aZ04HkIS9849jTTs+88a6WEUA0
d4nmOYbXefGqgMlfaCWQG+IifHJ1PSeg1IuJEDJRs5acXlq6au1bnPjxWRWt4QRGQfrGWkW3aj4+
mJLrYkKReimtfhdGpQfG+RKatf+mcqHsRP+3W27klqSUQ1D3iLXtvN1Lx052woy9e+sOdnKZbUrZ
cSzLi2lrJZgLw/09luEH1Oeruoi11r8iGUpW43AJomT66eW5eZAzJtAhdPVffFfv6Hf+qWMPh7sf
IlDk2vj7kEpnwH9hE60W0Uju4unnFKff6qN0qoK+amo3ez0OnKsm9BTmX+UdQX+LNY2D6cQMBjfi
BgRF8ZIX9cIhMvBSDh1RaNQ1RHZUn2Yw53/64Y3uoPGJSZ7Dc+Ik9Ijk/CyyCAgtx7FnslWCvbq3
dAvrgNeQhKVeiqVyhyz2MgUmEBkSUVa2MUTXMSOBc9WTInNK2bIrrXZ3ESzxFYQsdsy0/Gd50oCY
uLGaxCu3S6p9M5IbQLbQjAOP6L0ijg+NHmrf3pdnS/Qug/a9vCdQ3qwcW8SvaJn3CXvEiw1Ic8mM
XWINSGkIam5A9VF2FjEN0rb/pcLLwbV8h2CCVvktiOiNr9N4pCQBbbApnOiLZGPxK8hz9jgQAZAz
+t0jPqwR2bVyDNzLLb9pr+yYH3nJU1wl8GAsHFVGxJo/cGWCM8YQpQ0XM1gkSOEAS5BJzREdXwzU
Y6Rhk0Uo6bVCHOXgdsfSr3AvAZbxTb7JSkiCaqvqPSBPXPfwkjILSS4N991VlEHAWNz6Zl3o9nHh
YvFaxoCpabhYwiNuJzKWOUl5z5jp9I3Qkvze42LsFr2B2lxVX6OEYLQ1wA/x8Wv1YbaHF43Mn+5x
moHoVKVS/x2YlnZtNOuqGYm/Nb2amRwns7SY+j9lNuUm/ZA2/zNkYsn80UVxZ30wH1W4CzTibDiC
DLngn7CU7yHOlGNk0SOkBGtfkCHmy80//yEjKV9lNqO3OA7+jTAxvwbjMqNw2JKVjIdzhRJIz/jg
Lro2YsFryD6bUPvR8rY+Cs+ftoMDq04lHFMv4wFh97FFsSZZwnkL6HrfHsclu5fTzWPOTCS7Pdkr
+KTObg4ZzXqRZW3JBGMRKgIERwWMxdbALhuWjJA0w/Sv3byWPkerijVsNXj99NG3YbmDtIo3vh3N
tdqGSFSVzPL/+6A2KRcZmR41F62iRat10fBkaLDDVqYX+qfHEg5jKH4Ig+EJ45ubwOgnVXiZxpis
uJBkGdWuACCGaNzCSrI0L9TUDDHobz8pxe6hMnay4uBrQICNCCwLE8Bk58RxhGbB/qefuvaYkXC6
8gHjlYxjyBuxY/EUFBQ1NK27G9whrKYMyp4flzMIg3g3JyibcumJ93pAa+fq0bRXh56MVX9VdNi0
c1I0CtJo33FgJOsoJvE40cjJQYJLQhC5WMZScVQtMDcHtfeSecuJFIrTJq+ksZZe0x04Njgr39Mh
Zuc+ls7w5XFM4FsiX4+O/w19S3iL/qiVVdZJeaShggARhcltmKNgky5ksz6b3SPyNRY+DaWA0+NH
q5Wiq8qAO885zjndp2XvOqK54yP1rgGJGxaaqX6JCWUMOpNuWzIj8ACMwFCS1g9SEG4Rp134ES7J
Jtmw4Kdc0HFIvOg4qY8Do7O9KwgpeUjB+6rfanrRPtVzo9/l8uMy185q9MnMQYlwN6tN5eE8xZ5x
Em2VnImSPgBsDfbCsL7aOaqw5I14u+kA9Gc94ox296LkVsZGTdhEhCmWpByrLLyznLr0EsStzhk8
KX/HJGakXk4WaTT8Vj/mYuS/kqDzlLTVtH58toxD7HJGZh31tIKX/m47cfb2StIqgtj76bd29lPq
+d61yYuqgk7fPH5DD/W37afgxzwNo6LdIfPT6EWNSpdj5vVaDZPMZaKknv3PS7/lOyew9DeASFA/
npDYKkwr36oZXhqRn+TadKv+KqS1JSSXrMlD2A/VZeTYSJ6fWQHv8DQuAz5TLY7E1XSIdV4Kfich
jqz3J6wueVBuM6AbG2HgvnaXh1J2H01VYQ+3CLfGr5AfGdKsaSPiE8DH8SjR/mdDHktAFduu1esn
10i7XZ/H4vD4jTx2ibGhllh+j9QKL52o0xNe9IumjclbOMV3YNfTxzCUXxnTYD/qX4tlJFENweLO
JWzGxoKn5EFg1d1bMONfhlRDWvAiGQrtIMRImv5SAo+/7g+m2MmuIo4tl139qBbnxaE1WA7CIeum
JMU68hP4PZhwBj/t1uUsbLTGd3UAln61dwXsDNgT1wTM/dVuhb/OiTBgDFG9mIGUZ/L3iEWOy4I4
GoANjY1FRZV9hkViLcB7gFHKG6OZGJJLr/40k6oAg9oxmbP9ZlPMyUwx1rlcXpqHsqI+DHOa7XqB
g8v1wBCnJjLjZQBlOghMHYvqVRaWhusNiA5oYsLBCvsOJbl9njp6Aw21W05EnEwyjMJ6AmR38dE8
WvVl6G2F3lO/Edp3nkRDZkT5RyuD7B7YujgPC5t8YJ77n95ZXDME6soZBEoVE4HL2rVWGm07C9wd
65J1GEc+ttnNxSu2Dn+TpdbwtNa8kQznUWRfkmzsGnRpWzT6s4WjHKRcSMdMq6t2o/qSsAu2AbsS
w2pE3yvVmOzni4c6ILnQZUQ1Vfno9IeU4/ui/GQQt6ZTvs179l+jKu9FZZmXykl/EWtT/mKOhqLH
Qf3XNOhHk5Ti1fXaO8df/bc/X9C6L7ItwLdqH3Vk19xZ5JJ0+CoCfLth3pUf2dhwVxu5v09yIzg9
Vi4Eiz/jZL45GqUX7Q6wUqZ2ajuY0sAPUKaN2W6k0HSO1kB2COdUZePpe8w442Rm6z5hBX9qLCbs
dqGbRKbiGWBw+6+rdRdftNMLiaOE+k3Rj2iYjCP69uSSa4vvw6hBbS4t9qp3bM4X4y87H/Gf+wVt
uAzd8mqGaI4+TYDMdpJmO2CJWjvLTa0547Sb6a5gmuZl0mRnwMi40MHTnEcM82ubWSWDZaaRDqjN
mx5AECCym6+5nDy6ZU/96dYzsaiuB+OmIiizm+MvZpQARP7vLVBNpwG+Jiq3OiMfJBjoX1VEppK7
dXicPyJIQrJnCpy6UJbVTEHOaBCYtOU2rfWy9xHEMQBuIJDkYPYw/pVa7Z2bKP7XZ4F/mwMy1Wpw
xAVq97ciSY+UDOFR3f1yWKghPZECRu2+NWiLj48bBFEPSnuOXWAAj3ORum+qIQKTgmC2+HWIWCsN
kl2ItGvongsdBv4YD7u5teOb5urB9TG1Hm0p9soiMVPzATG0bYJ4dOaSuR4+OVotH+0Bb+kR/E+j
gGPIy6NfGVmud0CGcLXnIXhRD/x9d1cRAgVmeMCepuZqPdf9Sln6uHfiVQb45uhn/6pBctOzPdfY
w6ue62XI2yMQeKZL41Bvq2X5TGLjNdKLZO9JmcMdbSbwpNNBlRs2ngQ4uygxA0lMTu6zDuQcs1Oq
KPByQ/3YklVLXz1wpVXkR1MUqnJDkHLGTcmk7dHZHrXh1odQu7Aki2ExIuio1HHoj1tlu1v3HP0Y
v3SfhEO/6yQ+z3bSn9Mxa8gfHXaQFVcP6Y+TsxP3ePSnkhBMKAbvTOnwOi1jQ7xqFkCygsnOMvEJ
Z7ddNTqeL1xgP/PI6S9DhexWK0gdthuNEgSwNsCBcRqRjcfRVl8+M/XQJNSa9NIh4yzXe6BZ8Q04
bUQnjKkVgCjGToElV+ly8jR6rTxrwYElyj1iBHWP6pl68I3xPy8NX4NJvvypeq8sCPR1y8bf5HWU
YnmHYX189KrcHrSvreekZC03FjIyzN05nmbiOZ2jLKPTXNr4PQbmnbJFsGNNrrFrDE9CzkZh9ZgB
iSxFWu8aUHak/oX38HFI0NK0es7T9qzWttTdIIYjOcUkGTVvKf/6APpgnKBbfjxtJYeKFtbMpo+0
vegACf19gE7DAV3HmmJlfcX24uJP5CQyWt5vePwsB6ER/0Zg0h2aNiXaNxDGBq7OWOxy9yDMN9/s
p09WRxlKdgI6chy5DFLifD15KtxWXlySSTYUr9OnNWycZvwTsrXulaLi71hrdpGGxD5y/6AF3Kz7
3NdotfqPhkiNGd3avaHsfK2jjIBZ6e8f9adDzhCm+T68KE2sVTSvRcieniyevAwAw+OAQdARroNF
ROuHrratOrgbg9m91OaAP07nROMXKGIDmoWrubfkrgRmr0ayvc0n0iWkds2F/H9cvdly28jWdftE
iEDf3LKnSKqXZekGYVuuRN/3T/+PTHh/OnEuikHSriqJBDJXrjXnmLRm6VnvF9MUl9jGvKWeTfLl
TDv1FAXWSb2P9z8krpPNn4xyyziilBppgkB/qUqzvaoSvszpYbtFu1tr26RcakJ1MMbzb3h48IL/
WYJle9vIz1o+7Cs/T5Fy0k9Tou7CZuCQLNj7+Hao3aGzgiFB45yU7ud6d2QBdlJyEtTNpW6zxLbI
cM5iRiV85CeKdJrbdHK2RTpaVyrkWx67DVPSiU4cOX7OzU1+Gkg4MG+jHRbwYH0A0d9nMBMUZBY6
wzmem7+YG+aDMtlidQDsIIuHwSqTrZq/V7ETPMTkeTDMNtOtXjkvEOZjHLVoTVVsSQdt50rO/D09
rl4AvAG7jThVO+kcm/fpgDzIJAcc0x5nELpF5MiBa1I9O9fPfmO3qs42c5Aj8U7MUNWkpfUILrTC
aTNl4/yTNfk98JloZtpCFlxGio0+5O5u8SJ+a0Oqo9Z9AP30iyo11baDN5Sim4LEtUjeVRNGNW8M
Z2cgXKMZGavDQncbo3mqYvMHRvL03C61eR4nDGtCtMWDaskgFKup3uebBU7u07JRWWmFH70MTBEP
SeMMIBCktiOfMLp67fCaB4DhA5tT4NDWj8IhqpLvpr2FfkRCTlrDUEq9co8iqN062lASYQ6Yk0BY
BHpYTqDq9f40/0zI55TfzIblmVFh7xOc2UaEexrDuc2G+VOY0Z8gCfKrVaRr2/i7M+x0A001N6yJ
YsWzxYF7gf39ijDsVE9DdINhheyfCe62mYrqHYgn4EpcP8fJg9SLIwpVl27jA4HP5LcLaeppwn5f
+meh1dVjak/wsQs8+UHTLah98Fv9O/7SCDhoujEcFwcNHNUHk0G/2RR50r0WubkzEqO6w+eRP5YZ
x/O1hpvzhS+R0WZhBfXRne1qF7bpr5LAWziAWv5ouxbfWtxRKPoa+cIt1bgHWuDZgSdBQUKrQt1I
dlLWu8kqiEnDAPHa5S0B6QxmwHjQwhD1+FVb4CBUL7DS3Z91wikIhcBSHNANbjXoBdfWQMYrzH44
OC5KD/Wy7AwbMVSy6WJKezWUXbLSe5J59Oocjs4Hs6Rp3Kt9fknhODM0RbfAyd0gKCKTOtkuyqcd
qy7EMaQjhEcMh67uITnUDonUrUiuttTz5Xbbn4yFkd7OEDslqhtrp8cvUFrXdp4QBtjz9BibFVFA
xacWaOWplqsOjEHvpoTAkVyOtB4GIv7OX+r94ApvqIFxi27QxTIgXf+cBbJt4Tt3Vo4ySX2gJIm1
eJSbk40c51+FPYsXU4DGjjL8nHU0a7c57hAidaSF3jxv8uAytZwc4O3vK5LVrmp+rsbpdTl3W4+z
BphNRpWtD3QaKeNwNisbA6KTOWC6DJBc8kdX40G1kqZe+64X3qsbxe1Vz/uI4UaJ0TyYukPputNz
OesVuWKi+pgc69+z9b3Jjg6RaTqAdpf5UlBUeUmAwwzBCBOlT256sQN66V3GCfGM0MXPtbCbyqKV
2W/TLmKruJKFMOzjiPlDK8cSPhktx4TFbjtB/qTb5i/0VILc2qqOhT+IhaImEqjwwndyorK3AU2+
Z+f+T1wrAFgcMMhj01o3h9S/jVHn4kXKoaHJVb/g+UQPjEn0HwLfMFpIE4njVL/6aYJHvQIKQ4Px
0gWM6QBlb8KScK9AAgmGqAnv+P6OGk36m0YTAjBGB6KlQrT4fw9V7P97KdDnHJA8mDudvjIhakQi
DR4MPLWhGH047WkYFtsA+9m+TiFl4TdfvJMn0Eoqw4wPiJNFwAO327jP+GWbXH9Rc4tEYLpHPbLr
DciwMjPx1pa9p+/occswchujl9VHL4spgs1qim9NNJTTTHMtsQDU5v4Lwt+RrmtMQZUH2BrHxutv
UMsnL7GOWkbqWlYMchQAw+9Y4xHazlJoNtZBsHI7yqZ5wXBP2FpVc8iWzAHOHulzPiE2QuIQLCNY
Tlpb6qGV5uHZdLELSDcu/doaN24n9mtriBr2Dqw5hfCUODhWLGS26qXvtPPphxWj1FRydSRpm9oG
1bGeJbxobI4+x1a+pbG81H3xGdTuTW3BwxD8RjzunDuORVg70wOfK7rCKRpRGxBzpAojVQ+pZ17O
vj5O/rCx2m7TmR8+nf3PgFbWftZ659zrOXkuMWhBEleaAzcNvR4SvnYLPkcEuxBP5vFdbbjqQvYi
L9+TIRNvUkIkmWma9q/K51CaLE+jZV44beSv1bx4V8fL/7hNF92YiUf72ndgRlrdAAA62zI6EoRE
DixKpUTZhITRNiikHAbJ8j4vqva3pvm0rOSrxq9RxGdJf+hBeWLnDzm4SPc4a9m+rJyzUj4wL4l/
WDSrtkKD29366Co5QVwWEmLWzlDGK+y2Jiy/0woLoQPokt1Bmo/fkMQi266p6/v3Xf9X9QjVQ+mI
W0LiGprCKj+XelxdkmFpQGQMv1TRGLhWe6lG50/ITbhdS1DWX4bUOFO2BDK797T/9yQjSh+pKMFW
cIOpZ98PJnZxkpGwNmnFbD120MO2ZAL6h1gKg1uDgT0O3Ilm1//KSmfpzDdr4RQ8/TeGxfykwY05
xb5O6lJbvOvDADuU8/HVcgDALLlRXrrYexubwbzLcqLbQ5PTDdLfD0xHnDJ14yuK6IjHLWMKiyCy
s0d0/LMg2k1zoXNi3yaFo45pwQFh2Ih04QuR0xah04JVrh3XA7HGtEB/HuayfPQDe6te5XSarqFh
Vie17rgFbXC7BqiEL/meD/y41JV5Vk2oyWr+0QLUy/5uvTYMNG7KLloTsLDrZjpQ08ytvB+CPtsJ
38E4Gkc1Gcxa9UG4g70L2BnPQ04ksQgw76z7DGr4H99nfSJ+ynoT2/XXgNTs2FgY0nJT/K2ls1U9
RMmk36kBJFZ7pEkQNJNGe5uyITr0JjDYzpn2o9H6TzqiYLoiVfZPuFzq2kYL3OCjsmNaPXEVfoye
fjbKFhxeG18baPFv/fRrnd7piBDKxe3+a4GP6wFta62qtBuRPMiVjdl9aOMfqpCDNB6dPDKZNvXo
Bjj201NjI1itaV3BsIDlludb1blj9aRBJUO1OaMHI2tzr5MkWOQClELCLpb32V4f0VBKgokjTxmK
pLJMcAMXG+xBl6I1FHaKJEHdbbW/t43gI07HCk7vaOynqZmOI9qzmwjz4EbUNJNKcE9ebdYYbhpx
yRCCcChHjyLMfDwrtwaLJhknFo0HixIkGPOfzVhZb15dnTVhuu+x511FaDlf2JmvRduTy2R6u0Ek
zW7K36FO72x8ZDdd/kyRB2LFSX2GTvJlqg9S87RTQ8mg65DyYa+8+trSwZ3I5jP9d6d2y7fGYsLX
jv2jSSIZvjHXX5syXYrqKDboqiFbhaLzv/m06o6rIRU94X0U6WdiuSpQ4gYYAS2ojusZwjW50mLS
1U+1aVqo36QtmyPPRplcibcwSV7hk80jhPH/BhO0LfDPpcXjYAfNPnLI2lwv+bJcjihH4fhIEVrs
WMW92zCXngNiFmX7lz2YX7fEtDQ2DxAEQekQB3ef6VV38qSiOL8Iy4OvLIXFbqqxg8YYZUKpDnHI
lie1ZKajnY2+uQdGSsnZmOhvh5r5zWJBYI0CIHckLNUDx2HoBhOAYtts3KvRdHcG7aeTkit/q5fT
Wqcv49sxm6SVCD7r0N+tH402joisvYRM+WjsL0HVGYe1DHJnMClMpbJT6ciApGkucNEFnfZCKdNu
/z+zXJKzSeOjyYKuWFzMybAf1EPtzCi+DZjt6uWAtyt33eo6KxIJVR55Gon3Hi4VducO8eipsB8r
3bSP3w0J9azCIrcxZjRlqtOrZgY6J6B64v+n5JgTZ5v9WvFprp5sv/9elsK6CL38rK6VKOVHbw0i
YBowOm2I7Nu20vS11txdF1Njtmzy0O5ojut04t7Vs7QbGjyFBBiN0hA+6wZKR8+yHtWDNYBqzYow
dH7GRiZ2WuZmTA+rd3zqoG5sI4muQ9xF1zG1/8tAYhm7PtObi46vYRtQbz2RYWm9qrGHX6PPYSm5
1H5WHkqnMC9JJyMa6MfRKjHfnSjq3tI05sgyxeZr2k6vvdQg0oYa9qkYOcYQQh9tfQ0YX9mK+uLX
UeBv89SHQO4jvDUq8Sz94PeM//LXpHguWtDrhRkOP0cLpegMeWt9pt6jUztsRvne+kxPd6MBvhi2
a0J67HWdoiJqJWqTDhmH6CTkGGIOBN/H4a0ZHHtDbhkZ5pror+3kv7aQfs6dGRmQxv/ntFXPHIJa
KSsBypqkL4moH15awlEfnbheX7lWUW85Kc0zMhf2OsQfKXhS1TlsWmzjs4kERx2B6o77hhFKuFPX
qT2XlJ3y71xLYyq0DJm6dh8kNTjMDoUQwvG/eucVP1pU1ZyR+plp6PzXKGq4W9JC3ocwObqFyr4e
MD7C80hoBS3VrkqX9yVAz45ArnrWI+QRUUJMqUe3g6krSmmmwuLQTKjbPEswP5NLhNdan526PNj1
wcUtkIo3cSdanAhUbQ0pBFbLQFBJABOBYEnt461lF3cF6H7IvEuZnzDeYaVlC7YB5JwtO3e9FYuC
5Qs2imX+7EanYnYu6dyQKPmLM+UMS9LJ9Cfrbv1YRM+kgAp4PuQ1bEKjq83DIuza3ySO7dw31R/8
QDGTmDZ+rOSzNiBYws03jjDMgxrhzEBiNlIHd7WM0Np1CYKL/+pmQP7o1MSnyoMtekfCaJRUylhg
XSfecMxy8mPbGCT/N1Wu0SYPvwVOQ/I2mXqI8yBzhps5SS8FslUaxz0/Vbv8Zu5KR6mJpp8p0QjR
lJzXFWAlM5g4yClqoZ4Z2LwPcQ8AkynfG1vYvCurTrsfJsM5pp6/Z5uUvC2UsuohT/CLtHDcz3bz
sy058dmy2eULl/xgdUSkzuFkElWEcJfzp+TwNUQSbrPZz3fm/00aojQqt0saeceqNjHG1o4Nubue
mNz0b5FlfGiJNz26o/vFGrbhj6cXjoUM5yJCYVqiW4QmphddLPYd4RTPFX2Ly+ANT2oYW8s8KfUs
rY/MBnBGYTcffB2RX6Rd1Kw6np1om5BWtHYzyGE9lcnowEMBxjQWLQXHuMBTT2uoYcyMpTrLtPru
pl4FZAuijZYqJkyf1nYMigI2mEf5Kk98RecTXiHmA3PZx3H2qo/YFi7ZSQQnOTbrpNI8C2OAiUTM
XJqnpJeoYYvvBcHVtPwrMJjy09VtsnkE6OnaNsGt0988CwnHdPXm3XSxUa+UxUT7VJ27lp4+WCtt
qwptc3aSx7Kn3zD290UftV+V2d7rDNh+Gj4CXT/ZqkllpafVqWaqxz5LP3hKjGkXSrV+4sX2xiis
W20JWjO2nVSAaM32wcr90+Q7HPlE8rUqT8BwwRxI2rtVbh/Uf3rSN++n5hxrWnT9Zq2BxRmv3ELB
MVimF+rclmg+QtVLp2S41Br47EwhKE4h1cyGR944b32/n5rXOQ7qA82iae+YRNxqtM13PhLKr6rT
0zMT3vFkJNl7KRb3OSZpaG/2GdIv6oeQ243StjVD/4OeK9zdIfY/8PEi/2ooT+fkpU3H5Wh0wHVN
httAZvxzuaA4MBL9wjAf1Hw/dc+qE5zAAWP+tI2Z79wWH5RA7FH8ai5fQpVRG3qGhMd7048ignwj
kSi9UQ3Mc+GAYnAQuM+65WXgS36MDHdPaMPyEoW8VUkRkFgwnwMGathum/gqWM9P/79n40SKwFhJ
0lgX6Ywb8VT1mNEvSURYcebSaGv1wbvKEr2t3f4/pr1HWomkwGE1PNiTh6cSlN+7biK9qfFA/BkD
/2AlsfbpFckMEYerOZjpJ/clh6q5B8ziGq59N2Jl2qB0qh96R3e29ViSvq7GyotuY0SUSp3OoAMU
halzUi2DaPJeK9R728Fs+vPiuOPNAyQ3dv5vq6Cvx31niyDcpTCzL1EDh7bScODVIQp7Pf9B0sLP
dvTu/WH6o84PfUm+dV7MUk5I0YvIQjK4G4ar3H732QyP/P+Wrd7l4iKtot76BskYXRJWL20ztNtE
Q7+uIVdXgz/8Efl59H472GqJLDHtO1HTBfbMwgH+6VrgZkBRqOFlzi7PwOWCgfzZp+BaJSlQshw0
291w1CKYU1VQ6TsxjvWHTc3CUOJN97PmopZMNEoJsWr+sI9+BR46btXET0Go7KsIMSw+I2YltnYj
DD5MtzPNgcOQdPXOQsD/bNhWh269NN6KuUcqjvQYflwlTNLDk8l+sBua1sXgpJt0zDAd0H/GoEET
q8leuCScM97g9nHekTATAG8AZ53h9mdeGhyBha/cRiHgKnCn/mzm1MKkHWNNYltFZjf8GK3FevR7
C5pGmWLf4d9Zq15S5kgp5FdTL3u/Hu6QnF00Ow4xwrsfavlUbQtLpiTV9XEB8o0BD1pnWHNOsGyz
OnREDm5s2z2nc0UQhRHQA5TtP1XQOh6nw55mkpqX5YbxNQWlc+hD/14piONy/onRw3uKYry5Eq4w
zB3nj2he5/Pu1CKyybu3PhWyvx1LxClslqEx/hWh8QDfWOTTe3lV1wUg9YfK94qdhy371dSa50gM
f9PEkRBJajGKoQ7MQ/6HVnA/fS75CBL4v3wMD53be6zl5X0TkRBEh2cTtCk4ht6oIcHLRbUP3JfR
LJ8cVYdBWCBGKZKrPuyXuAjvmc7GeAosjDKxlx4zWzv5L4uXaoDZp/ZrqkcsLZ3BzLZMrRRklPbm
DP1rnJnh2e96YGBOAjNb1Rl2ypmas0Z44USGfy8xburB6NuQLnBGeGgqlq+K/97NzrzxHPXia+5n
hwQ7jt+WmPM/oM+dJifuIGaCYuDIAEYqECD7eXFqLPMvYqb+/vt99RJz71uhpcBEpHRKPdjp8mMu
bW19K3Q7a1t15FOJschItC6ygy06uuSj5sRHYACo/ul4Rl4JxJ2CQ43Yol/E3t/lsU8vS1V+VPXO
1U4dGqWQGUX50yIB7Cj7baPrdKDMbcmV49kIDuJM8YnZGvMZgRhoZJpuwNUaQ6Yo+t9mnnLZlIY4
mfP8cz33qk27tK1yJ8T8Xppe/ZuMR1X0GJVNfMQyw0CXh/o2Aq7htgC9yA4xD1x+3WrS/z68JYkX
Htq2uNXLVF3cwrtgUD8PPRBIQ6NJBC+AKdqgEb04ssxjuaPH0dRZuQuq6Bl1f3PTZePdRrNlpDRO
Bl9YLDMm+QCF+9Wl0wd7B3aZALauuul0J15uBrkuUJjRwMmihqj2S4omj69eat8DwE1p8F/L+E1O
dbrnAPIJivToZPmJJkNmkletjh/1qJmwtbVIB3Rtvg6kdm5UxTEMaG9BxdGh6ql68YflZ8Zt5ZZu
t3EoTEPfuQHtp6Wm9tBnzTkmXj5fkWLtXLgJ9yhIfnDSRCwrZFAmh1+EU9g6TpDa6q3uUhb3rfNh
1+Mol3kiJTyd9rlyMOqj2d2XOib2ziA9nIXtBYE4Y7Eqp0spsQo+1ucNx/ufqEUx4g8PM9lPxJGB
kQWH5+8J0JleyiFYB2sYFc4JAZ1nvOfxDqqdKxUtJXQRlLKLrWG4npmIOIG4H2gdnq26YW8dPeOE
r1ycVrkvTatTP5Orp7aoeOEUaABlPWWwdGGmptlzXyxPVm9i9Msw9SWF+WDSHb8wKsaX4pAolhru
7zY2Yxx07FxqEDeGunnp7OwyNvZ+VTSNFR2cIXam+8Jo3F3ooo6tiOdQBV7c+NvanbofYZbdmVHl
HYOxmneqQOf8uR0tLOhcX1++Md2Kwlq+aPuWv1th/dcxeLuoKQaSDuuumtxyoxENtmnj8U/QS8aN
WT3VtOtvSnAYgm1GTtFNj4lBkrsaAEwFYCIDweTOtmCrRl15Crn4lPnFx/hxB5sAeofljuC5E+sg
5LNC5x5WkvEMje22D7zgNDlZ/FS4dLLkoQll96tiJTWMLwqnyC7g5ZyNnsY2wU5Odo4buzpllUfs
T0OU6tqgoczYloZNAE6p5we17s8Jim08PDaEAKGzICXuTm/xnvoxwgGRA8skvPqRvSfCn60Pd8qP
hcoRnVkMRd72vSMc4+j3kOgLqvexPc7hwOLvmf1f1oQHryoRi0VFsc81SJzfiwDSU2QvyxLuSsw8
e59kjFNsQYrHkjB/zvTebAfPEdoMc59ytd6KoKk2zkDLm+s0OeuD1W1CxG0nE3sRMyWJwR0Rl9cU
z9TmEacKAENKPle6or2sQtgZzXzfET5G88h+bjmCcELsPpeZNWGrh0jPGwj/R65WzjRaROMD5c41
kwGAEblxV7fOmGBMZHXJV1YIq8r1SLfHTPRYWm30e+4Gf4OVrLsLyuW2OtNF/gnoAj8tmUb/pNlN
aj7kDVmEkzffmSkhcJYSTGnjVL9oiWWixmv6xxWtq3oXBqLyBi/z0Rrynqa+kb1g534qC4PspcZ8
6e2OYkhaJ0Ygy4nk2XBe0blzS34X9VI+qGc9mKp9rKGxiwojfdIKy9/wGyRfeffbbOvowuaBoKJq
6ORkYXr1mr7BviEVXcTj/HDQC+9jSxfrx2sVYrt+unUQTvcivK8HxhNJWY2AwxGqGMOEWrFM3opI
B5cB8cYQA5oSOY5QxEk0hxSfgiwiadhvIsbPcTV5qxaSWXB5NxTdT/VdGkYtw6ARPm487v+TYHfG
88CZavEXd9wlCL653HBCsy9u1/ds9IgNUpQHF4iGAsRnZ9qs4WGoquh1zKx8M4fJXzLy4teh1+k+
6wj397WIPtfjHxG+4Z7/1skuUwP/ETPiQYw4etTpSnOvWFtAbI7E8ngDd/o20etj1ZG21zpmeKEN
U7wCXSVaPcSCWMTJNerJMDOx7jJMqecLMQwP6KkWplDgsP+5qnsiWpcqsO5oV+Axtmnv+136T0ec
GumxlbNNgVNt5xD/tVXtsrVnBp0LAAhjZBMPYa+JfNM1SUfQIA9akodXRHwnV2rN1FtLsnwBRTCQ
ZqUPajtj2po8qlcZJNl17IbKZ1znmpUQDJ5lBIYyetQl09Aim0tuA6yDTk83NWlD/VmNk3RX/LUi
LT41YeneZ7kwMXzxi+bu8BJ4iM3N4YefWsG90sayJAQP2TC+VxVuW0y+wWbVs9E9cq6tdg3DalkF
1f9a8sHSX0rUEvQol+xPVxlHRl/ZTZvC/joMzvNEuspfG0pO2A2v3OHIJOrhA3JRcVxGCF1RWhy1
ZmJT4NvdmKOZPs2VO5Ol5Z7U9qoexjhBUVPh+kzLX3NnNBtVRiA4QnWp9NQJV5kSpeoZdnjydv1x
23Ro75Tcge+Q+Sml3yaKDShissmpHtSXaBj0ACvdqMmLw089xAbAGcVRyHo0cQqoqx7MKcCOnpQf
o53CXJXSGg8RBaEWMwUB5gtNz7E6JTHcfy2OD1NBd0gZdqHUkXOijuKentQ7enRxOt+tkzZaxMTF
ILMuIQKtQpCoy/AOA5rnVCXR2xJLrh484q2gmNMOHKruPyFJP0mUaCS0zfMhkKSfcun+RNbOKZ0W
ZwfifQeg8d5jLwS55kd7v6YjlHfgPGAm8oM2gXeNHbLnuqrgKC/S+PfSLm/1UaRt9qvs2z8MIapf
S1jd98FfpS0Zuzi72HksQYOBcU08wXlGCzARrwKfai52Fh6Vi9By56a9KYmCelCSFgJPEbd6RN+V
4HV3ySz8J5r1WI3J+cYSxt6OKvqFqMqFnWLmdi+DSzllMSnX+pVsFftHnYk/oyserNjvrjpt7HO8
TF9Kbq7OaxFxaRsTLcNZiUZaq3Qx1fTDroFVr/RLCBbCYwJUaRN7IvktCJpF0ishNnDG6gxphNPv
UpckS0tbrmOSWo9i0BeMOPkflIrOpRT5Tbk6lvxZNZBTxnp6+M7iOh9bea4zPHbFysqLtY9phCTV
pA49cdUfCNDMIB+QLtWpAEXF2ttC+tmpat9KK/1YHmnnzy+m6YFDi73nPh9OfRWIZ6M2wruxj3Jo
SGW8t4K54eIiAiQfOcWJefyF2B/MjFb/mlJxScYatIKc2JezYxAHSYWviqaCbu0GFX2HeIq4qFVX
Zlb+s5rL2DbGGwhBDGedamOg9r6KfsnwgktFTouzokht+1rRKTn6SY1TRQ1ShN5dzG6gxwsmg4yo
LD4VY+1uaRkZxJVNzt20kEeG2QHYQM6yVc8I71HQySCgOXlaGLLh9G69cyuDNuoAc/tGPRUyaCYf
bDo5OfFEGz1PfrOx0OshtqgJSRViadB+2HbP0X2kt6hexj6fsEeUoitrcSoGtONX9QsidPrKwjnZ
D6i9VuudLelya0eU7OphNzrEXHn6/BCGtvyNoiQkDBnomKotMgM49Vyj7YNC5pNYIrQWBKQZWQc0
vOle1aMdUakh6KJNQHv9pC7HcqLZsv5fFq8x9j55ubJDnWhp+GQsSKBd1/2TkyHxFGlLK60bwY6k
vWA/tOnC526h96urhzkrscrYyylG/HVqA70E60fglTBRnAUDLkL14KOLXZ99v+fJP01HTBkVJKnd
9x+ArzqR03jpprnEK+A+j0o7EGfUAfKlWo+BYloE0bosjljn74H2lT5+cpb6xrd+DVahPRtwozaF
oTNsdPJHyFIgQHNqFc11qFUn/MelzPwpEh0hRly/LfL8ilhJl/hRhPrypcFhofGThm5uPdNRJnQH
euhW9KQpmEv1h3J8PIi8TX+glEuBIqZAB0pTY7AFUnw+jCd3buqvVGpcDHQ0G/SbB0hxzs/ChJ+o
mjpenzeHJUOkUs02iloqi1PUdctbhpv2z9B1tFLCAGsrRqckMtrnZYgZKoNGvzNRxm8jk7F6QAYC
hiwXRSTF1a2e7lSnEDi1eS1z94dqZ4Zt+1WGnifTqJieVUP4WPpsZUPDycKeGu+czzkhRvTvIl8A
eVic6REyZH3Xxmm20Swo9LRintKcjxf8zdnozA1DteHD0UFmh3MzoJwFcKdWEApG6xqiFXrq4Slu
mr7zOUgzBlVLU1cyqsrS6Pl7xlONbDmjlk4H4abTzYlQ/AxmugqaZILKgw6F1O6mHtlyMB2X3nur
fa0/rrY/PO63AQHvw2hXl6xqwhf1AF7nGelxdK9eabAEwE0CQuqCRHupwa38U3W6SdJvjM7zniqs
71oWVB85Hpt/92IJNrQlrqtmmxIj2kcuHY28JLnvNAwgEx8UlwEwb5fh7fucapCNHaHWee8dlB78
G7fQdAgxV/EYWIXPBLzXq0kQcGvr879VKSfl9VvPoJ7RCajL4Oo4xKzoCeR60cfNS2vA2GtmRDlN
bdYvSYAVuQq0V923/ecclqTUw9U1GY42Jpq1LYzgsz0MVKc7AsgkUbYzjkucnJbWDD6FBhaR43ax
qcxmBPgpHZ1NHC+HpkaTQFwh9mq99jBy68YpL4qeE1NYMNAuomPQB9O9T4MS9XdMnSW9Yksho7bI
wcrssVs2Mffixmra7FhECG5zamMEQtJuROtuRGsRzRvQ0NUDUhZqSuDGCng8eUyB+xbHF0rTstjO
f+yqmZ+zcHomuOZlFbL1pAFX9fgMwIGItJERNYnMzy6Nrieto3e19uZTuyNlOnS6iy6KH6bm01lx
vGKbj+jdvFzY+4jz4hNsZAGJTCOE1e9yMrT4/10jr/nlzE1xVK/0QKeDk2d0YNXrgeDEXQ8tc0uP
br6qP7axlTtSFj9fvcVzjjGzzSTPT1Vsn4blTEQkeGkjMP3DEjbpTpXNfavtosI5gPaGq2XOYheB
lz2nAVFPs/XgDYw9OPFm9aXH86ZOx2ra/f2g3huhI4Dmbp7V+6WcFLTVot2ZLeeurGfEUvtDum9t
JgGbqHex9QfQTtfXeTL+mdr0v7AgrW2tiPgpX12vN++i0m3uirqOriR7cJ7pKxuHuBXvWqv/wXJn
vjhu+tngP9vk2OauSpBvWSjrk/8RB52ILpa7ALCVlljT8b9KcyGhmyHGLgotCLsUia9rcTpUXKVL
6B51Nwf4jSv7zgqt9j7DHLIDShQRz6T3ZCwKZ7cga73EfUbwbkoW6tr4EFrDgd1M3Q1b+Z8+GD7m
Okv3jhUGAGu7e0GU14u3xP5x1MkYIAT4ThiG+06Qxzmxc+s2gmP5NrLoGlzpKX8eZZbHwkiPf6p7
Ro74UFRNESZYWX0MU440egYaKFLTQI6hdEWCMLoptrZ2VhHS5XvvbJnayhT81ucgPmab6JccGYO8
a7yetBVbwHd1vfoLGhzlj60t5lYBi9a/04E0xExW7ccaJDYDBevd8iJ8FsI7dL5lPWT1FerDBoZ7
QnFMslq3Gayqv65PdZiUG+MsfE5cqwLAdPOQ71VOenXc4GreGg6ad0c7BkQsDUTP0oJD4NPJUSEp
ATS9U5vG7vrSlZkpsGxxfGPV3Xt58pF1aCOPFiSek4JGImilp65yXJzaevG1WbtO0Bqe4T/8bpTx
QaaaY2c4e9OwXUWo5CQsxPsiwmPMgPqJQLfqkOichxitUqV0U7RVJjPTEniG1NOk0nY94V738wB6
HLw5EFMlLg4/14ZV0xAlAvPnIZwGADq2KJ+RtpX39AzP6tUi30oEV5sIy0vpDH8j9uDOpuUnT3aV
V2Wb2phMfhyXaWVFFko+RA6ULfwahJqoh9DHOk6MlbP/fo+edEo6Bd6QwXfKXY9A7NTSI9iv57Ba
MFUcHaSatQF6qkw/laNvrDN323rguwuEQrciX3A0ICl+KxB/JG70OBkP6y6KTuSYmul0v0w9U/c6
z+7TBOA8H9OdMXf+oViW/M5B7Xe2SHxWPlpkEeQzApiHdiLX5jnR4iMB2UxK7cB/CCwEmFEguDCl
n7XI4I8ETmjf2YvDMq23NAGk3jUS2rJzUgLguDK+7JAsEnUVIf25ZH3r7stwIodWeoaNUmZwu1mP
2zlF9luYwZ1pcECzm6AlszXV9xKPSmvMQJckn5WLfU3yythnFdQMetPmI+JfsITAGjczs9mPuMgf
c286qvuqjGcTJbJU1+khJwVkHmyXcGESbXy13Fx/igW9Jy7lxUg/CaT0dtHsgqG3vpSgGhHXoa8x
4VWWsOCjScLCZI+PiYflRAG5gwCjbqJdsxbn83qP8mX0G1Xph8RQX9yZLOx6yknOphc7OHH8O5k6
VKDpgVyKBwEE5LjK85sMU1kx3k9+E9wY5Jf3gGrvAX+WjxoN7/33M23sENDbEKxWWUtgMqcN+poQ
8MrSj5NLtqgSddUmOt51gcoymUHvRs7V7z04l4Hl3s2cmh4ddGlMZJznJCi7R1rC3WMIKOT/MXZm
y3ErWZb9lWt6bmQBcIxllfUQ88Agg5Mo6QVGTY4ZcMzA1/cCQlmZuml9qx9EY5DiFAG4Hz9n77WP
KWvdyqXYWxQdLvCuA3obd5sXzXAr9mhoghGe/IiYF52IXtv+Dj6OHadvg2srihctVjYH+mw8FPr0
CbCB2imEWiTo5nLrBSwpmgGEYjGFBXWGMM6HnFJm+U6mOOLJ7Lv3p/hN9pH2iLE524elPt4LA9ow
FoKvLrbXFQJnLlacGvglWc46LMxjeNVV8p2NCqGCPdovINf7Nc3fFIa2Zr/0K/HuFPnrMpS3da/Z
s1YG+0bVrJTwxQ8ZU6TdrcODDJ3ZTeof4G0On43Ieq6dskzIVUWfoiIag+jfk3wiT8kYtC2Uw+EM
tBquz1Q/ZPILzZhqv0wUfPMZvxh0NJNzx9LedUmMaayOqVrViUtFvUKOK7fn2UQOoH4dbaQrf+Ze
lj0UGP2c3iDgEIMXnmmrj24mEY9b1K/kLmt9+9KARngsLWiTMIA/3paTSJJwMtsolou6V4gGGFqp
g/IIKESxKvjysD8TW5KtkznDoOd4RZby+FQKjVnJPIE0mIyfGp5DwmQ4jTOESPe+Uyf4YfzmHPUK
eUPn0kqfYDRxAcT7HtojOlBilcM50J6DVaiRB91WVxlpn71ZcZMzGNu5kywPSZxxsu6n7rwcwdTX
EgzZ2p9XYtYd+1lLkK0YleWTe6LIcp5M5pVOW63NFMNMXUwtZt8Uz7HX9PWFUXMNpSindSCOy4Pl
w5wGjZ3qgPy5c99jGdkbhob8Fpvw8qFIqMdhwuA0kB5xbAIoEY59znPYk06JcrafFYD/fGMCKlsx
esv2ljXLeaBWHJeWXQYWbFerXqwloRIrpGHklwVl8EBZ1t6FTbZjLG6QTWraGzsgMVSfG2DJnD/R
gFNFuApKoJsIOSURa3dTG1sGIqjR+6I7UX+47dbk9mDODR7sUId0yDl5s/x0YnLQGix31dIi0mxU
bwvGIDcJ9lHNaMACLV6KVvWS55fE5sUX+ssYUcVybTiTRbkvgbj6RIxyxsCh1Qnd+QeWxgIDgQPG
xMxuv+QFy+xycdHamsnCCBuJTRrXrNLpozV4T3QrtJe5tqQkXZUzw4Y40ZJ+Kn+71g3lw/KemhAe
Wf2+SYzq5u1ZDD4N5A7Y2urTDftKUR5T9JfjJzNBU0bLYwdi0LhKCBcrvnL8FmLEvPXpeVHUED6X
U6vtSMJcYQ2fNMH9y0znWcqOcnq4w/wwPDbSCLBWT1zzxRyaTRzS8pT5Hpl3C4yDmTSZjnBR4Hx2
cj/MXlAXT8uRVYFyaQyy1cybOOkU711aa/e3amOgvTjgs+gagj4XMd7yxoBPv4OHhRum1p1Tqxmg
AEYn/KyqEjGA8n+JzLM6rB6yVB83oOXcLa3iI5phGH0t8APgAClHF43Ak/lDrh+1zBvmYZw2iO5a
ZNwcKHCjI8gh6CO02cuQ5GT6WJel8x7awA9ul1ekOeMMKs4306A7pLBCMaBVBWbBp7V9IdV5DvCi
yK9OjtP9vPXCDM3yd+kdtBp9BfIUzmvQxj/svDJXTeNZ97ggrXsRlMS2DcQiLiZH10q/JkYTo/vs
A47+/VcDMvBTTkSKXGHFGZHI0j/OFVkMRjTBuCkQ3BstfqTFxSa07pchmBEa/Cvh/+JPBR3bCxCo
9dK9JRiVagxp7X5hwo2O49Oeywt6sazY4IMjhGZdvl9m5dRbQC2XO0ajbrp9h2SOe+oUQxsPjzJn
F9O7Ghr4xUW9s/BvYTy+hnP3XicH5cZOySqkgYNHyFrVjS9KuDMhMfFIhVvOCbNGd5wEqqhlqj/S
tr+PJ8q3HgJwUXgPy/zEqZCcRk6MEGKeqURu95Rz+DobjWfulW+ZKz4cbWLK9WQXk/G7znzjRSg7
uDSizV4IVwQ87vdPHbw03CbM8BcZ18Qxi9Sg6VrHDcVlnQ2HQB/je5lYT8tyaHq4KuiSgLuZa5xW
08ksJW93E3BAv5Aa2HLPPVL7ubuwdIxzikPnTJcAs8ry7OFROphzjJLPoYEFwoCCWppnT1PlCslg
NUfbMekv+vehJhCe2+W6tIhrwMC4MgHQKG2bDHaB1aBSp8joqKuJZyAgqQMV6NXiaZBpj/Sru7gh
Tt/AMjFV9xkGlpvK1C+GB6ICNGm4VzNAONES6n6K4gJaeJfe6y78nsoUEzPoodho2k8N4RcxcPbX
24rRQEmaX/Vk17SlvOO8eRilJY+9zSBsSdEgULy7KbiSWaXCM2zd4pcD7VvLbP+1qtwLsuf2UXqT
/qr8jwF9pOPt9SfqO9jf2rpdnx6WddcA1HkmGjncVK7rbJa1dwn47sr+vDSCHHyrq67/XJhpuPMj
pz5NuoRDAq5vrdH0f4J8BAoly93N8tAfSGdnZK54LmMA1vNruRwb4ZKM+4yi6JKuS/yzn9ELR8cS
Dc7WDkT2rE8TGB3fJMDD9jbLoAEj8BEFNXbjMofbBBl+7czO7GqyhuPCODMmHZBPUr20gwNVY2CI
F3nV26QMcRmpgpCC3tvoQPaQlIfV8nB5o1nA92LEEGY6jkcX3NU+VN64A8MLQkON2aoojfi7w3FQ
jk3/WSf9iCnGQz4SIz3MhWo3v3GdeDiZZfcWzQXslIfBXYd/w/4fw9Tin7LciFklosaozNNHhhfv
S7vPmJoZ3O7f0SR0Drneu4eIMeEuL8j9rkacJZE7PbmiZJ8BS7I4jJzSfYgMzriTzzF46a3r1kB0
57LvNQk9TmeE+9kodgkoHyv5mT6r76ycUI/m/BVYfygr37IBXJmCnL0zIwT5hIJKy7HuC/oZu5qO
9axkLtdRpd0V9Me/t23xPIQ+kLEygv5vEXGTmXCoIjwHUZCX900oaWkJz7nzTTN4goD5RHJU9s2Y
irdoc5vlExqDI7P47COdf0S5J+7NyBlX5Zz7Nul2twaT8yWWo9osU3pPwz7fCPnU1Fx4qTG9Yyos
N0PoEdQ6pObmtiWbRhRsl8lk0pFQ0UbouuY5pT+K4QF67KoiiWetZkcd+eDZsVkeyuFNhHSJx3l9
SgEgY4Fttb20YpjXfnVcrL8JPt+VyvzpXpvKLRnIn7MClyhpQV8mlM9REz3pbfcAsMZE5kfh4TC2
nUOo5CWrmTaSuF3vlmCFTiSkkssM2JRPMA2zEuMctnF5cK3i3DnSPFoKH+xM/VIpkCdSWcyTPU4r
x7HEzySuHheNLJwQuJa56x9z1wHllZr6A8ZscuawkSastYcl6iWvAJ43Ya7vkBcbK0Eg6spYtAMk
t5f7wpVkIpaK7X6ctlXdObs+EpulTlYWDWqQ5TbqJTpl4HBffWgbK0fLFNOdlspEIsECWAVXTNoj
WXkJrX+bj9t0MZ3KqB77GpJObccQdMBnb8i6ao6CSj1OErQhGc3gwqbV7mvZoy80UruEx+hXD0lp
dMm6M2dt9dB1xL7PD8cgSAgAo9ih9VBVxyouio0dOQjkvZcqSukiGmjy5uRWrfXQTZRByMDEDb86
BHqUATDgtqFjvriFbaKE1gXe/9kJKqygeCIHFO28BHBpEML2llJMH/SA/hFCMPnmhFSSM6NT1nBH
85HMrMEBUwo3Nj4klo2fB2Kktu6K1mCf4sxcRs1xvvqLOGHqMwrjPtUqwuokxvhY9v4OknKzG7Xy
e29Y90FH8hE8DaxAAeTLleGSDZO7mBKybqD0aqG0Vc9V3Xib26zxBlzEYZUi5x7yEwibcWe55ZPW
WxG/0RTTew6bdTKS9+HwC28sjCHbTg0TdyGqEZ9Q2c1tu3GNvHz1quAut5kXOekElWIGtmI2D1fW
lGifw6zYxZPlvgAXGo7BgAiutbgGDM8kZjee25Dxc9W64oh/a1/P+l7PCkBZFiLcKJ3zAQ0c8qEQ
9VxCvLsnKbNPC25oyPkflZuThTrLQtRo0w0YWMhYhu70CoJIR9FxoyGnbpPsct8frijSkO/1r4Ft
zbO2Vj1gOcm+JOAvlhFtaMXjbiEZ6gzEgJkhy3f8kla8GeEuMcp27Tt8/5mLg9VtNZGF4ufQyZb5
dK2q7pSl1nyAGapT0ZXxLlcTvf0iQ8KLTtpB7nWlnZ3eccp6X4hL6EatlRNV1KK56ImT7L+Gcbaf
pti7VIBizl3BJTTqfftkKZhH0ACDQx2RV9mlMlgtd5kdSrFu7Khc6YXzhi/Q+U4pd9S06Z1JPWoL
AsqPlRLeNp8B0lqSbOxqupS2TliQN5jHEJHyWrnZj87qzFfEJ9hVKiainSRGzqlSisdZoJ7lLPEY
8r/clIxdy0GK7IiHuhkut6EnGtF2Gwz+ps6C8JRHY7tGTLFbVs8sNb+6U3hf9LX9AlMt3zcAmzfL
w7jtwdqCH1o1HvMXP/Z4PmYsyTLyxL8pgZtbHObsKN6bAwPEopIWMJiwOdNQJB2IRNdHKbJz3mtI
SeZHUdkU/MGkVIKuE6Y+xwvOGBcv6O+dwkX45dvPo5D642JLSzROu1E8Zd80pN8dQA+S3y9LJC24
3enC7BxbObeGl7b16/JePVjTNZxYuyx3bFda3mjryPkWi0nuHWcsScmaZ/ZjTsL7UsgyU1+iqxoQ
PgfgbYS/obbfmklNmrJl0kip3X4rk8Y9+EY8PSOQfRJhP9z3ZopHJbNOLsPxS6l7BoXRPMsbcNwf
bjHNzDeiYsXViuKN1LyNOUCUD7hU9iF9nD4OCZOaL1zkkyUtNgJgNRsjwjxnyWuC4WTXJme0BDi9
TfvO1f0HibHlKuNJMWETMLtt6CLLVRqTdbHlLP+qyBM4pSkaYXKI64urixfuScYmTf+VhD/jqQzR
+iOXdYhLBgMA3zHiNRgqXX8FcdBuF+0C/BK5E03eb6Ki9C4B9TMEpC4+u+RrxTWD8GVfKLXgZE9A
X2WPidolcGydp+Iq4KF/at2zHvZwJ4CpnIJIfc1mSmKP2tLuTszlOih8957bc84VpsnVPWkblzbt
7iZZrKqajbGLj0kNGXt+R+oFY5Oxv1LHWVTQFgmKrXufDPC2G+XfF7gKN1o4UGyXjPjOOO0YMHAg
WNULtUjzFC3LadgUKZk9iwsJ+lgD+Ma7A0g6xx7jVVo0gqpixrD0/zQjy06Wo4crV9OnV6NOCYXU
Lnr74DldcVJ0Oe6LEek9kIx1bOb96/IeijMkMgNAosQworu+Gh5vOhkt1rO7PAsx2Ohe/KBp+V42
omN9zZOHec6jTzPJZ3QdtUsxAa07LUNVWW4qO++/eUVI8Ecws9DrgRvOGx7jCfNSIKSzpk2X7CM1
Bs/AAba3UWWA4rzrLoky2s8spdqeMU4K+9e7Z5VF1d3n5QHyBmNLKY9LCVvrNIoC9vp9NPpnsL8m
E0PGVCKnMUjhqFHWVjgEesLeFx/qANyU+sW8McOgYj93ZjPrn42rmVDAz3lwOsRMdCp+13BsB/BX
tiSZtm70TOMw2VoFpqq2KZ+J8RY/NXpf/MuJUEsZMGuJddVIGV+ZnlV+LkM33Xqwi49Lk5/NB5KJ
DQHHbShFLVs9OkQMb7JlMsMSMHDkldfAkR+HmQ4GJblaV+Bhe7Ayx9ohg0hTprEqkVAtCLNxjhAT
llOjHTA39VgFm7LLkbe37tOtYikAy2nkhCRIkS+e97mN+ZZdNUZwKulKTi1gBjbUaBVlnK5cnIPP
I3UkJd30TmfIxlNEosfcdL0LfDda1Vo2ntRs+Z9rgpNej+926eCeI91iaQ30jVs/pDUHnq62oM7P
lbAXF/k9jOINRDB60XZknjV3KhFkosaOSWDkXpyeG8eqHnJGYhuCcKet6uigFeVn20a7lJmGtYma
Jr3a9QtGTbAeqh5xgzGU8M3qVWPstq9Iwkm8Dgl4l9+5ox6cQlLQVqblVVwZQMYXw0bupfXtYTw9
xWSaXG/oilz62zaIERbVxrad4ffzshB2BUXs6H2ORq9GVGv0G63LJHrv6kxnQrukeds8FS5KOqeT
d/hP9H03jd9pqegploF5KnQzTcwFX9Lk2WlIRPDQV9XJE2tmTVmyQuBZt435riL1sZ0JWKrrz7Vt
uM8qKFErO4d+LBnGz2P61Ej3AY7CdS06dZd4VXlmYurtiDfQtw00HuQJQ30XtH2z7mY7qgEXGlzX
xhjz+M1wjI8+46dv7eAj4QAfmKf2XTR3ceT8xhtJbNRyc1OEaGhLr7YeqpCfOiXyC1QiZ39b7TDb
N3vVQy6gDZHOFMb4iQIga2v9kKFPwFNOc9fNIvFqBXQ/UIzfdTN9zy1pNC5XniveJjd/DLxUQT6f
+xiYLemoZyUEg9khJivdPkWudp8Yr7Qx3OsCmuh1LCp1Rj00aFW9p5uInG4Zk+sZ1OsuX5PRkuyT
WZMS/3Bxiu+GDkvw7Uc4EZFaw5TTQp0Thbvcag9JUH1aAGMdDWForPmwLXuhEGl2QMmcEunbzKhT
UajDVRIH9IHVowabdquV9YgGCOjujVdVpMjUVXrGWt8eZAWQxLeqN+ToSOow3oPcbOk0qJ5Ny7KS
Q237H2Wb/VhsZ4YpSGbwCpsGlE+LXyIiDc0nFRCt7Goo1JlUtUBF0cF5NmkaQZnkl9Tw3kzN+bqo
K6vM2ynUfwox3FExCaHVbPsPyzqBWrbZoFDLmKzktI/RjLCW5i/CIok6Vgyn58PjhDjjxlVMHVnS
b4MX1Wi4L9CPLFbYvp8j5zIERVXTvMPqI/mPtPsb7gjVCSMHLKyZGJhCzkfQ+Y2hhWuHe/FjYLmr
9CJrw313NXbQNqmQAeJpX5k4UsUqlSxcugkPVoVi/FQ1xtvEb5drGNGMHS6a6XJrRbu2J5+4RLJf
jHPm5d6MybG+6shNOczMhlSzdteSiMOLWSkmuaK90yNjr3D6NEgTzYgxV+2vQ6rFYfxk2INYffjj
P/77v74N/yl/FND7Rlnkf+QtIL8ob+q/f3DsD3+Utw8fv/PQ94UpHIEXwncdQUdV5/Pf3p+iXPK/
jf/DYEjZidt7qO+Osed2QFq/38CsCvQR7QCMes6MvcfTTkxyZuXbIdIOt9/esqtNgOjtKpxhLibG
a2fa5cnyan8rdMaaY9A+Z0YO04NR6UPTj0c/6TkF6hYzx1ndkSXNQ9+mwXGh+ZodjdcluaxvJ1BC
c3OvWCa65aizl6GcXd6YDWEujDwN6Hfx5yWPTaq8uDMs662LUbyJijSGrhpcbgXe1FXh7RmYYww3
oMOYDW5HxdTUyOFjBuSyrKnSp/t0Gqb7iNmOgyoJ2716qjz4iTcKYNqa7QWwnLhnmB3smGtV/8tr
Iebn+vfXQpD7oeu66dme8P/8WshOTOh4Kms9xSyEod3aB5p12dqB6gZFO7h2DNg6pN97ODQ1RGuX
I+28BvkW0dGN3zxWJoKbJTc8aQNJrItdXHSV5ndGUAC/zEzrPqmzexFlpyiNxZ2D7GItOt8hr263
LK+e39x5Q+sd1YDD8a8vNvffLjbLE/xxhq3rrkcz3/z9YgOs57Faob/PUgOaTFmz+U7dK1NcZIug
A3CXonI2h2ivz6PQuAKl0bnAiJnKi3nCGXpoYTUnWLmTse41I34gVxZxdWXR2EiaU8YNf1reW95Y
SA/3XRtnTAdoZctgQpg9vykd/9d7kcNTrSeT8SJj2ILhMU7d8s5uIFrKzofoNmTqamRte3Tc0Dr0
Hb0wpuke4l7QHzUv42ZZBRs9vEBMYxvHnbNrTL9m+B9+tOch5jK2RIXa+tOT7Oo5hMKbE78Hecog
A0zuRGSUH70zzBiLvVdV6tf+hRZi1q1MMS0kIGimix1Apw+wTuvY345mAdENzAAS2xFlazs+QkHw
T1GQlP/bpflvr5znmSwRtuVi8DMsQ/z+yqWaGo2QA/rGp7aaRz8YsXGBmdZ4WEp+PZ2+E8ltHQmW
Otl5QNxjpE37FusM2syhW7lWkN9Hdvz11oCIalAHHqk4G1U0IVDVgMR3thSCa5Z1cQBG2mf439Ia
neMiqc5czLWd99GXiIDHcJr9tP+g+lD1VNcAdte4+etL9t/vSf5w1/EpTk3b8D3jT5csDEAh3I4e
UexUP5Y/1Y7N56zwpjuV4gKsbHxJbhn0Z7t6sVza1Em6cwQ5r4XDttAl+nTmWpzRAVW2M8Mhfcwk
ESdxL3dYUAlSjMID8Nr2wTci5+Qyleeclbgfu2h4tAI6f6Xcm8zEQnAhstr/9Z/nzr/+70uOowtH
t5DXCIM2ofX76zrBoZ7qTARrYGjWaZFkEYEynpf3PKQcG8cG47lYq7x0Y/qef007NOreEFYbSFfB
PWUcoNmwbFCm8rAwCOfKUuimy/TyT4h9nwzUlSqVVm3Hgfrmn1kAg2X+RH9Un7U0r/Bm5NYaSi8O
MM3wgWazRaPrJudVaMfbiEcUe2OusHtNnKuhmsCeOK82cqC54YbTXvPTlSWRrS7N/+VNIt9v24nv
v8ErT9eAUeP9LRCsVxEdpUEdpPOVYUmi71WeRqQJfgsTZieVrakdE0gDqs0sWPKg6q6NhPzTxYDQ
SqRTjBrUeXm4vDfW179+tcz5Lvvt1bJNw3RcQ0eX6lnGspn/y2atm1LMvMlqnaDDY1IBl7Wqq3zT
Jlh8Cn/G2ZARthsxLx6jOulwIlbuSumtsbfHMN1nhEzodLgOPalZW8LpzwNxjKdo1KsVlOwMQfi0
YdjRcTH2jOWJSrz/6z/B8v78J3g+waSYYxxX6K7+5/spmoicUn3WcNYmMEuG6fCopHxdpAKeTXrH
tAvjcNqXpZG86RauUPLWHp08faoWTY+Zna0OMROROzBJzOicCZWulVl9/ie91u9I5fVFtVkC2dLI
emGcTKmLoWzhMzBYjU6CI7LQq+QXFL2f+SbLOkPA9XBRWvK8WHpB8nRFE781rdy6TTm9+VVwUSmh
U2UF7z2Yex4lddWhL4kt1Cy03X/9jHnzLfj7i46m1dUt0/U9k/L6zysQvUjEFcTM3FonDr/kOuP3
uwvCmKJ0HgIoi8FFCG96BV1MXa16DNDiAVmd0vwEE/sxmo9kybSn5eBDHOas85mlvj8UlWGR+wNB
meDVeB0pL3owJ9FebM3FBEa3O0wr+XGKhmzN/Jnz/vxebEqHg32NOm4WbligSAhUPk4kI11RziKo
KXV/b9Y1E8oyQh+DObhLcfiORaN2YRtEuzout3LM8QQ2jGac7LGLXP2pRr8WmIZzT0bYJtUwFcjg
iWSo8lJ7Ic0PuNTEZtlcIZKEED97GcvcXucN/Zz57MPdg5zF6TQ2lS44QzSjA4VlyCvUZXnhg0D7
CnttOCYkk66WTrnWZy1cqOxxEMgTidYIDktHuOrzOdjBKUg027hG8CVS0rsHYebddpj/+K0Er5eS
/FtRjjAowuZPD//7hbTXIvuv+Wv+5//8/hX/fYm+VUVd/Gz+/L9++yK+8a8fvHlv3n97sIWyTExK
+wP5/Y+6TZt/nBLm//n/+8k/fizfhef1x98/fMNW08zfTUZF/uHXp+ZTBaaIf7nG5+//65P37xlf
9zp9/ZFENSevf/uiH+918/cPrvibQXPSpbvLhuJRMH74o/8xf8a2/+YzeBDEqxp8GgLphz9IIWzC
v3+w7L85Olu0DtJK5z/p/oc/oHPOnxLu32BNCdP3MfC4puk4H/7xx19vd9rtBfl/HZl0fv6/3JKu
gFIk2DAM00R17TveXC39yzpMj9fKpqBD6wjC3kg10j49fObAi7aiw/IEfcFeR9LFweYpsc8Nv1+N
lkx3oaaPtF/zQ5Ewz6IRjd92Tkr3VO2udOmTWOiMyIEiT96jldfyju5ghAkSw6226oboLcW0v8WK
c0pR3VMRjuVOGuottC18N9IgKCzgDE0mGtQdy0v2DQrftUnPpiMjZIxjFPwQS4PeFFs7g6/lxeE1
zVk5enJ28TeKRyGxirWIJQ0IswzBDWYkhAat/SBDliCT4CEztojLbYbL7rhJ8gNoKlOvgpUXR6j0
Re3ucw0ZVuMPwQZ0g0MEYPDDz3q5HiFUnCGWq1XRfIsYTj9JlST7ngboyrBDIozt/ovXkMgXURKd
RT2jipyzNdTDwew7JCK6dXa0wAdW5b3lftyRO0ZzV9dPQeANJ5xXNo1gAQGDUEf9ica/c5rd2atO
fs2FLl5LFdb8ZVQhetBma1A84b5OEpRFSF++YKp5bJrgHFuuuMPVH3x0O/Q95KI5aB1/TIb7YA9W
/M1oxk8uF+9KNkbKKBMjvwVVuAMaFmU6GtChYQ4+eRwp4FeT+0UX2/OLT15n9bAzHblpgVJ/Mit/
WrO4wDEuAKzpWeriwXl07Ep7nnwSJ2i+w5CImc3D2mkn+44jXHzxOrPeGr6YqHdpEyO5ePI1+Mto
xspjLJxVgqTq3H/pU7/dphWbbdMRJVVnmrdGKSF3ZckvhOvhGiiVvbD1pee20fqNqXfnCezJtUee
vGHe96UAb3BAwz6sbKqeLYZD5fH0lPxG5EEckgo5n9aN5RP0l2qnaEBvgDeAnlLjsyfSn6IcvoJz
PcayZiAWR/JQagRUejqNpyTed8N0nUVxtefZTEDjTQ//6JnYqHQd04Qaer1/tIFAr/ukuE4mbie7
o9NuZb3x1KgM5wauVV1yLA5LYFMoE0DxFRI9tWrPSE1QFsGIwlEtV1pJGzXNjKe66E5VIe0doGxv
g6Lke29P4xb3gvUIC2zlwn9bBVlNg7SOCZvF4TKr8dCEVJ8rXTOwWbA1uihiyoHpP7jXXda7K+lC
YhOjzaXSj3JteuFDm7VHfOH2vWwQ3I4h8ZtFVdofCWXYtlJ+mfK8+DaO4yVKvuX9ILZI/792g9/t
Gxm8xjG+kc7E2ItAgLBod5Mk+vfRofgxWEFIq84Asqm9YBuFvKdtqWoqwNlFtPfcFKR5IfIDkCvE
r+Loj9l0psQljF2m6d7O9I9FM8KNAhgQo76OkiK5b51sAmpVZu/STh8m8rPOuergDmaboPVLFJwR
xMC63IgQED8yKMKIhMlp1toB8SG2KHnNbP8YCRmfxw5VRetaV2tvFrQYDSOftshuXi1HMSOIqnpN
sqAZ3ZnyLe8dbeMnyJr0gFjtYhYse+0X6i618/rkSbnmN93Mh43ucWE4HspfaX+aAorV6LVIw+Kj
XpPaSdxdz3h13xeUMrXdoG5wwndBTbszmnkA65BgU3WY+QM1vlsupgogu0dXTg+sIPXWLvA867b8
LEjOZTinLlU/ssRjFbDQsq3pbYz7gIoGUSKHPlNU487zhs2g2l3G1GPlew3ko3I6p7qE9zMV5Um3
YjgEs1sfNO90nkRsbmf/zHqqwk9JAt+jtYNn3MYW8DY9BzATGFG9Qol7oX1C/s2678SX0cgeY+n+
qBxbW5tF86bZ/rgH05Wg0Vg7beCcQxsFyRClFuYxfWuTcrMJQ0qxnizDtZyiemPSbsNE+2D1Jjqg
STsynfvop36BeJx42T7VTlZo5nz/nJiP5HGSTgc0qQpesy8NcSAIf4R3mEJCVXyon3sNIp+MsvjQ
S/upLDxrnZQkxExzSA23sXsYMtg0kcGY3OYQwkqwr33VrMYybY+4cjNyR9CVFabH6F2OzrOvnRkR
BV9TKKmJG7PsxOlaR3zdEfPWj+mL3ehMSrX6ruPpKT00EZAEjiqMWapRWMvGIUd8coNt7Sr69ApG
nZ/W3/UkxfDOPkJ27/SlbsprE3okXmILHnR2YWVABk2z7D5g+AzmjehXQTtIsFj5YQpXqMy/mSST
fGI/g+fdRSXn0XJ67if/rpMmGDfp7NthDneXsIZRCg7bMMP8WEGk1Ku1nRA91hYdk1AZbnA89esx
zUai4J1Pyk7TFd2oBuHQdWqbszPIF1JnNDgHWUd8escdV8HQsCENM3na0mnnFlgoR3nVVFur9gcY
tvXesqzh5JvWR40BCcNUreRgYvrHoqVRT94WO5NgHp4LB31NGe4qxlsUGumpLhP2VMy3AQ0t8mw7
9KN+ATGvT08DGmA8oyYSXKO5ts54SpLUPUV1+pLg++ZrMn2Dinc1VSJ+Dl9xDOxTNrknWKobPeJ5
r2RVbqYueOkRm8KyUNiXLDWDb36OSYXnp9GNR7BTK1dx72vFl2QOaW8C8ztBHkjgR+Y2Ue9hD/H0
Y6xl39g7QCZGqdqgcL2zYxi7bazQf/mod3SxLlp+aobqlrMeKKI21MKzy2IeNLa3Vbpzlzs289Ia
NYMdDPsIPNb8pytOQOlPP3TZodzxMSSy+5AlXFA9gdYwRyI60flwB/uvAyFlnNyKXyPOKuQkntzG
GMxPZabglqv8FLGeF7ZeHCoGL/ns9K0JCDPHUp5tsJYoH3H3OV8qB6Zdi3ivT6KCuZN4LAia2A51
iicOXpDZvpW80KjAhgSQaU6WsdZue6dG1BgXd7a/KvNqvBpDuElrH6yZB5s9DrJ2ZzIuJd8ox5uF
WmxdIMld+xAZTplWfspC4FDTQIAnyvD6nFUIOUvRH5pIYj8czPda9DnB59Zxnp6vzai1ti4y3OJn
igBi6xG4sQtHwHAm1K6gbV9Cu/qaYsWPsK5C98q/iyx4q4CAH/L2WShE5VNZ/NR7YeLBbsmdYtSS
towxOxkdCXmz9rbvn0YB789tiDGj4SbWqhgY2GSM6svQijbKkVCVE/XNU/ldTSrn1jaof0KtvUtU
fUloWa7cnSFomfc+81wXoabvWOUqMVW9bW2bMUubof/RnG2DiNFMqYX8uoy2YypYszP/JXKvdW5m
F99lAcMerw5DETO2DS2sYvP378dg7n/itwdotnL8ILoKjec+FUdEN+YnD4XMusvdz1Q2MJL6ZN6A
EmNbWQb+cd0syTZhuxB9ti4Cb9wP3I8IrlM0U0XAnpiKl+y9g/a7ZaGrCIeeMVC2vpsICdl4A21A
r+gfS5aYUXjTRgd1/VCTP77LRWvuWgeSdy0C/U7/vzSd127cyBZFv4hAMVe9stlZOcsvhGRZzDkW
v/4uDnBfBp6B4ZG7yaoT9l47yyDMY3/YJWb7mqELDDSdQejLnoFbDhXb0aCJWXGj0YDfZrfR2SrW
u8X8XhvJnn22OBlmTgx/xnOaYlRRPTE0SQbTKmqNDxicYzwb7IDZbeVROBMsde1gAIRTFhLz3dj5
PZBYFVQNFN8WgzFUuL+rTQpRlC4yRDgP5NJNFlKzZ5PUNPdjAnCyqzLPJEa2yAOt0/FQu+j4sT4f
RdziYfGXdM/2/0RtrtlL1d5uzrzmNmNm4KxyuhMYXZgdP/kGVngyFTSLjeEJ2zwXlgfJDh99dlSW
puTwfWPH5ItoJ453QwwZYsMV1+2iyrvOGddrSu5xnWXmo5nMR29uQYPI5DKjv7xzEsAvbsPsUKwN
ugiYfYhI1YQ8KZ2J7FYed08Vw2Ca0hKUxeZF0Q3nRF8V5YmrenhpTZDZwwRoymDmYFja547Q/b4U
2DfH6sfSGUHo2z+GOTuY1XKVMaGydf03ZadFjAqIcnQrL3WmHivbbO8JR0CSsP2qA414TNLBCbTt
7uL/3Iv1T5309d00mPqol/itrqAg6cqDGzExtKUSCVatNlppS4at6xYnOVhGWJuFe1ws6x+e0+wG
PBTCT8e+8vrb17VkfJ9ZC6nwffnaJi7AHqdpL8LgcOAE+lRTUd63XXUv2grlc+zfGbqxjkNtzDxR
REnhBWOMFBQyis/YkXt7NS+EBIfQlz18XOp+Sb1TxqCcnSeeCqa+TJwl5AE1YgNTKNRVc8zl0Oyi
InrUtbceBJkb4ADKd1SX5rkS0WPdqJ8ijxzYHWtBs0wGWGZA5sNUx74zPlQA5JCzNxbPZf2YsNYO
jbb9jBzCUcamC+txTXZ9QsexMhWE5uV/yMEz74UOtLBsoGZ+t/dzctFHgH9ev5XH3fSRlyCuIg9g
STvld40xxJTuJN1WkiW5Ew37tv3SXmRsEX4/2Wj4uyreNqlkrQSTkd6ZKu95sYp914I+SOb1lFQM
F3NS0JCxAbox2D4vi4+3nk0syqxrN0dnJKnTOaKwooZYsl0uTNTlpHJpti89mgUUcy9x6/R3ZRHk
BsEUA36dg4OtFu8kMDm01r9IF1H0CaJtMgsZpEvM6ljpU7WaoPxEjEp+6K/UfOQNpzP4/4oX3tG5
cexiys/IX40jCUCp/stmfjrmqV0RwumZ+8GP3FNXRRcQPft2hA8gp/RZOMLcFSbID3MqNhlGeo81
CLJiT4p4E7tXqCcofV0M5LOghVmSa+Z5B4brGTrI7JG75SUT43wXxe58l5o0AGTVVgdlvmdF1m6P
f34AKXCI7no9zgEGZuuup7Y8QKcLW6ciz7B3fFSU8G878eFg+iSbNnkfSTgxytTdgRN+qvDehnId
n7qU0OqUsfxujHI0B0q+SHRAgFYcVmEg3EJHia+4WEMCXqnqzKY7ZCT/ovdW+zTDModM7s50Wytg
OTEEbBFN/NGmvl0TDwyTYNc8KAa9XWQ9ZDYkb1m9DQIwpNSecZBGx8MgGnzm3buU79iUAx6y5LP0
PureMfd1Nb7gu+ZkyqMAHyU4zxRDjpoe/dWWL5WnAtdTd11MqqIhj+M482O1pXtsyvTVoLo/DSOQ
qA0r7i/l2xhz1iInZ8LDMaCNz754rn073jtx34XViAmdVL/4ArNF7R1DA7NVw5NoUc9VZ/wODIDa
5SRzU54M8TDYjLl6r2h3qhHUlQAtRlsAI4+9H3ch77vS0gy7aHuq/NYIpbM2rx/zRPCaR+KmrAss
qWCsvDG9KkFATGHoh4zN7qhMCgWz/etwtjOXSr46Jif7GOrpMErmWkMBNrNkm9Hgz0vvSKpwWdka
U5ghcAMvXESzPDujLoJkNuMg7vxf3EY7e46NI0Oag2/BX/XcvNwXGE4Dx/qcM4MAGDy6LEAp7Ny+
Tw+rN83hEn8jtF+5fcw0NAfqqqRRN45obqy2vI/tJjtWBFCP3CFhRBwCG891DHwbP5xQfgS1e+IR
wLeYLew4EeOcFbkBt0Wi56CPabnacV9m+HAYheCqhtKzeco6Quy6Xe/18H3cpX2kKmQHtM6Kqt74
ThlIXfpWP8rMvPNRYz1k6IvxFE57OyXlgunAPX7g57S6NfwhPTHDafcImfBXEqYJXZwhmV3ej0t1
3WR2HaILi7aGD/jGW21Mv3ioc9fR4D/Fuh2LR9apJzlVSEhlfrD0yl3L0GC3ku81ps60A1zLMXrn
x+pjjD3jGgt5iHIMYFltyst/v4pIRjG1A92aUO/D2lXfhfGv276WtTLRHlXRN9ph5LrZGJFcrd98
GPWHdsEBOdTFYWXawJnn/cUFSRrgQGRdzEokqe1mT6t4ZLdGfmXcv1k+fuEp6kJQFyIscl4evNbL
weAin3r9At9RJ4ANoOlZIcjnezNBY11l6EJXVRzz2EGyOVvhMhd4qy/JOI0fBPcybIoUkxJzOW+K
QPL9eNpXIoB1ulyXOVkYdoKREUZy9JPyDE0n3SUrNapRjUA6ltfV2aLjUS2yU3X6w0zuNg0ZMcye
A0Kzteb3fCX1dkPZeYMLjKztq71Nnc/Zif7b1PeGYGOsgcUdhQalriuwytP0Wjr9suc0tXbwNtKt
02vOTDiJYoHmlOGUQdbuK+tOCSZWA+XqvpYB9/J6mPDw70/Cf1GKVcxkLDts1zhR4vwe58WaO9Eu
T7nFULG9OC5nNxvhm3YEmJrNPyweu0OTixDRyxIQS2LsnRXMskXSzGLNodkRNgCKcX00cxLiV6/5
qKfqQoUxHbQyZDgv66+FB4aqIZEnxZwU14XVO8DZFc4dNo6oO0imKCw/RRSY+kFpxPcope0jPp4V
QURCPXeZcgKTG6f6Tgz/uQYBBCiT2NG1yEqqIfdW9Nl6GFxaVv7qUBGMgzOU12Ug6NUwmUcmSXmw
F6b5kDWHG2TAO8XZWWkctmROJfsigiPSuvN4qQwM4NKByaO9vZ+RGO970/I4CpLfGp1z+qSMCuO4
LREhrgw/p/gXNKW5y7wYr7QSY8ABROFJzAYjimG9zH3cH1vXJpmI22XOxn/T4PYhHDNYIwIQsNsz
fs4T+RkRFH7NRXXKxsq9Tb30rxIRBObRemtymd6sEQQ9o25u0y8M4UHtT/Z7oqL8GlmarI34b/Nf
dE6nksNclk+k/0znxAPmghELR1uTqiA1YhHmcJCCKjEIz+oZHLm2k+3I4sOcR0WdqvEnsdZ/rTtw
fJIwPNc0eVXL3k1IuS9s2o++n9BtRr8gRYnvShhFxY1Pa2XOI07RE7QFHdoaxvRm1wbDVUK8Ugws
5zMwYZbFCVocYwm8prvvp2I+uB1j5MRxfy3X/ttQa9JLjrfUDPPRSnN+6jrhhcmmN9sJMFmvt755
xg2qQ6db6G9wIjxGNuDLFrtX4aYu0ObxiM6Mnxku+p5N7E4mxNstU35bW7a4KwlY8iP/W6nXGYzR
lsXjVEO7s0mBCWs/+Yi9oj/bdfeeAuRIbFGyiLhCDcffVszm2SU5Kc2+Ofe/VrW9ae7IgBZ7pdnb
6jhtFg8RZBEEamdQTkC7BpnAfRQy/agY/RJ5SRFpd59XTy3zXiwTLp4yvcmt/ozI+uwLCnzyYstt
BluEOk/Iw2LyNHe5RhZQ4MeFcLqrXL9/sXVN8rvvvEYt4XcFcltpRd7OnU0DCdLCXgLmONqtl3VO
Xp3moAvm952LoD5evBMm2l1nAiCMPQh8fvYHdfbX2tDKZTN5u1btUBP0PJX+8phoPFJDOxeBHaXH
3sEZXcRExMbidWnyiaSU5Gq1ccob8+SKyrqLaehTodsTKEyLme38Z6wYchgLDsZCWzvT64uQg4jb
RvH4KDUGvNb/ssZkSDL/9EVTHwTRsFP67gnOSLSeSDoroN8yY6LSYaxtM1Ed24hSASoE5uPS3NkG
zigyggxUL8N3ylGBa/zWXA6QQtDSN1yiy4JFLHFaxmZghawKDM/Q52HF6J5zmcrSsprftBLrERPH
y9qkgPxMTRJg1FFJ9qUiMW7cUUz+Vim3SM9kJsDtAWFEgVqu6HCirhqu49z98afu0qKuDDJmvLvc
6tbQ8DqejfyyyOTVdUvnkJotaW0D0j7xHon6ued7O2XxoRgFQksSefOIiT2oXhZTjJgzslw889m2
EqiqouNaXbjGHa6FPiVMOzHs+Sjz8iwVYkrV+P1JDDMIm7g4m43bbvLnisCktgvxAo5hTQM9nVCt
p7BSsFrG8WeNsDhcE8YOnYg+CU08Qon54BULbfVYwzw/ZoT8Jd1ykDQvyDXAUBNR+pmJMKoW+2Bt
PdRmzA8Gi5ZL+rxi6o8qqnnvCyq6hd1m32TvbGTIlhm2TOZypqEHB5MNLumYfNk04T8lDom4Kgik
SyPevM3+4mhShGvj2U/md6nt05i3f+AWnlNrxKLqklqBtR2kxte4Amqv5VzvPIY8uyW2wzrTyz2x
VL7TPycsISxjnQPGcfEkGboigQ/6CeuD5C9MZiWe4tmI6x3ywYxfwYqDh+xQ/ebqxtyGmUUzgmRI
iocNn2Tr2Ya5miDgUfGb7i04Pp0MiEI5+pGqTo0344/DuWWkGH0KaHzMHmhQHIEe1e9Q52Yl/U03
vpoSYfQSudZ1hdh5k7Ss7Pp/BdRSXSRPAsHJzhakzyIQro9ouA4N+fI3ZIyEk6jvzWLago5Nis4+
8wKurYtBikBojCNnjDRv223j62SYnwk4PPF/rwh94JtFOkU1PFVnyys+RkgugZkM6R6DHaIaJNws
sb1rv3qvk0SbNXejxRAx+3byi1/KP2hgfpH6EzA0OOB2uZZr8gemobOYt5ydlW36VHkvnq3vPTEn
sNicMIv8aS8iW++kg1Yts5gz6bL0uJrsfzO6kiDjUgXY4v1dUv7Cld3eDcw1EoDmdKbunWHF3IIu
a2FGijjvECHxcxywoZEBkHV/Vq+cXgrGRU1ZMqVKi2lP3AbPT2c0N4uwHoTRjNfpgxShapfjowrG
fuLCb5PypFgJspZ6HUbi5l3JUyNWNhnO8AGak+/HEnpXkPDHP9jgEtjywsHxyKl7zodl3bkTOpwo
tr4Y+2bHUug/2DXqwxAZb+ytUq4+1qZVx9LaP3kNyaG6Vajgk56Undz4z4J973pE2DXtu1zcI75P
aDgyMi5T39ubH5MZMXatfelZl2q8t5RzsjZheqtI4MHOwaxCZzzxY7aPwVT4bf2jBpggsptngmdJ
te0ahSnX3fHMrzsnlL01HkxXveNasAEv7DIU8yFLgfFJ+gzf051ZARwgdjHfLVjqq8JHZI+Z34Ul
suKUVb21K71OHGOzz+5ATvKx4Lk7TDNm6RH+bF19GlAbbgdqtcatzduzQIyxNx2XDGtUY6hHANIy
MTuXpfyuXFZXvgTl6lnJyRXr3vdH96Zwom8Mgvm+sxUB39muEFSrUgF4rDOkVsnzUMHLFK2QrLtP
qzOkOOpKciBt64G9gjI68xSv3S2aeZwgjmRTSapI4XxUrrptWuuVZJcDRoz16JBrNcehiIwsyKce
GFuy5WG/etuav++5BXOmyDnDLyduDiaKV76htQubxfhgVEKufHumgQVEoboHY2EdAejrETypGxhU
7GI/lkB/dc2wO/Hp+fmE6mzYzRG5jADsxV5hqQiRzN/bfvs+Ul7Kxr3FmE5qZtv6oeI0MrMhv1Fs
4BAe9jtfk+fEXuNUwHrYWzXjWiXUCUfF8JiTGwnqgTDFghTEKaZYyJtyg/XEO2bemLqhDwb84Sdi
TF6ydf5rM+Fe05uWBfttW3UYt2w6D3LsdwhsqjC39Um8Ca8li4zPDELbVBEOvyFmHec+ag6dKskJ
nmirkLlR62JhPFpeawd2A4tOkqCyVJa3S+6jeUbOr3k9hgKyvmBcPwrvM+vwJMRZd+sZUrJSI7hk
jgdiXIbsCQQ/6R5LLEF52qgI7JZXXrF/gCsFib8jz2ucJ3XyN/rUjMYza/0/esido02WulFuu2GM
SyxDMS8zP/jlgWQiMBGChDzB0yyAyngVDwAUn+YMSY/tEGtPOxnOaXrdxC2IFl7ISqIq6aDAxOqQ
In67azHrkTKoG46lbDL9A/13Hpjz4oLPKU6DwZioQT7FpKADsWyQJ17bKEus5Q1+7Fyn99niHXLt
vnrjyubRFi05M+1yHCWltHD9az3hWTerlt1FdId0gEar7T/LAQmzrNOw7GXOhTE/xI15qyJ2EeXK
t+xEXMauReg0R/Ctz4WRcTVfJhdrHjilgg030Tp6cEk2yh/6tow49GprC2LmU2ckdo2A1fPHIKkh
ksvBSNje8xd8SChwr777kjT/rKn7HpKVkIaxpW9ubojaQ8sZg5RMpwbtu89DsGmvI11W1KYG48F+
DeYivk+K6jQLF0sZvclmdXvTRC/lJvMluyamavKrj1SypNAIQpAo0/XwaNfCuiFhdET2BCUoKcXR
z6djPzevS9boHeNUFeRu9GcFl0l10UY70T559hJdW3vRQf6PQrBiVU61a3kgw8kSNcYItYm8mLn8
RLhTXxoD+LPT5sea/7xvy2kNJ5+zwAK0SVan2PMWaC8P8HO0gV/pT0ait1W6FKCZMcvB+X6wi5lE
SgUWnzQeBoFkzDZrxKcN0k2yBvUM797txIPy8ZQ6fWEdLE73GAHbpTG3rPl8l6C5fjcRp6dA/xBC
0fZMIfsf53ZRQJw695yomWihVFUHYDCPQH4eiO0yg3gUuww1Fx+6SwRJsXqaD2gLchHpFRPrFWc+
e+jJYrwBvJ5wsJDH5V+OTsqoM5Rh3RtY5y+ZItVJrVYEvUS+osn/a3tIE8u4vlQTbneiw4hA5Pli
QKzQxm3hhf70x4vdfaKa73Kg2Vw9pjvuzBZKiPbWiKDMMSK4KSDvm+QVspWFMMfQZrbJ4kAPTfT4
sG3kcwKYyUvR5vpZKHkCjYH4qswoD7oxDb1t8L7cmsyvnR201fqj8ev0gA7QCzdmixH17XUweKoq
I/3Quf9gpvGXEREmB7oeuZIjuL6YjPbsDNjMUL3oCOLaLF8rGPerp1B+TQAuh95hluPU4YAjIPSi
XIUR+H4XahV9BB7LlffY8fZ5xrVAWH1gIRBDlc4n2ebhgLLp3GvqsnUAWgfUgOLUqEJVWX8GBZZ4
roqguncMrAWlGPOTnpa3ZNHlNRvFe5/6n6KBl22BrEj7vV2Z/3i8wFyPN4aAq4BvygokdUsl+s+p
It9+wCaHrGqnXHAivKQjpubl15zzLzGoV3fha1hNlnoZjTEQPWjjCzlwpbCt2y0+UxvWA7RHc9/P
AKbdPOFLc8o7LcufbvqNJZYSY8HSmxcwXVu7h1y6A6ADpHp8S2vGP3GyWrQ6fHkJq9wwLq3neIrS
t27EIjinZXrbrCsXXa8GxpYBfxgGitpY9942PCI3I2IolN7W5kYZg1q1EcUsiqv8YUjHB7It2XRZ
zh9J6jgn2A0EBIYYs2sR9jwT4WMZ9a7vJDBAJHNLFPUXmVh0xIU6emUWDmJMgnSGRsea4wjXdj90
bnnG92KGU9Q/V1U+Hp292XfeM9JufkfN0kDcuXJlQ7D0ADlxxnIxnEz0xYdq1ixLF3OmFvsgeXDe
9IJJ6nnIR/OEd7lh6SRH9TAAAIoYX5VwW8KShiQYYkfc9aiiw8LrOFfLucUWweCr6Ia9heLjwbf7
8yDnQ1X6t9GQLXeudYqb6legtD4UsX6lexr3cgI31xjpgcr4IglwyFjeYJZELdKgFbhHHnQdy6Y5
LB3EL4bnTLtBdplTe24tpZE9eTNe5p49Mu3AVbJJKNkvBTDaWKEnJO6x9n6YMbMgaNHOVefkRblz
0OToHVt0XLWlCFpQ5rqLC+dxOAFiS3aJq4dT9Mn2LTulaHZkRfjbtmVJxPhXdjkLu7l4g+fR0ZXR
k7CUWvZEokPGjH4Vtuvd0mbXhniRfRr15tHKPDDFHn4qS5s/WM4qZFn0WaRn7aymvkSoeJjOkdGy
6t+luxotiSMG8iYh1vI6i/VgWYoJ1WLadOTZrT1CSkRYBTWjiv6uTc+wJ7R4C5AA3VqTOLdB0y3l
0Z+A7swSPANdLQEj8Wzdsc9FBMpeIJnMKbDFRGtMVN1qosNrZvAdPsoG7J2nYgagQMfz4yj9OuqV
Yx15lITfHBFeczTkaymhXbBa675HUQXDRqUZ2KrFfmKwoTrQltSBvZjqksRQOwqNHZuwTb8k/8lA
525hcEBWwwzG8OjFSNdi3kqCo12P02ZfTgJrIAap9KCldPHyF/LICRwLm+SOfFGVxrfd4P94AsES
bpTs5JIKOYwveijw7YBnTb3kaeu+pglotEOo4R6CPcg/kd9nZknC5FL8tUY2LS430Wh05BDPvjri
82rBiG+VJinne533IohJewUeRSYU7AgsADUXzsgzNY3QCYop/pFj/Eqxc8i9Tawaca3YSdxcUGqK
BoXQ0rTRAb0GI//kZNTRMW0Qe46NeUyLTl8jW/3tWrlR2C+p1803MS503KYKEPSkx9DN4vtVYhlf
yuhZt85y8NnkO9ltE7N/0Lg1Oec2UTPugggCXMAPIVLFEncaRGD5RFsNCKzgZSzmzquW8UR8Q6Ob
BkNf86aqKT83oTuyzMwGihzhExXTZd3FFPHnmpY1o0Yfe8VEurGKMNnn5bZwmn9G2tRdROTRn2m1
w6QXxVETKEaXxWxBxyhCJ9dt+VUUfy/CvvIn7KVLOIae6qPKHG/n2yTH9tVbO5aC2F3/vVfaRwkZ
eFP+Sv5Yw5IJT8zEHSHKPaU5YgBp8P9kzZwaxUucpCvqEcpEs0G3R229h83wSfrAGPRkdYH3fHPj
Jqba0bymmd4hbyLzFx/AxZPZuG9I6mLZO9acG+KodDLelBU4+wiB2zFne0jvwFioGChG3PGHwLoq
kLyuBKGhKYJGaQQqe668ejwPqf2J0PB27bz84vhL2Nf3TYTy1p2ij8lEHb0kxk3ZTvaZ7BE6Hpzh
Coqf43Cjd/nc8p2tD9k6uk99zKnPWBxtIYpzpu/WySewdOkbpHoxhJFK6YtDQuIsjf7drP41qzvv
Z8FAuvGaa5lL7PTY3YM5+vVn98F6KUA35373L4s8O8AJiXSt7V7Jv9RHQ/EuDKa4at6B/Yh6CzB4
foX29hi5vjjqFbpqJSUCcNP82xqyhwWQRmwp4XuIAqf5mKbhkN6KeDDYgFZse3v3beIy5o+s/zBz
rZ6JOtsViexfratIeRLqldDNSj02c3aB39vu1hXNhz+sn8TjII0m9n6zF5GEpvvT1BjfKGu+YJQ/
pmtcXaflX5aOdlDSaGfxtllfy+SkaszYKv8wvOJVA7zapYhAQejeTXH+nNQpG9/REhcsnfJVRqw3
JF591nAZLah7yNrmaep5bnx0bvsOfnDb6Oe40ntDOO3R1LnkjvAQiea0sWP0JQtCYulp93O9SDxi
7W+unYNEnfWSr0tCNgNnyzhvzEngs0u6qW2H23wyn2cXScgyKjrGPDoKOXtMF+0PKDj9fnGaFw+W
FYET9SvMo+lideOpmTLozCggYIdgdJWAsj0JiM7uiT2cC1+/FtiXzPKf2+DrXI3h2zHQH896+WLr
COBv7b2jEuafoUF/0w7FJTHVPfVfcVMwo2HFin46h5U9OfIhUoP7iDXbfYy8aZ/WK9uKFaW1BKok
bWoqzXTJchNxmFcXJ/PaHwaCaKk+O2i9qCx0yQAVk8j7aBunWCckchgGKQU+ODdjgHbpGnaQ30yU
M8do9svdsPrQ3tJ1J7Oie4Pd7xw9y0736DKQpuUwQ53FIJelBWwIHexfLstbFAaIaGHHUFsStWpU
D7bn9KGZunD07W+Wm/1+6lHzK5asRFARMQQFjTrMKU9178MgAJC/k+70pjijQ7w+hHVUBKnoEpa6
sMovKxlRgVNnbNRJTk/un8rnthELK15hRNGO6TiwKIEai6KtOvVR+51tfOiCBnXx+keDkBXek3TB
A9mBfQDItxCAQzQphpnSTJ5Hz7xxsJDhyNiiuTv71kW8lvNmmVWJ43sq02uXzHWwjM1DZlQuVpZK
nKcKkRZLAJTmJOWq5Q1ZGbh1odEaUlysMnU+bVO/eFCHKVbhK+YGEt2YeqZLy+uwEf+ATSHecMqn
cqyhxzZAJ2NzQHvCv63JcNchfAnN7QbrzNtEsy+m+YcbyEDk2uSAOwRyJKvwf+Yh2WdR/VoiYDoS
WNuQmDjavXs0yKwoVvVNOFqKPEYgLYFrR6qG+9v35ptQ/6TFtsb06n2JmiNwDLZOWpRfoyb1OzLE
Oba8B2uA/ec07kvdsoPPtzmmThTpnDD2oFsX92NKJruTiL2FX/9IzcDd62iEEmg9M4+U4TL1vWM5
oVr2mueaaCPftpqLgYQnjI3sVjT8JV2L861YGwf3cfoCrHRDpHDjdizMZqsP2rZ5NnvW8fzuej8n
WX7HEdjZqROoMYX8Nvu/ZZn/MSFqUHIN3g4JGvuCpAWfMqYmYZVInSXToHX17Yv0HBNmcYp49gPd
JEokfMceJPd2Sl8nb/hJM3oVx65/s0H1FxeaMn54zBHN5wyABmXEDDSfVI4zzu2HcXDWXdVjCLWS
19wpl52XIMYuo+G5KJ1TpGFKG6xVpfRpCWOLpea4EsYaoWOJK6RouFMZ97WPXr1uhJpwsJT3jlLy
tSBdhLkrQquWogwnmBnQbbKlsVDMs0dDajL82ewORdEsD3yrbHS6J7R/f+1WJycWVMk9ElSGnSmO
KDlfxtY/lb7+HH2TIJbKeW4qVT10g/spObBJO/yMJLmADzHMBdIhfM7zfjlXIyhtJXJmpcotyHzT
L7DHSanBCbJbBEPrcXhfu5SDyie/ZQW4vObDZ2Qoi70ZI/LCQHOej/1TgSgXPYTyA0Ral3WR1Anx
/FYmlnXtPNnu9WB/WDWbUXPN07MDN9xb1/VADw/n0ALYVUEw4o66IV36bLskuAo3f++ikTciG3o+
rebbZl90XDyXEXqObsKeIpx2cgwhYfC7syf4wAywPEQizgiU02JLO6RGewIEAUSrCb2BuK+SdHt2
CUyeTJf9jo0IlG3cu036yLFk2TwmKCcs1tzIuJ/QsXS3dt//ZW0tgjXDbdzc9L36V2kwcauVYTVi
kfPpgoIKMb5fetMRz0vbgY/BypQXDevDFH3o4q429gmC9vrG+yHnCvUm6btBXGEUmX8IXPQJ2ACx
ZO6YmP/L5+QsRXTOGYkaZBBIH8NKB87PHNGWgKx0iUIonlFkhI1BQcpgsTjYZa4PQzoXe3fD1ZKt
g6BooGZuiZDLBCpLs8VXZuyHoTpE2n5IJXOvElVDPkA2itRl9LEj9uRVUzY013zx33GEsbHGwr2p
T3jIVfJi1BDb/QV3QZGaz25hi1BH/Iyun6N1HpOcaCpCYhD/the1zg/dLOWtVEmo7LMxFdPjPMXO
y7JZtkgqbdEGweLPqmcEGOXZBOMdzGiVMCRrOsDIWimeva/E14TJsDTEDMJshH1gRxMFJrTQpDTm
VRgtsvlqSCk0Ol38rBO56TUqdxrP6HscCB4HufvgG45z7oz5TmOyO7GbI8QKAvx+rrI0pG9mxTFu
k8jVpXYRuRsUfvULvoPj3zdeEXnK+8xhEW8n043XLTBeFshAq/JDaArqzCDDC0bf7V+9qaTpqLq9
SmdWbQkBIvbY+MgJi5SFf8YAaiMsmDYuD8ANKOXXOSwXxuGMPsyns494PXX/pfAT8Gq2DE8fZjW+
pF3MfN3JP4baEndz+pP21OJ/2CRQRVPouiqp7xEt9+VwR5jdRZdJda0SYpcsQ7/LZUC1UlvHrpwo
Jcsj5DvsbZREXXLu8+FOzfomquPXYVLX4pobdsoejm+eMLmA3uu+6bsYyYsC8UKAB/ODEIX9R2Xh
ZS3WY2GwvCgmxp9iZt6Q/JpL+tThDNoDfWEVybS2SVbcVjTeNz7ZYgjLpBn7jFu979zSv7Wc3ljr
7DGafGEXxhhYTzZrbMa6FNf+JrkvynpLNGuNKx/TN7vznHxEJlaCJHKL4AJqiOonHaPuWrTJL6lB
33S95VFk5QV/P2Yf64YX5EvOyPrsnPiF3s5BNwNjM4DUIG3AZQ6Ufpye0lqonZrzX+l3S9BmvXhs
mrsomTEmgTfcUk/dqYXGk773vec/okisGYFgoFkX5DGZ1ZonNYANyccZmZNP6TsDnCHIDVdbbF0Y
qpL1FaWoBrkerQtIhRN5mvIIycO8pOVkUm7a///V9t/++1fJp3CoKvlWrwq7rJtwqgzIgjgogJXY
xDQ1RUMoIQvexR00UBNGVMViN+zGHRRPEKYJ0l2cd7F25qFcPO+Ky9y/Nn7mAz+B/pZX/clmED9n
8gKIxw77Fn2dGxGvjnZc/I+sM2tSVYm27i8iAkgg4VUF+9Jq9971Quzu0PdJ++u/gXXjnhP3ezG0
tNSyhFy51pxjpmc3bNMzLSMriMrw3V3h34ZRaGhvu/5YJSQnhF56flyIsMi+rj1uuovxlmjsCaKq
KdGgF4xgKaU2bDK4mShOKY+rQwiiM4Y1sIV5Mh8dDa1tpdWBIvSFzd5i+VRyNKp7uHhZe7GN8TyK
RRy80aUYLBhyWmmC6aDHkKOs6lLLJoHEpckmSASNbC/WrZM3szsIS46t9aKMmKhhD6jZNlZHO5YF
Tfq4vuDOqlGyJXc0wvkBVnhzIe/vVIJJ32Pu2tX4F7F/q3TmJAKj3IjDzAlalHVnzlqDuyy+6LO9
UTj2cexRJIRR6SAyEYcyQX5sSnTAG2Hj1ehCT9utVNCzWD/Nx+f6uDaEWIdjY8Qot/6nHhfxJK5L
g73CRk7MIKjlq5dMfhTqBj8rEGtKMzrgf9pOY++dRdR91jl2iLk/pmDbz3XhKoqNcddpmnZsyt8u
Pgjsg5R8iOzpbKc6HJkWL1pQO9kSZKbxbIauPDr9bytFUkZX4LeF/nfvkkdjKsPA/KAX23GZYC7T
kGPLEOFDEthHlvFmhax3Xp8+e0mvnfp+taOhesQbZm3HatwSDQFAf+CrmdJD1KuIMR2TTHiYe6z/
4RakNamoYYdKlEz42TROY0ip7+UzJIq6Hck/GK1nT05E+pqh5k8ZrQYcTd0BgXkThglWyV6AVDF8
K1PqoJfZeDK7iCSIceRfXnU0ZUI4wm69uidcoFRbM2JLkve4CDojXNaj7x9J7KiPgPsjj9koVobZ
nMZKr44Roxo76j3Gvs01ViHdXneYTl/X1ptmcY91YznatdacxHpRrL/cmvG4tc2aHdQSqlNdLt2J
aiDWMxI4ho/E0ok0LeLcl4aR+ZiEhmRr4ZbewsHYjWv229wpxBVZ5qGAcww+eiopM+F0LvXeeFYd
ziinA//qtW8SScRZRjZ7Bo+aZ2B26taXuh2st3YCd4v6UJ5y8hTC/uzmIbrLzmjWzDHYzYsHVUCj
nVfBOn4N0Yw1kBfpO88BneLAc6KpweYUf5Cx+kbRrA7akIlXOZHNa1TNH92i5U1gluK0RxMq7h1B
fEAKYSv+tkTLdPUqi8V8yvrAExg5qOFI2PIsPGYyM1NCSZJ0h6KBb4pw20OqSe377H08DMauRRrX
5EzuHqLDmtxYpU8akd2J80O50XBYUNfQAoumgJZgeiBhKNCTcvzIcsMM4AA80dGfdgh3mxc7W17K
sM8wjlvF67CqzyPKkH1imtH7PC3fVWhMfps2yUkjLmRTtDS5eecl46IQYYjNib/WyvTWhZZiDM3Z
35JXBrEtKXsVixNqKbybBgvCQJoIzdINYdi4zZCAExvFedS+2ZnSfqAZtvc5EP8gewYxbRx1mFk7
RnhH+Fn1tk6rwuf0hOiT7ow7abe1lITZzHgFHdxL5mz5frknh1iKWtW/DdMKWaKRGhBeY526ZbmX
su/2RlX9ilW57B0jaQg/GnR62TYtZ9AsR5Fr8tluEVNHvIOt4jsjvPApEX8kHjc+9PzSlXLYtwkZ
zxyEO21sZgLH0O/qEjDWlqzwmAKWTlxN9vtz0tnhOUo7hMYAwxK+Ets48vbwz9IMFE48H0RJ7x7a
qzws+qRt3MSlzY1TENVlEFYEJaB1w2Q6+6bzi76Z+SxNUVyIVnshlQpJqDukJzvUxdWNzMCRw2+e
1cc5Su5Bb/60UfNLo67PktqDAzvuaapcNS+rToRRwU9aL5rZJZUxnv5xcZxv8cpdBJOiXSN6IhMU
xXlbrzH2hF7gZNsMsLnzRAzBUIzW6evCjQGJktLAPCmD3Jp+n5mtHwVaJEDQsE498RkypNjqBf72
2jyo1DJObKNcyulR5Qe+6qfSwO7NCEJj+I2STWGbpMCMCQuIqgT5vRmfaXnG586Vv1n8+ZaEtc7o
j/OyabOeonFnsWY7YPnmYP/ztXabMQ3aephMaGexODtxK86Pa9b/Xouj8Bn6+rgn4+0HA0IrSB2B
22q9UPpPbcydUxvTx6j0GTyPo0mGxDsjisUlZyvC1xoEQF7jF7LHlpw8oQJX3oSTG2cY99NFGPF8
eVybOhJnE76NW31kko96jbmrQVVdkHmNcVBHzo3Fmu55YYR+YQxYJ8gARUQ1/awWCrKaUNqLU4O3
f1wMJlx4LTcOMFfJOFUeeIkUMdAwQA4y4lUkQGp7oYzumha09hBxloGax//5dWt9omJoIlb+/Fqx
5znbiAFCejLsXBr3wAyWmVnsXv69aMOhuszNsSSs86qQOyWFTPeh6J9VQwlQC7dYFWTh5d8Lldvh
xZqAwhjMKx3z+6yTEwFL+jI57D5ze/7l1Qt62BJuCZxBzrmE5Gwyr+xPmZXDyFhQZS3zb/xFG090
Gp+oCajaAXc0he4lXp8qwqrblJN7GgbwSQlmmC5KsoslXh7w9IzTI+q9+BhPTLzc9S9kcppcHzdD
MhVomMTx9N3J16gt04ErTnMeGQ8DPs/I/Xxqiguu3Y6m0xR/sK+rd7pojDsmVi3IFcJl3VL9yaua
6gB5SDwZBWT7gbwpQGYVUxCaiZrM5x+LWj48y04/6VWDA6s2TYzhDLuqdazaAcYgNJbNVJnJuz7B
+GhaTfhETc/g3RNicMLEOENNRiE1wHskbXafFpQasWWZOzru7aVGRrbBTs05BRkgMvSfRVohOfW2
1WL0f9JG+cgj5e9S45ButFq/TU333WsNdFxNkj4bHW1nvvvvSVgFrOWFnxLs2Hcja5q9ys0GgGGt
OWU3V7m0zOz6gOKqOAv3pZbyM+nNYYNAJe3I4Ouzp0bT7H+WmlNIOui/Yfpi6LOn+a2Y0CNHALlY
ZfnXNJVLLzHTj+SBIutsu3mHNACWA/Xhm9bk7QZZVP9HUKkqgtDI/IMJ2kTDJ6AWycSlRkuisyXv
Kre41UaPqhOfxmAXyIAXIbfSRLqseeKDbBqGCcQvsUixs5KJtD4yQed+4HP05WDYhBoyJNOc0j08
7kWOQUs7tKPr43f1sDoNcxW/ZLMy3ov0/ngQkJXkLsTy1qzPbwA2PdM+wPKxPqFRRDOqL6H8r8dq
JgmmrdQPjyd0BKFFdm+Iy+N3F8s8VygQnpOUL5o57R8/nRnI35lOvTyewQFNgaMp1TaPm7KR1r6K
SFh4vFyy6BYnA4bOj3sRwtLDoTsOOZv3BhT8ao0EqBtxqz6YSD0elI6WuNuucf+f98BWmOJGft0Z
DXF0aJWWfL3/FMrSLqINfHi83DK4qHkQ010ezzTK+OZ4VYyBdX219fOVXpM8p5X79LhVqaUgAcRi
C7c+wpr04pCOBqPc9bG2bFK/GWdt/7hJHULER+K558dr2dK+N9I0vz500By5O3YfsRupZ5kWaLp4
BlAHw2Ue0Ok8bk4OJuvHR/K4yXC88snOhAS9vrppMYwnbwvb4Pq7pMm+dHXVfT2/VuLWaaKPukjF
s8H/5fEYc5qtyywwAz+eoSgI1M5LpNR91SOAkJ24GGZu72oEN2zSsj9Ji0iReXTzoqd8SkTmfjxu
wRi81K7GLtzteQBR9HY3yaBStGHcvDTfnSa6J8L2bvrKkYfwcoziP5lK5O1xt3Di56Jtra9bTkTa
LF3P21f6dZ+9CBJZv+7r+LPGxe2/bsmhe4XK0n09sljkq8ma83VfM05vGCWKr1spyUDGUKRfb0AD
QWXrU/R1n1N3H8k4e09OgS6qEFUdxBFx7QOJTJgRoh1c9QYDJzctuvEgXsgCr6a/Wqa6e5p5z2jx
T7mo0Zos3mFRpvZkaAlT+njQD60dqRtTV8W+Y7WW6S4qJaOA1Re1za3H8X92Iu2oWytHhdPQtm3a
7rbolQsHRjuaxgetAOOWhD3cz7XwclZ2R+o8yZJJuXLC5BA3mKJBpV2qwnvXIsbyrg6ZGcM8kvHa
TutTCPLWqlZeKJtjTtPuEbPRdGMebx1FKT/subee8jKzD0uR/nrcelyko5MGdoNaONfFdLaqicrC
Y69kMaqP6ko/aZFNNsCoP0Wd1J9EOiTXorwVhLEhNXhq2fr6HlArNgQezp2RPz4xkaHUtaSL6djr
kCaB7fyw2ie29WQg/xyN2bx4VY5HPXKARTJ8XXDwMopg1Y09RSuQBs6mJcxk/whMWYgi3gt8oZvH
zUdyg+XemBqN1zgDPJRVIMNLDEoUONgpALA5T2ZmOU9tZpDNCmpgJBH8oMXOp1jfipP09tPj2uPC
5iMq6IYSc1rN9M8qSEwDDq4K1c/jc2qdgfgACkd9/RseP4oUM99Ob1UgE95d1iLHAvHK4HZaIsTd
ibXVXS/HQY2FfVNZmAqqGUeLZzpxkMxgk4Y+URiW9ZEEhm68ZXINStUJOhyjl45uz9Vd3+Xju/C4
lrm01mya8rvHTTMafzO3Mg+Tkcgn5uGXatR7IoqiwAPIegsxmd/MUMfX2i+n1M6IyVIVc9AUV5oH
+cOzMLMjwqVwAyg7TfG0LeSyV7npbmVZ21QzAA6munUvM5W+8UyeFMlZUv7QhgZi04KuKl5a5KCP
i9V8QWGRBTq+KaqZfs/8FRLaUBNOUrt/HQ8SRd+z2U1jjFm5h957bONLoTJjl8TaocYvMSst9k2j
0hD3TjaRxRhTtEtJBbtXHtoPILIkYLZU/rXrQYLLIRXBsYlabcNm7DVXzc+hsJ7iOc0Dr/iAPrEp
egfaS+/tw0g/pUV0oiuSb+BOneXyjGUjYbJsPUX0W5jIERNeMExB8uRykg9JMDWK8qTH7swS8r+3
YXaVp39vRlY/LUyaS4/whnSa/vtQc/39rx8+nqqDNYgecn0qtGEY4AZlIgH+esT/ed7HLzyegDWX
sur/3P3fl/26bpU5z/Xvw/77CibfkPb831f79+kf1wzkOe35v3/F46Uf9z0uvt7j/30//31l/fE5
/fsbjz/z6yUfP/zPH//1Ov/f5/D1bP/3wV/PqIMTmQcDMZAG8goKxBF8WbSHwvDc080+/+di8u6J
Xq1j6r9jm1ynRsegvxR/aEX3p9boM6xVmN3qxjhTDYVsXt0P6IjyNJs3x5H1ubbm+tzXe/Y1mJUK
RFayKgJFPvN5WC+qSVTnoo7+obU5BA7w3GDItX+SdSNGVpUMSM34FsrCOsuMGAUPW6Ax9JRps8hP
CK6YNXyOMatE3RUJbAzzwr7W23YNtsgx6vEkrjN39NNnqEWIUHPv4uYyOi9ZFp89Ure3tHARwepG
6leeRj4iSObL46IUYYOpAVwvoTHTOR0Fox5qoB0BqZavlzF2lhJXSO0mH9nUQZxAiX/VW6QjaE4C
s2uB6HVW7qczk/kl3c8zsGxzlYnRCDg1NaPicm7RKZIkgjHxHMr6Gy5j5MVTNh01V6PZY/zKYdue
Rs7rtyWdDvhruyCzs2Cx9HLbsUgl6YBMXqi3LkmP5lShzypmrMgJWsVcfe8soR/n+ooEQBwwMPqZ
al6xWGYIF882KtANLb78I85uLa3SrbW4v12iBPys1VMmPLhyYzZzVy9BPZWu79adM41MAuujtNEq
lL2+N03zxZJuuXbg3puiLPa2xtBXI0hUdm7tZ7qGq72RFzcCKRhSd0x2vG9oV1160/nAPNadzN77
oxivUR2sM52M4XeT7uoWYoKlCbL9xHVY9/OuhjStGS7M4skdlbB8FjphfCPtJBG+afZwvGCnYRDJ
bymAKX92UebTBcPPxlSDiV+/RUyAPn/o36yFlCiPRvlKFLm2PZozz/6tj8MYSJylLhugk2IBbxZb
sJXF7TbV6npOYxHfuwEphTS86pggfxkb73l0jOy1I4BlGLHPhOyMdgOiHFx94khm9TH0Ol+PbP3Q
dWSAdt1I+mD+d24tIotSesRiWI5UpeIeLZL28kJbLdT2oCYJlSbpMoPb9o6LGyMrkTCgZc/oclZk
uPphrT8aizrAUv5kFTuKoypZhg+Amh7a2MbZ6/RHiYtskVYOw9UA/14CSiaaqTjKMe73JpWT62Z3
BDbTvqz4DUtjI9eSmpPG9gvpODHBfeqzbFOGXMjtDwlR0f8e4WHh0B9dUjrBBKdqGHEj60Yvu3+T
FRtrZkpYvZj7iHolMWY2YZdQNvMefTqZDua2pm0bOj2nZpM4NwJcXZZ2zeBQQyCaT+VxgZhzxLGB
z3ziyM86r8e/yNCQiYFIi4ojzZ02Xek90jh9bZ7NvTslf4sSC04YLmt3H//enFUEIBjJWXOsixMb
ftLhjU69KDl1efda9zhdHD4xRPU6KkxQBavke4vzfiu1nslPm30v2xpzgcds21WEywmAqcqyXhLH
JePCye5xI+1Np6IOfBsdRXSG9pyZe4cwy55OXhqqY2lNeeCiVh9l62AFttHTW+poxHZyy9auNc7k
0HXe9YZKWGEKp0HnXJgH4QYkN2NH8OfAcVBe8cOj48yNt7atlnNZ9xjCdGBsuYgDMZAkT9f+79Cm
nym5L6C38rwirA9myNaARqfjvN8r7TkcvXvboeVdvXADRvUNBccvVfJKLcih4wjLw117BzYf1mLM
yPYNNoqxQ189u2RA0ZFQVG+IB5EBm9EvLwop0pz5d5NYUMka4wVUQHOZOuuaRAQ/oyLCVoczbJ87
1T9YcNqnLlnap1J22b4ta06lyrRQFPNKiv44X+9VXJY6oGKcMx1yG0TTCIHBCG9x2nzPBDp5aTuc
VOr2oAoL7KG0wZXQTvQH1/nwuuQ1czDTW6ZJ59CzXkoZKzhXJl3INZgo7TBvIJScC9AkUenZF0Bm
Zo+Dn9OK2Lpxa2DtazaqK8WmtSSsqnr5ZdZ/ljXZT9UHG1b4tsymYOhw3mHKllevprHWzEpuu2Q4
6RgK/JSDAdkZxpFJamMw9cT2Mm+/ZAAl0SdICIWGqXzCVu8t/YYDYwEf6uSW0abce7DEz8JmTjTO
n8RtHcy6QlpeSPPc8bWmsxzFdHS1XWSH714ORmXul0sce0GZ19qZpAdOvpnGVjhP1D6xy6tj3QdH
Tiy01nmCi+wKBAqMhocpbq7ukf50+bI4C46uePDdCvQffSumf9bC3MlGPxGax8lJY9wko8fmffqj
9yiFvVBqfG7f+qVtd0mUUKYntKalSVTZkHIWRB44Prdpt9U8WIVLqt8A/O7NuBjusBYKtAhLHBDK
c8zaaD4uDqtOKwbb7zOZogY5DA7VeNgiztAgQPNPHV9JrxgPGS27jRtK59gJcZUDDvts7HpUUPoF
qCvx8JzmrMYwD+NCk1ZWIJmq9pBH1T2a6vpY2P0NMgtTfV3fjY4T+04YfnfafgJLqf8kCwjtyETS
QAV+Lou77lC7+gXiil9FqD6InSRFJWaXaNX02SbZcULGaeIVvxAtEmBdpmLbk2PZ96xffcc9yOGi
jF1N0jHTS16GqHxzs4lQlUG8TSW01Sizd40EJFw3eRGk3WepxupMlz+mFFDbuEnbfyJJsSV0/ViQ
dOLrFnKcpJL1fWa7d7SXrmPSbjAo1QShum6BVK12sycOXb5YcALKvypeaZ/WNNElmj57KZFtNXRh
U0ulFG8ygolaAbGbejTaOf+Asq8dP030o5lB1NAz4wPLwieIvGifxxxF/XhqRUhUBTB0gOM9Xq0c
HWWrOVuSxt9ReOfnaKF7Hi0xUXxez8He0xJTpoPG2S56RITPqGJWm8iCiT7FPphmZkDTpwF1wj4H
/BDcU6IeVRonQe6qaypWfazWWBswjCchgVhF2pL4un3F7RpOs+bLsfRwdYMgF5GzzvqiF/Sh33W9
jJ7VUP3UK+wRmXhvMAnQVCVV00Xo44YZ0ckJgkELeQEpH/hshVPV+5pJxwSE763u03fFjHlr53WG
Mh43J+bZV8PuEtqm4HoKOx/9gk+gGfIyyNeqI7V9rQQAV+PF3WdULFmyoNSY020FgvmAoIfu+IBZ
NK2EDKxl+BmNogsmSH24qL3CFzgG7TTZh3P9nDQwP6TV3JUjyjPJUUh96QWSTVMdJ1qGQwEVfdGW
g7JqToLFn7mdtYNZOPsFEgOYTTcC2Y0HJs1SZoPFgXYfHa6QBPFe709OHdV7eDDPjMyczbLkP5a1
5nXEBxqil8WckIkPEnJsyxlCkc7kZN3nII0K5SzGMoep4Ix5YIEX/jpd1DzNfmK4b7pRtftQI9JJ
X7ojtn3jYGMrguFOIYH18a9XdWTRG+1TNov+dUiIRmiofvGu/ujgoBvQWc15wP0wYvCsVrHl7GVG
ULddfrHfXLvBmuhk5gbjcrOj31BG/bifrErbWTTMydYWu0TLSlRxyHhXoao1YBTSlPZujh6Cd1Ql
I338cOQcbncmgL2k2HpWrQWg9Z7MqPgdDgs6Osd9y5vyj1qsv+mqW5J2rDG+ZkVIitivFHPdrDDH
zTLirEXVtRuNPtppLiph2jVPYz0h/4UtnJule5xGXdtxqKuO5YLBpykYocNgm/Bk+W7fZmd9Vmeh
T7eqqxkT5mtNoCUHu7FPYTq/rnvoQE/HZjd3+PWKBka2aRtU2HW1LcsbCrAVw9xnO/CjlxipzGyN
+CTBLVH/LJmvFdXs6wJK5BxyrMCwbHaajl4H/DCTXaNbZ4Pl6qub96gGCr+ewnKflXT1SsDspqEj
tfo+WpX047x4NTyGKjpF0aUyq60ATDrFLCASU8X2kd0trOHerJL+uMXra/XWsa+XgwFSxI+N2D2P
zvg6waXa0G90zkR1GDvwl6+JYpproqrW3eFFIzuyyfPQR5E9rah8qIBOcaJuvw6qRy0b93jXhqbb
OnZEukeIC6v3fLMsm3fOyoBcgZtYFroO3VnuYdle4YmKHUKmq5dSALT16qe3MAAnLQJyWf5uFE0k
DPj4PcfmxlJE8NNPJ0qTjVKzze4O042SS4Ci7IfK9NVB8DdELnmoowjwd1pveO+oUUeWwL63LuEY
fxsyW7sSF8FUsfD03UA8B7ypj6U0ObMNDjN0EcqnypKf9Zwmvh3CP2e0t9KVFvMqQ6Afw3vjTWia
CMXxe2c8smD/nRq2GjORgFu6q9h3V9qblxX1scmMOPCm4pIWaMPtxTzWC+u3s+6UGgwGbReFKGdH
8mh1jMWLI36NBFNuvCUE6GGqgCNYbRJL8Q1VaM/kwDCyNn5iQvUAjnlopjvvPCqcM1Co85cS8Ede
6+kpydIJ85I7PBMCgh4oHF8RqvAdZOVhkxi+EHM0jeQ6YwLdRAV/Oa0GHcaRGdDCaoHe8KMq6u8I
7LCWta+DnKojU0vHxwIkPh3Wi65w7Ttt7Rc37Isnqwtva0hjpM3JW4lMYGPJODyGwORQGZuQNbEp
uB/0u3R/cOiLoLNYLlRK31IdtkMipvesK53AwrEnUrc8OoghzjWRMq6c6XaYCHDDLN+bZXFD0adO
8URITEtPw5BDfSoFHE/bfTGHAa5JmPWXkX7KJpFC+BC35AmLS3FgGnnQQmsASlGyuS/leNk10B7P
Am2aDf4owrRThZi1IqE9qVbLcQf3/jBE88Fc3EAZ00HIqTmOArYPKDabOIX0+xROE9uXgamHpdge
mycjFXAPqMji5JQlIS2IpL3m0m0CKB8M1DKs0UgrBlKf6WqgA07Z/E4ZgkEzDBEeUQw2zG5lGzC6
Xzv5E3JOSQJNKaH18HwLhQ/HG8C+FJQAhU6psVUnOxXBQHzQjXerSMNgAn636c6au3xqulGTAyDf
yb/+Na1KszZEmunCoxzBtG0dV71UcvlGVts+tXmjuImeqkL/m0GK0yCx7bQkwjA+g37Sl4aYUw1/
1yje0DmBUFs7ikueMaQkEd6nZb6zYtYMCr3Qh5UIhAduK5s668rB4e2q2QL7AGohTLNdbQjwmmh3
Pc74GwR7QKlKXBdNw1qodiUomSDL6nEbmp06NjPyaVRWdDw6E/UHqrezGS8Bh4S6GrCVt2ZG06gs
qVEWiIHmAvmXiX3kLY2ftOqqgaUnATz526is9kFfVRg9MMCUtQlfKYJODd8uqDT7Z+E2h8qelJ+a
rUXzZfD2RYjS05hgN3eh8z0tqBnR4+zmxUlxOqTi3A2IGuiX+nrDGVeqH7iD76RnqDfVrFgVO0yp
fBKWlNF4Kd1yP2fFU1G6HWm2rCRFJ6DHus5t6U2gy4ilsm7Al4M2lijbyQbKjDS1xMC2Q+1hbKgW
n5SOdT6v1pl5Qd6FMWjMMEesaeOItaWb6EPm4V+0GdWBg+K5SMJ3iLvCD5fljeDfAREjTHUhEA4S
JrjhBSoI1JVALU/Is+jzM9rzbhtpxs/WbI8LoasEbZAtEZrgD1QWnVnRCUifCRlm1w/1h0NwNIo9
uMOkTZ+xlCTBFpHRvHP7LnxGqM6R2SuG50WzKwcsL2GMviTOCBlOI/3MInxIwij05VId094pdnNL
zKMQP5sewMGC0BsfApzQ+C9bl/CsQ1HapqcsXQwEyP2xb3stMBFKR5o9BIBPySavl9s4hWjm23bl
KWhip6SEJtvpnxG67WBJux9edWkj5EblIhak+mN+RIpt7ChhAR4goNgPUfVOBYQaf+4+WQDruzI5
6iF1XG1ya4KOEdZBi+CTC5suY8uaarHw3jtEu8S3eiC9VFptlXPxIED7/UAiQWJVFPXS+ciz+ipS
J32q+a/rzmScdawmcLHVHmqEw2RmZCIAeVEBQN3GDnC3VmJ8LJnt7GRvndQC/kp6WYgseEVehGYQ
OygHhljLOVuLO25rLYinpUKXuCGkwArCFZJlmRD5upmdBnm3kL2mxLxjMmEkikbIWnFih27NHHHM
FMFSaIW7wabpkpmW6YfIgOCUoX4fKgdJgCsB1be30GLvU/URZDzifV0LotUosZVVdfOeJYyZDLue
T4WO0wFdsO+l1NrFDJItHUx0FRJdOI1TJO0fERXjBzXWYXCnX0BYKIkd65AO6zy3b9wzs6nlmyxI
HciK8Q11tH1vBcRJd1i+MawiaSZHUfF4VF0T+W6GdXIiEWb+phvITaFivtSGlr/mhn54/NJkInfz
GGlvH4/qvi05WSBj4zSsv8v4UUmc6B7nupO53hwQGG16oIbXRYumD6HZF2UJdSER8okqNf2YGEh7
UfYtWlztydT1PzptvG+1RO8T55xHHncyekx9FYrs8LjXKdDzdY3qrwo987uY603vsb6NGq3CfvDe
w2Rk9Olqr2BZvHcW8zzSj/Btqpc5ckZGZHy1FzKhMmd5L9TgHkO8mGxQSceJsFv6bQdPFhcGaB8o
XsB+cUNYiCSRIOi/vFFyUklTaGNK3pJseZ/D1vxIDUSTXdqUNL+oMyiesq1LCNwuzVm3xMB5KdEH
4oOKWgWdDcTcLXseUnPo5S48yNnM6t9WiFGfFeyTdp8BvnQ8aUxIPnQdW4DWbgCT/0xyxJt2PwKT
p5WdxrF4KXTtJyu8t4kbcEta7zx1js25gW4vxVJj7mvWr8CWl37o9B3tynPkNK0/VZb+TXhseapS
ckpogUM+aqAho/YAz05WSzYErurqV6jMJyKv9KNTYEMVs0cMpwu6rMsa7duUkmPZf6DB1O4dXMOX
pWM9D72/OvUlc2YqQr4WDW5uTLw2e45vs/1JWVb5ZTnKQ+QS+DkklbenEYnerEP227P7XCa2VhTf
CeuUPSHlk/WwjxIm6aWIj4gO0CutbeBa48SovCdvda464V33GuYOScjoACZh3ADaHWLas+YY3kpM
S98FWYA75dFodAS0KaVM/I29pHABh9p24Xyr6jHetKk5nVpnRf8aGVTbCjvalMz7YYyR4w6DF1jU
At/Cst8b5hgdrBnuVjwSHJjr6eRriDi+da7xPaHPnuJ0OYyz5bx1aPCCFuSbn2nttMPHhhjMRhnr
lcXGRNq/x/Y0v/U2bPHQWVxyX2KMxaVMCO+avCOHab2FxcF8vb80iYPee4d4+mduDeEN3i2jBk6M
RxKMPuA3EPXBfh6mlbM89+7ws5ZMZ8qmPSP41C8on3RaZOwS22Gx9gVASJwLSK6QeA6HBvtBakXF
teN45isMD8kYDiKxfZvF/PeSGfamHFCkiZxupzYhetK1eQwcmiLviSr+cWpD/qlbSkSv9D5NF7K7
dDnySwcuTVYDWBljF5TPsPwYUYtpuWb8QrIQuC2rrRpXxVFsuW9mcpsTsRvxeX50lqbuqW5x8lUw
esn2AgpQJLeySd8jEt3e22VStxb1yWTPfylAoiuJVOot37ZLf9ZKrbnOnqJlIeqzXUzGBZ5GU9bG
zYPihlGsuT8uhozUCwyyEUKL6ptT6OV5NOnmjDUWJOKmielZ/UuQineTJawrJnxoXSosA8uRhNxl
hQsZ3IMt5ehQo6e7KSipDXegJEvCa6XUrxJu8lR/x8zziaQI5r2dl8epOxlA1rcdy/0uyuFLxpU8
2sl+7unVxWtbegrFvbV7xnyp/W2IaKVOrbjpLRHoiRr7oEc1NPYM0u2ObVBGh4FaNrkzE8yJibPe
hpjM14qIz9PgWfiESZa0OxdOrV9T0GzLujo203j9f8ydx3LkSrKmX2Ws9+iBFou7SckENauKJTaw
EqegtcbTz4fqc/smo4mETdosZsk0YwCICA/h/gsyoSCERoycRqAUKktxB9WBMxfpkIJkVsMaMehj
eucE3ABLZuUNgHa+tZtsRP5RefOm3iBbg0SW46i/ioijgGGjrhJ76iOkn9mWuUeAsW9ldz54KoFj
kHvJhntp6DDny587RNCxoTCGk6Yc6hsZKMfR7BHdLVLuEg6pSRyztL0OnNvsP/VdnxwT5BBIkAM8
sZNnPTM5znE4MZyGoCI/kzoAklKl3sWx9dugynCvK/SopYP+gNLFcj8BLKLsyUUePLBtycC+K+Ne
pUq9hYkLxLysth3XxCblQCPL8Q+/9PEFneqnEr5g4LEBDhE85AjJOI3bhf2c23n9y7KxG0EFx9s5
9Zid/LDbsKF41HfTudgDJdgDNLN3RudHWHWUrGU2NSnt9AdgU699RCXuAUkz+xPVa23Kv0II1J6n
wvg+kHm3x6xADaihdAA85qCZDfebCVldp9iyD4X3Vtup92bnBgUUkC60fKCRf5GuQIu6AGjc58YJ
2MRWN3omRf5BLk0UWQ0wdJSXkidlaPdSjRI0alg+NlM593HTOU4hRgYe2qdunxTpidxxdpcOKR6l
Rpc+GB4hnowp8WT5ByqOHNNMxkb3zI3WSt22SrkhyU7BnajGV8G0rFtTn6DoNGBSvEyvHsCwAiG3
SuR4gLpbwGY2aeM193osndJY9bcWub6Nk7bFfujGX6ToUaXucMICuf57mv2a0K7z9mU2I8oj+Iyo
qR5M3KU2JcA7bn/RZ87x6C/DzNykMUowXHLZqGKq+cW4qxQywtwd7gl09Sh5yD/Uan3jzBYmJbKm
szXMIbKRaXImFcltNp3J6PZU716V3EkRbiDRFRVGsOP0Et6EnHRS/FXRFpZ+oR5bFBAaa5kSKsDb
x7JRcs4eQ0sSsx/3HrI2JMnK/LHSZ0Q2EG3EEVClsTFx2CaRY+8D3Gxz8uJuSo47YYpzDesQy6ll
9VEnn0lp2wAHVWOOhzhS3JgHeUScGkHrR2hwVJLYPRD9xs7WayiEtGiKWMVvrszwaI0UFqDMpQHM
0FOTVqc4m0wQNRgeaaiF4OkTokq7RzdlXzXxi+0UPR4FB01GQjFGfY66A9ZKZYpQohajtBIPj8Fc
t4Btrt5AKfmKXGnHmCPCrKfQO8DOSytW3cpb82dLsy1HUxQFAKliyLqiCT7AdTB3mpdx2y9x3hos
UqeNfodmS7LjYmUf0GsZt21n3+g93F7u2AfW0Tk1B+e/sru7M8vWv11R/1fWpk85ykL1f/0D9cx/
vDVB5X0A7emqohq6gS317PR8ZoJamGrspErGhoI0KSIl8wCD4d6h/nHPnHrxHNV4KuQ4Ztt5pKDI
tTQqWBFmceQWjXuzlV6RyY9cb5Be5dDVy5xtIlMeG7R5N2DHSHBIxo1XDT8SjxwBNbRdHdXPlhfd
o2qZsExCeu08LNwcqf5WkQYum99Mju9NjsprYqSfrLZ/TAduF0qbPWY2EZ9G6MR58otX9cMhkvBL
9dqvgPlbJOOkzM1k/WNiZPJt4leftUYbkdqsb3WNDLJSPpLSLpktJJ4tVA62BkbumwFg731sfJAU
7qQhmbdd5Rtf5fS182sF6gOnLi0bn5wsIrVYGdpeUckIqYX+YlKv6xPQBU6fovyWZl9KqXUBumGw
AKtjD03lZcyzvcVpp4xGmdMLSYskeUqnSYe0N5GGmBXTa8RWLExwEKUxHuIsI+U7oCEYQxmlPCPf
IPa6zfvwVfOmfB/CfgNxkpucv+q9HbWEZsEpxjDTG2Nmc/hS8M0DQojHY/0TRazHxLIG9IUq+dBp
/d4zEpRnSrZXc9SewdSfdL/mEpKC4ikMZ6elzpM6mp87AJiHRPNPgRYblHGU+MCd4kMW6yddbpAK
9uJvFsUjdFXRrpvJupBxSKAZKGqbZvmbjFIHYyfbNZnxYOQDJSG9v6uGBENY/Cni1IhPw7wzoii/
oazjr7hu67I4u22gnIpuOoYiqzJ3q7ezG4yip2R2wNprQ/uk/MdbVOMLcmDHwauLUxsb1qlkEU4g
Hx4rXDcRfWkPlRVsi7T6Cn/3pZOdW0mCbS0X3YMl+3ctyChqikqztXoPARq0bzhBpRudmu5WIeMK
ExKFQN0HlE1xGnoeKbVxSsKH+OPgK8qu6Axz187Mb1PSIZ7aFqcGlFI5kkXgg7wfJYSZw59A/9sm
+o3/8b+9p/9f+lP/PPe0Pv6Vzx7Q9R+X6n8/7l8+1f/+8/8TE2sD1+f//d8+0f9hYv0a/tVk39M3
Dtbzf/zLwVqRnX8ydxRD1zhVKLJi/uNvB2tm0z8VXTd1w0QyV7EcrLL/drBWtX8iTWwBu8VwE5M7
+38crO1/4kiiO46uWpZj6DTyf+Ng/dZRXlIV3dIth1bezmmeOeZTknMFZEksqCJJCJ+fdcI728Lb
TeHfTc/m2+ebwRCaSpUUSe8qZnmv2NpOi+OfUul/u655IRoBeHJckbIBaKo1bUIAMGizPYaAAVfi
fun9GZXz96e04iQoR/auPGp7jCVJnuTpI95h2r/CiVm+4B5OQ//yGJ+d0f+ng5gQbx5QSLHdQ9p1
Dau9gw0VA0NCRssvP4TDsPKMpY+Yfz/bkW1sEPKq5SNaw1cOOnSAvVZhMWt2OL5dHoiFKSTPv589
YsgalITVunPzEQ+WKDbReeLYvLnc+tIHzEegs9bzDoum0kjx+cZNbm/Xpg0hxJK5ViJrefkRSx8g
nKKwcAxNbzJbd5QlN7HTPRJHKye1ea68N8Sza/zZ24OH7QYvHjsX9T9ZvUE9FaRIq8iW9mSlPfLV
Ee5VQNkx2Y2v/BohogdQsEM2Dhwbpp60g/5UOurvyx01h9Z/fo3mCBGtqmmRkERuIVkE/i+p5iaM
iq9zzMy0DlxA2/4ujOqK5JwTTiuHy/fHX7OF8W+cDkpjDJ99Kiy4T82vkpPttlSMD5e/6f3B12xh
8NWkHAsEgWuXnNvYHbNMx0LA6+AXXdW+IyxTJLA8K2oK3H8a6Z57y6aNrC+Xm17omnnbOJ9cSssR
1lKs1i0tC/mJppfLZzVogMCZuI1ffsZC9zjCGjUWIdfOugSIXsjWc6SMHnYe4DYvtz638t6EElYn
xFybQJby1rVq+JwFahgEOticBmVxa2WfWJq085edhSCpZ9+cfL7AgrrP/bdAHUsaGu+1sz00531O
7QWmBvCLlfj75c9a6jRhzgZW75iFzJxVusnAOgjJPYqQhhLdXte+MGftFrRp6gStq5WYjjsNensK
zM2VQVmaVsKahVVGpTJrG7c01HuqZI+dCg8qacfd5bcXbq//ve9pjrBCmYmHfA+aBm5bjtATg0yn
ODN7iRj7aqyORdU8aVXxvU5QX7ekTyB6TrCJbqQoXtkUF6bEfKh6MyXi1iZzAg0ax9D7nmX4xsRO
STJsdD3735VR9Oh75Sufu/Sw+fez+YdDd555MWIVuoxLc6H29U6XYWQjTub1FS5fLVU1mGWXO3f+
hHciyhbWhEGGlVsbdeNiLU0J1m/dQVZ+IsV366Bo1UvKCf+YDyDU1mbLwly3hQUitJsJBLCGFodl
F2hZGU76NIQWVtqXP2ipfWGJ6KGakO6h+0IzM/Z5j8ERaNjgurluz089G5xEcqwYBHLjyqlT3hqN
gvYRid+vLezHlcm2sMbZQjihNMfVWGcDsIrsc+H3nzPokOAr0w0kwf11nSREVDXEcScVRFRBART3
CzcaESm43PbCcmAJwdK3fVQVhd24Thfcwc7blSrUJnybrmteCA/ZMaGOFsxT5LlTXGqw0myjh8qE
/HrdA4SICCxSCYXMBHXisL7vFUU6lHgc3SKwOF03Ry0hBlp46SRaKR46gDBxnFXzeGX7Xep8YfYb
ajSwdKj4fNV3SfwS1/3Ow5v9cs8szExLmPyZgsJmgBCPa5T1MRnHk6oXO6yfP/pSerr8iKX3F3bC
gduwFGEn7ebIWeBYpX9tCmTj8Ge43P7SJ6hv41cO1GpMq6Zyh1Z6DKP8LrJT5ETV1xaK2HWPEOJX
B0oYTNZYuWnxC3E6jCFrCj6fxnK4chiE4G2iWiXbP1RuC8hA8vCilrgpdJD5s2xlGOYRfWdXMIUY
zgtqIlrIN1jO9Gj04a0Bzuhy9yyMsJjyNYIiHj1DaQBUGG5BaTE1HVZTzb3c/NKbC9GLVjwmLNin
4ppibEPIY36+Nv2X3lyI2hADzEkxM6Z/Hj+mefpKofOICsfKuXPpzefHnm0tRTUOUu4XTM1At1Cf
jssjKkHx/rp+mZ963roKM7sc6BcNGSFs53dtpN5cbnohpkwhZjtbtas0iytEBDWoP8qhihRsKFMH
qTtr+n35IUu9IwSuYVpJo5ksbIqmfcP9ER2L6nC56aVxFQI2773cjG2fyU4KOMayrjVfECu7rnEh
WNHhoY4897s0PYSAjBH625D7uG5UDSFO7dryM79gOePVf5VZaJGXN35efvOFHjeEjXZE2zpqoYG5
UcMZyh7MH3UR7C63vdDlhhCltu5bYZlgPGBBCWwsZT9iDT1N3couODfzzvJlCJFq1gVZeT2hWyzt
BWP3u96SEHkZPgTVgNpYcX/dV8xfdx5TNrWfwmIpG9ocmZMY3yFlW+SdE4GBsauHy09ZGof597On
SGoR1kllVC5ixL87efzcJ18vt7wQuIYQuCDMxmKgHOYiCjxCmUOGrzWjlzDrHkMoDZcfsvT6QuD6
dS43Q6MQAFmA813yYezq61bMOXV+3jP95OjwuDiPQBr9XWEhw6KDb8vl956n+XtzSAjcPBqmdIC6
5IbSUxrelE2/i7pPQ/JaDt9izPsuP2Whd3QhgFNKR1gwsqcM/gSMsgOaJBXq63WNCxHMQbatzZaF
DVWzvYpbVbV2JV96bSF+a2eSYqeiZXMWSSvReDWeL7+zstS0ELsFyIQ2x/XKteGHDwbootGGfQ3U
DCoBtHxIuIgzJttUgxmjHcp+2usWKr5pvrKdLaxNf2rWZ/Emd5rsU4SvUaPUh71adX77DQ6yk796
rWF9uvyZCw9RxambV703NHXpdqGE7KHTPVvA25ExKVcm1kJs63P3nn0Fsu+NZUIqdidMhVqUxlvA
sbIvbTDu3F31DbqwfKQ1akCF4yAkGsLkwoS447bRoUN8XfPCwhHXrKnIh5SuXP7V5K7Rf+r8vy43
vdQ5Qu/LoA1kFIzRF60RsdfjG82WjjqeyXZyXY1A+1MbPut/vQVunOVW5Talbm1a4HWbsqr2l99/
IUY0YdUg5dzndchRUYYodPKRZNx2ZdgdL7e+MDc1YdkgF48dkDN3PM4hpvdXpHyLp+uqDVQo385L
Se2GPsjpehlwjp7gsykNK4G71CvCyhFHViOjrlm61PuPgZI/GPG4cqtY6pL597PRjGvN7IfCLF1y
6Jt8+mpAy8zSp8v9vfTe8+9njStIolh4pKLej393p1XHTFVXNrGFia4JIYpHFFjWkC4J4aCVCL9U
2xwjStlqVx6w1DFCkMotS2KhGaULKnTrlJhkACWFjXZdzwhxiitxglA5kwURzG3lY6iNxvd1TQvb
ewgXM4tMjRcvM+3FSk0ZMg+c8qtaV8XWK1020HZlvkyRDr06rndWqhm7y60vdLoqhL8Sj72l2joL
r648jIh/jJr8scYb8nLzC6dnVYh/hK2CyW/JcWpDhz5wCzntB9rVGkrV4KDgIlTQAmNUHfTrhlkV
1oRq8oK4RYPbbUxlZ+v1j1LF7e3yx8x98s4xThUXBa8cy3zsOT372msGbA/1hwImffdR671vSlh/
0yaEWgLUdS4/cCGaVWGpKBGzMis7LN28wjG4C91ktZ8WolkVFooxmuvAOk0rvnyEoAPxQ77VQVXB
37+ueqoKC0Za4S/XYg6BiPB9Y+k3ZgLVGpbY5b5ZmrjCakEOu7XgX7ApooIzbEyrSR9VSmsbJVIl
/bolSRGio4KL5mlpUbpI/1jQk2ww2rhwBmm78hULw6AI8aG3E1yZgOlaOth4lfnJypUHEImAdlHC
utxTC7NIEUKiUNVY7SZ2+HJIZXXXe34ZHrOpQGj78gMWhmIGF51vOm06qnqUcgDlgrZtIP2VCTzq
+sPl1pdeXwgCfG4tE8Gg0p1A+5sheMyyW1lal3pfCAKvLSJ/dCIW7kGDeula+YPN5RuD2/3ld1/q
GSEEKLk7PU7mbMeSvCN5s+8xIq7Q7r2ueSEGBqQTVF9OK7c36oR6JZ6sG7VAJbIc6/Cvy89Y6n5h
30Q6ITK8ZCzccUz8j0U2drfYJhpXti5sbjZmGikKP6VbxOZPyaifJRMGxlVvLmLAxqmBYoCPAdU7
50cR2nddBd/juraFuA0DWCW9waTsBxNXaW9bIL9wZdtCvMpda+a6yagWZYonFbhuVN1UDW+x58sv
vzArZSFey8ZGvt1hVcMJ7gZ/z89jYh/zWvp8ufmFGSPPjz07g4ZQGkYlJ6qoGD2gP+Ii7bWSAFoI
WBHuhQUevqGKz4U+TW+NUd3lagvA2XZbeEKX337u5Xc2eVkIWfDBpuQVVeXihRiXD5Oqy+VNr2SF
h/RVhlx34vu2uvORXRlWvmqeNP/5SNUWOkxXPFPvNMaDpIANmhBtNCjiU0fvNc2phkMIUndlyXt/
cDjZvR2cUvKRy6jk0pXKAN/A8hGv8q+Xe+79pjUwoW/GvfULLbGTnHjry9892i67qNL663ZiWViG
pCjC0reei5FocxEY8TbJkexFqmFl3JemlrgSYa/tqFh0umk5voIAui0qZ2Ob/Y+8a67KvqoihC3S
1CHtoK+43lhF0SadwuYU4Cj3dLn/3w9rVUR7dVMN07xsuQ7HyOZxx0QcJz+ib3zVRgxT8e34gjL3
yjijh8Y6eJLK6rtV4bh1+d3fnzt4B75tW46SIIAYR2Db5o0a+x8tnBiua1qILhOMaNlQsHJtmE4N
k0attZfrmhaCqUF+qoinrHQNSGob/px9x1ZuTkujKaxDGUQhTaomjp4QvJFjjrLfydXdLYRqXfhJ
hBYL55IMJZ98Fqj0Xi/3yftxhDf625F02iyZJIgpbq5BK7QbiE6p4TZV+WEa2/3lZyzNFiFWIakM
4BotnqGipp71j9jar9RhlPk931uMhSN/otd13s2Gf0hF7CR1PLU12twIipRh8EkKhw+9UrhdoXzo
DY/sh7YGFfxzJX7vwcKRgnOcnk1zgiI0h1NX6PsMTjUgWg+ZpAhOjUkN4SZT03aLQ9ADWH80xvCR
Midnq9XDLfTnPTa38I7qndZMD1JIRSyr8T3Ofil5fSdr01d7tG7UpEeBLICGWiNYi+a64hwuj8rS
NiasD/owGgiwkXvCeBkyncWH3Cn9V9VCe1GX9n20cnxZeo6wVoSlqlTKfCFwLEhPHtI5mXRMMvse
afFmg4qkvwklc2VbWAhDEQLcTg2UMov9ckQyMEut3aDIT03tX7eCiAjgxK46kyx64dpx++okyrPa
rS1OC4EoYr+kftT6xiPGHSgQVVh9TCP9k9TaO8lZS0wvPUKIw6GGbKS1c6x7coDbl3OKennXOupT
k6xlERZiXYSA1WocIxVGrDdDeARqjKhsebw8YZeaFiIOUUbbGhoysSaqaHKcP3RGubJXLkwbS4iF
YUJoBdMWbk2dAePOCZFlw5or8ldiYOnVhRhobKpZzsSr6+QNNDSibHjkl3tl6dXn38+O71LTBIWN
qpKL/8JTNbvdFf1DPsQr+9rSm8+/nzVvF6OmThrrq9bKnwJdxpIwXjlfLUxHS9gycwdx5alLCzfx
7G9dkqO3ZTzYQ/Qxz/XX6zpH2DhRaO2jeN7duto7amjFbfQiuBnw27jc/tInCLunYeRlGsUVaTnW
8QNEw+abV/fNxsbr+9mO5XBz+TlLoyBEruIZcLIq1uqgzk591z6YerFym1mYPyLeK9XKqYFHVLh5
qaEIXm591fikefrjVW8uYr5m6R/NmVj9TaPwd5VqeJvYt4zD5dbn+HxnEzaFuNWLwWy6QGVFK9qP
XV7iOhDsu7A8Yi5vbGJY15efs9RJ8/ifRQEHDEVD5rhwzTb7MNr+Y1xoRyR9v13XvBDDQdvnAUiP
EkxM/AsxH6y0kNMyZG1l+ixMU1MIYqtVI9vvmaZW2N767fDSdz1yPejpps3+8icszFARCWah+YaG
BuMsDcG+jtVdav9NJV3kvs1HufcGWQjiCG4dtlrkKyvUutC8Hu4iQ32VAukZiXysBPFKLMJd418H
FFVNIah7r+mb2BhJiFCXz6r2Ga20m9pW92WJKPfl7lo4FJlCQGd1a9Sez7IaGcZNYkpIVIW4Kbfw
k6cvjoTIrqyFu8vPWpi8IlLMDNVikltGX0LVuTDDF0dOPpaoc19ufiEGRbAYqs5Z54QcXGrF38mx
/6UhCzKVzT2iiM8K/mCXH7P0FUKo+0gImEbLBSvqHQRl/KHdxGP6s7fS6xJ5qggdCxMpwFmvxnWo
wgncN74ZqNKtjPdCeBhChKNrGCVTABZwqvLO2EiyGTc7BAzhq1/unoUHiAUiT8ZQDi4/9yB8Fkf0
0SzISpebXuh5sTBUsuap08BlHx3wGytLd5lubGNjZVwX1iZj/qCzpdUZsAgNCr1AclPaxIB+qkZ7
sfXoJpqqlS1uIdhEsFufBs0skUbWug+P9TSelNS6bQI0f+0e8Txdje/KQLkuf2EIq1WQGNbksau6
cqLd6+3gWqa2MhBLXSUsTOB6NClJbLoqSMKNFkyumsR7p0IIEDOU/VWjbQgrk4doutlYQ+FaqJlY
xrRV/Pow+mu3zoXJJKLeMj0q9QZ/ehfO28Fq019c0vBgQkD48usvxIEovDBZXSMhqVW47SxEmqYP
YZTeXG566dWFFYi6h2RkpUMePlS+aL7zG5+0u9FEmuty+0uvLhwyfHNsYc+w76AqgS1vZiMCWWDq
cF3r81edxVklT0YyylHldsrgUkV7UhHJu65pIYS1sZU0VgkKirgmbiQHd6wamMLKiy91u/b2xRMn
m7qYIr1bBvhdIRAbDd7LLDl13csL8VoTOppqSlz9+vGT4vlH0FSv1zUtxitGPBno7MolVYr+pQbC
3N5f17QQpZFNqXvSqVTG1JwerAYNVb5jDQa2MBNFkJkjFTjjJT1BpEpHSEV/oRv4+fKLL4ymiDAb
qtTkOMXyggMK/jDhFrGafaytzMSFFVKEmGGTNmVJ4xOiyvhaZ8mTHcq31FwfKcetDOrSBwhRqsh5
PDQqk51y7q9YC276JriLVfNwuX+Wun5+7HmYAlrwRonN1kHl2Az9F982Vq7yyjyl3zlIa0KcqmVU
qgA151tkHP+w8waPw65HXRVjkE0pzw4HcdeCBq8evKhTdskYQQcth4PR6u3xqu9ThXBLVcPPColw
Q3kGwecUkdAk1Nco6EvpYBH1pnD7dqDrlm7WZceql75jMfJC7fc2KqNjRT41yeVvpZ7fz4CvKde/
XP6qpXknfBWqFqqedlzgfPU58D7mPmqm6I2jaXW5/XmLeW/khJXE0ltHiTq2Hj/rvk8Z9taOF+Pi
Ux8mLfpp4ce6ufygpdktrCsOSrdxVTC7MZc8dkhv14O5HZS1FN5C8yJ8zfIh4Tkms9vwcKtKEY+y
X3qlXFlbFkZBRK8FWV2BMQXBNBucmbn8FGnx0WvLW1O9Mksr4tVsO/BKhfWRZLnc7tRW045UN4pt
0vsJ7uF6urIMLHXU/Ilny4BvYCbkZFTBSGDd4U2G1054KqR2pWyysMqISLUQCe9WK8ExhWGzRf33
MKKSfHkGLTUtTFVHYV0pMkIBwty2MrFIIsN3ueml8RUmJznUBAoqtf6pdEz9W4q05jcVnaLuVU84
D4yyrlUrAbfQ/yKSzNNwNfdCxtkpoqcGr0Rnqg6x5q10krLUvv12fAPHpNbvOSSUVG2PHuLJsJBD
1L27MVf3XTA+q7K2i73+vsTqrAmmD4ER3uqT/+DVrMuR/Xy5RxcGS8SaeXrSqJNCPcOSu31s4E+d
eStNLwyWiDJjJW69vOYL8YbYO9p0GygqoojKqxVXu+vefu7csyCxmrBN8JKhGmM5eHho44eGqt91
K+EfkspZ4z5GXX0f6LlbyME2yczqpdMi87M39is74cKa/kfy4uwBEKOQFx6swpU0TMzUsd45tn/n
ydnRoOpNqWZ/uZfmKfXO3vHnNHD2HNIm4Tiiq4WChZptellp8B3PR3+DThXWbpiMVRHOlUH6pap0
byV+lkZfWAVCrwI2180wtL7cW+jgcaAEKG4hvdpcl1kW5ciaNit8pyUn23d8TKMx8piyGyvDvxAZ
IhotD6vQq2vqWFlvar8DGdulpMIl4crmhfhXNDhrFpUDN+rs9FOtQ47LwY2vBMYfLtE7Yy7Pc+5s
zFGLMCsLEJQ7GEi1yRhgVVL43EgSLpYKyFjNm31Hd1hnvfg42+ilfPD70A2V8L4co33nmQdoUHdt
PjxbtnEcC++Ipuiplac19sBS/wob3CAVQzJ1FGo7dQpuM7WUdnEa1ivduxBbIqZN0YJerQwuMAOp
W6kITnGC8rS3qZoRulh8XVVAhLeRRsVnXCHz2VpN+akutHhX6qaMzbiDivbl6FX+nIzfG0vh/psZ
mh9loZO7aKSjpN4WyetEQX2XxWW09b1Q32MSSgQM8DnvQMYWeynQjR+SZKH1C055k9SmvrVmu9Mi
wPIBycF0G6vMiSYbOPenjrrvB9yVBlkrd3rX/ZXqQXxMUMU8VdTrN6E5ta9khPx9mgyevJGCZthR
rx5wjvICFMwzbNUcKbnFhGTa4auCsqiPrOqQzvZcY5ifpBoUmKS0SM6jWnmIqqTcDkmHO2VS4Sln
YOhWNo50QoCuuRn1PN0gCuNsKu4p27rD3MgO/Z++PaGOHVrN0aqkWZq6Und2l+Lu0gbhbprabOuP
xZcKVVrcO9PqQQ2SaB+0Q7OFdR1shwL7Lio544Z9V92nmpc8Z4gL36qGVe9qqcz3g+m0h9gJXqMa
TflK1TUGVMUgIyo+ZCmUQxlfoIOM1dBWV/G117162LBP5L8QB9e2KKD6uzwfZ68gwzqOUfcDje7p
xVO9Du/ZAtUYCwlXrdR/+bZNlb9ywoehUOqXFHn+L7jiFMfBz9X70pDrmwwN0a0lD5JbhmF8CzXX
OUa2/hGLtd9eGVkowRXtLZboqN2WGIPlEuSbQsLzCZtxBUHj0vsoGeWw100Nz0hJ9/AmlrF3UsN2
N7ZY9Ewy1MrL0/T9cFac+fezBUfx4yrp/MI5NeH3us4wg1rT/Xr/pKQ4wvT3IiTmTS93TgjO9upt
hUkbeoRXvrb69rXVwJTVoZ4bV0uMDiROlvrKYXXpvYUdEMsno2xzmlbghGv1tJvtFcZVmY73VzhF
FMYKilCHgNU5p2pQv2Dy9TyinrLxLetY+/KrIUX9ShctPEgUwDKApvuqWjqnMBhAKiV/xUn03TPz
R8lov7Sl9XLVBLKFDTHCPiAzLR6jY+tBfdh0spUPWBgIUeZKkfUQDDIDIbXHRHO2uFXhubGCYVhq
XNjGjImKdqJkzik3iw2a0wjlbJz+63V9Mj/0LKiiaOjtrs7xg+d8sJ0aqjoK+mAr/bIQsiK0WG88
KbHSyDqx+9dYLSGUNQVDctXeiGTr23cPMSvyJacyT1JotHs/8PyXWaD8Bsn9eKXS8v4ZUxHBWINh
SWZiFeYplaLgZEhNepNJiMJFZThtTU+/TphIEZFZTimpOmkQ4xR5Hn70GDEhiV1itHF5lJemkHCr
dbIyKoKpM05VZu7V/JvpHe1ijdG+MMgiHCt0bLuvlcY8TXWx8c0fZv/7qre2hHjVvVbW0LIyT03j
FLsYn229MJKdZdQrkbUwuiIky5KoOGaSbjCBvGPaedsoKm7rvv7QRit3lKW+EWJ31KaoVHzDwBqg
5symA9ftc6jy13SQKqtvAwCR80JPlSlze6i9Gb47kizfZWG+ksH5c01871go7C91P2HPjZWSm8dS
/YGdXHZtTVJPOq6fnCIq5zbNgcUrraV+rRJVu418a/yqlG33fQysYldxDFn51Pc7ElOqt5+qlinp
9hDOY0lK+YtuTmO2mTid3lzuyffxH4qIww+HvtN7Tounscu3dYCNaK7sVKQ5gyHajpjZlazqoIBW
psVCmlwRgfmJk2eVE/O8NtlIn9sHO9lkH9QPcr4pv0qupm/klSm+EPkiQh+F36bD3QQLI4mrifGI
ie4WPMhVo6KIGP3OU0KTzKFzwi/Jfk6NTH0h/2+s7E0L4ekIe1OWo2uAd5hz6tvvVfdFTr+zDuBb
+evymC90jSU072dmqBv45ZwwvDoUHt5EkJOq2ni53PzC24tydooNJU6Oab4t+kPU3eozurqFAXUV
4gBxvLcR0XcRZqp5ZpyCEcXSeOTmY+tYPyF44PTewelKb+MlwRodY6m3hLWmUq1IyVqHtRL3oB3E
wvwg9zUaKo20Ro1c6jFxuRkjre5SdilZfW70T4kfn5TyZcqq684LlrCG9D34ZyNrjVOm/SrLAMNu
B6/DT5eH+/0FShExjr5eRsoUjgb2rEh2Y1uB56iir13Rl1oXtsLCkijGtLQeT1a/bzC/2crchq4L
YxHiKAHsqdWeqToExl3eRp/zSV/p86UXFzbARg/0oE7ZYvM8K7/P3lYdfjmRVB+u63YhiOOmL+uh
U4xTCNL3YCRhdugza+38urADKiKqccJeOJQDiXNZ/C3H0tXplE3IVReH7I0Wf47KChej7KftqBt8
P08tZl5lLK0cPpf6TohwO+lA46g8XFVCHLM6M8cjLnauHHQhoJ3SzCNFsY1T70d2sEn1TkeJGtDb
7+tGRohmaOwWPPZKP2U2VWaQCf6qvtvCQiEiG5McG3g5T+RT3vt7jvybIUXkf7J2VRJeN69EQOMI
v6OHyiUzr+h1DgGD6uyv6hgRzFhgzZRk3KBPpRd9mkr5Q5muzZiFRVoUvkszzHeLoJtOYVuwduLs
o07OLnWytXVo6QHziJxdF02tK3A4t8dT0Nnb3oGHNqbttzq0rzuuiBjGOMUTsUyD6dTMoIEwC32e
UNr2Adx+tHKsWAgrEQ2YYUSuapE1nMzWvDezdF878krTCxNTRAGOQWFQHZ6GE1k7rK/0bRmEWwhQ
G7ssjtfNHiFsJ0+K9Qp375OJ88CmH52P5nAd+kwRFe/wcFZsnxTqCSusYB+UWXUIdCo3cS/Zu+te
X9iD4Zk7gYQlBHl+dKuaZJ8F3krILnS+CPsznV6p2Xz7E2nlvdrr3yPHP06y9YBJ05er3l5E/uWA
ZXw5dHiEUt3ZyXDMsXW+3PRCZOlzbuwssjy1oARbS+2JstbOqoOTbUw7v51Wps1S83OnnTVPRr+t
wy7oTsrwOUseMU3D//zpulefn3nWdo4I6WApXnuaEMXFFHOjtP1hujaBKmrNRfpITQF0EFOm719K
GOXHusI68fLLL6wGosxckmvpoAVye+ory9qpdhzvtX5NTXypcSFYk5b9O4y69lQb8UEq01u/V1YO
VksDKmyvZqQPoZ373QmwyP/h7MuW5MaRbH+lrd/ZA5AAl7HpeSAZEYzcJaW2eqFp5QIQJEhww9ff
EzV976jYYsa1NKsyk5QSAgHAHQ734+dABRzSzYEPr2xeeRw3djp5umBct9NZN4OMWfMNBdCbhuoP
r1r1LfpPz4uW6+iPZzwkTsawNJiv9U9eTvS/Jy3oFv0XRlPY5RVO48JaIEVLf0Uy7YPonwEGC68s
/s6+bjGAfKmp6Qkdzw3nHciUZZFAH3J5nY/0Nrba6Brs2GQZz5Vy3tp6PlbC//q6dd+YagDSmYWT
ejxPFjotXXATWnllS3cO5Bb5tzL0ZVbcYEvL4AmsV2m11G+n/JqSxN7wm2CYd2oa8VAZzwZvh4VD
33RE86e8Rti2N/zGUoe6XJfZwexZr1EadHQGkpsvkLq+4mb2xt+YK5V1jq7VbjxHHJrHeQhp57RX
xeHlbd078xtrVUYaHqKweHb8DCglFdFTJVBtqq91d+1Mfwuqc5VkUKSa4eIrd+qhUNMtOPKVhzok
qpeT/+7l77FjV1t03QLNINJG43iuLQibe+8o1evAAHSLqqtHFpW2yc05El2CmuqR9Ney63uz3thr
br1udVtmzn3gqw8QPPFv2YLw9XVrctmSX25XSE0GuKIcc15Bxp+SkIFDYWnXK3HB3twvf/7L6EE5
1WPNK1yuNU1k6B1FUb153cQ3FusRFs7ejGWZjX/yIkA9hmsI5r3juLHWljUXhQJnOBNhEw0pIOaZ
QzfyK8a6tygbY7UCiU1vLs3Z/yOEEH37ymE3VhrgGRl1EgwvdHISHtTnZczfv7zWlzzQby69LZYw
Cuqg8pFVOYvgk20AqR3MY60tkqU2zQc/horYlS+xs/RbejqPLRMpJdamMLxL86XqzmRyaNZNr/XF
W8QgtMChgCWD4dzX/D3T/b0p5z/AknPtERvtLNbGXiECqcEUvpoz+mEzPU1TLEKeRhRQCke8IyjX
J+ssTpp4r6wP/wnR/MXK3GH2IvArDuelcc9iFA+B1x+D9pqA1A4knW6BhGUZ1NVUNOasQ54oDUVo
79lv3YQg7UKjdx0hsVz6lEsRE6KOL5+5P1Fwvzt0GwN3Fg9CdWVtzmzM06EAnktDbbjps8GaQ8m9
81jZOA/1nYJC+sufuXf6Nobvm7APa2mGcxFOcedVCQFdybq+ztX+uby/bBMHj4SbG2xTDgxTL/wD
aMoOr5v4xvbndQULH/SUAXFwWUYcmae6b0waQOY7ffkjLi/F32zHFk4YOQqFOHDVgDCy9m5moPm/
qCGUJZ7Zk3YPXp1P0IHXqBa8arnItmgGccQQPAFtfw7XMJXQoXGh8fXyd/n9PpNtfQyZJdg7AFZn
b/5ELUty6EfZ8hqDy+/9O9kWxcgSgraehPo80SjN/SUdINz9uolvfIuP+Kh0wLh17oWKR7CQ5sMz
W769PPjevC+r9cv5XJv2IgJh9blpi+KTS2QJVhVJvr48+t6aXz71l9EjEODnEArUZ+79LBoBaecO
BaRrGJ+9uW+chT/4Q17VGH0K+jY1OVqITUiulXZ27j+yqY+QtZ3RdtTBcm34EcIKIm4ik2i/fqNL
fQqd/m5h5FWgYJDi/nWdGlCuO+Ekh7NybHcc9egnpK5fR25Dt0yMwoGqtt/Dw0GVg8TcD+dDWI3X
5Ev31mlzgkqwuJTu0MNkFyfmAGsfPDYkcpXPlrMqbWiYhuIa+9zlzP/OIW0OFKrB0KZxdX+O8huO
EsPcFiDReAZH1duXT+zeB2zOVLFow9ATCi8hprg168eWPeVumRIWXIFA7H2C+9e9NmW19ApVnnOz
slTTQMUCJIZd132v5mu3zk44suUxBN5yNXUQ9mcJ3TOnhWY7E8fS71Vce/P3OkI0YmmQzB0E2V9e
t9/bIt2CKWZJ28qCrf0c+v2t09V363QtLfX7oUm0WbB2bB1Qn8PMNa2B75VZsVxraNkbehOV131Z
FFEhoUjQuCZlbbEcKJje0pfXZCeGIlu0Y3fpSPUsAMktMLyLh6b0AO0YLAYuPY9uJKSY9deFVke2
Dq/KIpEt7LGaG17lZKmBvaOoK+ZKzh+awTbXlLB3qpdkC3jELuf5AATLOdCfauOc3cK9lV2XDS5A
LU3zbtZhBlWAT2Acu+fjGI8oo3nhcuWU7dwnW1AkK0MP0jMOz5h8hwTlrVlB/Je7h5f3a+c0bIU+
y6qx/cSqIJvaEbpabT5mXu40b183+sZPruCMGqFg6Wfc8+OliuK6+vm6kS/f55dblpiKaYCtp2xY
ZXQEiytN0SCrrqzK730J2UIigfbpg4IXU7Ywgzw2WEBoHjP/LvdlTP3hppKP5lqD397+bk09HCgU
SrHuUoGOiuv6iF6WNy6vn19eqb3xN/Yu53lwgV+asqpfnxvXO3Zz8LZzouKV53MTkkcOJGa6AWvF
8zGC+IB4GDsQmoBYKHvVF9gCIz0IibJ5iXAw7TilrTO8dSWEWnotr2RYfn87kS1AssnLyZFLMGbG
8IfKfUSn8y2jOsnnKwiEnS3YAiT7plPDqrwpc2SX0LpML7VMNMAmLy/Q3vwvf/6LLdBSrw66aMYs
QqMHkWc0dsajvOuCK9Pf8RFbhNfY02Zi/jplBMVjOdTnlsxX0Fd7Q2/MmEsQ9pbtDEML9S1V9ADS
lPTlVdl5V0N04a/L0qFI6palnjKvUU+aD++1GA5Dc7HmotVJy9wvC23KtLvA4bR8XWWZBBt7jhg6
foaxnbLSLseQdo+a2ivudO8cbUx5agRyU4CF4qDSe7coZFIyIPt5/+nlJdtxe1tkFwK0CZniacp8
fz0uU5eM6x8TR8LDcW5m3xwAzcfBKq+0Xezs/RbqFShStboUUzYPNinw/jU6fxX+gWyp7IaegJ5I
YOtVMR7K1gMXmbYH3fvXutZ2duLfoF5TDV17IqeMVbNzWOvmZhXWP0B/5fvLW7H3ARubhgLTBCqH
Zsps6aSL82lS37zSvWIaeyt/+dBfHAYJTYtKBAYfnRqyEgLQFnp4ed6/z56QLdIr7+mqA4GhSfcd
lNaxRdvVpZVJR9+i4dozdcfhbRns+lFDUwXsXFmNtFncOOo+BwSiJ/xLT8mVW2dvjTZmrNGxyvtF
4QjVJBk7nbrlesVf//71SLasdTUnxUTxfxZ5JZp6+3ctm5LJuXNDNyuYOtjpWmpp7xRt7uaKRagA
GZiYZ9mxJVDflrz42JlrhfmdjdjCu1SzDuBbL3FKC/dh8Od40G/GwEN8dA0avfcJlzX85ahq1Ubu
0F62YQ3SGs8JwYc4iEhc6GvQhZ1F2qK9yOjVbT1jOxpkk9fFy6gZbsflGhx3b/iNJbcM6XEKCEC2
OALtUjaehm8+vVYM2Rv98ue/rE9Po8kRTY0rwT4oNAoy0scLmiRftua90S/G8cvo0p1ad3KcMXN8
P7GeF/t8iae5uWIIO85ii/Miul8h2g4v2mm+JNoJ3qER87hS+6ZsurOi4beXv8be52xsOSpqX9AC
XyOK+q9B6LyNZnvvRvoOSkcJH7srcdLeWd1cz4GEBlcr8TFg2Kfhm8CdYh3cL+GPl7/F3vAbY5a0
tD4B5VXGvDae+KPkn6rpRtVXQrGdvd7ivkxR+twsOElhk8dD1V/IRpJiuGZlO/50i/kinV/2gwrH
LL8o9oRyHZJGsGvP2L3Jb5KJZSh8kKXijVD4fosep/Y5sNHjwKLqylHdm/7Gii+phWDuMX20/p8W
65xmhJAv7+ve3C9//ouR0cB1l8D38fxw9eeelakZywVA4musn3vjb4zYGz0DfhRvzDonAHlA2Ln3
UKXU6N6m19RjdkhSwN7y1+8QGRsCCI1WaD2Ml13Ire4eyy4a84TTSebvZE3rMOtEP5cnP3Q1usVb
B1wGZUCK8piDYGVJG78T5kY4IiiBxoyWPDaiZK8M2bzNMnOJe3Ca5YC7UH4bF/q2HPAGhnbp11dt
4xa4MwmH5w10jjPbNZ8t8+64Qqe3fV3li2zpsqbWY2XgiiGrtUQarfsKcrP7OawOr5v9xkVa22gR
oscgq/3QgHC++CZYfWAzuXZR7RiQt3GOLSmqxULJL1smaCgzZjvUuYprN8ne6BvfOE66HYzG4s++
u6ClQPF4pPx1jR1kC9sZUfKDDiHmnvPyEzHz2eud08vrvjPxLVRncitbTizvs9EtUobgA9ILr8uL
bqE6EQJkSg1OzOS8qepRJhFHEvzlae+EsFvBRjJ3kldg2sk4db/I8Z3iwxlZn2MhpmNYeagnX+sd
2VkgtjmY+cT9SallyHylD4UQKxzKVWmivcE3hzKcSNjX0TBkNIJm38yds8CXSl9eo73BN2eyagoO
3eh5yAQZD3OIerEt+vDKBuw81bfIT7/wxrLJezhcVZ6syhER+OquR3tTUhf5XWh5C8o29iAJeR3p
MtkiQkEJRBogNv98TECHpGpb80XX4nUtlpB3+esVUtdNKShRQ1Zgv89Vrcu7YsV90ObTfMUidm7C
LSJ0jGZwUUOcAmiV91VZxFHRncT4ygBqy9Q2wfWAK0SOWR0xdRtBt/EHZGHCOVZ0uKZls3OmttzR
FCkSYggfslCBi3dWw7d86q71Ju6EyVv2aK+CDL3sXPCZ1E3C/Q/1DN5cmYKppWy/vGwTOzuw5ZRE
lOAoq/EReRR8KF3/O3SMPgQM2vSvG39j0IXpaKcsxqfLcsPb8QS64ht3fB1gjmwVg/1FtC0Hz0ZW
UByfbnQgllaIrwriGFfsesexbhFojc/cnszekFWzaGLG628u2niYq0+iHpJARS14DfzX7cYWhGa8
2fZVxwZIF6FQfvGvk5NSoHdf3oydw7oFoOUadGYB6FyzsKgqBM4lxBxHfS2e2xt9E5GXvdeiuxwr
pUYHMoI2bbo+e93EN6Gi3zo1iCow8aiSp9xXYAj1ryQ9dwxgCzEj7VL5q7FDxuY/BDodzRSX1StL
MX8WMH95SfAFOCUQGQyZRMt9o+7AahQsVya+t9ybe7gmpej8AGNr4vMHhW4pROfutVhlx/VsIWN1
NIbEc8ch631HdLGU7QQWlW64C+q1PtOqzO/RCFm+rnJPtoR0LjiZw24wQzZ49Sks3HvPu9avvrPB
/wYf451eK414xcqmTZhpH/JwfWpA63DFxe1sxBajo/sAiq4GMYtg5mSmKS2U+7pgdAvJcahEV6LE
0NBAuJGVlzZLcwUBsjfrjbXmYCGwkzdhxZ2ovM+JXx096fhXJr4TDW1J5C5NAeBiJgqhlvNQFPoT
dJI/FiPyqFNIb9zW/zgo8akJTfg6a9jyydmGRT3VWmXgWiNuPIaj4HHDfXHthO4do82Dmjurqrns
VOa69Y0a3E9BPx/Len1+2cPt2NuW8qQxbq9zoYdsbQ5MOzEgWLd0bRJ8ahxO11Kff95a/w5dIltM
TlkP0aBpo7PCAauf/L6U/duigxx0Z5J2je4LeisZAdDofRE+C6oOYBhOczmmQfd1bcRd6LC0Bi59
vSp+s7eum6B8RbbU9JA1z4aOntBWeuwK+savzWuOeRhtsZzWc3gvOrtkVR6GqUtpd1xacu1F8dsM
IEbfJMMBTR8AaFqXzEWTWkWnh3GpU7TzfFD8mmLub+0UH3E5ML9cIbmAGBB19ZqVg6eORKNUoJ3w
mr7N3ugbLwCavh518HzJmmA1TUwd5cokLJn//eVjvTf+Zdd/mX2p2mqSyBxljvCSca4Pvr6GAvpt
YIaFuXzkL0O3go4VUhdLhhRSJ2LHM7WT1sJy0PmzvrFJO5TUPPdrDgySgZzAj5e/0m8PLD534wjs
QroV9Y4FCLAvfM1jp/+wLNcSG3uDby51q5qCAfK5ZG2OS7f63OsaHI+vQh9j6ptg3FkZlCxCLJmZ
yC2d2wxKX28YVDVfXpm9zd6YcrBapzEVXTJok1R4r/ginvvoyrLvDL4FlRUsb10gPJeMDF39PkQi
EkB5BT2BK7d4+HtV0hDsXn89UHWj0X8uoi5T4AJgzz0NyptwkdzcIQWXd+/mgLr181CIqvJi4var
rGMFLI+kMec+jlyMoGXoTZxDNUGdWSkJfLcXtsHbpszn6CJ0N1Y3w7pcQMiDnOo/wKsxhicZotvz
AM5KjjY92pjwrh20MkdBoDVyoLMm+icK6CDpJczULXRO4RNSq6GokkwSDI9oZB+i6VQunfQei6Fz
hlPkLladTWeFfz93IUssX5flgGrwzdS47EPX2vFrUIbsvnyLS8eQNV4I4MbHtVXkW1U67YJCzOj5
mQdZLRDd9c1Y4KyP6CJsl94rUtuhNgTR1pa172jtTj/tAvanuJpri0ZDMozrzcwG3X73CC0Mhikv
KZDRq7rqFn13MrxtoGezvhunuWjfQTFjHTOwgITqbly1nBJ/kni6lxq6KE+d6PLiKbf1IA6iRYNq
IopI+UnjRTk5oots5Tc2L0WZLoMIbYyXc2dP0JPtnliAjpgfYPcKvCSCpysSJoT+ODQ0zz9BHX76
XEEUhZxdE+o8rUpk6U5VV0s/Nq0/jT/1hG7ApxpNX+3TDEXr8NzkEwinhVFKJsHYhiRZZm7D2De+
UkdV+z4kE/rc2FTmmnFwGTjIBnVoftVHu1ZMJZW7OAAlL6bG1lkPHPhkNpQiLzEHYRZKn/SnplEF
P5U0Gvw0wtLmcYmX23qoZV7nKR992yYEkM6HdppCdRiBfYTLmKB2XNwMaDQKj+NqcuCOOi9UKTpA
+inRejV3nM/cjbWpuiAuelp9JVCoAk6sDuxd3QL+keYuSMneuaN0ZJbPVTvGLFKyQ7+Fg5aFauQB
/RgsbUCwrN1UJU6tInzZIajZcVV9GcaIJkH3zBdr86RVLXqhuQgG98B55buJakIPFuDPS55MU2/X
ZLFlUcYm4Ohd7FWEMzZ4QvhpSEQ0Pa82KIO4WgAwRIcmj3pwdfKSHTp/NDbryKrdpGncsn5SIzrR
YuhW6OkUqBn3TST6UT07vpZGxsCJEplZSmT7SNeoXECgi6aS9kdQRX2UGmB810OFDUR30YLOfDDY
lyUFNLoY39FQCT8JdbsEabP6fn0Ec5QlsemLlT/ycoYKZyKgaGQPIIKfxzaWvZrlWRVeGBwdUFeF
N6pxwJ2RR8QH046q8OtVoqPyPKy+IEciVPcRStjvfE0PNvci5DMI07eBnJryvQll8UxnVn61xHTi
k+nCRnaH2iyyFYd5mJh8U/m5VD9RlqT+AbRKbjjG6Bn3/JvFeGC1i9VU8FIlAvoxHWjTDZkjsNfU
I73rfMKmk5h9zu/CxggJVWOBJiEQoI/2/SCdZnoswEtenKpGNPlPt4D4tcZyeE3xfYDMkE4tMs9L
IsphAhi3ocAgSDR1TDe54dBdBufMxI8NDnv52Ype6Dvc1GGdMI6j+q7tBW4lVOaL9ZMT+UX11hcq
V4e1RL/pfRPUkTg1Y++KIzeTmEVijCfRAbTygSHPwAWojMH2OXtphUBGnwD8bxpomFBQljRdGcyx
F/RK3qFUU4B/MgwK7+BCa8xPteWRf187zvzFV6HS51bY1INcfRXPIDhck2p564IIeoWBKyRMWFzm
a2y9/tEWIIWuhjfC6SN7qEcefq7AusITX/m+eVq8ln+ffTKADmS1pQB5mTJ1VrgrZApSzurEQ1PT
B8Em0ic+9d1YaSgLB1EFjYIckXYbhAK6z1XjndA9HMkzHwMoOeHW+Tou1X00+9VwLi2Lzi7THMa9
NN4QR2GjPoO5XMpjxQSFkdSO/BS5WOB4nUj1yOvhO+YgvtLVK7+5HenUm1aEPhj6rA/hKVC7keDg
WBC435gqHG2CxzNdU9PVi3gjPUG6h7WoQGZuqE/7OM+lhoZHG/rFfbNw7wip3kuHELmHkh6isGDx
7XTHoLPbw6+ugypjYRwzH6HqV+h71fYUqzfjskxsDUHEWLdUe3EE+qkxLsWQR4myXUXixqLRNFZ+
O+SJLlZAyPpxLJqbjq39eusJM3UxscEIjXB0/kbH2WuFOkWNdNbE5RXI3EsnRBNFgGTDckNaj96v
nliA0ACxkJ/MeJ1yKGFS1xw0mLyQJa6IP94OSwEOe5fNLUYpoVdk+2gs48KzaxPXQe6556YQ8I5R
jgx5qoehCBMfKP7wvmocjbNiVywI82vLYr9o/f5zZ0ddfQrWsuUxnB2vjx3tG5ZG4+y26WAlFYny
Itm/lYUl+s4WPhAADqSEXXTwo0f6riY2v+g452F90E7b1bEng6JKRytG71yhxQ9q6WhXeHRImdOE
M9ddT45bhXlSdsqpTxoU8jRu0YtGPrLQnz5zePIO3NudXpJ2VpSlK4cDeZrKpm0PlVUtvWl5k/OT
dWUHiOPM5gT5J0rT0g0DGofGXWWylJ3TZACRrrWOwXw8NvdknccpacYJIPyph1A6SNNn86nq0JF9
55ii4ve0C6MRQhfYYAAcQKf7ZQoG7pQpIHGT96bwkQaJoREUeadlsTwbRgRJn430hjwGwXJDoFTT
+BXINpQ6LX3Olgeoh4GUMFTd6KUqpD0iJbDwzU9rDkWjuDARVpTn4EV946hF1Y+eBaE1jlojxzUp
6TzLZOr6xZxaUAeXN30AirfUx52Pu7fu1iWFP6vWTxKwbSchFAjTBKepgdBJMaE3WWlf5hlUKuCC
UTmXXgpQVsHPTd/0c6xDBnsLKjPn93xCvHDpY0ajTA9bwvOrd13zRXRLaJ8acMD5Kay07EGA0JgV
ZPRj193ize64h97tAWGClcsP6JQFoRdHICjOLDL5eCeZtzZPFrey85OYAUgt3vD6ouwk0YmhdcNU
TA1Dwdo6zkRv2ECHCHCrAX3hmI39OSoP1TFa5W6FPQ5Ce/S7QVYHaiFy+Bg0IC4/ihYnBsl32hVJ
5UBPBKyNzlynFZo+eDzlfPoDUOuapDUlVXCU1eSvb8Hx4rEUTKdiSui0gF9EgW+1SqoIUpLHMegr
GZd2HpyDDMTIbxd0K7kJz1nEU9FGOorX0m1pMo+ju6SzjrCjCLQa/4Lmavvj6HD2ZmxWb7nXbTEU
J8lqNZ66zlicebXm5kBxjTexdSvC465AsfokmkWyNBdmLT4hJeFC6aE10IYKbEM+csBwzbEK+Nwe
oNZXInkeCK0goDub9jYoIBLAmprfovQzeKcIKKrivNaqYe/dtVjSybOPi8GCtC4048ecmYe5AggK
16ttvnvQuoMyn6o6CGpOi9sOtwZyNeyYw0U8eL5sdWypdEnmMCh+HlG8EuNNNYFvLa0lMTzFTSbe
2YFO0a3ru3MTR66JaGrW2taHxZ00TRASlFA3QDzVHLwKD4UHKEbI4BQaDtBF3bG2OlVrLtc/JBSD
wUZqjcMfod28TtABiJYCCsJmds96DlQPhdemNcfQ82r26Lj+HKbOMK8/tJo8EAdW1s/wUBngcRca
4M6rI6ftY1d51Z3HC4IJEMqOzWTBnAfp+DBHq0jX+AcB7pM8wU1j8oPpcAvHkEwN3eM8lCEcrGXB
D7cMaAmdZ5OTQ9nBS8QDwGRNQoLSkANfa7DmNUPEPsumd77mGrFjvNZB6yRLBN7p21zwPEpnPvZ3
CEXJCWIiOON2FAaqHgFo2oNcAKsUmgoKW0QTGke0DJaY9SU0BLpxWdwblY/BczlAau4+XMpGJDSU
OnooEHJJeipxnThv8w7vPCgS6+nJZ0F5QbdT72M1CgmkpGjUI5cOM99GGyxFHArm+2kDL00ylBMZ
SP/QsoEgQdLq0OVTXUNizsI19Mj/4FaGyZQxwOGuThygKvAubJSEK5wAeDnbsfZkIiJESnGI8Oht
HcrWhd6EEF84AulPYSnmKFO86WUiZTezU7668/0wTv1TO4vWOcG7DxAzDy7nbJLTHJyKwCd4XIV1
WZzCtu1m+KRC8wdRkGl4iDiLgiOdx3V9E/W9YF9UUQ7fF9jITyT4IGox4xRCY2ZdijnRqxd26ZCD
W+vU9UB63ukx8MXJw/SjR05W/sCWzoNTrEbvLWnz+Yux1aJO0xCwJeYlspjo5uxKmirk3dVRdKMq
jtJf8Bbh1oJTklROQJM1jOx81rYPVRJUVUffq76y9N4bF2gK4N0EtG8ZdbxLinrGCce9qS5MAj54
SNJWgmQ2JpB5UUcmGjakfd9E8hh4aqge2qLNRQpSPL87+LSmeUag9djcD4Zeri3QQ3q3Te9667OH
zp71DMzXSp/dQuvhe7kOq35fSTEEB0hV+fMJ7wjXf0QYo6KffcUxS7TtUG+N63Wx/qPvjsg4zLK0
3buaiO4rhXCl+8eifePdOqUOos/tatoZcSIetAmXNYkOUdGW7CaYCW5W2UIfNWkdMoO+X1kK/kRH
FZQ9OZFDvuBBiae90lpEh3pQRN+CxHkkpxqATHFcapBSX7jJR52RkVY9NEQh5oSHv6J94qAbvwYv
mvXZPdVoysusu7TDQ7fghY83JW+642rFPCK94QcGesH+KFLItQrn3JjCQq/AlOVHa7Ve0s6L0HAy
GoC7E9cfaPcQwku6ae6xgL9dFHG6BHeHmaHv3qjxKRhrfcAvwMw2eX4jjnlY0egnXmp8PqhAcp05
JAR0T88TlW8XvFBnPBmWvDxPkgZcIGGzOubogYE2+uTBoVYiRnYJgVoY9I0bl3L1fnTQM+/PunVc
e27giMCe4qioWuOANcN0Z33VXbp0hV7nH/VMQSvoLXX31kAp5Yui1kMypFxKGw+cld+nsg6bjPkF
eS9qFrmJM5EcXEN0xbu4HeFHUCYMLGBT+CiZtguZgsMAWZfwQ9eDqPgsOw4mZ2K8MjwFwnERs+WF
Yh9CCLy7cYfXf53WKymD6iJWwqIBbkUt7A/HlIJ/Da1G8mCd9IiXsbGolo/CXaoDEjG0jRfZ8PVK
M/lOdnbbJIn5ibrKW/RkQrM0C4JGpxoJ8mQIXA6CKLd7Uq31T2HkXVN43ksQblPZtKMtafouW/Dq
SsFND46OxfyruP0f35b/LH60T/9TIxn++7/w+29tt/ZVUZrNb//7uW3w339d/s3/+zt//Rf/ffrR
Pnxpfgzbv/SXf4Nx//W56Rfz5S+/OShTmfXN+KNf3/4YRmn+HB8zvPzN/98f/u3Hn6M8r92Pf/79
WzsqcxmtqFr193/96Pz9n3+n3L3UFf/j10/4148vX+Gffz8Prfzyt7OBHXW/+Yc/vgwGo7DwH2AD
DihnHLKB9KIAP//4n5/4/wh5hBuMcyTZ2AWmhFedKf/5d8b/wTnU+UAY7jEaRJeOo6Ed//wR+wd8
AQPJrQcUXOSjbPt/J/iXTfrfTfsbxIme2kqZAbP5Hx6s/614YRyO5wM+jBD0C+MmvVQqfykXdGuj
+taR/vue0++jbe95zZ+RaANLQIC3V17hV7P2TMLC8t7165+gCc3PxFmPxYXRU97QpZXHvGzuDN6O
yEYVN4W4YcTYYztFbwbfddKVIsHptPa+tw9BjnpWsbhp1eJhCtnbNz5CcSRdwvDslFGNJBJesLwF
syQfyxNy56eGhQgA+0YfW2UBy74kNVaKW5wgPXnS7lJmQxk8KO8idTSsd/i+d50Qz8w2dwN0nmOI
WUGNqR4fA8aQ+smfiihab6WjbmdoJ0nivQk6NDuuM3tDOiSlqTi6rfgKoarbelUn76LRUUVPK62g
QOUgeRiF3btmLc5DHX6meInR/8Pdly03jmNtvkq/ACtAECDBW5IStdiWZMvycsNIO9PgvoEb+PTz
MTunu9Jjp6f7YuKPuaqqzLJokSBwzrednt1mPXo+bM/1Kjb7TVtk0mM6PvbAWnmBZm3BJ6r8eYbr
ZKjmoxZJ6iOtZWsp4reVozwTLJMn0+iVqyWIAxhamcTXY5Zuok6uyEwDQBaebZdhqucVbeS90SMy
IH2sJHJHnFpsaWF8wyw25PPkb6l6REIqohBLnI3sJpnlmhpWu4XOr/HMrUXVg8YocHieLDgLmb2L
aHVdVQkPILB9SUxxxva6KWJyg6i8O4JYS39S9k3EjB3wH7QUHX+ySsBlZnZFFShKg39rpHo2GBVB
bCVv7hS/kTJ+LhJ9cKpDgrkVYUwBRRlzu+pjfL3URAE5TeSSaBhOzPk5L6JzbwNiNpFizGznLZLi
KU6sx6bM35CYSoJE5GcAtmg9n6u0sX09KMjz7e61MK9jW6VeUZMRgIEJriv9LjEF2Guze/gdSg+O
hBro5lpO7qHLipfIQXne8vKoQF15QPpzr02nm3gZXNdV4iYdIClmwCulhTglDIAOK2k1XmaLCn2B
UF5q63aBlG/hBuyTIdpqJN0GojSUB8gywyLRaTCD7MG8TTfoG8jEyZi8lqPL/Z7mJxKXI3gQenIn
dqqmfAzEnDyrQdw0lkMggo+XswhpGhJjIoy8DOLGS7ouWyGMniOMD88R1Q2qqtF6qIqQq1SHA1sZ
quVeB27Bx4i0bAXh7g699SZx5IxYnY54dVf7lhXfoQBUgU2S70bOTq5j7KS+ZSg1cC5jyJpRxW+l
Eb+1TfKj3yT1SP2aZ0FvDyDEJxFYBe62kvQ2n8qtBGSH92p5cgiK9rqp8fO4PLZJplcQEb2M3Ow9
vDkJwDETtydprkSSvzkuPfE1IpFKT5EY3kriHoAubjWiAL0eglevuVSmm++mKAWTGYOONfkaWxaw
smG47nJUG3GJaQiAGQ6E79OUrAAkXgYwteFQGQJvhX6Mz5ZCvHFbGmQjAa2KkmRrW5aYhBbfuoj3
mDCTE9AoVZ6M8+dicM5woMUYZTZeMM9I+11AZhkHRlOeko1iEffSqTyroQornnzP0b9LYt8MXFjb
WInNDFFiXMf20RHfbInVUBpl49UQ8HqyZqfRFsqva7oljnnKqvT7wDDwJjqljSRwmNq3xJkdFGgQ
OQhUOo1zobj5Kz2Tq5QphKe6hmc7CDVEDizyK862PQDx0M2+TCe1cjB5Eylw1THW+6hX1wnX7hqL
54gWZfba2iwxhRFLvWkTjHjXq1qbF5cNGEciozNGwL1kI/CiQYUQq2HkWooH4VSixUC8cvdzwQBy
XaUtu+CoOxlmCeeQ6FI0XfF+zOojGYdrnDi+lTlASEwE/0z8Kersa5Azk2eO5TYC5uoB0Y891WEP
4BMP3TK9RRsA0qjfsSipPQin46Dq+h8IEfJRcdYrtxBbAqaJV/itjKo8DlM1rhouMCC5RA9XXTVs
eJxT+4Zi4XotpKAbqxsxbGUAOArIeVN11d2EgtEbulKAWKmeGzVfHNtdZxO50YReInCnnh4Brzqd
69lDi2kRXQleCFcQNviOuQJIi4Mq8VPmobnBSyJBQrHU9mqV2V4h/BZO4SBmxb1RjDKoS8sfRk6C
CRpoXz4oDvKvK5UvDLv3bWPKUFuCYhJ8lRvtSpFrOiOWoyX9tRT51Vwj3c1B4rdCWWiaaPHs4r6Q
/XckXN00M+4eQW6exzsDjRrpgSvqzKcVNT1rKuugBwBCu8HPBu5nbXU06v66ybHeLQo7Q4PO009J
ZICpMRI0tdVNrJFrWw2IgEJpVAVW3rVeCx4oqBQwJFq0yht7EcCOcwDSjUnMBG+YCQiguhi2pj5a
yUDHdhyAu7pPlHlrNxh5mKVgJ+R000Dv4DOCrQsVhTPWT20hrszxhql4pabuuQDS51WDc9eMfmQO
BcCvEqTQGhDmGBB0f/D0oRE3jdYnBoG30mrfiADKbGAQpNk652bERKQ6idGp9noEo6DWUUPc7ZTe
QUU0bes63llOjR0FP42xkNGaRPMawm2I0jEPwZ1zz2naR7Rvj+bYvdoYPOn0+F0Tq8dLW4II1uWd
0yLzLJ7zxJNsOIAoTnx3mPD65A+LydSDkBS8i73mZKIrIylEoAbk15Ju7QzsTgwuOnT7HMEls4Dy
OLbL9rHp+iDD0o3r6Buz47cIcI1XMdECBDrFQ/Xi1AMC9hzuenkM2M+2t2iwJ3wA3w6AXKJslivN
y4NSOQKL5uxlstS1meLYKtAh+tT9piQstdR1QnvGx8YjFnI3WmEZ6wtSut7mNn4eKn3Pncd6iqZV
XuoLUkqupwaxOKkxLMAW8pygufHkuK7i/ApL7aop8KGoMG9QzO4zw0OdNK1AA+S+EdELd4KStY89
bLGh2wlAs8Wmy7ILMeZLrezErwfcdpIr8L7zDRT1Z82bCEEm68iU6mD34gonsLPFiArMFUavH0YE
axHZc2mAaRCJJ9IuXalZrVEnT1ghFbBwOOw3PEs2YJXNrZLK711VbxsOjGYS+YbVQ5hHc7QHyemZ
kdQrZuEhmIzcuPGa6kr5EIzGKxrzVUI08UYcn/6EI9mqUSSmfJNJY0dkfecW5bOwAKcKNIkIaoIy
gXksi/2scSXWTad8SDN+MDoGJhw5wF8yDO3J7RsSmTwwHMwknYSHWSPCxzljhQ0CKRFdsaJdWvvU
MFaEorYqKb8DZCpdmngxZgZnefY2YtQDKMewNnMLeFhHYZdpmWck2h8xdmNXR/lz/QYbkAwkZdMq
qY1Nleg2sJs04NlcBDDygY1z7yENb/1uZqeMf1esisOERtYGMSYY73oLCsmHwQE3xMAlRqsLpsg+
Z9ZqaPsDw7k+5TWWlImqEB45FI+bjlXbeSjvZlYdJ5491ybSlDDHVctaBMicfZEaH4cZzj6xuyBt
9MXobJRZw3U6NTpIYbiaJlwJcAjKvMGzGM0C4ry09mOU57tizrEhpzjeOmH8gCV39HmTebl0tqWb
P/OxfRzS01ipF4c5Z7dwXyMj/o6m57u0wMdl+agCrfLXkXb7KhnxbNPYDUCblZ6b4KWOpvKYZ/qi
6RT2Il13OehUQlDgDv0MrMFyPKtsBo8rK/dc2/jBq3SLxNtDdIBo9rtBgJg0BcZug2J9xsvrQ/zg
N9aQ+tUZNrXvhsSGi6d7jgznmSPiHlQ3NbxxUo/TCKYqKx67Ino28exnUCk+Ab3jG46+TFl+lLgE
xsD2uwoRJ56g6SNXmBCbkgkzTG+NTNoQSci90eAIY7x9HbBKQpsPR5p0HCCpqzycuJxn3/NJvgFu
XHed/D63Bb5egcgr80Rz7AlNl75Bk5N6SPXfdDHuSmMT7m8f2BQdl/cK7kcvspHFOUIRgsOhNjwF
ktvbVE70MswTCAeMUETqJBZvrnf1WL4QObJg+BG5SRzkRvr282Yb+bBVQrYoCVCW1olf9s49Rpt6
4NufKFoD18+SHHHr2L7cwjj3fCnPibokJN1DyobHYKPs6OHF8cw6yXxZgL0acUiUGs0isdsGxdZ0
HnV5jwEpVdA2SJQcbB55vUXSNVlUfeUlpwxCib5NQgpNREo2QznLHYhPNJ1m+txcjcDokOSDkitt
4GNRGG4co9yedJehHIi9BBrnMMHpvkHiCeYJwjQSRnEyerXr3kWj76r90F2BgpZBZ+RHFAQsgPrU
b6128NwUxbZlTJcs6UFl0GTfO+ZNXcIY2LrOWeblXsTPXYIgAbxr1xRVDG7K97xjr6zB1HNrNTeO
FaJkKnCSF54USgQSeaYeZ9mpM/t4VRNwspNkr6qBhGM5/f1eTReeYH1rNEOViNqgyuqrdrAFRier
x6JsHp0YhbFILxKhFQlvUTI2AKzNoBJo6fqo8lEU4E6bYS+/1RRnHMplG3IQ9zwiHNFJKihlk3Wa
jrhtyfDYOMtCJnJF8/zKbuYL9FyVzngAau4ZIqMz5FzKB94RZpnVB/DZBhgU/T3J1GM5od4TNswk
lhF7IGFvG4qY40aiCS8TimOSc/C4us1WVJ0SadsezgwMhkrqi44m2+ttVG/QWqIbgt7Hw2j0Eq8D
dCboDRjO7ZTlzsoByxIa7l09uZA3NHUH1zo5kdRZR7bzOPFxDBMnex4r/cghl7HLSEO0WR+HMcK4
GsRyQtNyN7riG/Jv5wRoe6FwqiTxckZbycvs5I/SKK9yEDD+1HEDWonJnxPs2qIzKl8iqcvLnfiu
EO1bkTihyYwn3WIj6BbJ8wxhwlKx2Zb8XtXZc6/A0HfWj9Y1aUDsbFgVrRRQLTsnR2K9QEnmV3Bl
o0q18EivY6CyfjShioojcZ4dYH9u7V6kXVagEiwocfLW50M4v6BobBMFGouiAOE2EOzRrbuVjaPG
U6ILZgdmeFYXjWeMHda4yiDlQj75z5O8lJX0dRXfy4juipi/2ZATpAOwzbanjYdxp2Ha6QsrLYEK
HgUluA+F2eNZwAS4YjEbzC8G/I+yfcLc6c5HJ8d90I4PbgwWRZYoNnUNSY5BVk6PIz7OT/Ap3qEf
2rnaOZu5eejmbAOzeO5liNtNbBYkQN2xb5p+7GAjcOS0t9Rh4n5h9qsGouIwISdIHneDwX7FOf1H
iOh18tpWqnrr3uOdv0Gk/xe46acf9D8QOLWgb4GC9s/A6Y9/3CCNOIb/659g7IK4/vrBX8Cpaf/F
HAsYns3dXxjoL+DUNP9yTaiAgIsyQYFZ/gs4xd8wsJP4IYLxwCZZ5kn9Ak7tvyyIzYGlWugxGEVY
8X8EnC6a3X/DpgY1GaoI4LPvZOctdv9Bs96Bs3qnePkaURCUNLovTTM0WgBGdbVzx0Mv3eBvt+gX
dPt3qPZjKT1/nw9bIFImp4pO25lgcjy4VtqTxgNSBNSsfvnzNT4OjsS3WmTXfwOBiQT1lROpkVV+
O84sYGUHLtgOpJSrYXqJEOY6JBiUjkl42LagMoNwByKxL66+iLg/uqcLc/G3q+d2gVGvDMwXScew
KpZNxfCrdvZMVcBgcSQM4g+Q3ujPfWMqrspi88WVF4H3R1d+p1m3XCNxywYx+oZg4G/Drk22HLJ4
KfW+J8NxbJy9A71layBkb0q/kFR/HPiG273ciL994Yw14IghmdzqaeUe+huEND7EsV9eQMTEX1zk
Y6KJv3e0GGZMOzVX0RbaA+C7bgDneKjbA7DioK/cIEY/8sVdXO7WR3fxnb490SNxmxEjygBthbN2
Ub6jeo+ox2VyzLkFZHAOr4phD8Upt8C8Fe3qi0t//ADZexuLPRugENGtbyEJCAdy7MDJ81ZuEgVo
KQPxp3BH2b4RdhDb5he39kMTl2Dv3S3CnYwKIF23zVCp1qMbWGQKjYGFLl4ZVMphNFPovVn4X37J
d3sOahEtmoUfqR/ru+SHIXF0+sBao4f2OoJa58t1+dndfEcVZlGbQoFsNVsXSEplnQsT9al2fy6f
GTuatJB91K/N1LonX25wn93Nd3sPgKtO9byufq6e2DIRSt0de23eN8uixWY0pdnL2CbH//Juvttt
zLFAqLChMdXaJQvSF4ws2Thd1ADyS48AOwMzgqEQs9gF/h0owBer5uPoGSybd5uNYY2QEkwEXtpl
YcKM5yCNvoXmPKLPcZQA+4p81T4nELxHeGGGrj4WCYVaH3D+l2vX+ewZv997bHC/MwVbIdieIJ+J
FK7fI89/dNOdmiMUxtA4q/wBIuV9VDTWquJyN8ccbIKC8ga9oapNslIlpDPD6E0YLBerAIIxAnxs
hEZGYvh0kzS3aRK00s28Hn3vbhRIUi5YsmqSNsBu3wcNzQ8GdFfeaKB1oZ15VYw9OheotLgaUg8S
OwhhHxydrGDCuE+lucUAtHjNLROgaq+fkjI+qAlVbpcDH5LsOJn8Wpc8wMCIZm0VDoYwzgGq/xQs
+008lAHM0kGRxHcV0mOkCYlUbxY/BWtrnYIXBMZ4U1b04JYjtFYvUjyb3Res/2drfHkYf9vw+xhy
IA7l9taMmpdljZcCkmwLB0zkBIl09hWWQ9daX+0YH+/IWMi/Xw+Fv5uzpo62UYIYnkfXlS8CYVZT
AnFIjQc2rzrwVlpci1l7LRYYNrT/7jRg7w1JrBVwjpMi2kIHiGvxCOg4FvlyHnhVdRsPGqFdt4iC
xcYloYBwvrrwx6UZOOHfvzQk9LSYpBFtoTI+ljC4lrWAQdsKYuBPblrv2bwf+Kmsbr/YST65y++1
HMwqBmXxFrbXLdr9Xa7ae8hJNstdTiu5yozroc2P3MQZZNM9gAV3++crf3y2Q4f8+zfVRtlnqrbT
3SDcPeZxodse9so1cMbpfY3/Xg74P1/qk1oFVMTv10KCbi5AtFF07OQYR2Qn+HlhPHqp7oVdYtdO
wCjOHgI4vjrUl63o/6wnmHi3Q0+zakvIH8ztEHV7Y5kpM94KVwfIXVmBP9wn2A0j7RwiFG0cv0qm
na82aSRWfnLxd7s0g+fEyhMUM9OwX/SAUV6vBQ6HtFp8oIvfyKrIhcGl5mVZd1XG2b7I3UMBKKtp
b8p52s855oU20VNtVVcW9VUMCR9whcZKfaPbUHst1Dqzdo1aV9Vez9iKwqxdG3h65trooETvYaug
G41im2LclTCwy5IJu+wGuap9BJX/1AOmjn2Xln4M8G28teb9WL8wAEwof+JwGMLWxRzmDRjFydlA
NuVg/tm0qmBnBVAc2ihVAKdo4ODZo0VvxmIfsUfObnt6dqeHmr117FKUdyasL1Y4OG9Dt3HUdlBb
wtfEDItsQ4rQnJZfWsXrdgpNREYjSBhQNd/yeGPU65TCBvATWgQJV9OrQWiU2EM6IRvE2KSWdYAD
6ZzS9soCqt9H8w1003u3bra9a21sjYwP2GasZFhnvbsdZBAPzc2ks+2cWncYmBH2ekvIfMPEg2Xf
D1UJma7e5BJnKF73rmb7NOfr2E3CWEzfTZl6jtB3bg4SXVniDcNzbrUS95Acm0j0tXL77FrldWkV
r50b7x3YW0w2egSDWbWyV3HeBrKAySWGqtU1VqZWrxiSu3brErLaNqjT8ttMEPYtkviUCA3disae
w+6LPA3nBhQHYoM8Q5VAnAS5QkbFGYAitNAez3/EyQKPVMgkfVbRWyI3bb/O3SAf4KRorfE6XkgG
3oak4jOomdGrRnvTSLQrYNRgZwSqL3YjDBfSqFcFhbakIb5QgzfUY+9JHXJ71yT5XtTiZEIwX3bT
qoH+322goo39WWL/j+kGRqE7kPkHIPIgnhjKEwK2tho9J4wmOFKs4oBu6dxlD1amJaTXqHYd8IHF
kN5mxfhal4CySrJ25xoTDnpI8tS1nROEDqfQbTrTjU4ECJHprq+vG7gkFlUa9IHA8Z3Cvh70hpJk
N0ooaSZ23Wv7bpQOlHmTN2ddkBG6iWHe0TBidRBh6CPmroN64aeBjAikzbxytrcj6UOOTtwqzA3M
hVsYPPwI1kE7PhYaMmjwVKJr9mmfrWL6ZNQR3t/pFEvIRJLIi1Lw4CxLvkEeuIYtE8hb71nkETur
lzmOXyZH006+OqM/22iWP/9bTQCfXcsq2vfbRm8RPrwRzQB8vF0lsQgwBiac3wrYILsIJZU972AD
/POG/jMm86Pd9V0t4kBZxBxlDVthFX4ko2vZ4QUvhnWVkhurRzqEyn2mOjgkbxSvvKoAkB0t4R2A
1e8ajaXlCN+RTVDnmIRTE5+Av3TKbjUUkHNHGyS4wSWHYEgL5kfoLTIn8xj0EuUTISg/MEmFrtyI
r0e4sLIlalYYYVQVsDyWIMrVqqcauONJDoDLbzOnh5Cm8Z1zMc7+n2/Bz/C3j27Bu/IIQXYY+TfI
bGvFJeT3+whBhfRckiecMB5HPyWmfiWA0w5y8id9VCCtXdSsxDY8AnXitCUlzK2wOdtwBHRJ4FIL
SWb6pmjs1SnO5BeHr/sx+APV3+9rhJkMRjaeLeNooC3BIewYEKPIMQRr3LFb4t60cwbAHSw7PbXU
vBJlgWS47gpjzdbF6ECPAM9ZfUzo9QCBBhYZPIikwSRY3Oa49UFx9T3z2vzR6rDcXnpY1po8ChWR
XtY4aL1sX7mQvGdlYEflGrkFvhogjeEE46IkuMGVWuabcihAsGM01bmQq8SdYUCGysd6zYu3pQXg
NoGUYqH5MxiUHc+E3qtjhSdagtGc8Kt334zx2YQGfqRXNQdjbehTZ+mAZsSj7SnrthDK0fTAKNB3
JPaZ0MwJY/LNMrmqHqa6W1dUrAWYV8Sx+Q3smzpV6xIf31LuTVG+koXtu91TCf1T4ZwZTm82vTjY
dPu5/WJZ/cxh/mBZvR/PYDjwtGZwC23TK5GaIcSKJMypfYRKK5QZNAfZlnd3PXiVEa7C6amJT7wY
/IUf03a/mnvhY9TdmfVyLfJ9KgOVJeBLfzZZu9HRdxxi8KmJfdm21xaMbj1Id8fqfe1GYZq1BzdD
lFJSBYuvurAhjQDdRcUQxEIHFpTuahnK1MFEl8lVM8wbBuY2tTlIgmKXuc4mo02QFjhXObK9m2qV
JnJllvB3McejKEf+/Pr9nGvw0X16h2cgRBLGNhW1W54/RYqCMrevcXjvyTAD/e82uYBaJHFPtGff
ayM5Q3OP9NVrigeXyfzGajFUzG5OZrtlWOapNg6zXYEezO5VzB5ooba27KCXp4HBKhDdmc/LpYke
JHqSJ1u1V4jX2wuj2lgUnoj8W++WvouzdJZZMGkjBK+6irEadWkcjLw51KO9lfB2xE2L6aP9xtTP
DDoaTKSBL6la2d10XTv9Vif1JukiWNRB3+Of4JnAltshifsgvTRLysfSMVd3UQpHesuhDYKSCz4z
koUZF8HUCnT+X20e5mebx7suoZIUcLgFk17SwDHuwjxRK+gVQB9Hw153h8nAH2O4ei057JnufRFZ
cA1OXg78pdFu+DVg9jP79aMn/q6JmPUQMUAAxlYgxBKbl7Un+qB0ZQKog4IpQ+YCfMtXuTOeUX5v
rfkO80YzsedgbvBAPLfpTrBEEOrDjwh/SZMt6jzscMVL0c9bQNU76np+lKP6FN3tXFXpzkJECHU3
I9922RfTGj7ByUEB/L4fOzXjDlRl9raJ2D7S8aMF209tB53pM5Dcqb0vO3mBeWVfTXvbMoK5A7P7
59fm04u/60yyuTET0Q6gHgByanB/TSn2Ve1+K1i/jxsYpfWwt7RcLQ/QTfN9iwdqIGjhi+t/0l87
9Pcvn5embdAWcou0cA5tHe0tiFaiPjtGKXDrKl79RK1Gfpyr9PLna36Cm/wEsf5WI7WZ4RJz0nxr
oqEtQYAIcVw6+gXEyFGUjDEGnfL/9um+KwtIQjoBwb21Te3m3sauzKN8XfPvNHb3XJwLyNsqqJrg
YjoaXO+deN5j4MgXZ/0nPf37ISNDU5quhaiT7eIaHAs7nPsbbYMjx9dUWRTS5ks8eVmtH7yN74eO
0GHW8dyhQ2z0wYQgG9abe4LvuNxZozfC9k01kEguDiamYBNObJwAKEq/nC6+0IIf/gbvToASjozO
smaxzXBOInYF1hxES2Td2sb9hIIkwNyYkObCB8G+zvBr/Xk5fXrdd1ting9mOzIttgpxGBidvLy7
TXRR1EFpMyP6RwR2iTEmdXZsqi/v92eP9t3u5yYmgzlkUSL2feUDklPlRWhAAilQP4M7nm1ukJkz
AFJPe7krBTtN8nGMumdMfDhKINFWywIZfUXYfPJWvR99kjcWskp6dNV1Tr9Fg1wpxvdw/IYZIhyq
guxbQ+9NWNq/uOufbBzvp6AgCwPM6FC725GmL5A/Ij+93TUIEsB+JSyo7WA6qKqHBG3wF1f8bH29
26oUl5IbAiuc481JENxGMbsao2XhJ4BlWx1HDZi4hjAlJIb87/Yq+11fVcQ9n0YohVCrD3s5Q40O
BqjHG7xsi0jB3RMQcCbO2y++42d39d1u1XOoaWApNbZwDe6XDaPCezrNFs5tvact8SLIP2BeDziP
/nnN/0ja8P+ZaMF1bMaXsTCfyxZuq9fXH//4nvzjKvlWwjbWdn8XL/zrA37JFyzzL4HMWOSv2VQg
uQZL8Jd8Yfkbm5mUMBjBXcGwLf/yfVnOXxSCU+gd/m0J+yVfWP4KRi0miEkot/CB/5F8YXkB/r31
O1Cm8kU6wQXGflkcgonfz3JK3LkyeF6dZPEGlGrCMJY2UwHQeH/Ky1XVQggO7baTQ+8G6KGM2q9e
zaVa+dNv8O51iaG2t9wWvwFoCi8HyqPQaFTQ9o7XeotswkA0p6R/hrfHX9gv1/j+89n9P1vDvyl4
HpIsqX98T7691/n8D5Tn2JA1OUsM++cr/Z/ORqz0uzjJEI7+my/yXz//vw2O9l8uhdwG1kIGQGIR
qPzb4MgFx8nmOLBB/mZwtP4SwmUEEY0mdyi18UO/Fjqz/kIdjwngyPpgFn7a+U8WOtb17+sM/kbG
GD4Pi90CzvA+rd2mUV7JMpnvdd0cXPqDabpr4/KUtuZrapCH0ZlfU27tTSHXaJf2Nu4eOiT9AIcA
/md9R9M4hIIMCW0IZClglUgV0GzjGvMQbqN5WCPK2x/LMeR5csng3fUFWTjkmPp2lG44EO8VRpa6
GCMiAW3rO2gVT8g8uhDorN0sD1y4DvSzqPi+FJBCJlBWFrahEesA5kqohx7aBbeqfgyZBJeZ1ovh
wz1bqXmHGJ1VYhubAcJPwDEt4hyHJ2T5PKCOOfSddTVRZytM2Jkc44xxtIeoACkmkk3T55teGJt2
Kp4KwD6YXVX6df5aKoSwxBRy9SKrfuhxQcMAuXY3jYsUv9puz9kUrVkJDTZPnMYjUPoh3wuDt9vb
zjHvqhIoajxlTwV6XeQinaYE8HkUW14Hee5Q2EfggnfMwY+2JqKZIKUOxgFYjD0a94CDRgQ91b04
LFWn4iZcXrS7NRToAlOtx8K5YIzxC/zhG8XqUy9h14cwNQR2vWYs2rg1Ple1CpEAbLxrVBvStL8Y
M4U8EMlcY3Wbm7iFMDjcFbAp2bmOvLlOgwk4O2DzHrFdFVljmsgzI41PWuiLswx5DyJKcr+vEP0+
pMWJwvjoISUGfWlzwcAYkELC2WjbwVUqaz0a9a6jHYAe/I1gzk2KaZqUqh51HxAGocaF8Z7DNDYP
DQyM7oDZiCAV6qnY9vOLnVvUQ7ZQ7lmOOgpZXU2SLvJSPOFZNZdUzg+jFa00MQ7A1veIxKq82DA3
Pcwhxkhe+RJ6JCYGjyc1EaOk2luzt89IO7gx+Dnv6utqVgEyJ8CSHBOZPJVmZvpKlT+QwQBdu1in
LtdeJIofM2SlQc7mby0bFpyiA3QBlrHKfSQd5T4fu3DsGOYvpvrBTa2rrmCYiYMMr14ecXO9XmEi
tGO4HreMtz6G1rOa7yQDpKy0qpGLZ0AOIL6VVAfMKCOoezFSk0cGZMpjAEJn3ZjGxhzIw5A3l8xE
a+9UF+S6nKK5v9a0vDUruG/GqrjkDtJIphN1cxkYxnwXD0WIXLijrKwAkWWI89Bp5Dn1HapQBCjG
IDhilu6QaRQMokX+XbTkVBgrhOdduRTAf4TApwBTWgIL2bWZiRXUUiRKZKfBjVYgsnzHijdQ+ewQ
H/hjENkmE+YqWceaXpkJHp4TiVNiBka9PIyhXTkqWmGGPIyDIK4Gpwnvu3K8irtxAP4aHSygIj7e
/Ccj7UL8vt7E9Rs1VThQY0PSHDMK4a5S6VNUk2co+1cYGHrVj/nJ1FPuI5PJgj8PevamvWpG9loP
1k4lkPi7fFt3xc9fVFalr0dYg7l4w6yinZM7W8RuXhW1fGSjecXc+EUTfjYtc18O7GVI9H0ESpfB
7JATpLRZ9a3KpjvSGBueFhstsMQMpO4Zo9g1XHqETs/VKN4GYGbwi+8IpXtmXSOJ8JxW9hZhEc+1
jMNWF7uppuinF1t4/L+4O7PluLFr2/6KfwAO9M3jSXTZM9mTekFQHfq+x9ffgWTZpuhTpeOHE3Hv
fTBDJUvKTCSw99przTmmb3S/S9a5kuk/VBbvKz4FFG529jlD+nS4RP8Za+E4LY9gI7Cy6Tg06uol
kYi0NQv85VX4bZxolBq6twTFMRijvRasjU8ye8ffBTBcX+3zu8GApFka5AwJa82vlVaOMq6um0Z8
FJO5tCf6vbom2kqI8Q6CBgEfAoPO7NiWXtQGN0mVfwEgdajmYF82ym0e9JcRv0BX5O/T9f+o/vlT
VfEvxc2f/qn/C4ubVZ7w53XNw4+m+fG3/+rbrnnL4r/xy6J7a7r4W/Tjb15DUf+jjT/W9Ou/9l7l
GMbfdVE0qSEU3VqLnH+W85r4d8kQVdkCnWAocCw59f9RzgsU7YapSjrJmaooKWAC/1nmCKr1d/Rd
VPIEZSjXc8B/UudcM1v+dZtRz1NgyaaG9FpDI6x+TowBkq6ksdjO9PBftQrX8wB5zBKWrcD4epsP
nD2zVKu2Xd9rh9AQgkPZNJqjhqPwvAQAt0y3HOTpYrXJ1yiqKsp+cXLSQhW2kSE9EfaRen1UY1XW
WyeZjH2gLMnzhy/j8v5uP0qc5fXJ/PAhoF3osg7ZgjmsxMX6/CG6MFUMuAagcQrhC5Ci+2SYtMNY
x04b69kTPoVNs1hntcQPwAhnvlB+HpB8V0dxUTkDh/V2kHqSkpNQFF0AhcnN0NSWX8hWDp+VZm1H
NPdDzgQpKTXLnTMs/oOYaO4UpNI2asTdX38iitVPnwi6hqowRhAtnYPbetb7OOQ1LSOPQlMavEwt
in1gpoar3TBwJePXGJRnI8wcOYkPTXdv9hmqJanxlaq0vEktqRPQ5vkl8CO/Aadhq4uJ8nP9PaVW
p4uQG6eozaNtNCiUjOGEdS/ovxLZoXlKhG9b6Ud8WmkdnmSxO2iJkV40IuGTDmJ90jxZmaT5vcSl
GC3hWImMTOIOm4lALNOWrSTwNBrJK31g8tpY5SPIYAirxZREu5jk3ss77dtvLtevh8JVeK6CmRQJ
KaTKli3l02LZxMBFhqaZvMKq/NAM7kAHFs+Tgzqzx+xl5pc5SZ/SPgUmC5F6M0lWgXUWOcRsWKkj
aF/CPuy/6GP3psyKshvVC2KH4FxR7Z8bTIDASW/M1R08qEn2JKrYmou4vxlGXJ0F99o8mPagN54M
n+1S6cNRaJLOrthN/XZUFeRH+hDZw1psiXl/oxQaucSDKkAVikms7+P2Swzz0/nr6/JpEzE5Qom6
IZqaolNMypb46biOdWxaxKjUt6bO3Bwj910KvskSBABMxc9xtEK/DH5UMDaPMYwBJx0YAyyMAS9K
V1l+uyB8mIMGQ7NQuOv/fvP+1u/l44O7vj8UrSrHOUnV/g0RrtVy08QqeDsxo4VqtNU9ouXCLjQF
eY1EspShsoFpzQJPKzfN0ygZCF4LsMS3gR7+JtX081rI1ZJM2eI20izFNKXP/c1qaMFcjJq1XeJU
3esqhmS08IhEjUn2LC3KH1NDRR4OvCAGU7GP6ps6z/AgG+0TxDhkOXMo4R1vxYMs4t8Ugyw+6Bmm
/HYY90xdBt+MzdybK6FzJxF2JEJSJsmG8Ltw6muw0a8XVrJENgnGHHwk6XOMFseFVUypBFsAmdAM
EsCFzmj02iNz7GGAOg1QCL6ZLrtSg4y20NOGMTdmajsSIYYEMrGO2CKHTQBixu2wVPltmeAvNCXt
N3Gsn+ZS603KezVMkYd3bTF8vkknAMSKQkDm1kplVEUJ1fVctcW+U/r8IfwxKVm+ifvwMKSVtYkG
TieA+cSDBCsTv93vxPn/tpmoVJhcOgovjMI0H9Zu/IfZEZmZEBxDPdxZmYUp05gTdxZASrRj7grJ
BMYkbXVa8AvO9CR2M7xj+9lQdpKIKqshn6hBfpfY0gyuQ43qcK8tnfzYQ7x7/08l0KQbVuJ2r8RL
Zlf4eyFcLy0CuzT3sspqjpMWff3rJ03+taO9XmTZsExDkzm9QY/6fEMUsmq+39tYFS2/S0dktEKW
ugLnW5EjYvXaLbN5NqbGr/M7cIPNkU2FZvSgPIj9MN1YjTQjOagKxIjG6GDHZlFX5wnpYPsQrJQR
jlG/y6KQxKuF6Nc7mfpIo1IyWSnWnsyvX8cMmbhYgk7Yvu8gZlAk+2mp7UWesiepXhAogvy2jUGX
nUlppKNljIcSZ/9FC2ZgFnEsHYM4utCeoq2faE/6gt4FPVa8aaZo2LVIA5BNGqoNkif0CHn9psiZ
BUMw2i9mJu7zrhPtyrqNMHm/6AtG2FXd0xsNtUSQHfu8QH1mtudOGb8x4qOLsF5hVREWbOCL4jYC
hJBO9buaGZXSz7nXRg2G5SWo/GuVUQK43kmzJu1KiybEPCVfqfnvBB0AhWQKHkmipicX6FSogA6T
2P6Exmjt8kxxw7Iy3aow3EpOkR2ocuetxlUPUi035Rj3toRdc6OOgezKPfN6FgP1sgQwb6yZLlU4
7BOAukRrK4qoH661kdAnz9VcJ96ERnFmrL7tVRpGnTWOZ3lVggha2N6Kq68qjIRDPOWaA9QFxE8e
JKdkQJMjj5tFbeK7UsZAHNKPuS7vPdAIDU2XnCjm6XrrGFpkeQ3SBTpoHcZXpUWKJ1UBEKG2OMjT
6k7PBsR+uty4xSwoB4z4XjHm9vULnjIemBCoyS5APsb6Op7IkD6klZI9qROWUESC5vH62qKVJNux
l94qsYs277eHFmKWz9tpHwTpbZMqdBWMcD5pRvadPp4JcziOfSkobsayfLpes4Wyx1fDRNlG2qD4
4Qi8pUqCzO+z9vFacOltGNrB7KO30pC/Sey367+UzxkEvWh24tGAthjhMJ2NXr3MU7FfJ+2gyhfY
mTJDU1mXdtQk9MMC9r8S6CB0ITM+IKWaPGhjwVEIQguEZnyxgPcfyDyGDK2RnTDzpfkt35qzyP3P
YKkyr505ckedZVfRfdcpvlGr8a1OrEOeKNVZa2mnNOnTBLLjYg0Yrq73rwZ7/aSPdMnAmgebRkvb
HfUKIG2qgX9VeVWS9x4KN/2kAdRvUCmJ8akPwmVPH+CmNtuD3lfGPjXzeBeH0lsIt+oi58i3JHpi
T7DAuZWaSn/NQl+aNECtWn3mO55xzGkBvQ91zJ7MIoT9FFbLjZRGz1NtJmd1HsgkxPmMNHXuHRj8
b7nUFhcSYBHlWfVyqIu5f1pywfT1MGOVHoI7wZR8I+tYFKQh3eqjuGySIGm3kiK0d2hHncrQLo3G
JwgzSTlf/zIOrZI8g7441u2NVmx1EknvyQqA6m1IdDN7yy0GIC3DVMWOXKNcU6uMOOj1qw8LZRcW
LUeIOYb+nsTNZs54wLJOfpFjL2zGH5OVP/XCpO2zUqETrFNrD1a7Kyv+rIjO1W1yLGGknmR2KOjb
67o9TQLNRUvFe1+arjb38jM8VRFneSHsr4/UtcTHs32YlvBnBFZ4T+dEvJ8DEw55kT4UbXc2e0G+
UTQurLyUz4JEgy6QymPcj5Lf1k1706TlhkQeno9kjua3Whvv1TpvdnDrFy8LyMHeNHknnAUwMdjp
Y4IupwWZ43osUvMi2ZULFnujy2hcT8suVJfmmJOvgcIdsrF6LtCjmJtriYk6BSbYuhGKRlOelVnu
/GpAXondvH//SJyrYbJMIF1Cy+SYo+tHWcLGlg+ThKa96e7aeeCpE8WO+JZp2uhtX4D6rDLXzNXp
/XsnWDcBMCiEXpPNUGfKgB+TTvN8zpEu8a2mixHdaGZqXxeSSBwfkxqV8vUN5kDQNvLcq0CJuVnM
roKXIA7O9TDWTOzYvYzMXVYeB1V6HrSZcI++6L9ku8Ya3GXpxdu5r4d7oOLs80ks2vMyQkwH4n9r
Dkt3iARBt7Wmg05skOmp0G+KJS2/sLnYxXq+JirCzgl8OTc4A2Q4Auw97Q3bOqtjW1p7GEx4idmw
e3i+4Fvb3J9Gvt0qZuiyfuLrwaVta5bBAZ9a16ezN2qTchdZ56DW0LaJw6MVC8tuInXXNds+shuy
CjcduSXbuTfx25cDhPIllml44/XP5Bsp1kOYZfT1x3AHulC4JTIUDkEH1quoLoKpaB6d9QRdNw9z
FUyLqxV9C9rYfNBCDWDMYM1fhgi5ChFKX5dI1L2QHUlWYdIVAEM2729bmcuz2Jp2MHZQ6eLWjpKg
fjUy8cd1Bw0WMcHfX/FQD9VyrGoJ4fd6Y12vCK7LwVMEQT1dd+aAs3QgLu3ODGXyOo18j2Ii+jqm
UBsqxe+b8jDOQfA6GjpBLWm0zaL+Th4joDzC4PY80rUZ3FpxIu17WtVbAMbU1GOoHb6gz7T85frN
ToGQAsEssxMd9j3p0c2t1bfnmPiQQ76opi/YjQtyoIGdYhZE+omcsCtpl+ZwpDdNQwXZ52bkyDL6
uyzKl10yWMoFlQmQOEMWv8J0Sw+mPNyPlREdBciYfh61j3plBYcrqqg3Ar8qYCWP2EDfS4sGsBa1
XmcLrEMgXqrErtPgyzgb1auwGmagpPwotG+IEqUHtTWkh7YbDvIoihgVstFVOGNvStJD/OsGeV1Q
27gRYJPVxNZMWYMCWCQ/OQIeOFUNc2CW3DDHw5cupfJTFRNfHKbCMcy4vB9jQH3XvYDe0tfr40/D
JTgIiIYDpmin6w9TaHr//ahcchTYxHldzZ50I1+qThUPbSf62oT3dIOCznTHENupjhxTr/Sw3wRh
OR7Vk3yJCYfgIL8SwszikBVV4Q59oXrl6MQk9WyFDkb7AlDwIizZ63WzF8zooTDU8IRqMAIjAvxY
bmtPgGF0CaqocpZWyZ1Sn7LTnI8eDh7gNtweoVz6IieAXSlWpVvUwEKD8lhKyL3Teoo9Wn5I5cvR
q0kRXyuxNRoly6RTougcc2l825DiKcuJsMrB4YwhF5iM6Om2GBMVMea56SfxGKchPEksXceSUQC7
L/TrRUSRvzauRDVvDoieBRRhRP1cF4BsMZpzTmb3CY7QqETa/bxQW405dPEW/qPJHYA01ZJRaUuX
esnrU27pDK8I0nLnNBl2xdg/l7LBAdaMcg+2ZnS0pDxypXhW97JYtu4oh2Q7GSGuGb3ILtZS3AnD
WL8Gy6K5888+TKO9xCAC+JB0ImEjPDZtx8F/vU2uxWc2qrkXh+m4kfU4B6PVtseJK8gF48vMpIs5
gmTscn3eqHyTtiHn5bkGCA1LGyBYJ3aPRAtU96LSfZl7/pIM9fGSkZEsFipQADbWU7LWh7XYFARh
YIohhYAkcUu7z2ocL3P+YrRqTW4YYRRNj3lUW16SjKGo3OERJfyI46eKx8wEGrhrVolBXHE6GrSI
UCsTnMwota7Slh3UpD46FUn0JNA58WorEZjRwKqrCNBy0zrLMeY8vt8yTTresQqVFDbkcIiWhFvK
MukudsTO5ANMpFBtPXWKrD3eNuXIhMvR5sw8Xa9cIdUmhD5YrzRZDqjAQlEJTwnMIFsVJPKbVjGv
uVSLIwxB+JpEqDbaApV/jVnFHpbFugFPYZ7lSjjkETAsCpLNBJzlvPQHy8icqql/xqwNd9cfaFNp
9onbMlXDy8JB+NhUNzzkoic0LWlvo6k9YaDZalL2bYLPfW5wob3fFGqjUMywwrI7w9U2mXWGxJbs
IoayO7WBvK82Y3WWa5kwsutTGOWADatgCU/XH5Oy5g8Y8NVJawdmGib5t6Ij7U1tA8Ezh1m8K8x5
n6Zpg+mr/9GwYRzqhZguNa/uTb0dfK6s1bgA4sdN2+aDP0Eq5lwhp4dIliuvLnG2Cqox20Mbx4/N
7DFjZG4tDPmphut1GAfmMUtf4//O5W1Dz4fntI32QboubJ0Vv9R59ypohUlyJU6pa+/w+oNNZDrl
mpbBCpNU1Mfaj6En+Cqca6raElIkAS8oggGeOp0cNntBA1ekr+twIPSi3Yp8XvBRBm3DgIrfgc2U
0MuN4k0sAcYScvhWWaPUt0oDJirttG5bJfpbIw7Zfp6VmwaolzNWLSMkkTwnSjUDxjHPHljQO1UT
xhNMeee65eYSRy7YsvOLGiWs3n10iFatgZCVj6x7Lb5NBakYdcshFTt1YwXDPjXy/lgowugo6mpK
6pqXKUyMMxLtM0EFX9S1/Vz18gItf1YubdH682pkyNJ0OkgcNMOk+FlHw3RJxviIrHNT88I347qi
qQVP2pjGM7Xl5CZBvm9HnVizxVDvu5EUtgFHWhEa0QFxm3vtXodjF9lVqFBswXW1hwgnI2Udp6W4
n7eVAcYInSQEUJT92z6wmlvRSlHbpYcaHGJQNdE9S5eqRbFjpqp62zbGbYsDweEBZSIgNIsbCd+n
oWqo/tH0RkZz0ZgKMMEeG4gjPd4BtZAMakJ6xu8vesp0AUKXkklfdXCAbqJa4Slbf4QWbhzEoxbz
4/Xug8zJrdz/xD/FQWyhopdEImPyVhHvjNbUwcBmHN17edz2Mn27UdT6zdjnw3YUispehO6OuXm4
FxFMuQTtcD6s2/VxQ/MujKVAHT7GtqGmBkGri7h7zUWeGdTLE+yknKW0lUNXzQVs9SRG3IZCWDE/
MNXHquASWjTRE73Sjm3UrcMVToaJ3GNrQBJ6NNdzaRrfZMk0O0WikvyxbpphU+wNoW4cEzKmGwt8
z+r7o90qfebMc597ZaimfpcF9Bz1QLy7HhiKdZJRrq2mACatzjTqpYyW9GmuBt2uSgDYPMJbzOzp
NjBhGKPmwUBmVa1tNQUzHSPalpGQeHOq740yMH3VGte7xIAcUNikx0jArcvyRShTssLWshHNi3EI
2+I8ayEFHcXvbxrzyr+348APmfQ8NcwUSI0+NeZLbiMZsRxOslzod/I0urxf3EdL1u/EsDybi1rd
a9lLMjbBbVOU22btbuijcbgOcura6uBD9tOWkDGXoI52F/Z0ZGaSB09j2Z0EZSiBwiacEGBYBksX
OqB1+7uiBUs3zs1tnFuvWbaEhyk3G/d/0NbV1sbcr407JImGZsroz+ndfXZj90o3qaHWZzsBnZEz
Cj0pQU212gNT0HcsGndoCQ7XuWLbEBWVw4J0xDVAbNKBb4nkuTjvh5ypfq6lJth3JIhurLlJ9k2O
pTKtqCOiTPKuVX7Ymz9SXY3PyzgeqyDd5qGgnAozHA+q0NwMQt8c5QRyWDSPLakVg3ysywWvKyzo
sGa75kihHFICyM5DC2HTMpbt1BfEzHdl41uRDqzyn0UpeDdr06uq7gjS1YBUzXySLtjE4SIxKhAA
ciZygsrqj/yH/4Xx+/9nQlvGWCC40Pv9+Zj+9Ja9JW/CAe5i1qb88m9+k7x9f/s4mv/nP/MvFSJy
Qg0xKw1/Q1wf1H+oELWr3NbSEa+SsmAw0/9HzILyd7QWGg31P6IZ/jWeR4Wo6CL/osHYRYMAp/4n
03nElR8eISjmDH8BYSARZrzNIv5plZgJ28zkQmwe9aD2tVo85NxxMHCdUuwd/rKX5pWflH/cY4gz
/iTd4d/Ej+sLE2eMAlmFN2NeI30/zECQMsg1/cLuMRL2YzTaDQ+eOTfwHCMvtpgaZEDcRYmByAhN
XgCMXWStA52KydjAIa1sR3KrFM0mYswfi9RpGXeok+7JUf4lWWY3wvJWyMNd0ohulvQOla7diwoi
uwgU+eKM5Vcp1/x1I9JD7TbP0oey+oqs0dPr/KiWgFVz/SGZh9Mg1UfCiXxRmd10Knc00x2RsX1E
W59cndcRNI4R32mq9SB2JE8oVP6bwBoxJifHSK18sc3OFt3XWY3fhjVegCi0b9jckQCYD/BT3bCp
XuOwOzStSr3BAZpXUFEuFfmzPlxyMXqOUKHNackpSXX0ZrobCOUhHLSy7KQxz2NmPFTQJq158tcX
RGWy41AEEEcYd3Sob0ZrQGU2R5HTduVOhQwn4NnIk6PRcqpOW3r6Gg5nYZ/geOlI+XCn2CJ8l3m6
GHzLq5EmXAjXgVZbMRZb8gi/iwUgRPQnl7VLxGAG69NYvVhBQDMq/UKu4Iwa0azbyFay6UmcBE9e
BteYpEcRCAruOaOC7woqW7A7VT9ruXmoSPgSgF4jsZbIakJCxdEHhyDwkmLaVThiOGEdGVi4JNTY
WXBOLTJjVwRz/5vdk/SRf38wZNGA8KchhdQZ+P86FKrbOu8niN6P40gmAhs2I/hIaz2rniEFabfq
mP7UJ5csqBtkEg+DHh4iC1FaQ1hrZpxjhHyyljkFgZZVZ3hxzQlbnZ+XuH0JuR6QUgmvrfxI0LY4
op0C2k0b/oikwdFidWvk8m1iGYQvVdj/rd1cE0qUl9k5MnZ9O8Jf1/jl15w0RSQxvpjox6wd9zM7
sRT0+EmAyWIkrQtmacCECTNJ3YWHCfchRrHhpq27XQE8eZL6O2Zv+HYV7UgvjW06cJq4vmQRRXOG
7ybiTiR6wGAqk2YafWqEgTnJelFW0ubLSYnUaLcbvdPP1WumNftlSM9QnLcddVK2JFtLp8coG8ck
m25CZbqp6vreCgMny4RDIMWXZbiJYvyulvw4NKEnoYmcg/xi8AhPkXpO5cYDh3oawm+qwb2f5xeG
og46aTtDV1FLgVtJBEJl+c4s+j1PwzFagv2HRf7yXlJ8lP/897eDpFis0ShmFF37dDsMadPkxai3
j41oPVS69ZCImWuEbjdX7tw3L6T9fS8HljJpuoknza265NSNWPCb8i4YqC0LO9Cmm4SkWwLij7Fp
uWIZMm1Z+wfyqdKyzUg7Uw+EB5WRQ5wZx2oBOKJw+cXCMdX4XpCmQ1PXO41cAtUYiG4tdhQZNrNS
N6t7n0WDKlgnpo2lSVFpbmJeM8haiL6k5k2ll36QNXtYgY7SJF8RJk/igf7Fdpr6FzGCXF6MTw0u
h6pXeH8gWcjTo89NbHbnISD2lZDFlTBuAgm8gXzQGn0kzEO+DnCzQ7FN5vEUkw85VfqRHAse9XJX
dpT5wDZCZbjJAegmWOpzY8IERIJsJtkmLQ1ppAsk++QuMM4kuYCQvE3Qc5+W1jmqn1R9uCEVnF7A
d6bPmwWQsjAZG9H81sh8FFnY893se9oC0iSc0AUnEez3DmFnRepOEgiXv74X1oLg85bJhFuRJPZL
NJxXjceHnQtxZq4D8aURGmbbUn/pO5arUPNDmLCtWmyZ93iKgm171LZwveyoRV9sBEyxLcY0Fce6
3hEmrut6B+HRlrV0VzWsh4MndvtJABzTyGBdSubR6ECVxmtUdRsQWGlY6lZqnofwtiI4fCr759Ys
dmj4Husg/rY+YDKLAZJ7ryELhaPMrjcAnijPjWVt/voq/Koeu9YNsoJ7AgoqIkHm5r8uj2om1wQA
Lt0j84HHdT1UeOVRRlfRICMnFOV3C/J/+4L4oBQeQVUzrv7tD1d9EBqSy0fqBbXs9lpeevQVHOY7
4D4OXa09kpmDREo7NpBOJ/aEKX22xsbTe+0sDUGE7vl30qK1PPvlRuBQtX5yU8IUJSLjWGurD29J
0QBGKOMwPo5Ewy5JvRMs4IosPouuMivWj4PJ6bGipspUvzHUbUKQWlvcj51mV5rm5TyKC2+1E54b
3E0Jua6mYB0KkjThNodgpgFAR71xLKP6ZaJxnBThoWYFl4eCbnt/kofyYrYZG4npAsN+JoL0MNQa
NBj5UU0admZb74CyM6x8zvvknDMniLTcbjLlCHWcOUhILmftD4ztzbk/iZlGZ9ZONPOtpTJBVHfT
Jrwk5WCW9m65SG460/YhyxmDSJEnmwmSE436J4k/S5hQ9RqSJ8VJvCEViN1GFh5aUT9OSnSoMijP
f30PrvfYv45/az6YjqZEERU8Pnh1rnSBD9e/kgI1JrpzfNQFZYt51ley4F0+9r9wFvp/SYq8ch//
/IzzX0XYx1n2y5lm/RvvxxlBlzFVUbVzzflhQgz4x3lG0BUS4EiUQx1JbSZrK2bkjwONZP6d0w9m
J7wdKG2kFSz7h62K/0sCj6qJ6IdUndP8f3Ke4V/65a4w19e1kBsjx0WZZpjaJ3GVhPqx7XVGqCOJ
3JHdoc50JfMrHqqqfkkmHi+/LkBaRvqm7TrO3kemlYBf70U3IXQ+duaJPRlGTb7vgC8V5s+JMPDS
uuiKD8qjpO2GL0Y6c6M35s4CuKYit7MV4q06eCHkfGn7YfIJQdiMwFBj2U0DW/chUarZfdXsZjfP
QWww1HNI+ujdwNcOpb+AJHsBXpZObwyj2HlFbR9TWmxNO/6JbWNwzH0V829vQLFg075FB2MPFk8h
SFu7Oy4OrV0/31I2nppv8VvjzPbsWl6/z/wE0JRd7Oo74cWQNuvvz/64SWy6eS1sku8WfytCj/uW
btGQuIId2xyXbidbfSE57BVkzkN2gArvzg+1wynp2Lj6pf8WxO5UEqvqNpKL4SbRUIZsSuI+CNiy
Czq0t+J4ML8vHYNcjnTHerjJRKd+RMO2HISvSCdsFjxnLSyhyjn1K5KBwRZfZoeWdKi5QeottLDp
5CjeIB6lZquFzhy+mnbvdmAyt62fqsBfnCzx1o6j5efutGUoEu+aGV+NHXS+ZNjjN+XncB5+9qhi
mi0YLf1+dKpzrDhN5dA18ia3fWCQmKP6vA8fzaf6NkF6YY9kA82u6GQulNnB7RJfZiUt/Kw9CD+o
VN4Czp6xL6Qnq9iLyLXab60Nwab0LQvl4M8U5pKwCos2qp05kZPahK0rd/Njf1vb1l0+YtzaMCL2
ZonR3bSpfi5c8rg5qZHfybeyQ/ES0pCCLXauRNI4mJ8l4GEcc1M+IMHOfeLTl8pPoZ3mGyJvmq1e
PC4RanKbAsgMkGg5+Hoi4aJ8keyhgCvGxNXVGyZ2nsa+E+aeCkul8zKXTIrMJBgVupbN0S32Exic
+i6Jt7FT0xoEd/cj9jge+KWXbGenRAuzSV/iG8ufd/nNYit2dSs9zUB8gOrfFj/Uo7Arb8AbK07q
xPeytWvs5LZ9YPRoTt6cedoXqdkot+2xPA7JfaOiq3bSIxZCBJk28b4ervhLYziSW95MT+a97nWP
DNM5XpdOciZM4shwUyf9eEP+VvBNcomkAwrBQ8Gk4EfNtNRflLOUH4fqETpaax0mgYfpw8L435wL
fu2evK81CqZnGjUGMnprLVo+7ED1mM2WJAmKM3jmngC07eipXuMn/l+/zGdp5XVNUyQZxAdNmtVo
/evrzG2NyEVO1jVNuEcaqtv5bXkqDqmvnYWniMw0BryOvF7qm+RRYbhh679Dj/y62/7xWVVRwc0B
v964NnQ+fNZQS7pwGmPVKY5Ik3jSEPe4kv0Ke23jFHbym0v7WbP7/plhmuAYQZCGVPbXzxyaNbQC
i9cb96m8x5oHT9cRXJUcz4P5TbHl7e8u86cz/x8f8cNLrpfgw0fUhiFf+vUlk92i3xkeGCrHJKmY
8bO9LP+TV7RWd/OHIub9NXWTOnrdTVcDz6fXVFGyaElNI9oXQGMRhFieU5bV5RSW0FtlwgFfIa44
xALHdyQ2Tp7iFZ5euDNP8DLe5wHxW26F5NKl9+OGjuyv+9dZ+J78SNz0IburPYTOJ6aSB8FJ7HFP
YwI2WuFPzvotpjbrIY/7RooBCl5IJovwnhrbWD9Y8RclfBSyu2x+ycfvufIWTQ/dBA7PuhuG5zXs
WHarcJuQdVVeXoBC2ovDrOS5Jd2CdoVC5BGLe/mjL79PJJeJT2JErOTwtCQQ7YEK24C2JLIV7TKj
g+StOW1OADjVoQnS2zBXyLBrm+9aeEjAiQbpRlfzfR+jgmAko8ICnMpXsnBClbeU39AW0VTeAoKA
ED8LsSCbNfzGS0jQ5ljC2RVyGNsiIms5PNH3mtqHVCw2Y2PPGo6Fva4f0Gk4JJaZhW8lxzy29eZr
AUXONCo7VknWWxWf1UW07idSJSeyJPWh38wm0jAyh5aOMEwJCyuHO0PZpOatWe9TmnCduyCNy09k
pKImVQgu4xQN/Q5IqiltJFv4qUXgCf1ysIenzp5+EB3UfKlBBPv9fmGFQ9ZAn+cuWc7WK+AuEjtt
tsOs3YpM5eyY77LbjwWIRDeCvjfuleGAfrA+kATkDcLboBx7yZ/TbQxUjF2ffWgztfu0ttFai+qX
78F0rMq7UEA96LaVPXjTje6zziDhRtJAvpZDKyB1E0dNn4Po1HX7tqOAWNq9WT33dk+ijdveWdUp
FX16WbltfcO0JPU22vku5rcWT39snGbX+8Kd/KrbiZdv4y2n0voQneConoVtfUDYTAZk9gO89i6+
y3+WbxY+8xXivR/dCVepww2yrRnJuqrgNuqmf6Zp6TFh0feqW9sxBECeFfRgvvlaPYD2XO55ac5m
D9J9dNtv1uKp4iT4mPdfxekxs/aLta2UI3o40R1PEPzoN7rVrnsxvpHkclD6/0PdeSxHjmZZ+lXm
BVAGLbaQrkm6U29gJCMIrTWevj9kZ09nRlVXzCxmMZu0tIwM0h34xb3nHnHAWlIzA+jeHtP6U/hO
CTK60a7/kvy4JszRl68tj0fr9uHTgnYyIFUN5ztsxykvnZx4P6Q/19VNlh0bTHXW8UKYTFlja+rJ
BVjFtcEjdLO0t+VdCMHWzYmnFDyMxMuvZLRXT7FAWpy4dGE+7fK9kp0Swsu2Dhjni+K6nAdi2AdP
Fs8o5CcsAHZ15lZvmc/g0e5fO+Upd4ABKUkVDofr+oZ/beULrulI8VU/508hS2h02bmgF3affiiM
rQRvdmXSGApv7ANLdDVWE7FKnPK64XTLXS7su2XPu4Ekq/0YnFGUXAZiy/ikjm7/Kr4j2F4lIpYI
5cAi6FFq7iIR+8zzYhzRrbeYOI7+4tGTd6In10elvjOFFz19mcm9IfEwehuHnTr4o3EiZQlNUxIj
5qZ2bWPXaPZs6c2AySvEt/Y5wc2diiHnw8ktC55jlM2b4Ia12M13E3oQVxdxD3rNj8o+y2irI7HC
o2V218fsA+LJdX40RBYfLClbk1zrS8EB6bG41D8A46np0vitqaiqXMhKrCfIizNV1LPmw1/PjnXh
INNvNET4Jx2CRuYrnLI8EMM3QINvoScNdiYFOuLaW9I449fwvXgwervFFjW7au2ot2khdOGUbkcA
DKyZ3CxdPE/lUS3vy0oB7P4gh5EkNg9uwwIoWP6A+lC8TeOHYezMFoaHB4mHXEBruKNMLuzGk3zZ
a/AdeNgCl4zdBHzOZe10F6Yrka2/DfP2xrE2QuIdfs8KwpyLqBxIRMrI/Hok/MOtnPZoPWFVO6o+
KXPleMFSoYhsIwrSx036HvQnkiU93EfBNxIsnBWSR73Nh5MbBYrVOyzDyalhfLkG8hpHPHQ7AF1I
tn5/n4NeR8GUHWoLDqMvO+qzWtzqjmnyHRPU7oEXv3g6JCK8JrfLQEc767Wr32sYQF5Juswll/MK
lkbUX0Io5espUnemhyK0S+5wP7YF4aooF8WOF39dGOj6JIBnlPr69N67ETzoTLqj08tm0pE9uiPV
cCDswR/Y81q0koPSkGD6OewtPNZgyEbuYNhp5E0pDFE3xAGwVampfZVs5/JO8S2Vx+jCXzAQLqyH
bT5OHthbnl674UqIGTMDQwjEd6jwSkLEmDO/1w7ZhqGj6F7vmoHhLz8JsmGgXeSHiOMJCu+px18u
O3bci7lPlivOBaKXxfsGcPFYVI5Akhl6FXzQfEn7TltvVXcxWTE4fxNP5ueuX2dO0TLMueBsO8R3
IvckebM/Fp2G9lwxUAm9anHEo+FaimdR9hxjLw3UYPGmD9Ip9WfJbjHbgVJ9grKuevFb/IM+uN0T
QsHjSTp73K9ErpZ2/qP24x/TJX6EsNld1n33kN8EZ3mzUAJgbYaL8CF8i13Nkys/IzeUOZnmtZ1v
phT41z57xP1ya8x3TcCKJUY5hAJ5rwC5Z3dGdzPrU5MHpXltI/qiiyrcr82Z/N253eHrzZoQfnDr
DC9YxPrW16a8cTAAXhiXTckZ3y2uES1nbhFeZMinujthgbCb8HzUjlQPClPF1Wf4YSx+aL0QxVXc
ZsIRCp+MbNO6WUMwQAxypKNJyglLpHVh6qQcg6PJzQPTuMB4+Mc42hJWgNipsWbYdtCVPE4ivUXR
4mJXAZDQV+xZKAGYhBzJnOz2hfyGEoERo1e2QTHiwB2QEsClhpVEh70805rCUbPd6m6VcBEQRptj
wAcxmsKvdwgo0qF3lF5TenB5k+kjHSCm+6kO/EE2e2Wj+bCbq7ZTfNhdG1yg+PMeKnQR1F5FyqRP
fup+vWZwvU7keqsUvpQAdFrxs+6G+8EHBnzGeTy9M9/W0o7ddjdj8+HUHk0d73PycQNw6svky77w
XjwObhh7g6v6yR7vd9Pp9rKtHmkinTxo/dJDFesq+8wnJKP/yB4jbruruc+P0xdcG9u05+f2g23r
JbJrIVgI7fRKm3clW3Bjh2/pHiRZ/hApHHdMJo4ckrvyOnFBHKbX2es9VBFncBrWudd6QtC5ot/5
xX77g0lxsPD1dR9vyu6RFeEYBxKhg/DW7etvWniv/Jb3i/kE1BLwRu8xWGdJKg5PcnDql8TJup21
OMkp7A+r/GiELzmxscggFVqVe1W8b0kdN21Vecp6ikMCAjwL6EFxqvRkcdsaNs4qICi9J/tpbvO4
B5KkSh/EaHmKDoISKHNmt9jOTmgTGbHYZBFvIbNEGwoigfIaJ0RmRwQerna1+KN0yBRHe+jkb/Lk
IUBZdvc1f64PcufVUOkoPcfsMFoXQ8l8+dYoeIdEzmw+pPVhtvxpCZCDiAkuv54CjzY/UMCzeKre
F3+SeWgbI2IlR2/2TICxWQF/cgVnTPYC/iaejPrXzjj4Xqaf4EedHYv7xNjPHkraonCIM1dtXHER
80vgMZ1X8jG6E6AB9TCy7n7dyW8kuBzm3YgXkS0R4cCVre+m6ahEsWML3DjCspurn2Z1nurHdXrq
wnPaXxCrAb7UzJFOUd6j9bn1/TFfv2L5s/+sfmbOGuDWmBifSD5SGagsuRrDh0XRH/UNfrpY0G/E
0eFJKX8s5d1Q22HJ1sfUN335YzK+uHDPBA1LAcoY4WROLPTVvEEWPInNWRC3wd5ez95xMxpBWxYA
oh3kfJtrobfXwhvCwwyXaLnrubzFpXQwkDTOq5MiHHd0f7hvz/Uh8yFXn4Y7rgiXTsY2OS7nT+ti
Phr8fKYZ99F8C/kSrG1FOrTPONtsO02pffVEZ6JTJY5X87ZigM24F/IgJCGHiFhPvGdL80bfGQJo
ldudCUgHFzlaTvWquywZbof31Skvyb77A0GwBx81PwU1DTY+Sbpt7kQ3PYC+PQFM+YQuuHnADLBn
V460JLZ+L+6rk3Ex7ycMTY7SjiPKVa4kuuLPfNECPs6s+XkVwA/VYBC6MnH3s1t69dkqXLQJAELI
bXWbnVHbpvQ9uPmV8KF6cTR8Etil0y3ZU7XXgKZeo/Kp5NAlRnG5V5udCu6THkLHOJXv1YuSuksF
Xe1zjfZL9iALx5aYR82ugzoJfYNbrHdWfmJBd7wvXrCQGtJrGNqZu+GKNl/xO7Q1Z9klsENkYqwo
mslb/oh3ehvMo8dc3jQepOwSVQ+K+pgZsh1Zk6PQTWeFM0wWfeJnBiECz3HJgZxrVch1S/DRh1x5
W+aXQfXEr/GZEwmRg1JBMvciagjFMyAzmpxv+rGuA6P1VwAwk+Edhjzu+G0SI9xdG5xw+oBQqIVm
JruV/Ow45rKaVzsmO36gyMP4eZOwKPpR49ITKMOckrOSTehPLyghhNIBHeDqlY7A2OvgTY5c/uyk
p6h96ePvuPuIhZH/i+72MdSvmfZT6z9b0HEtfYlbn6RefqI+BRSDxc8tp91PZtargeBIAlFwuLRG
nnDypqL+CZ1qcGtlL+QoFDAFPlm9Pzvyq5Xs5On2R0zEh9T23ErHpD8MQH35B4yRXNxlAS3QYfH7
Z4Wa+ti4LOy9wOl1CL8mY6fqn9K1fpn8nBvc7sj1HXdkkSI0AI4uiSt5BmG2Bl8JnYJE3gJBN51D
5BXCXmj8PjuvlasPOwO7pCloPSt2QrS44O+CZ/ZBK9/N9c1IHurag2sz9G5i/eyqx8W8C5UfdYtg
n4Mp4x7ITiub2cTf3l4DpGluwToyL6RXDOZug2+bFy74qvWy6LMQQW9X8dBGMtEtMZQK07Yqb609
Lm/aYde46neSgy00mQKclqY9nUDW44/V0Ry2s6sFqPgWuz9SYc0vgtNBCzxwN2Nev61oF5gW33vk
jg0OGAn9sergql6uSN3Y3xDa/eSH0nJUTMR1+5YDE+eAPpnLkn8FlafJ0uzswGHM/8rUGTw8BxmX
UTA7yne7vHP1Fc4KMfuUDUH16LTdSVa9UjrouPL2kT00dkH0G+Nuh6TEgFfAySlaB0Yw3D14YZCp
5QHZsI+3Z9VTF3KkboDIdOTxm6wNDC5mT9+BlnjmJwETSKFGmwrdTZ8YclaPSiABQOdAMIP9wXxh
dGfu4+Ze3kWu9Wi55ic3miP85NSyt+cv82fCgLjjGfNyMrRgRqAZcRrqgMoFJWIPEpAXTNYToWdO
bkL4cogi+TL3hpN/SF74UnsjnbiGBbErvRPjhzZRyXZRfZcQaA3WzJeLKADrCxCWREvvRPeg2vLj
eFheCbK6xp5w30WBwoVGVwl2DtyzOhx6DxgnhZ6ScP7y/lB157+DjP8+nP5nXHH7879gmYISTabS
VxtkPLvrST6Mp20OUfF+6EB3uR894DJDlUBN5q8H3efgAajvXorfIbm/0nT/QHLJQ5WZyZmmgqnF
3z/KqugD4etAnMCXi0NLxyYBX4BN1niaP5yNI8vwihS546NJjKNJO184QRlkvyMO5kDeesjpGYT0
GPlkBXC53IFtAIiShXGR+Y9tQOLzafDTi8K1x63Nz2bX/O6r6BvQ/t8j5z+f6n9/Fe0XuiSRRmut
DnyVkhL1ID/Ue8IrmDzRa3mUifv1uPrAO27sq254t80CQj/2M4fqy6OXt8X9tmRpZ/8ALNAK76P9
6GlUBKTMswgjX74DquDL4y36xBpnL+if0844tbwe5My0n79hcvxLAPovX+mX2UKdC31uTn8A0Buy
jLQu+D+ZYfziffafj85gaMxYGP6qYv6yIGsp6YY5xS16w8tEvqJLJAvlFInWHufAcIdtufubucm/
mln89XduVJ6/bAJVjBvUEnw38ZDsBlyn+tuk2giW0a/eV1wzJMM8M4bjJIS07iY+NkZxfChp83U+
z59sgv+R9ar9nTr05zOQNQnSOiZwlr6RDv/yecwRC8kIKZurnptv8EC0SopfeAod1At1PKs+znbx
c8nxtLrKi4lGjJO15ELgzG4dFXT0m64jeoSjfG72hU9l8NoXd9YNhZ/C1bHvYEiRDRUYX+lJ3Qmu
DlBiIy5kcvZOOlpmC7IDglS9MEv73e5gkP8vtgeTIQgARKJD7v1lp4dVViEqJBizU7HkAh/26q/5
bfySOesUb1PDLLZwtw0YsOR/Vo5EYbvtkTnGXjnONqgWVuOfheFQDpFR9QlBKpeuYUrt7qESUUFs
TvIj9tzGFVxgepUJ/TzpkG1JbmTwnvZb0V0eyw8aNXFgSF0EJIc8GDt0hnSp3PTaNWQM/CR9TsG8
g31/yg6Wp940ebdeinPxUGYOed8ngiYzL3S5/umF7zEEqGztgVJ2KZxpT7HNpZBuoxY39ehp9gjV
TsRfeThm4KtxEC9hBxKb7ym5JurnFoLNoaz9CGUJT8CpXTmyl2BmYuApB/7cGfltNyEAAb4QOHTH
zYk/Fj0huhcngjdMAqPDE3PEi+HGT0hdfbJBH7Q3MtPqs3COd9vngGZQFnciBID6KxHtNIhu6uKu
b/9+T2109X86Av/yjv9YA39ZwziOZmOfbEnMwfQsOrqnPhBLsOPFupmdfIvbDAhsbfIEznPemvwW
P8/wGSLAhJhxDHf1KX/67dr7l1sdqQvUTLx5cSb6+9ZamjHq+s2vf8YNzGVMEJjb4nom+4L6Zj5D
+v7d6fJLSsyf2/kvv/OX48UIpWlNB0l1kcdlz7o3AG3Ge3TuB+O+2kWmY91QNDNz+u737dfWZqDH
EiR7Q7Jb3KydCTvTa+VpqjfBajBgdgMLAdhtAE9+zygfEacdPk73y/0kufVzxRSUpfmwnMfH9Ct7
B2mjYzRv/TNtvuEVA9QNnBqRMHc2yJNPHa3ZENpP6j2bpzhnD+p9dJiJMalcSJj3FlOc++6CJNHJ
ftLEgbwHjGacwY8eF0ArKSivZW8rbCCsnLzVbR7mI8wMeJcnsEc4DQNVONmmb50f3vST/rbujeOG
YUov7XH42AgZnS+mdn4ko0b0TT+6tyCKRcF4oOsHadJlJzoonyMXXm9HD/0L9fp6WfwNhNproD1b
NQhic+ZWdMcdeSZUlX5/rQPhBLyre4k7nqFYu8M37mvuRoYAIN5mKR6tzv1wVLHCYMVVfh5I95DT
BR/xJ6XB+iZiAnMAunR1Tt4LTt9e5KdOa9kQ1SokuMQ/cCMA/A6n3tN9jcmjrb8uJzD0zx68+34j
RFiHlp9Acl92F9Eel0HlFc/KHeEuAFsAfufqOXoOz/nj4Cm2dQ9gcLT28UkN1EP0rXF+eRoWLC8V
w+zkznChHV3KE7tXwvqVEhYo+/zbMfc2Of+1iMH8Gk9syO0UZr9slTVbxKaJTU5pqjCVRRbBxKFy
jpjlExjm1tNvSow/RDT/9lf+slNEXA6bfuJXju1rqcGQPwBDGeEhV7EZ5pwg/usHsMuCv6IS4EQd
lj/JTJKXc7lIruRLboIywZlWbBUeeb7cmclHOMOeqh+NxtUP9FxP/VHBzECzQ6K1Ksx3Xbm3GY7v
MUjKCtolW2EY+SYgYfT6x/mH/Ky8LrQkyRlsB0Uuhqz5gQY5stVApGPx45vl5M/5XbtjCMQ+HAB8
V1ssj+LENCM50k1vi8NLEgeUGZIVCLO3fCSfSmorOoMC4aS/Q5QfbWDduA/Ud/O8PW/GYi4/XTmJ
z9WVGeDMuOdV8rnxcqRgmR2DSh2LA7uVqccOsxoqA8Lf+4XWgStsWbAUsBGyiBLxh0mNVRkXxGUh
9I5MPrtnnwlQf7xB86r79hJzIgDgoQn/LG/L0wQ7Fo6UdFDNnbXeZeecIyR9oS8Z0fxMds/uoflZ
A8FyJgPI4yKqLwJujAzRd7yvfXERiPN5hND2BrUpWZ3qYvjA0U4SJKfyZZkcdnAC9474G8lD4ZvX
oGC73kAM4BK9uBkQQc06cawMX0hc0m/ca4av5ov6vwJV5JwqhaPh0JrA4SNEB3C1sHU4QxZoKkMM
7Jvc6nVBEbthbLqdzy49rSi7XJKZnb9Dn4JTAK6rfct2cRe/j7N90a2gyU50xBtTRvzRnYVL8crs
hcn55DKBQNlbJbZB3/dSwhmMHfkLNU3hah8MTXRmi9lndFEPMV34NjuNf8L5lvlFhK8y+2dKFD8y
3Rv5RAz691t1ILjFSfZ7J3+YdtHL/DySB3vB5ULkYr8Tff5lZ17RQNnNfKomHna5gw5c7SBs3TeX
iB4tcmvALlyvOeWfrB9bQYFiCDoB1qHRTq3xDvMK/DgzD1TDdNTBNu8A67zoLvwNF0fZOJP/dGKg
EJMQpelwnn/pESpRko1pU0s2TMcFGpij+b2+Kr76lFAmzfviYO6lQNpFHl/EJ+CDamzGa5pe35/c
lPKE/BjP+CDFE3/1d7LdBLdP0SKxbX5Tnvxzia0bqgnFVFY1bPb+uLP/Up70bW0VcsrSmb/MIDxY
fnjY2rHag6rnrQFAURNcmeh+T+4AwFF9bdjABALL5OJcuNPOBE+zmE63bhxgRP3bBPvffcCtkPnL
BxzDdE7TBs6YhvmVrcDsDKGOobox7K+VosBWPKCjz989mH9BbtJNXUf1r/FcVEn+pTbPG4qjOuLB
GLfoqvnSznTHg/qq0IsK7u9WjPx3uv5WGv3ttym/NMqFmYgLTiAc+H6/Fw/6FY90OhSwiG61cTra
MC/Bsz4sdro/f8zc80hg6HsCyigGjWyqf78w/og4/Psa3j7RxglmYaD0/OUKSjJjga8PuWu9WTft
S8BW+57J5fTN2BkC7ehPMDe+Rn/1YRH0e8p1b94jIAiY9ANTSL5yo8a4osCtH5vrRmWJ3usdRNnn
wafssA5ME2CXrnhc2AKEReEhOhXLy8ZYE6AXoZf3NpgOP6CNngnYuzEdH2HUUyasN+3GujsAJonb
YOwWOqb377+/9s91+ybwNJFsyDre47/e+hkpUpNScwUn8JWhA6uiJ+wYpe9LHwWX9lIFiWdctB0a
r8u2OBq3f54P0rflkel5F/uci0qgeWgJ+aPRs86M5g7M7fY0Rwu9pnnBW2Nyzlgr7KuXadcYv6ki
9K0u+eUNwn7cjiHMeHX9V71FacwreYyomgCDvMYzfiTfPZQg5X7+Cq/xvt6v+96Hzh3Mp43kTIzg
sQlooP8YVb3oVHHYkFHpVKfiiYRU6ahdJTYenGMKuZfsTPKuT7H7wJQuqwEmqcwUuzzhFuOqVyyn
GFiWP8F/r9Gt+I1DKZKFf/py6NeRGVIKUZuh2fn7saCrg95EesM8+kDe5mkqvfxkBkMV4LW3a4EN
KSNASajBh2tt7jCj2sMCzezaD/ddYIA7wbDwu/f2cdiNfkGT+tg9aRCGtqIzDJbL8EE8Z7kHcPPU
98iHb3Qwz6MrelhkrLbyKtAxxPfyQTphvrJ1cdYRL4AcaPQR5s5ZeQVIiED6w6AJkqC+tS4zLz/a
FV523TqV4hq5CrNz+WFr/XSKpXQ/iHcbGdHLDuSDQ0LHGAGIb4Xx5mA2j+OaDU+IN+jWjWfuC6+l
1ivvx/tQ3Ncu77aATgiZC6O30I3f1G/zzHiD+fcGIzvFc3alLIAfsr1gIDmwq3W3vc+tNal3xsPq
rWgK7ei+vjBdjQ5RYGwk7volvElOgplMYIBuvxtBH/nh4ECtIADSlv32MD+oNBKmbGMVwTBsayBx
lUDPxwZnIze3FRTGgxXqDCfljNUT2l1vcqXnhIm34mDR5OSM2bdrsXPS1yaI2TQwCuz6OrgER1qO
0vmogN7Lwd2IFhJ8xk/jafGdDS5QPhY4I46xl6FmCy5MpmPnAo1DNnJDDy3YdQ7mAx6rAUF5j+qx
6oEVF9f0oQwy28R3G3Bi+TQ9aGGpo55iMqSf5sPwFPvKJbxRJOTUWbb5yqlkxt42LTf9/L3kqGOE
AN3V0wa3P1Khucl9Qd4ziiJHOhu1z9ZoL+NZcPFYLOAZYTHtLjvjjx25vGww+v9mAv8/0ODc1T/L
W9/+/NmfP+r/D/KOkKiw4dnp/7MY5zEpqvZ/YZvzkzyA/OfffAb+62//6TMgG/9QNpvrTfNimn84
+v/pMyCr/9iOFQ4VUZH/M9Lov3IAzH8om4oRaY5siBoeyVwbf+pyBOsfOJrASUbZBqbCsft/lXf0
n47Qfzm/ocdTmlGWkUSAWYek/IJ+zkjw1J4olWNE5s7BKgcN4ozAdCoRrqWGmDxfxhfDrKGDNBCU
wgKmb0X4jDTa6ao2GEF9aEy46yVN7qZYAAKb6p/YptNsNHq55fV1uGcdFGTK82D5RpYWR4HkZajD
Mlo4FLXGFBGDGt8Q0c0IPjrJAcsi3Xe6rmMN4humn1P82iSt5Uh17YsQhQ6DMWZ2N460ehY+ykJV
HvRh307kB9XVEHsJzjMwolMk/wx1pLbEoXElPCNNAkVmEE0UjJOvurugEjx0UQuKJ7bIXuCAVuO8
njtBuvUryI2Y51dhgEmHi23ramqTu1v2TBNPgj8NIgSUARMaYTHvxbCD4tU0IXqH5HlI1m/MXkxm
w3j3qpv3fITpa521CykJjW5rTS7a4vhS59mHwJOEqtDu+/w+a4vYH9QU5FXFL8zspQ9zwYe3xLz5
qy5hw4py+KAt6l0UitVZxI/e53E58zhyiI0xYnAx35s5qTTySJq9nGTkqui7Dg8M4v6qyG0snHnj
WGyCCuPvfW0axwzHKtyLsuas5uMTRl2NP0tkbYvaS4Ny2etJmsKsGQOm8TfIpfGHA/UvC5ANRwEh
SmCEuOD9/Y6tMBVYR7Ouj0KYNj5W/c2uHlcGRSv0syof18OyVp4g1lB2MC0gCaZ5FjAGDJTEQlmD
N7/cJpesSQYoNoRQdypmV9IaRVcDebrUT4/lsDGLolbEHJQra1wRVpriA0aA30kNSaxO8W/rJAtT
X4gxfQTSs1Zt/CLcdbPurukoPS5Sv+zlIg7yniCaqPQsJG23Je93Cxp3lrv4IAr6Uz6JciDMVe3G
aV271lrIQYpRB0V26g25qbzGpQFxSqEs0OOUu6wKXWNtZKfQMbtKVszJqj6Nd+UcFti0V+tuiSNw
2xKkzhDeNRZqJ5NN1KRW6lgDXnKmPGQPawtfVOjLXY7CXRBlDCF0vrMeKi/4cmrHJsxFJN9Y6GEl
gCdb4xZ4nLh9ru9yYwFcjypxZ6VQBRcJZZKIKYcwyE66KdB1uFXLCrPelETDxluLIV+K4klQxdzX
F9woxDn5mssq24m6Xt5Fc3TqulYlwlyGnxTOgNKClBGHpD23Cd5O4iw/rFD2JI6RXZGW9RFvqsFf
NJiCyoxUaUVf+BjlQDilhMWYERMxnk0jHKfqe+1CzNcGdboTRrggkt75htQs9wp+0ftB1fy4m3/O
bWyd866BB5dj116CJUGs6vyUPKRTvP2jqaSflbzCSJ3Gcz3gNmhsHnKDntzSNht5Q1LsWBS3MIFj
BXRzIg3ImuWJNmlBypZr77CPzhKWjHAO15vYsnqyupQPa4uiyZoMB1lEtZ8FPqRYyyoaN/Q/0dC6
/PrwM1tXex6m/FWeBsdacWCcYkl4aONZwDnr1BYRxCB9W7FlJTtDWuCw4bfQ1pdFfu4tQ/HGRsRh
gOR4/vYh0ll7+tyfUksB6xj5O6ug+2O0pI8Y52aM9giZiBqSxIfiMmWqFhCTjFkt9roPYrv5zonG
nR61pjdKmOERKbLAcQdbjWY99tQU09gUYcVkWOlO7ZCxlZJ5EoRRuZvWxltTWfbyErJ9rySo4dQt
chtyXiSTZGKuHEWa0RduLECBzMIOAUfZ7NdMnyEGW0jeSAuxBaspb8UIITwtQxh8+azibUGmTNir
1L9GUTwnU+I3WmMiNBxqwmFjkmgJNjtIpvluKFLvlUSEOUs3NVhj4WDbZQ0FI6h63xpjIGcKaV01
xNx80E4RzqtuDVuPeK7Egs6KlI0Pj3lhvwZLa5mnSVMPbaNCwFjl/iSxUx1RN1KMVNLQhxkDzX6o
mISHpnplTUHoFZranrpIDKIISZAZarchNN/7LTdOSGbZK0pGCeocantVL3YpdrXHfPuHFa+gh7J+
JmiEQQLOMI2hFsdSUZ5KoxxPWgh2puUt1KS4OiZ6mR7FxhX0lMAM/GW1zIQGXrZ7HvdXk1G/p7Vo
7IhNWFy8+zD1ECIkswNTSG0goisjA26P5zrWeEPijGEW7Ux1izjRtJ4vS99Zd2kWxEW/M6XspJZ4
8vbx/D3Iy0VdgeakiFl01Uswhwkyh84y3WlS41nFdqNlRrwfw9HychRz7iBHo59K9SHPLFggPa8m
IQ7E4wmzja3ho7bGc4ZFpTdPPAVTFDCb165GCU2zUV80M83PxIqhiRyiT0J9YGh2SN3KcaA+oCLX
C/iGV3Mos1MIj8hQIjZyB110JKYYv4hsX6aPdfrSNArjVqvXHgwc8hx9gbjbrSDKmZHdOG6Wo5kY
vl7puWN0xXtdKt0+EZsH3O+V45YCNnA5t2v3kqvqfWGkq7tKXe6NAkSnOF6eciDBuFOXszjCv+sF
6pDBbB8t/M4OuMCj9CA50E5UBdZUm55DQ3knbhfgENtqw5xeRfm5ybRAx5HPEeKCcbBc7mdZHr00
gqYTZ9B1mnTlbIy5IshAYGWQ4iaNpQ5gpXWBEseMaoToPIq8ajYg0RCCJ4Vre4xHc2OfjsHYy7k7
aiumQ7J1y+SIqUpkiH6cQRTrMFpLxbe+gEgoaFmDiXFRHBv82pDwYJ7RwISPN8dN3dpsn60FXfWg
g5BVymirq/RjwHwCq0oU1EO3DnDbI5xPqhgz1xbn9lYhFkPuXuuqP2XVvF8GOJJjJXBDDJSPRosn
Y5Sdhcm4TsmEB0oMTrmkGyMrDe+G3M9SFnatGU6d4SwjdEMwqQxje96xK1RJSdNaqF6U9GUQlYPu
VJBj2xrX1qHCOpt390YBAxZCOcvnmFx1lF+4EFeEB3hjyAalpFCgQUDxKXPEvZn5oB96XXmMZQ1d
E3bR+EIhtlDbV90E204zJHwrYOE8pEEY6yDkUw63VQHKmDBdmevZTTjo9kYtPC1ZtroldG/H7Ku7
MMUeui5b007LGIV6InljmWWOEl7w6dspJXIlPYYR3FSnzhSavRFCgpUTeT1YI+idpBgD0S71cMTf
QnBbiTov21xkxZzsLiG0uqCL5sydRUxQBzWvId4VM5dFFB6wFJKpZQdsfoYZhdVsyujB0A1X0hIG
MzkBNiazFf41lYC3UTOe8FwRccTbKHIDyu4WWydJieHP1/N0VeDSyRMVbqtcJk4DW1lC9dwZVC/a
diTpY9W6emJdKyldyLW8txo58zRMJjmy1FuttdiHMaGj2qTLpe6RQl+PY/J1lnO9yE+EsdoiXAtR
+Vla2UM+EJso6Tdxac5aVyCbWQyscDRk3Go7oKrWd6XJO9fFaQjqFi18G5JWOfTHxoqWg5qUrlbK
cHrGHEwxYzaaQnXNCv24hsN5HskS1dD/N5J0L5bCD2FVz3rKmaXo+mFVhoHGEPuOSZag4OH7ss/G
aI8lNJ7QkXwrQ221O50BJpfITsbflrig8EdZalNQDJAgQqk8IWfr9QaOePwgJB+KWk0QQo0f0iTv
+pj0mAwbc02EhNN1aAarvVhk6CaAIbW0nN0oGkaPuaYy6Sg0owTpiQ7dMizKx56ciENkjvNBXiyk
MwIo2bBahAai8le1/RRV8r5tNsbu2p3wCYn8uaiv8bocis6DmzHItilTNccrvP5wboEP59JJsDMo
lbHDCQh/07GATBnG5UkpBRgF6ZMh/wd359UcN7Ll+a+yMe/ogDcRO/OAKhRQlp6U9IKgKBLee3z6
/aXU97bI293aOxHzsBsKdVMsA5d58uQ5f7Ow6SkSLE4jUGDWeNHBirGEONQl8oUajIKTB8CdLj3m
iTBwOO3TsjnMvXPHpvNBURdBVZCoS+LKgtT8qogldTlUEkTFciGGWAoMAJmkO41AVad666GWSkd5
UhNfr8EydnPKPdF8/BWaCNBQUiF0K4/chQqVc5LVHi2y+BsWKOVOknGGbQrppTBgUMRB0ihEUexH
ylZ9DNU6czF/H1s4AFldPEuJ5hkKUPpysF2E/EtvMqwvGVYfhQrq2ZwknCHjfV5lb0todFtNXl/l
VDs68CuiGCxuTFu1VEadALmdMl6wLYcIrA+/qKOrYpf+bhOFLS+FAijgkJXlf1EMXGWjzVujwUg+
Te9SO7AaY5vgAeYadY76zvAlwxrAXRpCWRfdxWSFkS7vZuHFW4okgKbPoiD1XyyFDbxFA5+YQKWs
ZrZHUc1y8r1c8j9QPfr/TM1SWBp9b3/9dXHpDzPt1zJ7zoafq0v//Pg/qkv6b2KCU0CyEIxE7egf
qi+KiuqLEGQyQXhSP1Ip2/9eXVINpGIw3gKNwyumIoravxeXeAmPSZzQVHzmaSjihPZf//sdkK77
8O+f9dmQjHw3KiXaWnQ0aE5+6GoZ66RbyZhqZyjDx+bQXaQrKUDkkd6pa5/Vg/infrEvTO6apl63
sYLloNy1TMWr8Ca5jHRfyvPytAAYmYEVpFeTnxzUTbvFLOGUPed7UGuagzOHW+91fzgK3Ne8Yzu4
Czf0gAHYmYdxn3ljoKNLYh7gzYJGyW7DA+RLfz7SsN80kJvhLG9A5B9hNO8xu6CKrcCAFnIwUGxA
gzR+5sNfAJ9SBeahvovANCjb7NL5VMGGM+gfWlL1DtWoS3QZIcnswNgH+lZCjFc0te1TdgbodlEP
7K58bG7O8dbc0+065LA7xqCGcY0OGcoNUjAc7EN1E15Ll/wOANylOkO2O/RBS0Vb4TrBMUOdMsBH
hnva8riOF+f4KqdTOrkmuh8P4TXbYnf+ikTOXoewhmCKp+0693XvQd7c3SeA2OG7bhNP9cI3+hS8
ow7M76ehe0rAN2yhn9HZAI2573YQVcLTfEgAjsNNBdzeBwONjxhGGrs3T/MBE20VH4WTzy2l8GJH
wWGrHbITTK6d5Wc0n6frMhj51HRb3MS71Xdu2FIKeZX4hnrGJvOp5LHN87H23pQ+XB0BlXLTQ3xI
D2xq3iDDXGff1BfnSx9UnAelRHe4R5sAPo0rQPLGoTtNO/MK+Uzq+KOX+XUg79hqBsPJugmvlhMa
NrTv5K22IUXcmvB55FPxbX0Ei0DHLyIZBJFOfnqhxu8ZF+3inLt9doc+iQev6g1Y08bYW4D55V1y
HR/ZR4IKMvYp+CfRJkzP+tmAfhNqiNlva5i7d9Y1HWqO5oC+oGlFnnFdHiALbEETbeUnPagP6nF6
gu2yFXS3YsuG9gWFI/7IgX5bHLX9QDGGgLyxL/otqQiUzxC76NxrmCewK2+/DUfWzuvkK/OHd6Y3
1n7xgZdBufelXXKV3aFEBLw8P4F1Otq36dliBrSndA+O9kDj4ledMut9a/mPqf5B2GmqBrUyq0Y5
I+FAJsMs7Lc1/dQuGFxwkJxDu317w6V6B5DOy0U/EIUL2VvoUUj3YN7QDSie42uAFFAqACDsJk+l
05W5jwlAL3BBGzZDngPnMmDDuWeG7bJACSxQCi/0Rj1GEY0lIOpbbWft2M7zvDVGeX/Uo0PhZ0Co
UDZ3E0DNWOME1Y3gQ0Gt3UZ+RMsseS1Q2bEOBkT71/Vr8TAGPQou2QP9LdRU/OWqDlAI3GQYvx5v
pY21kUAvtvyuDyDM7kyokeSBG+iwD/ZnrFP3yiVKTmhrQ3y+YkCCJVfv11v2tB6WUQfrXFgB8PJD
dMqP6yWE/KhfGb6GZhzvDkGh0wM9z76xURjeojEa7kbQ6YKG8iZEIp4/5+5LSVTAi89dENHoPPnQ
bzX32xt4UxDTzEneS68aKPHigpbZsLvbG4fplAajnxJY7UsTQPvZGrtxz+ZAoZU+8OZkV+ruEkDZ
8ID0PzHitvXmGYbcXrTUaB1yct+I4eDkeChn6VieELLYCsJS5WEYcY3HO//KLvSvd7Zn3+rAi3yQ
aww9Ff0QmAxbmGpAcmHcueVeuloO4rj4qHyNKD65EQxADpmihEDDLqCNFlQedcQAzhkw1nqjbtsL
29EtCnp0JScgAsox8yDwuwJ9i9CC2+4Wf2Cp6eh2gnNx3+ghbtBW8RoXftveAEgHdNfZp7yrCeTb
BhaDdW99jrYtwy/5JHCDBvxXiRVIADBSLs3eWNvwFolXGs9UdwPqutv4UD+A+v9FGkeq9h4x+8c8
EvPrJwDKZCUZnSJbPlO7OiPMAQq/80EubZugQFuTZ9Ki1wGFdMMVcCsH6HUCsYjaKDdn4rfS9i5j
ARo8gx8T7sYj6DA6sYX7DWfVzeAKsZ7QH7mTFiBGnCGC4TgwDfvdiK5TyDuEpsgXJMD8ccfS7Eou
/H6vY1XsvHYHFE8MG7FI8gKSZJwhi+vIp02f4uTePmBbBofYJpSHHugsV/6C0tlefGEXgCBhWheX
edfwU0zQbLyOPwPMQ8CpAolpA7wUv8iexXjuAmNLNZ/H2+6zW50vQiIjcBgSKodJ96SoXKz4ckQV
9imDBQuL7xcCXnTLzohgEKMlloMLHLx0z6fO6FNsLLd5HLg6gTDBbIRLzmC+GCziMK8ZuRD++X/1
nN7z/dxXtnqwgkwPERVgKIunILuS8McENqMe+D5uN2NKuka0w7OBQNj+8sZjAVHOBPwqy250F8Jg
eOiOdDYAaK9bkztHH4lmO46GG6FAgpTKruRxOgxTYIjMWTCJ+G2h0jKRqzDQwQSMW/iXkHUknox4
Tdwz6AU8zAg4rRyAlWVhFNS0yQX2yGxk0u0RuwAcB/HPg2vIZIdHDaigEIJ3xklx820IjVxcjkiV
8JE8QrVEpkSwgkJYcMBwed5i6CEtzM0r9+snDHkP1AR3QFV3Ns+efAI0Q32K992hEQN1a/rSlXjS
Fo1oZHsYsDZAXnhi8MzvgJ9zDQsDrty8QX5wHU43Jiqgn/b9Xhgg0GCgc1fETe45eVrsjB6VhUPb
1VD7eM6cTqAee98MYKexKoPi8ZxAOhKDjtL1FHTBwjgWx9LJ8sQcoTOOIJkYmApLBUZ7PKDab82N
tIfmzdFUjxrg9yFRnohNARotvsARygyxmOARwnTrucXkHd+pQp23flo/xfvKMym1+oSrANtglDRY
6i3GN+afqGEw8mRW5eYrPqRglxDV5TexP0EEGb6P1ORi+1DBdhJIdSQnoN7tuyD2xXToeQsqSxBx
MeyBQkVmQ6pLiN7gs77vX3TCsHMSsQpVIm6pypAWlzqAGS65o9hIcQiLUaVyL9GN8JiLnnxjP0w3
+oWYxrMutgoYO3G/a6aNvkExRhyXxSXbInNE1As35Ei7lvNAaU/cDxR/0CvcdExIQj0gdNmbLgqf
FoFf4zP1HpEG6A/EUs5qZKFgXpBGy759Nl5Mpi/OeACphUrMsq2fJb8irFV8BkXTRwHtQlOFK8Fa
ihhsM6TRJ+DIjmvtgByTSJC/AldpgZaU23oHpwOalk0gsEE14iLB9+bc5H7HjYVopH2PbfL3ET4D
GzN9sfKI2bps8G0SUab0makbjfyz5tILtz1hjC5QM7BrBTvPDVFzxDd51wPO4GPfVz1OZTzF5Baj
O7uKC+jmW3URt7o5COkUjBDBBnW8DtGFlNxGoCUkxa6vUIogUYE6TnxqIH+v5rm8Km6W1zkQiYKQ
Q0hIV9qAyMFUD32YWb5zcSjfgJ/KPEiDfnaODjjWIC+CRCS6ZDskUw7RofLzBWM4NxZQq3N37tAK
EARSx6dFtSEJwofsId+xpQo4l53kYt4IfJ8BBvN08psNjqxndkXAagaypMqvd0mARxzvIhuBwIC2
jIteLVmRSLsk9idge8QfgFryNwlMT+JjPeqJvKUGilru0EO6zCcwQTuoZXAHQMmQqM0BUhodX696
GruScA852LnUcN0A85CyI0yzr4/GJbwHkowj/UW+sx4a84GSk3kiEQMZVsyQI2y2EtTOIavvOUVu
CyRvz7wfCSb7/hjuqwfuLwNF36pXUOl9LGavJ8mFv5486HuVDE77on+z7/XrxOf28N70LuJ0zM/J
q3Npj4KyFHn5DmBXQuXOo/4T3UgeVeFAMDNEminyUIUinRcBaG2EkhaZIsgmrp6TFExD1DtD96UX
0m6u4fMLt9l07jW56XP5jL5Cj8bIKTlh7mbB34AAu6s90rygy5/1JgABleydL9CBYz72Sb0LkX9i
nPCDoODSkwHeZLqS2PSRhiExw0i2uYfVXuzDnO/PDf0MiB/psz4faSWfTQag1J3CoEO9MrrXIlfd
J+1+9eNdBVsy/awwHl4ENRKG93dJzmdYTwSFFiovUhYW52htLA8ZCddkdHUC3gWaj47EVqShiKAj
VyKyRoTVOARK4gXqGAIaT10T5q26UxSf3y4SCPk3JNq8vtksKLTSdrxXX4o9jVYvvqzGbn5bdq2H
XAB3EY4u2Hy2XwAeubGhC+Gfc/x+Fi4YLzuQbr6LiOzEafTkySk1rG8I5l2WyMf6j8VNpHUkQYQ1
rFs2NeT24gzgHea2YHumYEJhW3MseafwHvBT0JZFCszY3Tyj8cBCy8kDUVw3QP35Kx4A/Z2dSLbF
4EZjaPPwBtuLg4jbJbYgvcsWmoMsLNE4ED9RuecrxwMKJHDKUHARafSG/xOAVG40non8BHqFUxDa
BRO3jKYLqwtyA6ByRR49uNIRzSNyasVD/x/uG2tqRibFdXDT2Yb6wOA42QG+PnQDELw1upDooJNE
Q8UFYtbcVwR/Z4+EhN9y+iuqLOKdLL+b+crgAvSAUuo+u2+QiglZlCave1x3sOYIyjZrb+qNvh3U
7DZYSBGjULc9ooeEYU/cZbYABGXSgtMIpeOtI2OE7sOBUk9AOUlcINWA8xaJFEQtSKGXFKAha5zF
DVVddiA6nHK2yuQI9StbbVYYsV0UGLyfUFzXP+ql7ypWKrWvn+qof6TfH3DItoS211LVypkkVfAp
ANdRWGJd976Rp3h0pRfWkBKBS1ZyiwPjp8a+gk0n89smUjWkT5Coyc9+4DSjABtEUpt5j5YgFY6Y
AEd9iloSmam7XoUP4Tk8tyfnqkVOctxPAPWFwk3MakGNiaR6OhhC7+8xv188tO32IfkeCqJEbKxT
RKEmQPIIpsh4bIOSv+aWIOQl5/5o7kVEHHb2HXhOlq14Nz7NT7N7bbEIFX73sLrlVXdO77pXsQwo
92J9Q9psS2cmUNyKJaC7seB+voxM7oL1QIQqB6U+g6WfOM9qB/CJ6GAIFs7Ky/i/EIIRDgD2CVVD
bCrFumJDJJWIhgpCyeYbml2Chb2tEe0hbpbcPApLFOnEkrKysZxIUTn+hsoJAHQ6JewzALeSrolF
aWa+TVvCBO8RaXt4M+9EdmNQaCBrdtXHFeAxaR1bIiQwd1g+8WgEndjyJd9EXmD9fjloH5AUNoQp
nghsSA8XaA+NpUOJ8q3JdHcrSlloMTBnJzJpIvkMKAE1iZaIa95x6YQB6LLQlKUboZSpeXiOHBK2
+gar9hiwMPvLjt95TA72WQkUNqx1/Zn8p92JPNIBU0/nigHDboFrwOlxY/RXznV9lp/Sm6IOEllg
UM8T01sEEdWVos2mIAmDHIdmDkMQNWnGJBJoeHm78nGBcf8AyWkDDs6FG0WMyG9mcxNDhiOABGJr
y+aaOYsmDFtAAow3XYkUcSD/ESme5jXyTo9duvUeRKGNSAxnbtwAd6YiloCA4dSJCKRlVHJI6pBp
FJsSYEGEVBG5iGOn8CW/RNdIzBCTRMkBQUUiVU4++/ezlXb9X8xWgUn/abNcZLWR5bFtncNX5Uo/
oH1GGULkew/Ai+7g86rIV65bkcjahEaRWgoIs3Q1UWXuPxv75M64ro5U1W7Wl/zE79+wR9lpCDAU
nn2wSUniq5D6scgeQsiZ5d14rI+Krx3WN4R1vO8oY0SiLB5zAgcSDtuJDTRpDFtjANi2zyZu1wZo
MpJrmNft0XoAx0Za2u1ZNIFeVwyR5FScOraY588sjoT+rXyh6cu48ujX79Vr9XN/KE5CmAPaHGsZ
sBOKnI1gMAbd3rmxo+30grxRs292+rE5Olf5nvhOFKd8TuVNu1Iv3dHas/X2xAY/9Z3g+yP4t/o4
/591aBQqL3/dnHGf4/Y1KX/uyYgP/GjHGPJvtmroOl5jyAkgjgxs9wfYl1fwxLNxvUJsA46nSv/u
H+0Y8zeNFjqdGNNQTOVDO8YAmGs6hsF/ESL+t0T4jfc9QkvDzUwHYolStI75oPxd2/mnWSN3o6xl
g91slalHeapA0MMBQVPhbU7nZTRM8IL16GYq3EctQW7205SmL2lr+E1UPuVgeWOQEoVc7tO8eAYv
S+FiBAWljOdusg/WcjePpAhAZwE5WZemAY4YFV9yXGrwStkWU7JHK0HJ8us0Mm7Kkl1O0Z1VNbwu
OiS0UVcbrCKwjMEr9fGTptMsWqUFaDDyhVb6pudkyJGBPSwKXl33ZCpF7WLX5v/0PP8kBxCx449O
6u93iVYqFgqWcH/7AEd1knwKQ9CYW73LbsqZVvfaZW4o6e7fH0d7zy35cSC8FXQFwxIVq4UPFb9x
NnJMOhBJkNLPKBB5E9xyFBgat4oorypoB8GvtNo3DDHdpSN6N9OlatkANgtFKi3/HIVfQx6GtELA
HdkKS09xh00TWrS6/rVyAM/2XsV+IqOlbinjzVj/4hKU9+ylH5eg68is23itQGD70OdrmzHBoBku
faVW58zeLIpzO6xwMjP9tTClXebY95ltbjG7BXGZ/qLpoP/p4S0LuAvQettSPjyqCdMf2yrh2DaY
NoV6+mY5XxO1ejGXYd8ocenWlQU1omVJ06CAwEEsXT4CTmpVjl0W2VB51YOraG0E/SX93JnkAQhz
dZ1BAqOEt+FQomidPNXMEVWHgqvBi259EObqphyvzPZsh20Q6+l2jheqSs0CSouUIR6wSW7a4UqT
9P0SNxQTlK7w/n4A/aBWfRiqOHRYImwYtsGUfr8MDn01NGmZAOZFNjTTaPBnYwlGe5hwlB3jWxvD
dsU02T8U+1Qq2SLWONPmcuyqCvgdQ7uK9FA4YXbPudGcGzl7XNExayP4fg5JcIUcXHoVLshrhXJ6
044m4tcIWmSz8rCCsimzyM/r+soyiqBcUApK6IPMzlWv2o+pmgdq7ezsulxdW0eUU+n3ozxeySt6
t7FZkBrr6bXc5qcB/KNrjmONiNq+V9pHIzJQP81PtSRTsWHDWyQOGPREP+ujc5PcOovdoSmqxl5m
4bkO+H8z0W+VQICPjlAWVp4k53aqwyCW+k/zrF5R2WD7uOo3oJ5vEVQcjPVumCCelWg4gOGRMAQB
rOEavXOlsgO1pg5Kr1KD9Y8DOvBHzLe3qiZ5RXMaM0zgwjOBcwfObd9zVCD7XmmM36DJywXKkJPi
XA0hN8daQZpvqCxkq7vqLRoi+dbSy4tswvgU1tdNcdAV1Gpb6XNs9KcFiK6jg2PUVXxM7EsyVBc9
Hg5LOX5WZijwUnxOliawlPI+bugYjvPb2PFQQ/Ozatf3JSIOjSZGaLNLBwl789prRsWLMEUDeX6Y
O7ZYkvNU5sXFmHpEBfNjXMpH1gsIwv3W6TmvEavCbLlakg6JpBTutuGsrh7RycusT+16mtkRYlmk
WPt1yD27WhE075q9ndiXNNJuljj97HTaUU8LePzYQaOe14ek5eG1GoHHnQs03CGDREYA7ve8hghA
r/g9zhI022KZnoB6a54pZ1c6fdk0VukZabyUhZQX8vB6reKjgwmenQLwkzJPixtf6hnTmI5hQOxD
JQFoie2KcTeW+B/25m6Sbmf1a9PeLm1yHDX5sdGMfWiiatiFyPzB4ArrQzt8UkImNLQsKduAkPAA
/DTbaYwNT1MPfQxhqwzpcjXdLkIedpzUm6HNv8zWqxXbV2uRvkkaiNJ0clwsbb9meXUnqXTKlRQu
vFz6WcgWiodr6Btwj4ehebS6dnAVTn5T1FiPVIt+rbVmsHSUUxrnel6tPdZbPuQBxEKdnSo518pK
oGnL7qDm0U6O7FOtd2et7a7VZkFndNrnWfdgMdwiE/RPUq+XetVuOwGQtEeElAy1DZo0PeVS8Tlf
rPtpTnNfsjiF0AGbhvLnl1TGrER22mNVyp96J9e3RoQ0lNNbzkZqOBWxCuNtDw5r2juSDUN4QnBW
K5EU0ScNeRwJ1eJurEqXE9sVGG57rZxD+UsQWa0QmJCh5qoG4myRbZyFx5WwKkxRBK8LYJS4seUs
f6EktweO/t3Aq9bYl+HMLRITJOmQWaxlVGkxc8sAb8lDv7NU4cRToqoEBHmfmLkHl1dlaTKMEy73
CAbQSl+Tx2rSHrou8pqZnYpsF4SN4rMVGciU9PlpNBIvhXRkeBNY4QwUfNdQT9VR/s4We8bXu3vp
6WsCvXmUHYx+kQZv6/ySopa4YDbmKMsxVbB5M8xThuxCMuEaoLZVMMbgVEhv7BYg8QyB1KH5g1tY
aKElrWnNvh+xW8TX1R1QKM+xT1GtTxH8JWV20KnFVsIxqMz0w8GJocyP6b254hEzaTASkPFJDxX3
GciJfgOl+ChNoID1OxWQurLYhykZzoh8+fgiblNA11KON6aNl5FKxzSjax7HNxZ5Xl0PT0jCBcIo
sC8QioBhi6pkh5iTpCFgWFo10jJV92KtuGQCIfNtGdUZy9xHxGCM1fYVSh2lUbPcMFvMegQj+NVK
P2mpcRFmpqmNHayi+qMpIf4skfOgjZoQ1yZAjp2BLeWwNXE51KoO/Q7w604/nQrUpJ2kQ1emtU4F
+tYGJjh9XN3VT3qUPlYlDykGJGtUgRLtk543ao9lwex/UuQyqOMQu/VxU2j08jHFkJwSIiz9v8rK
3CzRH1ar+ITdbtCEtBdDybNn5Pj1vTlweSEZrxkbJFn9wXTSrd33u2ysjqGgZhi9V5ufHPuu0nqv
Q996RIOmjN0KnUdNoVnf0C6dar8ow4NUUzAg0gyyse/Up7LDx5uOkFF9put7acP6Tpuxm0VlW56k
O4Cqvq8x3eMQ3ona8pwMrAet3NoNPAJxh2XgJr1c+ZNi7sg7TtqAXA0WAemEaPh4H1v5k1ESKxIy
RbM1LtmQ3guPTjBjjPtLArtGIXLrFuZTLS3jBtsrnlCkFZ/Fv421PM2LucvsSgbFn7zmnXpjRuU1
Rl9IfoxYg9Ara8vPOuTU0kGjhm7zoO8VDX1Kw2SxZLIa6znFDNEdhxxJkBweFLbfnduH8bfYrPZp
pT1MQ3QUYQyeAAhb+1pKzFsthHWjGqceQGikxM+TJH2tBtSgcclrRGiIc5jtOIfE3GQntuDXptOt
tMZ++UTGjcIZoiqYZuQzqsjKtxyt26pV7qIVvy4bu8+ov8UheFfPTMEmP1XWmefwbDPHm1J/qBbu
Rgx8kpup9giTNe2h7F/aFf59SKNVghWob4zqLUvkqywCKZXymG3YDQ1tpGCOHPSS58cqLffFoN4s
Mpzirgly8xhNuocc1pMU36rhsDeqGPuT2Utgjhtr8nVxHC+cZgrKMWw8owIbEsL2nYhm/QZXI5LX
aJERXKMuk7WR20D08uoaUHtspZS6yohenSMHvUKGpWbtc2cnb5n5TZYVBMd165FESQUA32xVe6Ev
qltQOG+HipXOHOwznA3m8LC+dIWEoyDtYakEeRth2jLpVKP0UYLarp/TKvbierS3So/KlTIzCVr9
U7RIz2Wjfe2LBFjKrEh7Sytu5gEVNvnBVlGkMa0vicUPOBbh/IKBhtJG8QHIbQcxqIVGsZbkJqwx
kc4QSrMO2xQi7rCM3yJH2dlS62fDiptT1/+ikPRe/INtjO7owCFN/OnAZpofVcqcPEm1qO1ahOWy
V2Gjq2IcqvfRUce5+u+TdrGpe5eycyhMhRSQuooNAFNsaX7ag4ewEKUsLAEytl9ZAiB6mwgS13BN
oMLH1S82aNq/XJkBqdLUkH4ycDKC4Pv+cF1haTG8KhBwvWIKXsjOLr6xI9gxRSBeVF+UxHhcUFua
jOJUtdW+TegyzjRJrCVg3y1ZVhCjcy1D+sc7cmfHcxCPDtwrdTdFKLznOLL0050xLsHSKg+5oj4a
FXhiCSH1ZJzcMCkx8Q6frKUSMGlPmZtf7Nf/9BKRNjFVDdN03fpQC6yTtsezmkFdQRgjgFXdXkM6
QS1/NUreI3MYJeJe/nQgcSI/PTpbi6RpMjmQNaNIY9IEZSL+/eh4j5f9cQhkJkDe2sJ66nvJ4KdD
hONSZUluwx4lfQGCfwmRw16i6MCeAeGm9VOhPSx59It9tBgE78Ykyisq1FvLsIWOkPqhEBFbs73W
/dhsxYO3O0D4aEj1qCJ1ZbpJgc1E4b//zN4d8cOwxFxMVpNoarZ5Y1yWWT2kXXFaMnmnovj897dU
/ZciwferE3qjFoQz56M+SVzFlT3PHKtSlKvFWvEUMXG3aa81CH1FZj5WMpieClRh26H3ZJ8HDFNG
JErs+WF8qCOQLAlwxYW2VoG6jJp67aT9Iir8ydDCr46Y4HCeeNaJ13967pbTKckEK3zrDE8SGhAh
XYi/vw3/EnfEXTBlFE5N/iLX8v4Ig9y2WR1X3PFkvVY1wB0KqFDtflpfkrv/xqGoa4nShIxIwYei
kBQpJVSwASV/nApKf8KRMVMe8zbz5nD+UX9+Bzn/uWH3L8U6cVl/HEv/UAGhzgq/e+qbrZ22fqyj
AyIvAcDzX9y9PzsMiHjF4cahVSTkGH5+PoseWm2fys02iWhUVvkORtGGFsQvDvMnw4D6LOB8KsiK
wXL0/jCZHMe5bVDPGUeaFg1bwzXz/v7hfC/yfpjsiE1pQuoXa0TqRu+PoYxLCZuFgWDo1nMbjp5k
0BZiF4Z7jSTlQYY0XazRhqiBalnTNZTpL/Gk/Mq6/X3n5vdgapiCH2AxKtUPlyo7QxVF4IYp+cTn
BlXzFZvLMbyRnOVG1vrngrVoWORDioG72h+dpTsO868mxZ8Evner44fAp0qm1at9wbSLlft1gcEm
Yb2HnY7zhlxPFv7CrPHPHq+JBBq0CEHN+HjrK9OIxmpuSb/6b/r8pBT/nfHz8wE+zDxDaWVtNn4c
oO5Og/mrefBBq+HHY/vpCOaH+WZzUdROOQLI1uNYwSYtgT7aUo3njlqdzGi9j7ToDF01gkKmeKZ1
0rGbaaSvTWhc9BIp4VZe7rtl+TSDR8i23QzNzZCvlBj+gYUB4XLziwFvi9D2ccRbcGSEsKapQHh5
P+LV2uhMSY85ZyjAStshKlgj5ZT1IGKJFEveQRxfdapRCts0WXuQqsrypAk7YiiokpIHo24iMmCf
TAvbFBU8Ut36JVomGkKo2XjbdtVJT9KX1USt0JySYxFb51YFoJPNdwtbzsWpfZE11c50rRjqVYf5
VaQJDKSeNAB7JCjDa1yRVS1Bncu3fcv7sTAZHHAyQ/ll1o2L00mndaEM1VIobKCw2+dSc/wQimAZ
QsZAk6plGhk25OYKdSq+zphXPBWhikrzY6igIoYk+uLI14aGu6sq34u5tnJqfWZc4tI5F7p1VnSc
ihvj0ZB0HDGoAlQ83yZbgKFB9jmZs3zVZfFZk8q9kqOI5wB/4msGXd012DEh9HDVVwyEDvcCqz4x
Hm/DWL+kOmJUiro1LHYyVfslL+R7u3R8e7F9xUjxLkw95Ay3rfxNg1JqjBmuzux1+5t5oT+dwRCK
gBdqqCpa7XOLkNZg5juHi191Z69nqGcWy3UvFTvUVsqk/DLm800aahdpCj8tevIURtWbM4efLPa3
bjFSPx5MJDHjEiMttJRmTAjQxdtAWBRSf1MrXasF9SSjA8cmQeRZY9wU4hTwZ969ai1trIbwz1SQ
NnhKX7LUPlEk+7bivNgjw1Fm1TkvEtQw4S7rCV70/RcZYZvvX9pXnFsNobI4dpSdevplZcLGLpOa
BhhY/OIMkd8ZX5YJ8O8ArEM2kYGte9wtOjS7hmoMiiHSvGV6NLXm1c6Wmyq3pR+L0b/V2v1L+3QW
6Jeqploaxf1/+a/V5bl47T5qO7170593icXZ/POL4Jb9fnbb5/753T/ALiU9w+i1XW5fuyHv/0FD
E+/8v33xf6HWxLfcL/Xrf/7HSzWUvfi2KKnet3NhT5pwd38KM+Igv39YXOh//sfxGVGfJHvXBf7n
x370gi37NwtZP5pioulK65YV7kcvmFdo6sqs8QaKKeRihOnfe8Ga+htSepqF2JxKFoCj+z+peZry
m23RCUaPDhlNw3bsf4eahxLou6j4A+ikk3CKhfmnVDO0UgufVqjeUT6dO2qIrizBv4/H/Gs25uS3
gP9h1zYjVQ7cohKcTQazOCh4S8Z2LHvx2MeHSK1g4OQqGGM7w0vVUPAvyqlRT4V6nHPUR/jB07ry
k6kNd21snyyF3Xsj3c9qW5wVO403VnY1SZTu4gl8q47Hm32rGvG32Qxpw1gDv+sesrR8aQptz/5f
tNjS6sSNu5hKd+rTlvKuzUqUFimQ67jZRZp1pOcxu6tD7E0jM93KK6BcukWbOEcHvkf/tIu6V6mt
b5188kNmlF3jt1rVyZEs8mmMwGXhcNXE3ywnwZiS+oosW3crCsN9+imM34au8NfS/jTFhrqx5uQp
Ua7oJdSePozPRtgDCaweWl39ZqR4hlFuuFFkHNrZSTtVl95nha2eWwNNiNmgwUItwOuiHLxTCXHM
Xnq24yNsm75SvEWdHovauKwWtpVAB+pP1rJAZSrS0e+Ltv2ClNVmVGfUpPq2BfkF67lm/4uVShiZ
rLMQ+700bGNftRodDNra2dfrpDTUYRveqHT3RTZRjU1xgmum5jisVfW6hEn9UEhq8oD0UBoolXzK
pxwF7In15fuM+R+IL/+vhQ4KA38NILkWxXXpJU6epa4b/iSC8OnfI4jzG6JYNsAAxVE1WxW7jt8j
iPMb0cZG+43/si/RCVb/iCAaaBJSdxSAEHT7wfv9ndxLcMERHYI4qQq7TJAo/1YEMf4qgnzIpxyV
lKYuJUZHlqsXFNc0nCARPsqcxLmz0sKW3dlsozN5f4To6ICxhbNGkBQp0t5YY4vRhzxHj4ZeGYdo
zT+lU/dlHhoE7yfcOY2yuDfbcd4oY+Hn02RsDOSfXDWs0Wol0dyocV8e2ChZt7E2S5Bx4Kjf6eSh
2IhpSnloi1KvMH2jLYvwyGsbruFWNbv7psy/hNFAN3alUd6FNR4wNpFKLyiSp4igbUYF/f/MsIiG
UXpGhKPbKl2XnqnTYOsexktQ1eG8qWUHwGw2ya9LnEBS6qTpxUjK8G60p/IG7RYD/s1iml9omqmH
KFsxAm8smvSS/e3/kHceS3Yj69V9InTAm4kGx/vydoIowwKQSHggkcDTa53u27rdCknx3/gnilAP
OGiSRfIUkPmZvde2BoPVXFgUQYWYVBJ+NBqICEfmjG5Y5JfKCNpjPZXlV2HGE4Q6+dLOfvIYFQ4C
9Kiqdq1bA7MPQn0yCLnflUnm3DXV5KxRLs4bKfOBzWwZrKxgQtBNqB4qwzghD5iniZjgMnrw25Aw
krhvrkOyjpkZCKZLGwRQ9LI2vXPGevjqHENDJ+Ehkos0NJuFbbbjoVFVxZ7J9NceC96t65bgokWs
ikPtRfp2MvzyNpJkINfBAIRb5j1sGZ9kKqetyrPb+/au5im4+GGrXoZMwdw14uDeF2l0M2lJdkAe
x09R6/v7tvIwiaXgPYuikDdzXeWXSDe4M3y3IkaYFHDR1hYFEtSQ81BzXPdC4TzxjX5FE18ttMc6
0w1niyO8mVlWWj0CzXmuf6nJ7oDuxJhUo3B6ljzNB8dx7HWStvVZV9gQ82tGel/ZDMRjndxllPjr
PhA4onon2Tl2hpxu6n55RYx3zE2hgqb2+Mds4//yAXnVOP33R+OW6Im/HojXX/3HUUjD/BvTJIuR
CHyL62zkz6Pw+jO+BRDTsamN/nYUWs5vPvABJlABfSnATE7JfxyF/JQNlZMRFWckBAT7XzoKnb8P
M8IrjdPjy5n8GLiooK4d6F9qKqtL8qK3O3kjeXSgS9k5aXFdQBYAW5OEFa4BejKSq7HPlqNLoCoM
X1S93U2OZU4dBNHUA8jH+9D9bttFGSCIrtG5TPUazOGK/xtMa1duwnDfwvZC/V2RwLn8y0d9+0c/
/LdJ2u998D/75D/+FVeBouVCOuST/k//Cmq6qDQAYN2AyXosk3VXB5faCNfmT8rGWQLiK6uPNEn2
yYSPT7e8QnufA9QS7kJ2e2NAFg4sqqh/RtaG5lnYD8wil4ALNBOthJNSIh2yDiGiZudcjW9dSRTp
QzZiBDJxeEXNgtxsQkVlES9TqwNycxmJoyMla+e3ZDib+dK76WHSzCVxnA375fQX4rBF45mApu6t
6l0Au+6819F68uoPr/DevWGP+g0hXLPLZfKUQ/SMbWwkvnN0HNxvfrNO2uqNZHJgmmim7frXVT3Q
We4BctCjuhG0/nLAaxe0z5EOL2OD4Zv5vxZQSk1jN9rGTs9kL5SPqjRuKm1t/LHdsizYX3+pofD4
13LHxG8fivxN91g2HLnKW/sMrGuflzb6m6RemH5x6v1fQxDdpEzhYAS+d8V1z+ceQhZTZYHJtiUL
hsDVwXmA5T8FPUZGN75v4teBHIueWYOs48dODC9p/eizIk9t92y38W6695PsNoiDfVJ4bF/LKzAC
8tUiDrHoNM1+aoJLWRWfaoAGb1kvuiO5mNXRSwBsA0DjgnOfozVWh7RtnwaTP/l3RBHotrrqfhUJ
To1Qumj4C7wcXXSXWAJ8AdvDQtfP2rJO6YDnhMlJXdgPhsKO91Wl3kFZ8yp20aoVzsmY2lMQ2Xf2
71PcLobgk1qv4rtKw3Vu5HxDFS+VEhilop6oMLVESnuX9WSaelnxWdk1qQ+ROGcQVrnX6mPQTBcd
I+PSaDgRjLNFJwW1ql6NqHiPK9dZiBcmL0ujRbA1i9zd6EGtVJp8hk7dLZNcvlajeEoNRhnGfC1R
euyJHroFJB2rtiEqY0qCBhFcD0pWiW8DAWfA/XMN1+1a2W3amdDyRgRXHp+/jxnMLeqBn59U9kMS
wI1OxodUocQrvLWexHfTSDxiJdIou3iPIuSvbt7UK9O67Wa6HcNlvt0b414nFqUOga5gwJNUnuYS
iElj3YXuGlrTJlG8YL5/zE19FGRSwKFa12IXODglUnydPb6h8OJITJMSiiJvV96QGG0XS3sESyoy
NAArzywYXuTrOcPbDYVgcl6Vn3XLKiYrwlXJW8DDaKlLVSNVz8s7J0aSE4fZc5IZN4rbsuuHdQeW
MxDbMoZ/NBI1ajoX20k+lbKP6A3vCwMrWeKcwsLbh9WNEzlougBNpXI3zRBI634fpXC3Q2LRKvbH
sE1QJjflZ50/ETM+Djd5+Jy3eiuGAX4qLugciwZJlz0+WEHcBU0V8cv2VD4FkOVrgYchJfeEZ8Eh
E6DgdbRIcO7vXJRI4wjND5Jc32zYJ+xy5RNceo+0c9F+xYKooVLiAXnr23TlRseUrO4OTZtPpg3i
GAHgr08grMJ8UsmPO3zH6Fea6M5iy81lAGPMU08muSI5KFKHHAmsUdUhcd8HSdo2bGW2xQRZE/wo
CLpQQPwRcbRPaMJsXp6mXbbEDgsyzyvOt0vYP9bPKbIWNDYx9nQyk/S8tYIj7LvB+x6Ag5T3vnoP
puPoPRZOvRDphSlRHj+MTk+zzLfYCzdg+AAIQlvwodBkBIP040K5vwyO3nl2gDUC6px+nArDUg8o
1SK8CT4HJfjsqmNa5M9+6x6qkFwgYZ0zfDk2Jom0vncWCERvMvJltONf2E1fLGGeWo1NanbBB1on
3rkd6q6VQZ2WVbVe5inJcYgmzUGyZsMY5PHiDkm5S4l7iQwsihyG0QjPRVmn0Zke2tj/aboDPMuL
aU+MKMtrjG46oA4XpzleSjt/Ia2KYcpe+Em8iIfvMZ93TsUbOwkXeUWGR83tTh6ipJbjU5OR6ton
O7eWhWteY/uGGsEswMReEgOUY7wM3XORwuhX5fMwmC/Xf5hzDR7ljdAlsuzaOQwOJlWr26LDImJ6
fB9LuZoafN0TcgkhX5rUOSbSPkWev7f5daZVr9se6kGNpot3HIXCkXrTDoFOtunbhITOSudHK3XO
tvQICLO5D1nXWGd6oZ1tWhvR8uJNbCabILgp/WRfocs0reY+sTG5mztkW8txqJFyOUSi2uc5wq87
o81leD+GQO9zf++PzX3fv2fa+goDmJ0Ku6BI3iz0rlOJM5zFrMuoos2mF41szfbK9UD6gh8++umE
InFYdRKvSxPs64AErUw/5In1AFV7Lfj2BUa8Rmd8kw96DRGOSYi3yBgHeYKYgUIzlPnXBwv/9cjg
r8PGf/v/m23+7x1c/o8l9sNHmfy1xKaWvg47/6PQDqDLo0oBS+L7jsmKkJr5P6aWV6G5eYWDMaP8
fUf958zB+s1lZ85/ZIA43u/V+Z8zB+s38zq2ZO2O38RnkvGvzRz+vrH759TyP9WmY5y4hd9nTC3b
3N6ppG+2PWTHbZ4AQ4xEc400T7GejlQ0ZYskaUiydss/YljWiZQnoSTu3Nl47kNPrHM/fS+d8r22
g+px7i3xUinbXma8lcvMiIuN5c39WjPCXbQhRE0NfHYpDBmBt01xszSSNHCZ2ARYqJF86biLD5an
nR8GBcVy0nG2qZuc0z5o/fGTMb55GEoBNAHq+DrK0am1vGNgJO3o0AQjKdZCXdC0Ee4Syug+LFw0
tSYCshXJT6C/xtZZdUFRnXRQ+c9NZkNtyad2pwMd7TAGRBusDfg3y1mjx43I0nLYbRiCYNUqdeNF
ijb4OYs0WWVZOv0KADsTXBpgEA7LayYYiOpg0EQqO1GxG9vE2BmKGSEIOWsRURevlJiqH4CqjIYR
fE8U4oNnVYSjGcG6mga1i1O0YL1vlSBaG45fK0BCbLfJvXQ91GJOeR7ngaRy3VjFbkhGjn+71SS/
zhiz+xqTkEiC+7CMp61fjfN1tUW6R+SVpzLrxg0yf4P2R3WHiaDy0rdfQ52na6tLMdy6Q7ese5OD
JaZJmly3Okij1SDVjSndDDp4tUaNWl5sQz21ME3zkoSD6FT0uHw9NGiQul1/pxx55tup9/WEXwQF
7Dm26k2bVOfBjckPHgqypDMPE3dLVPwwo2ceHMtfep6cHopsbE9DX+Z3ftsjju46HNa9jN47p8c7
WQ/OIdEoQN25ggQem/WzCsb6QalCrdJkCODshmxrpUOQkTU3cilHOMtCZy1XDajbYB5B1Rl+sSNH
S7786wfm/9tp+F8fq/8bz8KrEuS/nzScfvV9VWYffzsKr7/lj3GDHbKGsa96Lx/PHr3wn4egbf4W
YbNh1BBgRiUuiEnAPw5BL+Sksx0zCnhrGUdEjEX/cQh63m98DUYXGP8QkIT81J/rq3805v8TVRHx
3nXL/s9OnfUPTEdIkEjEIh/ZlsU05K/zBjMX/UTMr79SLrCGcqiPrcH51tlSrw0H3aLp5USh09BO
BYF00d1Ey5mG+JfYtrbXIda+HfbxVJObRWnUemuvvNKMYQ0vfUVvXXUYhjuEEB1L8DxSJFzPg79m
egmLXjbD0ooM/2Cmj9gWbqWU1nPh2zduAhvKyl/RFtorVznJJh+ou7PhRKJj6nHKxIPZHafBeUGF
ZMKCTXddncCBGxbN5EVbWZa3KcTniffg2ICPDHLjwdL+i7TJg1BtyBw4p/aZzBEXDgpGN4qPPplh
g5meS5xuIbY9S1cup5vzGvhQq73JhvJE7HDfhsvOgXtURZ9lVn3MxccsnO/E7TduVy2dtl64Trbp
DfXkt0AlxymjnnS85Wjk+CzkHezuC/EG5DnKX4X1pqUDPCgiAEpCa5qqawSgjD+StD769WfKhGIw
4stoy7vKMBZOSgpWJ1dd/RIEqH5NXO2JvcoD8Auus+XKWoUWZx9Bhc5snCu3gmSNcHqkM+4sjX8s
8UhqJuGnSnZWEW8j/8loyONophB4RE7UYwdUxwOiFqvPLtnInFBkv92YWQOIUpFJZBbP9KzPBAYI
81cWVLfXD7lNyX+Ppk9CSlZ9CvIoriH766MqiYdCRWkhLjYc/1OZKdFhcifGY6CwYWXGagwSCAA6
eJEGXCMHOlamOURJenfhDAfOnRIQxNLZYYAFfKrAg89T50JBDndxdpUq+zOAQn5ROPSQcdBr9pY6
NZNP4sPs3ecvUfnUWPlqHvhzxK3kvkrC4phkHp0GX0j6xj7Lyz1XH3t8va0QIQuXlmacgSxMwGbQ
9xtZ+YELaxOknl6JKXr0ZWsfa8fYFHYQrrIeUyTa8KNy3SelsgNs9Ly+FPhThq7/ohpaBcGEQP4j
N819rtV3+5RUybHv9GON9aFqQvz9abUy2IgscBbBB5jFjWcOP7EBuy5PoSDQtNl+BbGks2m+JFDI
NLyLe5L13AQvWprMRJilEamUZv6aak3CqOW+4yfw1oaKAM7M5knpJmXg7lFEeFkNRwW8MkfcsQOG
VY5bVZfEZparqjiYA/F5LZMMRj0sJR3vvSR9K/7kHt1WhcSdngbZxUTvW1Cy7ccICmYxqOmubKJ2
b5Z9ve4GUm5iGUd7qyw2xHWczS4HCOCn0aqzhvYSyOzJdAv3sUh69wGPWh+A2I5SddcbMah5srPp
J0dzWVv3BAHofJU2/P78fbZOnV/RPudHPeiFl+aPw0BOp0q/FN22ee5FA/W5WHpRfsy5ld1gaYYx
E795kVv6Ken6629i+pUtpv6nCajIsFz5QuO5BOegnjzcHR5N9GjJU0ev2o72ped7zxSYFPJlYjMd
jNiukiix7pNpWwQm17BeyZie0PuIzXYzSIiT+VdZVvuQJUkNGNu0q3XsxtgHqKtMDke0W7Mf36ru
7NdY26psG6LXy30wUEhChuLBauatLrutCtoV7uV1Z99p1uFjzRPw7lQ7uzd5zKHsq8d+Pta4KiUP
jCClPDFv5/Kuu+vihsjb9OCxpnatJ8MDY+gvkvZCCb7BeLuMLaLSUnNbWMaR+mNZkXDsMNDCgeV0
b6mGkhFPd3ybllmfrxr+flni9NvS2c0WfXd9l5rhbUXhNFvLNIMGN7NoS5MCSk1a4gPSj5VvLkn9
Ic0037Q4II2k3dQWkhfaUMeYxKqP3OdJyI1ZhvS7ckFQAsjzdZxMz4W1U41ezf5P56oDWiNMgt2y
EfVeA9C65h4gD6hQhU7tS+afQ3xSgp8Ag2eITVsD/8/kJQyztQ6z7Tglz8mY3eYaTg2IQGAb+dc1
CARf4yw8vH7espgIy5sB2iEo6LJoqdDzci9SdVOId8zG0A8mTHF6lOj9IY/zdV0lzB5fxjB76CdB
6jWoQDt5K9hT0Jqyydv7PvPoELCTiTuV+JAkem2Saqtwx7PDQ7L0nqQ/zRQs5+mn6wXpGzTj2t+O
2V1mBY8twJheE97GYLNVRIxTOSrbIjuYhy1nR6W+u7FY5IGLL4iU3eJnJiDCmWlnsDVjkBgudted
UzGsMFrtm44s3tFACbFKJp/Hauv1mFVnO/oRHn7w6/+L5qXZxBMNfHPrK2vjXtoZJrowYSyZU8yw
FW/igg5DLBunsRkCkZ2IVqE10mc1O4c2opNvCTJoc9A+hDyYSf7A5H5rsJ5kSMZu9z223mLrRhcj
g9bPHvVtxh08zwR0OiBfBnI6nkuGovN4tRtykhLZyNmxsAeGhZKg4qYHrBIsK/GgSNqLcu/U2veF
P64K+eyLV96gtd9hM+znswl7DIROnO6TEf68ha0yrbceHg3McyvKN9zLz3GPeSHT6zG7YuHhCIcx
Rr63oCBOzOSjxZFiMtsN16Uiv7gtb7KcERchWDHzRKMgadySsEKIeGi1c6ixsJEOs4jzHZvi7dAD
afb7G3PCGjuRyecfO+M74nRNG64s71fJkVdlHsp5+JFtTykxvRYoPlqbsJcScQfvtDVihBaLhBQG
FkKrymx2XO/bQVTbSdc7Yhs2VUVEkuktQ9wgha3OVsy3zWzzz9jZqka9eT3MmDlAraK7XaJIVNDW
qUHkUhVcjCSDNNyegtlKX0Q/iQs6O34gXgKXmrnyC/ueaA2WprXrP3Rx9EFs1iM5Mp/jwAOeWjiO
9YTu10YFmEdbFvHwjMoHGfKgFlWCpqYsQMcV5jt1DIVkLGibdAfd0FHDrZNminkmR/RIwx0Y2LRQ
9x6CRuWL8nsW+ltGbrLxlPfUJO5tHKEN5wkI0WoXc+aQXukdpNKnoYRjDS7/PiHBmulYek2XTgDl
BiQ5yDp8NWriLknZ27HCXiU6WWVg3AYrexjCsmEWPn1L1SXLaLhWcyH5rtGTLZobqsddUk73gQkx
VUYPbCSWSoMOimgtM3EcOB1ndWnMY+/YP4kTfvcl+B+gFEM7HdrR+G5Z0cx1vqybjvOj4TgYjswt
gRKHr+44UuIs5vDQzxevBj2eMrZTMbRq8eUJxm6l3AQTTsywefHz70E5O6fxlz1aAmAZiyn0qJb5
AszHBi9ZVgCFsWeZtLUKR9BgwRMobvT0aWSACdM7ZmjbmAUHwR6nWsEoNeob9ktsvgqu8hiGertQ
FvYN5upvcfRTRdWpZj435tm6Ny+e2e+LqVuJlGcD819SgmiaiciESc3/msHoERS245DmLejQWNFY
o1kIYoe13Yhj4nsIgSrbiD8FrOXqgfjUXYXENKA+jIN4Q8bGZIaLoGK4OIpz6vjL4Zlke+L4vjNZ
bQWAhI64obkxD4n53gh/TTwej82jHeY73cCwsUhT76ed5NtYhExUlOImlo8+58bEM5d5HxXuViSu
s8vpasU+A8h4UUoWa7M+FsHD1SsZPs55yafbLiL2+KnCsze5azUayzarHjNXHPiNuFn9O5/XfxG7
7WYMpmU9uEg84O669evoAU5NvnhND0YJAX0Wy2E0dwZlfOr0d9FA/RC7+9KqvX1T1De2OVwdM/mv
fHTwuur7wvEW+FzkIivqjhRQCIGTXjkClhPhWT5FZpCDRJ/UJvMZV1czx6WAMHPwpfGqavctDFJI
rZZx20zOg/CRHcQegl5WMtf0jJApedxRinz17IaK+Yat1TXbZDH69sZl2xxF4Ct7wMvxszNQilJb
V+m3r+cF9oJrkYOmghMb+CWfHUcn9JA7hDnLZLSXqfFd5k99QC49QexzIwCZg2cLgRb4y5zbCxQO
Zuvko+8DKg2XO4lxUbGzm/tcH3o8/GboLuMa2hG5SJ57EgP8zPIYVYD/m1toE3vSzCi6AFrN1f0Y
S+xmbIh7Spd8r3HR5+Zw5mlfVyVvCqvkzscXKojPw1gdz0e7n+jZ1HrQ8VOjAT5F4yoX5NnS4gK4
WGIovAngK6Gp28xZfy7OYX/DZcnFwj0UZ8TVJUdtvvT+tfjdjTO5yQA8OqyZ2aTvE886efVPIupF
HB8U1UbFpdZzWKjyR36gsObtx2wKJzhGE+Kl21QAPq2KVct+ravjcxKtcoOW01Y7SSKMheq4EN6x
S6qldY3YpEgp5kNAwpS0nzM/QwH/YtEsyfiziGJmfAoFnvdkmjyqrObs6kfIfJNVErl2sg7Keyv8
6LDZhk21rJ2vtsTUHH2U1nGKw21B+Ax1P8ji3HnEingrGGANcFeznH7zdlDPNTUY5vicNBpMdOvY
e1VJup7xHg0CpEPPpxoXy8HFDwEMvcCsiLhS94+Kstm8MhU5KjrjwZsgBY70wTVIxInUTXgOsosW
pnyZm5xLmdWH5ErVb/hLaE9vJr4/Ikg2sxls3Tja9DW0626kW4IQnKptbRbbNjwXZvSpZkoX9IdT
Oa/zcicor+zpTLTU0rcevalbus55KD/9vOU+/0YFsjFKcpS6XTa32yDL9lM5buZAIlhKkOSPxC+x
narus5EdGTKmajjM+JlDm8DcGZQwpgR//ggo4W1p4eIttv6VBlIWuzRjCxrWy76n6yEu0Ce3LuTY
mU5hee9lxi53sJWzyXOjW/SYq8Z2LpZHUW3IS5RGb4NZLHQMl5+piqTsmAxEmNq+2FOL8wzvdTWA
0wD8KZ9t96eV83kiQM/JYXkgsMvICSIA6qSGET7wANinryBaR+0Nbtxy0zbxylHGpyeyO2nUWx1z
So4GoDnPxUFssIHJivBhssXKTg1Snkh09TgLGj5BicSrFjPZfvV4x1B4XNkigjbWg2cf1Abx1FcR
PGVlYOz6MFpXVnGXJ/GRWCrqQ5OApokpNXGCdC96KA6x89PCYqEw3XTBACmlv20pOCMRbliyb412
2o1akoJW3WjCv4kvm8OesDBYUmG3Jb5r4Y0RV4uxa/zhOja4m7h92hF4QU79PbFqZj03fXX9fmbu
wlIb/8aqQBdguJzOFSsslGNFLg8Occ2qrEETAHaJ9Bvj9oWdhKuKHgGXgDWDl5q/HBmuibw7uHHB
3fnBzjcz+dzq8ghhgNG+XtUMtVscG6ZRvHAmLFqCQNPwV1V125GRvRcxvRJqY9XFakY1XXfFMUX0
o/thadQ4KGwxLEjummR6iadXArEECUzeqixfEVLQ89TE7V0XrzgpAvixzvQ4Q38gdHLtxpIYt0cZ
MgCOcG6Pb5H7a5Lfk0ni2JTvOs+76waiBk2x8YZuVdpsn0Gm2NUyGJvb4Hekfr4i6/acGcNHEPnX
NWC2UOTKjveSxMeBoO9xXUUhoIqPke61te4xLzcHo4esUaPi6M1iM44RbOhKgTpEsmOMP2UVJCvZ
k4temj7ZHRaEGvRRxzMEDvGj+nVimPtHv3kSwTdRXetqpOxsbT4Vw4cMX9G4pvZc7NPI2vmJAcwU
aFUaNr8c95cjrIXjEiJCq617QOzOtM7Y4NoDfb9PbGaUB7c+Sk0Cp/jTxvesMp49EXIzJJzszkJz
O2CEouPfDiMAgO6gG6ZZDTnZI7mAFyqMtalriuJpawzmYTaYUfrqJ01YurTufrAPFXSHq1HEZBg6
FrdZ4z40eE9s92EugUz434KsvtbbYbHbGiFgYddbh+rNZ69s5OSyRneyy+593gPtcsmTBJck6L4m
WGtDWfL3kAscAo/kTbFGoqSVUfg+NXC9QaOwGHKD6tCL+Zt2faHncmWO0SPBrwT7LgOybYaT0bzU
XPux8eOX3amIX20j3dBi/35Tmo14MTqyRlB9a1PuvNLhBqaC8D7tbBALOW2C8VemBRVjQJVoQqDv
ZvRnP1qdfSMAfTVaq8yBdqigNrfXgSwtWjC/xnTPijLfwg1edtWedmhRdfe2nMiFWyu+EE/DbV/n
zNRS/RHlzVNiKM3BxZ8VGsFTm7fPjug+2nz81bQ9eBg6s1ki9Tg6Zbj0ind7Xo/GlvHgyo5J2XLr
DabsBVdjw7sSd4wyDKLt5+IwepDhBoUwGHonTS9Jci9lHZ3dqT7y24+myJ9HWkbT3tlsydj3TKI/
oaFfzv1ZF952smwKWihrSDj0nN258UPhZUePGjjtX/I1kHzK6SbwSFeT53Z8dsmb6L6btruo9rGI
uTvpaQuXcjkgQk67D8V4Rvu7ctL4aGcNIL2yIbDMVkuywVrYW+kOyEV6zdR86syBZtC7TdviaOd8
xzELwU35jKboyJ5xFTXVo9Lyu2biY9jVQxmBUs7Q5J0b8TWMydZiegb5YoNCH/rpbJf7tCMgQAXb
qOiWfBAwO6YjPhKKvJZyGy+pTQHrO/SyQEDFnZs/d8QnSiJb7Oa5SoNdXDaPugLlrr9QznV2danl
Gx/Hsfe3U4le+yn3eFOFy+Dhg2TA9QRrZxD+wk6bRWfiqU7VOQFxMkZ6T5ccj8PDmHNOVG6I1GAp
c5CrEoyRmKNLGIPQjd6Ff1fM5iJsvwRDDzGDERr6bWA1SGtJQCCjAsvwaBPo10WbrsVkZYEt4Vtk
R/ewk9aZMT45amtEJNzKZNVTnKDUwLS9lgGdFTLdSbwnYM2uUDbvPfI4/ELrLjZAdIhfJQsFAoI3
0is3Q8JGJEwfotr8Jmd27/ckfg5Rq9el5bWr3IduB/+77YJthycmHPLnVOrDhKSCGv22s2GwyiQg
IQFL3oLM3UNHrvpitGcDVTZ8i9jhoyIzFBBpHtqHifWwspyzCI1Lk4SP6cwWgkact69wb1pJrWaU
50p1pI50YXAajASqjh+9WKKvLgArFjorX4sge+6HeeR8KW/dfKOnLGWQMX2MKZ61tjxwaYKF0hzw
ochegt5y13MgKEcjZ1/IwOE201vHpmou0t5a9/wBYfN7OdkwFgIAX1m3BvIoZ0g32bQf0+4gW7Tr
bbYtM8BnDETMtloTbZkQcK627K0gcJO0WBFPZUJGZ+IEeY71tUMDGrwwbe1QtC+KfkRvBxucmR58
oMk29m5v1yBHJOOKdn6pC2OpUzBbv//ANDVeSGGeRIww1jGpFuyTh6d9lziENfvZ1qAYTQK5IfH0
DFwFAVe6aZyvkRufNQ1CKTyVQyoI+TDtm8ivH2GWZ+2hDppuUZXhJ1qmBYmW3YI+ZOlMyY9QvPn5
sS7K1xZDRw6fvU6ofZjg2oxEUW9iJEzhNdVCP2kdvoQ485a2ogScbIJsajjb4K7CvtsNoQezuYOw
o4mgaUDQB1ysDqhnDXWMa64Vx9TnCEIJharsxAcPDYGk3Oy1ZOMWCW+JdX/ppPY6G4ilYvhs87Q0
5gBTTC8UurV22GiZYjk1PJofWV0le7wQjHjObZCJvRGi7bSBWtY0y05O5O+k0yNuoWRre+rOaozv
2BA9w27uLyON41MQI3c0e8IlyPk+DsF40xstFH2rJ+YsPxeTRSr69S3WPhlfmQQL7J2lG7aP2Iqu
FnKmwpZi8ZZDPTOSeT8qgxk1S/1l6MO1GeXo74zCuRdJV23swt9VEwPDOeAvkKVmuklO2ov12kM3
tAVoX4jJv5+TYdPkwZdjsRzTbJgu+b5vYkSycXma9Maz0umk5apomvimmuM33UEgw0WQOA1E7LF1
j7//YFa87tgtd6Mpe4CAZnTEDvrk5k9JHcgHM9g31VzDPfPuHDSAWwsauW+dnVGpXRqqnx7jzqJH
XVxYEm3GEGCgb1yUGsO4w4UKBTJiYuR7kosyUu1h7iJ70wN5WUwsNlSTH0Y1xWvYSGsMYvEhr2oy
cIOiXya9Mx3wJq9UOHLa22mCfpJbIOCzWLouH2HO066D+slLA3hjqjnlThKfbPwLvR8Q/6VRw/BX
ex76Afua8Na1EyJ2DRBgGjEyyAKL64DpAV/fwgspwMkSJZwlx0vXTjOzgwxDzNSQnjCrXByrYtjL
AJZD5PyEFSnWA2yuRVz7TB119RGw3RRFSXLIPAab0CEKuuhJApJGtu9j8QUlAoB6xwdRKc3X5bE/
hrX7WkRueYquQyhJwdePLuXVyJQBmCz2NS5Pqs0KGhG4P6PaI5NFXaqxuY3ms4RYROgtJj8dsJou
XZ5rldq7Kkj5ztnRNqrZ6gUktu/961tKVJbvDodagKyUTlAxcY4g6Q+EXKQREbzzfLx15ji9iGLe
iuu6K0uyT1//O3nntRw5kmbpJ0IbAIdw3IZWDAbJoMobGFNBS4dDPf1+yN4ey52dGbO+nhtWVVZl
JRkRcP/FOd8JxC5sxM/e/uKtCN4yOS5LaYJ3opKoHoQrkRG8kEwxdAXld9HuyjD/6IX9AImMzq1+
k71Bog84xKS3NCm0ntrYDt9QlvYdLyffaJOIW9JyzmLDyw6ZZHOpx3KJsIhpPQuGGEHqvyVFb+Ar
OPc+ey5PWP0+UPmbhrq3IhgVQpWMk63K2vOYVoT3hSQUluSQKBBoUxesOZfHVeTDsQ7iL8NiJRmM
NS4kg8Fcw6ewcbAaOYIswZLFWRDbt6CYSQ8aEQeMVfzaCw1HXrsPbFrCWxfYnPupzg9CUwCQFsth
FxUzxWR5w2mErDhovhJf6m+qBcHq1myp/ag+dLbxIfzOYCJNSenZ2WVEq176sCZ0T+muYp662XvJ
pHvL4xqeeDnvxsjWBMYOGHYilu9tERPPAj106+rF2G6CUCqm6TcB6XjPx+aY1/PGnDhZYi1+O6zI
qUSHWyQMTEmKNNqmImBuYBzx54uIfZMXvGGG69wGAJvnbpl16qT8YUTq97gaYvEyKVZTSRye2rah
LD3SO8QHEY+07uFJc28znSBN3Os7GJ8LGwgi7tNgMKtawov5v3cPPQhcnRKJJlG7q6K8pZI07CT1
q0vB9tUKfXzluL0LPaFa6hCbVZFxNLJWbYENbkOvNLbm0G5zfp5sTJOzKIxTNTbhwfCqX2oefYZy
ZUMOusH8sTFOsxnxWYtDAnc8Mm3jrHsTbUgcU5nhvst5znRzNti1ZtKnKXMRqnsd49qamIjJ1JvS
cblvkyJCkR1RqOgcj2qy4adK95Uxv1Zu/wg/J+A+aexVYQCDaM+5kZU7zrZoO4zTlokXkdmagDUM
FqHpgi+X0Xc2S9QcMx+GothGk+Pv0Il8FXUT7kLZ3MLYKrYm2d9r1klEWLgV5RKNtC2YoeeZ1HSA
4gQMyt+McxbAP/RAlCnoyEVN3l2BW17XEtykGtxVlrvFRkTJh9HVmyIz2mPbyveRURNGD1kdEPRj
atDho4VKxWYMgZXWf4kG9Rw5BaO5ejhGyOpw4Jb0DxmSjMEDzFkJYswKGwVgm9ItIkRbt6zSD75N
kHpHllPWAeebmnOSKBeFuFyeXWHdPUF8VDjYRyfqm53h+C+GUf4y+kw/V747sVzKeEkqSNDR5Ae7
Qhrli52E1rNLA7NuOtYDg61xJ1f2Pihd91w3wZFX0NhPpG3n3DPXWKpXI5UdcTGAVGkoINoHdnEY
OW2R6xTuyZ8hLyok9uui9IMn/AHbxmWGzsjBureoougDs8fGNkkkVbP7Ubq7tArHTzuAzlgIlDp9
Xf0I+zD6nNPim1H99PsqfpjmZrrnDWnCmeYdzBL3retb/y4mzuywjxHWLP9YT8FI/6m7reHg/CkE
J0yBoUklqj70lmswEmM9V6v4g6ep3bdTLXep6ZX3pAn3FMWs0CxVn7ws40fPYDNaZtPc6rGuMG4G
Lh5wq7lRIW8Sn3u2sp3kIR6T9AGj3gRQNCY/YwKzVJYMNAIjtk5/vvjL3yUgiY8yvrpu5Z/MdqGO
Wz1jwTAWO6swvxd2FZO2ULJzUawAJqmvzjySU+aEJy4VDDapfRiZO5+igpMARgUhcY3lntM46s8o
dBBNDn6JcDtqcMDzpVBTvxbQVg9hym2r08m4eirp7kOMN9UJpvvgIK9xvS9hpPE9dIBoYIwh46MW
eEBLKI2VlTGe9yrrhCIBv8jkjvvBbedzWTW33jKAfrA2GbtdmNv2qW4ZC0wtrSMK8OzJiu1905U/
jaBpH7Dxn2o8YC8+vN3OM9JL0qUxkpn80OqeWG+6u71oss+Z8Vo42cWtsBRyLTMub3M9/i5Q/m+i
3OaeTsrybY4qTLLR4PNYuM4xiqXeFmS+9zOTPj9ytnY9tuCKnc9BVDRupVseO66RNxc3KCnfnXX0
YjbWZlE9t0aannHv/xLSK58ljOtnlrJIJAOC/hyzPaTu6N8l99JOaLeHUloyfAyH/Fgl3qZubRlh
gAB9JVLopUkrDh5T2F1V12oJdrdOjch/z04agw8gdsMhG8Vu5k3Rzw/JOE07DyLziXLtqRgGezcq
bp/arFm1VX18lcsXrxff5tEGZsBaSrVAP+a6MR6t5Us2VgsAy3lNaQ3WIyXUTcXmeLNTj9kTmySI
UMPtz69Lf6J57d15Vy5w1FplCJBdn5mXmTnWOgGnTovvFg+o1s68F+OT5/Xjkyuj4WwDbJlVGmyF
ySWS1UH34JSjfqgtG01UUSRoXnE1BRjIbBThl6mugouZaZzB1C5bW7pKrFO8aSvEvh7eJVdcAw/4
ChUCaUqlyd6+m+y3VoSEAbUAv+vUv4nJ+OWzMOXWyu1HF3cAMr2UcV5ffZsYQTe6pTdMp0s8Bt3F
akr6gcU+VusC0Gk253Celb5aCf+iz6N3NgxqN9iT8dnRzaYzpnCHUnYYCMhi8sLmHn1Ag417W/tG
cRpVGt116yIimjCKU70+YEYKVigPGKpNbroxMHJkUpHKWlNmexrXN6rOj27U6rGSzLkiEHBUSOVw
KV12GrWIcHchgPQhTzfztRH6oKEOrhKVDo+qTsA+RF3yKHS4yWofdOVczF/xjJ8nssP3OTLR42Ro
Dnl+vwNPoUwbqscs9IY3f+Ya4QY6pCIgoKVw/dsUdP4tCBlUR6nBgC+FO++g1LtHcJxe7HxdZZhx
QsuZzy4a+3uZOofM3qB6Mx9c1VGVIRBbe6qn99U5xUTlELSFu56mWzYSLVqf7eLUs5kJd81t6ofm
aIQ9mqbYYjnEAOgkhrb+aJemLGDdPSKknItkuvk4oOkSqmE/ykk8FMm4V1CTT4nZkvgs2m9xKMSD
wYYOBjsQaztIi9cw8dsnSvI7JrD63KFb29Vhk62tsiVcCg0ZNhzG1lMYPiYDJSlMOBThZbL1RIrw
vMQ3YodPkWwJWNaSPa+TOR9JYu/Tkhn85LYES9Q5ox47bFmI9j99lPgfUQDIJPQepTdi0unZcURj
kh26kfzkKHOJTW5SGsct/vjpQWKozUaz38Wd/NXmznPhdumumeHTCq/fFFzpq2p0b0Mwvxc1rasX
+fV26EO5EUbRbtqRvU2HggIgCIDWeJg+zHFIXvmNq7YyH+skcR4dy18sa19laH4menrjBcKujsOU
Zbu4TBJhSFSxGqvy4VqadfDqgb2Og8H5hr1puXK4NMeSaXlU6OAJqt92FgaRr1UNMUrhCLSt+mhL
IFaeR7aTXHC0ff9pV3o+tSH0ljZ3AQD3ZBsVA65/y3tI+R6NdK5XWVyS02RELF6tC/AWCqnGREum
BkCkGcOLgtPA1GFPT0b7UZfEHnStia7NNoszYvd8Xy7KL5DR9AraGXZKVMUFMH+3r6lnHVZoYWSw
X3GJh8o0qUGZwC+b1cPeNr3jVAxXJfuBX5bZMQvfg6Bzn+LoCyntm/Kn8FBreZnMqn8JNF6tmJuz
xVrXYD2hQD23aUoGfIZGR49jfBvtFyIuioMzIDzwO/8BCdKwmuaqO9ayQKGrE7HF2pAFDBEF9Tha
vFXbMiqPAqaEWYf7kLNCQiilPV2bfiZ2k21HZ8U+fpubTLiLvhcYSGkee+wSVGgtnsKQma/bNGdR
pQRX4QY0S1LZkZg9IBp+jhtlMc2kWddlPmzT2C+3kVwcWKVoOVhYGcj43rZh9TAiF2B/hAXUNgcU
ZbGG8Buh4ax9kQF95uM8WcljMUXpo5bXruENcBgNr0bthhTkdbCqgrk8Juwr3ZxxjetMIN+l3EKP
P7On2Ll8w5fE+poqUV6z2vjSpkf0yuRHK2Pw262YJ7nL4+T7mGNUKbrpmAfjvs4ZAHflxR+IvADV
x+TCjOp9ZZbFMYDVLMgTGQvoM4ZD/FFzrMb6a/ZQgcrxW7XIZrLG+mWntovuiBlmmqKB7JLO5j98
NLO8PhshWwQpcmyn7MQufhMsEz44YAbe8lMwthezDx6LyvzVmQYpkhOL/I6B5TgF19xBy+fGXIzI
49xNm7Biipl9eAxyVp2jmRbF8jWVnIOhh9yqZySSweVi/TuKrUwsXjRrMl4YPWEansC5l1hH5qRa
NAeZOjM/69ABM80dDGvms0f5zWTEAbKDdo+8hqLU6UGV1KP07Fel5oZtj7cJTUDFM230wcD6uGs8
9dqO0+9G6/ESxA7MjuVLYJN/V3vhoYkAcWSU97s6nQhocES2lpaHF3PJ9PDEvYfURrnc7p2JfmYo
aq5P3djX2bLnB5V9OMRiJE6Y7kYze2ZnQEpeP02P7dAxJ0gVAXYq6LapIAWlYkiXlrjOrfoM01n9
MTXxwcNcXjsT4TqG/zS7jXwyqsHd4ZhBr2OMV60SnOx+Eq/YcTlbKzflnkHGEXaQdfRrcz0y3DyJ
e2TO5sXNCW919KfdM3gqpYXv+RcHeblrJGyiwh2/UslqPa3FT9d7jYORZZTU8+Msj2n3EcM6Y1sh
i01CVordJhZ2wQ5ZZp8QNQhsn+quRJZIezyayCpgmTAR5wpvanXlOF8h/R2PEzv0zKM+mcMfMq+q
Y21Z0I6sbD0XlrnGg6sY69Nv12H8Jpx300U0Yfds0rS3szvsBg4jvMRDPq6ba+GhgJizkZ61RRBl
MOZoXYfOajDSYyqsac0MkvlGGyqkHORUVugNk5Qj0GiK8+AosmkcK9s6ZRoy36TBgVTMYFflybax
KwepQHrl7Bo2ScG6OzQugWysk1V4L3Y5kv5ck0Vt5hLUXYw3Q9TFpSnUC+vPcDs5qbFyI9o/kVSX
Tob32oPUgh/E20k0WB51JGRBcw3jOb11P4A/M0+3H3LkLgxt19DLxr1h4BlrvOpNMlLaDzYKTQFl
xUH8zauxXNIU7uWMkrIKE56t3B0vpV289p3zbKdJ9+gM/VmM0QNn/zdbzd8Tc06OIXXdmKcXtbgT
LMUwN1t23FllEIVIseiFuzSSyc4pf3LMwmaJcFvkvVcfaOovFUOFU0/BguyZpZstZsZJGzwDLfLt
HkEiimi0OOkZsXZxmJgvqdZCfWBmZNEl5NXL8meLvG8OyNUrkLI4Cde71Q8++Pm9rr3+6OZY04aW
y8sqmP8rlWwDKsWQVofAhIoNflLtI6JO5nj87fefpbYWT2zRPQTRr6gKGS+2E5VebMI2somezzEh
JAxA1gH159JkErc7oOv3WSFMgdtslAQNlCdU0vFrq0N625rHdfltHJGmqtQl6DP2YyL8ldiFu/GG
Hbe7hTIn3dWDF2zNWRCFHaqfA57/VW1bxcp3DMLR58TYK7JSU72XWCQXqkK7sRIj3ZQdILHBZ9dI
MJS1npx5ouhrHlpqqnPqon/onG2Il2HtpPcmafCs+VGwgk8HmNPjzR/hJaNUSQnLVv0d5CH6c3+K
9+5cf2s7HA8oUdyNGYzPkp3ZZqghema+rjbpHP3qcTqAAEpOjkmShOcgAQrq9kG1LwOxChuG2iTj
avfR9IBdDybaII9+cB176C9k9xqGqFIpvvqV2RN13ICuLwauDfmzF77iOAJUO/U/6sxQ23TB1bHp
oPdOsJebcwQrwEoWUel7U2j55xCQWDDpAJZ+lmFxnG5rGVc781QNaGqSebon1RwwS2WkjPiC4Gsb
0VOGLl7VQCs5ilcjUWCsFqatsOb3sPd4j5kS0L99GrGAoxn9Ul7UXgzDQvicy2HjmP3RTvrvneXV
y5bHhMVhVzZ59Lgc13HHuFfmbBddGvCI3ZM/9NVJDz3LUlVREsbmN9MuiEquhFqH4VPTNS6FWKQZ
RPB2B31osNfTxTWU3WWIM4UbtPkybYWtqDaCta1nnvypujsGZwVjA16gXllXH7GeQwz3kGMLzdvP
SiQPTuG7v/zQOAbiJUgrdYOJ6d8Z3H0fOKguEa6BcciffCNylli3k52Fmh3kkL3EzXDTuAA2vo49
UJqjf2AqFuHSKb/nmX3XYzI9dS41UPkq22y6g/gjTobdLflb7rOftNWl1HrDOKX67pTAlNIbfJX5
4Ea8+3CtyJHuBqSPtIKwB1wWwzyXvCWM7YICM4TwDJPJkWcd7DZ/I8tHni3PcPdO4Me4UGeUlxYv
yb/vmvyv/ZD/K2zmeCL/B3/lV93FX/n/Y6/8p9Oc3/ZPj6U0/2Ej/vfcQPwTRvc33Q5Wk0S7D+yS
v+AZ/5fJUhCwKH0HMKbnuDaseozr/3Kam/9wfR8U1MLPtzBiuv+OydJaiFJ/eSz/w2kuMcD/7a1U
IKOyvmmMvW1ZrFwV0/NRZqcyS45ljYqgHuPPpaA1UlK3JusTH6ZmlfKsi+HSjDUuP4zTwIDDrGhA
/VSflkUzUYyfrSGTtbS/Jc4LuhrGMfrJbqFR9FbxOyzmu2FPH/E83LGjQx0L5s1sKg6XDnFkxHwU
82J8rcLoOHJQVi15H0EXXPWggLz5GTFsOA5pM7JNPandGLNzzFrvMtfwpCy6iTn/zRqZtjO5kDLw
Le+sQ+3Qwc3W3VZesBZWSDC5NA9e5y4kteeyRYZvtR+x8n6MnfM5mckvgtrOk01Xltj2e9rPB41O
Snfye96gDBVTipl09Pem9h9TidmR+K6qjl/Ghu9CUQkoLm9V+JRDfvtMMss9iijf6Ot/KTE811Nz
Un7OahTr48oesYZkzRztpoDhaBKDa44QuA527O3YToLZiGtIenhzkiT6mSQxmst6MRMY+BDmGeF2
Q8xv3q3KArmQiyto1Xvdk5yXIt+7BkbGiDETe8P049cMBRH4ws82dIdtyBATy8G1TEy5bcoM8r/M
4t00Td2h8rpDNGWAOM3u7s+oGOC590Dho0qA4JjVPtHJeIndDsmSyvZmXxD4Hej+cY5a9+cowVal
4kc8op6EAEvSc+SzRxUGyUMhOk8a47w2bwFDxHVtd9w+OWWPnJpymy6vTRXazcHJZA6eLvN+x2wl
mNcF/ySV/29Gz9mcL//9gbX6lcMB/vu8Wv77f55UHkgMJssEjACx+IvjC04TtC9sC9OGp+lagsPo
X2Zw6x+u6XLx+y5wSJN4zP84pxwIGxDpAh+die384Wj8G2bwhej+txMcuznsOahtzGc94f/htf9F
njOddMyb4s+q0SmR8KCHYOc0tPk9FNUpSB2sW2jP1Oge/3p5/q8r/W9cnOAn+P//ZM+StiNNcCHu
fzonE6YuQyodUC7DIoybs3tqpHc3Vntr/l0L85gXHQ0hG4TKeQsH8W7205d2ZqhXIQybU3GCLf0n
l/QUiOHmIxw4q5vU0YNUV207B6dh/ab3kQgTjmEkvIYsb2NRfv7PPwgZDv/5RYS15dhMXyx0yrzV
Lu/j30e+nqLQM0NASrDEJ7BiJJOPkN4BhHPItVjoNEJ0SJlr5ffBFpHAUbGQ3bPm/YzGjvIIf+bY
UvXP0PDWfh55BxFmH2nPAaV8AhqRkq3dsGaVOWacMwbCA+QGa1HLQ8zxsa5D/ysi6mWjyFxzRH5O
hPcr4iJCIMSZqods47aB2jDyT3YS5znCWCa22OC/9QFLKWpZT0ZfQ4ml2GtZGhiFfTH8/jUsf4sP
t3wazPKHg1cuiVt6OI1IMbKRXmYO33DX6XDtQLteFeSeGMHvyUR61cXGWYfDrfKM86yd9C0Rbfbo
pPpRq+9jZ9rriQUvwtE8Z8g4RzQNL1Kj4Rza6irq4Heii2OTz6hXIiPhIA/e0cF8NtpNT1yEt+HZ
EcW6YBeO1hpJ6Sw5/E2NlqHPH3yNqNKJEc/X5nnhLTKlt9xNVgz5I1iCjiRDAcaua9dmFy0f+/Aw
d+yhEZgHJ+QUw1WMID39CB0OcwHy+YrFA8QkWMeriKHyXrOFwwLSzyR9MS+22yOjSrXxmuSiFfyT
IKk0ka+Y6I0EJgkeWsZ9ot5F9QhXLM1IIrb1vrTncJdPS5tNmdBgI9pUaf4x6YGMe8cFqNJi+2qa
+V4n392mw4kkopegoXD2U/pSX9q3jJ2kqXx1bKOQPTK8MZfGN4riq91yOVXm+5CAo6sI89i0nvmS
sPqi+ezlca6387TbCUxWF6tgfTDLltjHODiLlrZN9ti00rHGjUxwpmMWlCle6BNGgBgNFisTsCZd
mzikMdYM870cmbUUMnsKWCTkUfQ9y+TnFBnfQkznZu/UW/Yj/npyyShwf9dDJRGbJeiUPOtIctST
06qT69foj/TBNDIBG8ukNilnvoEuvzGtPWo3TncITTDHoAwUydENw42eYViHXvNSs4IGVePm69Zn
ZtbhcMGox9jRAQjwmIcVkRE0xGo8esWGDei0CqIQmQoOa4ahJlPI8YyrgoKHMKPViD7gwHQrfowa
Dy9FwKs2VdG2s5jFz459Cqf50huGt0rKxCL8lPWWmPoDU/pdV479bURrUCxELoiVrf7MQNNtI4Vl
ZkpjsN8JFvMx/3KV46wdbTCcYwhusVaefPMj6tpNXBK4aw7q6AAXOrdZhpgLqgLrzg8QXY+jzzpu
dGUD1pfPVJHT1Gej+6PMGHJ5DXAI0y8/c3TsjneeO6LayqBFRGW9BGSjrKfOhA8jmwub53Ydj4Z1
4IZaZxUi7HJJFR2KnpVZniOrmDH+e+1LBeyyz9DtpjpwiJdzdqLSQH4DCqbScEnU5elgW4lU1RL9
qqoIqj9XvXcRkBrAqPOBNVtoEtqczqryr1owsWLS8RIX4ckvw99zlFEsOwTu1SP6grwJVmSn9mv8
t9Gm6SH5RSLfjV7HFsNFWD8KF85dkW6QgimmgkjTbE7FIKw3UITDVQIdNKpgG4oIq26JHqQxhtti
bfHN6UWhHTy2Pc14qZh1e8jFQltuFweSKZ1l/J/chwqnjVcLIgHCDl1ODTFEfs8sHJJeannv0Nf8
8WeVm99qA7xEW3ThniEP8xClH1VUfxci/AxbQJNmhDMsckO1AVDfrp2Tk8/vosPfTVfvE2D35NLn
G3K2n2HBfMUpj3UaviYOb/BCa6Ys7exd3Xo7RgGvrbFM4Pvy0Si9h2QAXd1545NJl74pPmzfITU4
iAn2tKudaHip6nrgXakIz8iRKgAfyj7gKaVnpDxIjqynbKreXb/C395KC3HIcarObYeoinnzuXnF
v0fPUC2EvbdCSN7bqfoaGQes4rqlA2EtUvDnXDRs6XUHVX8T+h4eNfnKnnZck1uTb7zY+0ot603n
yAdDuG4EkzbWLnTTfY34Y50JEnSl2+0ac3wua3+T54zNx4zqo12snFV46PP6s/UwTdWVcWnP5RyG
Owu4IaIK89VPm99K5I/NVBxnGB8YTpEwB07x3FTFMUfKqY1cHFxdM8rHUqbLGQCVNH4PSfDBmmHR
Lc4vZT+Hx6KmFg9ChZfLUM1aISuulEBLxnMo57A6NWGdgpNlvtPoz8DyMWdBvpGxD9yhQNKzsGKo
rpk/Nqgchc1Uj8xB3LXfKmjjx2CMn+yslvtZJhe242xtZg9J+HBqCySFPjM5nSLAbZJ39qnLSdB0
m5oFVUqwu59lxaov8mcTwhMPVLGzJVTf2BDfkxw7EHCRlvQDrq3ekPelZ4xqXA95fyTaduMoyAtW
kSLnrpGSFayngnJAct06Bi2WuKW8g04jvSdHdcXKW8x7nUKKkWewsAh3MdaTSnk41SLRFnjjFR8h
wv7yrahu7tgjDbGskokK/oW0CZ+lb3zv4iDZeBMbgVD6H4x3XspJxoC5y3M/Yq3q36jX+FmIa8UR
ysdFyg0S5mA3N4zLZH8NB6jBbCeeKtIhV1lRvcYeB0k3/chsfz7mLfc9d9tVN/2E5AKPSjtkcl/F
R524H1bmf1nppQIu/NBE6lsEELUdOVcyP77OlQqhNM5wx1L7RwT99cRrvh6akdeDJf3VLtKLoYaj
HcJ8iR2SMEXZ/TYQIKNlcrn/jUWvxqj2IIcC43RFs6zSGM0eymh7r6fh2kjdvrDaewWFNqPWWwoX
O0M7HAYsXGZn3Je5/0hEAzVuPD2kAsqDhDAgFFNrGd1tEbyQOUGMZly/EUkPJgNjsxl3bz7LE4iV
jNh8/2zUameX7mPRs50Yux+WPwJOtKeNjmIAHaWLsTErvyGy8FEoBvB9sGUxfraqjdnXzzTZa29Q
8CSzJIRW9yV1wWPpO1g5j0AcMLY6eblOE457OWTPLp1uPU7lvrfBwfDN2DLcx2rcjq751rv2ow7G
97aTE4Izv7m1iaCUWfaKKRcWpYsgARLDMBKt6OxzQ+6Vxz1mipekkvNZlWG/n2L1qoQ5nhTIgiDr
mQezzz2YoTzCpgd8oHfh4JSbfSraAEAVJ0vdBtGu19nHOGRYxpp9YlD4uK4x7BAMuS+s1vs13iVi
NDz5woaPA9kKI1R/w9HtDG9Hsf2uclOjYOm4F6zmDtazPuDBSh88UAZs1+f4bAc/K8DhGz9ADDUP
cY/8C4mwOWqxbfluVouwo6XCoBExFbL0mBWMnKM1vGkmuaKEvtvZP+1kKF6n8LfqPbXHLsTcVjNg
pkLtjTl6mBoXf+motkaHdtVpI6T1ozoOXV5v7lS81p3r+mj3ySLCH6cLoixMCO58144w3n3P2ya+
oz4cp5CbNg3UbvJ0e+AlC1cpO66NT60XpyGtFMi5LMC3Pha4S438LQ7Kz5It8Moc37s4Da7J3Amk
5tUxDKLvgZ5hGoXND3YAwaEUc4u0EUWfKOpfGbCoW54FyEMzD4GH/cR9N380Clj/jFDArct02zMl
QwbNkszr7Cs72nE/jk5+JmuF58qM1Tar1KEMWcJMsXU2tSWp+6qJgTjj6UFMdHhM5RFyUwOJgaWb
/1Db1bSL0HggZYEwIYiKB6Hk0Y8FvIAsMLma/AEpCBBDPaxSMhIPhB+8zFrND64eTqllf6ukvUtm
DSXYjHzG+JJZFRTIQ2NM+AVQjC2eypVBTNMq0vaPiQ3duk4jjKaZ/BAOp1ON0JJ6PmXzHJ9p8pBK
PBSEv7ghissyTw62UJSpCNM2jkFR9+eLN6GDGDDarTA9eevB9G59RjYzyVpooFwIY1P14I2fTqem
LSG+dM3JITCrVxacrDW8TmLFSDKakHnfT9aHSeOwy0ISfxlk3Vs0trvWcXcZ9rCFDINLA7/jpJzi
abI8ZvoRLn6LPwecDtdcyl0wmJRJkL4Mlm5tA/QhfCXYwHueoAqr0jtVvfED/YR99I0LUByI9LP3
w8i5diKjYl7e58RXO2wqioKk4b7qH5NiQim4+F8bAo71nASnfmgDIjz8DxFEJVsqkja8oX0fa/QK
tABrkxpzIeOm2i3OWYB5m4enLmdJziej1FTrYGtk1R71L/bjNuZIszt4WcGtamN4GYnmnrfrs6PB
ONcqMffKnD81OTxAJ8t1NSS/6ONwDM+UClWrQE1BEanZl2LRCZp1jwoYwA8Sg3xsjLVw6itmcjxh
XdjvdDey1jdmfUYDjYXMtCHVax79yC/FmdXDOUtKA3VP3Ox9A5IObLOW2PF4Bm6VsW9rE3wUKQ2b
s8geUp3G23puvXVj9y3qTJR1NJggQi3A1JzGHm+p9jLcKCYspIwl1ranM2m7gVJqsvwVEWVXZDzv
KhAkdELTsfr41kdJuoMCB2zegzkkQB3TXFwNxGCiMVAjRN+ZLzsSVUuOlL93gndrSn44s5kdKsvZ
zZP/ptOuPjY/mrrhwjYm88g1yCO8WK/D7gaDGU9iURAAxNY4yCIq84Yoeca8BXurbdMfc9Pk3Cx7
b8/iyQ3tZFfm3Q+CTT4w5VLx9XfhKP+REi/xbH3WE8KXDhNykAPJzCZx82T51S3LmB7309qRlv2S
9cfBrFAosVUe/AUDMV87M/5wu24p2TCrNNVh6Ba8lc4vTuP/FDbUKlFQebhN1qxay522Tg1DpJ+P
Y+9n2JZ68wq4mzwanDa7Cmj53lPB3VpoiFDTYHF3cNLKFPZKRe4d908Ecyk/I51FdMM6UyVJfQzL
Un8W+9jjIkLx82JxZXlNDHtqeOljMAWaOztufbxjnvlQReQWAKcWOOSAVESQxK0PiZaRPfpMm4Ut
6NDjB5n5MGBMLNK9kYcfSFSNh3kggdBIk2uddiAYYj84WJY6zb6BeTKBtA10L63yX8SSICeEg2+1
rOaNhlb1/7B3HjuSM1mWfpfes0AjaRSL3rgWER4ekR4qN0RGCmpl1Hz6/sxzulGFwQxQ65kC6q/6
M0PQKYx27z3nO8wyk303O5yhWh16j60kG2h18LuSqrB8gujO6yHDXxeLR/C0KzK5vjXC8teVlf6R
oXETU0Yxqp85GdBr5lIMD8nRRJq64pN7+2QK6lPTpBeF7vKpwA5uLhludoE7oBdD9BrnBFMVDTgN
i4RdMFGK2V/YWS9DLQ5xU8lz4xq7ZqydlxRp3VEWDP8L0CcPKu9vVTJEt3oCuWDsVDP2V4QhUOAb
B5V0wQhl6Zb2fP+iSpMSWgOwSmjjoomHuri0GqwmLONSLdk6EgT1RPTZd7XRbzzPD65ZBMQsTDN/
W3fezVNBcO6hoDBQ4dEqRHBsnYxYY/VGr764/v1H6Lx1dRVDSMIzbExrnxnVIcnsczmOPtgQmD6T
lQ+7fBD7KkAQl9hOfAyH5veYOTcAPEDcA9nusTG8pAk4HhMnxDr2p1swAjmHTmdJmHNNkGjNFyok
o/qobR5+WRBcPVetepqqDpdy/7AEE4W306yX1vp0x+4R5J25DlxsJIvgNZ4BtNL7nepMQwRgTC0p
khl/mLm6IEkvNwyFoqy5dsr9U/Xxq5xg6CoXZnfZIcJc7Gu/gKdDVvfSlue0xrcYes6vrC6gqAGd
YxqMnieiTGTCahpYWsJ2JmoIPYNy2MSEeifxwwsTIIw84SWYcTm7GaVFTm3ZNcQltxRkYbXsIrLx
IGPVCTxLzhByxJ0wBNlBwYjXza1xicYG7LBonxd0/5w8Cc9Jxbtr0GwiP2PwNQ6eQQRgifgTFaiU
5iHocQcVQ3YqcspXp8Zm1IbzZ11B34oL1a08K+bA5y/+BrjM2OZbr4m3FrH0K6PiEUmK/suY2Sb0
5djgfbhZCdbmqZTWymuyfj22NtmlVgilU0i5Dchemqcf9Pl58Nib1CrOdoGlXuTQ/HSE1D1VzZcr
yS2am58tW19l1cNZTeYhNxBOM+1H9NOsZRuWB1tRuWE5KM5JoeEsNp0Jaf0q6x8lv/biuZCCitJH
ZOSlaGYWii96HldAAScanOYu3Ho2i3MEXnjdjEQtnMXUVRs0cDkCSyAcPMYON48SprFLE3oPtjB/
qD5Ykw5FKgiZIUjU6HIxplzn0lmxDgIODJdVbjr8rj65xgvAnpRAv3qc5R538KbFy+zKwn7zp+CP
Hwxf5do23M/UxitMA/n7OMFXHBGbr+OZ1dCin1NgoIXLOa+UPskKvtu6rYt1Ug/9c0UDDkSvc6oL
ZFWApPzHDEJOPTXODpGIXJce1vyc9vuqQrWAMBD/mF0exxaPTFLzznDdbItXAIaASZhChKBlhCRf
hSQRxryLFgoKoNhQIHBEtU7TPPiuy56+N05T9TrHcYEVhhNNH37T+PAZXCQlQhovvkbi2qW3dieM
OwuCxH0LPrVbnP4hBjaUppXJJrE5pgkhZVUePiSMSOBtrMYlwa6V6tjUdjW1jdq5ybgvpodF+jRk
QARhK3yGA/MyeJAFqDtPgesP4GJJH5i+xtFGz53OjwNyJOyDxXywHXEwUQW79MagzLKARdkLAgn2
UT6ZpIk9DJt8TGiscLx1S5oK8N9bX66QX3/FE6tCkE5PIF2itZ9E6yxfIA0k4Mf1hcSEzXYEwFrG
+NOLqi3BN5cmb/M1G0n0qA9V2W3joN2nVlzuVetiyQ42iwOxLLNx40BVt3dJUpk7l07vGi3345hh
tQyJBaqq5AMqsHd0J4MHG/3v3MZnt58r5p3mC0g2r8u/NUnrnNole3ZcH0xuMV0MZWKAlT9F01/S
tLy2XQZ4y9u2cbAD6sAW1ukPYbY81vEMJbf8ZXVy3vsyhg+1pDjbkKkiZJw0KxTobo1f2iMTQuIh
3ZZW7qxaWtDrOQoygJcrryONoOBUjSjbd0nY/8S7tPcNi1UgCHZMiOGAek7CC3G4jgtIIyS53joz
xkb36zbBxL0FjyqD/pDqtitZ8W7DJGDIvYJrhb3MKIwYemxyroRcMxLZWJ1/KW37Z9L5kDrDEdkg
i7WSSN/qdgE15LHnrhB+rT28/fTjXZTjFptB08MmSygZUXsjSkcgDnYIkolW724IUa05zqPbUAIq
n85ADvBzXfLVPNbaUYIrFBOQ8xCwEUzz5LEuMcRXJP6g2mp2vOjeiZYzKF4Udo24RNU4lHBnUYo3
NVomgv6eeeV9SeJp1IgGbLkUzK+zxSwfzITTasT9i7KhowW8mRSiyoRC1rRbVoESmJG77I0kS/bc
+zSbIl4NfsrkaXD8o1goUAsNDBKptwK0j2qAbrrn9OXGj+ZvHtFXfUguLhqIl3khVYUBH0tjsYAX
c6C80Q4oA4JMKu5l5GvD8FhE7Xsp6xObSC4feEtmt4jfmoMyNKhjjBixSJcWiSCw2CzRiKv+aa7V
pUbbsY6c5dO1ij92G7wpwl5qd0y3wqM4sBAoLxGqjkgO78Eo3nrCZJj5SGif6qmlNCu77n3OGCTO
i0I6vzCtiaYbLaSD23tALF2YCmDmwJqAOcsBveC1/ebK6jXrJS5q+5dP7NVmnuNxn0nzmuriomp7
NAbmmwDOepqMZRvAgS1TbmqJ1baLKZMjMktocBqnyFDfhVfQw5sBeE5EsLLjYY/pDP2u82bx6K+R
U/DO0/zcGAFpdVmK7mOpxXzs4RuHixwPZWl+holdP/T8geVxGWZq7hpB66qxuivUyXiVjFrTaqVf
qoP2JwgUgNVBi9B6JD5xPtnpeFzSALm110ruJfqbboLCs2qM77NrrmN+0ClBwaqtQF0fP41E8GEI
8Ny99MYvFxncecK11DloMksZ9Wwv4lcEG/E2LBHfJX9UTViMUzoHe+RXF1N0MbJBh69a9Gkz5yA8
80Z4rEfg01kVRNvzLmx3vT89RR1zkTDs1dmfnXqTVDxg9siJBqmBB68GBTm29Id4bhlvgVYRPlNE
DeyofB8USqtfLznN2C0W5bdhWhDbo0gBSfZhNHXw5JWTQ5nDeDFKU6IDjHxLy5qdD1mybjzdUqjr
qbKWNQjulzKJX5KBvb5lGpsgXW7WhMcFew/zicH9CjF9GfRFOIjqtUonPCqcdPByEJhc3ENaRheV
EyeKyn6MKEDiED+stomxF4Gam+FNJfzwuSYfMgwoNyb0K0cdNNO3SIZH2sEj8zfEinW2m4t8Qxgp
UBW3aLbEUYrTzO4ijXhg4m4aN0rZX1bTvI4kKbIRIuFhcSduqMI9LUW9maAXLXNqHxgsXGOjWGcR
VqwxnWgCR/m4afvBgphUHYcuOeNPPpgVKpYiipJN3TzUBf5mmxiK1WgTUEMuuFL1WXRaXwqaNFMd
hJoENMP0nnnLVppAHjKAF5VhTasyTM9eR+xEC4XP9aZrMJavKHFRbIf2tA0LOEAAyLo8i9lgH4pp
fmGU1+PG65+HikFcl7xK3/0yK/Ya7iRaNtspjVAXzGIegiC3QV3WjyEG2EMDKoBpDsqGoTeXldGW
L9zHX4kf/en7S1DxCdKYRLjKpqvUwA+bKehWZVPh182dxxk4Bx5M0yf1S/3yclWsOkQNfWdzYf3q
BSqZ6XdXqx9A8ZXju7mAqlKDXPPuQdT6qBDBrrpgfBsa/B8Gqv0+5+R7sfpVWdYtNwqi2Oi9ZLP7
0cD4YJiaAzibiz1e2n4V5OwZiowJv8jSt3wZ4mMZmIhKVXXMlsjahYzaQe42J1rzdEp4t6+9siMY
OhUMwGLm2QQTHL3JRYztZRAfUnHJhfEUfOxIPBGwC/twOyVMTr2M556KaiYIC/R917ZvftH/NtEx
bbMesYHZTd+VMX8raECt0UiF786iWzeCLZnhvzhVnFwmExbmxLCVWrFe0R0ERG27AVrW8uMZtx07
rkFoN8v0ZlajvV6IfcHPHKEqaHZSGa9DCwvCqbGFmspTWFcIPZi6p74UPxr91r6rSf4t4dT/i6JQ
iabm/6yuYk+v/kVcpb/8r7jKJr7T9ISJsipAS2Rpsef4u+3+8z+IK7bIAiP7mBRkkjUFmT//HTgk
/+ERthngphG+K4ny/B95FT8PIZTwiBtyhSDY89/K2hDC0slC/6SwAthFdIfLzyFA1CPAQycS/ZPC
agBFQ7Ywjo5mG7vqZpJRANi6harBeC6zSJ50x1fWn6eE7Q/jVN7YGrIWsFas6Lx/TK31UaYUzTLA
ymn2xsWqYDqP6Rc574wyOvvBSOt0I7+8ku1EMl/8Bf45K2doNt+sNHqepHXw0+46GgqEvQPy1cN4
umJc9FQYW78xMbAATV57lkKSYberpOM5jFsKvqAyz+68piVwHV2q6CUGAR0yKDKQL25LObQbJ+Zb
zXwknK2gBrJKfolbZJQm7U2ZGNS7CERFblrmqlPBrdB5XVwwPBvKUCumQYruixPya2NydSSg6nQI
b24jT4nTbH0+p9XxI0Nzpv0mMIGlYbh3Yv6Iq0iBGQ3PCcBWei5Uo9JRJSdqebkfmu7Or0xsYqsE
jIT+Ue2oABeLeB3G7E/9gRMomsRbN868m+15n/BmTD0V7ZG13D8YRAhA8BHDlIFG1dCDOQ288ezm
uIwqz/lmthZR7CjM8pi9rYnEQPqcxdaoWDTAfkRm8NRgq6Opy2+WIvotGTet7sfvq/FhqtHoJkby
dT8vptszqveK1ehz5MXQPY9WcriHUDYTVETTqU+TBSlLfMgxiXYMSkaadx8uZ9JIna2Dm8AfGmA9
ZgbLqB3W9W5oyqPI6X7VA+fcZ3oxEb9WL9axz/mRU137GzdC0RQypCdGz99wRtggCxbQPtoOql62
SgI5m+aL15AJd78SZsMBev6MXcNVH0z/2O1H9L4tCyI20FHeQYgmHC8AsuSdW2UxJszhZxjUcy2y
+pWcq5dcDOXe6jTHvnxZCtRKKcdOBJyxFUHwPaKJNviy3BuNTscbCbHyRcyo20kP93sZcePFJIMp
c2JqoUzfvQ0jFLfAhjHM6jdj4Q2QmouPmNBBgDUtwLByUgYqoEt/H4IuNM/RRC6Jg5hhgmS19lwe
QZvm8MoxzuRoGNsskM9IKp7LsPM3ed2Ct13KnZmi91r0pXe1NLiR33Oy/QKYicoUb2MV7Aum9vpZ
bRqJD8y+GjUkQ/498YiPdoflQfQ9iHJusCXlIoSFcaNx9aXFCUE3nqnOjri+bm3h3ggBhyvinKbR
Oy4tB2gScQEri/APpDbAgGm2kReAdYnN6TCy9U1CPlAes4iE0JfyH7Tz+Hcj+0JqcGP8niBAXlV9
Ceok70Egd+o4w3Tf+Cik7vdEZLqXfrm1nk/9SjT7utRPbif3EA+o1vWzvgAdZag75MHNNwnnssqX
iSvAauBumok/wK2MOSpocb91E2iKfEQIwQhA36cYvv8oaXVbUkv/mADPnKKYnoTLbu++GhF89VoM
/a01UxgZuDhp9LwImw6bFbBSFknb0lTinqXLMFqfHe3BddikXwKGCXU20jEQpmedG5tW7iVxWVPN
yPxtSO+j0B+/Fg6VMZs5zJW/SxfMUZtF72VUPt5Xxx52zv3msT1WmVbxqOhrV0Xw6IqJLkFWIcNI
gpchAWDaJcb7KOSHtPNub7WNfZrRWBk+SxvjWAocNuKQi4BrieJtIuwDWyUQlqQD30W1afew3Azd
pw5k9OlGfboZeaFtC2omTy7TJVPhg91+kBaDCK8xwqMtA7IGCHuEbKhvdx/wnpZuQsCG2N0U9TUv
4fAnxox12nVPlsUCt7BS31c1nir4hTPKNcvezPYt0V1gN5oYE5gN8pH4KyIEdlX5nAMoG9PgvufF
Lp74OK1Lr8bw9mScDGurieDjO0zV0gDMJH+dJu5l7tNftcdT4jlXu+8P98tZR0u9H8jLUHVG06bw
d6byz1a80JfjtbCUXLUGID6PeE5uvUdeQ55+/V3U9UONdswkRfr++gz0eb2viqwpBFy8TY5z0YuB
D9Ft1Uwc2f3QrXll09te2wWsRJELsFOYBtemIb6NxvBzmXMWO7+mA0wYK1LNCYtWz8yXFRLCjO9k
3xoPvRVWSSKMeJP4HEfLwfoBz2yCs8jyfth9sh1TbqVZLwUABDpeB6vGDm4ASW+k2mbQuqrLqHh5
9yL+EhV1rGQWLf30S3/JOMRf90fLCcd3N8akkMRPpnnVX5y2964iNyCzs2MbyZs9Um6KxKPm5G60
NQxJNvwRjXCeR5t/BQlkRyiWgsFDkskj2/dkL2cFlU+/NyvzReilW1h806wPCoPVamBoTxNVHmsT
GV8o3Ys7ip8N5PTJ4ov1YXoFdwhmsIwLXE7FubDdT3dgSlKwRAUE86p2vs0MFPUX64+/1P4FadQN
9c3RFe1Di5Bp0K+1+0GVul/a8EZiU0cOTf9Nf1x26KCNTT4cKcmkBfrQfmm+psmrO/Dxcp8X2v2A
FJ5SiH5CQ08tj4O4f8ZRh0z7CHPCfDr4gSrByfBOoJbaCGN+Jwpbt0X5R5eNO6dyv7m5nVAWzT8r
JQGxUkxGKO/CpdyT0eJsO51dxsctWP72vPkewDcw9P/RTUwCSw+0SS/MW502gc5BJDZhsF5HD1uT
zVn3oOzB5rFQEdNpm+CN6cukT4jhdx0jLwwoKKmYjpjsfPTTlnUnZOSobHj82IcMazplG1WFvxZI
KaskgJpZuNqLaj8XU/XhFHx3rV9kdpo/xu54vV+8Hr4Kc+MIbA1HcT/XuRwYPXn1/Toyv2cfYapt
tUTIuAZeRY3PjiRxu/P9WOBm8SNN5ytg9q+vUIhDd63fYffjqJOCNC1TbtlY8yjpzz2YOiNOHZG6
wwp2kMii316XdQmgm2GT/rop508MJlHbOeEiFX71MNM1ZKfJzzZ6i9qrefQZ3RDtiKDYCdAhUwHX
HB36ZrYx+r68f+Ji5r22SPQ2pQn2T18KuLa/vGXAvcnDbesbGwkhEI7xV13wJ63LJjT94+rrO0na
+56+En//34zq3urNQ2GQ7S2nrt3U0SMr79P9Z2X6d7VG2UL+4WQ2FKBOHIBM43P4cXoLwu7p/jJP
vPAmVA+Mie1JM6L9109Ba4wBcpcJFDqJCIPkKiq9NtVsgrakyt+QLnwLTO8h7I0/91/otMGDD9Zl
uT+iLnLaeGQg0lRfZAJtPSjWm6p9yszgd6b6DzujikDJHlGKLzuGnpzYDMWDVD8Hydzrvjrc7/rI
sujx+7ux4lQMxUI2Oo1r/Q1smDmBKSzLWX7ZDsGn9wO5f+H9pHv6FNWxtLd5f6mcZnV/83N/snOb
64/Ikvs+qxcaiQ3KZrbmaFrooCB+c/VGikTUixOzMqIm/GHD5zH5Q72G6mWvro0zEyPa+Vie2zn/
QtCBGiLGmm/TtDIqtvzN3D3ij6CKgxlJN/qUmfQRsoC7KID+SF+wMw49s4RFNZKBGKkHNRJMEFaI
52nIAYwCqFcs6hQTaTOYWAV8v97fn9owyCk9EnWKgmnL8BKtz4zyO7ToBFvzpfMjVuNF36H6it/L
MhfK7mYq/j5YacBdEQECpBUuiScjHxy+QfD3Koh6uEV9AcQ+/mp1HUSfqmRjPh6imnwISAkba0Ax
HxUv97++P69LWH4rsKmYGPSPdXV0yEekUPOwFrMbY4mMDf8k1Fn/30W/BaqCi1i517QdvsKG1W7W
9R2Ts6NeuXRidFB1B+SixKwi09f3sp9JnW691fRSmYS/sMFx0if0+vo7Oh8Ug3vRb5c55EdNFb8l
4LC5XzbFFeM1OGr9DN9XA4YQy1pV0atTmqtwsch49sg6zya64rkkoimWCSaUKnrMVeDvqWlRlNnk
O4zAkMKKYqFp0GZXsLM2oQ3aqGZEjTmQTnERbf2FVR+7zw/0DaxJIwOMXFinJq/aTWbKP0vgn7qJ
TujIXZ8gCNuo/ppANNr890ZXfyRPLfhYiLrPbL4vJWN+3fa4F9GnmsbffXE88za6X02V8Y7p5/Kc
T9EWzOQt6zFJxsGWwHbYg1xvvYQjsLhIJCBMYd1LKpMv/b+Rx058NOnU+UxCK+7kcPaOUrg31GsX
d3aP99s7jtkTG3KN4QeqsfvoOeHr/VGhpczbz8/ejCA64hH4CvWmQ//kgMpVXxgQjSiu9cY+Kyk1
eLTYWrcAs8RZFOXBSHv4x5Fz/Z+HLG/fqqn80frZvsqjR70lSANYgG7mnm0OlbELUNuB4mO0WEss
SDKMexf65hFVPnv+e1Vqhe5R79EoWYB7ESejn9/aEr+gXHc8tebZtyRWHst7GbP5en+B6y8xIg5O
jDI7obW70e5NGfCC7BiDZ681bvmSfPWUDnolaJjHS0iLOPhp4DHSSeL2/jvvH/Dvt9Iu6RKScELL
Btn6jRDfiz4qa8JIUsTOTnglcgldW9U+z1UQ5nIl08swPsO4pZfC1/JOXsAdeUfDZgcH5YQ3JMSr
lc9RxWlNga73GXrjOX3Kpf9+//khC6DGGDBzmYYGUE/DqfpbT4ABmFElbM1wHtH8TU+Os/fV8F7p
+zUeWdVUA0C9EQShLepojZik6MBvY55mN+e46Rg9VLHxUMHrHyg1FZMPiOJYQu5VNvqgV9k8Cb1R
0Gd6yRhq29b4gtKKrQ63BjtW32IH2wbjduateC+AW5y0tG6e7/tkt2VRz13yqF12nIlh/xySh7qm
8i4DLqP+r9ikHk0mxZ1xr36beT4YuInSgAfGEDxXjOrrVUyrIorMaJ3oZ2jOCIEo0/ksy+lJeqW5
GcaoORAtsYpjJzvpG1e7nsr6hbi2rZ9yZn2/uXgTMQw91wAI2IuPgEd/DF244UJk71nTkrkX97op
gtZly8f7BdN52d1v/Hvj5F66/VM/8fq3H/fPdkTdhfuXLp0r2RmYdAtN1GOocv+1SzcmsSAJCk+c
qsTj4Dh/UDqhMJ8K52dWhWtJsMb/b/SW8JfY5Ne///M/ftI66NT88htXbPnPtlhh/l99tOjhf5Q/
/rdv+NvrNSRWWtcPHN92HUviiqXZ+rfZa7hkyJueKX1PSN8y/7nb6/9D2mh0TXLpfccTOo35f3n+
xT8ErWP9H6KQHRdP7b/l+YdI8C+3kXRNaAPCEpa0AogApLv+623EvLVpkIRjQjKh9gpTpmtHltYp
QAn1OKA42nVdnT8oF4tnm8GpYYFou3MPKRda9hw355zQ8e2wCOdVwb45VEGTPZR+kLKzHexynY8h
hRjq/uGb48+AzEbKnD42HPYvjfesor68tDH+yJ5xy6sFOQ35QLbYv+oWtIqsu+AaWajue8zojGGd
0PoGzBhnVmdMI9qrdMqeVN+2qFjtIXpJ2ql5bEiDfktlRRMzzQw214iMgoU0Q6NEe2EUMruU2Zyd
kDpgdpkG4lDGuqGXkCX1NaCTcMV7yHDK8canmvyTkQFTjbDWc2ZCx/IMDOi6ZRTzDYhPeBiLrL1Y
5AN+YOfsLkmcJDas3gmCVzjFv1pfpk+1CpodJvbi0lju8OWxx/ogf6fgjJOeAO6tFK8CiNiV0YB/
UMtAb2oyvR+KjuazX486QdKiaYcZJyJpAmcTQt/oWjoNUC6qpR1Dp+iJfg+9r8YQ+EUbW15FKoqH
sBy7/UyOwh5LvfzeinbegEokPijyzZBgWhl8tgEhq0G1SEquwVrODiJS4tu9lmFXPDyIupffjbLU
dDWQ9KEn2y0/bHrzMn98y0tet5Zvixdcpy55dc04/FhUX70ugBiOUZfl741HS9MKJ5raBGCiaCBb
iYo9+uzaqH+kBsXbiA5BMnes8xd8XAJxSR/8zHsDEegwtxgi3QYMghwLhoR5f3DjEfdluxAhDeHm
pew98ykZquBCSd+goG2ys0gdJIJzi9K49TqycqwmgBkx58ZwDPzUuA6hm/xs6ybYRKpAv1ra+YT5
ODG8n1E4o+toYJRFLdo4LW2wDkWF18gH5k1J0lUHbAQDI2mTKCoIRc6ySiFZrgO7sjZ5lDmXrkCc
5shJYWAK5vQxAKRDy0bgSw3bLEBK2RPs4/u9veemiG9x4Tk8VOZEDJ8DskJ1iG5XDlEndK9QKsJD
NKs6+NGZyDAXJ0OG00Th8g6DNmY36OdJu0mwdlPPRoy3V3Yn8LTEifvHcWDVMjOmXEyXsuSTWpW3
7vK40ojTnPyzOJPx0eudCZvObMTHKg7L90kq5PxpJLHCTp4HVcknzvCd1OTuKY1qj+C7PDn6ZRA/
epOytk5TZE+xBdkI8EWcHGcSVJ9EOARknBsUQaXJNmBNIFz3ZNMX33iLEf2QdmVrmrL3DH62fUDf
mN1UtXCQFvjXcTN4Go6BYyX+YQpof6zf0Q/6FOaj6Jvogk53onnv9vyznYsan00IqrXoAXUN4NtX
HfrYd29ymC+Z5VRpAW31PsUFn6ypJWfPnDgow0pYl2bPjY+4vKt3JktIL+cGVTExb1nxLoxcvZts
ub6pek5AGfUZxA1bmTNyM37umlQfgB84NQY4b8xVHsvZS3ncvAYHr2T+vEEY6rWvBsG7yQkWDNoY
6Lq52nZGkHa7vujRc0Rt1P0aFRSZxwKaAiizUcutOsXob8sPTBbCXUL9se6X2IIJFW1rVj3y8Kae
k1Ybc/Y0ihFnXRHbYkI+wDO2MQLLICogyT6DEOPitg6U+oxkI87jVJrXMorlkzWbgNjCOpo3FvLQ
k9MivnEip9V+BkWyKUPy6eaHZnEk/YR+NaGR0buTTO0tiwjEauqwgPfXWVtZBsbBlFFwaEU340jr
zW+WbOr3NALJuR7BIT1LM1hujgyyB2T1LLFR1yqAjLSxBByBjdMk3IvSyKZfGJXwjDhJim4Mght6
AQYT6m3ygU5i8Vqsc25P/B2qYqIpCqLdOkKkSJEiaMLbOF6R/m4d2YybkoAadJIW8wpnxFLzEPkw
9zYA3OWbb6X1F11cn+fEkiAKoE0SpyybVlB65Ib9uxFZpu9e+FtXTl+F/bYvnX5nhv3S/8Th6Xa7
chSOvs8Gxp/L4Mwk3BXND7I/k3Xv6beW26iG+OHFG2h85ovmLTIXoIxgq421eawWX9/HeVtf3WrI
qXjahEXEh8SDAg+nynnJDfKoFYGFREPGiyCQNqphV1dms8pU1ogXZnn4tlSZWclmmCiAHyH2BfIp
ElZ1EwAGEW/a7ZSfTKpkQlWMvoSJ6nSBQCFa5P4fc6lHcxtMudonad4fG/yXpO/Siad0p2ossDQX
HuB4VShn7UYjqaN9M8l5B8fQnq5VBjMX9E+thsjeGbbtv0c9tL4g8YZjDbsz35LPZL6id+CRkcls
kIpbGrBmBWQ0kHc6rAGZyWQee88G7hDUiXkdIzsSv3MVCtZw3K3vBVojXomFGxinRjcKHCYWtKwY
XkwUXfkErL2ZLqIayc0Np7QmjNNEZ1jkznL1W0k4Ryed/rfrh+33GBoeIwYHQRXI8TJ9FjPxIH2U
NrsstbNHwA4upSzCT6RkisV+US1q6ZbDBku3BMtb7wlySKu8yr966HO7Asj41Z7E8oZv2Flj8aKY
cqsUU2aRm4duMFst8hsHJtpNeY1awzjbTV9hiS2Jvg5GAmIsWWMYahVNeZGGRD6Szfm9EfGgjRrZ
4yILgYcka47zPDTHzDPDz3LA/TQZVnoq3co+pEINnzJS4WuZ5oMG/sHHHDMS1Go5NxthjdOvGI3S
q+ei7meiqP0n6ESvNQL0jwEu/s4Gwf5mDx0D6MynKxDy6j0OZHu+cgqYglQwRj4dD4dx6EzeLZd5
OuPcSJKnGGnYa5W72Oqc2dhhGxhO2ZD6j1g6MQYjkNAi13oXqhCmU0mWsHmy2be9R4KwhHiJuGS5
NbqftZOUR4vwnT2YRswdC6K/D7MY+3NhLMmeHqw6+HNpPbkug5iBsem5mzP3xYpVe66x7GONquvl
IHiX4di3InY6fi1HOgeeQ9pCIELjkwhUXEA1inya9AxLL3E/kkjZ87ol2Qatc8fNBm10NTSNsI8j
PNWNMov4N6QAJIJ9UHLTJwHGvNH2/e9QXZ2jJUYXj1KEGa9mAP5dAdP9I8k8+I5J23u3pGD27iqi
yqmZ1R9wruNjNQbyT1AWzUVM+XAqnJ63QzsQAu8n8bPww+UyB7Z/LUOVXVCYTse0E8nD0OYLejKr
O2aMU3Z+EUBVd+tm3+WhCXyL3iTrPfbCNiNaNJFEGebOuG0bQaIke+nt6DNd8FEWHABmwa4qbR6b
aByeOs80Tq3WlBrRQEyC59Wfsg79nVEkzq4Rc7GFtvxzQVq5VoWYD6pk6QTI2G4Um7516Xe8SHhX
rq1YpyJL7qRYzNamyUdkUk7BYLfGXjR0vs/fLGzF0wXMFSUuYDCYJZ+4oId3yx5j8AmZOIAJGE9k
nRQfIwPjs9eW7KRhbR0CkceE6MBTkJZIgSq65Fd5Mv09x12xDvyyhBeYhSBK2fQRWKDe4tROdmxJ
kieQHub3UVbps21Z5RUU0vI5FVn9ILpCXqZUDy0HysnYSUgtqAifQ7UMMiIgaXfPmKW60EBJQ3aq
vr2UlD/8Tl5YBQEUMGdcUnamdec44ptc5mZXl6W/z5NoOdgZXkEBFXa/sBP4w5h2/iMb7IWqLVS+
bi3LJilCma9+UZfHfLTCi7JjqqRwmqGN47NsXfnLKM3qrYlQwYKiTw/mwJw7c53pezp27pNdu3g4
pzBYvnpHWEfbz9GrublZHQBscv7DLgp+KvT6ZBYI41iGvnqg0ccuArbjAJs3bwCXFS3NBnhilQ4N
Q743UCX+FkpY1zYKGE8NifFE7nX46IhWW9cc/P+M+7Da7tXgEr4Xesg8CgeFjh3pZ7R2tLMsAdA7
/BdzZ7bcSHJl21/RD0RZzIPZtfuAeQYBcMyXMCaT6THP7jF8fS+w1FJVSmq1Hq7ZfSgYC2RmgkCE
u59z9l7bwXnDsc58NINIPSq2s5IcKJdGUuu3/c2o2NBo1KABAooo1mFWNxz9o2GvxgopcTEyD03M
Xm5lq7FZ6EGzStgKVhFmuK2e4WSMUzzNQ84CPJaRYujjNi9aPSnSuvB9bpuk5vjdGLl3UwOcHqwc
97i7tMNqhAYGcy8CRS3FdSKnqSNArEweWn5yWaOdPaW6SNaCfW8z1LAyjdIjgHDs031cZcnJYF4+
h4SdkZic4X7Rg3LBwRzVB/EE735JQjE4aHkGiEpb3uzDiu5u6C6J5aTxllbGNmxjGzlLY7EIOaM+
Z7UpVpwjrMc+rIt1yr68GkKLoT9gIJBqUxWgVEEkUQWAngNLA5MfOXA2sPwiR3eDpvohp3KwVn5E
FTUzJGD7gUXi5FMPLEhaIqwtrlyIE1O5q4w4xGxWgySaEkDpwn2JOXPt8t4yj37mTPesgmFnjNG9
wS1RqvYtRJp8LDZTMNqviedXq4nPEC9hn21peXgr/iMykNXoZpuhsVVKNxeSimyrNUF44DICCtAK
Yx95iGCQhwEUdyHkOdzxG5wGAUEzVHMsntWiNfD5R5TFz04u2DiwYh61yoofEpF7KHBbkqZom36n
kcDRF73FJnKY88dJPNL2Y7QwDSHC2lTPPs2qJ+RS5qF+KqsMPwzv7BxJr/5Sogi+IdkOZw2pHJio
/ebTTf3oMnZ4rjwNNe9U2e12cIh6ZupUiw/SJNB+R83wPQCtv7RRA77qleeiA49sFCG4R/yBQT4x
6EW3rrWufaRk73clW9DaigySxswhVc/0bvKHapgIXAtdR54NWRFm4ATVNWpzIE9JDYo0GewrLJ14
DyoSU5QqjY2F32wZA7+Ggm9PuDZLlENd2JS40SK5R4/mrTHXOHPRCMbBbkOoL4IFlNMxXq2ByFut
MqjOcO5FKIGG5h0Qfv5oRyZi1oDmNnBuAeQpJAlk38QMwVG+2VdIJO0G9G36bnuDunV+St3L6B52
PJUSBq978Hyea/dPzxq/Q3FNL3VtskJVaa9vJ0+IeZv54zchg+6Maq07DXFUMGCbMgEhwwLW4/iG
WEQgj5A9WNVL2tblNvehg5QOoQ2Di2GKT3zpcs6Hg2RP3sGsPUj+GZBNpsCA7AfWJdCHDlbMqcnb
M8d4FNA40oA4Z/2GgGbrbeLGwVZrxcCCVY03zbeLdV5N7kPP1nArccAg1BVNipm5xEtYZLRdIOAz
ls08htTYWvhdTCwsTKXH9mzh8IBMUBLF2FYML8jFQAJTNFNwJfB7xKIi2vCsfN+ag/62f+ou6QoM
tREjgdAsdmVhRi+kEfSf+J9JO4SzUuz0OqAth7JuxQEE4BPQ6XifIua70OehNUKazENjZP42NkbC
MMNxJMA2FCfDSPTHSExqM5DLtHSrTP3oEkNfdxj296pl+jeNcb3uK624aLXef/ZKanu/ioKTBRLm
Ja1KcELSbF7T+42F2p37O2R1oXCJMY1PgEnYDQmwBZpxDym2KmG9JcTbIYSiCeM3SPGmghdOFyze
f/1elJTJvm/GEaal1dW3wu6jFy8f61tfhEHDUm2pB7fAjWEWg/vTTxKe6yNOTVxPZJl6wfY/73sf
44+mbMuf3f+566I/ygoDE1EmXxjDv//fufosbl3z+dkd36tff/JPf7D9v1/fFp/l4r17/9P/4Ouk
J32Rn/dedCuz3/+Rv/7k//abf/n833W26Ub/aw0zv0rcfsTvf/kR/2X9Pv3S4+aP/k3P7BCfc2/w
2abuB3d+7F/1zPZvpgHQltl3QBfdcfkz/61nBhd559byn0uX1Tb+oGc2fqOxgYFG99ADe/Rm/6MW
t+n8qcPtIWcmgRUxswF9kk68jtz6j3Jm2NocMAaAFyxVcsk5Ze178j2bknBZtlF5BMVlcdxnV8OY
joVy7F5d3bSAV2TOTVIhxBg+I9u9J68zHSwLsShLVbCdO+4PD3q15efPmX7nhE8zp4LrMyLKT4tj
FsN9bz6H+tKh5o/D8Ao042ahZ/UQ9jfBsFB2uihS+nVuGi7TDOtkkm1aKV6SeqQ3ob8695nvVFwd
lMK0lZ8HfL2j1T3bFTJCNZZnYlm4oTHlhazaOdntWAAD0GFxcPGtHAphMixlILtN3aA8QiZbLvoM
wlM/YcO2OQ7OQKzqz6acSGoZg00QEJOSjDQ3+zQ7Ym5GjWU14x69OCtrYJOMS5CMDL7l6EbGnEgn
/JVloQBh4z1DFVqsu1530Gg2E2CUasJh2VYo2mQr8VdxRsGZtwTCuPIi2JDbPOFDWFtBQiCRWnQ6
wEjCTuiRExlisoeechEc7zYgv/LfKvTO0EO2hhM+pV1mLIrRDceVlfvWLgaN9FajGj4ykB3krO16
czHqqXawSucu4iRFtGuenEZnJ/uq/OYB4ZAU5EZ1GfMJZc4YEnj7/2rt+OcWiv8fFw0DbvS/XjS2
zfufp2f3H/8rVdb6jQMFHT1Dd21YkH+fhdn2b7rtMc2ESWqblm8yhfrvhSL4zcMBatAOte/c2T8Y
H0znN50JGOM1HQNE4GJU+A+4suZ9HfjDQNXydB0U3t1iwWwNuCyL1R/XiWlwytRxxbQoiEYvO5M0
xQEmYTNBksNj9inZ8hZdI0ETCJoHQ1IzrDAx2/skylSKRKa2PWhTVMxJQitJn6V+hTlZOTp5HY12
YKaCJHnCvVga2ndd4ayoDHiMaKAh5wcLr8ftRGxU/Du1nX2ITeGfDIqtXybFlgc8nBGxT4Net5gZ
Wn/+xTK9CSCwGTrQQdgXRCq3544W/5K2QIMlq5ebTk6EMliSzK1oKo6ixMI+6pZ4vsPDBjoWO0p+
DMQM1qEb3fFGTsbuEaL0KTOaiXHGCJw555qCMeeATuPBtOpsZRv3/BGBhL0PyQpSTb5tXKRp4BUK
bWge2j2BAJjkp0EuIN8g91YEVFCLcRgNcT/8m3fC+Id3Am6wYXHItlzTZt/5BXvbUa6XknedNbCu
V7FbyqNVugMS2rHfdbjNcAJUFfkCQ3O2MXUX7h43BWMKfzrqCOKXsiKvRmWDwi8WpUu9igGrtJa3
+MMt808+MvMX1DAiCpfqh13RpcugQ3f/80eWOnST8bl6jCAjbeU1cXjCxkh+B1dINhiPlucfKlv6
u5ZamXIEf2udjy+JGaht4ZAeXdXwNoSMHVib86pl2MfkpsXikj3iVVTgM0fxb160/Y8v2tFtbkSL
dzngOvvlBlL1CJ2rIIo3CEjqKT+MsLBpkbRq4+rd2iCjxXG4ZIhTwBdtVjy1d9L61IMXYN4w8p4i
1MzGZlhICHey7YddPLi7yO0iAkXyjWkVwRbsxFxpRsWsz3mDevaEMLx49FR/GuCF2zMXHOqPAGhx
5gXTPlNaP2PHbc+RF6/dKEA2aISkYSaWBuReEDDjZ7+TxP/l/fZPPjwHjdTdqeVZ9v3u+/OHFzee
63Llmzjf+1OkhPdoD8nB02pQRLXcof6u/c6ZycaFrism3odJAF9zMnujQYqVQ7ToyjHb1si6K/HY
+P14DCymKkVxxUr4+T9fa8Yv56P7tabbFjBtz7HpuAas139c95zOyLu4Z5FyI7PBmxAC10OYxxyy
jRd12pVrKwRihVv+HPkiWpuKkDSnKeV8LKL8lATOK7gEygKBcfJ/fm10svjH/7QoOy58ale3TMOx
fbjHf35xtE66zo9dZzF4KAaGKn8mjBUVT1ojxNaTB1eRYphE+ab2sfAUiUowatpPKS8NyijWaFFl
YjMo/MGtVmHtZVHB616eWiiDFdy0F3/KmMMBLdq3d5VkkAEbJXx5XVQl2fGTewCebOzNJOtxi7RH
3klOXJXhU0Grfi3KNN1jLx2D+kA0DRXp3e5LkfvKAeWaSeaN9HUXdwnP3koQ1SLSii+1rH8ayjWf
kGds8eJtbGHZezAy2LFdAMws6HMEc5LY33MuCb0UXPHbvnLSWcUkvEjYF/r0Dd54ebFSKALpgCQb
3uK1I6WX6Ezjve9imtO1w8hc94pVlsU/S5+aODbKfKGwEW+qsi9o9MYLUbTZThtwrZKvEL+Snoyx
KGDZseLh6I/SXEcVw9kB73+k93cZg+qX/GUA6u7pOKJSt1bhpEq2siGEDhoKjCMgttIPhovR3Wdm
opFbxydCcGjuCGud0N2oNWtC/uxjayTOJpxgz319Je12hwfDe5A5qWS+WhoYZ7Y14LaFj+c5U+N6
qh0Sr7RpWw7KvpIV6LHkPSjEYMxXs0MM6vKlJstimaVteJLEGKBqzem/rsigBWRBv4qdqinWXNN3
g7hpH2htzAyazPteUrX3Uot3Pa25HfwQCxFKJt6F4609xkNgUnO5jDIUzDPHMPWNVSN6rFq9e3Fi
JAKF5782GOL1QFhPUBydPaF430waSAvBv4mFmhRPP0vP5LXV66mvkXo3olrdiK4uD44Wsq0EdEYN
q98gcV+YdaIfaql+jGZ7M20JgZ1oKN+Uxg42H6/Bb7KdUWr6onZ56fl9LsuEzb+5pEzlvQZookf0
unNGaZ+6VLC9Crn1U40xjspewxgAcV9gq1CKZEQVFupWgbBeV2aHckYUdw9E4y7bNNHPnuu4R5co
89CRl56rCKGPb16ohkhKr+NFlODMYPz/nMEJPmYlsprIvJG1bTM6My56bTrnrmjLU51+N8MfzCZi
tB/c2KZDTFXUgWnNDA75tJqR8PZmuQn11t1ZTP7mA62tI8j6f7fE/LrCIKMKyCswbMMP3H/U0RXj
pIex4YZMKiDb6t7VzrEGhqm99eUw7Upyt0zLm5fCGi6QTo6+py745u6HFl1feXU3m7TywfbGhHAM
bmAkDsu2CsZDOwEjURND984+0p5u/90+8+vCfX/lpuubHmdWNAy/nuuqJozEfS8GMIM2VDZimzuJ
uQwj88qxYDiD1AQ0TS912U7UfdzmxNNGBsMPMjzGePRIc2mhz0RQNSbfE/tkNJ8Ga5RLVJv5uovH
5xj96FqLoLLBHKiXo7LVmrnU71XSv9wxeb//4VOwTHRu6OAMS/cNLvA/r/O2BSJKj0DyMM9x7uAG
fIiN/RLBvXsMHJwMyaQenVAhE5i054giY8Nk/rFwBvM2iGRhRHdEZQgDpQ/NLRTez2SoZ2WXZdvU
d8ShL5ySZDKhz0ximxeuNBREvxy5U29V87RmzdFB41nFeGBgKk/34Mc2rs1dacQnWXnhuUmp15nj
zrpJ5TtN9LfOVZBvxzv4fiRlDAmOMsLnEkjNwvCLa1smJfZHVKtdy5UwWPLK8axFkI6oY6x6MuHj
9Mh7y66TM/snSpbn6jfh5/o6I/jlKKf3JHRQQfT0Rvdd6odgZZcq1CEeFGZso19zLGaN4VzRKN9h
x4oOf38IGABuhW9iVeZ5A3nJwja9+6E8IXeAXWBoK3RilWUtMYPB+Ezoh1uEI2tiOWlxtrak6c2z
euh3jD6/96PlLrucln0qIRyhVZvTQo+2Oml6RhuZe0/ZTxXb4aaNuoMqY5oT6Za7xd6Foe7OkTV1
c1R1TPPHjCxv05w7kdEfzOhilYNPtzkDoOUWR7i2xVEjJuFYTfugiohaB6S873BuY0f/UVARrsnu
tI9obYETt2lrH6Ek3XW3QcvrBbAofXUMqlw/t1Y1rT2fPZ1GxPdknKojct2nEez4NUV8XAwZnWZ3
UgurNIYjomlnY4zjN9VEzlWzPySGKqw92mXs9exJ9D5MTxRiUEjIBVWmWgZmS9JwN8L2aiaf+ZOF
i4MlkVAgfwYEzEU9VZLqiCF4B7L+Tq3gag3bD6Ox3ru+f0utTRTnasubGl21TgFvqYNrX1KVWbZz
0HPtR1vrzYagJWfdhNlnFxGuTfoQ4QSR+d1tR2dpJ9NJd0X+zeCnZmmfrevOKIgJZCozCMbhnrXn
ryc0LjjWWaUWTL/6pVEHp8HQ1YaAYXNJ9LwiIgrjRNySzameiFoGJIW/3W5MgIPI16G2L2zj0kC4
X/dSbCubPott5/UOQ/RhMOuWQpLoeNpsLwmc5iGwJd4JIqArKzmPQWMtkJt+YxnC8Fbkj7E03HWA
qy3t7uG4WePRQS7lhVujHE2x7VR9UmXi7suxdfdCjfdNEfRjIiVeDv0p9PNimUYEg/dOSPIEMh4S
k1dpVw8b1GIv4ZTInS9H6ifIuIXhxiuuMZD59oLAyImzCNilAFZMOG28hrgBB+sHEazgEENzUmsi
kDYZsRAbMdSP0ZCkK9GFDCOjYo+Qa5bKMMn5JeNhB9fWmsc2cSZN6SVIIxasrBdFUv3O6K1gnvQV
Yj65L0bzo5DC2WDArh88WCTsfEyIWpplR5YwNPMyMKAuAGb+eigi+2cKHUxRWM2ZJXwzLUQgVA86
RV38DgweJarRcHdQ9vJvmSskhvLAAe0VNZi9JvqXJbOPBrh/JfY/J03moxZ34Jl1aGB+TRJAMZ2S
CaiPIVBV4q0M5yILl6E/BwhmdZBSgbJmsyZU1lPoDQkBKHcFRUAwVdgS7HdHINY7YJqArppWjxey
7n96EFPnoP+0daGZ/kKrUdOOlQGQxc43cb6oEySrFHeoPixnY2pT86B1tbWa1EDOMqPGrEbJibB2
JYj7uZgmK6MQ+TOLkHnxzHY7admLXeb5WXJ2AdRaYsIhGAVjWpcf3DHNFk1L1gejTrZk5earySOY
vusXdWVXj/i03MeEZBetN6odpwI8WkN/cIt8OAIm7A51BzjNa69hPNXbpqMzEcQO+ThtEa1aaU67
Li/nJLD32xpyX+9q5jW66YoZhTtUOzM2UC4XCsDOmF+rqn1nqGE983pfmzF+yon4hKQq9ZlXcJrP
wjBjggfzMLNbl6GJne8I0wx3NmkQs7qs9KtKDf2aFeqQ9MV7joprYw3VeEmCnVkT3IwrTey/vjJR
XM3r3AEQb6TWwW+kdfj6ylPVmr/K33I8e7ebUluFGqLpu3MsOYzj8Jajalwjfugoc5q4mkcQ1eAI
IS1rzgIN2NLpFfz5TOrIWG39WEuPaT6ZrgFeoQVnBR8Fi45G0OUX2xEnrUFEnby5s2lEiyjTMm+O
rJ0jpxOxsXv5few840hOnG5N/R2ckx3ZmLOjGsNsGw3c9FJT+2kq+71I/YDYC29LCPmlbx0B7LM9
T2UzB3l9V7c4IRE26q8PA9jZw9dzaee35FlHNm5hzVkmKZDCVlcsPmm4ov9UP5gB2dQlOD1NS56j
WhAKrnQOosQ2zGU+eSccLJmQl7hv6GSYg7GLM7raYVpAhy/Bi7e9Aco4tBMyNELvIEoy4IZQy5h2
OsjFgS2BcRL5lkwEdXTN6lXpE+pnB4N2MIw2qvNRW9MOkwQqj0cvccYjGdf7GMnxIQHmGSqSZlAZ
z/QsISHe1sSBv/3mshZ5RZgfRUF/X+eam2NpxfDjKgUYksDlNnry42k6G6i/Hmp2HF0gwnVCd0Ys
bX1spm5HvIe9zkliwdPTdlSXE5DdfkfyiX1qHfubwdp7jKRhbCcHTVwZVexjg6WvXVsVy9rRiHJq
8Vf1QVyeTF/bFJHWfKSCLqYunWuS9ukGjPtHIzRrPYzWleYbWDilaUikLXfm6UZ87Oz6M2BA+Q7G
7jEkNeVHibmdhocdu/VrJ3Pu67A217nNcTW+Z/iKTqRrBzzN9u6lxBRwxTcbzSmIat7OdCKEB1/n
0NrVZnCQ7IGWNH9YRMKnYfzGtkrbs863Q4hpDH3sS8KZ6MbI8ty32J3sNn7xPD594iHGR9T+n0Z0
T37vzZ+TVPY+FzNKCS4TO9p4Fesuci1vMww/TBfQHgbfO51Fb9cSEZBm+QDPYYiWHuTzEdnAZGBp
K/ACtD81b9ckyGz9jlxSxO6jZRXXGtLsZhx67J+kxoYhfgetC5gIITogvfnJiuBehK2zCrh4bkZj
sx8TyrImTNxnlRLkPrHlnQtTnsIEKXBdmUgtCrKu4qFZR318FVzpuMVCF+0YWdkRR706acKVSpR9
pK/5qqPOIKYgGT9sp1xRx6IzKsqahD4VfQ5e/RJwi2Z+9Kpwes25tcOLMahFimqbVAIwp+0QULPm
RvGYBwk4X3sY591QGruOU3g82vtsdMUP6aBdLSPjp9eQ24FA6A0nIOg6MHg725heC9PV1j1W6e2o
F8FxTDXgc0WpP1GTZ6BA2/SzsZ40u6U6SZS104f2qZMuYD/WYoTQqnwwnCThrJB72xzCxHHiF1ua
jOlR6RIXh5fwwGbUbHuq/60x+NlBpNRHyuKIMHmQiUeHfkdTx/41hlE4n5zYeU41JIBB1iTvthte
G1jGM2nW480eK2zO9MtmTXoIvAQKW+6421ionhCy4ENzIm+rEOIsoNxCkinK6glbWraw3cS52Agc
KHnK6eS5qbVOwU3sXbe6EnyTrvC7VFsh6v5Qc3hft4CQzzLUGm5AR12p62i/YxBYkOw7zp0OWWMl
ULojMMpeoa2g5hed8c2xnbfEluWHK6zjBIDuJ7EUi2BcoVyyoplhPZdhhNsRbKubTvgVhkwuLN82
fiIJ3JcmTMSS6KmjJp1H+JLOe3SP2nHiYaBcoTM2xpV8UQGbvp0KOjDpiCmxpAdkyHC41UWt4Lbp
3gUiOj04VCAPuoizFUpz44TAuZ9FtOCpRWIyA+Beb2ot0faJTgHBiMXeWZFb7NJY6NseLcj+rmIA
FNMuoyjTF1l7j//0umWF+hefJS2dpM+YSLbeyLyl0xd5XA6AgvwKGrqsV0lVEZzmdBldlPGZsyEH
YuvRCAEVK0kCts5ZB9K+hx1WFsBuSTUYSFKf6WYHgWbypWJOm3yyumAYCJC2ZEU8bPW4/OwzmKc+
iURA2epwDvKEBL2wjTjF5Ig6jG6NSEfi9hlZ1pJ0OYyRte4kKdeEsHYnRwhgE6kkOidMsrUri4+A
X2clQiDoVUP0fFh4wbIcvGFuKLJjTOeSp3tzcssH8JSkasYihazaZjxH9rBm6YcCXTCIe+i9DN2/
NbhZNz5OAIW6/fD3B6rNcdUOFiDXv32j9XoOjF6rlnU3AFJNvL8+ePevcBwikgXxuKpqoR/u6uzQ
OiCRsg9fX309eGbBn/Ha/oB73/VEvTTbxoUVBahjkeu1dfh6qH2acuQD7tykvsW8VmK1zZfSEUjo
6tIyD+3fHtxQY4ZkO2AXO573c2Qgog9mmKvXUtesrdKJPSsCv95K07II3eAhyoLnpJ9WeuUWq9qr
/MPXg1BIpxQS05lRpM1eN8q9CwJw09XxdDCJADk0QMZmMR/eMo+B5g/eOQwTFn3CtjsaEffHfspp
ysJdXpmwQA5F5+S7logNcjzKnckNuKN4zWYRLrAVeF1in/VuS5apfzHLiI6Yph6mGCAiv+356/8i
ZEboWzjh00OtV1/PhV4zzGXCZw9yJzixtFUnooKqMLMw1aZ1eAruz/PxS6Q3KYdiaLyjsN1jbSfu
USehcMKobHtbNPCHLmkODmPwc0GV9gQcbDd24/hA8yR/yq3yPRoN7/j1PWwDxKAZTrv/+mYYEL6O
6IxwKk6Qd1c70BZf6OcsuBNenenoxuZ0/npALkqt3TBLyJj8UGrwY26PDJiglce09d6aRpdQUDV5
/vpKmoAH2qxg4kDzh5NgT3KMojcjDNdcd3bhX3RSKy6hazxZ4xDsA+5zU+uqk6FJcnwjI9kOfVXs
vHJChDy4HOiK0MZuRutLl0Q21oV+wxxoLDBgmSecHnJbOcjGpyrPHgrSgOeS48qr0WkXDzHqTx0o
BgNp/UNjGjOD/SMe2yyOVqpwm4OZB6RosELNRd/cytpz3rTgDLTe4f6j8LJqGzC0aQwzZm/Oqh6B
0LflD1BMaBO1m1BkDheuIpE9uA8ZOdKElqkvNNPDbjASO0I7aeVl5XDO4uyTTaOZy16A3huHaP/7
Q+317jwY3GhfOaj6c2fX9plc1dzmHkosBOukxMGrmuvpmJwG9aMd9ebIDNTcmEOw9CsnJwGrEcBF
0Sw3fPIHOdjixc2q3eiV5RVqGWLcDCHz/afIHw/WnSufPJA8c8+bdlkQaWuiN9ZumkVgJlk9gnEf
GH1/ZJabnVLMZTV5yeeSBA5+Nc7LZGDRawLBjKMpmfy14n2/5PTNL6lvwo8Npdx9Pff7N+psL7qg
5UUXr18aec8Gs6tbCH/TeJ6qcyLNYtnazQ0d1SFJGTC0QfqiDYxUiDjMVk4Ocw6S6y7H3k5ai/U9
n7pnl6Q9XGTsECY0ZMJBWnpVYiLWobY4UBTligYjIQMCcoYy9J3tuluD9sW2hz4fXnMbVEkhgmtV
9E8d6zIjhNJdA5viAGrucQWuOB2li6gkMwnL1mfTJ69tUkUEdjW7GiMZIc4nOron2y7DBV1AfBVl
8r26x2DHvgtgjEvBbqSJnCh+doY4XoEJJ38UAfHMdpCnhpYY1q6DJueeQWFnSbonVvAU6pyjcJw6
RKjSUvwMFLPOgEJuRvMVBANp8Sp5w7Q587mL0Uw3W1T9r4MUeAEEsqXGUeQB0eVcZVbKlMBrj1oh
fxpVR4WjbHDC+BwSEh6WVd6+FW60GYDTeWFwCgvrzUhB0dSjAjBxZuJPatyg/bBa/4S9ZeGq0fvu
kuyMVSJaIC3vtq5TfI9Q927p+4pYZyQFlsXyRk4cQVHOOUB2kPJCczFVZXLGjcaiS0JXHyFB7VX8
2fb1LaBD+J5MspvVBPihcpV86mwIky3iM8O8fMmcXC3c3qlPpFkja2CfwVlLr9d3gYOltrPIOttY
N1qZ7GHKGKDi8VSJqTT2WRkla1p8w7KLpkuOxmyJN+FU1Hm7Y6ZAJ9NjyFbek/TK584Bdl5Qc+JV
nNZlMRJT0xDpo5vBIp/WQSNSWNg1Yi/SP2XIUDC/97j8bTqQ9RQUg0X7GfMzS5c5ayOHmadRnmtv
T2iwuIVFrc1yebCA4p6ChiTWiXbRFJ6n3M7PZvVQp9nGC3AUZbb3Tq37Tc+ttWy9F9pDLz2w7daz
fthFdkktuR1c7c1F64FoNYCEK9jpSnthMrrCg/rRafi5oB4cYFocPWUcGuG+NUppRP1Z7G4jEeHl
HbJOulmqPmKJXARVzdwxMB9k1kFnXOb0bUi/eVxNCaFBKQrlmfJkMGsoxXwFKblzn7s85RDJMO1O
lSmK+GdkND/gdFa8EnaazBYfNNwklE9uQ2OBvvYsxiSYJSavJJ224ZivOsN9z+OETQd3ALQduS1R
uzXJACy95C3rim5vWd2uL7idvH54dXP0cXR0jlnkoRydJLbUroyhvI03K5DPaUwa66jeSDblJCDW
tZk9coE8x3Z7go8EpkM03/0SqTPDqIvyCEt2FuWApi7W2H4z5K7zXhdXszev+CRwwADrnouwe4rY
VjWVrdIgXJe1eSP/9CfBI2ufVT5yEjCRbE7CS9wtialHzeTiwWO+wBH2zs1A52+VaLQmycwRyt/Z
Hl1YbYDTQUM6kSQAViOqulaCai7Gk2Xr4Yz2HNEFefMN0caVRlhc2idQI3vomoLO7ZvUzStVFcz/
2H2upgE1dEmOKn1guE+A6XO87DOmsgcEtnuv8Ka1HrD2pVbfbgi8/EgC7+LUTCyRFG4YGRjLAWPV
PI5fpKO+Sat6S9LinOX5ptUZiQ5j+1iFRDQMNpPYYO2M6KTNfPqhJpBiUoUd6ZnCuHQadCS7rE5h
dvM1tN5oj8FpVroxl7rxUwLJG7xL6QqH44eNQlE409IrN0qftRDqEWY2B2FAyBchl06YudGSiutm
Uo8kOAWYkYLq6gVkAHrRz0SWEH9hv+utYcAZSyAI3XNSolSdUi6ReWFjEAnd1zid3DX9sfXIsS+N
B/1AUNhPOsj3bEvAksjHYdLXA4mVwOwTlwAmP786DVlYAxCYqOpoiTrRZ1WDEctyLBNlHdy8VVnF
+1C3urmWWDvFdorSiMTdmIjfmNQwug0eaTuMjtJtHpN3IaCXB2HwkoHn9ck1Q8a+r0W6rMPmw9dG
gIBdHzKG7FdthV5L5kW+iHhu0RIVugw9zLEYSFZx5J+c4imPjAeadUQzxRJ0ePzCteHP8hxirg+F
ehNGMJcSgKdJaLAvQcHsK5Lk3PCgDVWNB+GTeAG5oCuzJLpqAPFikGLM8YOWIfnTBBBO1XwIydsx
lY6DpKcRnPc/Y/xerJPJPk/HIwHFb/U8130Ick73qmlsECnG1F7UCJWEvsFv8BYJqNbs6/SWsrlr
awSY0NFhmQL607QYWMFzvgQTqtFWfApNfqMdXx3JmJsbAG7uuKi1zrswjzv8w5ZWrvWICFB08E81
Y5iydR/Jd3vGiXBCiwSeRqln0wtRTOmKNIgEl02wdE3zzudCGJI6yVNtoy8ZKWIaO6R3QU80I05k
qF8aEgiCaEnn9lBoGDfR+ecDv1yYwQijebHi5e9cV2zjgLqIDbvBnTVTnD5n6d6uCduMZHUTNfnK
EbEpRlGQ64qgbmUO4WI0hnBfW0E+G/EwSQ0q/J1F009bE+XFAhvFNSz+i63zamocWNPwL+oq5ZZu
nSM2tgnmRgUDKLRyln79Puac2r3ZGxf2zABjS91fvxERiNBmca3oBAP1RdpAHHIc3zPggrwcQeop
ktAz4zlS5OKV06Lo/P1x8mmbUiWDSlO2596w/mlTTBBtdKZcxCFt7jHQEak4CwoCJi3sPj3ZYQre
YmVb/Y1UabDQ7AOms+HUpL2bU33NYrSOsAa56TyVfUQfVqFt4w4DmAPcRS5fzckkrug48fMVa3RN
AJf6sifxjX+hWmG0KlddKlcGgzz6Yg7+ekzqUWNtBWXTkCn7sqmP1Fft6c+jO9l+dq1BWwr7t09J
r3WoRpl7yvmqQNVM3WSsgr2I/ZqaonCPoOzHpwceP7ZBbhBp+I5xNHS6B1EA5WxJXot2pXzLOxNj
mHKSrW9fO8tGoRYGb1CYr/ge+E8ERChiENIRARUJ4DKHFFrL4IAtslJAOxu1x5qyiDwzPNkTcMfk
EBr497kGWnOaWvxc0L9qblkpn0A03IcH0jv63+pxrNdjcZQGYPwEbKbFvUBukgmgFiD9Sc6csHYW
0CDk//o6Jh5FGVz4rqr01Mv+EEX+Qo72udHpCCCRaOY0eQxaFZR7dxhLzh4TN/T/PadtDGuMYYhV
0Re33q4+e4aulWY3Jm5l0P59/i5rJXe6FgQLY+j4rbOx3cdx0eIZkf/9SjrCnvOODfMKO+benyx/
H2g8ALsgrBeErw5yPqT0JBCO8ci+e1SRWJUod7FplLvuoTrthQCK0swEtKvUd23t6ru/r/4eMjlw
CLDiX2Fu0rQ1lnUkvUepYrVuGvMSpkcjIIAGe2L1VOa0MI8ED46uX+IFU+ltHK1dIuHxui58j1oI
iyD7EtQ6rOpKDy9pf9S6ugTUtePbREbgIs4KBPU92ftB7eirfOr6PX51jahJ6kkbIkGO5Q9NDXh/
yjz/wLQDYSi0Q+erZKmNEZearF4SbxzWuV1ehWb+EvM6rXKVwLkF0SrWgSzjOh8PJZDvJo++/aFK
zqTqFHBY3p/qx1m3DLBFOB2rkRQYs2lfhso5+cJ588OnILDeIfE5aVjjG9fOwdB/Aj25KyWeq9Zl
5KipYiP5y2Exk+It1CocNKrht+8W1DTAtbBVtS59QiCw/mMnXBUyQkjWzLPe+Yz67okE5SMBsZ+d
kC9WzLDYBIcWPtmp6mZJZGW1Qq8DX1flG8tN/7FA0T04/GIVon24GOW8i+dOqj+GJlPQrTicxaBn
SypufD1+dtJqT+Pkdkh/RGjvsvaCN2ub5cMyzjjcJto6qs2dyNy3NJRvxaarht/2Eds2JUnMZLgk
GfY1F0hGWvucW8g/s9AA4WSmQCrQ/GRfbs+5mW3+1wx9MGCSNArzxSvoOm7iYylx50feGZrqX0a6
sR9Qq9YWp8l094URHsPcfUt8+1tKgsP6YkOOz28WTxVqpfTS+OZSZLAPSYFgMs2Gf5BsmzonLo+A
PsbMVpFiw0RmV+dYH56TSXviQyR+jEQlIdJ9p+5+Y527DHyirN8azXzGz/iUAzVP5zIPdnwGKOqs
p4HyVXomdvbksd+n2VfOQE8zy93X6Zwqr4ycLoWwAEu8Y7+KMPLA9XEHl4rYd96Ouq1fhXvvXZdx
GaGCGXxGlGC4cXmwnex2FL52c0QEZeet8JE8AKJZGTiMX/V3LsS56pk3iTRZ40405ql7wHFmrsA2
oe45mUNkEU9bYOMfqqMW4eSuGl7OgmQZ0rMxxOFrPWLsG+551y5VVp/rAR1z17cvjRaf0JUQnoBH
JvW58u2kurlhvjYo+5tTXBYjEylXE81cZbIeJdwPKRPBykQDbWljvxiCUs45FWuW9V57nBlZY/Do
1QF6lG/6wM/IWojmMc+oBi5uNn0RjYTGyCFrCOq0cmcsZLuaQwQJa+mmJUBUI/SNkE/svaZcZRN3
bGS7tGsZa4tIHNsZAJ3KZ0WMimNYP14qvvTcumHMvBeGTwrptBmE/m41suS81bxpot1Lq9xJb2Uk
01Pu1xf6RihB20SR+y82WREVuX/QYDpK6OSbGtqSw09QET7rUS/YfJBN+2yI4KcAZnmYjA8UxIfN
r3yEiRp+tg/69iMLKCpXWfOpKFmVNeJrPXgNi+EQx85l0JK3dnyPXUFWMKCp1MZZNlo314S6sJr4
xdD9XaXRSVxmH3CemyG5MfCvHVk9J322GxSHenv4stG7jforwtXf2gPZmZzk00fvb2pINh31HuH/
nMH/+fMySa9dgyfdGr2GOMvpPazo1JH+vujzdF6b6NFtg5KWMLz3oF+IELhhH69KsxK4dFaUL+TM
7/Cq+UharqkRrumyv+g2RGrRu78jiOtkUkNPjVgDiXNLXI0Q7jgNF/pEO1XTt4AyjIAtMQBEnvbs
LUGIJuXRDFdRF4Spl6CRJ9/yR6RjLCGO8Why0fZo0r+G1L72NDAze0PsRqD4obOzTDKAkDeV3MJi
3jmUy/EWWgS92t9sCBRNMqtfmpalD8cBv3Rd3LWxO9A5h9ss3cpQbjycx1LlL7qxUpFxnsYOJeR0
KNlda4NBuHE3f1mlDbUC3IrE3VNjFG2I4CingdqH8aqc8KCnAzKujnqG/iOi/MJRCAE8BbZBXkfu
ngpuwyUx/b76GQcQ9ljUB7sQu47jFULBk5ZGr0Zevyl+pKP322GsCGvgV3G8bdtamP77S89h1Wmw
W090VqFCFmTDKZuPjQQU9GV7FG/ZUsbhW02/VwDrWQDggsj1l6oZOL2a5J9kiDdaSWtEYxP+a9rH
SOcWdYhlnBmWR84o4F5dhvmsQLTlcPSt5HhKK/sySfuM0X1WeuGqMRAfeGH9geLyVus/RWYe7Jzz
QRsCoJDx/m/y9JNb3gL6TLPqjF37ZitcqnWQIVAVu7DXn0NUV203bOClnuyoP8oKkT4qIIxJH0WH
ddml/Sx2yBZwwLkD1/mSBgJqcvuYDE3rbJXNls6GCONYdCW44p7L16ywv9yatsICQgrZHiHF9U52
4sVjGvMN/QkBMSSj36zGRFvG+ber6pMjqlM3EhVBJkCpcwPmgbvIzOiYhWxpreFdAsd5bcfgho7b
T171enrNH5ewEc/GjkpnE9nN3HT5FMLfcUD/2xsB7r6HYdp7oRaavKQxeLbraF9P/G66MBYZQUG8
lY8knZBMXjYkyogQubhPOibF2eh4P1J1t0eOkJFaP8R8jBy1mNqBgs5Q9CCGa5P1pQiJjetfJdHX
nqQ9juq8LGLcUgN1pvmt7Cx4Bee1F4DDmuBa99ahPc0Tqlq7trtl0kEsbV46L/3lPj6M1e/guMe+
ST4mHxNV1lKwbHeCbBXjS9CLTVAn7fX0Zhp4Gki6y+O57LL3tuvWIxeG0tI70xKtEqrRZ3YI5pA3
rxVyxqVts7nY8pDT/07kFeiSvWr97tU2i10s9B1qyYMoh4FW4eBKja4lvEVVvREJcyaKkaD1sn6N
nP7CaoZT0j/LkfTBJgYuGCe1dYoYboZPwMiCS9xoX1qk7VVAWDw/GtilnSPXSDhCHZB0Q3HSgevS
EKV3TbPosOnLR7AUCxUO25MzhZsgfsp0krLsSHuzHs1b5MhQ7s4K1dJOgT5O3H35qvnupzCLJ1RR
X0nDGo6NaxgffnJOami/BqSQ5QVP2rMQOd4YIhZmAR9RGFO6MfnJuwyJzQIgXAZNcipT8zujGZX4
RTQcvjGQdNLvsNQTKU4BNGbdDBqkr1E1i2rW+r9isr+HR4RcOYkrbVabPso/NZQQIFl8TFFCnJez
H6YIW3tMhA7ACQBB4q77gEuT9F0636Lm1+zGW1MQqzPRGcBSoC59+gg+cADAZPsdPP5eHYoewkTO
URZxWmlzc9FMxVPhlZuSGOLZ4ydHGmJsvf12W2Y2fUJX1yFuoTP2xKVP18RU/ciS+ZmAIH4/lhol
fwkmA/DW1mHa/JsaFaITrcrZ0JThLBG0p/bFP3g90icIfBq8hEBYVW1RWELzwEPMQLDXull8ZZWr
UfqK9w+pgNnz39ApjpmDNy5r/DXEWydrXbWH3GYk0z1C8cM0e0fCx2eBHdW0TnXpAkQG6W/GNmpP
rAYu/0+6WsGDGQgIDTnq6XRJM5StjnUBi2aoJXm4THlTIJsoG/DAGdrGW2MzWPX+9IXeiiS6ZmdG
1R7adB565THGB4UVGZY6QXdbpfmsIZ+NWNBZaLvHzpff8QSuN6RvE9oB8oWSWRMh/wOdhwRXNd4r
BExaWZBMwA1mal+oU6mSbT4JMf/0jfrFgK8VKl4VHftdgwCPMz5xQ3aCaHBIyoVRl3JWkOdWOrA1
9vjTOBWTTWq8yoi43rTRDizvVOt1N2JQKvoPmGxFuYUvn/tDfcZQdXJkQcy28Os5ZoN1J5M3h8CD
Cp5DI4Vlznl1X8pwj2v9MoYeoQv1R7sWk/HsleIf6P13mUb/DC1Zu4a1Hzt2G006/Gz2p5L+5Jle
gxjJRrxnidrB4Z4Mr7S5YYBfUwN1Zf7hDNCPoV9+xJkHv4VzkYa/3PDP4cCK0BTWpgq7z1bQfOR0
9SdbRupqtGyC2UuRAB/Ezx4qW64i8dONGG76YU+IMgK1YtiE4bSz2cc7rXk1UvuVI9QtlOPCa6Zj
29g3bubn3HsZE+O7L9mxkqS5A8QMevtJGwsSJR94t/KnH591i8+RUy+7FrdXxaJsEXtoQK5GAeWa
NW+9/vBtWUH2jwl3K+0TiNa/XkH3mKh7W5cUTIYZoRu3/qyZ8r1LYJ38orvTYL2ytO7ZD3jHEFsA
ompLU8eG5cf6y6hZHwm0hxOqsxDTv6ZKXspJv7UWNiNfu5aPZULzTBiBnKHPK168ybtWSeeCGvQv
LtRUXA+4RwFZ51WSfcSEegpyVUQ6fNRmuEfUNhrjNWvKnakD2ZfdV8ip37RYm/S0O42m3I+RcZOJ
syQr9OzwEwR+e7uprx3+Ht61bEuk3yWFn3DDvUdKIjtw+BEO8jcp0cx01ZWQuKcOhsJs0tO5KuVt
LON30IOnyawWbvQEufvmp8UJi9W59krs5Q4tuGrv5/IT+dNvzLGvHoMrkpq500M1OGbwhV+EWt/q
A7UfSsiaobphY1igyjoMovswHslMuk5Qmj/NdV/f1aS9JWRpgdgzQGjdHYfrMdH63U/Um9ckQXSp
lm00fdaPK9mymCCMCuoMaTe9mJ+jUYwP+8FrzgZMqVOsBasiSS5+yS1Z6H4AV4akxjg+1uGpJmYf
mMNO1Wfgqx2WbeLD6fjIi4CPSuqbsfV3sQuEGER7kazxbYUA1BgcnJByOK+feW3MsjSeO1vC0EdN
NZO2Pc4GS5vhdyVLybWreaTSL0WklVYH/6JHAkJokxJsTP13ZpoIG4JnrPz3vsGhEHik8CS2tiXp
c6bV3EFRjmdpzDHeWfVynIgMq4z6Sd3Q+r6nlD8i7OtffE3bd8kmyFskBe7BczFUjhOWKocESAvV
Wr+cMHt33ntLtE/dksDv79ISCbG9K2zzPNraIaqD/UC4V5KLdVQ0+4hLpp0WQ6+x4chFQ7pU5FRr
FYSryB23w9QuNauk1Ml9b+rkqRPpqkgXXjreW/T9hMFg4HTlKVDtr1eVHBoMJKD9VTYpwlKuNBUH
uIvzjYB3NWIHWj/RqQPHHyi7fwTu/hIWg5Ld57icfJP6h2CT4Jq5N2lb4TKV1fXDx+1lhyYFtZfJ
+aHA9wbYPEFaFbYwNIo1Ge95VLJUmjBdiKx79zRZ/ToOHlUZhfZdZvKUsEaLlPC1v29LyPCycsqP
XtTdzEvlK16CPRmElDD0Lcx+Em2ajOw1ZG7UHKNYrzu44E4uxBDlXDkNcst8Cyl2d3qiCfXyw8bV
LEIS3Ub9W7XdC1VfaH3vUIU3yQg9GjZ+4XiHpGStw9Wk8OWiyD6kLr5TYb+4vtrXobWwoZ7QpV/N
4ZC6JRey4a7Qc629XuPWlEsvjM6F5bw4SBUeJvsMwaizjAcS6ezh0mfuj9V6P/alCfRPPUtWfltU
i7yP3+wgupm4fB9EuzsfakSEtrg3NjuOReZe6g57Qsg+cjSwvdYFc4+4mFlllrcYotzz9UtsNd/d
OH2Wlf6Fj2aR6QMueAcznt2l694ytmONeyKI+6+21HZpSsFWpb/pmfaDepzWH1+dMdUw78NZ6468
N1aLLNpfGQFgambfR8v7tSHZJFUM2Iv8iVRRUZcX7du0uxbMg45qt3QPihoWD4v0nPRVJOtDNRut
yJqPBhO6onO8qGnw9upfGhhuavSvE53xkV3tBrP7BQx7AEjxRRA/6aj4orcEGgifw5eejWCG+Rph
4naU1gvhMLDElPTq6reHCtKqt0HDgRW6/ZEUGMwZ+RVN/zUXzbb5z7fgUFcQOuC9ItZsGzBL+JQZ
8OyZAKAr6UDMLvZ7poUXDecGbcwBRXi4oDD8pjqLcJ/+tBmRVrANrHf4GoI+IZy5s0m5mhgkug6q
JkBdNAjmKF4YRPTdoq6bTV3x2Tx+1wAS5e/VGDJXGuew7/KFx9FcE0k5YwldKLN6SxAKzFmNUNdq
j3ESLaTFqP4osSDhTe0iY/xwGrFANsynG6DUkqNz0IwHdOpEQD46PFNpcnlRWI2uUKllY2jBRubj
Kw4an7acCULhrgddvSt+MaEGz5Sw0eqEGM/Iri01VyuT2dsmyGarYtc9h7R6qDr9GftSx/JbrY28
A/lm7EdI6FaLoas11uHwXWq1xSkm0HZlSuOmCMVT0ANgxTJFd6aVp9FCfCK8IVtMiWZurbwHsG2t
ldX61OcaqltiTuoWk2u9DZXamb4kJkxZEGCyv2fGp5EmSLK1zp1BIp70QDwNyUOXbVkvFmQG3IQB
2p1mb6l0lwBx/7iNAyhlfxuU9tZWoiUppv5q1btVGhvLAnJVlsg2GHSIlAYCouP4s/SGg0fVSJGN
p0RPttVoX8Kh3nstVg9kEkzYW1+5CkmHy5bToTpwAKub7rmS1oeGlMQaSI6aJE3PegGxSiTGxGsT
Pywyhq2ovqchAiCqWvrP9CO1La9eGUVzgUz2RRbwVNSN2Us7Fe8D19va6B9bEvlqrZ1dKiVuArxT
Oj32bZHcG7O6auH0G4XEJFZhisA/2NJ0j0XQ2KWjdaxC+dIO5ocdWBuIoGXQ+fdeVV8yy++tP520
QLwRWFppEqQcdKQK2BySaqKhA1nqHKPucjRI4o/iqNt2bXnIQH7DcWTyytocGmFaFo73Fltsy0IQ
UIgqAKNVcKoMebeVOtRlc62E/y91nJVT2Bvl4Gcf/RCNFMx3MXD0eCDI85LbqkvVa8JkZupoWWyd
4KIKJi4uKm4TvKLHILq0od88Tw0hZFHivrvXaox/WifHbWpgrzOnfMlJRy3IFG1xrsnfXm+46PVN
HAVvf3/FwS4B+sv67JZoSvxJn9c9lwKBz1x/9g1qq649ECJFmavZUfdFLAc5oURM2qX3D/gin5XI
F5FAUH3So4LfUSL++HU3lpe+mbSUzSoHdjT3AcLoOxSx+yGKjvEyP5GjeEINNszHbgTkTyVrpFa2
YlMD3pujlh/cqPrvg/54mus2tPmET8TXufU8c5GQ2q7bxaFqEcXmQ1qvOo45h8xG2BO0WkwShKmO
fw8MfcEcMM1bT9CFJ7CYJ4POt3ZeuzPkz6D5XdhvMNag1ABtXKvJDYl1Rsmr9FLHJJrTgcaKu/h7
rQwPcdHYB06Ur5VLTlXhhN3OqCqxt7nZ95PldBss8/959vfS34P2+Bv/99f+XvPA6GbkI+kLN/aJ
c3g82HlEl2qsOPf+72vgv8HDiBQc/r/XsJjEczJga9y2tr0n3R+x05gg43k4+fQOOA7Ohz/5++NS
7+09dcPRQpjCpaalrindDCsqayNKrMaofvp7gB8fSFHPqHKqzK5c9tiE100C4tdxkACtVQbzq5HZ
e8vs5+OAQBj5/pZBD43840GzUtJ6NORSj2eippBSdRHe7cdTk5247fj14jYKe05/FP+lWITBbKbg
KEFij70q//tV+/jq76mfutbCm5CVh8gvg3ULs4J7yjKpyKxCMKu/50HXUaJJMQNTqVjGRu7uWns8
l6Z86GZEYy1ryYb8n+dFtWJSo4kqwFuqT5rS1rbBDwiCRxCCmAIdHKphBnXcB/XkMrFx7N/Hj4cU
DnBrVnIOMtZWK5x7AqdSCiFiRUQlRpbebWM3XboZCSjkrBRPUmntIeL3uxgTRFkpdbn9z9OqKp48
s9g/3G1JphtPlePLszNMEtxr0eswNiS5D1j8TLUKjb4+kYnTrH3fHCGhiVv5exj8YNpZWnaktKA6
EDkWr4tMfnRuggmLvoTq8J8vPcdcWWQ+7sfCi56aqb8ysCQ4knj29xKp9//9ynObQ165p6YyqnUc
l+YJz755+vuqLkv0SQaWYtrXAUcSuY/0kgDYNulXoSaNt9IGgEIcXR/jx9OxW6Z2Fb01kVY9MQw9
ys54mdhxtfbSJFs1XUbSbz/8y8MmB7brtLVSMr1ZnWq2bPfI2B5PReIUeIcQRih32Fitk71ErbCu
RvQPmIfDHmkIL9K9w2HL698fI4ze9FaW4hOuslVv1vqKmVkju/+zMiBDNa2cdhR3sPt7BW9YM32i
HLQYHml0cDklkkMS4xvt3OkzC/GcNE09pzNePXWF1OauF1pbJ56g2aqeFdj3AmLjMwhR8I4uZqEk
w1FtpWjsK6CZtjVxR816M7Sv4+PBQVUvhuw6ETYJ6hOvlJWrDQ6VgA7w0DnENencpK6BOTyeGkb1
OLryFTlXAcIOFa3sonqIQINfPczT7d8zM26hzm1Mn2ScU7OAORHqLsyXQzJdXMvNt6F0070ZVkgL
U8pN/ckjsLu9BbXRPJkMc08Ur0SrttIFNFJFLnpqbmWGRk0GhDhPk89iQmUD1GuRLB0z0T1g31zu
cLk4O18f5I5KmmOd0kqiy4oQGOyzT+e/L6MxJKrl8SJ+5/Y4mCd0PsGmeAB/VJUV5TLV81WrRHnU
mqE6SywDi1HhkQXUmplp099R7aYb+l0VsmOecvI9uvz76wj2tevo+7IT253j2Ms/aQd+qI+dbxA3
1DZ1od+YRsxVlLkk8pFtjuIdlbWa+vFDaZAgICCXye3tw9/rGUdK0ontfBc4Qf0cEbhCnLQPhaFX
z2p0IZ3MHmKmSEw+aZr3tMRf1alx7Am42EXwmWfCr/BVNcEiThlUI2WAS1K4d9CExBhiJ8WSAkOa
vQJb2yXEPm9YAFZ1oOjctBi9/h4aFLR7x1XcsuQxOExWhCYeqXEZD39PvKyuWD5LONIqjVfj41v/
fX87mIy9Z35ltkXT+t9LPcgDk6XPkVbpO88c+lPRkBalWZiaDRiSUY5geIX727F3UirozVNiDRLN
VZxpuzux8AMVEZpGN6RBF1xQkkZmwYVU+HZN9oJ0CNKNiTwssOKBS9/7xGH9WVooDxFmAnprPzgs
0lkyDMEszot//zysETNjBFCktxoyMDTmzphf+oF4hjE61mHxG6QG6sTBukNLzlSALbn8cXr/wxie
1cBHmYLvkLpNya5ioyea4q1N4b0SlW0nlTASxdbrwDiFwudrTAFbMaefDPGYgdjVKk2wXNXqjI/x
nEmArSlzyPfIn9MGtTxBkAP2ruw7MdILrTNzq4e8HrubG+kZp7PyRfed76LcpZX/kzIzyzT7YIP4
GBGx5va/zPE+BdK22ejJs99tTQ9AXRsO2eRv7RqleTq8oCV561t5jzT/mDjlyu6wE0RHnTqIqY6e
u6RcsUFD+pTaPy9A3KafWVUdxVpakXVH1Vt1djT/WnrHDs6sgHBDwZ4uZObSP+SpKwaQBdrxTaM4
ntohqLaMr9oD1RhUZyPDjt+T0V+VTfDlpCBbBMZzriOjwKVjcJ7jDFo0BpZ5zfgo7JCGuGJvKZLQ
sgF0IvYvQdNcvFgs2rxaJXn1SajKrnfyVaNRa0nPC/nfd6NVgOL1cLM1b50TxceycKL8KQTw6q+c
ZU6dnd48qhaQaeLjmpY5FRiQNid32plNtfHSjLNxjVTXP0YwAXYmlrLKaEXtzpZO1MIU7wGnnnC2
L3QHrSrG/yp4yc33MVknpbkIxmqvF/4zuf3IDuLX3gj3I59sD7/dhOS1pS5rEhKTXNdfwzA4TYl+
9dHZIPNLXnInPEVtBlpB6WXeQ1xHiFpn7eT9DIxbahRnbcx+SsA/lolDQBL+9EC3smwRt1M9iyYq
zmzIjSZoFnaP6aJQtyCmgoLYIaotABu0ZYXUQIjmTMohVcX4WiRMgmcCmSszVHP56C0gi3ebWsFT
5OVYmjrjI2f3n+Wd7c46dNpEul+TE1gq3As+i8n40HouFE0hyeNC/G4wNaipWZX4T2cp189MSVqZ
ehi/gJJ4DfSpaWlLHmtvbfXBasiKj5yaGHYuCkb8+ozS91Q4w5s1TjdOKknhnghU/Cad9kJk1JdM
sXXhe3BiBkfaL34Dn8rAIT8J2q+SM3Wpr2PVbaO2eIr68aXtqHecxrc01T8amzzimKsk4Wyk2f2z
lfacI/tuxaVAJj+SU6eY5p74MCSxdjrnwxgHxcLUSABpuhfTbk24bfTusU28G/l+iyDmvFOgjdaB
1UGJgcpop0BW++TYqPqCMuNMNGi3uPVuvYdKiCwPXD0h3pWuA+szClS+rfGSaWCBsjQW0gNJ97P6
yPb6JP1K3xm4J9YFYSdzAuUPugaLcskDDuB9Ca9mEfBq6hfFkN15wIoDzJcjuKZiGhFHlrdZn7G8
kZQL3Rs8Y+X9lYXz7caYDCFII4psZrEovkF3jWOAs8OtqH4YIf66rDwIt79W+OuwXkZ2k81lZpsL
yBti0ny5kXr5JsYMbIv9B4qpaZGfAdyKbG7ZrMJtk+uzLlTcGtVLMSVXlZjgKZwXMNuE/SI3GFg1
yAl83u21c1fQu9G6dOsRvrpelpg36Htb0+O6TRr1r0wlXZjUcQyTfQ1xp+4GDni+L/pFVJcfZhK/
OfYqy9z3SEvQ+sS7ZAh/EjqRZ54B2PxAQCpGlohcCV/8mzj/s3GC0/cWfEtKGHXqpAcNRCdVrr9q
3onFutd1+WP0jrVsEY7JKSZMB8KWPF+D/7ZVbaoo/eoH/VwY1V0O7O9BqI5W0Nxl1VTkkhP9GyvI
DzmsTBsBfNTT8x1Ww6r0m+gpT4ghi1qvpIWIU2NmXkd80zSBonp3PykVR8fejP1c9d4hQ5aOWW4T
qoyQHQ+i+A8b0Pp6HrvaIekJuAh90hNhy0lInpBLjg/x5aLxMBB4Hksa3XAuwk3Q05TBC9oU3W9q
s5NxPPWLEeOHwMzmUz+RmkQVkIjDncC60Ot5vXTiRStdPuJMmEvVoE2jP8rixthL4pVML/lEBkeg
cm9e4tgy5+Ekj1riPECu5jYSmoY9kp9V2m/4vGampB/E9tAYxpn+6QoPrlHdU1o+Zg0m6HAat39P
qihEqM+ugjYKIR+4T6qxg6Su+uj9ZFfHyd6KWA6A5B5JxV1C9gaSpDyRc6iyTVTWd6SSYQ792Tqi
JEArea/dcd7lyY+jcZ/UydfoIQ0jeeRSSrpc1eP7T224g3QGsdTX/sOzNJCtNQ+xpMz0drrTnB11
1s9A1Eya4/a22/0goBunSjigRf068aYDkUSozFKUksJCdOiL4eIX/ZbTqbPlx5Otg76zsoYXF6MZ
SsBzGPferoubYUPA6UZVSu1a8KAiKsW5Zw81qsR6ch21TihCF3ZUfSVg2b6DYDwx/DfMgCyXsidS
Q+CKaqFurq45pnS4EP/3eL/hnfIll1yywp81HpKh+VdSjjTrO43Crghhd6Sn1UFRRTcH+UUtYMXv
wtbh3gtKNzQ4nwlzA5EdU7ehNGg4+fqPTuQsFxO0hPDEqyKNY1/73UlFWnawml6Q0jFiLlc+lDMS
29Bz9TllKQoS2XdOwl41/lOsEU9NkONmDJ1pgXDgaA4+4VAOJlwvzkiZGj0HRYSTbHKZfGfKfoZr
omA5SZJFUfvvdSjxYsmiXxcioeK6quFbqo1qByTQdv6gMDGAxb+Ymfi2gg4vt/attTPh9wg9h5Q+
y4PbacNyPsYa6PkksSWNuIJGs7tHBUZ5QIrklWSgWfa4zfKdnZivRdEm66jH7DSQxQqgRezRIOmv
I2gRY4dUG8Ta2mJsNblIu3IemJD1RZghVmF6RKfxmRqjdtFlMZviN2FQQGeRC1nH2kcyTSVLA0d3
M58W1UBNh4c/LrPhaDj6YwnP9pL0K/1/ODqzpViRKIp+ERHMkK81j1pVlpb6QqhXmWeSBL6+F/3U
HR23vVpC5hn2XnuU076ucwbkI1HiVVkKVBVcGdJL92wgHrFKJe1cG16cca1jHBrZduzge4VbgU8u
pVrCzP9sUCSz9MrGVa2P702Nh8hqv2NdOld3FlFVQ5jR5FLLZJ5eLUesD+yKR0YdyjkEmAxXYEWp
b18JWuRogKWMZAa2Qk9Pg4bDOvUQDG+4/dDcnVPHlJ/ghp7zTNuxAdY+RKPEWncoCacMh31RWwfL
5HbGS/SoDPFjCzWRdVhv3AbwcNx1v1whhIyF5wiS+EI00bCc8gbEoJ25q0pRltc+uFmzv8YmQyEn
/AwnGayAKw/Yd4MTZ/0ljDTr6NKCrDLwSisyFX7VlH5mppTHQBhn03aMFdGKFGSB25CUZqMagl0b
2TxjBqjKKez/xXr4MgDwEspVax8xPra1du2pWG2MEV3BUG9EApwzbpzdUNagJhFltAOfO6YeZruv
gVVGawLJk23qJe9Fq7/3JHKtKhLZTmQa3UhMc3YMx+6dQ53XSz9aMnWUy8jvf7vMHTbYUvhUnRif
jbf3RK0OeR9+yzbWl2qfkCeV5t63Y7XHuicuRY/+MPMfQCkEK0SYzLwz8M9N0qzdgOsNDn92tXWV
wLbMl6bUP2o56TdoqVuBfKQXP1bDla+KFBG6e+1sN3pBZQUrF8df1746rThGdvsZt8Rw4e5tlc2f
5uDhyMVH02b2OIsIs9VY45tJsBuddJZ//GEzTuxLA8jVzT19jxyV2KQiFauAqMdmnGzERBaZ7C7u
A/p5fDqPCaXgbg4acrrE43WtjnpT0UrWLRjh9CWirn6qEVBlmfbP1KIX29G2MqkenFa3KO7MVR/m
l7jrn3xrNq1Wzk85MXq32u4pK/7ldX12PvkmQwYAC8s01coRsXXU+HB4Lr1srWFwXyUNV3HPEgyD
j1egcUD/sGTlGK2nliIZKe8ryrhjZnq/6Nz7dUEk1dJrAiYoYdQA3rcfAZZvNlRvuQ4tJh0UX88E
GVNW2LDKOuqX4uFzy3H/4oMf5hz7Gh7FpC+ssY4PqovDYyQRQKXUb4GpaTu2ltotS7n0cHxtE8c1
iaMdeH8pFkJtGjYT1lT6Ebd8jjCeLF0r8tYWtqdFPNKP1iQiYro0QcbEmLLIuyr2ll1/UuFNS1+v
hj2pSph8ckUtbxU4rf3gNow5jZOdUGZARXr3S4ZWBot1CaBja+U1FYc4TnBmZAIcMq3uaUF2TFk/
OSYWpk98Rp9tNB5VWyWXckj+EqP+rm1/K4chZzyJpE31LNqUZowwvMgqn+LnjoXCHTyIf6gqA1nc
9F4ZEsJVAI99Gloa7696AvfCEOKMJPKdMKbGaVhlp/nZomlYCMXMrABl0kXxV6ez5GTJD/RJhzUS
llwmaLhcOeegzdVA1KGYt7Rj7jbRFojVzcK9um6C4a+tBAxOFlL6NMcr+c1T12mAVLTqRonJAkSL
jkOq/6BNQKQVdjPRBaYObty2pBX97LPww1Q5/TrYuAWWNE8azwFDJif2/1VgZugZ2BKGRAT1o1lv
OmS969Go5M5UymE31H66jLV2jbOnSxm3dhYY733ibcdwV4R1/UGb5S21KgueY08LdjXegVxLICuV
Xn3RRrPYcm7w6jkY6EP3L678ZO0xwFj0PvMLlVPHkckrtlK0YHIMAqYTSTeTuXfOol1f0ueEiYfV
r40BRjl7WMsscSj61xO1HLMjdl6WSJ0n3ZfbUiJ85lri3Nb0zWRWHIJufKU7VSitGsZ85bPbi3GN
z+zZaLJHzM2/dzkDNkCecZmyowE3lpj7PLeqDRuaR1h2UKHC3ro7A/tDGXV0TiV5XUTZ3FtnGA9w
jn+GsVR71Xbnst0GRfgRy+QaVu3dwYmbwFpPhuTgWP4HoYXveIYxyDoJf51q7r7Tq9njuFAuugi/
xjLXokPsQ+qeJpM2/EaoyjHpehaOPZJJZ9P6CKQP5y3NE/n0xHdFZ9At28gytJUZxt8ZiWMdDJEC
eJMZRN4KxjFsO7/b4A2H6tn6W+LNqktbtCf2NxjjnZ7GoUF8MK/ogwk0GgO+etHNpSUBGboZxGD6
JxLlDOuptrAPetHdGf03f5gEO4SWm0f3t0Henxt9WwklwT/zwIbTSHxWQIVCxBDAGCEwuvkIhgz3
JyyDt8JNz8SBJjwusAycztvIaawW2spNvEvC2BFrOKY0JyhWrDkbXivADh3K1TiQJweDShfQObSZ
twWvzbWdD+XajtDhT3b6NLS4rVJh7KbZDcgpDqb1B1qUA84AXST5w28dv9eATETXxq0VWutShwyJ
MmdlmW2OGxS+IdMX+IDawSRLHPlyTVx2Vr+hVmNraIgcvwFcWcOXOFVdQpQ4VWmSCswGkyyo+W95
PsIYcfNkRZSuv07m68vxomqXBfSzetdRHDXrQlczoW1EvlQcA7srLplvHvTZ5pA2XP+OQJOzDxH4
4TA+OrrPnKBuRmaN5nyPyBO45yUmbX3ltxXNphtd/RwOsWVM2RIh3ooIjeJUCDNbsKgu6H+9D1lH
q0bMnNJILNvRiI99/sIhwlEQwsNBu4UrabbnCJ+RXxZu5luEQJ/ZnEAMlEVnWVnyWEY0DszD8aWG
F8RROyv/wVRNCE2zMVN904zdpWiNGktiuu8KH3dx4awMz41ZHnLjybh5JNUmyXuUX4L2ShPAftgs
L33FiDqtNXOeczLUmIBzDpbZbHp2XIvIYxdgOdXOEFq5GRncUk0FqFv6dDpKle6j3Gbk4Yv4ZIJK
iFSwsiKicuKQ5bGSxrmpk5eecHGy4abuA/eTAFu4Dds4Wk3ymWuGlHPN3tmkQCzch58Wr3rSPhQ+
AShZb1ForDHovWaZ2y69ALRR0XuHPC2rncao1SeXk3uDLMJpdj/kxcbNYc76/M/VZNHtBbChnHAQ
m3hMDcbDlgGUaATR447ygsMo2Y9lDprWcSCs4llPS/ejEPpfVRfsreOe1mi+Q/ybcGIQAl4jF14V
/yTTtaVig8r0WWY2zaat3hwriVd+jUglGHwg3FX0M9jmI88q+tUu3wQzt6ZYRXjCFrYVfqbliL/a
qJzNaMY1Dy/sUp0k0BWRW3s7fsTTfmSZ2UjvBXK2u9YTOFpNmXggAl3KLWb6fSHCbeJX6AACBgQJ
hnpun8LYMM/jIYJ/E/sNo0LOSyvT9Jupq39aIkygL6EFKINlrB2k0D7jvT2q+1j6+hZlh8n2Kn/l
CYGr3LcuMuyipJJRbFuihd4b2llgF3wqh8pDWewc3aK5YeTDXK/TfIzWqTGS78TlUi1ajdRXaJ2c
KapYNbG8eYIGPTJiMORe+5oSp8lj9zkS2IfPdzoV9mcVXMhQ+2C0WhyM3P31vBzEBqtAil+ex7pf
s3Um4sOrVy4flz55/tI36Dgyf6B4UOj3kItYOYO1DAXOLHBn/VVrTyhs7QUGgr2vB+gsAFysMtnC
mQxIvM7H4onxOjqhzv2nh84TpgjjFFcGIeL4vpOQiPnIOtdqYhmCcGCj82A0ap6HWy+tjsWlBeUn
xqk9TOLQVZbaG1J9K5WbhxYHBGHtK+IrR+TJxrjFp2egKjQGHEswgojYNBBkOu2KS/BRuvmb6RYh
UQnGVZnDyWnwfgRq/hUHI+ypkTIQPVhr0Y+5vfeZOUTNc6gOhUcWn5FdtXE8956Al/Kowx7ha1Cn
eO89ZBfzsfNiSoNiJ8H0YpnxLmvrY6dF/p5FIZpAFHq+v+UYeAN0uNYaBHm9bHjvI2Nr1Az8bOBP
B5/nv4r7YB26wyXS0k9spPi+VP0dtB1lCGcD+X3JWxomJB4rTrmY8J4Jask6HFpciwNOMODm5yHs
941HFO5Hk+jp3imdAicNOmwd5achrmjx7kVNAnaTov2uVgYV0Qo5aL6hdkfZw4E7uA3TR975QJ8W
oQURE7cq+Dtj7HdTWJ9M7BQLp+VmbyPXWddefUaTs9Q8nJOZw9IIDznbDoEAiVnod65l4oTW52ey
4tNQO19VTHsrHJGvTAlCRsZDh00oe62CediDOJKZLUCX9GhgUobANX1wdEgQlRrFeV1te8ZtRofk
pkvS2cI4vSH8mjbsIveqHk5hKK1tKWB3wSLbUUI8NdoNQ+W9x3fxalUdDGfB0+cExlsWaSO5l2HF
qIllP8qc0rPOHVsNYUT53m49hiPwT/zeC2m5nLuNqgtdH/o9Tk8cvLPLXmTdkZeXOWUc/cJzZCUi
NUiWVrKhvnzWo2gzsqzmXYGToiRqGNL/vi3P3MAB93dN41+nZvjAh/kysbehp0U1D91H86vhqbQN
Gs9erYRieB+mzh/hkzcR//pJ8zW1Sf8SVDuFwGtlVwZbB6+9Maf7wKt0HFOG7YNP9q39xIHVbzXW
H1Rj7DoQwm2g8Q7r//sAbFelqL80eAsbCCoEvHrRs8YmmAwNdEi5/VaFzi9qUzpJ03+MRrIhthv1
NFyOfasc+8qqq2Rw9oM4DKJ7gN63sZ90eKBjX/4xxBgPkVWA4Q/KhLoAgKLqXgbXrtY1+Qw7Z9Cm
lRtDagosPAx2YUDPNpp+HTV2zqF+67KyXHdSs1ajg5PAhovhMSYI/foQTdMliRpt3xknYuHyk/Lz
l9JDx9Rgfqz98FnFAd4c14NLjFEzTxD2Sic5iVIPTqRrPDNYY5BqwfhyhFrjS3kMmrL2A7FQ55gv
sKzK4S0NHHHCTNxWDIXGIiiRN/ksburBQ9Ql/41egxcGhVkgk5uI/HsF92YxKAqTgMI0b8al4WGk
mAbrpwzNbTYxxC4bc6sK+7nJORJzmshhIuHODGESTYSGiCT7czMuY8d7osgm6M6VbxUTEegEKzts
kYxHkOK6tgSbDCV40bTirLn62p1Mj3XTxBWpB7+BHde3DF4eCOt3106NNfBRvDYadCnYgqCgCg+Q
eiKetUjiZSeVGxjH2kyQxiYlbZgRJAxG2C8uhd2xJcmLVUCG8srU67XMjP7UQ73hKTHWMaAltLAY
xaruqQs0quwOoL3UKNryvlgZbfLWU+0vRe5jpgydDm/y9FIqi/YpqMn+qOUtLMhxLT2SONjsw6Zb
+SnLLT6wRaRy7r+iftCsz2MF8RGa2U5huKeX+bLyIVnD+szhzTGrj/Iv32IMnrF0ReLcU9zFwBID
OKg92ngWcpxxy7akJtZ9AMeIS7qNFjDXoe1vAbI4P2zw3Nacjq4i07qqxDZzC7UsbWhYRchyDPD4
e0zI8Tb9iQWQesx6985DHYiT+GT2VFcT8wfd2oHVMiibKxyqtvMZ5bDfp+kUpRNYeXAnrcKVO3nD
KQjLPcj2aDdaExo7HRa60pu5HPU5F8KTpgH9UCMLphxn41Ki0onZVxDH6rCe8zCSRUPO201EDRx4
JOIlmy/adUSK+AqTkVopSSUOyEJtvaz5GeDrYf8lv4GcAFgG8sUjHHqhlyEa6+i1M+ufCOLFqnDj
A2vfBEkjhAP2u6QI+9k6VQrHcicE2RaPMsSe7fhUSqNr6StiKf+aIby1efSovdZf91Nxbkrx7gZt
uAwZzLZVi49M8cwZZpltKwefGDTUdCUbfZ2N2XlkkrpEcc+NL1iqIiBVkGq3TW1DuhPqrZTVB5EX
9TE15bgWySWNtXOegaMZiyrd133uL9H1UEGW/FtgVumrSNurjb4Y6Q837zAz4zGDXWKEqZuJtpxZ
04iiIA9XTR/Xe6biQaFtCIAP5o6HgSrsuWVv1D/szudDw6B9b415Ig/VI04PoZ8cSP2Q/JeLzXe1
LJv4SfUwDVLWg57T7SaZRGclvb/QNn3uTPuPvQAYoSgASSzWeKnoqRpNrCOygFbQljkq6X8aDcZP
bZ4mHR+KlX3345zzsO57bQXF5rma1x0okl+wy12HITn3kbmHjbH0RH6x84aaF/WqUZtf2pBslPTn
WuDeFfjA9I3NadeSQhQPakcC07PWutC7M2dlgwdesiHdFVPKyo3WOJQPFUewbp2D3vGjptpGZnec
5GstsrcFOIgcoQOI0kPLcJ1p1SFxCU427H3hh90auqSb3oc+PjV+eZ9C/+Ip70GszhtUQfoaeciS
dTJW0E9YFpIJQe1sH3w/eMrM+gqe/qiP1b4f2u+UprBDm0aN+QOV0N6WevPiZsxlTSxGxWn+c/N3
2OXRqfUg+eOpSfX4n4cSLvIyBPY64maRfkqXv6gd3+vKugNGRcMBJUJa433A9dQyZ5cpJUoxvTnC
uIskqhdjUf+S7bErjPEFheFVF+ErqQRP/fSeWvXJN4rnVvtoLHFy3fymZ8WfZRqEL/W8xtlSx+gV
MF5md5yo6KJ549GtcMTZ+ipBXY0O7zpMwTuolQ4nbSzT/z/FbEaeOS3hPe6xweSup5uUzOLQbO7m
ALOwiXd8KucA/3yBeUIrHughVhwpz9CqQTHeoMLtikYdbBz0QYlxiQQgU/TfqVfv5+8DZdNZYIEY
yAdBpgZov3xvO4dRWb2LsvJnsFjm+yXCqA6sBK69kfXuVJ7zvNyT1QTuO3r2SwZgLlbQQvl3YK3X
wbfWvRFDI8ddrMO6U+FPFtFZ2+bSs51jKFyAEVz7Dt9smzopmAXUCJpe3UROiBy/IYe4bMtFhJx6
xTWfzBNyuchNXrJQOymbWHchMsbYySWvWV5DZHkScXYZTBOCEr50Y8Q/EB2Iun7y+RVFHT9eLw2A
u+olM3G1Vol9n5EQyhqO2i+nwjFy/YvilcIIktKrCXjw4IQqMnFXwlervlBPXDSf3qAd8qo4T8y2
4ilCEdN9TLn1VPkXPpdjGrlPRiEural+epqlYuqPCtRCh7PIn63d8uY2DHqdkJFvv3SRQRU2T0k4
oEpa1XRQlS5JfqtezX662B4pZE68aTF7RF21L++Zld1V2O4m23iT9t7Kq790LitGa5cwNGXlKQSr
pdTZR2gWWv85KIZzZI0gCOynwMj1eeO4pDRn4VlBbJzn6CzEcftSacejBlihGpY1c+yFVQQFK8iO
YQAq0tSET63v6wQV57SvpgBnQhYta3J8tTzIlmb9MWXMzgqRuvtO9ZySvFr7oR+Nw1yEWGX80VVf
Uvbow3yEzkBeqKX1H6I4Pp0YfQor0DS1CcOj9ow8fSdnb2Me1DenvMFofiqTYUO3f2m07JQ7+S1E
QdolK8tK2KyG/Q3YrNNY20oCETad82gZrNO9R2ybh97vL4NTXOFafAZI0FCjLIjj2NKT7mCYJwuT
cSkJfQvdxjTDHiyhGUFd4hL5ElKezH+d71UfGOULYe2bydh6Y3kZtfpuC+s8y1rxNoh95YsFOJzR
Bwmotz/Sdl5CTZ0tf+3xAzVW+9oUzCXtfjnI9tI3FWucHO2QSUqpYTwyo951KIple2V1tsId9Gl2
3MtBEfxV83xtyIHilxOVKe1lYV0Z9C9UUzwRIXyJtWKv8WKMfXe2tfgU8OJBV6NHQHCRmbc8QhKV
wW62403cGOfUQHkNTaXgPPFywc6//IlYQDLqD6B50vhGx0pz3iplgcJtdlCSzvTMSLOWfsfHEShM
J2RqCCa084eQ9NYuA1Q+smyh9V0ieuQmNyB7oYXgM0gVgjq+Nd86KoGBtIknjOoeMyL3UyPZC0t3
k3wggkfGiJ8deSFbAj5ntmbz8Pk15OfTk2GrEu+ZY/fFdIy9D6nLMN0V+DzUiCtntDhrsWOk1pmU
uH3egy/V43NT3Erd//NlS+c/pEsj0imiqFvdTG7JaRkT8+I346kjfWXP8I1Y1ai5EiaEgbpJi20a
vyasBNeR6M1la2cbK50dHmZTbh3XouxiLdWLxltIVkjLSdTvflhh5yHFbOUY5cNNWFZXCSInpqTq
rcrdWzlozxDx0pS2IgVLuCBWHmTpOwOPcy8UUUZ8oVb+mia8iTrn/Wdg03pAazR5I4hWW0Ky5GY3
PLWEyhl4+2l8TlWnryutweUjzUc3mc+6AXKC4qXaBLmsF4aiWygl5Pa2lS+RMX2NFaldeo+pIA+o
nwdyqvlnAphLlejz9HyDxYirQZMOcpXWX5pMonXf+ms9ugB+OA38Ae+pYwln3cfae5TCPXPs6Giy
YciaE4GSiEiyq3Qdl+d3gnI86WqPYInfgxmTFyMnXLx2xvo6/TJqDC7IXgEvxJ6N1Sfob6bZ3vTB
IvY8Vh4U7o3V9r+MrW8kYmnTaJ1N+aJ4QlaVpTGx75B2W4zBozFeYNwLD2PJmCr0vhXI1UVcw4c3
a/jjXuvgJgczW8bDUZZu8mCKtu3t7rXxmiOAb7W0LTqQNp4MFp+EfZSJ/xXhZVo4cpqltGUIYK25
ZDn2ZsJ2ga8CyTcLtu6Q6xf6w6ucz84zPuhbQcOmSX3w5SUjS3bhVvVlSKNqU7Xl1RIzH9WH3Job
4sO3+n8zbfWqO3udqDbqQCarpA/8mrjGzkGXP8EcekWNdivqifbbDf5GIPHJVIGPq+glh+QfqV54
B8kMRd9P7arep6DT8e/1pxpG1dzvbYNKFFsQrEgHO+8U25ehm72REnpVFfoby6ALrBuIqhAECFgw
muWQxOUpj/tDECMWUCxrFg0WKlxaDaFh/GrX5CSx1IxAMCThw6sh65ou7GroUXBPV4FAmEsJXxr5
n2PEv50bhFvfLsAgyf7WOul4IFXhT/GVlklHynNrJ+dw4hiwdabgLvkl3AvhZ15yizHYvrFvKZZt
0v4Lywz9sOb+mIlWImdrnwgldjaq5uZt2orEk/QS06fsOpqNZdOF9lrDhLTBfZ3zQLmH1vBSOOzp
DdvDqaWJYLtpPbFrCw94QaEZx3+OZpPd/ulrZrufa3X8jmCOa2/dU7ceajz4iyFB6lcwu77oMWT+
DOkVG4qb/F84J/Wt0cJzsw7BRHsaglncWSj0T2Zm3BWuMuYyeFS7mqPElxoJCLm9dkZ9o/eBWkct
H1xO/dg6xRqRpiQCIKR37Js9iRL0z+U/5npLyDFfbeeGqy7OSopINmFYmbPNyEYjyi2wOk3+yS9+
WIN+eK4mkRCeGmA6xyIYIkVBL4hQ3IIwh8+NGDHOb0qhS90GWw8uKpj8V/KQjW2cL53MuCoDnmJX
qQ3sAtg7qI7W3OLc9fnkLxyNMy9200unn4eafPokMCEELh27vAu3KYiH89otpLAUis6A/5gDmea0
cJemwWFjG+nGyvri2sqvlKZlKaOmWXs1zuzSZU1kKe0Ncf/BsgZnZ5to44v0h8SF6Atl3ZEDaC7B
Qx3zN7EGoWQ5w1SXPSvyONREoLgdw0UFzY8KEyt/BiQDYqdgTB+4rNRcNx7XiRyW6BZX6NnqU1Rx
ABE+/ulk7qvfFyeCqas305Fv2Mh4VpWfnPUiJxSRbbwcbXPFMK1YSA/KSGy7zxZ7wa3dobyWNTnj
4/OYkNedpHYIZ10x80M7hKtfjC1sccR7jPZPlmytTRF+cfVaq54xwrue5e+2XpJHoPKdHZEcNZpu
ts5T87OuO3zfYo35rT9FWyvq2DJE5rvbtY/cZkMcjvm50gBbyb40WeLgko/NxNzqhhGttCrdlCOv
w/+WPAKI9eQf+Y/mUqWiX3tVcNILIl3GztDeBo/FjCGr7pTuK1bRy7zyLrKx7zkMx/EW9VxZreaz
DlZVvce+tZbSTXeDZm9DQwcTZLOxRdXsOBnsjcF55utdQwwNdLyvIF2+6zmDi+B6Rgqdj+rKHV8Q
o8NiCAOu3RFMVuZzx6X3qPevDMC7vLvVLZscexreE31E0U9t7XVEgNGuP3NI3yELXINMVOsi4+EZ
x2taYQlvh/wCpOgR58QVwRFtcdctwtzjWjfhGAVoFNwedd9kP9MTnwa73FS+9hEKkSzNNIN60g3Q
flwaV7c6V3lF1hW8727Ws9d2+oGj4HfuNtBZbT2El7H0nwr0J4thiMnPaM6Z6X/7xvCX6e9e3rL7
UBtXMEPsz6oouBJ78AUSbBLzqoNUqBcHPBvhgNgmm6X+TY+aigjGPHhyIGjH1gjeP7ogU2G++OnF
1mtDo8AcRHsp5uj0OH9FgXZh4n/KnPq56U9dyshIJdketJZd73zVbkh4e5qnFzWbxFHejNo55y1n
d0ByGFrPqSzP8xesg2EVeRrhos2VMeepLly8vpghZKcfpz5co5h6a4TxF7s37FfvscYhXkFEpGo0
X3rdfyA8Y/dTxTACAthtPfpCRE9wurPp6rlH7GN3QxffMoftaNln4A3nxJown3yKEecIEYTC07/0
KPmqLXNjF8FrECGALSHsUkJeE6f6JsQJ9VHV/aJ6etEaf9Wilxjr5lIRhFUzQUN3w4K1lJ/2lJ+H
0X1qZn5OqoPvwZcU/0K/n90I87AqKb472d5y4V8xgoSLFYq2H6ZpPIl59guWP18l8Y/Pt2S2cxDP
gDJeCXb5w78URxd3a33Lp2wHC2JhNsUJqcoe9RusN3MlBb5hIWdcCc9np6fJingpUA9FtSdn40YY
GmnwqtSuLGUBW7iPEOiWSKYVqNUXGBCv+K1OrPdZvo33apSMLLRlqyHFdPWHbmCe0NPpU2t+0fgt
x1jubCN7GxmHBZ9GyJCxcOh5QjNhCAjSznUbbgW7+Wgi2GRdzLkjt/1cZw7uyWuyZzNiOOVxhRkt
GZCfo+5fiiT/9VPnR5ZYXRMk7EVy7KO+2cJY+lGSSVoWOTcnCkkDcF7DvHp4MWu/SrDvz+1b2Tq/
eZq+orh4L+q936WPEucP61f9q6irZdYHd7RzPsGY029ZtU9ZhZx/LMM/WLq7XtjwU4BSNP70anUu
6RH3jBtjQbtRosFkeMqw3+dxrhuDjUZ/HZB+Ol16wx0oV2McvarCx6M5oRUYf1toWXlhglPW4l1o
ms9tP+N8EGlHdCM9VfsCaeTWzaLXMqWkrvLgNUrtXwvWsuEHWx+Un9TRQts91qE0lhdhAi3gwx5K
IQnKMHCCNOJdhMUHqK84qdYjwWCImh5RhNJi/loRlGJBHV36HCCJ7Q5LNbC6jEVwdsJ/wmTL5PwP
s3OH3QhnZA3AgLwhc6ZnCGNRP0DLv0gHwZ4B4j9nKt0hD8IFUPPCsa4JEAlWOv1ekXOChLSlMR3C
rOqi8SgfoLpPQ0Yb78Wo1zXuSSynxKmX1osdRq85KpUs5m3LO18uG9GyXOP/DNM77YeBeQvRg0wo
imwbwahRh++8ILdBpmfLyWweBT6BzBU3DRl6rOO7ipry6JXpRoO029u8gyDinuKsW+ftrLR0AMZF
CZ871bPeMZ0A5npr5mWKYXub3ks/IRsv/Yi/0QrgmEzTuO4dyHoyYZUaNl8FgZxLsgP/pCe2RmJ+
jKn5bpf1a51Gq54fcGkpzExZsoVycUKibCBpij8ixm18b4rPTDP3ZsheMNHFia7yNkQSaYRWQGNy
Xofw4CTxR+EVv54e/XTZeDDa6jn01Muqbmf1GBUtTjI+myJA3y9bxDgd0gvgUwvl4Q9sLaBrIojR
XkU7LnM8YVp1zcG+EwLlLIzKjlhOcFcCIh1dDKyexQ2gOsYV7hvnyhujp0sYspAVAgV/wsPWq3aX
F/WrGNpl7IEkNevZsSSoS4QGZcaynpJwF5XeQxP5R9znHpNRflTFp8ta3qgRGEpDe9dTKvYOiKFd
/IpmxlZww3PJvRb1iEERLbDX7FxtbRgaCPDirGLpkbsQMywArRPpw2MqzIc31NeE0WJNuoKeuAxb
6spYaM6cd20tuTXeq5QwW3dE95Kh8TIt4w+hDc0SfDWbXeHCj81jj4yzTxh9juV7TA4MyvuLGzr4
x5rwBusCQwObIKG8w1ghK4kVremij9tLGWrf0aizYjEunjNdhJMeNXdtl/lzUiXnoU2fe6WDzSg2
Fayo0RpvnQEapPO/pwQBXBSHh1Q1z41Dj91k08kOITNIVb6EOnA8cx2W7r8plAqUGzbJyKMHa2Fb
QTNAb3KDBXbuc/dP2OZTWthvZti/+Uo7IaxcI79aa1V1d1iWm7a69zYEL0a8WdVdaLYQsCn5pby9
rfLrqKubroU7ttNcmTy1NdcRGbLS5Dc28sDHNquxYzqx4xUonFmVplrO/G66t0m918sGzVO/M8sD
B/1N9BT8TcsyQTanKqme6xmjFcdQ/FsY0CVxHPizsldT+H9d4nw2sXYX5XcaIfm1s1tY9pcoDnbB
YF2Z82/yYVqh5Fk7llxF7czJbanqyDHIfo0m/gWPEEKadD7ZvG5tc1oz6r5XBGrbR7/KLyYuoYWC
jOT0mCGb/xg7k+XGsTRLv0qYrxtZAC6AC5RV5EIkOFMSqdFjA5PkCszzxfj0/YGRnVlZbdbWvqA5
RY0kCPzDOd8ppzVpg2iH++9I8xanlvNeufIYyGLjIktEhHnI7HI70DdFKPTHtrok1fRQ5yXEhSHi
MrIKWKfXWsi6g6N5PqcM/B0veY+IaL/LW92fcchx/Cgwlqxdrrzj6zvbBMVpW4e8nC7CkcchZaqn
iEFoZ/fZmqz7zHCeE0ffupH1QjTLZyIsTET9K4smCjULImCv2TvK6q2p6mvHHz9WnDotV7936OJM
tVievXMDJQXeUk7Kn5a+dwBUlECky1srr/Kz7IidkJIefGYx4z2i8kXrpmrOUNrL1FvPdRm9BAkL
VlkJsBG8UGO/ZxyFOlhedIKcXlD0YJpoLDC/6BkhxzD+CBQLvax+kpHaRgWyLk5t1dqOu+8ZovlO
G9vXqBTmquoR9Ng1HLwu0bZOEj/PDfTAbnbJZnLmbTsED6YMmz2Zcru6yJjeB1m+YaN6TSZMVCOb
K6JxEnFsEFmY1WB8WqXh3llVtA90FaxZIVr82lq9rfut0KxkHWd19GxFXfSASvt8u+eCPnjKH5k2
n4Q922dR/Tn0Y/jstFKBKSL74nZXBTitWzBEnL6y8FkqXByFJGQRmL0ee2QZW9oTgk2dDsJWh2Ro
uVu307aJgAur+acTdvXB+ueNxznNn3LIgJr3HuTId/712O1Tsb6iFuuXvGiYEv/40nCK+eC/7t8e
7iLwNiPM+gSHAbPhpjrYtssNiz8iv+Vr0BRc1bQK5DNKuQrcywJ/Xj5PBYpGIUO6UZtjebjduASO
7UeSdZeZCUPUCGLMgVy25oDD/h83f30MuDE6kmF3+/jtQ399xe0+1UC2BnnMEzK62PP/+0O37yti
tHRzCVyfamS0qOIGtqNPWQJeqSH1xTDEL4boG1kWZClMprvTASHA6/RYxj50fYPUvMaz19OWrXpv
7EEnYYNxVHOCIoMUK2PB7H61NF7HxkyqY4a2fwXTGFT5k5x4R7O3TLjyLdNgao8EohbTJWvPpDlZ
q0K75G44rYPIQ/xHfsBadmjuk7ZsNx3T1iuxGF9aNR3EMKSITphSeQSnHWNiVU555LFq1jQfpWxy
HMgsPaqkQjLHF8fk8TFvJONldja8vxscYZxX6+mNHMN+PS2Dpom14jbGkLaNuhbL58x5MmQY00KC
q2YaIpOdGxpY4ouMo9kzXNAXp6FOdFyGfnRbDexnK+nUfigXCWgnYghRaA5lCO0ntYvNVJlI8Bbu
KhqHaZ9147BmRIPywsO8Mcb5U9zizlEVIyijldm65qRzoqK2OGIaszbvQcNiiDLq91Qa1UmSwnBy
JyIJNXqKkGShR8R6xv3InlXak3xva6Zl9tsI3veRGkrbemjq6IhL91wUDg1/C8N0CXwmQ81qN+nI
YtsVRng/qugX/EK2kNa447gk1y9m2ZMppT+C+/L8ChczZiodqAzDjLVjJsWz9t4WRhxhekTdBLeL
VyQmJomnwG+tyF3ZC82jmchGHWx51FXvbDXiZQ+VZQRHL5Tuph7s7MAyZAfSIz4mwszXbkPWtze4
IckHbLCmBCEYkn7K28xxPxLEGpM68YKdKs+oXskbokOJymTfEiyhGTmHykJ7cXJWHygpgsrOTjAH
0SMNk4GxDWuMnc7FzqWMeHfMj5x9c09c2LXRGue5Dar11JbRtWs1+1lKNICKCKpc1x+oytRLGGh3
euXrKXOTMWYLXVpRiOkGG0DDFIe6sG3QzoBmDQyn3EWGnT9qVfkifsHU185GKbz5TqWC/8bWu0NX
OTHStwVLOUJxqv5OVI5zGj2E16aXyq0+ZCDkrMpFbzpqq9hMC2QJbDqCsk03ecPS2Z5DCjbdTa6O
uCWZJH/m0iLV2QV7QL9OpIkx2k9BOXM9ErmBcIC7M4btbRQtuUEkkz91VmY+zrL3bw8mKn7j2ApP
cGx/xsVsf0g28xzWTsJmlpFoZhAwF7BSvTC5/mS8wjuLCObzECbhCykHxcppK7m/3WVBrWGoshx/
4ppM61GSu+am07F2h3t3Lgml5dx1h89o+iOiUOecMV17M3lDps9L447T+1CBfXQIxjJDAm5dG/EL
fo4mqy5BX+rHQehn5gX9MdWS/nj7H1twzmTIo6s4ES8tuTgvifOWUyOlsymosYgYpXT9lfUsmWN0
G/eptEsicWqbYD0h981AG9cE08oys+Lp9l0SOHq3e1pFLJhGO+RrAxAeDd/V0+1/RVtmf/1P0zRr
LSUi+skunc3koBAVLlsz8K4Zl+JieJX06V40XLQwT34tosWJHIw3PNmYLoS+643SPPfLOngq55zT
iUYIuz2XiB8QzODKeLZgGgOWMoyf2kj3B0DTJiXD9BjkeK9OYzSXzoremtKpj5oNkyVawCxzkv71
ocps7PVACQ/OAbXx2pKTcbzd2GIqjla/dcOBOiBEY+8VXf2ANm7YaSFxwoNmVisiscRLYU78L9Tj
RybQHcslICpMsjEBGS9RJBmFZzLbGAkrIntMdH+IcA5FzKX9XkPlYGcKwvkc1YvngN14cRo8lTwH
bh8duwaLUrO8elLSPKuO9k0gu1mNmQX3DRvpF+aBYEXHXh+9PlsuwJcgytKzbg+8NZRMMNM11k60
C3q4dfwuRzoxaAWCO6c/57LVL9kSRb7Yj3vdeS5JOLvTemZWKWmnthZDtKVdCL25fTBx6uxKm9ci
ZoCUh/FFt0xn2xDUsRe9c29Z2vjoJPs4Hh9lM5vvXU6FGKq2X3U1gNTM8kLwLCRcW2g6NnrAfj60
+2wXV7b+qgt8W2xR5mM9Wvq2JUODIGhb35BQqrOG1DWNv10zKBiwKbmAby9J3WS+7aakNFEpwqDs
gmObd3DJPZNBVuhF9Qb3IYZqL6i2ETX+mzeoTSpF92S4RIZWI3be24eRVhNbLBgSWnX21gxTsp2L
PNzUyczbLiEuiP3DRRuy8ato3b/+E/73jxSOeZ/3QX/p1BLtEOAAwUP32fejg6YXwcpdvhQ/C/nL
b4pi3KG8nHd1P2qPoeK63+TV9IlwdlXOKHPQof+pWq25t3JxsOPCOo8uu8GeNKZVjT1iPZQ1LDhC
ybbYsMd1owMgj9mf4zBFuWyBi2kb1n26cAQ0mMw9BJlW+xYD6o+S8mHwqk8N2DHt5DJ3cpjUusxo
nx01WqQYMQZOFoJWWTWMO4sPLCqbnHCsgxTWjHgDwtyKpTIhin2u4/9Sahd2BKou9/ooITy1KRkJ
LHbXMWuGTSB75DxV3ZyMGM+p7Z46PLeweQX8cLbecx+T65oPYj0bBOn22gY7iYllw51X0D4Q/Cx5
cXPPEgAt4tot8+6XF0+/pk7L30uXmU2hheJKlS44JabaeZk5M9INNoVraX4RaExIaKCcJuw/O3vY
TosKa+hxddViOLJB0c+5oXNjl8b5dneSAueRESKmnJOTClhz9GXzZLc4Wiem9Ld7+oxeK081imI7
YESHWERnk0C0bZ4eKhUlq0o4z4FTI/bEQoDfDYbz7S4ci8hnMwacjS1SS9IPjnmtAtjbLImDnA2s
VO5HMwi2cOuzJZhmIItMf4amuqAL0gYcptZuKg9HhVnVkR8kQN5G0E0nvKf5hjqqEuMeWBRR1LwI
q6A3XFa2lBDU1neeHaDLI7lrPfR2sTfnqljbTu3+gVgcok3rPEuzVphqdLxCnp3ser4r6oddPCbd
d2AKEH+uZZ5wXb2NQ90fzcJGoDkL7Q3N/5LtjiSL4WP4PgLlNXWOIxE61QWZ/xOghPDdCvJ6Z4wu
NekSXddyaQcSGOk8DdGOuMj6GrGHuxbEuWxaK4jWt4/dbjC4sG7RreyQLJ8SIiTYW4bLzJ/hXL24
l+nYoycTEQT6INzU1Nz1MWzZhtC+0gKzBUWFEqoXB9L+ObGwWw21d6xDQO5BkXNKNBkXFHM+rzOr
FY9dYU9MLbG18C5xudgZoUVzOr4JkPa+ZDb6aAKLeEwlozwso3fWYLm/qMrUW6+XJs1/7Jydblzr
NhCBManEG6dSBpH8EffBoHWvaBuncOlGh/AjUi5rVpOitIlbbW8LnF5jCCZjQlLiJ5rKThMz7/Ug
yc2pPIYXA7uajSLXeAOVUz6G2CH5bVnXUVzUdpGDIHCNoxxmonPzriHBHAg0uwBUuD0K6AYd8iYx
8SgH06xDeOB58woZbxSK4s/YjMKzmqY/jUJmZ6uhm0UNtLFd1DtJmUxPQYuaWJvyi+gItJ5yucfB
xzm4kb3OGYfBbzSg7EsEA7MBxooTC23Th2N5z+Jh3jMNegJMpB6BIQgAMuwW5s569ygFfwba9BAF
Kegdhb2pHTq195SErNBP05r+jODkThY7YxbVlv75mRDODqhxkbNDNqDPQC4q728/CiYajGwZic2t
8DS97jPp8E9Q4mZHVdP1qLaO300rP3airy4yYLDc4rvd1ciZ9HoSj17L1UTm4siuhgGLAxhTRcOX
Lqdgh87hQxT5eMYNQOJwbm7CjIDRSuivmhrCXRoE53Rkv0nG6n31K4e8FLDLvgqKI3LStcfI9iH9
pt8d6KMuwVTSDrAwJ9m0D8KL9ipaBy5hgHexnmw15ZIiR1hNWGJ1sjoKJVs17mvYkSHK2rPd2jMs
8mlwTqyUcl8jBXQ7GLZPd/giLVk+VeNQ+nhci/2YLZMRVvETxYMpMlzlCbCWIcztnVuPPewLzfKx
ktCPDoE409mSdQXnbpV5xGiDmd9pcQUrsTOm89A427mpp8fOOADRRWfNEMfsiBPNarRcZTbh4lka
EygxTKia8XmMBkROkRVtmkZtZqsn+k2nQnb0dHE5l9P9smUpdPFiLtLOqmdVGAHJhxTyWFkxw0aU
NTjWtfbYNMhc26xw1/M0GDvKEwb4bvzQRA2nKH2x8qb4XGTjxSCAEUNKZrWnsSGKpxAkpsVt6xue
Ea9BpDOKAPWyrqdU+mMRjWdRpmAjyJjhWmLLi5d657ykTDaritDsGYVoMY5bluDJSQRDi+hhkeqD
P3kTcNHMyszOUrUZujH2UbXM5KG1XQwCszh4sXVVwDnOtxspvfQIKtw6jrSmXUcDYaFmXDke/Hkd
2c1aL/HTqNzlrUh4US6rU+XEzVPDMdcvup+y0ZA5wG9ac1VN/Aw7yAdXtj4vN0PR07YpjDKqSAY0
HdkG35HhD8+/CJsX90H32qaMiPzSaqOfMCN/GgAcVqCWYn+oo+JZzCBVzMSct5NDol3l1sfJUJ99
gP+tbLlg5suNxalD61NeHI0EjlCPsNSmTrtlJQuiwMv111gqeWbl654dmeUrlffeGj5hc6IJaU6a
yF0/cggbI+uouI4eqxOdq4i9nFXLHtfH7XvebqzK/IMdcEXoCKdeINcEYWTHLJk1BOu0psMYO0dy
cDYz0gI/1Nph3XQtb7peH4+YV6GSVFttcNJzYW6ILXptRP5K1RM/66V072SJIXtAGdd5gun63MUX
b4jMrR2bw3HKywNmbujmtSHxAWYz2jpBZW248z5JxuAMRfRn2IsRwpJq94xA5FtkTmcCNBYR6IxE
1ChONR4IKqf5cruprM5hdh3dq8GKLyV+bLZLj/HU5Y/CXuehI/aiC//oJ5GfbzeInLAkkCmGBxx1
PLE746ZI6KKxWOY7RwWvPIvpiSoJJCwlyl2JDHeY6+I+zcpxG0E6Ws1GFT3Glj7vnYajrncuBkf3
a4IseAXphh0aPp1NWmBpqEfAylauQL67OT8O99IWPYp1j2URbTFZj+FkHeMQPapZjqwXkRk/1J8l
g8Bz0xKv7ggASKktwm0lDbXvRtIseEqZpKfK95T+1OFk24hgHLaCxMtNVTTvucwjnKANGskoubdV
TV2Z3gVWGt6Hg/Wqk0LkG6PG+Go06nu0QekhmrapIcy9VTCRRTvRbIu4N/3SSb84xvKDxZyYGfJL
oBEM2424evV+5uxopQdrRh3dRsJZkQOHREPWyRaHq30wdTPxQXzkawBuJstLb3oXTfIC8bHfj6O2
cCMGbJ44FzrAL2c7m99HK62oaaZ2HcicGEwXgAHa9xq7bHdkbmdcZml7h6GprmFPxKs5jc7WC90z
LprhpI1auyeoB9OcCDSI2Zw8K7cPd+hJ0lWNZ1srteGSt/WLGUPoyrDWb6TgEjCZiKHxlmCzNEBS
FIk4TH1aQXjTx1fVe3c9l+u1oqjxR66pj5pV1asq8ljsyuYbR9ZwDZwJJUMcV/NDO3abbqZiKjKL
zhBXhSJeyzdd+dNBHvuAoYy0o87vEmgmzH8O4EXlnWz6ZhNjhQ6rqD0grJi9eD9AJr3TtTOE92M+
UI2ZQwnR0HrXAkyjiLyWSKYEXjFSlhVaAP1Se/mShxi0D3GTMd5NS0g5A+EnfeleSUchdIjdN2wN
ExGaI70Toexs8thFIIwT0WlGjdtM90WRGBfByhMCQ3YySPkRtWac7Lp8By4ab8Ou3CIBI0i1N861
3vIUgSO94OV7sNuHLgSM3yoY9lPbP4TOQ+4ggB0TC5dGAPUEVaTytSVOFyyNdjSYJpX56XZS81R3
HOoZnO9SIdTFkr1Av7YDe/Kk8ik/Se8XmMfkeLszdhUJVLq10UeorvSAx5jjeR/brdxnufjqA9xi
tWv4nYMeOmH9sBpcLdpSs9ZnNL/eXZaj2l+icKPGUEi4ACAYDFj2RY4kY8iT+S4eRfyuWZRJWsIR
jj+juPZFuKaU1r4sfVXMhXfIwCr/NavTvMLbO3N/NkF0IWyGrIsKidepYqO1YG9mUzmfDdQysxOn
cYE/iVRc6n74w6mZLJSRFfqMglG7CIYOyb7sSB2olsqNDPUVS8N57fZ1sc4RQGNNWAeJBkspGqON
NnAE5wTWd0OxYnk4YEP3EG22e5lMsV/gvE2SU87k7kLvEQE4kaWPRIErG9sYIu8n7zSUFWmKahHq
peow6nN+1D2Ud7frM1HZ20EKwcSi4eIap+NW9RVkxmkY9tJlIdAGskJl5hTvXDlOgn0227/sqC8X
dcE2e+VIMpVjsxdHVEWsiFJUAFpmo5ppTHvPYO7RSJruXigNZ1ZWhbRqZFBif259z1HkmOZQtSOz
x06krVPGb4cyL8Gevcg53ILvqh9Vp2JGsvl1pK2C8Ed4cZ0yRQ+KdDPlFXbYSE3ot2oYqUlQhquu
T9/UmDINbIDHxQAqs5LVTYabjBkt7rYhR53HxGgfNtR3MT0oRnm2kgCDHjytv7B/LvexGz2HIWrs
NggY+9XWvg9isFgT8woty0tsSpECNlUfUQ8b0NCNR9es3EOH0nHTZ65Y10mR+IoE9wNiEmwVvbKA
YpKl0NnoScZovmdImDwObE9Hk15qDIHtAdN5KIux2/fL9UON/cGtGgbsAQDl2tVJClleQjeZnR3x
Sps5C9XRyD9uJcwgn+cBmLQ55lsyfXadM8mNHAqxZQmP/DvIfyUVsN5J954AdECyk+W+orgz5IQ1
Ycahzwql5XxM/mJQLED83Ri7xEnhxt+AFY98q/bQYiPYWTtG6T2EVL4nKw43TW9GpwFyCYbJyaZB
8ADSLgNv6dENDUYWnLV+7+i02x0e3zVKhek4ncao8h716Zv3x4QHozq7MnKOjBdxoNmEmiqgEj4r
P0xXDKBDACzdPmlY/d/miGHFoqYtup8CrbATjMU5Monj+OvGkON6VOiFZnu6zxuv2zuea5xDT//I
B9wZFqtxSFRK8sqUwd5oQISZLCceKjpxrrcMbQ0s7wBsCLm+lVtUYGqfOAha3JBI5jhkjcNiRO01
tjp3WkxoHdxt9GaSBnm5TAv51tXVdDKd8WJqpLmijW9Wsq6sexav1n0n4IKT8MrkAz7Ltp0J93Gy
oX4sForRnF/RvY2n27kNU50tZHz347f/+Pt//cfX+J/hdwnxgb1O0f79v7j/VZIzEYeR+h93//5c
MsrKb1/zz8/596/4+zn+YmRV/qn+n5+1/S7vP/Lv9n9+0vLb/PM789P/8dutP9THv93xC5Cq06X7
bqbrd4u09/Zb8Hcsn/n/++Bv37fv8jxV37//+Cq7gn79+k1URvHjHw/tf/3+AzzI7Yn663lavv8/
Hlz+gN9/nAB/fRTxx//1Jd9Irn//YTp/cwlakq5nuJYtdcE3G75vj+h/8yzwlmhebWkCE3B+/IYF
XEW//7Cdv1kWZEGPRYfumPaP39qyuz0g/uZ6EsWAjgLSdYTp/vg/f/i/vYD/ekF/K6h3y5iq+fcf
gn8/fqv+eqWXP02yXDGEY+vYkC3XdTxD8vjXxzUuQj7f+F+uYShTRegWzZRks/Q1idoPJ2f3E0Tg
/6V+Ckryj6lQ9DL9wKC7HdmarMzRhJAI7xf1XnPILaDxIagEhKbojU1tPmklWHl+iC+db5e0JYVq
rakqP67GR3jDYNvkq2uxyFU5SIJ0Mzbyay7Qe5by3mM3GmG6iw0YOvXZGsHOJvLSCzJVdNCDg+Vn
tXVFytMVx84br7PZnApRPEcDQ/dhwVRY8B14K4WyP5AAQxNHtl8tGGwOW5wJuHsy8V6P6sVMyBXF
SxoT0TO0903TbpMsOEyQRZOqhRCoYSChyRbuQ2+0Gyr6JTN8pbxfEk1EvAkT+1jy5+sBTIJrX3pX
VXWHfNL3qZMDxFvSXcJ7z0L9gjTL7ctXPC9FTyqaXDlze8qbFJUYnV+T7HFYMmSK/bIP1prl7gKY
nQ5URb1Fx57ljzWrmgJXi6EuBTVcPweHtnA2STx8il5/jloM3R4u6FcDdt+KKoC0ybxcqaDbcFU/
UTUAaKwuk4cgMkZ10yQTfQp+QDNT91G2zUMYtzkeAivN1hnjnzIFLWHi9zPsn1y9NkAxw7lv13kW
76veEPBLAPZl87qw0MkE1jPbv5SjpuqQsBFXCn5hNSu7W5cJMcSuM20YrvHU22DJzI3tZZe05wjI
AMzJAdpgNrgQYwlhHOSv0pa+lscvgr9iJn4mtHXc909d8hZY88lxE9ze7lNLKGFMZkxM7JFy6IQ1
GuGu/aSKGhFi0bdFS56UpvtEMzIWyo5YNQgyqB+bKCNpJPEnTG1yfotthNTo0TJ824b3IJuKgr25
9MhB7ACMWYX9OQG/MAzr3AtYPH80dk7BAemr+6gA8CRjwQq2zw+Noe00gZYn1stVjQnLDJttXNqH
KLna2P4rwHhtph11xtg0GAgKQ6SSdrDurc3cI+ZsSY1HoADyJ1FnxUI8QZhHLudz3/TromEyD1Kt
JEVoTuutNaIcrqenCZ9CwGICyjVSa2NTLBorBIZeFR6d8rMjhrJo53Uwy/yOKuIhEi/Y914s1Iq1
RCld9Pk1MruX1gC2GzPe3TU5wOUyd/ZejHOrK+/jNDt2tbtJsuYjsmuu/e0jXKpNO33hpPllx6za
qhnLoRbc4xt5z50eESjk5eeEyx8S9n0U280d4v4YKS8qexE2LyNnQ/hBgq4GOuv0UqrYF7I/AaEM
7lpeWd3O1hawa0PJB0B2lyAt/FSGvtkANWkb+71kNu4O4Z5gzZ1pYCJT8R9m9dq6ZPg4CYFd6rV2
CHisvHGbVCMItldn1o7Ke0hNWsL5MW607yhHxi7EuTR1AI2Gr7HdGpIdCbNXz2AOq+dig2b9U+/m
n8oAheyE36z3F3ZwScpHRHhn3J8JDnpRTo2Isj4Y1ky+WuExMk6tAgburxg4ft2Eu9oLvgrHbldt
2DA90mHBmeEz4OAPRK8sFGu2g2Q31MkeqciRVR6hEoblp4nasfsnFa6zf85du42ZK2RCj/yeGRio
B2CIecS1e50nZXb0hiLzMUs8qaA41DWWjnRvpu1Zt2C56Qe7Md7aNL14dXuVA7qYQvZX1D6QpsuN
BZ8OSy8sEGwzafWUJtXL1GXXqZh9kWTbfvCo16NrKgiKw45imogclIfN1ScM48NiVsRWGlKXWEkz
ZtYt17SeC9zqVQbRSZQZ5VeFjiRZDHuEvvT6On5VkFUX+422NhpSnF3eBumMewxWM3mwdU+DQ/sU
jh/FAgLysEXUnwV6aCKwqL+jljcCNMzhWaXxNuhHXwMe1JUzalLzSCb5QbfB5nNWMs3owgpjsSmj
rUhAl8zU/AjlwXOjNTbt6ZA177prk3PyR8+ZzZ6MFQROhKECunW3zutu240Jvl88uOCqxtneOkRn
qVH/aSYTXqrKfpdSO9Uq8GXbHEZlPjU9aVsJ8qZ49j7xtfzJWOe+LbkwzHrhrvoBRnUAPsfiUKao
RQ8SOasK37Mr29XUdmczDw5FVL4BAL8j6pSSlqA/c/JxqXW0K/VkbCO6GYMZwZ20rmiK8bPE9yGD
PQK4GBJhtyAX7Kdwyz8hYX6HMn9PhuI7IAN9SG3gCmn9xOyFPjfK/jCQodG1Br24MmUga8lKfauZ
JBOFjPWJ+ijD+tMzXWMtw57iGPQNiR2Hyo33M0YD4mt+inGmVC6Q8UABREo45PzCHnJ7aWxH8k1M
W1zJnD4HVftnVyvIqvmlDZ7TOGQ6GeVk/AagavRq/FPXknM8URvU0RfCKzDfDR0vnKnhZ6UcCEH9
xgrxgbSLbApK0OhanDuS5xT5cGkUr2Bqzdpa9Q4bvLo5lMnDjF2ZSTDewVb7sBA/q3YXZfN+ZocI
2/cppNm+m9uvwl5kUzaGQVc7EabDzxl8hLr4uLAzsPI92DKcV2Gzk+NMsGYffeR65lf1dK2nys9a
Rbqq+SGVcTKt/m0203utx/uQauWrlhlHVDjHiTWklbPFYJ6u2EtxMrWZS4FryAnedIwASqx91BCK
2zaxI6ouw3WrpFzBh9w51ngIoe2uKweh3AQaYajtpziOdi50R+J1nmlcHxqINL2ZPwQITOia5Slk
XdfDZmFFrI5W4L65Coine1kTafwdau6h6C9pwk5V4ugmqbdujg4ZjUkcTIwCoGAjx8DOQ6jzciJH
6m52bAwDG+8b5CAjib7dsN0XUbaWN/XyFebhazyaaz3o7w0gcarmME6sktQ5ZCsG8ESP8PrEzH9q
XfVSB+KZ6Ik/Io+RB3qi2F9Ok5EWvziYrNC9sLtfU89SR/Sr2rRWgbGI5V8GS0KBwwkLs0X39l7+
7bjVNgbnZalvWCi+ZUGj+5DoLqe54cqVybs0mLa5ztguMx6sqjmZUUAMLMvJoEheRzvcRK79SAe7
h06XeS/sOV4W6pMTmccGJ2nXBxzl6OY4mPIaRxpPxpw+s8O57/LkxRKEbtvmEWHGpeJCQmrbBjfa
uWDpHR+IVWar3dXxzsIRUbMj1gArdeEUHshAWcXlIx3aTysrqF+CcONQSkkWGbqIfrZhhK44+kUH
1+49bCQu9oaV5Wo+cBlPy/GLoLSqTPxqNchDp2AvwmXYJthvCNptJqRf2tUfvDUQAbxIYX/mJPIC
jhvW2uyhVlriR2Cws4EHuZF3t1+Lq2im+3qnHdx4fPGq+sVRznglc+Cw5FwQG+ewO7cSX4DJLQxq
15l8RTS0DL879KR9vClylOCyqnfkg61mOXOSkwiqnHsGd93eHPGmELktZ+DNhR62rApiYgxF8Gbh
tbYMHDtkF4LiCp/JmF41rmSkWF6BUnEQlGIbZNG5EKOf4ejoinhFOtS4IC8IqqqYDHRLzHIMw4qq
e0y+wCt8ppBtUmOCadpqhyHr5yP8ZjIl+l+ktbuL0yOQ9VOX2aHfCh2rdoz1GIV3YZt7tFQrUcWo
SrWIE9qSzQlH3g+5+K6qFAzjLpLuS9mhw0BftHHT7rsm26xvF87GWauoThhHgWU5DsRFT3Z35/Zc
ksSfNZcbAhTvSrh5LS7Du6qWcKIiwBSD+WVPA7GtLriz0qx9WY9bI4L2PLbvXpQe1bvsiusECifL
7SuuKlISo2fpJie8jSROwj2SXz08XRm8aF15yNierka256lpLkwQxJoAxHgThcHBYpf0rmYqUwbR
1SQOuemobTo42ylAcqScTS3690CQYkmbpR0Fn0JF50N2Q0PWQ/nDI+waNhcBABd5saSlKZTOCvTA
rD6sxKIonw5F3G5DSWOB5VuOSC8Dd2NG2jawQGwDHzW9d0OxCPe+RmS86ejPNfluzFdeQW/eMfin
2H9iJ+PPbNKALrGTTLV1m4cv7AN2iITupuCqTwFAhW7OLqYD55zu7ZQH/XsXlU9FaW4MN/2ZYkbF
fFAG6aVaTIlY7MB8zMtui6QmnsJn2chjFFrOJoZgUMBcUd2hxtwDQJTQbdv4nAt7FylDbsfR3ifT
qzmX7LcUkn7PudbjUubj5qHJNUX9J/b2u8wl02TxWLHn3MVyBjapXghP3GM82FvpE8ICaj5hP3d9
6zeQH/HK4jNNydBTbIxY5sOuz/CFcri2Onoaby7u5so+pQ4J5Pm8bw3z7IyobQwNTNBKSp9rmXL4
kVTDszRIi3ttkQx535PNG4C4EaT2yUHUZMBzwKEIXf9v9s5jOXIk69JPhDZ3OOAAtqEltUpuYGQK
aK3x9PMh65/pqqyaSpv9bGhkZ7MYgQDcr997zndUkK1r61L1kKPblclKSAN95TThVtiv5Lot8+F1
l4FXysINjaePperomQpMetjZTLKH/qly1o7+JD3h5EhMX13wOMHUMARpOSgHSklxkPY7p7c3YYAn
ThIUET4WNjHlEAj6ZLoJVPvgu/WjzzvogKQA6kX0dna4qWZKC7t94RC9SsuanvY3ZXswDspLNZKV
MYYXjXaOQ7REVRbYZwoDpNMVBZiMWI77Tc3xMze6Pf+afIucsYUkEmzC5BMRucp73Bm9cU9XT5Lv
jvNZJNT6CCKYERMF8M2xW7aG4ZxV+nZU6j0rvVtgBienzZ8yuzzXM7oIu6i+INm+2Ji9CME807AV
t1DfuBsyQC3zhC0rToj1jpjuh3N/sWOx6Xsshba6MxPfWoW2ukU/diu6wmeQ/g0w4UVXzhN9Iiyk
IiJ0AFVzBNbQE9iSxoeONIhz1refgUvULQbTcdWGAZsBGjfey0YAfdMdzN8WiRJfng1JZdtaX5la
b9DzHlOrfqoZ7mNcFVT8BCZO1Wtfii86ijdVazErwaocJ2fXUIeoIb+wr3aEv+zRKR2wAz0iJj+2
d1NGe1f47W3cqbNMKWohnbZ9+5bR7bBH7teh5I8yszVr9aVR+cGce/rXAhJOWT1UWUspgWU6ZBEC
HXpf5LO55PyQUhEx6cZm1DJ596c7jA0JSgrjzqEgWBkUg6RZJ2+MTJ8CHJ6b3tDZ3sJrJEPjaucS
uVcYwZpDe0sgyrNHzClyj0MQkh5F5UVSBoYMkj60q4Iz+qdp6anf9a520GHq4NKlG2gj3arsklvV
7zIGuU2cky8cVps8Tk/CSyUl2rkp4k9zcB4nag2T8Owm9Q6z5OAfpdnV6mwDr2WAOjO7E3sV+NTS
s7qBH3Doo9CgsPmewESwZpTfCUQmRjDPQfFNpym5Qx6g9PIQ4inBXPIum2lTRvaLipu9JsS8CcEb
FRXWxelbQPR3WbhwcS51+2E06XrQxoNXgxlKNfNrl/uYblhodevOstp1ruRnnBhHxB7g+36Si/UG
W3B2Gu2vzdiS0c35bGVmWI4RsacMkJEDXQthgRgSxofkzEQx0tZgyO5Npta22oatdW2YrMkQ4cC0
iQm4d623timxk3LOiSL/ghQ+ysI9A93YC4Fd0ANDyYs3uPTfS/FaJD1JhFH+OCbmriYQovDGNdP7
FAkpaR5SkI/Aam3vev/E/LjeFAviLcqQAFvdc93nydbum4fA5gBIoNq2taurTM2L3VT3ANXqQ2zq
k4yMCNDIuBayOA5+8qYa77b2Xw0qHA7jxnMSDiCxoTumvv9jPFZ0LIzOZ4UTyD8wBj8oM/zK+OU7
7jZqn5iZno7hsEWsWyWMR8OJ6fwgmpjKiZEgSdtJHdDoU5euvGNdPrTTHT6XjYEU3nUJt2k4TtNd
RT2zSXB+1jT8uwgnpTl90L/Ff8kDwR1JNes8x1PwmaIpVaieswgjIJ4okBqAaRFFbwhnJoAGP1uc
3mQojd1YfItJZ+E+kvKSkn3Wx65cdaI/j3ZEey7GRkli7wEO1bYuwhP5IuxwROkxKbmt61c+YvwW
HRnNPdR8bzclxZmazi2GbRWrfRSaO78AHwStokVLzZRpa9uErUFvM3LQaVf0P5QRFXBsasvoa8L6
D9/1lo42y9qwuGMIeCG9Hv+vfKRb46Bp40QQiG0/lDcZJJKqfBgdfBI+AOmZrRBpCdonmhQR2N6+
zAmSIaMTBZAxnszU+m7m48kbqX11ksBogDns01NGTsDojWYvithyVWVLZCERVqP6XgG2mYbNSDJ4
4u/n2Me3ZR4d/iQJYtuB4AdOHo8tWpGmhRnnULg02yZoD8kN4dNFgkLnWnEOa5PyzokHkig4XS6z
3UYdBLViZaxL1wbFcem7Z4ib2FYz9AEe5cqWzKqp2U5JffScHa6hfj5QgwHfXTSxUC0SQCoQaGZ/
02IW8prFwUcQLt7tDquxpI1mVKw4ISTauFp3MwZaDRLFRKtjGbsx6JChrUnt2ww26LylEqFxpcpH
WWD8t7YV5Gmo5r3It/XwUtGRYEfbq0hzyMpxE+C0FMZWhM9pseeGPNhEbgdCryW66AbtY52hIBZ3
SBOYwQPWeEvaRQFMbLmPOBTJOv9JUnc+/dhcx8AKgsG9Lfuz796lKVjPqKHE+GwjAgqZ2BF6kl2r
CBxaYz6HpD02eUU66yOK3C16N5QnME8JzuAKbAVSojwB+q9N7j0eI0amwJRuJQQriOFGhCvWPQSQ
cDlibHJgJpjbhXQevWxVGgWrRf1AqvFOO3pHR/6EeeyQJm+AtEen5MjX7ib62NElLj4tRrPtc9Vh
ce/YGaCLNukeEQO+gfmphejZskchylTAx2yLlTk5mEDFUUt8IUP0ZI7vYDT0XsKfpP5xIJWodV9b
1yKnpzPnT2NtPziOusNicuMn6uITEuCjkNoqmXhrLZR5In3kRprIcAoi36SObqxKmJuxYzkqp+Sr
5bDlB2VhAIfiZs+Dp4LWdUWrq6YYQ3p8Q2AAKPIOy2Yz0aAwGADhukLV479MfvfRh8NGQ/Ra+bVO
Txlsd5qbHPb87OugwX6bQIjnlAAZP5gOfRZTXnmTvnBMbwljQaAC3dId9/USTMfUaMZaFZcC+MT8
kBc+sWEwRsavGYlQWAa3c/xexPM+87NdyfIRtC1K7GY39l+M9uoONSyWZG8Tn5wwKlHOQbWvBdrn
uTx52cHw6PQQBUz+EzA69s9sKFnIr7p9cN8j+40yAnQSVt1m3BXRIm6sscXQCcBcvYfkuDHpLMXp
vQgwT0sA8d6rBOaclBIUByQ9pmS9dHZimI4RQfGCdSUPehAa6cXNtwPzKXhnQQIPJY/9eDObSyfR
CSH4qqja1siZoqhpL3FvhJhB1QsJxA/9MHDIqOXTjGKvoXd4msGqnynZh21PjCmxwil1JLe4lA3N
vHpGx4NEd7mzbZJ2S/es6vTFGbWklWAIdCAMAeoegC/1VbiGwiU3fiU7JthDuWn1QqAMEL5NsZwP
bnxn5/nansfis+i6jRvVxaWJbVp/Bq0uP9cLom16Kp4728m3Pf7+e8BDT4OZf/ZElCG3GJ2D24Uk
wkx89FE13E0Erz1iU2GUF2Qn1wiYkQEfvg/VYTQL62LwWE/IRZ4Ik2vufPXo+ui3M8f+XuKKjL2U
QMkhfQmBMhNRH/aNvEELDmsBg8mqm9Avg2K7Qx3mAZPjknh29TGGSXMwiFfHW5Td+L1vgC5jfUtN
/NV1S2Vh+PdeoVgWzQyudSjeiYUGSzTA+HBp5Z9CqPe6qq8eMS4A5RaUhC7IJ0FqvZkfJgD7h05y
HFdR/2kLFAop/ZKAHDbcOAEOVzJUGYDuYeJ98ducI3w47xxcWl0zb6n1FxMIWNW2JE4lQ+yaIy+N
0DWvIISG4FYQZFfN8GSJ2l8nR48Qlh2yVIT85sHBWurlsThVUq6Qa7kwDkfA7NFJzkj0w8iTlwZO
wTWp4HlWcHy3c//VMj0kdI3VANn85rs5nKPYBKyc7wOEpCsfzgpY2ecIpQV5xvRIR0FFLzV7tTmo
W7jM4W6YbJ7i+jH0yvqqNB1rW8gtmerRKYbj1qPIEoow2KIk1TBJ6mgjdP+QWcSnNPh1Vzim30Nn
CvdmxWY7Nv3TjJJqN03Ljk0y/cpCx4viL1jsW3Dd7PjJaKm9VIVSGEJnry15rkFfcX1Q4VmoZxaQ
IZiogmyTyEDTL+eak3jkn2I+bsIqmjkyAMzRK6xMma3GYMm/9JtvkkyTTTVgbsYesBu1xqM4IOfP
UIsquOk9L1BiJcZzDucWMgcg+HXT+TWRfFwl5p6sYvcz99rG9TkeE5e3cSbAnkylvHWcAiIZU34P
bWACXlOssFUI2vIMO/zgex9nRC910ty5/ZdpDscf4XyJomJvkqECdw4FeYnSJ1jEWq2E15EN+IHQ
sTyY4dQfYRSWonG491LiSzJOMZNX08Ya1rObf4uWYqkmibrhPt7OlM2GqLND2cZn3CbuFoNwteos
ShWWXk6CH0GGQAyPAeUOcsaTSLzLiOfmoLmQMEMcn/rgqzFzQEaKuGvUWkwO7G+7GHh7HZW5AotX
JS5dFIpbxCRH+uKfXpW919q/BF57RuDc3MaV+VB3S8+0Hy8FoeckwpIEU2j4Lh5NK8WQmDreBIqS
gV/y0pTooAxpcT0eEyFGdFP2OrSHe+kqIgnHnQ0ztuPJJ8OaXi8Zo16+ifKOTpQWvEPXfyJ1orjo
wNjPFmuFM9X+ts6aR0eVGVsnG8IkUne3eI9UPrr7kok1hENJbwsaIkuklXHD92N4E/WeupskUjna
ktUWP7CBO93xDhFurS1RttXG98PsjGiH3KmBiL7GQpyPdgBUKaQ9xVmkGAwO5TaNrABaX0NzDB4T
uyfZQIS6z8UNZTzgu9Ea2MUeHd6HMnvjB4IRpsKvY+mHLyQbs2BVzVHgu1o7UqJmZRFA5V4chf81
xZkDZLyDH5aPR6zFC2/qBo/+xohkeWxHnaN0AxromNm6F15Mk4XI64wO4UrVkdwuzsAuUiiSMRPT
2X/NxbHk0t5KD/eg1xIyo74R6gZFphYfVYzMMMXsvVPW98SjUdNNaosU+wtM1S39NlwxT1Pn2ijR
BEOeHCEy9v3QghZLXBjWbsMIVl2jDTzcAyxk0KJxT4qPSg3nHhKec9/6/Y/Jy+pN62FNxNXOgUOW
5yHOzWuZHxLlID1ovHbrxA0ByQOZfTMul1u/4nGdRPIQWz6MJCIN2uRNSBN4dYc1fszKbkvv1Oa9
dwvXoLjkWj1VgVduktI+tPNMulLbBFs3HsadHvqB+TmOFbv3d3XXjZdy+aJ1Ml561f8odfMM/0ST
uQAsCl+43E2jTZ5OXj0k4XTj5lOMrRvCXC5g2NhOhHWxXVIbJGAIAmTScmG4FvTxsLM0ZxExkNE5
lNnEmxhMBM2qlGgevEhyAGb6uG3ESGO5r2xs8TU5ewHs0dB97qhV6SAIAntD2KkcYbady5pG+MeC
U+0YrpjOzSSZX/o4z0bLRt3Qj9/d0bkN3fIS425kIoz80KhJE/XhqFzckfxLxx2ZSyHpOw/ZbUdk
5DGJnXjJn0H8E5s2gyH5vTCjCXHEe4+M5FwY2ccYAfGa9YYWGPPM/t4P+lMJIfE4iwBraUDr0R08
uG/o+VOzWE5w+7ydjlPaCsrsiHp6cnfB6NTbbiKFpRe62aWl8TEXKr+J5YcuanVJEoKfZufsVaa7
1dZ0oxdzcJzK9cBbORZRhiZFcyyyWnAZdukj+h9vOhpD5EEEtzqFy1VBUqJD1JWAgbuF/AbVs6Ib
BPuB+jfv2HS88OlnVqifM6kOXYvzN7qSbZ+nA9ETBoLRqpEwFxUJLSOTrNw/VlBx4yVDrlU4xBs1
I5DN6Hy7Ib8yMB/LCM+9jDEtLjdmcYmsNjhD3jWJRILa2oyvAqvaSsSXAc3Yti8VJ5oqXjk0ykQ8
s84TLVK6Jn4VSBlQKtojii9Q2GbsXK3S2w1tkJEr+9iPY3iXJFQnrI/1qc3Pk9FztACzWi0djhH0
+tS73WOq9AVeEHd62b7I8R2CuH0vhlcvJFDIbeoBN2h3k6X2Ahkk3jnCDqcT3HEmSfBGYNhnqsx1
5RQXu/faPe+blbazaP13HpREA1h3avMBtLLOzqEHTNsTJAfa/YgmysBt1rXpNqwyWE7NwEC3Etm6
mX0NeBxywyL0kIi0HJdjOUPY58m1rvHMUwSlrFnnvvlkAF9hu0znkwzaL3Xmq3XQU7tk6Drok5dH
q4e/UxJp36eapMERg8oYeffSd2FhqtpB1ju0GxAN1nuF7qs2Xfd5qDosE7TrwMHWjGLkRdXoS3Ae
0KOPMeR30xfpE0MindciiqzbvJ5uOzoOiRtHz200vNko8XdjxxhalVzrWNOPGnvSbZ0AnTS0WW81
evNrOdp3eU1/YwkYr+yQ7R0TAklS5gNZ1yyybY+ZEoaGLJkaadSw4YOMnHBDinSyNPJdSBKmDRw1
wFa7JmJJr1Naum3slIyXq3WTRe264tC0KTCCkXxEOiYt+yOBSPyO/3UEG8y1Rv7XvWKh+TEYa4KV
ScMtUvAWZBoQkBjRTaGpNE495wW2fCbq6TrSeNYccU4RqiZs7le6BUHivNHkRijUA2Al3re4DpJi
xnapE2qChgMSnSv0xB3nGdpt8qGLE2QAEa+6RCW2TmiqnAE/zZuJqTQapFyfKfbDcyIeNW60G201
0zXET1VxvnIDEzPBWJj34cQXlgXOfMkH8QbVuRKu+axVfOORaHPIx4q00970b0l0n1Y10SofyeKw
yDG9biBDWDuvSvwDr9HZF7kfrJWtMgj7pY88BiIqPmt/kwYMjrzUCS8BJfAf3/33f+OANJ4xSPhc
sAtwdZjCcXNQUyUFiyLHMegWE0QN9gqBwYtmHDd+YA67Xg3TVkejPEqUOEaDvkr04qob2BgCavuB
iX02kkDVWbK+ePb0kdezD5fTJoKPgE2mCNdWxPGDYBDd5PmbMfcJhfA4UUjb47HBFU6mK/ozm6hi
xAq4O134cCiWZ+rrrLlYfTcczRCY+mxaK4hWARA3WJOykM9zPFV0rp335Yy/h1dscHz0FTGEAS+M
XBwPE3nm1tTaXT9hJ4efWqj5VFajPLVOfrXCdjwJWV1ISrqv1ejdYFKogHBycPhJP5J63Hpm3N2X
ur80Uc7cUzDVBnVODKiJ3N4n6uKiTHEbMGoykGb3CVSUviVw1/4ZFZrs69yqcYZVxz5jOj4XubEp
pav3we1s0tP4SdyzLDfYlVl/nOsWKE2BWIPW66pEubIKGmANurDifeVmDDuUPa3nqetPsVWfAJqY
G9fmzQLvwQ8z01Un4NPdGuaExNtPyBLC3b5StmMdIoAxlZu+JwYVdTjV+mBOB7ceLnPkY1fMYo85
i3MpWwHG1Y8x5BJcW1GLNzBEu2/EHxv0bQUy8bmi1A79+2QuIPX04P+hCAX7PBxsxuLliwFhB6Ek
ktzC9eUeDzo+gL6q7n16E5SbL/7oDEeMnS+jcvgVYhVhrRB1nNvdu9tQDQThTS6ag6ga5yVLRX7t
BE+x19GczoPoIR/vqzzAzR0TwGEaHupOwNHxZD9YZDpuiu4jIyieTLf0LqOjRjM7TSAOk0yGe+Zq
m8ZOZygnu1Tf2xIgAjGo4JL61F/Pfvk2D9F3DcuskJyLTY/haaw4V9bqq3JYa6shepXKIu/R+CSk
5mWg51fVfnKdEuOrZygwIiVYCjsoKcztR6CbK+EOW7tdDOQB0zS6MmSCDZJxpvGjatsTUyz8xElT
r6j/0wTmnY89bNUvie/mAvTQWmGF8iAL4HBJuxOTTngGFiHMbcjuGkBOHaOdNyN9DYPgI7CqneUp
vMV1pjZR4gCBhw3ipeVFeA2xA8iRV13BgtnA43DLFkExQpQI58V6eiuzGubmTC9KHam640DVG2vM
ASjTvF9YSRsrKuHP582H3Zsbv2u8TZYjQMxRZeLyGKptUS/jHU4ruV+m8NzSu9py5i2X8WxU1rjr
jcVMJQfUGc59HI4PqLTJykXUXSJtmOrbEU2uWj4YTTB3Y60GosQql723gnUSm9xBqcAZnG2buLub
rJCeLlZmFHHZG2fkr42C8GCOA1zagedtLr6FMbT+vufoEea3MurErX4cR3cTa1QFsUKerXNQqYRi
IDdacbyadqFFeLQpgVppguMp5Ma9GcLy1VIcjKo8Jb4L58LiHN2bPcGPxMATCqNfXB9zv9VlGzec
6LD0s7W2BlZFOksXcFgITef6dsgG99EjkS5pRLE3ZPGBu+3WST0aV5kQx4GxX8/xR+eJRZbgeGcF
HnMtGZ8cnRzzpP7CxwQfpELqVIYLlghLem4PB0Dvj7lKZmpvr9kiA0dbU49AUYEB0bhEUTEuU7Yc
jKsRLV0ymlUu8L91WAG7KjzwpmF4qPPW2XjkchIHb+7NwbRXJV7pdWqzDIdGcbJJneauZ65h4Kek
oRfvINwSA87he6OiuzyyBzqi8qXhDjQ7GzO+FbFbQS2gpzmvuiT9XicVyILGnvcuJAT67+Opjj/F
BK05CJP3ntfPcCLeok4A32NEtwEay8J4cr2N6zT0t7E/uS5pS65pmtzByac31eWh9Av6fm55LXgw
0aiba5Gb0KFPITGhu7QakEBnvCC/1bf5wPshWn1amTmHIMQ9wyZMWwcsWvDgWTcT0tQHR5HryRnp
wpsbQI3X2NTKvrgmU/CSDHRsKYbX8Cvwci185mLyqxukUQjq4ksfC+dumBnrNCZ+86LNmO9Wklq5
HI+5ITglOks8edtvzTnRjzwU0EEMKK890RAwETFYeeJCYyVK8NSB9zo4c03GSUdYHUa+4RZcJjXe
awKWYm8shqdIZ+GuI3OUFr+F/1NUR2WZE5zttVWnyQUCxD5hs/pm02pqXLLmSSQ4MFAkgQ+HpmJp
r57b4qGO522uv5TE5hmM1/wJvGf/RdePMqY8Yi0FyLSmFwzhjH50sg2mj9r/kLxq3OQDZBKX87/h
/fBThFVgNrz+LnZnyttTkulNC7Nq4PNQzg+/fnBVuR6K7yPMvSTr9p7/vWCqF3IxXK84jh5JPk1z
aoJ4RzTxWTcOtoXklMluu+RiVmFzvO/If9Kps2t4473PBKVAKbpDXqBRZqfTU0sehtAgk9TWQ+E/
wFG20H1EX0yL6BBOl6iMtn5gvjsmQUKLypsogMEqn5sATUds3Li2uNOj+RJoxg6tIuQlJ5xvopvY
Jp+Gqold6980KoKZbnzch9/yuDu5/l3fEuOENzUaxXFGzEvQ8aP26K/a9fe+PmT1S5J+FcUlYhLi
WS91f+5Lh1GFeinB8uH0Y16UB3cyUTsP8jcHQz9HfVIRDRQje0aRrBiSua9FB6ei83doII61SC5i
SjZTEqzGygWvsyK2MuyMVdN3qyh4cxDCLMnQ9LM3NTwPz/0+RNVdkHYcuqJVKeRBRSR9je0Jz821
DRl5GvtsKK6LicJilhGN9vK8QA/3sDagOgK5iy7hpqEcHeP7vHnLnc9ZtFuzQ5NMDCRDFtNfhbQM
pfYfk5oGMGjxtesGR7qRdw3xCZbV78LHdKTor3DNFQlUK9FjNyawqptaAqFten6xfm/dlhC2lXka
sBbnIf4Q36WI6HBPI/46kDEDAWJ2GZbKe99kflEJA+mEdr+ByODCWQSZ9juKB8EgumWUSYLUrNRt
a8pPXbFkTJ7aU7Lgdu/PZS3Iy8k+fITfRvtmU0KVVG5mCC2kuI6lxLqyzEywJ6K7yHima72zO37U
1vuYI3QGwQ7JtV1PjJM3ncjfAiP9GPALqkGQLLqwpUi6aNJPo4tPLsTnuPEOmeTB6tG8Rvq+p0IN
6ulgNgDTvQgBUmQdBsMh0rdmxWEWeEY+1FGsz8MK0RC2DyQBG99miwi8+7YqSXyeUWHDSV7X9oAj
lF3aDU4jov12Km7p0u4IvV7b2XTX+OG78KZn1+k2NDwwFJAePdb1NbQqbjTKPZM+WISMhJggJoXB
sRzwnlvGq+E1P2SGYFQdkE7S/UQsuahb6urgVRYBR/xq1JzjLt5q20C3unDMrUPTsMZ0fbv2ELAW
pKjmpHS2PudbrAlG8ZzpE/1bgAUg+bvgmNvQEpHis9m0dxEVcNY7LyqnzvUIvq5t+9LW1lsyfY1z
fwMk42ibjBfVxvPlk18PZwHcM8fjnIwZTUHnarDWcwZ9UzYgocgn5gmK/wW54zpbcksgEI6Gcc5R
WmsXENwELpY44yTWJ8J1w3Xf9jeYicu1mx/isvhoR6YGbTktO7lcu0309icj3//45f7sj5PW39xx
Fuop6WnbVQr7yPLvf3LHFWkMsS63ZgBREdmD8XMQ4rghuRQoi/GQJESbWXz4tH4938W11l1V6SRg
0bnjxRRtfr6c/2/A/I0B0+OyY1T9v/gv99/r7Ff/5fIbf9gvpf0fodBceI7nungw8Vj+4b60/+Nq
FK+edpRAkwQ/6r/uS36H4Q//f2matu3a3v/xX1rOf0zHhrXO2d9mkos183+/sP+5n/5wzP6z/9Lk
r9OLW3y2f7gvpTC1Ky2L1+XwdxSv4c/31wz/vVSYvpFctTvPT00SfLVjAYADgMeq6rlrtFyoX6by
OnvdjDsRc8Oc5PldQEtB4UuqYiTNOy/VV1X5KMlR31+kIauV8EoU78uPTkTzrasH4iiC5nauAHq0
AxMYY1bHP135f3hglPn3N+QIjB90L2yOStby7396YByOOzFlKk996Xz8ZDx4C+jBLikkve7NNck+
mydCl4BuLPJZImt+0jv8GSZxT7zb1k2jQ7S0cqkuIMsUS1+/uXCWQLSfks9aSo6d7dw7iDBC94KL
zL1oS7iX6mtWHqpQFzupg+GaRQXiFDPbh30+3/3723T+/jYVAWxKmKbFokC0x1/fZoFZF7dUQa1c
DjYDoMqot2ORfasbYsWjqCVqyGIZCBpjQVJYezx6NJm9QD0jE6tv256kgYVw0ZLlKUtvukG9HD4G
XXaJ7fnWLU156FAr3cUOy78uNRqKcKSFnvozF9PHWFlhqGPatZxSRfhZ2vvcOmrTD277zDYOSeHb
Z0p0XDSF+F72gfzSxrrbqLLPD8MYbIhVyG+am9hBldMPXsGeZcSHzkE735ugUaFDncuhTgApMci1
OkufR+SWIDiD4K3pNaTGxeX/88cxn0jC8FP7Joxy9+wOGZJCmMGmKjkDKf3aRSzaKxPE+ZHH8YZw
nHkNmw0k7AIBthfmzs8vkWz2//5BYYf+9QFTJsnNSjHi0J5Qv3xQrdWUTanjAqdZm+1qRbGWEi0N
GgCYpktWc5cyYshi81rDV9rKOJ7PwrBaNGSxonUz0t4QqNnMorippi5gdjuJB+FXECYbfUWN0Kyg
bXMU4PCwDtIiOuZIy7cks0FKjhpYcolCBJC66eY3bw3f+C9rB9N2sKGepW1LafOXR60cSnIrjIbM
BKHqg6WCslqNOrsZIsffhxWqe/xezn60HDy1rj9BEM0gHEtoPSejYU8vy8VTYUWE4hWEjZOhmu21
a75lU+jfiMFe+CQNNGRjuvz7S5f/8NIdk9abKfhoUM8un9qfVglIf2lVTTStSvBtRoU6HddI+jIU
hVqyZM9li9TIIyuOuRcOVps5QZmFyfrfX8Zio//1CuK7ty3PtIRcGnN/fRnNOIwtVPIEknjl7du0
B1PPFOqMw/w5boP84ntmdgmX7ybSqPcExL2GUQma3EUnhrLc6D0Sei3v9PO70Q79P74LNPWcxHBG
IAD5CkBQqk2v+XzgaaFrAkPwu7fyT1fU0lpIYWtoz2p5q3+6ohjBncksGQ130M+3P3kmrXpoUuba
P3/olof653fEONWHumimQ7TcI//9QlSRfQafTbMhitzdz72CkCOgxfU5Bym9ypvkN+voP90IPPHs
e9KxeN32LzdC2bXKnRLFqLFXG8Cky5xA0kKLRw65PVGAaRB/y2rpHTOfEZC2MAMmv9mz5LIG/HUT
VlQHS3Xncg9Yvy7m4yw6naoKI2/p27u5Cr4CyoW5jkuXyZQlLl5g0pqNiCUDdYjpuep/8/HJvy9T
lhC2Ik0DBoOw/vZATFEG3atO10ma2udQgndEoV1coxg5Tir8M0TDTx2rhCBhIzhHiDmYGNxbFa7z
MSoff5L3NOkAZhX0ZzEUCXozD0Xivz8x/3CpLOEoopsdTemjneU2/NNtlqvGdM0So1hoIBSThnKu
NQP2k4kCnN5Odakc+HSMXK1LmD3WhQxP//4Kfl6Jv35Y3Cf8adu2BCXarwu6Y8gkr0yzWM/1QeIs
ewQKs2i/Odkn1ReNRmDdVEO1KrrmmSAtk+kdWl0bbxUBQ/LiQI3GVDsX+Pto9rRwc+kumzhZfFzP
Hqssumabvm2rH0TDYBB1knU0bZyctr3TpVe8Ob3u6Jwisfm5oWf95GyMpHg1E4v2s4bUYtaOwaG9
Qfi7PGKjxqr975dBUoH+cs86HMAVwA7JVQDf8dcPovXlCPMjIASB8/C6+ci7mJl5GTmb0YsQR2mS
3uo8qzbW5G3TjrYFrqX4HKWLKCms1iprslNiR/NmRIS8FLuPzblP6/o3S73594cL0Tv1IIdgoVzz
5wnrT3cMU4ygaP0J8l98CisH54bwBnETNo64UU579aaQ9JIuPeFvojmgxZOsc/Us5XSe0zo9OYDN
OQQH/Y7dKriKVp2SaHSObQvfDKOr95uK4R8uLIgWygXIKIBWfn29M23IcGQf/6OyazGh7PHcBZda
VR3vwXsbWk2HNClu0rr/8e+f6sJa+eu9DR6GP8lYko0dj9JfP1Sd+VZMmPfyoXbeXsUDSoJZGcG6
UV32xEvmqRfJ8JvFx/z73uFIHmmL0wS7sWX/sne0OVL1kbHOOnRM8TmQVxwQoFaZnX6OCQzbFdBX
OcA39wB1u/WgRLOujX7f9RXsOVEX9trMbKYp0YyzvUquY4dJtUsaOmC+3z6KmcDvhZHw/3yxHNOy
TIcNxP37UlRJN9C5v6iosFzvgojAKR2l1wadJ/P7LDzM8ER+V3P9rWLQgmrfo+ZiuTb59q+fUOfE
MywtCwtKxeg8kV+6qmtPiTneexjCIxdbduYQBqt9FKUp3UxmpSffFcwFXWda5W56x5T2cWqCTy/B
SwfzZzOjilcJE9O2MvZLcmsdJ2AfffSDhm3/5vbW3Eu/3mXalAIG5//i6jyaG0fSLfqLEAEk/Jag
pxwpldwGoZJUsAmTQML9+nfQs3uLqZia6e5Sk0DmZ+49d0X+8FL6/+8py/l6EFYR1ps71I2IKa5q
KppDkBlwC3Pu+yCNozgFk2dnRAoYjDYdI79hsp+YMSULhuDeQV8vqx3GMFgOBiuuJQ4TpCppAAk2
vktT1yNZXi77rCqfGuA/kesRhzUG0M6sRF2XhTYWscjerq3wnrr6NFgVSH/H+HWZxLH52hme4URL
XVxYxt0q4Qa3bt1UBYLshwBiHBqfnC0pcalM2FK96WeEAKIkamEZXpUhd2219BftMoP0zC5l8VNs
bCMn5pqxmKXfB1KIcVc4LOOGEDJAs9hRy6R/dMh0L1MyvEJyzhS2ertJf7sGHk43EuJGzc1u0W93
vaH/eeMqTMmrR9S8Tof1IAyNy9gYd4SvBXHXPeP6tppdTSIF7EhUGGNXemgWMN9NizzZAMg2AZ35
tgy/EnPKNpQb3rpBhDcTs9l0kH2wxyZWdfTeRVYaO7xu7gbfFBnx1ankj1VFMl2cxXqa4FI+V1F5
P9p2DpU596PEZskGHu3NNonG07PX7Qpl7FPwbrrOnurcF1Fm1WQXxqs6mvT4Q2eBTqpJfGQX33mj
jhrLWYkLMcnRq8pmFKbeVajXN0mDns5Cca99VipGOL3lcv47pehYR6lhGAHO5avl8PK/CI7DvFqK
3QS7jaT65RwQsrkpJ9fed+clLKB5CgMgGhEeCcIozyb+dcaXu2Po/12M013c19NjYpXzfbAm9LXz
364SGXxxwgMIi9qQA7TRHig2ursNTPkMkAuw+b766uM1T9ZACtaAuYQTn566iayiwCTXuaAypyZk
2EJZs+lUF5wbjTgAqGTRVjzXaXohqRj3r3ovUnvas8T70cytH6fVxWzLpjjw/OttHlRMSQWx0dZZ
x8RVpqH9G5bBDdcEU/ACUtUl6LFdj8V8rRXcTDSyEiwUsLferTfJ0P5NGxBOUzyeF/PXwze7Jb+l
jMoiZaNO6CCja+etTSp3o3ScRg6aY8GzdxpRkhSSrJqy35qVC3B8keBNbJb2w9wd3TXj2WEJmdq0
8rJqvpOczz7kTQb9VA5RFXgg2000y+uK5Zwx+O81cBoWq4zbS1Tp84QRIJmqbwygxzDJe5SJErSv
1udG8JYL+pI9nhHgITjoDzGW8aitcBW30G92fS/HY6avo8ouzJ8Lsn8s/E07t0PY3nY9XhlrAXFb
PGu5mLsUKO22PEnBmMooGu+gJ3kiEL3fEjc1QNUnKcMkpX5lVGXwT8KViUPqCEnZm8Uaf6SfI0pF
R53WO6IYPZbA/m6At7KfRPpaaga1PhLCLXUezgQfoR4qK+gNeeOs63r2twN4Wg9jzBya2H9Nl3uf
lcZiCURkKUtQQ44vqfMd9+yJlffDrNCKwsB8aTmR2NsGAD5k4R0xi7H4teIIznJPAo96LjhgDsRF
IAZaPkyLvAubcFmPfzXR4BF0Q2eCFIATak2SCRwsORSbL2k1I37K0atkFql8yiqAMp7sOo3vcqPd
h4xyNviO5/1osm8WDrqZzIEVKE2yAGKr/wmZQDRSwg2pggqJ6ZMKizOKjRcBuDJNPhC/s8oY/JrH
jLDFCqcouN0a9es2JVUQq47f7fJwJMdYzV2EpecVvQvc/MZ+Vzb/xeDBleGA5CHIjnXdf/frSVHz
egLCZQ2uVpf+iFieseEum5uvucGRlzWjBqHvfbodG5x0XD7T9F+aFy0SsGyO2o7VV4FH+InN+ZNU
WGRaE4NAS8ItmADjIwhBP9WN8+Q1GuBZyQUiQnO+U6k4NWLJzzT3WJ7dHPd9md06aFtxFYSo0Nz3
Pp/9R75fzsEF8mPKWNJ3UQuPlbXPx4+y77xrU0IqsrFWQLt2NmrCVajZgW7HwQTlgkRXWCXdw7CQ
NgjWFtY6KVvxIU+ZtyxG8Wz2agBrU37CjJj3AePMNn1MXyjyfqUfdNepY30SqyPUSmvvD8hCCBAr
2cQsPE4lSvGExHvEH0ptiEPCFzvBgi9rX2xJAWULPzkyCnqsKZ1Tvg3u1UY2IV0TpkTpnMbUB6ON
qmXQQH+dEOFdVuByU27xPNUlwOY2A/EUF2LHouc7XW0oxsBCuPY/XTgBQQoT0PXupF6MTSqEOne1
i0Usf4TK+eh4JFA5uvxxwsa+Mt9jqIgykbCFL5S2PcZFDFbWir/TpvuRJoQJ2yI7hZa+03mu9rYL
FS80Tgpfe4OnI3LH5D21wMqWtT3uKid9dJ3qXnqjC5g/+KILcLdak8mO4eEMMc6761zzgWNK3roR
tp/g51LEPllC3TXSeEsxAtBsnxpm4vxl/t6Gxd0XoXMsJutYZOhNFByfvkC0YtuTB9aGmrcenGPV
NNmJiSG2YFdi/6uqbWGgjyU47WApZqhL7ePSNr8rJSEHUa9NRK5vSPGwSeXL3/oZO6dCmRJxVnxZ
uPwFqOQdFqYDQqXNoqqvysHPgbxCQ5lF1GttRoWzDOf4rugArsfoHpCuWrg2Foz2wvT34Em7R+AU
KY/5LA5Oaww7xxPfCNkXwO1kkhHf7uMM5bhD4vjHlQNYJl6lu6xEVe6vz6gJNarW9Zcw/pU920DZ
dVxM82AjyS8DWNRlx+w3uFGg3i9WzL0KKszBPrYJ15+y1K68Gjrd2TYpWcL+4MYrd9WQU0a0AxEb
iL8cjz6TUhCQkcSmVfH3MunbNfZ4TkoWxnQf/uVlzGX1Vw1wN2g4EWzpgAWHz5S5bZGjnOuGIGjb
ei4KBHB1fUgSnPVRsthHNXgsGPPfzBFHtzS+ku7PZK6IHvuIkZrjbQZIJUmElmWC1ZJTeyPcJ1zl
2z5VKKkLRPEtY2IklxzzZnHxTAGOBRA3bsrIRdh3s0x23Q45PzNm1nbiCZ6rMH0SbfFS5Tz/kMSG
HeKfQ98FIcKu6RHmSk1YLgI/QXA2VW/y3QMP2NrkYyZJ+1iVJnkkQXxHnfaZj9LekXV2byfjx6C0
xWxpBQu3ejvU1KYAfaNp4DvtwPiYmUfd2QMcW960Mx/HBkmcNfX/tLP8DXOA0h3VpjvaMIq/YmzM
sDkxpkxOv+MaI8DKHp8qw8Bs16wWFv8xXIXV7pg+K20eAzjkXm7GWwy9SBYQQbzRJb5ApN4UerIv
jc2qfza9w4iaDLKjDKHogXCpACvk9/YkwCb5+t7v4g9ixnyg2tYDh2kF2B/RUeMmgr6ofxr0qn1T
3o0omuCGLfIP4qT2VFF3CGE+jYAHttoNtkphTzObhToJsROF9thkqCZ9A2kCibyWYAIwZ+YIAOhJ
BsTS58Kmd4KcePYdqs86PeQIyCSA+WeivaMuM7pjgoiK1RpxhHbOErqYzMcaIoOWMOMGVEYeu+5N
wWEimUJGuSn/aUYqeLh4O9Jj3T7kHXSQ1CVLgxa6fra66lD3zV49MfSFw58ZsEqsfj/yn8lUcgu3
8WV0nL8Tgch2DlXDUhd8a6fYRhnSjZL6jmPe6vp/CSBHM//tOK3N7qEq0JQp6kGhnUOJjhYS4V1h
jUe6kicH7XjTvrg5qlYPJ1HZZYfKJFc+nzFmWJ/MxNYK7Su0ABwVr/bgXzHh78CDn4RgSqJ7XK6l
bdzmLMXBxzbDVCW67maJamt5aFw0vWE1AGYvihNuzyuVTnZtqavQT5CvGvdvNCXFsIZ000ptkDtT
cIzxeSCd8DJI61yFeEcQJq0FfX2A1v2p8tbmOYIoXdh1xCj8ZXQJ7S3tnV0CP7e73HjpqvGCJo2n
Kg6Al0GUZpff8MovySnknQYSvR01kWWBC21ojuu3TEEjncUtFdZdRdJAlT2VjoAVw3at7s2ftLav
sBISvDFBETlYI4+VZaF38DR39AfL1lXjjn51cAHRwbz1MpSjCQJvjXsB6tWvWbh/TXNShFfHNiQz
G6+agVAyJNxawCwL2rDdARW+Imu7y02yEBYnWI3ob4hJ//BmwK3yzI/MD/46GrGZEO8On6ykEkul
0UVFnP9BOv0wGpAuycHrKP2ZfxP9WDkjsDXI4G/0lrNqP/Uyf+BPvvYrrEcrtQ16h0xn4pa3NEbZ
qcBpuGTLaxk6b9hx79vGF1hKMWA6LbQqxz77qrXuZ/hVGzTeJ8ukAQZVEkmTnriyutUH+5hlPpdf
aaQMN8koRdaMv7Qiz1YKAvrq0jwbggAHA07wRhuvsEDwamWLSk56MF/iyjnXFrGUXoJ32xTpvwpG
3Naol1ciOIdNIHMkg+GtQUg/W5D9grS5k3R3Z+7cvSM68SDWGFzPSLxtRdHn1UtkDmHI+K38ajvj
w1piKJ6985uTKCNtnh3Oubh23oow/fYNPlfu64cZY6OgHmFLSip5G9MKIOKNyqlu+Kkxw85hdpD2
s/Axk9GCY00GuCvB43opHBZt89X4CcZEYOWYqlDWJ6REQyzNbnPXf61wTzAwA3pGh7w6/DbTp8gt
xkA5UIW0Ds+VMu4KAJaLkX4aBkzSVEAfHUiioOHrNYsfYg4dD5gNRpWSUr85ho4f7Og6+fCK8egn
4JY6lnJJuicgHp88Tr+orLJbUDBQSgT4GHbKRy9j+zD7JadklxGTyCEjMRugaZ7SN8dR6UG2ZbJf
RzE7D/UaG1sQG/9DRALF4tQ06ZTchX/+xtao6+ccClnakoBXxyigPDEeYdT46FaRGKdi4S4KcEPN
Lj1ticiYTe86MzeGJ2dAeo3KapLZcolP2QqDtwfIUN2w822uxzQMQDyJ4dQNztlgasu+OPtsRf8b
K6olJzYf9ejwmBI7OSmquA5vNRsS1EVOTMha6f/WGC+N28Kw9NDE2KWB2UWYC81NaGcjYB6Ul2HT
YyiDMU1k8rWoh3Nae+Sv9aBbZr0t3BnCqmeRQtCiti4aHiMDdCJxDnZ81Ev9r7TUdEZNvE0C2oW5
SwkySp0P4GQ9/SSfcxm/tky2IQtz04wFnuSUdC9kpTz1sF2p4Y696TkbPZR6T5KZf47nbu/LMSR/
ZrwvdPc9jTZA6Rxi/4TQ0tZkQbZE0zvxtEkM39rHcAVRtom3rBjNg9Hk9laPBo6Qn0ChPmxHYp86
DA90G3l/UtLYzwYWFFaK78akwi06qwZ3QnILWid4aUmoi12WalL9nV3O1iqr8ygGP7rrumobDj6X
27S6UBXSUBg/7TpDqvrxPpVIIA00wvCqcNIpWAP5cFdm+X5wjFtXmduWkx1mHOafcm07Q/UTJgz7
tB9/kvdwGEpg/JisfqoOzQK6O9TveXJt8+S1nNCPms56mE1cVNIvwFRN+tOIicgU1mn25sMyIbHN
4td06e91XR6Cwb+wy/pLTZNEWVO8NlVL9kfJt6P5Cu30LcAKBxqrvRs/WSjT/roVmadGvWsUWkQU
5B1FdoOojkPKD+tq2xHSmwfNX2YGp6SvmKP4EqByDeV1NkKL4mNNcm0DcmZdPpB41PvMZfBe4ojQ
NYciPjt8nTVjcjQPNHqNllSnyGnK4k+3yJ1d0Am7TXWa27V3UIxIRdbsLWlApxyX87TCf5cRKWOx
dGLf0nOEpn+oVphHOjXGLnUaCt8Y7pylMKYz/StdQx7N2ca1QEU6xCZ7ASSwZAMp0ro1HFMiUv3K
ei5DKzlnwqvYnuLPM6FTUE8ur6Of/us95435yKF3xWcoQAg6IQQhe+D1GSwDdqQLDzSTP2VClqvH
4M4n2CNaw6yYPjIOBWlUa+eXMxWODFCQCLWOeDTpWEsiIjC+CFqe9lWP9bWq2NfyeIQhJC1JRh2F
o3sT2I7LFF5lFQ9kMDtA6ONfYx5J7ysrf+MKgiEMDbND9OdqRv9dJlQ5JnOL0pbYZuWErkQhMSYz
csvLzjzA0exJfW83TfpGTEO6EjtebCOrzrR6yWWYYRY17jpN7+NodvRlyCqYHC2JQCDg18Qe49Gb
CNgh2mXAur/LY/K7NAyvvDeWnQulAACCH/Ko8WD2Y3eqDcaTYyeBMK0c1/CG6nTbzvXNCPzmNGUf
qkrxhoGY8Xo8U5NEo7tCdBZrJiLSeAuLN6990TNqp3Jxrr4Fj4NJP/ae+iTH6Q2BT0Ugz1yDuzW2
gFZOmQ1pJ07UOz1lHpH1BUGiVX9aZW8y7OwwiPr7JTb+2h2SbnIpdkuPtd8cc7XJuxj4VeKrfTXV
x9LHZNOlR2biLf04yBq6scYdiSCqB+zfA/y9quDAExjARSuicHgLndDEKsC0MKm3jc/kL9fmSfYh
TWUYH0rTA4ZDDGIUxPk965giqlPeqdIXD2Au3myV/gh3pY3YBL/I1vZOGYlI7jRmd6BB+VTSBwNz
fh17kRGib8qXP7aL7Vag0i1je3lYaoLkk5p8m3G09kHnPHS+BfpGxpAyR6yV7sovr73mu0Lyeww2
xd6PXZQlXulu5o1F+svWNVs81i35QxoCI0Utnj8LVlCJTnipoJKW5tIdrEHfeeJjclrIMdYCc4Yv
aF9Wy2NfrRPJ0PjuqRVaiSAP4iByTw1EpxnWgqmtwN1j+oEBO7xjZixR1LoJaxRZMBUwsfMWDc4Q
apmLoYpHHA5AxEcOIppyFvyhiZ/aMXGg6ZtRMOpxYeRyutB6S1xsDrgl1kW85lQKeEZQ2pfO8IdZ
FuGcygV8ZFrk5Szy20j5o9qqvxoO67daNHQSEm+GR85tZDzyKlInzYzXeX6DsQ8OnpfLndNZYZT9
neXyg+IVJ+/KQ20DJrWZs0rQ8Q+KZYTJtrz4tcE4aOhPIPwBZg88FSKJEzA3OS0cfUHf42ersbHF
8A4kxktepxyukUeNVHEBNxaxWTjLIm0zb52a4ZY0BANgyTwOxRTs5jpsmMACfYzTkVcWlFKB9Q71
/FIecg9cvMHGHQFOd8/Yoj745vgXLXQCaGw524JnavadNppqwmwtROg0VpzWjn2vSiDUeTj9sP2V
RIi62yTlruoIkFtFUAWLFFe8wlBbuZRANvsoIS4YrF4anGarucGo5q8py7MKvWe397+5RJgkDOl8
8QUc8lH9GYLAPWXCOKMMhM2JL2lsfj2C2UgofXMC6mJwSp3KfzrD+LTnsYtAmtd7r7vMk68PCf8a
fJConpzeXfZpgByGe67laF4B9hWDv5owOJgCDLogJURLg8mWJaNOALzVpHy5A6GcFvr/SWBxRgDy
VbV0CSK5n+CIRKMmqCernRd7jnl/Z/lAIM8xCzAbjc7NoxfB4LQphv5lyXEHpEV45lQ7GFn6LxnT
W9muq+mKNjCIBQCnoPslQPG+i5N2Pxr2n4wUXLBXdwRczJtSkMK7ytrjdPkp5wdfyZYnHSbZIi0o
J4RtEnL7xotEPQCOfG3YJtFSFxDuyiuTVlsrWDU5RELDyxl8VhYKptTWUs6fftJUmRUnEld1P8T3
VVj9Ll0OV0d7PzPTiLjJ12GofY/h5qmxVbO3AcpiEEBPkzN0VLABybly75pp2psqCfG/VuHWavnR
q+lt6FsWiNAyI4E7GYRUjxBXd3tz8Hdq7n9Ko3mVcXMswjx58abkDJoTHjCxIC0E4yl+YbTzjCaj
3pMpd8ML/65jTuaGz4Bp43nmuXX5vvLZJiy0MjFBjPaDOX36fm1HHm73zUji6jDsIBHxkwO9Z1Fs
KTOyCbNgutofMmv+duaefpjZfRM4r71wH0S8eGcWGaeYtyEiB2BBO3+c/Dy5y2CgbOa1VFWY/aTX
c2DI7hGS4b+ABDLk7Ba5e2N/A9NYGlXMPmR464m22noIY8Y0fUlJl9jM/BpB4F+jQ4GQjAEtExiO
KFs4FeUEk5WzBfJeR5ZWLVUCkY7UPI9RZ5A+hl7r4t5qc7YS495y8OObbucQixQ8NxAtUjccd6mv
dJRbJRypuCVYLvXN7UhitTn34m7kPgMMuzpDgWJDs36LDxg1PgEEjPiSQeOKYgDpk+GP62L53E42
+FLGXRH4eaB0RRyB6n+1C19GIcbUqKzxMrSGP26Kv4LYp43TcNgYMxKZUk8HWkXI0K1sTy38Rgfl
E8+np4GLTBbZZDypZaqeKtFVu94244hgtzcmrs5B+AnDUdcvdpgYfMx4PyUz42PH0Hgz0qARdNrs
l54li4HxNGMkntc8er0xPPqe4W9nn+GlRPRM20Bs3VBBkaekI05SceGGlCscbi3DkOHdHTnzB4LV
tqaR/3gL2wO3GaGiNvLCLIhSUQVcyDTHcGdH3F2Mt3txaSR7KhIn+FHwog6JJpoMdQrrxiJhVx2k
O6s1B4jgzpkv/XvuyhNK7pVqRiukczC9OSgou9+5JcTSemFY3I9IL8rqiW10G0EgYfvUOf9GR8Cq
ABUSaXzQdXgi/0rtVMrUKscUSTur6WkxGMkRFuI8jPxtWKVWbpzrGP6mqTsWON28h2p1JsmY2cWc
bucS+47FMAuGxyPHwbYIXR9f6yL57HgqO6QBvkaI4dRH0ArCTcKDco03p+u/XabNDAmg0jraeCf5
FvNS8KqN+DGoYo20yNxLEq52yCCpqEQII2dKYCo0mn1RiNqBXNC7lOs2MxqiZlt5ySpSPRXPSkiF
T4jcZvGaHD+L/iabbamYYY3zj9VziihB4wAcmoUbra2yAYO0870oExCBJgGv7dK+14t+JaP8Eqjs
Xx6KN3+emcWJ+tXDy3xqCdiF6EZY0GRJ7Pvu8xirekX10bWRwtLW6ckc8DWyjaRG8U8It++BvpBt
4ZlnXjqw6EPO64JpkwCj7o0R9NVW4nFiNr4xx9fYSaYtEZFtZIJ925CTFMDiCwGnzuEh6Ea2hPW3
5+ZnBAG86r5/l6PuYfA0H3TQPw8UnlXJLQ6BINwx+Pj4MgOoS3R9h6CQ9cZsBrT8Zv6S1fF19tqv
DA8sqyhykTx8HKiPNGo9R1xZ3XkbRP70TdVEGk1agIJLl3d3lrRKdfA9rIAwNyFRdAh/WnjjrtW9
EZ1q7crMeW84RXai50yK2/ixjcWW/PJ9Yl3BVQTbgUY8t0BalMORujjJSoLrZHMmH0PR+0dL+2LK
BelgXv0xhxZBX+DemZb3YoXGO+qzczMIkGUuB3PVMWAfJo/yU07Xue7uhTI9HIKM6oZyupc8MkP7
MqyeNXa8aOcLzAp8nBFEm03hXBlyeeeYvI7NDFIBCrzaxmLGGzmDGA30bz/DMOzz8CZypmZ2KU+W
xqs3Snx65FNtRkM+50L9BkliQjHpdwoOUFoxdOg6s93LgsetZtyLjOwYdp46JJMLR0TCIg0ESUPL
cvXxAm94Uj3Ib19uIeTONGpozaA7woL6tJ7zj7ror0NcE6nEd0UcC764Oiijbv6vtUm2dh1D/WTG
6tvKWVdxiAZmTKzmrS3KT7dSx76r/nSSLHa2FhzH8WVGOR2Fis8vyKg9iH+n7mcntdGWH54ANbz6
7AQYFcmJi3LkOKQdmFACbkD0n/DBZC+1aR5MOaMurK5xx8rJstovsoaZblcI1FyXVJvMVsDkrHlD
fOK3SH8GVh3HgjVnIp0o1c1z7hFCnSPzkDQCuA8jw7qp2D/mzHqpNDzKPkhrfUCcJG2eS/ggc8Xs
p6gEMJsabwqKE4aDc/m0dNdmogPyfBDT8gkdHKoeQauqyM6Y9CHV/gGwDoym3jsuq0F7puCq4uyd
xDE6RuZWoQMnc/ThDJVwAVr/U1v0Z8pavlx/L2P1HYRMqhoLrk5XzHfIY2CdphQrVs48uzTmPxgY
zX3B4rAdwjsd93DKV82rY8iHYvIvdlI/5x37/JChA9xceOaMS0BHZmS5ZbQLjV3ua7a2ud0ghiL5
w+ZHqwd8g12Bsoc/r6mSizMkh8JhvuZ27euQeYqMDq4zMyoWLgiXUJghGeDaNz8ZUW81FRa7C/eV
qjDdVb45R+nsniYNQL5rYKMWiEiKwgLaHVcAPDlpttkwoOTo1KFAxr+vY3X1nMncMJHeG8jw+ZAf
O5yLG5Kd/V1XfwE1s9j6cI6VefpHe4Nx5g7GqYg5htwR8AHMEfDJ388G75nLZKQpA3T9wYvIvrvC
ullj3XO0AG90SENIof8e2B7/AtjOI8MbMW7zXQ/c7R395N6r8q+blAGlmm/fGmzbXgwnqsSRO5j6
D150ZBCvyDZrGdJEDPhtjL25lPhtYbTsdEM7rOM7ETMzs9keqcA5luFMjWMbK1nK36TB7O2y0KTj
1J/SJv9pZjuzaXuo7iNyJGRhPK4//sBISPW+87DQ7gCCv/PS8UwhbnJ/9e4uLbPXIje/krCAIGBY
v2NhspwfBRbqIPnXG82C9wVBnBNWHGJcp/k8x3t/qt9nK/81NaoYH1J40lZoFEv1j1mPN5S31szP
2OGJvgm4x0MTVm6ASGEJIT1bbD83pq4+tF9dHWvYe0NO9kbL+qAoeR1dJ94NsGWCYOu1tr54TXkA
08/UKwlZ1wgkeJpOXcB1wkEhfs147t8xigOQ7gAsMzh1nokFgkJEIs7g6ledl+9kvaYk6hkvDXQu
NEgIjydscMxjmNhSXqRY1A9u/mH7c7kPvOLTn5CUZEz0mDG8mkHD0ofDeyt8jk0J8w6gex1VrqX4
ZzBWqNnEU2yVRdSI8qjs7Nutnn5r1Js6b9tt7yKFgxfwNtjl/KR3aISnS9xb0wbCQ74dwvZNLeRT
MN4ut9Do0RMiJBCQCqja7W1DG7W+Iv+arHm3CkxTC9CNZGBK7xdEprfD8wTNZDvZwLbRERHcZnR8
j93VnBribdcDzCC9L6j1bxz67B8R9Jy6wD6YWccJiZQMvO38ASX7Ypb+XcAPcz9lUmwBCH9oWzQH
3UBzC9yDNf0EtUO6YRr/bRdHH6qwboHb2Q+JtIPdOPjBxuio6wclb2JWVH/zd4jdh5k6X9zAUHIC
NbDhVgaBSurJlMIXHZsYJDuMyWjSkEYZuP+10njdeMxfowkJcUFeGTFW23NvzuBHqK+wu+yMvBue
5uFam6rf2TFpjrgwvq2+fTXLv5k3QTv3Bs2JNyNhGHF/W+ylZI3GLkcyUFtIp/SyydYNHoO47GL5
MTlm6Iag49uH2eVLzd26Whfo3g4O4ikJxV/D6otzZwbLU+VV5tNgp9fasl4DM0jv5nKEQe8uLxqa
Gysw00G1OZ5lh6XaCvEmpATEWqHbMQlGoZPkrHmk7AgLYWI7xfajTsfnwswPdrUYH2ZKqkGZHhZ3
abb2UrDpwu0Uu2n7sBTqLhPc34MbfgSxl2L4a5Dl0dTslUWlp9qUybi9l+DsT4L5E3NdlMWuz4w0
cDWbqaE9JDBfGYFLD9yLTeCOdbUMZqMOUUMs2tvuteaLxXbY3YF6ekCvXFw7TNgsrMl/thygbR2o
OzOnfl3ejJaRmZnO2PlnJFpkkRMHPC2/QF63U248p3VxN/Qp9XrAVDfIbLLXckQ9vn9fLbDFwLKH
ZFy7N+AFIYliyCM00/xhTtRp8bsG0dwiIwY3Hpf3wKDKmR4nf/4stXU/CQyLOl/eujFs7wJW+dGY
5Kc+E3+Vj01bxeLoBcalbpmwElZHzrtKvlwTmxwJ1QBhMaBrhsLQv3Y8+MgBq7t2qTPImFl6cYrv
AbTfpvXLRx+fDmdwDkxZzP1WMfAVTyg/4x0DwtNiF5B1HydK4rMVZP3ZbYYhYu38iIJ/nblm9jZ3
mXG6/BvmnKQj6HEjRweOnZ45CMijpdT31dTfo/RG7+KAA/bDQw3FDME9kTUTZv1iuDeDqnjUS3t0
R//aa8jxY2EXZ1OpvdUvwASUeYHHp4nzQU5UtJDKm8knaoC9etPuwEIzM7Y8DglXhs95/DnNJHtL
WBjqZGbJS9uHN5srCZ5uyHyVtYfSy7FdEtQCM1w6W14a0Z8s9FdzPj8GYCPiuJsPePLaE6QYMuIL
900y/N8UXo3mziiLIzH0rB24+2SgSS/P7D+WaFGpgNH9VzR7x9PvjC0l4TdhcBknSrVhlP/GEEqO
mWOcFOhONo400k3Vt09qasXRMgjc8VGTZmOLLoXSaisdOr6UGW1juAn7MoTJoQvNblnOepbpU51O
Ba9F6gG0OPh8sr+Bsm6BciAPLN3NYul70zYY1MAR9vm/39rc8dEkkYq7cW1cRGIi9q4TvuoCd2gj
Y/PJ8b3uvjHTw9g11pNef/nf/277T42v54siYg/xJlmec9hoAPH5MQFGxmh4Sp/dNkyBEYFAlZ6A
reAD5aKCSiERC1k/NPC3cWjO4d5df+tPZgIsi+kfB5AheNVmTtWwuOfcth/++6X3GRYFTsLYm0UQ
iNI/1UiQIE1U9zhl2YRW0G5uaNAbZ8QrMQUJWXLB8ooV7asWVfzw3+9KxHtDLJPr2IOtX90mRTw+
coE75H768iUYG+CBnvYO//2fmZNUp9y9F2vyazMp9xnUZv2sHRYW/CZpuJpJQ3soctD6+Epvth1b
N7MpL07i1g+mRfpq3EFrTSUE1wp9BmJVd3pSz1KxDR2zeZP2PpX1nFYfjMFfhrH1t7qBFawN9pZs
W2Gfc/yfuPcZb//nckeuRraVO2ebilCBS7fuNP/7pRhntpttQyAT8Qj/OTLN0VF38/rLf7/97xep
nXvTX1h5mZrZYF5FnnTDc9jjZd78Zx5rW2jrjR9/N+OsruLD89ziquNQXV2inA/5iO1LfMxA6pae
USp6/vcJVgfnVavP4/9xdV7LkSrr1n0iIhIPt2Uob+TNDSG1uvE+IYGn/wdaEf85cS52hUrdq7dU
VSSfmXPMOEveE0I0Ok8O6DS6mGAcj6ACeyRlwFb5yTbZF5px/a1KK7v+wgs7vf3ul2fuRIDt6PjD
2poVXbMbvxbsFU4D2Dfk5J7zgF57+ZPfh6brLKCM/Rvq3B+gsRXwDYY0uueYr02eQPxg9UeqnSKM
oBMvYTTn62HhzWEAI/+TocAytHiFWoLGDBPdehwHAFIt0OPZv5UMFG5MD6ybdXOXXHfMcnJLE1Qy
yxDmCdOUeYJ1aeJ863+82GSEbDO4cI3mOZni6qq7bXXtSAku/d4/Fe0B6C7qzCmOA5fl6OPvQ5cR
YDjWzKhFLh9HWDet4SXbIpQ21ijN+sjLHU7A6ROToBaUGO3++3ZGfeeiGLM18dAS7XJPJoZRPjFD
kE+Ru80+1xT6LAkY0eIDgxFjrTF0fPEq0FxaRpBUncWIF8gS4la8Rj0enRsC+959ImUwaB1E1eSv
aV22B+j39aM2JydMgnC4C42FijsSnARtqfHt9FFzQzeI+wU7juSZdt82uCcgpUETSnZw3L3pdun/
Y07bErrFBKjgFqC7w2kpC1aYh2bGRI66ZY3zl2EFLB0LqJzSgQz9XmnUW/YTw5MccPWTmxb1rSKi
g/pZP2nIgZrV75e/D2YG55GqF9NDmvm7MXzTYs94osuPX4zRw+YtwltFXmZQSDWQHYt7WanWPFjl
LY7Vj9UY0ckbxp5MU1kc60r+EYJdT9ZRHYIZMI3z1D8XvtMvHhVKeVc2gdFW09FSdno2RrkrXOtO
MKe4Z6Nj7vj3ur3Vq/4JZSCpowZUHD+6/D5khFD891VZqZ9KYDtwOh0GbtYk33iz0JVytj4WZqof
Bzl2FOdmdM+ZILId/1LoZ36EX3KUMtZ5cpAl7hxdDDscsen+9xw2XK84RrjGVq3IraDE/E0mSHSN
2sF+xO0Z3VHw/x0Rr1xVLH0y/cifRcB3cjtOaOEPDv2EC9zLL3baEheejAOK10qE8Mw4HNRyKsyK
N5HVe6CjyLEFA3bcGe2Da7fZehj97gguAH1p2r4agHauk09BX4GSfQ9FnARN3ChAz0Py7ibeh51X
RWB3Bu1bPXWnqKi7k7l8FTdkmOEJuEe0++yq6w/XjeUOuT08UxftYTdBEck89oi9VAK9olk8/j6Y
rvWmoY49/T7DR8TlTJRoytH331/AxQAwTvvThSabVO7aV63eKel2NyvMuxtZvaSUZ9bfuimPWlH9
KSDDs7ZOoN+CyYGBMDy2WjSuDP6Tk4YFf+O16Uh1wGBI1cL8FqQJoGWCjxYhoC+TDBE70MK7ldXz
dZjYzAi/+rQhaG78nGAQkpT+QSDNCYRgobi2R9QdocypdN0WcKyOvrGtSUpVLO1g1msds1zzWotB
XMrlgQRkNpu/zy1VxgEWPfO/p0RclgF7TQdRBoyUYQZx5dGkHQd7MV259SOmtBQNThPuNJPutmyX
NLKF2jHixHgyEEKTaOyzfltMycNkJKffvzL0bn5OQPcSHKAq543Z6VvlGWSUe9VzpZ9SlgAXx+zj
J9NqIIG5GsRKNyQtBqHRdraZ6vyecmgm0FO0gV+jY67jR0OW+d5ETrNPWn/BNZhgw7q7ivPpxKBc
ScYmqjv/96UahyDTRxNPZIz+rM/018Kd9P0cdyOAV2pyPdS1bVmgKa5zW3/NNY+TlnMzMymxSpHt
/M59ZDGR4gJjd0iMZ/7W+QDe8pzVMRTaLfWe8zQxprmi/rv4YVvvOK8tEJxZfwdaeFSCO8IgFUlR
drXNKtDXpvgQKWjpu+TCuDrcczZe3X4DQtR22kwIRON5/TlWeOZsW8wsiPqD64+vpt/Agc8xWOtG
/oIgRCP0LdUmAIMlIEgOKdR+NJxbs8Sm7XP53ftef9U6m/muZIM9uT0SmS5ujgUrfbBgkEGV8dfC
E0xYkylOqOHBGrPu6HSruA7aWKzSmcokS1tSStHbOZqj76oIGPDvg6GVpyFOyBjniGG5E3bBNKTv
ek64TIkWjuktc3/qR/1U1gzWBbtKstYIKgUEz9H0t8VZswOHekvtjBuIbd9mE1ieZ2inehDeqstz
cgzEQmKDSPIweeXOFAoctBp3JkmrKdrkS+ZavHWccybqXNXr6Uubyb1CFv+RRzbBU8JFh8ea1x3R
IqqEgGqc1fUFj4A4VCMQfG+uu2sD6o61zpQ9x2oZpeW6fS17dLaaNr6VjEa+S8v474vlO1rFEJRM
BPuMsU8PZjSAe9Rd/nMObrTHfoZYHa2knFUOHAVnnjuAF+sKw3jxHX4HoMtPiOSDiaagrt/rpNRP
Hd302qnr6X20xGHALhqjQpoxdXrq0qbuW0+c0Z4uYLxQ3xJkmbT9Km0yQBH6chHL3H4a9dF+svSj
ZXewujr31cI2RgfpPpkOSdx9yi6i0Jv6jk3vo0uZfSZD9CwdQ95qiQ+OT+HT7wNulQeVadYJXpOH
vjBCkP1/isffCvL3e0gmXQQHf5tBrx9wc+JGTLLiTzZ4eydLskC2iuSJkb7VsZPXeFEW+zqvMjeR
8JxI3TWD2AA64SwNwMBxcc2E/Db0ird1QRb8PoQTe/aJ6DtzMNVthDAcpBZNkD819l2DwLP1K+Ok
6258aid32EcOSMqSuR77pULup+XI0rWyv3D+2RgYjrGQZwWOWieDA45PFOsXH41OCDfmM50JYGh5
WwA9et0+78qJyA0Rfja6TgRO5r9A/p0PZZ98kzh9MVLuwmIY9JsBtdWMYwYYqZyueGD93TTOrL9K
Q2xzp5/WoUeAK+Ld6PBbWdZaPN5SWAJcbIr/Y0IoUbyL7g7kQV491REAr1MJFsiODlIwajVgFdII
YfKBR0oJtsCQSIXaD3ps7QsN5WxXgfGXbVNd7KYJhNVMx99netYffZHDEm6eGNG49xS894Pmak8j
4m0jIXWDkAYWiXaq39uCVDo/651Nszz9/Z4/cMsAHospmbxSMtLrRj/1qeRL2pWv2pjKncVC6/z7
UDlOdVT8BHHsNedO3rS4obhDjXGaeqmjerIhn/reeAJpHG0b2FmEzPQmmeRsrZAaEk1U91P5xsvD
PryaPpM0trlK8/IQEvR09ByWycpZ3GFOZSOCle5z6qhzxUTvk8bHQE8xMFvJkQoB/oouichSoJ8y
ji9L7GzRqeSjbHFXCL1ErCmKndSVt28Np3uqBSkC2FyNjV0jENIqrzgntXUc8dyxk/TOcnYyIrRm
Mw6SbsRMUxIZMXenEOfkq9lg7c6H6bMzMXdFtTMdYnu0Hpzaf0mwrUIemH3MzL1zfSt8H9GEbrN4
nG1HXZgZXyeZYFfvHZXvCTj8iyKxDHozMk4Y2t4RIiHZyIeUmLaCdnVIGH51s1hNVtgcuh6reOvl
OFl103CCwr76fTT/tXKb7fcYJVdeFcl6vBF7LLD30rWii96EZTCHermt0GVAGs7dU4PDhFGND6x5
efFNybben8z+lrGRurlD+mipvv+q6vCqT1n9aesDN3LPsx5JYQU5kk/TuQwZTYSebeyiCQFLLGux
i+CWBOQ897ffr6DzDDcyfJ+xoalj1TDudJ0UJsBy7nVgJc9F+w4r37o2jAD3tjP8i1Ke/c4Cfr8/
KGHv4pjgerbGDTs55EyiYi/NZwiABiofcov/5480NfhbATIFZ7trHC2EeL9kFG05YX6/MhNz2EFi
eO3qaDr9z8M81P/7aZfZNJHAajf//ZUEdVTtNx08UmYVvz/a70/qLGuSOEZs8/sHfUIxqOtTelJN
eGqqefjUTc6pDIMVy54s2UXOHJ/CVk7n3mlZ8ePmQQE1Pcx5OD4Uc7Opmj6+kWVVJ+v5q2pk8xAZ
/Plo2ryUWrH+/Ys2xHQ+wQYcF9fIjh4QurUZ3xsW9edqeUhg/GNc/P/PCxSAvpPfNMzwX7rn4l1o
2u5B+kw3x4GA84Jkj5nsTlKnyx+hW88xuX/rgdtokBjq4FnWBzoZzPoW2hRPCHedWljjzTTg48wp
7dvkURtJEjA8OGiO+ZSOD3YUPfRGPDx32viZsKKQbYhKsAkibmgX1/bfWbdru3jcytq1Lr6TRgQE
u97aMjY96+p1bWXannwn/XkyCMeTLJCbwkIZN+ZOoOrqTH+zlGIpbVlWzgdd8cp7VvWpyhFuFH3H
PpISQbnT6gRnye8qzNUjeF2bUKP8IIzc264LDUE1yh3w02wATqKiWvQ9xNAimcOzCVfs7I9wcxGT
Q/7jGUKqPYbb19BFagI/hLTJhMJVKdDebXSvO6zitR5rG4O5X0xI96nGWFeIJOgbRJVihMLQunG3
tWrv1jgzEJmF4OvOb57NOtA22Q+mUIFR85uChbaVkwlky+i1LnKSFnBVEyWBhtKV2caMoN+naP5p
KZxAWqOPAcc1NyCU1pJ53Brjq7HO0eK0AdUNUnSQ2J3GQptE3zxOKkZgmLnisrr3OkEVAFXxyhTd
tjaafRll327f3Qtc0lrq3yKzeUtwCD+IjnwGf7h4NkHYg8PMilsYfgitOjQMHwAJoFXqw1U74dhH
lg5YF2XjS7+sUKwOGZBBHbXpckVcz2wf2Z7OqwiB4NKsr0UzqWcax3sEWW+ZnjFRF+rJqtijtHqC
mQewtdyPVB/RSLA0KiYsqN4pmblj2RqjtDaX27m1kPf1uXnJkre2Kl6bmYwtSk5j3Qh72yWCvKQo
emwaFrvlkhPnOSfm0Lc+xC9Q6Z46egW3c1wy0B0na8vRvXw6SR2KJcHbjiz2dDFi21T638beOTZS
srGT5pmIj8PclKy04V1tXVHfuwJJtBbJS9i1f6ou+dKwN5Jsosq9HdskwTIyQLA8JmQcON9LfNda
DW27HSZFslOcGpssCVAANzQ2xZ9o9k99naDoRxeJGpJ4eTNGFlBkfBoJaNx73j9nmP5yg2dkYJBB
+NUU3vvIlAwvFLN34jkvuSC8l0DDnDWSyd2IlKJ11KS0xA4/pfiIIugZOAXuPQsTtPPFJ+jPCYWn
2o46sRFgT8Y1gqLwgGBlqzX9T9OL+oHlKf/gNJ1QfqwpkzzMAA17ombujssnqNTSo9a07qHPUW+W
g31qufxR20Y2uAWShYZVRbIQMjLWJXqjzmGmk0wJM1stTuUXTxkPYybK3ZQ0HwORVGtTBzpiybDf
oNGtCBUISuJurrAT2T32Dp4uww+MWvzxJSMNVsP0VyqHqpkNe6z3RTBH2bZv9WvMG7nVijiFaq+R
I7iCp9Db3VfWgCNExo7mZX5rjWrXEedDqNtQ2vkenaGPyKi2tn5fPtmKGJoija7Z0EBUGepx0xFL
K1zCYGbmqZuaFPF0HJ50IzQhoDubKhzfLdmf/KHYqbY6DF3B7V8WkISLoV2NKcbUEA1B6qP+Ep6a
4BFohLcfLBkXO+ICOXSHcb44dvwvxC51RDJVbvoOw7CnCHaKhUnw3BLkASmAAZ0ZRErCk5DYenPz
OR5njf2oExhVi4ImNgBBjwPmV0GTn9hBbfmXYdB2zliwqZOKLL0xvDe1Hi6uHxvZGxsTutXr5D1r
IVXxE6QNHOs++bOR/zqpviApDq+Xp5y14/efvqA96/yT5VhyH3UYgMmXxpPocxNPNIlOlNicPFqS
j+JDrpAWEBAXrkaX8mNsSwEwIEahNKHwtn375IXqC9FMhnrXeqhBwUcKhDL2GlwIBjs7XCUkgEnv
lrdass2Ljs4VW0CP/GoaDWRSZpPuc8PMcZ5xIKLyQgCIbzlFNsAxxolBdekkIGsLPhAuPQkXCTlo
/hTJk5T2ZQLiejH6IUgnAlWNnng7k3mgxm9r1WAimoqMW0W0vGuPgVGSuWCSXrT5HekPFbuhvDNx
eis2uSR+0SGzuFtzXODxoJ5AW4lXrkeh5ETZMR7q5szy7l1Ow2kqQ4JHZP3lsYtpSs665Z64yRhx
a7hN2WO3ERI/RfP8UWTpQxbjQ+tn0reb+VtaDguc2qs2bt1/E/xYB8VUntiaE1fYPZlecrS0qNgM
NnkgEyD3AgtPNjF5hhHin/y2f84K972aFpj58Fx3xLoQVYSSKHdZE8n6gXQaYztrbKOGov6Xh/k2
TbVwm+nkfvjDptEm3IYtRgtGQvuihDjAspiablqWI7Q5VeLepHIH3JONCLxs0VGkDlAHQ9fvNvLY
lYVRZU4US9N0DFzbwMVA1I1f6fhgOZZp7jXuSjg9o4hmoGy2RhPmJz35mUyUOBqOjqHUvEfdNdjA
Y/uoZsEz515w8m4SpZsnH4oxEhFM/fgyyUeeEMJRMJc+PQ653aBNWKlaKOqR57fmtnYi4qbQ0Ebe
S6JRlY7MzrhMQuIaIt4UyrFuZFtKbORnm1NOpj7OYCsz/yY2c6drHY/hJT1R6jprEceIv6Hecvt7
7JqWjjbBM1HYW+BhiMBgtQoGMiwC0JsnHpkuClr3NtGbQ1apiGtRZzCeg/DR1FtlN+1bZ5TPeW89
xb3GOnsA8FtqJp7R6BYXhOaW4XTqSxTMdsoO3ZvkpbSK+kI9auNj9LuDhp1Kw7aIVndZln6bKqXk
gLADuIPogEpV37WY64dGx6An0wHmR0RqtyJWOcvLYjss/bEZSvgKjreVOvp42xi/SQN8zKS8Dnan
HyJz/GxhHfeZb+7dWP90ngywaHd39FE9OLCM6Em58+gPM3LzjdvYD1pGVHwx26xlQVQkZ6Oes2MT
8Znq2mRrMjpb56G9OOqxV8a9uMNm2ddf0mm1Gzdj3Jc2LIB4XrHRoy2oW2eH6hzl2x2kq7FBtsxJ
Eb7WUpHP5VpHONHNutC7P1xKP0P2nnmy3eYagONIAVCAeX3NEXFilVun4dBzMXQ4gA2GvUXVsrXO
trPvkkKFtnljeT0pfcSl4VorWU74/4xSeyPDN961ZIKRbBgu2CfWQYPNiBavo7/pjR47Tdedk56s
mNbpSYInvHHgNDjlaJlqcwAgINi+qwg9u9ahsOrNYyWN3VyKJ1LRdXy0obfAgIiJwxSPn596zfRa
vDf62syQlaHMNncawjzfGVEkQxhDkVYGVVZap9pKv3SN2yfYnnmiRbHEuzTAXKTWLUzjVxzRhFUu
cB5hdZu4y/Yc/QjJHJZCFmY1zcboNQVWQe4H85cjQ0wdY6BaW3nUBslE4FxElPTkc1+VGCPWNL9/
6tlDetGyYU484wu5oE5ed38TU+xiwAIhSCqIIsLQS9lFagJt8Dg8qpwr0ynIVaE6IkZUT/wX3yZF
+7mmOEYUGH8NuY2UOR1eVZjvS7IrD3k1/OZItdB8I1Y6a9qrhh8EzXlYWAekP8WKUSzE6Tz8qPsP
SJGLcZLf2Z1DJiKDcSrJSAxao0aYhrgTbNoSjVmZu2KYw8OQzE/oXxDdJf576mn/ZDlXQZp44Geg
XofkJu6JjfuYHKIKreLRCeNFRZtg/sryQ2vmN8Jt/jHcfYk5PTEjhsR2nNq60s6NA3oirz+AZe8H
e977gw+/w+71dUEqCOvbx6GeZdAV1TFPCgJ3pmQHS1oPsAAU2PcQimTogdzY+UpQGW7yMGbwMbz0
M3jSOiLLqaduomqN7fOMiDWqWywwbQ7jeKq+chMDp8Lur2Cg1CQU1y8zsvxyQpg4aUevPGiNp+8s
tzLwiVRvk6s/NHhGBrSVJzln77D3dDoPFpn+NLcrMm94K/UKjxzeOab088b4nCH3cS9ElOxlcg30
79IN5a3RSNSk/3ihhglCTbJ5cz0uW965bTm+QM5SC6/vC52A8Wglw3ek4eAVLjLKxOQA54Q85IPT
AkwIu41YamLDrs0Ht/Q+vK5AmdjdkkIyvi9kuKs0lx1GLj6d8UcwV0515y3Vsb+avvfdVqTR1eEv
2+pZNf2ilY2ePV0RaunyiTIUlrCZaCoLR2U30KJqhXnwxPQEQGEF7PZOBn29ThfVoZImiYTRk42D
GDkXIEE9Q0RNp1JLJIpTWJAVbSo7qCiacxfqiRWhc22HdtfnXIDzhN8B6SmewhQnicS4NJCOtBqk
+0+fvePU5099bWBl6exrj7pAZ6qIBToCEwfkG/COc3ZOvF5Bz7ZptcSqgsCgO9Rsanwfpa9R9Vjn
CRocdJqYPquabUQYK17yJ83DYYe9jO07ir6W2SyVm4BPoCNhMkyoJVWCBIvZoZMOauMVSP4x/BY+
1BEtxMqqxhPWlQ3v/kfiw58Z+/RL65tdGEEXdDGksVh4YSm4XaIMUXChoK7nbzpcuWTr8d+3+dFh
0NtvIt6QNfn1QsN9aydfSuI7Ie477tpP2dCvuFqHKDXP/kD48VY1xLm6ia++PHNx79y++jB6nFts
Ue+Jl3/5uU6vKFHL9nMwt4jc2VV8F2NzjLL+3Fm9XFLBL1AwqJGN5mkmgNXSCCmL9OEtwo2ymtLw
XzKPe1J1iaA2+LDgM4YuvnLd+k351iU0KNhj3eKgHM/9YEWBpbrlbP7jxsl2qM+z9iRaRkWGUVLU
Iyofs8da+efcDI8ziZxru6+eO9t9LTrEPvNI6br81E0uXxyACAXjpOQP43GiOScD6pNWvdYjbU1j
vWi9xHNYMS4xhNrp/kDWzjzsQIewMopkhQBmJUf2H55RPsbTpDbcH46Qw7eNdfCpkyLe3Y1AxLCf
5PyqF20ZCO6TePfM4mFiX8eVv62boVhNywECGSalVLBWZitK2H1oGGqc9TDtYLCJHGtdab9oMc5P
RmjENxvwvDmxzz1YS7OEa+gKqrSpYTJZLJ6wHGvnxdKkXFHatmsZ1Qye3fo+kq+3apr+iySzN6YC
TRBWo2Dnav447jOKfYADPe8Sxgt9u5wWJewx0OFRu+7xzi02qhKVbmx1e8apN/REP4veJoIoEZQm
OcMacemhSwIZ9YaBeAIjYzs6r0RZP6PvAJjmls8uETd5HN6ihvuRK77N+J8bdemmbxmex0V8zVgD
AyF5Z3tNlnJ6VUZ/hmPxYgptNauRaG2XywnD0TKf8f9oLSbOtMXv1uIuhltrsKD0oM+xk3PJSlp7
evJg4gFitqB23iS+LUc+j7gdZnqTlJmxZlWPcQQ7JYtjVLslhA3RFt+e1vl7VdoGJ6H+rSWsZjI2
zht74jf1lfXDGIYUeBMXUZi2q76gcXTZ0/BR8nkZKsX9hgq01B5jkkvXaHSqrUk7sNL1GZR3ghlx
WBeS1N5ahe+GwKEQtRhmatfehsitb9SNx7wcLkNj7bWC1IvcP3gus/NafRStuBnIJDfIJa/gLO5m
P22YLD1bPs64BI4I7XK5rW3ihwtHozbU4QAaHvmtA+iQdeewpHRKpFrSNIIfAxbj1jOhwjQ5yuV+
spsdZaYxIz9x9faaEKGo3KjfTznVOzUk+cVh7a/16XNBzJgOs2mHSPUVxePzHJU/GFUYjqYD5rNc
p8Bhvy8BdFmwvijG8r/2bH/puXymqYPFQMAb3NJz2BKIVWg4eRyaP7y6LYQQPvUaY9pVUXCZCXBL
JAHa15ymqGJ/AWCt1k1efVdjZubucOf5eDvuudD+zeVjBsFypyzExZ5KmKdKurxaSx9SJASTJxkS
OMOqsSdr05Xm3a3LPywL6o09xE8R8sUIMDmHULKVcxytfC8yCX7Hhdm5b22ffdbo9yYWmpvCJSd6
Ytnco7JRlwTLrlKAhOAr+du2An3jIVMSI3rgBDs2iDmIkITQUvHEz51vk61WciFWg0s14zwahDBv
2x5KQ+wlr0lYZidZ2XVAQqQPBcBlmtjcEn/JLI2KidBqPpA5cR4qxNExASApG7I0c6/mn99rsb0v
fRlfGrvgLQm5HychOX1eyMZmyn/TFceZa46C4TD7Efsk4u1WWda/iaKKzqipQFhRvUAa1Bfejz0a
1qphVd662t1BeXBEZr2gKTtO8T7x16b/mjCR2oIzKVfVwutp/I+4RXZL48Aoe7T/ouInY5G764ar
PUBhtCZlvg60uu7Wzsywc/Yxlg9skwBO6PzV1v+yBOqIpLrDXm8wi6OYBm4L0RL73pYzHl4OotM8
LBI4aNzr8WHtDX3YN7iQ1pm7xIKK8+wZjyXQhFXk+LsYTQU/tksqYWQOSxzBqoTOAEGCohmxD0ef
41kXu1NvhUkh3xdo3jGDYMrOmAVMCaOtxvN/ED2BhWnaE91oeSyq6ZnBX81M1DiD3v2oy4n1dnuo
9Wm4V612VPql4drJO89ey1nAtlsu1673ydPtza2t99xv+vg1EsfQki9q5NPf5s3y6b2S0flqx2DS
ZOe2yJEF7Mos8S54fIaVjjNpS/H1Wkkl4NBOge3M75FlMFlwwmDo7UdXj9D2kX4xFKBAPTEcZ02c
NK+9ltpADrlgf5ySctULptSJwpIxUWJPWJsJ6InvhSO+w4GemuPqyCWAFtTqL3pfPRrCqM7FEO3p
zYsVI4Cb3qRfttmwGdPkgsV5wJ5QLz+tZNB5zJAqbKUfCT6s7qZiIXeFfxxjbta+25Laxve2iJF8
brjJamx1wFiwTO3pRbmePOBHIPGVKxEazKYzKPL6POKgdlJrY/f2xcFdAFyzYo7sPLcv2pJlhr1h
BF5dnEWPEkjrBz5q0bhtfZvt7gjyPHIBnxRZvk9zGSz/a7vsmjaecckw6W/mLEN7jEwFc7vxgDiM
wM9s/CQmwWb/GIAA25axNVJKcm0bNovKkaElIxPO08zOt0q2jFw0yF1NR3MSZgG92w497d2etX9l
Wm0rA6QnNxtifid3WSLEp8L7kKWWHNoO5Bcon5WhRdBBXRT2ZuxfUMPHLJZ5pxmJBoaDT0I4JZbP
QvDKeaJ8mK0hXgvPm6lg8XPXMcMIN2pounv07BgqzGAgXymc5XXCJ2WXogYt1r1VsOW3YbJIi7Sj
lO7JGMdt1PJLCoEFIdW1+dh0JvpSY+e5MnrwPNrFJqHESrnXf1m2eRujniZ3eABH3R5i0ztpS9UL
GH0OBizmK02quz8m+XburD1epP6a8NFKGybrg4TkHYn4oFv6v2lGXqPbw3rUhOSuWp8jIRkSEXEO
JRBtjlxnVfTjdE4IAw9kisX1vqlk+40chOFcygJrPlmWZx97rNReVN5133xbgNIEPFk6dx3Tcse1
vMZETJHix0Zolvp+6LLXzovEOxVghAcjvLeO0V9p49W59KnM8zZ7ZakrLpk3ekd/AQhZ6sm0669C
Yf8c2x9INTbSgO4GQ5hthwB7mURxdLb6dyPXtbMVNxeA0c4u7WK2CnXN4W1kW5FxBPsTLgx3xjKW
JUhnUrjr03s1sLyJO+KZUpS9G71my16a1aV8FFIu2bbDRrLTobMFO4Rqdt6Nk1FtBUFdnCvrOCJ4
pxuBMkDxPFV5+9dc4gJHT8ULSwnHJES/rSf85wTWSdcU3IMsrd0LD+cEqpKtv8QZDpb1VCfWLrFc
P2gIR/cZO9ZTZd9ySB1PXFuAY7v3VkPJnDMw1bcGSkmfiFKOfUMwurB1nU2goj/otR5hZDlyvi4h
qU1kswkFNQBy9zvrm9d68C/m8O3W4tphdo6mpnh3QLfRjin6V6sa2HM385cZMVmwkgCk0rQ25DAy
DhmOBgzhU2a/xtJJj3ZUOesG7ApBuBG+FiYi4F1zHKKAPCYYURPWGMmoyav1bdK123HiGBFT5G70
OH6w0/QJDLmzax2EniOGiFwy0HQJGIah1b45qos3vJzUnVlNVPOiba1PXRpbTyqCi7A4ayyRbgk5
+6dRyzk0deTWnju2Q7vKcG9V619VxEBYHybzlAzWfABownwYtA3UhQhUmWyfR2lRf8os3ambP5vl
YaiqD5WLra4r44qF2diIX9SlTW03gGfBqLThuAIFi6dpV3c4S6KiuWd+X71CqfyMNroJOJM2CAEs
Q+aonrkz9C+x62Mz5BNFn/3tRHCn5NJcxxyVsU6ajmPEFx3A+Vq6am0cycOiuZhAhDmYOCQ7flR4
yS2xKRzsloRrbt5/M8f9DJv0nulVGUwsI+CoNs86kzdEDiQr+/EhEuzYqAFoe0wDvIu/1ajYmcuM
RxYkTvvshgtUYMKmAAEAukyHJH/a2HKycK0DttCMLBit9tnJ/3qNsm7M1Xpklsmccx9EAHhRwrsj
nD3bZtIEXflTC98Oun6R0nCUFJR5GPk4zeyqYpuS18yBw3uq5OcY6S+l7TCCpPXNM/es4UeLAJo2
HfvSkUx1MPkZiEh2FJyNG7v7RLKCQxw1/kap4acH5rM1ivwVoe0I9ofLyxiyl5kUKCh56zDH5TnW
+b6p1ICXlYo5mvK97PNb6nhi29aL1ApZCYhn4pSztdnxCiXoVqiO60CU6UGBlyrsLsQd4zzXqt+w
3/+kEfkT9ZSwc+fIQBjTru0a0DcjvAmTvYUr7evYJeAkxjdr0Td2jf8ndKq/1iK2cInyXrXMQEQr
BkY7sCmof/5Vc/s0zCXGdMYrdQ5/Gh5OAiHwHzp9rIK9N6907o6u0IKKjaNjWXci0yrRJDvbokT3
6s8CbdUaklPNRTMV9Rc6+T9IVoN2AkUq+GVF+/+oO7PdxrF0S7/KQd4zDzdnNk7VhShqtCRLlqe4
IRwOm/M88+n7ozOrMsJRyOgG+qaBhJFhyaIobW7u/f9rfUtYpEv3aCQl6zpo4jntpG+i1HahrTeH
blhnhX8xzWHDs08Su45l5kUw0JRwcNHpHgr474waXYIbQePCF9IV5IztTNKwsipMKn1Hllshr7Do
3KBBwehMgwuNe0opDCJzhxJBbbL3tJ/LPg1SAUt99zr1WyffV/DmOpofK6MC7R3UtrbMeszelSS+
2TECWtlCm1+q07BMJrnfRogB7LcoveBL+BKrSU15Z5/3NGmtZIw2JUZBqkigwAY2BxprvEE2DoBv
O8SuZTXtIFnItHnI4cjiJy8xKDUxZS8A5LwPEhJeNe1jB0n71QzlJ43WC4IH7WQkETdvuuRRAMoU
WwqJ1Mo4rEHCLHLfQT9zCtTYKYv33NzAxQ5XoopfyWukpVy2SCkms3LtRi9pALLBtqDoUxwPnLFW
gaLH7IFbQCGSoaGvyMZ7OZb3HRrmicL8OrCxpClAWXzk3Yjqwm80vfbYQ7HIS7Lk9JL1WpJPBUAT
n5nf8BuWmmBf7gScjoL85LJq55KuZq6itGd9GjxWhnUhHmI1jVawVZrilKEw6XieY3p0SX2ABUZe
cgVGwRfu+wODcEIewh4dGmDPZBABRrPsByDC9Y0XMIOLSngrz9ZuRckiQ6m6vWITwmCF5WnCKrIK
e4RwNtZ6QyqWchcw/ZJIoybmi6yfUbXuUnN4HEPkfDnWi0VIa4W+eVmByEb7sQ7Mcun7EdBBAyoF
cmpglDGkv7kR1pqzN460RMWK9liOmyx6ZzrtaAe7esMYiNpeXQcaVtMsBK5VJ2zsVdzPbTAtdYLo
XY+NEDT+WQfXfa0B12Y4ZLiNe1/iDI+FiUZYIWFo1/lLtv+22zS8RaPDCuOp74nskwVQjg9Sy4dY
Ih0HMHRviwF/a15l9IByXtAaN00f35oJy8YOxcnQj0gSfZq2KLqXPraUm3FINma7KYRNHDN7qLqI
wSvFreyy0/ORQ4hnNKRYCMOmWcYJoVYBUTz73NNuDZRCYY8rqFHVb15BhQs/70EVnrTpJ/xnqpnK
S3PM+jNlrKbK9xYaQiNSvsX0cVvf31C1GRYmFcjtqEIupL+zs32hO6oZ6OwLcs5J3HlRcmwLFLMF
7z0TI2KiVv2iauV5bHvFzfCU3k7E/sHM2AaZOu2SSZddbYQ6h/u6EfK18PyW5XrQr8ahfCn9Ot2E
yAuNknHOsvqr6pFTIM9a/To70bItd1OYv9iAjHGnZ2srsN+wzT9N4E6jSH0dZXXcmCMsJcE46LvY
ogUwLYUxniulAx1GiSAv9Xhf6+nWO9ZyYp2Vftr3le4fdKxdLkZX4seLpN0XhX6BD11ftBnyM5oV
t8Opo0zeG/OWGXEBi86bXLdh/QhNW1kiU1xZyNm+yslakzAOZhkzCd6DdJ3rmr4eWKYUqeRMPhqW
CRzcqghmrzyLp/VQ4vi2rX5a9nWnLwtFstlP13tdycx1h4vZlRjuC1WaV0zabkbakeug7AH5ApvA
7Og0IZr8Ri7WQPXtBcLj7NjX+ADrHZ+b7UiSwuPUwhwWdUjsySRPU/2OWZ8OPD0OXavkbYZ6eWEZ
AnoeOK/Yo0+VZ+GuVNmCyQi+FhoM0DZQvlS8SbeTKeJKIhR7IaGzUqZYPxZomb2w6JYT60a+k2MQ
197eCOOHqB52URpTcEpBwgJ2IFojvCYWjcMhSr9CMlsNXbeOx/QSIlm3AmljJ9QiWn3IT1YJXckO
nN7g0oYxhZPa7scVkDWwwAM17EyD72IM73WiHaIKznaHbLDysnDtecm5z0HYyVwHSxFab8Ivbnot
UGFSk8St5i85eHDHolKNO4/mt4n6QWnEq+kpPcismHJIswpFYSIN7xR3aImu5ub7bsXZXTLRJavm
prrKUkcf7Ac7CL96OlE4qkBdZw9cFZkcke/ThihdmG+IbwBYFvFtQlynJ87UGEsCAyV7FQl9DUbC
DYEFwKa6SGeikA+1ytTGYhukSyVTlDYIdcKBedP7412vhbiEghfbR7M7xSlMzcANCExamyzgCbIz
lh6q28YQiPFHy9j1Ma7xWgwHOS/3kBJR56BPbWkZ/33wmPZTRBwRjaZpGeocREgI2Bzq/F2kHVWZ
TvpolGespq4243jU7OllRGm9wBZPrPqQHOXIsPf0qipXTMYLy4RuM3Lxn9mG3DWFyJ8aCaVSrFg0
pWeZFck3ew2+DHcTzChSQ/leKmSu8vBOryT5ApbWYE6u8oMqawCpiBLB7J8hI00pG4+xdpv51Guz
HGIQ9JYHPVJzOjlIswsEjIsgG06S1mZOLotyQ0erPhWm+0c2bNhgivKVjHaVNsZY11DElfZoHjy8
ke7ff3jqTxl3psya1wTxrSqaoX4OiFYZ2KhxJLRzWmnMwTqm6+WtvastmvWgfsD9yxBzpmo5FjWS
h0K1VxlSWhaY466KQZSoNPTQwvmrWArYiZGV5yhluKmqmMAMH6KRHGrbqCCcIxoomqo1QjWnzYti
WQJMOuttiWFaDGs71bS9mieEAPcmfdXUt6/WKC3R9Frnsh3KlQUg+xf5a0THf45fMymgyLKqKHOQ
paF9Gj1oFkG0qEh1SfPCUZMb4jb3gn3USMGjTtubeqFPXy+lJ19gmXmqkuCtrwfEQSHbdTkJS0pX
GdskCTCyi5p6ZG7KxmMMugUXkI+rqtXRplI7/IiQnuCLoVTdBUTObDDK1+fA4IdSg3/TchAjMek2
N6wsXtQq+1pX/RNQ5hkMWCvLoepLvLt0cloluu9tgaavIcctbYylLdftehpzcW0kYaxmeaLro2Ff
aCo3V7VQ8rsk8u/YtbP5o8hzowYyQCmmvkVoFv4OtlXCHgYYvwRR8Wj0C7MkpEPMf9j2sMyKKJG3
iP7nBBtMPEVcw7wDT5M2QI5Gr5FP1JOn7dDpLEbyrHdK9slzNHNH9wFy4NT61KgLFn+ppXyF+2uf
dGSuNpkIBy8YdynhD5tSkN2sq4ONEtj/kmvBu9J11mqwoGXVCSI7fya8Zwr55R+BrEmsxRCXO1Av
kiSw3QlxrGTWYhWEJvgqs19p8xHfWKoAUkeTCAKvbUOA/9bt4AHzAXmQHwOdBg4w168jkWDjypgZ
9AEMHPwG4ubjx5AZ4ia15cuYmMEzbw5Eecusqvb3Xl0Yyz6BBfQRsF7mnbfPmxcieY4KCqgNoV/h
mjaO/QJslSX5iFy1qJAjTPVKKbg4Xd9U5K8t6BJHK82DSkzrkS4QenilPtEht5Z9oO+Q0+l7UUwo
so06uw06BY1Pq301895kYU8vZpwbepTVv6njINZNJw/LDjrZeapeIabeMD5TQguy6aAofuHaJWIB
cIKg3vIyOKed/BjmYQzbBbxRMIsWqnnpTH8PuiWkzINloHuTBxqYtVpd46mcoZNFTR0S+jjYkPJZ
ZgqJo+FYDpV+N41IoWOJEEVKLgslkJV7o4Y5P6K5Xk4BzEVdneotRLPstu6ARhc4ipeVGclscjsd
5T6GQU/raa34fYwfoIxXH5Pff78O/8t/y2//iPKs//k//Ps1L8aKdVLz6Z//vOYp//3P/Df/fs6P
f/HPQ/hagRd8b/72Weu3/PiSvtWfn/TDK3P0P9/d8qV5+eEfc0pFM57bt2q8vNVt0ny8C85jfub/
6YP/9fbxKtexePvHb695mzXzq/lhnv3250Pbb//4DZ/Zd3eJ+fX/fHA+gX/8tq2rl7fk7ae/eHup
m3/8puq/G/NMaetEos4AIeJL+7ePR7TfFUTisgxyQzY1LPO//Rc3qSbgj9TfifrSFVPVVJMQzzpv
518r9u/wqg2IjSggPl71t3+d9Q/f3l/f5n9lbXpLkm5T/+O3OWP3u7hWRQdIZAldNrmXWQaNtx/X
AR0YozJOMxir8kkjZxDt+3cfw58H/P4AivqLI8xxpN+vNDwtkI2cewXZd67mDEvs24fRbb/UhhM6
z41j3eHGSq/JJjgoG/Wa3FtH8xeZp59u2D+d5af7lQZhIhkKzrJYmovyEDr5cvzFec5f1A+fpGHZ
IFY07ok23wq6nx/Pk81CahaYzZ1q2TvdqgenW2zFBm3Emu2LW7mqI6+IIXIzx/7F6X3+Ej8f+lMa
akg02+CVaO1G+klq/q1Or3//JYr5S/p+mHwcgaRVUOl45MU8fr//Elnlmz6kJ46wi7ZiiSLnVtuK
9bjCvbgAuLXw3OgX2bji88D5fMz5rL8bOOyC48rAlOkwIy6GJaGuTrN41RbPhQMb6BdHUz8tafAx
8PURQy1kU2dlp87v5rujdZGVDonEmm5ZLkbnS+uWiwP/JVvFUdxo+RX8+8J2is3k9qt43S0Gh9rW
4mVHnIHz3u4JKnHbxcPff+z/8VM3WJ4bpio0U56H9XfvCd0bCaiWTXGY3BKysohRpXiRXv7+KP/5
zP86yqeBiyoqzvqAsEaIotRX16U83zHBlm///jiKwtv9aRAZMDcU1s8qJeYfT6eCGBlaGgcC6O4+
WOsn+JoLWpEbIjfd1OkWt+2y32Jk3N2dfzWa/vNH+a9jC3mO+P7uo/STSO9tcjIdxThq8t7w93b6
8vfnJ/7+/IT86SKxfCRztJ1HBqy8nuc5deO7tGHd8uo74+YXR/sUSv7ngP3rjOZ3890Z1Q0w9bJl
wFrrcPGWOmJNF3RRb4pfTC7/8WtTyfNWuU/oFlHVPx4oqqsWnzMfXes+ddtguc3XqC7WtguBfIGL
bREuJa5HGAFOtegXv7gw/9Pcps4R2ZoACS2MT4MGnx31QMHRA/VB1C+T9IvRP9/GfxyVtlBVGjvE
0Fu6zq74x9PzxqiPrGAc+NZY+m1hDWGYopT0JD1IO0W7kdaYox3qaOv8F1+h8tO52dx5OapicUGY
nOSPhy51SBnpYFD1WRD7uvxCudxH7vaaHqnQ8yuYRYvFLRXPZNUqC+MJN5Tr/OrG9ct38XnmM+2y
TFTeRbfsXZIS3qXXHrHjqn54kh17IRaXi7oznooX79V4Unf2mm6Y+/eDWflpMH/6JD7N9SEqASur
eA+tW2ytcZFnbnrsXYrQTBBbf/HaLjGIkmnb3igrZfHtF4f/6cqdD69yayNOnI3t51XQxFZUFjml
cGrEa1BON97aWjeB+8VenEIX1ddO30WX4BJdxLu0JmvjF4P852vs0xv4NMqVKgZcSvvFAUy/7bbe
Orj11mLVPgRXY4dPx7GdelnfMArwG9KibZzwl7fAn1cwn97Epwt9KMDh6RGfAjFt62JrPokV38MX
NujOFTztEmtivap1FzjrLw/+0/xMGYpSimXZ7H9Z1366ChWz6TJLIamuGqAaGkFNGAUJh2YJIebv
v2xTngf09/chU+ZGb3KyzCo44D4fC1V7TNuWrrNuxx3MS9QxV+AH6N1IU0PfJs8hiWP+hfg/k+1X
Z0buCHoppL0mYAMMcQArMTEsiu1G2emEQFtG+hxF8WSsCXLhEkbWB//WnJ5bMTwgT4Yyn06xj2XV
zyYorK2SU30URSUAWva5yXugNEtH3HiOwqGUVgDwh2LjB1Nckq9CvBIFsXwmz1UAL4GqzFgvNTuE
ZBjd92OM19GsFSq5psa9tJ9A1hDO2X/x2oBB25OBgVMmutOmzKTsgLhooshHeWChBUJPaQAnZIQp
ylRhL9d92qG934WXJuyMr2Php7ieJEoOWN5q9d1EqWm4meUn4qvMjkciYgd7gVvVdX6xuo4WIVY6
f9rIqAvn0D8bZUfnjVRJhRIg2rHNNKHxTakLVVqJNoI+Sp1G9DJMHDGGTNx7HrTxTWGrCaILkX+p
VAk7bZPZ26wT4Ya8Dc2VvaTcyZAGLvwthpahEBt8plDJsgiRhW3UL4OptMumQ6FHfyzPcCLZM1W0
s5uBVxPQTEF5m8HCs+r4m42ViDZRX8aPnlF5b2YrD/ksN5SWtU4qHlY1wisXQzxHqiETzQj8ys3k
rsvb2FV77T5Www5mAZBkrRHeTSH3PZYoKX3svFZfBbFnuew502vVUVWEuZ6/p2Zn+pjeEp8gSORu
MelydOPwtq3aRtlVAVWbSMm/IIvhkiMcljJze/YF1FqM5JqTDzCxE5KMDc80DqHn4SnK+wjB5Myr
mrB9aAVRDYENpi1p++d6optJvNEhCdJnQ9PHtT1HVGQ+HPOwwoogI3pOrQEzTlhXS62DWVqP8jqF
/TA7kpxo4pWqWJKJpVPRjeBzkHAbd+lYkG9UB9m+jDoaASk7XLinGJkvpTeWt7ZvG4CLPLyralXd
J1FtIAa2JWD2ZtNsE3SmLt7r6r7zdDwOSJVpe6GrqudcLa/XdZLi5JZoXAzR0qCD+cmwyYZaZmzz
VtEh+hbpLu3hJBujSmE06VVGXM4FGxLzNzVdDji9h30ZlSQTWx6ZBZNOEE1DdYuGWL5VSZvG5qCM
Z5OqmTOkEq6qelAPNH5qt6xQvjSEGTsf1F+TeKEzeT7+BnI6uFYZdWYPOYLZsYzXbReKnddapash
ElvQk8AGGE7qQhlqHy+CJIJ7rwU4vKilrLsbkhHJGt2PfWPgJ2qFKJaIbMZjHmFNs6EKnPWJ72Rp
lUFyqlvN7xy4QihaSgx2dB2ZVAA5yOu20TPTGbIMYUco5L0nx9V9oyJdIXysebO49NC5+R6SZT0s
jZuuDhtiiStt7Q2xvaHF1W0RzliPQW1KT3VcKBedRxjaUnDMyz5BiYf5AYYsvhsjkvJlHOkMX61o
WpuENSi45iANx8lPiF5L/PjIfgocwWiG2rfM1/D5kDU0Op1cx69MaPBgCLAmmFY0OkkV2oiYrzRX
sJUD1PDwq+7DySBb3miSlVlr/S28TpYhknFMbcISKr/xHuXKOmY5sLEAk/TbgFYKNDoC8IVhTcvU
6h1Tf5PtlxzduwlLsqfbbKsLFfm8IPisyC4llto6JzEsWAyB9cA2erhpxk3anTyzcirv2Pbb0R+X
0OUJ6rr6XC3Q7M3oVQw1jm3gBAg7xEYe7oP0aFhbGY9H8dzlp1F9aevoDN/lNJF4v9BHC3WNQQnv
fTJwFoRQawioXRXWDQR0sloo3Y3hRjbGGy+66TRzMc3Yc+bDsTwwyEBko2B/J5tRp2G0EAWo+uod
i+FtkNxM9l3lbWk8ps0yQdeR06dbgxlCZDen0zSk8xIhtCQXRfI2gtuKUq2msl8STXHu9WotGGnm
APKHuyHuUr8dXEixsVuPUnO2m5VSrgP/ipI53TP9CYZ472NmjrBu2s2yx9TklekqbLP7sYG82Fe0
kHBmB307R1IEe2vAtR9pVyoU2Npy6BzdcKTXeh4y3Z1QAaPcf+qalykHAmnsCX7PoBwXPWa4PN+3
5qaaXUVns4TT7L/11lugvUiIhyZuSZYfAzgWG614KwfzRE4l59kumL/kxaDiyomhWBIqiQiPYdug
uMrtdyZUjH0jBIaZd3fpcoUIrYPW7tLxnVrRrZqFpwTVkVRsdMFeR33N2gbDChAXJ8VfooWM/pyl
qr9vk8Hp4hc2Y1isOydU5p7yXUm+66S5U7Ctm4tWEz99qjGYYMe0Ni0TG3try/5q4RWPzXMqPzYJ
6phNV/izQgr+28vQvEYz/cY6Br19wcYNiKJemxEudFDU+NJwTVTpXreamBuGtZ9A25riBUcLJ3SU
zNcYm4ccPMnI103/a9M9lMY3bBGbJLnoKiuUIFwD4m+JIE2Z9iF4XyaAYDa8GJzBRBhfqQ0vyVN2
Fe1VjrdK3a2Bf9LmWnndUfjPhgwXdA46fSOIk68FeUvkcT+t7nquI1r1oKvK9jCorgj7I6XiQ4Cn
ioUf2ZRfKMPj/FSO0KYeUbPr0B/wB2JaKvtbE0933/hH0p1gQu1z4wz9rk4KzXLshmiTOGhxnYno
YKBqHMyzQjs/s4ylUUBFhvH7ZNV3cnjvU39DAQ8SExkrrLwQXzy0a5Iwj2F0k+RPPoGS1SaM3or0
FQ+Ro2C5pDlgl7cZzMAwo9WLvifAciFAKY6nhNQSRYtOVdLfTVazavz8UA/VfQyyvSqDg41Qw611
DCx9BexAwwSoa3fCTlfmUB2GMbkUU30fF/bR9sQ9kfQDA8a6Dwz5Niv6J13rbnxEaT1RnVOBYiCh
Q1osWMUSEZpEYkFvvXDCxnyScwMsdI0e3yqiM0xu1wxSAjmtx6YEcCNQkU/KKqItENG1T/zC0VSN
5UuJKNWK4w367hO6o8ew0pcC1BHz4fSWqOLBb638RrIN5Jd1NmCytkhmqdCMOpncWP6DWUXgnOoR
ZTosb8jC5UjOuu3J0pmMPGZhKPIq03obIGaXSEpe8U+ULknREDSgoBE3obgQfU3QYq14a8SgxBoJ
tdjaLFzDe1rPurKqKu/REy3Ba7LA9YTRMgJYqssoxMLe/+oV+DnxbU8soEVIHOttRx5V77RGgQyi
gom4leIufYlEiQCMhrBg0u3y/lqOkkKIppKRe+IOOWQHot3RDyKU8hXkz0KK1QiCrYW2dYipFziR
HtoX4h6zdINOXQ8Y1sOcaNXm3IAwwcqyiYsD2gnSICzqkxOwMkfWmXYpzmeri9yItIX4j63i/+v+
y/9PnRWFQtl//6uH8XNnpXopf2irzE//o62iWb8bgvxVk/rNHxv4f7dVrN9tQV2HzbwhdMryFBT+
1VYxf1dNS9ZkMhJpEX5sD/9qrfB0vhvV1m2wjbb2f9NaUc3PRWXVoNejW+xbTZNyoCo+7aiTVMMW
5skZS83WQcXsMVqHlTSZ+mGyWiSazCYQWNNm3HqaNBwwPZx7VvWuUWnxtcgDc1ELa0/WTH7qPNgf
shqpW19X9FslstdJokP1ViLP7Wn/I8L2si2uglnLIZcXG+XTogKx9q3q2NXGyZsWs2oROAurxjJu
tMFs1pHuaduJXKtT7csGd7dWu2vG/JSwBJ3Qf2Hzr9y2YxaqhREc/emE00kQYUY2lE1MCw19zy1y
tHxKAxnMFiyETDZCIlSxCMWQYDK8s2e9VkPSyiD6yC1sHAH8556whxfJtKNvXdoeJiHrj0lFE7hM
jLXMfQ33UuNfhBT4F1UTGlFDjUZAWh0f6ny8hw8D8yAjrqcqK/Wlq7cx+tgvyPMIs04y8umjimAh
PUErkdwRmqfsW0VL11bn07KwuvRczg8a1TcRCMWJq1bbKUYug5WkA+zb4xKcnvEMjs9faxBw1MxD
fsCwcmNvbvCmQKULfHc3KTe6zLBwZUuqcO0kJySiIpqtIM71mHpdcSxpXVNaXQ2VX94Gk165Xoxf
4YPFa/jtxc+bZkNLEHzrv39EgdLsOoGKBittSS6oRR43b30DvrbeZYh7UN/OISkynCXMAGCYi3mR
lbTbmFApolNnE4zf2ess7QVG/PibEk495hgM++wcwq0SlsP543eep7wDcmxID5BZO1iRa49iOA95
eQe1ZHCyFv+9zstcyjQn98uOko1kzPjthEVij3YT+ElbHX0ZEatPiiANVpTwYRPcJLZ2ozDgNtJQ
ly4wFECi6ZjeqP1kOX2OPScxU+/48YPA9mqZGWxpSRIkldsPm2tpGd5FHl4tIMlXQm5wdZnjnSBP
MuhV5QwMCOS5Jx3tsTZOgVa0KzvH6ABCxj70qkonJyO3wgeGeRgj09wBNVxlYG32hIz9+cOrfa6X
EVVCmGB97tLwwIpm2tZKqRx1tJlZ8VhpjYK+HYQH+H4yMRBk7ccwvWMakdZqGIplSh4gkSjDuIU5
RB5RQSiRz9Z8ZflQLQfc9VmrhoeAgAuCOdAxl31Qc7VhJfXFSN5ZSn+wG9ITQEiaix476zbZ+OWE
EKCWVgU4m0LRXCGhfB/rAq+q1SRrQ+MuiBK2WxrSo24TfmYHGi80sW9S6tzBB7HPtRyhYVTc0MLT
9rIpRfuukuAkB/YSFk1w46WNuq/6qsNv3sd3kI5wr8qvnRF5AGf5Y6vFyDhUY070q41h32JDNCT2
Gd1xtBS+wnI9IgC4maNAMUuTeRg66OJxjgfiDkNkarEKqJWILW6YRvvQsF6N5LWTo+GmN5oKcBSx
gTYAqr7ENWzCgUNcV6WHJDwFXmXfEjSyDUb0XECP2GkP8koR6je5AlpK5Wc5qBVRuBoABD8HEkks
ixaG5ZJABpAOGJeqXfHxv2j/c9lpmxgDXqexkfvroTDXK+SvPNW3i34TV8Xyr199/B4/XLX7+N0f
Lza2Oj7r1ojwtBT57uOHsPIOFSq0SNUOi12lDPnOLyGmfvxfC92PioaiPQjFtF2RyMVOn5/XsSpK
WHmfOwaw05PJtdMJsiSPRyl3AZ5LtrT//vfHw4qBIohlPU/6eOTjBwnUuitL9tOUds+eh3Xmr8c+
ntpOz2qXE3A1TuO6MzTprlSCFioIYaxsbP1r4LX2nQIQqwBW3KIuHboBjEXNPUNXG7Hjo/Wvap4W
61H22zkByb9O+vtk2/qB6ukBlX87mHdhr4BzKrKDL7Tg9PGvSbJJyVTWOWmqa7/QNXAtjbfUi2DO
NaK9UvTia+0Xu6QhMXJEK+jAnSJ9y5IuvpSkqyqDoBhEJL4EBeV5cmgkoMRrFR7PUa5wbEfhVWsj
ad2hSXLLjpUyLH+sJPWDXIzmhuSkN9CwfK1ZTMMsaNa6SEqSZMi8GeZNIDyTutI8RzapHIghz+/Z
WhiGSuA6ZRFU3Qvw6Sru+WCJgPge/ew1jaT7HnhXW8NyN2vptqqmEwsBKvStmxXpofVmnHnfUIvC
ZYB/oaJqU5tEceFqPmRKMy7MfIk2BH87AnIC2d7UprwIIda9pG/qcBbJUTR2ku4hpkEHNa38ygV+
HxvU5IRxxcV9bCbr2mKxGWKco/SR91k+ni1d2xkKphaEdngKuks4wP4mljuvjkrLXUpWKXViK7N0
+WmIxEFh62WGp1aujxOuAjt6MuS6Q1Ern5KmOovOPPvghYqAxn9d7Oqh2Uhmxsba3JOx8BTi/2dN
3r0Z84IlH5dGlwOjFNI3lar4wi7SWwQwexSMTXPVlcnFYLNuI/2LmBEehG6+NZw8kfRNrbB1T+8M
tZ2peYBcpmWctqt20s9JJ238bLjtjOySBMTv5l/rULrOL4MY470Bol5EfFGNp7pRaFCEF2wAy6g4
2VpBucubpbZUXYz2ouY7XJobkRPmGJVbvFrXRErXCUJmKpzMBIM77CMt2Uwa34tCGQ+i/aNWWmcY
Wiz5owURDptB7i+Yvc9A2rJoePEUeL1B3t2m2pUEMMRw0ng1JvXVL4urPIFKaHGV9GgI/e4hyTQi
SpUjaVbvBG2wpLnUaBIbrBWhCbNN7QFEcZX15PgZ3xrFDeTBhZF2p/uoHcsqwUSHWp+95ikM/Z0c
0RPKG+trK/rnSR0vJs+iuM1WcrwC8Dt1Q3CgRnnyUaqisLf06XZSBbEi8qbwpa99WN8apAiE/WIq
hi9eb+5MiBArrwzf/Bq7kU8FRdd4kkH4cpI+Rdz4opbKVyuzRacSHNYEiapkgyr2+D4U/crouA0k
AyBTRRqeGnLQkoISIGGcKOHwZxuh7Ha28pzxCcqZ8hjKw6NEaaseCM4ZwtZcqGgcddU+jQgqu3LT
pqoDDcNpUQ/WI5cWKbrbXMvejCZfiDh974T0pJSa5tgq39iAX7oH09KhofW99DnMzcfY32hgfCVa
Pb7HnUktseNFJqp/yNROlpX3fV9vQCl9gWjuz9ZRHI+BcZtNyUPaGw9gZsiZRthrTL5jWSYmDO2k
YFyiqAQkNzMgwErFuSopFhlqsPGApDRqkFGnINCBhFJ/UYyNRcHWQePIuWbgugasFjSMcMctArO/
U+ri1CbjzpKDV8Jc3owofB79nSfp9/D578egBTEqh5dYthlJZgwTQNnCH0aROie+cMk/a2kOyWJM
btKIteuElDSWJOr2wVLPy/spVp6USHnuTHtNSuF73g3EQvrVSxeVX3udES9PCLW8znfsgFhLGcRJ
b8ZfchQqq3qybygZXUSD5z0nhCpCLDvoBhCXes6/RZsKZfDYz6hB305fLYLWQxwsETFd/ALph8Ge
OhDDQtMTjTzd+DDo5UUpfSoghFqxgiVMdkSvybAT5NdcqdQ6oOha+Ji0PtMwbqiPkQ7tB/djrt4Z
DVMnuh1y+ADPjQl9gTybbuQ6f2RzwLQWtiW0VOziaf1ayuDaJMLNNSomHoJr9vKAb1gO3Ci6hCtB
6Zfsiu6qR58gscWgJDCfDISXuNtdyxi4j1AT8hTwx4b/LbK9wzBYMuG3xuAUVmeAzA/2IctO2NZv
YUA066SUjxM+2ygq3ApIkZ89y5X9JId8AmNuwykqGGyQUJOwvSXK0190Mrs1uxZviuWtNSog82uV
qXdPGCQ3/SS4l2xuEDGfe9hBkszES4Pa1wkU5aRK4SbDTe00ffHaquPbVOCGzqzjFAb3/pi1S6OJ
L2Pjr1P2CFUl3uyxvQyjViFn5U6k5m7aBjPw6ao1xjM2vvuJwA9WZ5rbWERt5P57OjsytbY8hsHw
VlAkosXhXfOycGyNbM6kLiEoh49RuA3Jjmit4L6flLcuUi6N1C6tkFJ7T8D4KPR7A6JaGuiXgS6m
Q4bBax+wiquyaD9Z/tpryiOewteqit4M2bgtnwJf21iDvFED1ppWlZw8Q7vpMZiLpF3Tv3qqA27j
WvVs0sCbJ/pFoETaIv/fXJ3XdtvAsm2/CGMgh1fmHEWlFwxJthEbQCMDX38m6Luv9zkPlkWKhEiK
RHdVrTWXFeKYJyEbXob/OdLSTV/HqNkEGOBH57eqaZ+MhMqZjN5VTLKzng8LUUgvYajxMjjEVmkH
J1QfkRbf3XhcKGVKIJn7lsTxr06GN7hDv8ZV3Zk3DxJjwQBsZo0kZ5MIzGSijAE2AZrw0azVRTHD
Gr9FpH6wLGBb4+Qhk7d0HLGFD/0vmr3zwuhzBP/4nx31K4l++HwIjIhYe3Fszfy4+pk5Kitb49jX
pqmIU86+FTVs5mA3NKxF0e8pS2nasPAZHAb7xPzomFvdJ4giwCRQ8ukT/pFFfVEHyPyltzAs5a4V
9e+SOJ9ZZBXfQXLNqJGpJvi0Ufk+CpA5Yxh/oWP5SgedeDr45PUXv/DURemx6+yj0Ik6LoIf3yle
suSgCu3aYDcG6cbccqxZWRQr4o9iw+wCxsQkC2s564UtaMG1cfJOPdUa5h/f01+NFs9wqO8JWsxn
00uNEPqQxPW1TsPNgHVdb8IXZr/HIkoOpm8uyRnb6hK4+PR2lvQqIthmxsnDY1Um1Ya1sRfbPs9Q
m5sH8rXPqMShiLcXe3iMPcyE6YBGzqDaKK2HqX2aplyT/XuJjWFrK/1Gp0rFGfhTYcwCAjILe0JM
hl5dt52EN5XvWpMGqN9Kh2CIKXwxaI+O91Ir3coV1UVAVND6P0J3v0n/PA49iSssNbO4cU+uQrGC
C83g/BGM0W86Px+scQGnQYWsR1FArC6OkO42Vd0PROrQ0makC3rCVT4GM19ZiXLQR3KPWu135gcs
rTbE2VA4a1ClUEQCuY9FvHHG8K3uBYlpCkibYSCsM8UwRxaPP6rXuixfMq08Zx5ja4TlbP4M9WaN
/TvG6QbWU43fbhG17jVNGOSQfUKT4Dd0jGyibriAY4b7WLs+mDqdCGxQQxhQre++Th95xfzfUa+t
IcAllPEH60vBTZZdTdo56qx14w7JpsiDpUWO57ZWXBISW1b48ZbVzaMtzRc/f9aBwD52fTDWh3QI
wNboUfBWDaWxzsLg2JEEwVy3BMMlxS/INoNjLoohFIsAETy7aqylrHvrNDB5wzHzmUkoKctwEEcc
ByTPWs2bFurvZoi1OSJbTG0PukEAlEhXWQKGULfTZWBgqq3NXGxMVxxVM36nN1m+l51uLJz+M9ZT
Y2WVxsEJGKf7Q/UdDuMmwIJBFPHJiMJwP6jMuxRlPNMFmFu1djJJil7Hpn1uCT9kG86+pB1A4Xu+
N7xombjUnRsfRZepfFCbVwClxavXZgc7tR9NIrTPqMC/ptjyMDVQkqafO3Y0LPHzi8WQVTZrNFCq
saS5oE22IxqgJwH4aqEWDKxyJ1EJdyNjNCAebkbKkDojmFDc2rTepzi0vvLkh36jYIrQWxs7pWpl
JPxa2OnclQyZ2hBkOax+b+4qnzG+TxqYzLH5GVUV6JXW1IgxImQrjtBGbyvpVGsEFtme5gUBx5OP
caUxL5vBwaWhn15qYEhlTM9MCSKVNlIqliMajnnY9qugTIYV9I+rhLGR5Bo5ZbBuEGoNhC318moP
PorSCjKQMT1VEltnHRP8WWuKCIo6shCSKjZqKc+pX0PdcPJPrQBSETHUG7M8XUV9xJw2lTnzdiVY
SEZ7RMTPU9hnFU2tyDLK7UTXK+KsWVV2vtSVCnCGmS+0Fki6TWJ5GAn4hCbJzUPfFrj/ifKy2Abp
lfFSNpp+yBVT3YjAAQrcWzvLetUVjfk96InICm5lSsQ8RshD7kKNGGKwyBAVIcXGQ7HD6bIkBdFY
BITqqVZTbat3cGM2PiHldxu1C1pn7BV97VRnRUJt1h98JbnVmpPstRQlmT59HFINCERNh4CBC4kA
eQBLoEkuVVX8IZkZIqHtWqtEVCc9S7B/a94PTSQaTXH1K4kZ/MRUBCS5qdBg4k8ZEmnX4RyfBSYO
9qRLj4plq4suLse5Zfh/KBaHqQVz88wMd7LtB2uorL8LTfwxPV64Ruy8slMXw5eOSn8Fx8iarHFv
XkJeiln5ywrU7zLSSh2DOV2qVvfDGVEgIXumdtfFUX5wNYb1ZRsuYKnQwACZx77IW1lNCDKlzhOI
LheTaQD6uYATV+Flaz/Ew5xk1dnT2sNkxGKT070TMA89DgjFyDbGy8SvwITPlYzFH1tWW1OdgBLk
DtG67G91M/LWEyfGqAPKKP93lMoJapswmLK2RY5ywzPaX5nmfagu4bymV3LKqfLrkIQFAAZ5EUD/
0JxdIl7VnW3GzSQw+3AL6uI3iP6AWPQKo1Zcm3Pen5YZEUov64sVtcGqHphWaQKhQK77X6bOnqWO
RoQGRlJQUpAACi5r7wTdI+nzNZzv5C3Xhz1jKUmYSW+x38JxLJ1hFQT8AQP5IwPsr1U4BjtDIYid
6HpkHuHci9IRDmdXLozmHrBlOMpxDU/rFqfD7wRqpqo5i7E3kEPpFZwHv70FyNDWkOCgG5LZMLNQ
WmsZ7kSUO+PKmtRNiZZMrZZu6wUWSk+cLjMrza4ZQcSiPBgVgcIWW2lPLXdOF37gYkV1qCuYiLUc
1ZGjyqUGlaIpileEckyGzcGahQOkN621xYo9+6uqKeAjVunQixP/u9BryFQnOR4n+FdZNfes6WGF
dGyqPUGN0HlpsRo1bKzVqJ/jRn9DbMUiPI5TnXoG+sakn+cKTqFjVDwG+pTx3dxKp7wWLTPXKalR
Z9FSkv63gR258bpNbnTHQLzLoX/H1J4gsJDDghIib8OLV7jI5YbXythN4JzYl9Oze6uFHy+SvrEW
iqzfRQfCzjFbthU4BhcoKGeOXuZrwK94wV2x8nroSEqAbdRtHn1dZmutYpuXR/XVRkyEOqmzt1Ps
xRjrnE0WDltlTslsr1QCFRH4zD3ga4Xq/qmyG3XlMWvJmRyaLcDzI6vEJrXMFSbTBckooe4sSI3c
G5a2dWO0S7Fz1uIe436x1eG2GfaQz2p33ZScCGrf+zOkCs1QWNuVeizTFcK1TyXz/zAo+ekUAjw4
/+3Htj6aSXdJumOZGzcSizC1BqcIUdH0vXAAlLTGxvIMEircdVqUZ8/vkCrU4sb+CP3ULBZAQ6Tc
IB/fS8V6Ja1y37D/avypMMY8aH0rKYyTMXVOdWWvksjfRIlxDD3qOGYJOnMIO1SnVuNMShQahnFm
Y3+YHpoDBy3i+VmJcTHT4qQBDZCFdaW3OYv5QNYxTCINHnsTcXLwUwBWcHg/FfievnGlj8Ego9rY
ofmmRjaNVNSMji+Jy6ouErkvMWSryqgebKzZUSxDhbAo07rTffsZXW+t91d4e7Mq8Lady/BkehVG
RWLxRaTiIieprC3SC88pPjJL0KaBKOpkzKNgzwsiRGaaWUF4m/AwLlvtDHRYPhibpE/X9NFZYe1L
ZyefJFFfO7e9xCbn2NZ5ozW08nXrKBv/ZLO9GodfY9DeTIP1tImRbOnn6ddVSoqSYrggG1txdjrZ
+Q3txK1t+KBGPCESQClQofXS7D3ZOMsUtkhKr/4UhFfMULUN2GLb76b4MvPoQ+D6HtpBY5xVwKgH
yE8+amJvjXaUc938cKpIIIAQy2iAZlfbyspxtvZYfopK3foJ2HaRrM0e0WPmZ8eyp0HhF/08HhR3
EWktMS0jUoYnA8byYB/yWhDDNvc0FjICHwMibakSxyPOyimISx3tbY/MJBoWLRW54GUDuLc2CTZo
zS3ijFc8nhuWkpfulVHhVjWAHfOGyiXy7Ua7gDx/SLXZlmhVhb3og/6Ym9o0slzaOgnIVnByyuhz
9Jqb3XXr3ow3uT2Ls35PTtvZLcefPlMuquuc1DHfS/eiCuNkRd0HFdyyBQFMK/zYJrzTQ/FZRsMp
dIjBtMJsYaLLsSYdkSnHhCAJeSZR/MLAe49SpzX6vS6zT8jtL4lOySHhtzUNGP46QyUXt6ciak+0
OHcObI4q40VqzSO0j0uQdCfgEJTSYXrhbL0OMrBRSaAcAju+C0Txo36Ineyq24hfNJvcKmNEfYrB
2ihvpQvdGPULvQlTW+gQFwEswBEyrb0w4bsBwTaT+KcdnLNPUuFoJQiJjGUfmFfRuS+4GOmlA3jq
jfBMbtI8Fag2S4m9v4A2qx2tvPsJDXnSKLE5/f94Q7lJPOcjseR7qmmHlMcU8oYrAgLrm/hSFZTh
XvuNMI8ztTrL7XThxf3Ex95UMr2xITbM8ZzxYEtWY3zmvgu1oWiOqR5vtD7c8IF8cV3/lBCx5AT7
oGdOT0S2pdeffjTuopBcpbJZ4Mz1wvCjTBnK0pTmo7UYVOc17tT99DhsTq02e0hVEnYswEV3K0yi
Oy3N/jg2HzHDO9TKB6b1M/TiQze+c+I9aV7wKB3tmmsDwTK0qTP5Gww/C4invbTZ+Arshh4QVME6
2usdwkUnuNs2Swa4wpfeb9996OGW/tH0MBq8Sfic1fHa9ZQfnmiNPpupgbKvvHCnDcU2LMQBTtTg
jmuzLe6m05mgefOfxu2JUUkZyVXf0+3wue97LSd1BJGTuRNS0RkhQHRPhmIjYkbFzW50eK/k8avb
OW9q4F4qEmSHNjo4dProirpBvYSBvU2geE+vYtKBJiostrTVvFSoCEtrPRCI0aYvWqKspkeoNgbY
DOVMYf3GVmnheNHBLewNZTHYuyq1FkFNxSPqc9x3m0r0ZCvpWx1cv+We0sZ5MS1779TRCvnOV+hg
7c+j4t4qyQX2OYoidetZOFNLpGaaffdCGP+1Ri4gyWTVohzIto2T+LvVugvp0gebDAE84DSotHoW
5T0TwVLxlq6SAvol/oOkSW+Oan3lhPqfwGfvkqvmH7WJw2PgWvUmlW99C7WmKLHbp3KYaxi9Vaee
m2W0Q4MW7zQXJ3wzUVUMbe0LjWopyH9qIOFzsrwMgOp005SMnBhzXbWR3KIegQufdp9ZB1lRThHA
dhRfAAZOHTG3nFm1KMlArq6KXiQPsuLcSe2MyLzlu5FCYpul7AaZFB79+JLqzbDMUyH3RVN8wLp5
rSTb+J5iYK1lU1gMrd8h0nej7xJEJrOjj/Ksd2AOSFaJua7n6RrDIYKYouL8kHvAxCsYjbn33o2c
uZ3KXdYifKv64FbToB5tQ13ApUWxG/Q07fO3ig3hInHoK8AbWyLRIqG644uldSxwdrSL7LSH/Jn/
FNpLEtnW0qgKk/CH5u6Sr+P7vjofurRhzJL/+D7yx1gGc2XkBREyj4nRmZvMIijP0WCOdZLNol70
aDUDKKy5psziBGBuS34n2htE1wNaUpiIROcEh2qg0dgDjlsRFJfNofPQCRxKhgFNsY2ydDgk4D4R
ujOB7rS3jhn8IRJUw+z6eUEOweiQdmJs8lFRNgad6dICB++M+TJVxUvsdek6/Ymlx2lVid5z0IWg
xkzavEXF1rQovLXTjRvcIONeT345pvUTDzXBTOzE18kY1iuGquQC5AwdgErORQw8LNSahSxY9kAU
5iXsCc1nP80YBeSqmBp+n+nINAi+EE4YYh8QOlxCHRWI4X0ISDIYA6o3qLKSasEAYEwJErcZOVcu
cyTFJTy03Wt1dyt99idFZzA/K8Y7xRodceFGm04PeF9U8WslQHPWjRIuBpPtTuMrC9SDpwBirz1l
VQ8RQKI4Lxc6tMRDMxZLgTNnMeQse4VRLYlmI/WBmGDCeyIY2UUBKI1A62UXE68OZCXxIGg0mbPU
PGSlumKzQVGeIU+JtlT06H3ahShmJG+d6v/OyhFU4KgzQXLUZVXB5eypFxreqrsRiwpTiArsUTbw
8jFItZtXgpKA5WveCfXLms3BH6NodgQNGbsU1MLCJyKLx0MUYmqTU1/qa8FApWBfofbGT08vlGFC
S6TssKxR1yzSiQZF+OALWvpbTk1IT6GGVtH/igQRqLVLm23MfLL9VAqLRB7o8XoHmfevqDzxnNLC
PoKAM7ZJWr+1loc2iYqktGn4k7Fw9ol6P7QE22dxJjfC9+p5bFNqRGRG+xzgXMFvgYa+zs3kHgbw
i6zykISlso3G8VIGzEt9J4RzGL8R5LRrGsWAXJfnhMXdKMtwralk4HQGRDbfdNCrcF6YpX6i0qcQ
+abW/YLCvr27/nhXtAbhkVY3S3x6wy4qyj9uCJTNLRly9/6mYmRTdK36I3NwGal1JTXAZwkHxWhb
ycqIlLdCr7Ml76rfpTBfg4HNZ+B7q7hwwnOr6vvACIdV4ckvhdk44+/3LjT7JcFeK1Ox0KBrgLHM
KXk6N0k2U7Zj0qsvHQp06WsfgVvdrAK1bN/F2gJhuFpRAXlx+eVHvxs3ueW+86doYkZKptot4MXN
Y7gfJ3esTh3JPYYoibi3qeOVilFYrHkOYgQUKrXkHIMt5uYaLRqKGH43SzsANZgmwrn51IRrpy12
fjFgQTeYOcoUDF0i6H77zTlyrYMOf41RmYNL1Ga8CpoWlR4Dpt4K7V3TBr8clE1D1f1oBDBeXCf+
7Mk8w5pG4qURmIu0V9YMzRP2qEulKmi5R9G2p1KbN1VxR14JjknCENSSEYVso5iX0kLghgxj3zfa
H7PqjwTBVLuBTWGils2pF+EsgDmxBeprU4KyXy+i/COr4mIOp/lR4rCJsBUo4giQfevqpJMn447s
rjlGh10UmdWrUsQHAtIgc8nhXRQRrovUW1Ym7bCsB7VkRl+FCDD2CPvLojr3kmRbojggt8hkL4xq
wjCCdSoDKNHSP4UG7+mo87XV8Kpa1i3okRqIvk5oRqbks4XNVRg1+xXDIbg41EsoVNk2AG/HoLf7
IwxeMRBllyR9YwFI1pJ7rSF7knTXOCfqeKTTmERaVCX8j5gsDrDjgZ1PFQJZaTfPNGZ3c4+p/TYw
DUDTxY/HROSg6faX0A2DGjF9qMQSLrKRvIwsBCPOM124mZ1fSlam5ze8g5i7qoW7rhyNwHIb5WQG
eT6IMIJbbHbhDbrRAvvVyelr3idlA5KmBkNehOzg7D7cS8FHJoevs0Dtfw2NEqceHUVBdtQmb4Lv
Mm+UpWtEKO29XyN/EZDyqVqZVwtBEoMS9tnsvlqNHngbYhIIBiZwIcg9XhEOozwGnywrNzPLFRPB
dD6G3a7RMU+hi2afSRTj3KWOINS3fpjuuSvFK1JYNk057e/CIVU0maju1F97kvsedaGC+AzkoRZo
+OnH3V1F/EZBi6etH6K9l7sPZcSim0TaI09YB10oTMm7PY6E5BCKN3Na3dl7nn9AxR2sssC/0kWB
3oMIz48eVt/8NslVnKMJRSKilOfR9ee+X2cvvv6T4A2lXJZ7PBsagI0xsjj/W8U7a/e2dmJnpQ9N
A/1cYxbV9JseuzfWs4ZguUZf2h6+SOZn76phqFu9CELaarAVU0Os3wCT3b08Q+JFkSb9/GAN3V3T
yBnqLY7kt7xBc19f0o1FVhDxiWs5ae5Dr77SGtD2jsKgOSN2aAongq9eVe+5ZdcbprYmzbKAdxXA
k6FTCNEiD8Cj/valmmwqO6MeYEgJPbj1UFwUxHhQBapL9pyfWRsdaSCVe7T1N0uvsB4Rqr3oPZh5
0ntVdX6VXjAE4Q8FzLNq3omMJnsyyetFVNmIK/BStAMBVak3nHFWfocFxapUS3i7jlw6tLdpYaNw
9ApJ40tpD1aD5a20Cnarkrj3Pj2aBb48JVT2Ncl9OBIOFo5ORwmUbWdRRubVcDDj4Ef1aXepdpOv
gJcyyUEz4mfNSTikjA1JQqMUiStJRT6rA9vXnvLXkmFwChGLMpV7oJmyl1Zk3LSOfFaLk1eeQD3u
/4DBX+dRNW7bqv0mpz2bpZJPlZPr/cJ2iCPr9qbQ7wGhQWQxOBuwk7BHQdHGxQAqGdr6CGhwPmSO
wRMuVmUTf4AWCRaxD0iSgK2qJkiDdw8ox5ZkXnozqjmudC8Uc6Nfuipn+LiXFasmPjWdzWNYxM6S
9KqT2mbrXqcpGGiXwFDIztXpS+Z6/NlV7kYjj2Gm9o2yH6W3tpE4LOsh/rbQli26kZ1J4vVb/z3i
fDXDbu7gWyTE0iIzhtS5fsOO/aKoMEfFGC5E6akrywNvnYagp0vo+JXKs6+taIMxmBBwTV9SHjWL
JAvblRQdBY95C838lCLDWxBLPmQrBUXcvGgGPB8d7+wO4G3fAlc2eKF0/QBnr9jUOS9Ab/cUkEa3
loP2U7rR3ZyMfHWLnm/w/3R5gjIMx/DC7qM3y6iOkT2CDpqUWl2ySXRIidl3b1jObAhp8zD91dhF
eZ9DuFeTUf+JE8nYtNMztp3w4Hrk2duxaoZzWyYWiwz73ArOoWdb88hwnS+/5DyX7ir+f0sLIH69
kUpiLuyR02asXiKV+E+qRvaubLdrLUSIJdgAVwoiznaMB9w8aMCyWOk/HMJfyQ/WQujFmrdtteKt
DhNzTzAEWQSIuAqEcmwFKlm+Ds7QfkJj6GYVFc09x8QI3Y8TY9w0tPKBh1bRbYw996FNLmpyyHdp
MNiHVIp+D3xZXbipNn5JzaZ/MYyQ3GjSNKqxH2s12DR9kC9CaA8rZvDtKYrUhz6S0ua305pTjEG1
lwWDE+CPR7jqGLPafFyWbeMCY8ss4yADStlGHF2UymZZHZy0JlTGiFNxpDiiASGqkIkENDuhY0Is
PeZGmZuNX2Pn/xrzcLj15LGwBiU+w2R9/PIkEGUkDDitO/XMOqCsCBKQm3hEA1DF9Oa6ODMZ8/zn
i1ciP24FI2dM9NExDsSLQtroRumG6Pi8CkGmCV52GJax1HI+YooE9Q/dEj10fDAjK2L2Gq/VQSI5
TkRLHUoWn9+8KRrdxTBSs02idQ15UfT/vVj1Ti4W+jcGJ7Ve/86CPDl3edef8hxbNjVT/aaoFDFE
yjFKp3teSLvbmpVS743BMooZo+Z6/7xsT1cGMuPKJiKOsdeKfieIYdmpEh+XIpr8Le3lWWjk2nTs
bbdZ3X1GPsB0xbSidZMkZLLXWnFN6a3NmLY3oIJZlNFK7Z9f8s4zFjimtXmriewaeBu/lHQmcusB
x79EWIPzATr0wpQfZpiFB71j444u4ejkjXf0+3zcql1wdPUUQnPrBaRvtgsFfwez8HDhTE8NPKjc
jxqpuRQufy+pWVLun9djnQJcOt1Cya1kp6owxDtN7DBxTxZtvkM8Dx07JcelJReYJYgvZNTHuzyQ
69qHDOtB9rxFF62rxZ+8Ykvt6bnxcGgHWVZUkYiaMXoHfLgLclqIZV66S7gVLJns9wvrQQxN9shI
Ghq6LcuVpFIQ7ktp7Eaang9QweNLFd+mgN5Hn0maptqkpxefTaUbj4ixW8ueYI6n/r0Nw5dCsEli
ZaTKj0Fgu6pYZXEbIlOKLLYLmDxkXtz1cegw1CBu8XW1pgdnj3ff2bpaaNTsKfXXiDp5hzIAPYpN
NpjBeTAynLV0/CkRQSYvJaPHbcSuhEQSP37pgzS6Fj1Vv8luK56+YPe/Y1mKTs+rtNpd+BURdWz3
7bXoKuuFnc8C5gFJVaAS+KMN9kuNTw7deufMvOliWhOYYBvB/flDRuCrvLPii5l9oGxzXko9cV88
HqQuvPxK99x9AUsCoqDs/EPXUa3GcXj1Je2oMLLqrW3F/ovnkWtj9xi4jdTwXkKRYYr2UODnPL/G
tMJrk/HcNWvyeBqF8hJbVX1SQufxvAQMocRl584Vfm+OzuQ6gBR/9Pkv3U/6e0sZyv4uPCFI08/P
HwFbWPR6eyeQlRMQYRoPOvugzjNT3TYaRsJI011eCI/CafqppO2bQ9iiq8EGRNZN8uhZ1DeNGQIN
NsLkUXqe2JcSferzYs3LmKn10eoLzltq+uhDnKFwenbPS7b0+ntDPzkrA+9euQ88aOKRyR8r4X3R
klyyGPqxfAyKvSpSoV9D0NmPpLFOThxriDbFulFF/dA1ScigKE7PS7Kmv8FI3zn0jlU9HD4hM8aH
ysrWxENaFtO9jPKrNhoQ8dNFmYfqPIv5M3hK1TzKNmfAqZD+ia64nuH57x51z8kfqqi5fl7s+wE0
rU/EewoU/9E3JOiWjnlRe1ObR0UwPGzRkktKVsiqJ8b94cbWWmb+ZC1ZqQCDj8S/J/z9+UKU090K
82FfK2ly5QXneu0Zly5qFDxc97yZopI2oo1Bt/53XdGGclHpnU26zn8Op0IOXRYWcM1/x0NYW65b
Gknzf9eR30JsZ8OE49/xZFHV8P7Dx7+r6Ppax0JLKaH+8xuIVG0uSvD3sf19vNPzKOAtj7Efnf9d
pSpsgRFOHwaZB8fWaiUM7I3dFd3JLYLk/PySjEF0hrrPEBAt3N8vgeudsavN/Nb/f1cZ7HsvZXp5
/rywGvsAz56omk5Lz0OU4M9rRur4ridLp7S4aDgyPY8MM2Y4Wer184bOxGNHSieJHA6ya51bS+k2
7LKmS88vGU2fNMj0A+XOmwmeA2SJjpFZwAuK7SL/prIGaKoWD2NAwVYRwQrAPQfGKGtv6xbVWeqt
+SMi5ycnivklIdF6LZA0b7KBs5xLy2PaO41kSwzQBBq82M+Lzy+MMkcUbYF6fF7MJ2hxpWjW8t91
/+d2apF8BAKa/H8dZLr/80jP61JazLyho/3/OYbCluEYO6V9qCOc8Vz4e+j//9ufF80i1beFwh/w
f1//77ZJnIRrbI60n//3QeLBa9iQdKRq9Ky9//U0dTkOVOOC1Hgzcgp0Y9Mtn3f/eydMP19IiTQ7
z46SQJI3FSK1Wdblo3LN7uLZ2eN5NUnPwzYgO2jxvGixpCwooZTN82Lhj5/M541zVOfFqzTPxiDq
t6Ju/aPSZOg3pyMPmgrtrfbH5fOnSmqSmEzvYG9NN64rc1fgFrxBtc3vhcVneLpTnqvjPtF4/M87
mZKEUcZqYv28EzZDymb0PkepjPWbzvSitETzSBXZXOJa+/vYyzrrtn5BO+F5J2fEn9E0RrB93qm0
lQ/6gfbZSWrxWoPXmH5vkufu0YNLi+iQR6dKjDtpTN7Q82KUWfU8rynknxdpb+5aunG3sM/Se1Ym
m+eRpSb7PdItnwD4DeJ/gu/r6Mfmltc0U9J7nZi8FhXhEHVpiHudl9HN8G85jIT78wa2btQLJ2xt
glm4rlAK/ewoHlqy6d7TfeIoZlVTqnLzvAXzYWINM/8qpts/r1LcYmCcHUbAlLgugvewT9HKoTXi
IM8vlV78wpLs75+XiF9Rt+DAzb+3+Hsk4Z4cV7mbsncPdc/ki5FXA3U59L5SfEtFWcHmCQ0Dn2Jo
bRJ/bB61F54Hu/W+xkiCexC+A1uFF9Wxezov0z09TyHDQdFepdBDxv92tVYD33mrW7F63qDSMDmI
aFQOaVRT/aYRXOd2cL86BOVJX8oX0207zGxmskr0pvnUisfz5yPs64UeZvleJJ7LiY4m1/MHCOjo
2VRxfOP9gqfQBdr9/IFVn4NuRFPt9uHKbFR1WzIDYdXPXp8/D3LyNkPbUc7GGDgH0sSIZ6HX9BVp
47IFMPJe2nmBQp1JrI638dV39N3zBmwqILS1ZXgyUIPBWyFe4/m60MY7BUmoPVwibDde4tkr8hGV
98bT57YeDe+EvGEGRvumGEN8rBL4I63DxxuNlPFNfi3V9jh8sPtlMBDn1Y4ERRrMJrO15y260r9W
Vj0+glwlcdMI4WEXWTX9Ye5yOkTo4dmxpa1ch0rLdkU4YsnWU5ToDcGTqHa+qT+Y4SWlcUqU0j8o
PWT7v7+93cSDcL5EJ72F5ukoYhxeG7Te/t9fbtPYHKJQf8MEb6xUWWTbNBrqu65KQCgcOsyi76Fr
3Hvvtt5mQIS9VkY9fVPBfj1vUKJ+AUWl1ZdKts1eMbNk2Tdu8RUlL88bBAoBiDxvxulhyQy96QGH
T8+LpBBkxrbzwSnDWFae3++CqOyvDoUMojp+ucqqiibCfajEo6wNYSYb0teSB9vmv8cWjpEhJO+y
m6N14c50k3iFqCr8UAKKrekQkONLwihyH+aHZhwIma0Wlu/q3zaUXuEk34WtWQsyyRQKqtA6qy7u
m+c9R4LmseChJpcdgbyDWk0novRu0SL/+/A8r/j0XY/ttY5PG2t8sibP2Hvl3/55iDZxdCxrinoJ
Yt7k9JFyHFKt8qmFv543AJFNRpvqdUcjHuNTRZrK39dG9cneTob0UxU2fpk8MHeqmcqroaCS+fvE
huzc8jbAtRFbS1ZdYw8RnzzE57fY85F8haNn7PPntWiIw11c0iL/d6P/+vZ5J9cR5v75HT02LUB+
gWrFkAR0/dfh4umYzxs9j/73J8/Lfw9HZw20Tk0rvLL14H/YO5PlxpF0S79LrxtpDsAxLXpDgjMl
ag6FNjApBsyDYwae/n6gsjIqo6us7Zp1L+613sgkcZZIwP3853zHv17yL6/+eXmsY7dSUTt9voTr
NT8f/fpA//QUPx/Jc7tqDw/98ylcr/P78/i8+fWedD416JhJQjtIUGx/PY/rd1SzVMcrPeL/NkDj
vx/A3IA+8e8xG7u4rL+/F/H731kb3OZPhDnYcSGtBThjWHRfWFzyF8IcYqMj2Oa4Lhjz5ZJ/sDbM
PyTwbcgYLrwN01hQjL9YG7oLTtbFQUcgQRfef4a1QUaaR/mN6iiJ6qB8W4bhAcn7DYKdui0tRuyO
CLpRLVDW6GFt1Xp+46XqAxdcNIngHXtqvinJ3Z/YIQz3pUg4xC9XkFH9SoVI8lSWWXHQs2DccmK1
X+vR8tvUqD6k2Vr0vbnzjad54NlstpzXW1osZIXeTV+yfsh3cllge5gmmEXo9593bQ34gjWHA2US
eKeGHSVCbEEfjWxvZyNuLlOkWCMMMRokoepV7FbOfU2h8JmVTuI32pC/T6I/1UapP4dj3R86L3DQ
DbnBaD+4EAG/WnaHgSfJgdJxeH9Vffx5OxbxyUZa6EyYbOOn0gseuuX+7I4BSkLd1A1165xGAyZe
eDKxKJJ1MHCBgheRevwtyEOTEfJywee3UWPctJxfaEPTdN9LMWj+eZPr7ZYvwglulVV2h2m58uf9
Lb+/3gHG8+GUZA1/An71eftf1xvgdmy7Hqng182u311ve/2uJby6srAWbq2ySnemM4h9HTeEz5Xz
TMNYdCmy4aVqTH7K0/bWddL362W6JKg+J+XP62WhREWCHZGS1+aGgpUWJrGQwfjyY0Mh9nmIh/Hz
R2u2QFEZmDsz7IiQgTz9OCsdO+qQBL6rF+ULoyY670dKdAnOlC89iogPnC/dXy+NBsZvtHdER3u5
cgRqcEUBdoF1nR+DPHgP5Churzd19ekU0mpyf71MixYyYUIpFLb29ehlwy1rP2ObB9Z4O8pZ32pe
LG6jFscJErNBo2syb4PQMG/HxBm3eahTdQjEgEtZOAba2G9Hu/RuUau7bSAnjXEt7p5cTdGl5Ky/
5SrJJYA6uh2zIrsgHVTIAUVxGQdYeVpWVJcy1wgHJ1N9CUApbEdZtJeR4BLwN6+7jB4JkCAJhkvE
mJbmkmC6MDOMeDRNXJhOQPtmtXApXS3YBNR182hgG8ZW2pd8EC4FFql3oUDP2WitE1xKo7I3QVLC
xO3BLI6hFt/hw8BXGRq4tOiy5lKZ30Wuo6PADtUdRwLBvbjqbjSmGYeQ1tyNik0lj9aDzDMYG+jW
cJeHDUBIWcx3Y0R7ee4q/Q40VMf9dSaPhhsNVJSFU9+lG1VWzt3YaooheevdlTwtHs3V7oIEdw4x
+uh+DJjFQi5LcP7OOY82ZvdRDXmShsbyHoYUXT+GBWRlqNuLo0f9oXGzt+tPBioxdY78vndUdBji
+ftvv5/52KFM1/hol6v9usGg5QVWIUwAv353vUrLymBna0Hz+wVMnTpG/hYlk8vDyr8euxQuEpae
WL/fAn3V2FYt3idemI6/ZnkKU5/U21QaNEcuP/76EmhFuJW9Rkvi3y+g3kzfoMrp/3TB9SlQEAG4
pML1/esW1wu8TEQblges3f+6q+sFQsO6wJC3+/0CPaVjiBE+nabLLa5Xvn4XpEhkllVGm98uoPWc
ATJJpt8vyF1XX0dThjfo73dVSEIi0mBSfr37X39AM7Bz9rOG2v563OttnQYMHadD/fcL+gLqbmh2
0e63W6QM1YmITyAncByt9Dw+msyHnzmo+JbmTF9yfQ72mKWiLQxG/Q1C3FoT5OKaOdZuq5yzYCxd
cv/1IM4OkVTGJvh6CJV8rT1tm8+O/c1WpKNyFpJ8wKVfQzjxczu196It513oNMNTLr1vthNAAcw7
SArMr3Szkeumxs9TK9Hve4ynyJX9vUkY8aN2RxjVTlTfDQnr9wBBKl+UqRKJKl8Eq+uXetGvOoSs
60/2om1plpb6xiJ/pcnc7npFl05ShNllvOpk+ly6R6YdN9ffXb9cr9w2GDDVoqylixDXZLgwF82t
DAl/hzht0kWVu152/eIg2Qm8OJc0UOnnl8mbh9us3ju6rjbzovm1i/qnIwNqi0RoLOKmWDRChVj4
61fdonKG0UG7KovLNaNFbVTIju2iP16veb2SiThZLyrlr1/li4ZZLWrm9e6vVxsWrdNcVM9fv1OL
Jqov6uj1ttdHaBftVC0q6q/7MxaNlSQPkc7lmXzen0KL1RZV9tf92VfNFvE27eMpXAMU0m5s5N0a
mRdAhcmEgwHCVQxuOsveqmkbqyDbaDKfn53BmnYVDQ4MPrZT32SL303fyobq+miwsher1epNmzTV
DlpH+jJkRuE3wpr9vrTfmiksXlKHnlmlT+axW37k/InNvybuNo5z/tK49ZeaszBH08U2uZwbRcB4
ta5DwtX8lI+PIqmWTHlLIDMPziEiOJA1SMKyb/ZD2WF96sRLZkfTi5SNPNkVw48h6KYXpjjDPou0
GVvd/EXU8XABVCw3pgYnATvQ/EKealojB5THbkzECxoQ+eVBxefIWZK4eP61odxpmmc+WHGXP2f9
u1VnxovSGaKEo/04w3g5kWZJ11EXGCfm3qRPvMZ8gYcDN76t402ta88M6MSlCpN2k/QURfXJGG8E
7e47+C+Ytt0qPYZ5OLzYM5ZtHWcHISJ+NPBLKapN75tqfB9Y294OyZnekvm5t3X5gNJH8onXneUz
8La2/D7lqn7qep5DPrlHFifl+vo6B73Sd8WslxtZVPNL0PC8HLgEO/ST8kSBM96F5YtBgPEkHE+8
wNd4DZXJESCs9RezBe2hG/VTC/rBL+p+wOLg4sDUjBezDkbSO+OP6+t2x14dvQRL4/VCReDObiPW
plkZbfVeyBeVEZWXTdQdrj+6gQWQNDWNG6eKwnuH1KqiPlmkVfAw2Fr/ZPHYnpk4L/UsWc5gFggG
w34ZhtwFl1xt7ZQEsGxr94X/XL0ttHHakqlyKETnM9Rj2BqjTjvHUtmPfY2anFv3UlmAhkZ14wgc
0lVWRTfFEIsTE6J0OwX2ySti8yDyCz1g9W1Lm+PRFMNjSJLXsBJ5E2LVv1j3CdIChV/IaI2zJeIq
H23YHHTdmseKM08su3oHDXivMYTvxtg+cPy2kApH+3T97vqllKNFugq7qtCsHcFUQJQ08oLNO6KN
jbs6Et8Cht0+sXVjPUwqOE1DGJ7cxcid1xEP89gXg3XGwiSIm6Q7YMj9Jkow2w+MV9eCyc4ai0N3
S+jRwQL7hoWFKDMydB1b5ZboQf+QCPtCWuO1U0X8BKIlO9RR+kh8AxdQFBGx0KI7Wc0zy0vIhh7y
bT3PTxKtDYNksa3tghoDpl1rdBcsZAJEkonMug7d6b5OiaX0yltBz3Z3kWa8hQO1zMoR0yYvjK9D
WJm7curtnTO3t5E3bCkYzL9yIDyo6oHM1VTYLMtRcArPAF3lwjVmErNWc33oAuULN7xlUDhvk8b9
WQUlB6R23Kla7cxIg4aa2cYmAGQ7PaeRlDtrtIHp5upjJhpWpO2N5xSPbjq9twVk6jpwf0KSI5uD
TuRRQxzopMCl94aV8Ls13bSOvAe3ROmact4HI4cdSrZJK2zpK8t9r1V6NCYgsKEa4QgruNw1JqcG
06VRFfSSIg6TpE2wFmy6PFxb9UME3WdVNTWk1ObFzJnV6yx16UQ8F5alryRWCJpWE94AyoNK2xDX
r22EIAbXWU0U3CXlqeguVzT2rUZyLztDLOWRSybc4m1YogsePMM8GPWkra0EYyPpjmajCSb3TN/7
fBx2Jfx88HBGcpP18/eEYJIqHitl2pvS4SwZQWpOe+OuMvJLjBMR6g96YDaap4rW7irFhh+wecZC
VPuW0rdtEn/H2lGs00E9K9rBYw8ClXBIYipKTzL+THCkZ4cqv2pnakTyFhqDu4qnoSFmXt/OpSI1
v1GMVNMm2Q8DDswyPXg6KUavMx440u6zCYtG2NlgX2Es6k6droYOh0lfH7yOFQaJXA93bnx7C676
q5VZOutKmJdmo+/Ar3AUF19g3c2EzZyHwWsfLS1Z51Ld9V76ZYwSY0Nc+VZ20I6CBJywVRknIBQE
BKxjmgU0RRslrYSoiK4bwkS0xu2kU1eY8PJ8gzeoHWdqhUU33lW3dE3jwoTQSKBYYlzICsTvEM4z
cZ5KSLjqXioOjyE07pvpyVGy2mm5ka8yB2NvXgP0DbG8aSajmjB5070ixVKSXeTSU27xHNfFCEcz
BO60HlK8nkFhahuO5A6QoXqbU60BHWt6oMvBn5hYgBLEs2NVP6JeNNh+Rc6nRmankp5NkEzFEWBG
vNMmeW8E9S71NHWY+9lcTxRVvKhh9K24Ds+2zdon1lkujEp/UwZE3taxh605VEtQmA+5tIBjRKVO
lE3jUJvMerxlWMuCU4zn0B1NgGaki6fhdp7m8qDS/jkstG7LRsPjYJXsbPCbb5auJZuQ12BWrCGd
iZKQNVXMd+NUsiKwvWd2NrwVObLeF94aRE8CRH+TN7p5TEUR4yv9qrXjjMwDbqKpy5VVNvVxcCdk
IqvncGQap9JZwozVzeTZj0bkmufRVj9Nw8huZVi6q1YU6tBNFhA2VIGgTa0VlLtvGfiSnRPpmZ82
wF1MwpiuhXu0l83ZU7cqdQ04CWa/dppeX+1h9kc/k2iPZo/NonHNZzoOm9VA4B8xec9BmZRqfR50
TW7qMuY/7xb9aS7Mm05O095QkBAc6+ucHSNxEXLQ33Poe+tZC1gTC3nDfYlCpucoYlmhgLMLgz+V
1vM/kQFvQCLTGWfTZrwxw+kykb7PS+0lmJn80gJwQ/NmsNV6s/bx+7cvQV2T80H/921Jwqsw7IPX
P7TZXJ5L8/voDgtuNnV8b+DdaIXKPfZDe4ZOVNxoObPHzC2OaUybClaQ5z7z7iwBQrBZpDA9ck59
opnrShT2jVXhrhjaUezRU/b20EpqBtLJxxcVn0PrZ5yK4bVL23pnelSo9JRrQvHWckvs46arERZq
iDt2AVUhHPlgkOfY9XmPmWOYH0CAANxr7a1F+gdsU7ktG9ANlknCMyDKtR+D2Nl4afimNKc6FCOL
G0C76zR2I/7j5UWNGQXnFYj3vlBP0F7qQ9AQE5wn/VBCO+czSkwwCM03zNWCduzZO3rNeLHdUFwc
5C84UaP2kZDYe3Bc5uvR2DY3zP/d06gRzQ692XjRpfEMdau4IYutQaIyrB2f1x8Kvn3AGPBOIZLd
BERQTBE4+FONUDvCkirXUQXlVo+0xS5qT7sJMj0179Gd04/NrmrQAkKm4nymjWjb8VdLBF6nKsQK
V0vt4nYxXwQm1mXdzX929s0OlH7pZuGmyj0QGG7AGiAbxy0dBg8hpb1t2JJmL35UKUasMc3jTVb1
2bYVLPl1uHhmZVMHS/6/kwG+QE9/DZrk1FC94qt6tH3N5rAcCxBQpTb40JlIvUJHR+xjt+riirGU
eB88/NOexugFG/Mi06H9vCM8QG7R1rpdBT6TqD31fry86NmrReqHpfXs9vpTd5cVTglfZBldLj0U
tYW9siY1TU4opMQUHZf7Mp3vSVesKv4oqzmY32XubfvGfjb19qWf7OBgadG6mM3pNEVtdaMFBgeH
5TtWMH9+R804eMCiyfzPCxBmwHwt17l+AThcnrw6wFXw1wX/9K2xcLhqZXTbz5u4ofq83fXH6+ON
BlEN2duvvx7zXz2PpPTOVBA1CLB/e36/rmth2NuQFicjtDxMZZvZP57pXw9rCITOMDj/9mzYrdmf
9V//fyTzf+qUNRlS/PuRzDn+eC/Kv81jlhv8OY+x/8C0QCOnSY0Vi3NJY9af8xjrD10wU3ENPEue
YFzzax4j/yAC7FHP7FEcqNsSlPqf8xjaZoUlHSmonHUY59AO9g8k+10JTqksPluA/3WtrK7L/63S
zWVKRD80/hXBpb83zNdB4XSxk+mAPjj7DE4FR5yAwjfdyY0frTNNBN29+MaCF4y7qcnPHOaxLswP
HPZwqmvVdDsurTJBR0H3ynYK9wQT8L7UcDkSaw1O9kKnMbWQgpJcQG0ddOy6ZV1vbRYSrDSoAzIG
ymv0vEk3hALnDf63cqPK2HvOOv17yRR9hbE+3dZCuxDBSEnoV4tI0+qQDA15LCP85RhU67U31+bB
bCCxJGX9BAMGPygOgnWTM0DwyLAe2yyIqIyAUW0Po0YCNmx9yv++ZnqyV4V0EPBZSq9mp/hZoki1
aBqsBLxvWkprQ7hAdm221msMkOeiC0A3jEZh0uoYC0Kn3sQyTOnVR1FUr9oYtA91EYLitjjZ23qY
H7rWcghFysfEVe4LhtaYPSSb5GmmvKsqSfatAnYPJ1WqM/hskv4TiJQiI3gVN/Bakd101YGBLt4k
OJuCDNPaYisKF3CaLhz3xT6t2h3OQuIXYujJQnUzu0j9NdHSYYOb5cWdppcpGp8ByNHDNLPS1C2b
6pzQxMsezw8yrkZfDUDiC5QXiL5nvJGbthRPVRQRY7SGvVs48doeYgLOOTmnyuZVc5x/nlFbiXaQ
08Sbh+k5Xhy/ZPvWqSATkg7BW+NNp7iS3+EbZhurdh8wmbhAgL32PLWdd5gm9nT9ED8XpfXVzYJs
T3RyQNXtAn/IdYIho/vDUglJtwEEoG1pvG+tkkM1FshQo9LXyW46AhubCdvVCubVPjTzoyrCt0K4
D7zZ6nXELASWDNlFqT1jD7M2gwohSsGzKkxq7mvP+CbTlDUHPfVdpapVQc5iNZbGllwCPvE4gN02
gmyrgWKtiSO89VXobfQZcGyVGgenjoqdFQiYKjMMmCFtzIeatINf53W27jFdI/6Z39tC/uwMziV4
L8fTMLTt2Rzj7oJzAUhj1dfkO/T6vtHYIHkOmnfFdk1KsUk8eC6x6Q+eMsnGdXLtmLAXPWdh5bP7
hSBDh6q1ibA9bznw8OnzQjJyTOFYKn8Z8xAioMZ7fGCZhlY7buJ8eDUNcKdZxoNFugZ1buTkG4fF
kbo4SEnpYLKdtp8aZGYV2q+EHYhDWUAnmZsQUhkThCT7lvc8YakYNimrUUo8SM7k7eBQPec1J+LL
ePZaPpzoCOUG8UjfZGx1KD1zQ59kTXiEG0pcaERKz2zvMBrUQI1sQ9aJPsGjnGLJxj5JfZOSkFWb
VtqmcShHMEJ7Oo3xGMJyGe4DS/jVMJBaEt2wSZHaYJiMX1DOsw2T8W2mC4KdgXYj9PjRYAoBy1zy
OXYMoiij/obDTvPJjv1Io6lZOaomhDqbW9NUzckRaIY1GaF9IZonwwNXkphNvAn1kp2eRhQcnS+4
caGyHdiFXhJsZesCHBrbOVlsQCKQ1hrwxxkTTUBCYpDjjdzvXQ1qnGoUDI4cKG1H3PJ9jlwMe8CB
TXeGAMEyB4fHLZICB9nFMEVT+FrJ9JU54s8Ig+NKF/1rlJc/B9gnsog+GLpcOuIFa6+cvwLS2ed5
4s8OFdAaw/V62NJ5cQwH4s6zum0gL6yYiObrri6ztY1/a6WVaNqD9bWW1Kpq0btXkCsn7boNskCu
Rmj/7PW6Z8th2Q7jEwEEBQI9EDaTsHHKx99Vqb+lhrYvXcyuDludjSjmgCyFyraUxqV7HAcfPSTl
necalDqM2iZpLEbc2HipuyiSg+QfQCYTW/hQsKlrZv2ut0G8Da7xkEy0cvRz0J+Jlz80llXxvsFY
l2fWAx/E12Akb5S7KaV3Qdau7cn9lpNZdjPMv7FhHBGlH2fRv+mg60ljEMGEhwCKDpDJLGb8T0NR
+KjtX4eK+qVu6m9r9p/JRNAcKsGDyWe9r0Dxj/lrETdPaZ7P/hCn6DlsND2/Vt2ZkQAAtJISAPYG
vd/LmQqbonls7aJdT6zmbueMrQ80TqC6Hmig0XikiQRnElYxspbBubPThzDDTVQRBnNGwoQGksq6
UcWTm3TyFAAd2Cm9fXQUN6sS6W4TrflK18dX+uzileWM4dpMJDYv8r0GlGnuYB7Bl0zvEWwYks3y
Vs/6R8QK1AaF+Tg0vDUUEpbeIyAHw6AjoFPiReuXcrmhZJjWOB9GY+2VcoqNPTNKcwXYdSfH5eAK
6I81ljx3RCIOlYYOLEO89vREFDPjghy3KMLAep6YS+Tld06RHJcqv5kTuY4lPXw91kdMbHeNbu/7
DlVBtC+u6GlmEj/Mjsa3LjOgWIcFOQLQyRoBtIYOo1Vq1PdTqE/7yHIukjGwH4bDfTeOu9bM9mro
PsrRfCNOAafGeGy16QOwB0roSM7KdOCH2LvatpoE3oQjvhR0olFkWXl3MW7ElUbWdpWxH+3o/VTM
itH2yCMNm6ZrdnGS7JMaVKrTYwQJCCw0YU1vlsQqDspoU87jkx3G91Lkz01t73O7P5hdcIZ+eIeK
sndkgx89zGnqGtMHKxX3Wd1dQtOpbq0woWMV9BhhFZT/mD8/zVLIEw10TswIColyfulsGI6xM3Mu
sNIbdxT9qpbdM0QDij3ElpiEHxbWuXPnDS2Zew4N+2aBOpspcqRZfMTTeIT0BgaSBou6vV1y1HBY
fcxEPtDBW1dvj0WEqxXTsmytB6cxSYJovgCRa2b5TbaUbsSxzwAjZ4tNMgxHarkvMej7ygx2lcHp
DBHVagiRdkA3YM+A3V4HVnsCOnoxOHfmVrpvW+81oLECtQ8wBAZQ3n+R/Rj1LsbQ+H6w8xeTnqqc
z1LSzLsa1gOpk93Sf1EXpF1zygTJTcd9uza1aRMieRGHnnb5CDxxsh87vV9jk9+mTrULFiEFkI8N
+qrVs30El7Pqi/1gy22c1s6a5AeemgrML9CSdjb4QAbQAqV17LCH+EusFYWClZY1YNvqd+MgHpuF
VzKaAfx8tWdefafR1L3yPI9tXIp6ruafc44on9unkkxR2CEBaYxDpH6bEtB12dyX5sSLqZ6sKHXX
deZ+zWTLtDiyLPCtrOkwT+0MoGSUtx6tmLVQRRUO2t03Rw70Ek+JIinuIIWPP+asuUtbRVEfx+qq
6fJ1baFMtMlNwO6wtRVZNYoTOAIVhrq443ziuKNWbj9jW4JJ6uCWYMFTIsnrECHyo7Tclymvj9Fo
PcwFR1dGKZkKPmTpkXKZ7J+Tmi0ypMOTmaXs/vH50IvAIZw/ds9JR4NPX4bPHGI3YjR27awfBVgo
8g7ZFgvwF8fK7phMAXjLO1gS6tvQYFvPde3Smg7F6Sa4N7wghk0Ii4VNEZes5SKWiLHrXIZggWaQ
UGPZkNj35JL8HCFKMSwveS4Sbjy50HHS74Oi+RLU8S4x4eU1C5kjjfvZV3m0GaCs4eR5tUkNdku5
BUdEMpUvQKN3ReqcXRU/hOILg+GtaQuW6zpcPrZqK9OOHnm/cqxNt81IfHxu/OWYIfrvE470IC8O
VSx/YoLeT3pw79BC0o8PxUxXg2r8fPhp51B1YI5F9Bh1JEhdl6KURvmM6Vft9NBzsuvihRn9tuAj
8nza2OV9WXr8Y6wfNsfmYVR+nyhYQI90n528AJkyB4dDghEkgB4VG96/69yjUSb4sCOXgZs85M3T
hOJfwcO08Sb1Hfj+PjvHtv5kTMQrutSXVLRxHmOaFJ7ANmxMC19e52yKFiwJq0N8iH6EqC55dqX0
SMaZeIf1g2NSj9hUX9DzfA/ES8O2TmNhHc7yAIl/Uw8VK2GixHG1blIOaXBAG5t0P4s9t7aeAvoB
JGpQ7mibsKrI+n2PFFV2Vn+DkYIe1yXuB/YyAjZJFTFYuHLHEXZV0+hEK+XcwTUKSaBCmve7gTIJ
suNh3d57/c/Srj8Uh8xkNk1fZPEdSD+aj0y6ISwte+U/gku+BrlhbvP+i4f2bFOyKEgJUmDBLCD0
a94mwggfDTfappm2hwN8P3SvI3ogpr50yFc9L0l3jbeSafWQWYe8hUhNuY1vTTSN5eHBNaOPujH8
cBRfLYdCm9TazZJ60al8pRjlUDoMBMv+gB9k7yXmuo9bkCa9nyt5tGTEG0NBZrf5jZoTdx3CmqHG
zza3nUlLtceJpJ92/OMEUN7iUbAIibX03jbcCfYy2f2JTRLkXvFQ87I7GokbWWwpQth1heLUFvpx
Vh5L8qQk8O8LZgaFJ+7Y9t0mPZOsKd+JNj4O7K8AVtxh3LY2aQQgg6nqNMItKgLI7S4RxY1M+U9U
rV+P4ytr/b01lyXyZW/thoCcDifUKe1OhR7CEdH0jzaGPSCBbFHZJwWAJ4iWqzBnpNhXgefnmRj2
VpzFh0Kk0QUEC20iOrnxOo85K2GrcDRBV5PufuRmyJ8OiNOm7LVL3+uXvsJkyrGzAaeB8YXTzGms
CLrGwwNSOjMVbY53Zei+YaHZhimUBF1UoNE6bW8IFho42FvWH7gevP5GhhKTnkmc3M7tjWymTRed
+gakMGiJyEsZNUOSd6AXRu6O+i9SjY7vmNgf9TeM/auQVhNbmqcicnzb6PYyhGdrWA3wGA4ccTwB
Dtaol5lpkfVjTkWrsmTWaUXrpbpsUOLGSWo0lCF5qjFYReRggQJNR9mpm87t3VVCcj2xhq0+P6Mm
fEcJ4mT1LQPrIev4Z0XoY2zUETLjibAkHBDvgOm2ONiQ8PqegkXAgISidonKd1WU7T1NfnhV6O6s
XL0XCv6fGR6TKL7tNeNmZL6o4uaHKEBxzEtmbhlKiYSkeRy7EF+sdDf0vUlnULLRarUWYfGD+gv+
x0bAqiOH2Iax464j7Aa1D5xQk6jVLG1z5xToMtNkMUdoF/oBU2L6SrJy3+gNm/riKRHO1zjDkzvO
ZBAqM/P80iubU9WGzfs4c96bUigboLHbUyvzhXfXRYQBTDgcsOdY91u7lCYImBEGpoqB0LfnsW4m
21zc0EvMNCGkyNhIqx592b7VaTugztsU2y6mqXkuBfBxBwVFS5jvKjSdbYlLbqWDX2GHEmXJKrGg
w7LcGLddSxhANdSWs9pkCF1TEB3qDLHdpqzWlp5Q9GRgzXQLKj20zlIbIvDuOnEN7eb/icf+v1JJ
pU2D5L+Xai/5e/E3oXa5+qdQa3l/uCY2d09nbiLYbeKB/xRqLeMPIYTtucL9s2/yL6HWsP8wXctA
rLUtYS4i7l9CrY7w65geHnddSgf3/H9KqJWCe/pn37zpsIaQDk/N4Mm40lou//b+EBdh87/+h/4/
mRN4Izkryzdmju5alDXbdumqZw937GoH4hM+Zb/Sldw3akSxa+JnplbjJY/1YtVpismjRsck0tN7
VwzIUtk+B0P9MNdwYVlj3LaJkZ+0OBO+0WerFNDo/cA25D5psJ18LTRbfJQSY05lq4NM9PgQsiqZ
u6S+D8SM5BN7cmuAKVsHnkXhO30JQrGiFEb3BZzXNi4bKEjgrK0KgOKsE0Zr3P6sp8aPsIwAMBeT
z99/3kBgIRhduPE7Hul13hIrC2V/W0oUiqwGuggWX9x0ICJZD1YhyCQOKv3QZXhqYtQWQEZGmj05
bIBWqk0J1I1u4dceqPdqNi+BVnoXpQ0YhY19EybfxkVARaO5GcM8pbkn6wiVZndml3w0RvQd9x/C
afBNUgfhW62Cb0iPHKTekSxfddcKr1uHLSN0N0aRaNhDoPpirtEC6x43R+i7NmUegR3XiEath/UB
QHWlMnhPpvT7qvuS4ci21XDRGonTAxsmKzikp7EJB/BWs++kX6fIyM9tZfkeK2raqr9XE/1jEOvo
C6/QESs21mPNPFkMZJR1yOMcPDu/m3NjNb4GBOvWSX2eYnj+dkQPlt5vZ5duGhDQgV84FTP6MuA8
VbDcDIAC4MbMgNidY3NM/HBWMfuYst9onr2eyWGcGni1pzAx3gwjx2LOm2DXevZOUid8nlxbrTQb
6KzE/GPhLVvjunlCtF7bbaijqBynAhc+3qIbhso9YTSOjswUtYHaxzTdpKNNjxn1D/DYaRVqUv3o
wWhdhz318qKkxj7tvteoTUzQsZXAz/LCzvSZmnqwFqgkmMfooWZdtDO8QlvBwPgq+Axf+Azt29jr
z00OkEqY8h6tkXUImJ46IYU3oCF0TR8cPTw7YJEN4uq6vOBoQmqh15v/QbauGbO7MeshVZt3DpIa
u1Tvoyur8GwCzI7xkgNEpHynb1u1raEInnsBuSeSEW6iYKz3E+0oXjiveWMhzyBVR3aKrae8icpq
a9ZfYoqgsWHgEzWFti66od9P5QzU1aBqKk5o3Grd41QVyTpFPfdRHW+LVH+RWRkf+04eTIi8K9lq
yasVBDcZZCXM5VtsRhliRPl10K5ULzqciZUFa8vi/dbpqQe6nFYGPAViRYdGtAUpkWyLerwDx46G
gy9qmJw1TFvzuXXObIvB0Ae9+ezCSkxdKBcefV0WxqyaUckujOo0WUWtmDB6oeTel7WZHV0OlCsN
M9wurUw47i4ml5FH21CTdXBoXDjNOYERwVOF/6Cdi5adTmDa+m3ZnFuyJDzP57Y3Ly1GIXNAkGhr
b6ktqQxaN+JtR2ESJh2bRcZTR9nWuu1FxHJt/EG1F0CORL/BT3T6D/bOY7lyZbu2v6JQHwog4RWh
zvbekCyyyA6iHOG9S+Dr3wCoc1i3nnQV6qsaOwrbgNsAyMy15hwzlI57GmPEB5IA9LXTq0+TZZQn
PqcBq/+yh2+phNVD2HNv1VXv4NDeRQn0uVLqrVUryiLQzZtLQOomasdtT/rxAjLLsxSGCn7iEns6
6Y3k4i2ioiFDdcKL2F52ijKi30GJkbDQ1FuJbYJOlbfWCBM9uCOQdL93o63dEmkVaSNqED0nmGQ0
V9ZQxlsfwAxFuH3iQOhLDJHvA9u8BjnVyabN9Ic49pahX71mLXqu4q0DVciRBmLaI85smzUqlXyf
slmUUlzRYzChUd/ulRa0S9Rr6zIck2NmsJiGx7NtneZSWL21CaxxoFngpOeu6LNzGssUjThJggjA
dDsEvVkWHCCIaaLB0S+GU+gwDYjt03wmas6boiaCKy9/rTIpwZhp+Oj5OeD35xZ5IwF5AkQFrYpU
hHgzI0uscsnMJ5JLc6ibdZaQGOawXtmJfIRL41fOMS7tX6VCLRTdgX0EIvrNCq6/TQz+s1X6L1mb
3vIwaxhCBeP9Pwy4jiAvxdEExWULT5zDTOH3AZeol8TIFN9c9bUPbLhUYATjXyfYxiqvVhalVLkp
qTk+AVZFbTdHWb+TINDzcxE5APsSzT9rqoTL/OJjsxI5qR4PiZ2HT6w2i5TQqciOUkRUXfBhn/wh
//2/7uzqtIh/f/uGsPABWnj9EI0bqCKmj/fbfME3g3Q0SjtYFZJzKAwFQhuDEAUb5Usu3LuTN78G
M9jbdvKV+QN2Vn06PGKJiTT57sbja9Ff7aS0lvTbKDpl3jlNfeJepsgetaAAP6Jto1WViw6QuR68
Ihg+MuwvG79bg2JaGdHdiMnw/Oe/i0Fb/M8PRgoQcyBN110mWNPjv30wZmqtnsCUWvWqtkPE9l2H
1xzUmbLqcwjKXsJSGDT4Mjc5dXTwLPiIxNo0wnSj6cPDxDgkzjhcl7RFV6blqLsskWe/bChB60qz
IGOZqdCIP59G3y7H9u6Q9EXIN2aYpq+WiVfH2G6QFxJ6HixiPT4lRKmcq95/4XJAQmXKsau+h5Vm
r1tpmFRe2G3LermNpLcxBbDjYcCjZlF30+0PkcZ/+8PDkPjjC9I19AGGQB/A5dT96Pj/9gW5jV8p
Q+LLFe3v8DZAbXyW0Unzv3UtHOwFOunKhoRGg5jm5Jr4J0KsoqmyYeXDT3TAUOEj+4fTVM3Jr3NB
KlYaskChvuTYXO4KVubMlLnWU296sWvxM6K/cQ38yl45BO4u2w76vBMfPKd138zWgZglHH2vNXnw
RNXq2UGA9K2Jcn3RM7m+KqGl0LhLQqYHhAjRYbOvoZemK2K0EFP3724QUWhWcpKPRQUBB9L1pg9L
1oaBU27yaoj3qsYbI5jp5NghCu6ow36mtdfBboYTwqa1avVUSqLA3Bhj4iIBJEO2U/0DXIQQ1b1Z
XeiQqHcYvTTHkBvR2hfbskb2iYfMOSVMwtdq11d7s6idfZuCdx2olh0SDdipkmcTCBR6j9dwbRYW
+VZGPOVdhJObr+pXjlKZZ0OGBJwNtX+zTAesFNKeZWILsStBMFLUVZQXt/F+1lNkUZIJCHGRX5AF
QNtmb3pCOdg+mQtp9JPZ+69/fk4JYf150AjHsS3boRDtUNlw7T+XF0YawwaWxtIxFWdZeCgOgsxE
I4wHCXIgSSEGs6rdx3Zl/LCqtl3ECUYTxStzb4HaLt8FQT4s2lSRN1AVwy1rp3Z6rxbVCZwRcgxY
5OSj3BgqrKcxqrhuhp08+rhPVG0IX2qHVmwVvDFew00B/rLNSzG8IYYms7U7FAVrc+B7xMKBr78G
+6oIXyKsHPuxQtsymU2bC2xI6qw+oQ7kPlwSkVarMcX8GXWuftMpxW2UegTXjkqPgEpbPZUMu6c2
RsmISOEBspV2bHwb4n1TiSO/DIVa/B2L+T5+JqBnN5Vh8CChDnP+k+TukFZelG6x7/JogqH6xKVn
LhRFb8LIRUV7LMfiZPX0XWrF8yGk2t1yRIexnBPhQ3Vo1SWkvZFysQ9MFADBydS7W6XmpB9mfgut
fhnbnn7xA81dqUXIRT0r/GuZ2CvNGKfwF/RmxM6j6A+8laXh3GQ+ABO0xBekNXZNlkRE12mIDgLD
D+Yu64tiinBnySQ6MVFbDURfHeYttwJL5bhQzuafiUydsMb8YvgA8UtUjA8dcc74trMORmsfMzwT
tGCXLD0Aj4wnSKU98wv6gw1ukorCynPO+LEg/fUHwu/xRC6cJDgLvbwS9A+lYFKUaEB2LN9aDhEw
JW+sDxTUzR0FI3iOLDuWXqgLgsBRM5N8gQzJaLOnXEG+47mte4fOugfPXl8JfqmvxFREKyeYTGuZ
eWTGZ25zRXlK1djf506JfwXuOKqgRQ+AHwKc8shlPj1qQ5xSWE1w5w5KuyctnJVOXHfE5unWSaNp
tuhF/0w8QlorPl37HEtdhbfBN7VVXmjyGjv5NwBA/c+6rpVH6RVcIZFBnrV+5G2X7qmGscBorMX3
rs+OgUJoIp57hNFOne7DVnlrmUY+lJGIOes9k5z6BBg+fOwDaZ3DMo8glrTmuC9FsqWkHhxFW3As
0i+NnerRJal+4Vt69QQ+/q1Q6BawwAv2g+vki8HhYG5kya5CjCCzuZmRo9pRdhpYJTbZsxvGOEfV
ziOxhMBU01QPVhsgohmjtNlVpfda8c2cP+4jqWQReAEWmqy21Z3fkSOxUrtiOCoairEgV1+VolE3
jnGs4sJ+AC4SwOnVX/RMoKEdSqwdeWgtY83OyRuoLHVnZWi3s0CemTfK8/w/p43VrZHErwHYWgzK
DJcGYa9n5pvGRbZZvRlCFdKmCtkqqLI7NpG1SZfxkqQxwMEuo0XTNV+RaiNno0OeF3lORHeRQXSs
rx/PdBqwLaWP/Dx+c4xI/WbFCPbBe6iHKBzAB2UEMpD89RaoykpP1a0b2tU9lWl9783GPavusPX9
xN8nxSSFatX8Uk03pdTcU0boT56AioPNe2lSt3rUUuIwMlWSZARxdqcAK16MiaOeUrdQyW9sGlyE
ZJxEaIFXsQUHG2+ajHeTYHlDCROdmx/FlyhqrJ2Ba2SfMnCcvFLkG68h761BJbVMhO2+eIwlmMWK
N7shGdfvbk4wNA+5w5TALpp33RrEVy2lbA3uO9n1o69/jeNiX9q2/9SG7ngJXYmCaXpa5rn+WjM4
SnEuofDCG01EAsFTiQQMD1Lxpuluf2O61t+qTpIraYQ97HkeiIXRECaofi3VUE5ZbTwquJ4wOGKn
bXRnuFgFmYumr1Pn9i0H64Smc/Wf7uymh6uBWm/oDOqayZdxNBUS6fVpuVWno3qMyFDcjqO4tSkL
OZomnHScu/RFuSFojIVkKeRf/53vnbcrrcAn4gJSGyiNDHli7prW6K+iY1EIkGthcY05xrq6LKTs
9ijTFaBEBsYigrXaxG/5xhYmLcQVrkuAVIJ0elEK8mWEjxK6ss/N0IxnVDXHSnjmecgF+sUkKVQ4
wY22H8HGfcFHelB14n5DoaLhQHJyTRutvtTJcd7A3SiPZhsetLTMbkFtkjrLgo91GmsxGz1fW0n7
bKmJc/YD/E9GyDqZX2Er+jSFfxSOr5nxTRZed9X85i3WB//s9o5/zgYHPldePgCo1UFVc2OWY7Mn
qewQ9Yb1rGWw0TVLP1ouaX0NyHE56cALxftRh+RgGlYK+VSLmqNGpz1sQYOa0UYkg3cY8tKg6VT4
G6qmV68S5ZvrMXC3ZGs/NgUGDCNEpt/iEpwWwkibc59eoYUssaKTUuakp3uhkT0OQv1F5cE+zlsQ
C/q9Bhxzgdo0O4WZZRs7t+GgaNtLNd3oVG02qpbY5LqwOT9gVsHVKltnG5Gpsptv3JrrpMAac24B
9eXuF6e3tafafXSkUtzDMsoXNfWbRSFtdCkiqzaF0+ycHjSwG+bfm4Akk9FegNkiSArFxSovk1vb
Zt0XDkos62FSXawA10kVpQHDehTQAYqjR1LVgkNOmguKOIXyK6WKXemCORkT9cGuyLyNu2Y4zjcd
AQWbyuctJ+XZdy3jS1X7DmoWDynrwGJCr+GM9PhZgQrhFMHUU9wszyGoL8sIEUEmTFO57Uky6N5E
bNSEQrYDly97aanenZQJ61wysmxoZk9OQcs8mt1eUh9/dkjBFhiz3mzTUNYuKxij8I6kfCUnqpF1
3DK9hi9xNs02O48mNcYiEO03Ul4W1ERLU7n4Ki0OhE4vLWkxOm5tCkCk+2RqdS4Dm6GFOPlV1Kvl
Es5ZsWkkjDdwXL8oT3Rfe+miHDGqk6ioQg5jcXQY6Bkn2+BRH11nKaOQsh6TT2CWAd+DG93H0GaG
nExRCaaFI+QET8/mZyfUroNd9k10Wss5XSyl2vdnIrnbC6i/FvK+Rl0CxVsdSLGEWyUAmOMBHKsC
DmukinvBMLDPOGdl3jE/lEGCUtcUB7puKbwBykUBzv294uKNzQKt3/eCdhzkXBeOarn38uJi1MK7
ZVHlUYdQylPmyrPRaqxXPf8HxtR959TNd2J6pop3YX8R4C9W+eBVG4ZU9IgNsVUW9dSLWvX1tjF7
Z9MFLEsAjCioyYL+29A+xKz1dDXEN1obm6rvGfM90qy6CG2WipQLKuFFTSJ769qKscwMg6kNQLxb
w3Gww5ai7YKsKm6m0+MUE3H2prr1IXGxhcW+a14tJX+G1dh/NWYpp1aZN6LCwnXsd/vQRADEpFPf
1YVaH5HNdPsGteaBtIns4HXgu6Gu+kecbLRrLd069p5fo3dEmpnYWbcE2kB+61hn30ybhXScyS+G
XvX7QK1w94R29i1Sb3VhoTwuqw6ysCTzlpSxTSlJbVDBq8RLQmYQ6ZqcX45LlIY6RERUIS7fIed9
nHoZLMyyb2TRDOsEpzcLfGWNuLd5UAD4TxyzXarp5jILQu2VGSi6tyJ5DNwE7LLHT8Q4D0NB1s5d
uO5ez4OdjHJxiTttO7Rl91iXCuBPNFo4R/n5NQ6u92ZEQ9vn7yM63q95pt35igiQr5o3hRMBfWNl
vLAgJDFArDCXjaeuhmqMAHwXTRZTvwhfNW3q/AZZ9ywRFxFiCZ7IHBtzZ8LvXedRSjqibfzQcQsu
CSquUFX6zzUp6teErvbaEcizRkazEQfkV0+liK7mxZfUL76rnpp9jSJJCJUguEavBv+UeSrl4bFr
V3XKlVbJakJYGham1Ii/Mo9xnixQQzSptkXUJy91qd1Y2u+HNBxu840/9uPB6CVigtE5zTdDkSyS
ggHLl2ZP7qxHQdcmVc6swMaAJQSpWGwdJ2NEGw/4t104os1TaobibsH32ykePuCaXsgq6BE5ogyt
V3HpmIes8salQ+f2SAVgVztDc4xEX1+LgqpBMu7awRpJ9xvsS0t2NNRAwybFvRmPjt+btyqI6BxR
HN25tVqdLN9/4vegMzIFBCEOGN5kWV2jvG+2vd9na2HD4vGtTBxj9Ian1LSPYTUFM8dWduoLLTr4
WSR2ReoU66xtG3reTnnV9ClUsvWs10o47RKeAh17tGtbejEtUGmv+K7o43p0N2oTWA86kuwvtVyG
8rWybfmS9x1yaCLv0DLbv4wyAmdJJM9VSPIOGmMv8fQvqHq5jwbykbVtkjTuCw31oda5X0aoGgl8
kScIMgehoQAwQ0YMwqXkqego56MjqxZNlubbwEydZ4uEdoIX9QQdUjZMyWssfEbm65GFS8ogqkPz
VB9xiSY3cefE9wkOSefLWfS9lOs6LF5kRqSSNzj09rs8X+WgSW+kG1db+J3FsSJyequwyyUaeERm
fnRrBy28jQ5hnGlL5R2WZBQAtbcNH6VQJyE3dZ5YqASE7FQhqR4Q6dRAJf2a9Xx0k4yuZz9CYdIP
3da0OD4CL0QWmjUDrAMFjTWVQlRorfajUx+UrNMPXaEGhF0Z7iGdbqLJaKkj8VIhuh97lPAkX4qM
byToVgm6M6qDfYoTHL8A1hk00w7BUJsyHOxTmhJjRjjhvTOLe65H0a0snZ1ph9Elj+trpCcO2jgU
u3A6oouv1dGFHkB/kGhKOyfpGtTatDp7EQ1okExjL0aaGZ6ly6dySOur8EgqqfAYDDGNK0DmOCk4
B/Z+1OdHW4AUENFa19TqsdYG9xHBD58XmMUkTXkL3Mw5JLGwD5GC3MjPjYj0QjuRW6fNlmgDg4NZ
gi9ikjti404avAVkt5FNoD+DAAS1RHF4m4wPwDr1hzzMHblwK2vrEpuzJGqi2madvw87pd5XeUe6
UEqXMWbUWlcZ6ZO+ATIyUnp1aVlmd+kM6vQFNP0pBbQ8O3n9BUyDnOIFh8e0sF9kmPrnWikS4mxw
6FOqkDdr39eFdmunm/l/o4RPWSR6+NsDKYkBm7KzaAhOzzMHVbuRkl2fJLwGO+E4qhwf9KTnVncU
pNGFXNZN0Q/VvdVpQRsGzdnOxOBh2qJ/UBD+7QsUQ9uWQ+0ZOPG9tmX5oypMZCytMzzaPeNF07PM
9mLacXGEzVyJ5HqUMYo7L8tRV4Izlf34qiVh/0ugS0Npm8FKSVC2YbcpR/tHhrmHIQsETmYgn7FU
MKh65wZfhjT7QaO8+omo99AXBfZBww3W9Evkiflo5g4spwi9t/JAf5UKufFdn0RH9O/5cxUl67Io
zAdqCFT7Df8ifTN8yXQHwYuGSygJdfXSoOQj20jZuDqJ8XUhUBNAvNrGtnEdej1kZmjSOiya5oep
eWuphvVr0nrN2mtAurJYQHUNPOELQdjEDuqcUrDSki+GpAsfY6KnZFOkYNixK5Lzs8qMxtiGSZE9
hzXlFN8sh32ZRYDUWJEv1KYej76pVvux0PJlXjTKegR0sqJE2hPXFjzCH20AxDNPDarEewDoZzwg
ITBinWWHAlkZijpp8AQQ6z/0gBYkDiCaeEOJGlDfhU13l7XnrQqz3uk5oXI0eWn6G+QC+v0m64i1
M8oWYaiivzX5O4XecztSG3ThpAFWaU8xF5VxwkMjA0iXJCx/Jyh73+7Lpn7RvZEhbeh/GEZar3rw
wkZRPWN0euzidC+tsYcdAibLMf3XNJDQnEUjFoaGlLk8IS24Wr7RLFhr/cjiR38k59MfjLXUWR/I
WOvwEZBX5MkM7ROBm3pO/YkcWgpzYNX9L1ozvCqiQ2ZeEQstmAkPCPQ1X1zxG3/N6udUtVgWxFhh
AwVK3/SMLKTUx8iLhAOQBnK6lWa2i0G65hLxMPR28qi56AFeMasUz5NO2Yj2URo2vwz3V64nxtK1
LBVFHwbyMuFiHOnQTVBKsQiKzWFnqvHBiNfpRD9mtWOtfDe51qjVaB7WHlUqY11OqYt6IW4O30/i
9U91BizB8rVfJp4DaLIbA4oGXkIrJQ40PJmhTbiMzTgQpV+jNKNQKUN7lTSPdkXIm/mCMoEeuqM+
Y0K5WBSqHHyIa9xDJMAzcgmNVVrThvqml+k7OsBdREFnZUarouJSONowYG109IDAzoisvxfp3Yqf
jYomO/JnCTdQ43shyKDroY/Eo3xogN6s4iZ5a8b0QlFRruF5Ecxea8Bh7HNtOxivUuRaVZ1X28Kn
+VeYVbgMUt9buWH2ZnIGR/KtH7R2WbrlF2SK1I0ipeWj8a47WhKLkDFs7eCYIJ/MfNbzG7qKdG1l
drzSsuaUzGjKEIue24XLMKydlVstxsLjGOl18lT8u5alzSbFK42k+ZcJtHhRo9NpsFQzWCtkYVqb
OrAPSUbdW2pNsxAKzmIO2zPAm2wlOH/p0/PTBf6LQX7RMrOKd0rUR+HEtGAQw4HnQqCrGiiHx3jJ
hemM4HwdpwE2up6UQ8/7HlZMAPVKj6ndem9aPT5amkEukhqTkCzdBZoLpnaALGBwvIEuWufwHRi2
R2OBEOpraGZHVw83qon9AuD6uEztdEXcLywQVb9gXL1rNfIe4vkgaBMIm9UcvIXEKO6QKk083dEj
xb5Q/TW93Fepmlcsh1CsJzUhwWI1kwiIKWJ4zluw0JWCyF5rBcTLagme4TCGo0ZR20yZezNl8lq9
XVeafKZ4EIL9PsrO99eN4ZaLjqwq6kE5aBtqX5gF7VKslMRHIcHsZ4micWkbik88VLuPaCEBifOB
yMQXqZR4Fp1D3+uSQAgug67A4GW2YCZKPyPuXrHWgUI5ovPLJ7sff5Z99eywPm58BByNRxPGYH22
WKZF/QQe0N/5dSiWpqJC0LHsbsGS7YvuKm9GywoWzYW/gZJNXhIdq5BKFeoAhr9mVdcVDQvD6Faq
muMyjP0tQZg+/B5tD+A8xW5GpabRsQIFmF4dq0CEgLKz6OkWKNUuVJsfBtFwFPdaNLF29aJMclXb
tgkBHV3WARDSd4raMh2EHgyNJ+n3lOf4ppM0RdGl4wIenPUYB5dQD17CVn9vSSUNWvK8pEt6Hhde
mxhNeujuUk31GrApQqrQdrcq9KM1pn1+NBsFjIQBlo9cJKq4XzTUThW9LRfJ0K8a0rmw8CALbzX9
PSY1sw617+GEwrPtcVi96AauG4w+2ho+19fRHh87LbQvcroxmi46xX7A8ssKmZTTXO4mpRRA+mDn
t7SYgGiiR0CyRtX8EbsXqs4C1XpR8vUR+A0KLsf+KOOTqqMMN4JwwXhMcyNn0eUExXJo2ElOQCXu
u2xb2ZxWxhClS6ibOzmYw5o8N9AsPnkLQkXSm+e7gkyXwimida6gJBVN85ZD7NpGAvkwvlMk4cnB
7BgZO4pIy8qXd438rmhokYaJnisFGd6lEzynte1i65Xf/IrSvDMNR7KzHgBW5ahzWV213WMkuvey
TNA5K3cdbxAWsTLEq81xbLFQotHWm9kp7i2Y6l49YgJLcHyTqW5EyxCp+U74abPORXmqmYaNoYw3
edlTw0m7ieRQ+OvMjBlmI2cVocdYEpK8oGYOXAKIEvPpdyELAzV+ezZ7tV3HRnywURcveIFYBGb2
EzpN/FphPVzYY+EumoQmQUw2N8cVqq0MDQkBe0BT955NsEbpC2MTPCDW5/zux/5ktZ3P4WVS8UIx
L3yfCOtE3SYUoHejC3EJgCCth2YX221xkAFUOKsadnoFLazF9xHmIac5blombehx4C+AtKGXrI8j
gxnr80ZR5dJXxU8wJeaqLRONUEa5obkFQtFRww2LJ5j29drGVtphdEWdKOQ2dKe0REY5d9ItU0Vf
t036qrSjuygVAS2ITM616Zj8ILaHe5ESKFfW3uTcBRJikDzUagNDFQVVAjzNZx9SPZcFqe5TO1iW
aaata4uumjCDE21F+ixTT8yMzrnNxEFFe+RnSbzuRuVXMl1vfBU1Utv1Ky/sHWKek7vXMwLhxhjW
4BeXtAyOnh66Z0cnoiTX4p2qBRh/ieQcLdXZNVFnbOx3RaVaRperoayzjvTy2ubRve+Aa2norZeB
zRQE3HImcNSFIt/pXvPLNhHNqzX2xzDO3/F0desSvfRmNMafeoeWCuH3d9v0fvlOqi1avSTKAF6i
jHRKk/G75q67GLN4nyHxK7pfpRUvS0qny84lXlkxjaPTDLdOQrDJLRK/B/9KHCnL3pwUrNRQvttc
IGAM+E9m2VNIA6u1JMkL4lHDQWeGJOlhyYBuqL0qsSbBr1SXIlA5jJuwv0zQkCFcs+golwAaOcSC
1tzITD5gUSW3lxSgc+N7JfEDRMlbjMrEGefdFRFZdTM6gEyhTSk0E65/ZWxD8goyGfmRnT/5vXEq
nd57hbQviaKS6V4zFO2rQTShuQUG4L/1aSy22Litzbzp68SbCyt8kUMcHWIafSujHsXZ10jMlk7+
IEItIYNPVU4kr5CzPb0nXcRMWcFwXvtBSY56gU3Rc9AUOY1LjIyl42NU1CUzmIqo4vCaUEG4hFV6
DlMHfX4wjmtE9eEe5X786nSbRs2/qVSf74SSO9umwmHv9nX01iI6co0WJ3+WvztTvw3MzZaEC/M8
b5lq93HXGKomTSh6cfNd9V/Pmrfm++nLf7zw8y4qg1s6odZv+5qepVI0Os/PEp2X7t0eBW7QayTl
Ru55YEHMwYkFZhR+i2yj2pgkaDLjjKt74sYsgci+dt16nQ/qSP/R7ChhxT0VZEyjGkG+o3pRNSW/
S1Q3d4mSOM4T57e76iDZ9tIGRjEQ6vj5mVpTQEey7Y+3Nt8/3WXbvX0uPbVjgs+b7Kdn/Pbd8Iws
oS00f575fovW5XzX567/fuFERNhkjgrWYg9UqbpHgbXhWhJe5tfb09dNpPuWOTYN4Pkj9+h4Vbth
9st+Y+wJZzfwYJoZf21+vDeN7uj86Pwe5n2rKkrS6Tv9eAa1XjpfbH68fnp03vz8MNMz8G389QI/
wmg5bX7u0qMl4Hm6ew4TpyT5OK22aIqaO06VtaK0zWXeUn0oCKmGBgV+YdC3WzqGpNRVoXpLiyeQ
jNUd8Um6YfI4mZTZjKcbKjEF4AcT/dC0mZh1hQ21YnZtBt4SHCnR4kB75aaeLKPzcwq8gvfSyjX6
KzB455d87FANzc1QUdj/3FcrXFY9KqG1H0+Z3wfOmW2dqv3HffMDLIyIlB9hNc+b802IIWUbNzVC
oultzX8XfBJqDQdL4/yU+YG8T+XWU0G6ft4Xl8BFBxp9y/ll8wND7JhbVjD0raa3Md84Y+BtS3ja
i2oocXMyywtJvcVkO79u3j9EsHSXOQ7YqL9f1yt5tUtaHNCf94EB63YewWcfr50f0JtM3Y1RrS4+
vydTQFXjsjd8vHZ+wClsGmZ2h8d9+nrn15YRnR+bfstvfwPAerrvp2Xx59/tifDYFzrcwc+/EY14
sDOhYSf4+3fVxk7dw+VB2jn/rjF6iz0TajoIf38uvWq9vUhxiX/eR3UrOqB1pvM9f0cN0AqEqt77
565VkTQHuiW/Pl/FCTYcst798XkXDAwgpH3+/fN9Yk6AqDzqb5936bIIjmPQvH7uviCf+Zhb3svn
vjIaLceWssDnXdUAaQQIJ2awvw4XykLgEQ3v8XP3tWfbRys1Hj53PwY28nZP/fja5x9AxAHWb7e+
fe7eL0n6S6v8+rmvDAv3CcL0RecqsmRSzCodFwfn/hPaOeUJGtBBcacBrhiUJzWP4kVsdCD+pwfz
uCP1M0vq/fyox1RrjepOA+HBowXGgW2VuN1qftSAlnRgvLK43vLo2LjxBfzWy/wg8YTRg8YSoNUa
t6NBSrkm7erH+amibG9h42bX+an0Z/Bt1VI9zg/CF0IqmOtyNz8ahFSp6P75H+8h0zNJFzpUlvOj
lccKmZoFneHpPYRhnl3dTL3NWy4Q70cqxYuP9xCz6lJbJX4Q0yc30+Fl8j1f5v30RY9RL/LEJDBU
nipMoKvCBXEzP9olPl9B51br+VEiPyocexjC503qZcNpLNCozps669Nbn1ofe3KEMT45mD3nr4H2
+250UuXj/RFn+d6ILD7PfwTnYLYMYFPt592UYgjWLiu+7bzpkSqLqYC27rypwnA8MDmi6TC9X363
8dx7yrd5C+54f69DSOvTB53vsotTg+iAmd6o42lXwlVLy/YNMdTVEjlN3pTlqyR0YtllgtVsJU59
nwZ7XRAph2MQqwgnyYEOvUaBvPaBH1vWk+FH2ioy03Yr89YiyYr/KU2urebN+XnzK+bNRub1VWto
jGqB9VSqav8EE2remHdmu8kpty3nOj8b71KHvtBsj+O863FKQNQwJM4vkHQcqUYKtHnTzrTCGg7V
ZAmfN8dQsy+K5j/Me1IUFakBYvFpP2bXfKjW/w/R9j8h2ly4av+97+/+rflW/YPxb3r+fxr/NAht
iF5t1yLk5m/Tn/pvtknyjQqcTSMXRzi/m/7wCJqEh5iknpqay4v+Sssx/s1woBKhpcWsh19W/K/o
bFMWzgfEbf/zP/7V1m2iTlyNf4YNN8X40/MnijJqLZdjzWtFtgizFQgQxhj3W6wCaZaNf6AO/tW4
UVqGVNSOGEfxXAFKUteagrOa4N+pvLBOZPZseHq9cLL29tv3ePt4M7/bJLT/35eoIpK3sBroJm9Y
+8NnEI8GhtXYwBTF2Q3sFP84qNSLi4IQ6qOzR8l2CW3fXaQA0JadZMWerv75e+Cn+MeviTPPnn4k
g2KpsP90BLA26WRIW31VUipnBHiKNOep7ojqFoGH70zizSGeYPHP/6qYDCD/8OuYHBUuWjphWJal
/ymZBrUTORRdST9LKpaHSC6idNNmFjb3KYxT2cSKsQp0Y01mO159bWEVcl9Ez4JETyMC/wrKRYbm
0qriFxaFaxyPO2kob44bnUM7bVaRFfxPv5Yx2Vj/fNempusqHgFcrro6fZm/uQPGTBLg0njZygTY
/OQUzSkeXf+tAXq9HHGU3FDI+zvNBV89ZASqt1EJpMjrtNVgDdkLJ8RrJyLzFxL7HGZKRoZ1ZY2o
IZDV++IQpsl+BPUxJv0RWuA5d8wTlJyLMjTbCO4BAtaHNMxvypBvCzO8WBOcPTTfCrXY55a7QTey
h3e3cWS1EQOVvmJDcMwOXu/esrB+DZtROksduhxhLoFNedddYHrbyELZNRRwnLrdCzNfjxSjjYRA
8Tw/adCpkWRtrTLaeQqqPKmfDKNFNu4doljdBQO5de/A7zaZ5V8LMVw0ecjRy4wDi5siXg+Yo7ws
2Gr/j73zaG6cWbP0f5l9diDhsZgNvRcpUaUqbhAqI3ib8L++H/C73df0THfMfu6NYEiqr1QkkEjz
vuc8p63oN+pL8Rao8HXwcujt5pGwFOybLIVRuiH35xZNPi2JF8RduxCmlHL7fBFypJVVcZ/ktEfp
uTY45Dlafp9IaCgNSklEJyyGCL0oji/4WW9aPbxFDTkopb13Gv/RSlgAab5sSerhSLPWTLl1M3fl
6MMx05x928u3kophQ+Ea185lrNxLkFm42Mp76U6gmsafcF13hZ7h9lCog0fweoTKUdcKDkQ5k+yM
zQm5yhIfz9mnvhGKlDbuhIcuIXt32BNHC4KMDn2A2d36kSpv2dX+ReUpdox2DZ11iyP6lYTTpZei
Y9dQ5/njLuotEk1CDGKIF3SQPf0GIUnUUYY0tjIa3zPZrc02+qgqYzuE3XtYlWcwVeU6dq7UX0iy
pbpI4Qw60lxjAZD7npo0bXSn+RXAmnbr+hEWLREAHmX3oXMgG0+3nhrxKooQGTdFVB9sgYWBMMy3
gM285W5VKS6u7m+UtMB3BGSqZpuaD2inJK2EtnzHqgvAaXynsE9gSPqr1SjMqeDFBDWWpMOtJl+Y
rpt76bXsw5nUMslJ5YgyE0QidUKba2XaZ2E9OPOt4QNQxjYRXvKLkx995q2MYLqmAMoXgYssvJnQ
jVT1n1ThNyuokKtvbjweLdRNdtPv7IZ6WbINZ/QCG32Ul/RC2rURubsS5/naNrl3XSvcRQuoEw1E
cfJt5955zid9Aty42DppmqBPoZKxmZuJbjudAgD+ttceWuVvXDnsyRq7CYVBm+p/gPKkx9DZypOV
RjsMofuIorIUyZUIc8uoNm4y7VwFRIY+W1MNh0pzdqg4F6Eerltj7BfWGC2muc6UDXs7btcW4UAG
5615apz6Ya9GHr20pbRA23oYD34DUjjsjxVdYy3G9oiwyY168JtXNNS4OTh5nvSehprQdybSpMZK
V2FjMjEhfFQAt0NvUxFhkE0oQKr21qbjnrYWO3JtN9/fjMpbHhT7KPqQIWX6qkTJB+dxci4x0vW6
6Q62SdzLWHwQ693QDnNeUI7h0eOQbH9r3N9mYa9UxFvHnuRatIOoF8z3CKDPJolAJBWEJE4oyIwy
u6ht106bxk5Wbjzc/GHYCzM9NWI7Os5aFuzm+3ZdOhPlR4PJ4+oXwypOsP7y2Dbjt76k7dvs9dbc
9cTBMem+ovX8SiNuZWuYv3u3uMmGymoSdyvUiwS7Z4y+wHI/fJOTRmPctAbclSyozvZB8mfSWu4j
xq0gqPqVmrDq5dAykLX6i4ij7lIr+Kdy7TS5wyGEvYeBaeeUFlBBtOiIQ5etZ6tlaYlPqtNvMJSu
JdcM422PNTKgq4js6mIN+ZcDVXGNmuQsyhd3Ngvp42YwY7R2JORC3FnUQVahH8rfJEm/g7lNgvRN
ChiamTzEGW0dQ21yM6CNmVLqig9IhjX69MlHpOnvZaPvNUetO3RUpIF+UyIVC9GkZClRnQ4LnB3q
hrv1mPSo1ckyWeVG+z3UEib+YIcz8VE5q6hlPsB9shWIM1dEuUSoJtWhn9xmzdmfhnNEmIwWmc7S
CY1H7WU05O50vAv6pPBUtSw7aN2INDSWQHS4ek2qQIbN/QE7LNGJ40JEsr18PnrC0D5EWnMTXSDo
AoTQfHpOTbxA8t450ZefpQ9cmTgHC6RdyKDr4pujygea103U5295lnyvHOwgnQVfhHoZT/vcGrL5
VUECCjsI9R90a6pFYUs4tJjcxsB2F/PvsBDbLhpRPKDMPkBTPurkcwzCQ5oh+dMzPgM8H8W5G+oJ
JuoX4ambkzPlhqjihZZdbdO7u0X85Vc0msYasUEEqcpvbN5Ofx3puVXhl1NVf1ST7tOZN0V4/Ver
N2CjStCyk5WsCrgD4F1+1EVypLRcrPQ+QqxltISblPkDeMpAtwfsV3FBKJOmxVeSr/tClcv5SuUG
VMzZjBIMDdfWYVinmYxInoJx45lwyKz0y4hta/m8LKiVsbMb/rqjfyIKsDyFz/wY6dsSewPkvmAd
TBwMpcWnjJCcssV4QS8HWTAS38AjInbJ/A+enp/V4ClwjmzTLNqxEVs1KeDyqnZ8tbv4l9OY03JE
ewfeJdnoFt7PJP+Vk6K3GMboyw75VY3gplsOk7N0aTZ1FlewZlT6xXR2cfug9eB+2nLAZdmRE1Lr
KW5GtPAjj8CiDTbI/OZGbn5FC8KUSjNWspcPJDM9xZwHxDcibj301Lr7W0biFCT8cVvzS+M2+pqv
X1FyQLC96R0j3w+VNRbPCOrPyNnCaNopEJN4Rn57xEovMz975H52rl0PCqVDXJ8DtAmKpTXoOzT2
iEHRPirT/m2W3bVU8R5B0xK7yl0zuYHsSzaO3UfbwQuAr39Vg5EutCp7ZJn3FvHsBIamYbnMHt7I
FXEHsLiDuNW2+VW2c+cKByAN83dD93c8eAAhJ0CpqM8pDbEJAkE/5pcaCd0yA01sdj6QLiY7u673
XepszQx5h8PwGtswg+UWgEckTTxGjNwJe1oY8Rw5nJn9AnfKT2uqlvjzTQghqAugnzIYE309ue4l
DWBoUDJEt2JFqJm7o2VEpDnZpJWgzq5M3kGpQ7kyy1en7z+l+Y718Ov5fOJRu0/6uNDQ6uEY72g6
Up3Bm7XLOr6Dc8V2Zr4MRGBxZJtHc4fiaQjy13DKSYHgwug4YkFJG8D5mjfNLK69TL6IfaIT1C2c
oj8OMGIXBIzOQ2lhhBjaMoiU2/no0/S/HZvEkKqu2NXV1lvn3IaYzCGJFOygOwApyD/s42MG8GbJ
0WrHU8mMIiObMhNxHpQ7tjaAD6MK1pqgCIf5nRGaD3dpPcyY5ctOsYDrNbC5risRXhXJui4Y10GT
QsxyjVdPmQWTEkU/oQdfkGpWfWMCFjQ9qKbZ1af1RyxIDIFtzA/oLIqi1de6Rh/I7uDAuCxydp1+
KddFHe8ygzM2pvnx8RXa1L789NCTLG026JU3dmzvubBGj5g/V+6c8nyVXfo+lvwrlJHnEAHvGqHT
Y+PqiEWbyiNX6E2OXbT1uxzil4a6dOIye/NEDAMLtkWF6d29O92sO43nRJ5IW5OHjubVMg7jCECu
h8JlSKtjGEO9kbAZJexY30QtBsz8oeXEOAA0SMGj5lffzb4CTqgLN+ac0qw7POq6jWzBS8H1oPBh
8Ec+m33tkjoI2j14UUWIet1QrCd6GeMgIJ1BE7xZ50odScPoAgYzFL+oEZ+7DhmJOJi2jine/4NL
FIB5+BVI3N02B6ABuDUomo4hLkGUjNUNZAkaYDkirS17jKQ6+wrvBXMTCp7RvuuxfR3YZSV2dtUk
Swh6f4YsPD6u+EOICDB49mgG514MGcAHYqrm0wNa3c+uxJszL011zXKlmSbQ0/bSe0SX8PlHl4Wm
gXwqMtYVAw9j/FM3qBTw2KQlP/YwrJD7t9fS2SRg37WQhcocYZ7boLJkQnkf5TGc3S+I5yk45A6I
LLKfiWkG7wEbfCSD1Pf4ghPBOkujL1V799mWrhGq1YbBWS+sncZyxVmgOlHHZIJmqBB48eDBpxWR
cnX11LrjHFirKvr2HB+p4nePTOvUkXalHj4GQV1D2vHX/HCyfXtUlU++S3EFWUJBpn4vA3UpY/eu
R+mptKhDzH/b8KK3FpeRHT/mu9RQaXRYlcmLgGZCH6SW58j7mUftRoZ/XWDE8o9Uufd5dkhG454E
M2CneNAL01Eli12lISoafkYFKLu2YPZPSq5+ASQlDrlcoYixT2QPNaoXLwtvzyts6ewPZJftc63C
GoyYJ0s+dSa4la5Fj8gPwKCg6PTT9+d0+/w7TunB2wP2P491nCMn7JjXhOuLfP2v58fkHrrMDXUr
7ojfraXsimuqFVcKIGqRzxOYYjwlxaMeeJ/zfYGZRmiUoCxAcyC0f4YOixVn3UfV5g8BX3uRVw+M
M0ze/qGd7ZtNW77wwah0IQL3c3FE+XWO8vKs++1nlr2xe0Jr6erTwq/jExeVYzXiD6afT88IbPSD
yBBNfxXG3gfytY8QPc3zEzw/Suphr612uRUfnGTmEzLySN5QIOHM3zGBvAyLjiFcTd8hiPyMJhaK
efp4zhRkZz5ai2qXYR4mQqqIH9PS8VGxvzRl872YjGsdjHuvAJlvsO+J2H49H4jeYq6Zn8wiz34q
OKRYwCmgJSer4T0YukSf051Sjux5fcJdsqsnA6XfJsw89G74wsyCz2VCZkVOX3SSXABU2BD+UkEs
j2Mve6c5TnaOFSoTeNKm8txHxpessjfofWvPbv/k43Q3yLZqWvs2eXItKVo06jRFPG11wUayrK6x
F3yxPlwl2yI56vjdyrWLFG1eopFFPwIrPc17Rd0Va9NSxsK2sjUlgucOlyzLr0ni4smO8/P/3BhF
86oZhby/6lvRBfdMawhM8D7GRk4LhjXNcjbYKhjWpY15NPSI4erraZcbHXMAe5uQuTKrmX3mpa8v
4kcm4i8Ly7yVVLeGYWRlwRdlFNLY0pMWJ1+B6F6i/TzZx7qJMgf9Bo+fojOxiOv5djg8AyN14UV6
adv2UOj6p8/WbhV0HE1q9Qv1d7VyZLYPIR4navieQbKvZPXZW8xcKYmzPmv0xvWmT3dStxRXVqj3
6w6vLwpkvVOPeU4tuP0Tb4fwoatvMVLmOUOr/LvQxJ+SSzw/G/NTm2Q1vlPF3x6o6zAC/EFBZhle
3frDZ7jVWXbCsXufH5fca/FaRbd5ciEEB4M/W5Tnb47i/DrPenWdPrqIRS7BYX+BOPZdd/JHAg4/
KXeDoLnuim/P8e35Il0GaIGh525IY0Q7W4LS8MTaCpiQ5zs4tfnpuRkt8vFXijlz3qHM1z9kmBRY
5Ellfgyl9FiWxxdrxqsWgBfHsv5pzZRfKZiDcDPbf+ggP7Iw2Dyfd1CX4GqcYon+vucoHz7mu5Xk
BPZU5CH5Gga9Qak99I10KXFr2BDlUfZh1C9GupnFdb4eg0q+cOJeWJpgxfjrsSCQNAy/Si19tHOt
BMfSG4qm27MyPfXMYHZvH4Oie58v0HOAzKvJEHz4KWhdemDYoYbqd9ezlLYu12BoeJzGMaE2z5rv
QWxG8O+zoBSoDTu4e0hC7EWoMao0r3wLpbxhb0lWwzAlm/nPSLUIPzlvJ3tmlGWOvWVHHNpaWMHc
7CcxqiLajVgnDUw52XN80BCgmzscwbICmArtPQyLfCFa+1uN6njVJryPEv5DqHiPVo9zDWTWNktO
nWCbCTTPY7MLOliwFiCDnPDDswo2YZ6QeUU2pcA+4ChXIf8US2Ne7dEIkw5Ww8GZZ+0Gn8cWsTmq
n9KLdgBzEJOF6WeZCM66Fthwu2qoIQ6sTHoLkxws2CFutVtlNeCkdTqldRViKKA49yOu7OrQNHFO
biFZeEPf1wu9TaIjsfTVUrJeDnT838eqereCof4VxsiIqIj5+fBdqyF7NQqYjvIygEvdVQcEf6uK
NN247A/OGWVgdP9ZeMTGgBGjz/+0rWWcERHb2zBXv0Hbmed+/tFg4zdNg/PzJxjMjloP1QGqmKCW
llOL+O87B5IG0b/W4JGqzVQpR3cczZ4zef6hBu8LMDUqwi81V2ZTQrhKAp1N299oUGQQVJXM9Kzt
eEPiTY2X0zF/tGG1Fb1+tuAVPd/N/28Z/k8tQ8ll/7+3DKmmf+a/P/+paTj/jb+ahkIa/2ZCydE1
sJ+G7fD//+gcCt38N0s3dJ3e3czT0WayWF7UTfi//5dt/5sF2lPnuOEYNlAxMDx/ax3a/EJNGprn
2Q6HZE3a/y+tQ30eQn9vTlmmqc3jSnrm3KiEkTsPwX8YYoRChl6EymMdlqULGQOB1kjCoEvuZxfG
+dqz2teyTH6nNgA18HAcqid2QY1rLvowmk59jrizSSm8WhodgyGp3iq35riWlRB1tNT6n56Jf+6m
8YalRIOsyWdblefiX3BrHnHmdjTgH0kaoz9YZedRToyOoYmvparZu+k8412wcjy/pWJC5jUN3UsS
EDrlx5a5c6RY/8P9vv7X1uZ8n/75GkpofVAKdM+EmqA5tIz/8RoOqIiTvmMvJjpJO2TiACvdfeXK
F2vKX0Y77n6IztkbobXAwta9C7uWFzm631qFxDB2r9O4NQ29/cHm6lgK9LFdX0IIC9OjyshL0UfB
yb82GIT/OU7/T+/7n1uy86V0eMMOCDj+p3tEhP3T+2Y6TFoUIIKWg76dsLa+tGOMsWKIqh9mT1nE
Tu+m6BpOswWuUbNPb9gbFzkhNlu7n3Li/MBadml7Nz1cHq3+hcfuZA82zg4xHftafR+jfjz+92+b
/fd/ueC6tGlLOjwdrs21/9dB20JRygBorRqG76LGjHb6+0vAOrQfO3v/9x+NTmSetPkFl7KPmWn+
sjImdvbEt5Kd8B+/QAzKPLk2+3LdqCi2ew1ds9gYjiR6jn999fzZ81tsAlQgwgLIw/yfPP8AuCx4
jQlurBFdS9LLXqQ6wB2Mr9788vwxrLl+HXTFz6HTfjQwcW+qC7QbhsF87ZjZTZHktEwh0lg7D6kM
aiZ1tDJ6nhmD/eYlkBu8qYgeuayWnttu3bCS38eJgDJPH+QFgF10iAZfbV2v+w5BST8lbqOjGo2T
ZZ53SEGj//xek7G6mYP8qqgw40sVMA+iiW3Y5NPBCMocvBAsWltLnAPc2BI4ESPEbBJnHbiEjz1/
hmByWUaVfRjZY9FQ0rrT8ysmu+5UDMRB6B1vTkMFtchdHLVDY+sL15PDigdcHYc469k043vLbOJ2
kvlFL1jS1zWMTvaV8w860BcbM3U/KtXh8Mzigi4AXVtMUnF0fL5YYs5V9cmOQGypE9xuyn946Sxi
CYhFVTMZLEHrjBs++zCiKgOqGtcPTb9HRFp9JxS8h/bdFZvnj2URrxq3qz5GzdB2sfEnbhLtLxTS
hKRqE6Qd7XnNzr8JEC/ryaK4Ns3fejrRkFJ19R43lbz6tXECtpesat2rgIgL9Qa7Vp5LFb92nEve
nj/KMjxHflK1x+e3sq/jPVl7CM2wWsQjxjJfRwnex267sN2KYsjzZ1lmvSDuBqzJfxHOL3HIB+gn
H4PV/BfqFAtTEU/BPk+i99pMW4p7afM6VJN5JiH6r++a1GgOxuh/1K6G3yeh+H1M/bI4lnPruw7b
FVl8LbajtrlqmWeeBUF9KDusi29Cg8ta9uzPbwOtYc6d/0AIfnlIYrLwcIGIOEjZrAN4I7+vxPcz
fxn0Yqv7Y7CLU4EzS0b6dEj0niIxagxKZUExLJ247I7e/OL7gotTsy9snZpHjyrooYtNHyVVRa8i
wqIJXU3rInKJahmQGBMoeMOVIHgrtQIQw7VBfHO5UV4k6RYmmErKJjlOPW0G4ZqrKGit18zySB4O
1E26NcW6Ij/EnjDO3JRgNXq9fyhNlLNlnFvnQX7rZ+OPkZj2JahRhrpZ8atxm3jbxXmw7oM4eIfd
oGHuodWd2o17FLs8RhGQQUdZIjqmhjljhMZYx8by/FKOOJecgbYhQeD6OevSVxPJfDSUxSUr2gr6
AoG1lQx9ePIkkgCYoLbfO+O+w+zArhRuG1HVrRp/jHghOjsl4doV6uRblXUCV9IRSsEjkCA0BJ1E
PT/0DP+Sg9QFYec6xxkGlJFzeIoddx1LU13B0YmdZtjkcgDufiOoQ3+pcmedJmZ+IZN+WGtNhNGn
d/vzGECscPCKZIHxWvaufB30cFsQUrAi6zLaD4XszkTbnhLLe4151r4lhOMyB3SXQATZNWZGXanh
kExXpVtk+slwGUNkWTk0K/zJobIUejrKRSKlkoBKlKKI15TNmljvXRiVEVq+sFuPendyhSxB0UBk
nmSJU1Nmv4zI/FPEqXYwopJoJdopOlCImni3dWaGXDZ42dQG9fYK63qlNaaxR8gcrlEXca6lELH3
puGXl8G2qPryh1fYaqerzCHjven2WNFguwYloQTd4PRHADggQ4CEEW1FE6cQdn5D1rAZzcykF8IL
D8GSoUqZ12MixIrqf/hAoOHAWfeaGamioEi+nfbS5/H4TRuTj0oAJjVGfM1jOA+PZLIPcEY2g7LV
GcGrOrsJ6eg53IO1MPWf1Ug7t+S4s/NTOpRe3P00CUu8IFe68mhE9+dLHug7GHdLzx9PAmF/GZ31
UoejRuv+XE39nPyomx/Aa6d77NoHjqNrS6r+LR2GM6yreB3iP+N4S0vAn6zhmoGT3WHwewU7QpyZ
Od7sfivw3Jx8IkJOpmh3Ies7Um2t4X6HXXAu2hRpb3v24kpeqKYAYkDYfM6ojq8dj8QL4XfWrvAV
cda9thNO+BNo2bD2VVqci9zfR3Hd//KR2NeGlpxkDo/OhpOtma48UsUvwYFdi9nb31EprEDeHEKb
CjqeyYIeAHXXbdqSDWOmIIBiEi5tHLMTnAA98OA1WkXP4VgLL2p+GUtgDEaJIEiY48uIDpSZEhVU
pAkAaX1Hd85UJExoFek66bjzbYIvU5P4jRGZmR/UGzG0zs3zpnBcSTiQnHfDmCFL1bFOV2L+TN04
W5Mn4M9aWY8nMuJ+kRP6I0zDkI3vjOpVYlr7WDNQHtvlUjeuRmpjXDZL6PpJWq5EjQgJFcLPQS8n
djJz5PE2h8V8Yt9aHwv3DV2ufY6V89krkGZ6XJFljyRs2Tet2mV5a660LO23odNecUWKlWkk4DsK
/hXDGFzEOe1JVtM3f2gD1vYSQVTvQ3zsevnqs5lom+R3Esro3LnWKiLpvF8k7JiPMJ9g5AvniMz4
ZsmGBMKEiKG4G81TMblfZJg1V384WTidIeR/Dx2AmIMbUnCL23oTbMbUlHgyDYouT54g6ZNUlxHV
bzJtAIvCFEwlE3dAFU3g01H8QG4kUKRqfnlRkIEL+DDD6VLFvbeSRPBuOG6d7PKXpoO7CoMBWZ7Z
BEdZ1KdwBhKW5Qwb8oJ8rWn5TlrMTBmgg2XjFrToeSDyzGcKYph5FREdoNz1U2Na30Y3FeTQ5u+V
qfCr+cBPqwHrIK0jmnzTEhhYtfYtGxmME93SEYxoqJgq3JKExUZ5JH6ol14LCbVPaTc6Q3oH0obc
nzQlNCWBuZ1cA17i4NM58rLtoJz22IbyI7cjZ2ON7WtUsq8oCQ/jcAJTEiIgeiL0aKGFl5w2EvFW
BbTEVQvJeilyS63RMYqF4bXGXLFUa7/62ePoFl35GANlHQ1CqemxYtsgSpLUKr0liyl28jv5Rgdy
YzviQRX0EWea66jJsRZmciwLZ0RC0nkE0HsGqzhYeeK69kHo9Fupytfq+cySOCXRPe+bDuBpU9Kh
hF3SYm3OqRUZV0uWJfkTMMHUWP2ya5odgR35K9Q8KRsGZA9CP+TznrHtjjmY4EMWo1Isu/A4H2vr
ZPakZCXjryCBs2ngsKNc85gUV8ngwyQSzp5ogWT33FY0894iMjcubkwNgmKbbwYCUQ+hHt3YhbuX
gWP1oqyE+0IkMez25HMIw5/uNqtgYpW9wsoMRgO10MzlDFu1NquAAD3N6k6dHEFORO19xPLHAuuf
sCnUu0IFJCfYBq5DiDOr51wpbTh+VcFc6fYTXUnXHyiipnINIis7//0FHhLevyEWy2HU9lbQlRtN
EqAXNvTunh4lq7GptsN43iTkWO0CeuxE+YUj2+H+U429TWPZugPUpmqHh3KPUeA6iJzeu4Lz5vSv
+VisNPT2uHkxsxOy290RD8eLPggfbjFAtnLq4jJkuobFEADT4BjGtXdMekWzM6d0t0+2CpAUgBXg
s6INKbvnwJzqU5ScSf0wTpqbNGTrNSnagwVrt/FCGMDRHJ3gXicW+l0z+GaK6JcqwLa6wRy/OToj
qYTqO6nydLNGzWc319JTLPkoHE4piC4KoZE1nUn1VgBZQJAT3gqzPbo6Az9qlNq2ov6BVCnaMmfI
tK0vELkzpLjxx3M5ytqOGmCVOYtmqIyDYVgvWo2Bta/ock0qJhZSsahExKcO2fSOFc6+tuYH1PXm
/W/PGF77m68I4QiImEMj2kUX9JF0Pqb8DMBSrdOcNnfj6FC6fui9FWwRBn8agXX0orY5wPQ0L45H
4EIAhWcJFVG9CCd4AA2PttocuBGyUnDrDUrZYU+oxTgwZBqj7XeQe+uVDM1go2lZ8VrJ8vuoB+4R
VO/UlgO7TzM/dQnanSdpKVR98WKNJ6f/Y2P5RB0ECUkPTlNraT98N4kQ9CVqVzXCvNg5SanUG0L8
MdyLqczUh7KbX4Xwil+Oi8QqiOGkKD9pT4Vljit9YOviwTyEJdEGxVkn6KgCQeZBN6i7dP/cIzhN
9SEs3dwaoPxR0IJFtGFsJpr/VjkRhkHX6qhWlIryuWiadTQfBMVgh2SJ2F+uq3BfI0heoNUikdcF
yR4YVrVDg+ntI90hTNQl18ve2CGdDAGcEmUFE25V+ieXC3K1OlRDWGpopOOzW7pjl3NL7G2D3WNv
Fs0bZ170K3F6d7NoWTl1xoScIK3k7L4mg4AGl58e2YwhVEkiF61245wVAQkwDvtmVagqXGKFIkfP
Yk4OYCAv6zxEaVJTQHri2LEal8BH7CvIZvscWFW07HxSMQM3HTddiiM7BUS67MBBH8ew/AwSmd+B
Ml6CIaCTXwAEUpo7rMxUbKfENK5YUEH50OLcxOQCdSTk7onOKI6tTr0fICcprdDhqGhDQImaA9OS
fAUnyp46dTd9ZQBlZWm/9YJ0YBQ0xb5A0nUKZ9ij6mtGYA/nsrCdNbCbagHVKzlhSHsuL4Ge2des
QeaeG2FCOwzkZm1E8lAFqFdA4Fg7mbyrzJKosNKvtjaL/fNZpDXnsQ7DYp5qdfDi6PU5AxZJE62i
ApmOrU/QLeREikpTZyQdud9EAOd7EgCtG2LkDGE45ynytUWVzPNhrc+APxchXQfG1DfOvtKMsyFC
tD95cPHyfiZntodS95qzwlP8QoOrqgKLZMPQvnZNqR2q8nc+5O7NB3DT2+0Xvr/yVQ8qtAwD9IXZ
Lr6LkoEoMlG0B32cM0EjndyvZNiPCPw3Rk8VSENXva7m/SA+/cUIoPn4fJEhBtAELuTCgFv/Gvtu
vJLgXDfZHCUXNXTDtCFpjqlha5s4waj/LOTUXFzfzA9zrBEs+knR/Z964jGALpj1kJ6JEM/OpMWc
GRaorCAs2oFM3np/riRkfb2pZ05XkZDCbCZMz9kEem4wesajHjvnBP9vFOjRMXdycQ4UfdYMeVG4
ssWoCGUSOYD3Mf/WVW9C9v6mmdN/JqJ6uVGksZLV62/HPnizyzrdl/l0TsEn3DIlxVXSfN9klf45
yeaXLiztp5yaLaSH/JYlBjHjjr+TgYiJT/fLt6rq92S22UtHFNnOnanRpBmwyZ6y43ND4DseuvCR
WYVQC+B86dmaPz9oxzlNb+6eZNI7JEHz8lysTMpiB+QqV72z9Xff+A1T2+WgP5Q/jCo7RKNRn7SU
4nLcNeh/R2Rmpf0xluqzh9vM73bQx1qdvwsLs0M8OLPRhIlE129fZ3AJ0UnasO7dBPXwVN1rRTSW
KEfUekbDHAM17HB9Pi00epER+kOx15IOViYpx1oYOZAyXJSC81TpOMUf6I2XMs04sCTmvRir7I44
a9l41R6/ffW3J7Osj1UgqrN/T6SFKCsbzngJ3RXeDaBtALJvfehtUdPiCkb/dyjdwrgNpYGqDi1/
kWovjQUUEFDxMSCMk0XY5jfLZumJkgkGazsHfyaRrLPXvt6wER/zz5ZSF+u/WeyCUphvKf67Q81U
M1rtVYtOotLjsy0MIMh5l289JBybtkEwiQxXhxtXaMfxvYEBvYWsZ8DYMvRwPMZE9sFBoVZCCq3P
exOcTBz1Enh2vnZ9AvmgHXAxySzwl8RSye8JXfh4KKhJN/GlQ3NwzMegPZWRROrvOeeirLZRPjqH
ZmrCo5eW2DTj+hyFWkYOWQa2xR3IzSXUwqm/Pdf+JlGwSGS/0DVvk1c02+pU/GGjzEHSv9Y9tZQJ
7iSlxBJSt93zbAtVs1Vns6SjebpwNuU8m7w9N3eIXHu6oIEEMM/cRS5qYw/NpXFqe5/VCXplR4lj
78WEiuDJXoo0Hzca9eaOzTpiz0j49q0v4dKisowu1qTtEj35ldStd7VH74hKbthUMp42TsxTpJUE
n05z6S1BODdlAiOk8/CFUx4yjQgdU/jDDpHir8wofxQRtS+vrptDDA/DLUogkg4qn7IfxruT046w
QAnHYayR9wiHpOytY6JgC9ngYO4eQUqLLOpOPdaie8HqFsEhXU2pbqyq3ASwp7EUIhHbtG7GEaAA
2hYKEtM114bfb03oMLEe8XZ9a59Y7clogAbmYVFtObGOL88XC/DVi+F9cL20hYdod2WBDjnp8wH5
eUpuJ0LKZOuSCZpDVzzWHQOt96f95CXBWgS2djREhlUotzaV6h1M6YGxFWHyZsY6dYeqmcE70HdU
AUwY3JmdbSoxlisMFGQwhIg2g9E1X5IYMQgyXP3gt6I4+Jp/jedVvs2CGMGlxSYFChXbPOOS1Z0E
edj1u5G+VVlqBYjY2t0Hkv0Bxrdq+9fmzrXfHd0ARdX2ydLViQFBw775d6LOq8ltZA2yv6giYAru
lQ703c1WqyW9IEYO3qMK5tfvAXV39+EypBszoxYJlskv82Q6duMNRsElKcz2EeR6bVZIHzjqQLli
cHmuW3My3xtr6Y4tTztPtRdfbFDEZibTEFUuvirO+XSLFAFklkCGorc///+hyUgTegEt59fAMYJD
7Dx+Gt3ybut7USnrjUBRcJiIfG9j01Sn2FYmBDi32ppmhFAng+rc1h1KpiIChbhjg4FWEp58ninv
0qa/SIC9cq+Wr55XdgfcwhbJRIsvBs9ltxaBUVniF8OnaKI3Uib4ieaW0E6Jd1INEvL9CGDB7kcq
1lcJ2PXG8jDNEdW/a9q3xEQU4urocFCjl8jeeBRu93eZUcbE0laICEfK5A2VfSgOpChfMQIp5FzX
T9J3u8RADjlc7HrXcc7IqntGDfV5MIDFGJXEldpAW8+M7i4jnC59TdsgVdBR6NogxBpbUbo1lng/
xDzCBExL/FUtmQTtVOz0W/R2AZCwbuCCdGASkRtwgJK76IyjIePhVLHZKWN4t72G20f8F0foQ3CL
OfBfgRAzEK1AJaGP3HaXcJaZfYkPqUHiJPPfFxdLrLE6T9Ki725eccb31nw2SfSTn9M/um53pbPy
2eRn3lOjhdLpypds6oyv3eLA9B7RGIMKhiKBIxhoWRZGMVCswo7/AybrnI3Y+LFElX9rxXJKSKMZ
bX8NRnX10khe1ZpTCDIJHYxIAHdo4v+LU98XUXKwnKKj5XV4VpaZndgkekPEMqK55vV51lBzR4DQ
jZZXcqlkwEbYcAUwUssgiT/qlzGh9a8XsvrziKH1cNPEkCPUOgcb5n1K+SMObh1WrvjqLbZ7Iiu4
ZxkvLlFOjXwnXFLeXKxCt/B/dmn52oj0EJNhPFWKa5eKCEfo2oSe7tDyiwaN3SQG8TX4bn8ZbfL0
HVdEHC3kO8wmp4+S2XY65tBYmaqHqWyovR4UrSoYqBd9JgG4MxqktcIidlVky4u90D+ihZ+d3Rqk
n0+vyiZOy+Q+qPrFnuUhNjv5ZsZUgLnAImrD3ve97+1G2wmT1ucxsygJtFrMx/bY1scsiFZKGayw
nvYoGqpMY5/OE7svC9JR+TW1XbqFk9/hFRqHr4HSy6P1JhhShX/t5/+Upb5Mlm1jspzVacoNdbCK
tDsmJWjfrp7XUM2O8U/6zQhsGhdTF4vROgmy5aT2Y476ZYrZh7SXc/uLi8u41lF7dG8nFrctDldO
+KerY7yZKBUQEaPlkGgkzdEmnqDXI2HadMu+KbHyxOSMtiM39AukgAekVf9kGhagD7InrgvjqtZe
vkc7rDeics2biwyz61Yg1ZwFj9xFZZNjVMNOtADoZCRiRoDk12mYDarGxx5OgOFQtAvIIROD2PnU
y70EOWp4hXWKTsEqCjMmuJnO/Dc/My8NXqJy6D6cBe6aFyQ5bU0MwOhGpa3JL8puo4f+PrTMEMEI
RFs3GzOe2AXRrY0c0I+lFWpsttzBl+h1qv+dKKf6blK9vZkbs7t0QXoyDGvZ5h0+r6btTgIOItJ+
sYk4919L1TH4Ta89t96ljKHaexC29Bx/ijSG8xxjBMo81NM0PzmUShTaCiip1t/JatAzVkVvA8fi
dwnHZJf6mIqnrzVdjteyLckaTfq3VRXdkYr3eqcCRcOIVhOcqw8ldLzveCAO7hrMyPF3vGS9fBek
eA27cM5LpE5JHdt802KPJC1ZQolvfM9tNqD7iWZoD6/4loYTRHSuh5s2qej3cHvzZNrO74YaoGs8
aLrMyow66PaPMdl/dJ28WU1anOvKfwxcEsMuHpZrHVs0nDhQgoPOvlCyFOp6bi6BYFioGvlaLjAV
9B0C+9cWCYubSjqejQnrG2/oeIYdaZwEML7+d2JU5lnrgcShGONHRbrDcVpaNlwT82uVDsfUj0Jo
YLun6mAqZnCwElmlnfFCJNQ4ddSK9yQSMD1U08aLpyLEy4HZhTDuQXRAmYXrbmga8w6ysz2kf+No
MQQjlrwyAtfMVjeN6mA71rSzccZtvGJs9i09G2+dsukzwWewQQ4bHirj6glqd7/Y5nSdJCchQWjL
c4z/QECindbdW4MavOmR7vcWKYpjyRz9bBYGuWojzY7ax+JaRnp+FYsXYatd9LGhOBxJmma6rgMO
hwPQtg9S1j9qr4ousRZvkUfPFXb46M6tZIT9Py17xJD8NpCisJu5v2QDYqzbWnrVqUilyiFc1pZS
xpnIFgYKn4ZBxiTxLMaZBmt2dSGDmOkf0MzYgirGHLTlkpJ7bykRBKkITc54CpMkpq5l6MXedTyc
Bg0BMNnwoxbVd0194q2lwp2AN9s9q9DVGOf0xbKqF89urMeYB38bR4JInVNmwyR0WdMZteFr1xcw
/BSB1SS7IX7ZxBk9DXx0+Db1SXCVHT1qk2x3rscySE1xB0e+P1d1M90z+lpikl2nRtZ/BpkyCy+H
VQLu5el5Fkl87hz/bh7Z5CLE99QAfRjB/ILoZn53u1FslRXhAq6Ca1dl45V339t7qFBhazjtqv1/
OoXJwXNp6g34/fa8lIpaIqfjINJBcTURAssZQ+ZcagNL3/jOH9LuBjWD8ust2kMZqW5ges5nmm8p
2OTaXyac7OOOtMKqzXRxZm8pHUvCpqKImEUzv0JBDnQbh6DkuhO4ugjhhJLRCEPvzsiIlce+T1w1
Hju2gHfTl833xAVQu6BpEU+t7RD3LJfbXPWPNLqxdXnXuGje0zQT3obwycPGC3ZO/VbQz0FIbS6y
5A3vM9Eoc3mjPeDwvDN12QzKOYauBeuHlNmonTsW96+Q5quPpTQPckawZcauce/pt84r7WPnLFTZ
csN8fZ5aisk5jFBoL7kFJC+wCOinxqhI5/Q4Lez8hmjXAyLCvjJa3okO6+g9B/Uy529ZLD9V11G/
Cl4GF3bRvySU6jRDKbBdW8k9qVkqiQmuT2fg4rmFRBNNdsdIRzykVbZXpaHQxSl8UlqL9vgsaIYy
O9JbXNpCW8U2H0RyHespeElMUu4L5+GQ6al8SfPvOnao/evUTyuLs91iDf25tNz6OyxsUamHY2ig
YsPJdZrmTNRg2VF7amF/KCKuSN43B0nudes0nXPRMacYj5kco5p6eA2APgIpG9Y/x0+IH/V5wJ4b
LVSg+Zm6SSlmQlFk0oiIFCu10GLPYZw+K3+hzjjLjjDrkDIilhkk8s5L3yErIg5M1NeTTiEhoS2Y
vqouX4p0Jv7UcDLCx5btm7rBNd635gtJddqfmg7rJCUJCJNXUX+6NhEScuwwijWk/vwQ+TP9EVny
Y4zr+Uc/sF3Y5m+L+pNDLBLrRjrMvPlWcNYkr87tWio2ou1vgkQR/Mx852vQEl9gbHBYmNKGJbLi
hxZcNttYTQTTy4wpJ5Ycxce0B4xoHOrBQGDIoVUsA36YwR2oPZ/KPaOEhFWxwjeyko2dmucpoqOT
XZ4eoSYiEZdnENQ7VHNuu+CcrV3TEVktm/natZa6G6O3AyIub1MA1dxfsuMC8v0hBr/fdng4D3lj
ZFdyvtW5T8e/2sjHh7KDY5oU1SlXRO9jL/jl47B6j5OVA5qApUgUybKc4MvCyCF2vOXsSUUVqAFO
PHwKcm0U0yw1CCioq5GKrI/atzql0GYdL/WGp3HXGKiOpjhVJmG+GObQSWpUnLwV+cHp+vJgoQGC
QjXAlYkerKRa7d1xW5+Y0Y6nstKSTEhd8fPkpM3WuT7EdD/9QkWdfzY89XuOZvO9CuhF6HP9YNAX
vAjpMtbMCBzDlBIUZMXT1Sv13Z3wDppoUZuonvXFLyzcKVNA9wcudpIiTKnuk2GgB9gEz/i0o64T
Lx77HydqOyHS4HbfK5Mnn6T3qVGTeGUbfW2BLu+rsaANeD30sbgQv1Ql5iQmRGQh1iKxdTowvqmp
C862q8xd69Um9R4E+jOTS32qlRUWlJ8R4IRIXAQ8IML0AKsbsgNioFF8FLlUMsPu/TnS6YeKuuyU
Ie4gh3MZFe0LzhRsU2qxQZH6vxMPP0vPZRsrORtr5ZbhPy0cw97faRV7l/UFI2NO51R9ez5cyz/n
0rQONSz7SkSpJrrAKBrcVn9pyWqxY4nme7ukNCVY5KDtUX9MUyAOcpndc4+OSEcUo4LJHm46rblY
MDivT/S0WrtZMnt015akGP78PVAoFN6ClXOyHP/se8289QqYQVqo7upJWVzqHvHX6zVDDtB+LbSe
FPfKloGhuNURQEwfBAeD11G/532PGYZTCrR/Rkcm8qzl+bunbOlU/F8d+L/C7LrdU/6g9XhYn5GY
k3rh3OcAixudBSg67JD3whl384DjsGWkeE0bifBEmJE+QHoKwabee2H429wC/GwVo0tfk0OjUGpc
emn+tIthZ08FN8WI0seSFqVzMsIh8ZU8ByLPDmTEi+MU+NdxrX+KV5qMpG3i0Cx4FCd4XGgoifvZ
efH74qjyYCCphEVqcFadvUMdOB9jJextoqP2EAzW7xhhA84/qamnntzZ4EM4SRsHunDF1rONcreA
XL+Xrq4Jj8eQXLL21e8neULI6I8Di+m2UGNw7sv+SsHgciPb8KVBSCniVl4QZNZxesnNRm0zWkve
GgJSVwTxS8FiQvFWkF98o/W2UeVArplzQr9l/hbZ/qXCK3koM3UYM/vNnPzPEefGZ2ImlEpg32Dc
D6gaujOJ28zqDjKbVkgjDXmzh+WyHKqHVRlQg2tAL5tSFa+MLoaQNKoMJU//BasCPwWF8tLrObf0
KgvHuq3BgwDmIG8+8F7F35TLRckbnGw/Ud1uu01oShp6UDNvzoS5hGF/fTK9mc4AFxtL8ymmKuNM
kNT3rH039JQ/RjLoC0Ip5GEaHCOviA8Wy1FoMlDnU7jIaAyOw+wtRyrm0QQHAHDPZzEg7rIJnIqd
aj1gu9HY7Ow8tciU0LAmzOSfZM6ErNy3Ae+zyR9+SCYMZ5Xo2tAiMOTCp9K2+apqN79GC6dvyvZy
PEnujt3WQe9hT2jdm7fuGXHk0HmwaPKEXnGRq6vOsjSYuaq1DnPCZyikHdzdvPuKy3sFK3D9tBWQ
A0JJ+BZxfvz7kQJE/mNrjczKjjz4yRXAXJjFHh5rzRbGwLzfV0dEmnSLOAxv3I/ri5HhcHgeAR0H
3ahUCfoM5JnaNO9PDdY2I71jrONiX1ncE/nDW5vBnVyy5m3oKI90vz2vgKT386ur8/FqRgTag45R
ohc3n1M0EUtLkte5Xw3gDCw5wTnv9AQ1X2LkTysr8OSNiMrgbh/PStrU3AerUgzQ6uIUM1O71DW5
KRGitYUy3xRXyIwJ3z7z85pGkHpmh63arb9qiR3HhNBO2X7mAV03p/2yMdq/HY/TVjQUzM0QzA7Q
gmEqu/NV2g6Gkyx/bZCyX3RCEV7NWfAQqd+cKeL784W5hr93BG/QtoVkGc6VL27Ypdprp7aV7W5w
Hzjva9+808/B61iboWW2eg9Fxds9bRKuE6WXvooFZTIGeHPceaEh6Hgu15FqxvN8iY21XrvBAzWv
xwHXw5eRFZrvRrPa/fAsunnyNgUk1COEONCtGNjYZ38gK2Pjm6H3NNFrW1u/HfoUN4Nvi22L1Aq+
KmrvZTbyBkn9n1NohAnAa2eshNEl6DviWMyeQsLXCz2lr5UTfYrEtm6cfInE+e0v8mzJIbbqZDdD
l9z5LP9bx2jwK7WtRpQ2mWc4Nt7yfNWOuTY4vP2gQDwztBdEsiXuLvzjVdh71a/FYO42rS90znKU
qxU+yxwkuqMw1xjByTGpBmcMkWyKJIuOKjEmQoZ4m/0cwhTQm0VGF4SmaVuBKqdHgdJGpoLGXaV8
G5+ak5WjOguzCg5Za/+lg/F3jNK497Fc7BNluteCmNZmitpmdbwOZyet33sLHNxmtqffqjKTEN8O
2tk8MHcANC03qSHHHfeP+LKsL+nq9RJt8zC5YmLAXwwUrTT+LNEJfF3d8efRJJeSH1h8NQPsUdbJ
L8A+eRn1XBXlHlL6n7OcEwZbdX/4BujFuTXRb7OK3ZvsWBys9QUoDwUIVNB9yWLtH2F5AyewcgrW
TL7nzxeRexixDeMlbrzkJald4oNxNR6fxsUUaXQj5RiccI50B1sbyB/rOkqTPKJSyyCl0D5+Zwhb
GQcU3kFfjlsrpYtPVDP+QFm/2TSlUsn4njgczVOxx2Yr7w6tvcdBVXqXIjaYIp6+uqgX2wBY30V2
inI9k9pQe+6Go0AaCetmxDoxScCzXhnGBsP2qXPQdvz6g+nZFM6mc7RnIiRN0Vo/CkKAaedHx8lt
yqMn2GNi3Xqfav7EaPeTngAHR44l3wI4/tA8lLc3Ej3figHn8jw1/FwZl2S2+Y/exqFRMZLZM4F2
Qy2t0MLYhaXPkW/liAAhqyl0SlGG2pLevpyq+by0aN9mQ9cAs1JG8+2Irsbq+Jo7HD7zCtfoNFZg
9NHPjwtqAwsR8DYSAcglAUCVxXHHmzadNwWIqFhi8zQIZW1ZiuswwzCHsSWZN/Uwmi/GaMKGYJqz
eNBKndJmRjWAdqr7FNxBhyFM+9ZhkVQ7pT9cadcnQvoByNsvnDLNEC9PHqq0tA/OgJdBLZ13Srka
8J0l7+xZRnRX7ai2SZekF2eW3yWP5weSbnKYCbxT3edckogSCaA6Be0LFERREzv+ahwfrger+3ad
y4CV0n+Asv0YWyfYMeaauPvl042TxI7uYEQO5eyf9+42ENGtneeJkmmHFKcmYh1J9/tSQairshaX
lRO9WgGFFE7xn1dxpDTdWpzG1Hph2jk/CvLTc13Vx16xD0cyHd/pJvm7CM9+lxiRcBLIv2X+EQXL
cK3zMaICwn0fmBJlelWXMt96CW5F4Sb7mCvcoViX5yJxIzI9f+CL8W029jxAwUuUccklKwuZP3cn
/D5Aso3OsE8zOveetXIzpML94i+CljIeDrzkQ3EmSaMPSD3ewQKFghV9/snwYMFQQS5+oi7mYAaT
f7QyLI6rN1m2xVFzcrDytr6LBFKcK5Deu4mScd+nEAZ4e6iiNRIPy51Q8DgdmHgCv2ij+dRDdZss
Ob242Je2WIK9kLsP2fU2Nx8CI1vLvppw3bAw735X7ereDGjfGgIh3tJafbFLhzYLVHdgb5UX1kVY
c9GmIaeaPxKn7XhUl+W8JA0Cqx+9kev6oH/H3NkWhJJAFO6D7l/m5mPxZeI0cUkse1P2VLPBVzfu
LlH97dOCU+CjuidJJT+YFDqXCnhZmg3znf9x5/HHj2icVlOd0ACxMa7PQ3dxFk7e5Tyk+4Ab+/Dv
Mgo6iu6ML1rW5TXh0n7VA8PDeMqWHbEB82pPut3Hqa5Pz4Xf9FiaGWVfVYIlh6aBe+oHtNDVlJQg
bmI58At3F/AewjVbH9R+ITvCdPYcu3DDVYzkbpDmBuZG1gESinf5d/fyWTLydHEADKkIjprgM51M
+RKMK7cJpiaXXeke00pTSjz619LM+1DMnbuhJn3cSyPmdu7k8+vzJpzm7QZN5YNPqL6Ug3Xs5Ohw
AMiMw6zYhfVCQmLJV3E2V8GLawsQGjGeiIqURJEhuBeJmDZdzl0p8M3b8wXLnndwGxedOKLkfGMP
UwqHxsdmM43nlsvRIoPjqJP2BX9Bsu2L4EcrU/Go8vgLcIbxLHTfH4XPWjAOeNESw/rARz7AkWn/
M9BJ9hnchS+M441TUCr+CuDZskL65b6E1T9XTn0izvzTofXhIXtl0w1SGTtv8TQrhifO3fpSxX67
08nSnMqGFHYbx7TZr9tv+fI0IBc+z8I/kRSk5VHESr9bJGT3XqEoqFIcrGOxADjpMQSPjiGox+by
bizxHdZBdK781rzgJj+lwwDiQcTdHveTcx4K7dDZnUOpi/dJHIRy9aQNOMSe18qxzkN4juoa2355
fP6qavPqWI2Gv1eNhVFmatFTKtV8RpzmD3k+tOinnGsXfQq6oLsGbvp1NoQfign1EdfXsG0ctJSO
9PltWF9sHrLLKrvR3PVnjnFn2LPCVPD/XmLXNi55TC2VlwKAfOoMXb407b9fPn+PVQL6IXV6VCDR
nolp4TU14+4lJ8zS+NV8d4dmxy3OOZZj/8M1furchC3lUm9uNSuDqkXXsN2Wm380fjagYcdINUzS
mSfXS375d2PLdVtdyoa/FhXl1pbVB1tNhyva0p57dqvBO+vBZjbr636nO0WElS4ruJ81Jg0YZnrL
quXtvLGZjn6RaIqmAZeO7ZAzIckZ+Nk4W1JVfMDsqV6LzCzBTTGz/pd54ZjAohB8wY/itm50dPQc
0hpqU8TKC0kcqC3+6OyrssuO1arPBhxPTvNqRk2lbx8w4/02BeJEEMV7KwLzzXX+e5MhmyeMNukN
I6dXNdc04zzzdFWs8pjhKvuiA/MQzIn64HBBVYs1fSP9RENc98Wb0aMSI6mg0tGiaUvMbOMOq3gO
HDAyXse1J1JnJi0bGJh73/I4Qk3Z3Y5ph3z+SuQt6vto+ydf3Tzba2nuzecb4fwwh6hXA2RIPT5r
fLLCgUbjMYrwa3ZcETCfIWN57YUwyXry4sQj+49h4WxgmWmkk4MsN50TX1I2WROGDxemO1dysYKg
EJ8gzzCDpjXbTrpbNfYfMRe+OZuImmpkcIEhRMRD/nPw4hvTvYOO6/5VkWC+pLb6pQK+V6nVMJyP
zBe9eFiWNbxWnr/kroo2uVuTdy2a+AEpND0VaBbvYxGjnomxhmNI515r4Xnv10xsX2Dsaww33tvr
KmoPHOm6YMVe4AhM1tOrXNzyXAr/TjVbfMtL9N1/3jWjIknlBl68ZZtofnoML/yyiY8Nibltui4F
dpD87Ox5CdMSt36uq0eZGQrbfP8g9JOc4ES2m9qx8RJMYZ/XzlvKlOwEulFtmkIER3y3cPc9P3gt
pDVsZww3u7mDXGZGfHoZPVTYvMPVzP6e+tmbAK/9ZuZErp8a6xBlxnkqyhm2Rc71QXTRHtYcRKNV
BF38ZHzFXcxXYuPEcOVM+u8eA4CP8wiXHhiR6g+m0O32eT0xtc9hQeI3QGSkjaYR8TWxeSg4bdy8
OGZ/mTgicOo6Ps08DoLJxm3pOZqwk30y34WVX8Z/ZuIxXLn98pX5s4B7tWY3nIABT19EBPrQVt/j
5kXiA9oElq3sjeHzjcZiBl/eeSUYvJ/WxFfRKvu97zZKzWQnXFfb18HGx0vJFi7dj5wkCkiQ0r9K
X/vEQy+27sSFGYh5NVpWeDJfR8/jVk7dGYCfkSSmkAfBeJe8yQx/ws1fcqahRy5MPylJZQJOVw5R
8zXSlZqEMCUADcwC45c+65n6A1Sx6N1qUFae8a7G949RLFjmEOx2WTTW4US4kX+N+2+LBMx4aPXU
6HdiVTip0+m2dA2hyDw+ZExlLxmmhIuWTczaH4AzMboogFJGTZni3keccu2BgFU7N23/NS5oH+/p
9WO+wVi7HWb44xFmDLyj4yZom+HmN8twi9aXrsHd7OQjs/Mxg6aSDA62534lQEOLkk7tnZ8vkEW8
c24uhN4mpkwbp04/PO3iLFYyIE8Lp8aJh2OSzH9qhEwYDClT1SDlh1jZC2QY5y1zsG8pXdKvnqRT
jUNewN0aeKmo4y+yt2g3WJfKAcMbsL31UV21Zr8EvbyAx0oQlXZDsh784tjeFL5cdlFvGrQzN+I2
ZK4DYtoKWwc802x6H047loRijXdE6Wk7ezh5eHIAkcwcJ8SpL7uJiWGZYMbDwBbAJKQ7leUmmGGA
Dalvwl+DH2Ok9r5um555eA8eBkbjtPpGgqj6GLIcxG+8GG/oidfYGo7P9CXZ0GWTM2TfjgtDEp4A
/nFVix+FYZGgsxaiAKxqGbBDUkSvRX1YADq9DktyXPpiviTroRSYk8HBeFvWMjsJp/ownH6gCFW2
R9Lq82VqcZqS33w4SfcQIzO+p9e06gb3hPlhfHT2SA3gcjEJqeBDFJsJl+Dh31qUgM9zhlfiCb+A
YiUXRLl4a0gdhFFC5LxI++9RI94s5qNfc8P7j43Hu3PjfIHKCcyxMU4aVOwDfYDOyYXEiyK7R3Me
YScxzIeCA9wtXcg1s38spzIHPkoEzdqhqP+aOuuQUKOctL0IcQDJPcmj/FjL6OGxrpnEraitJ9kK
CkeHAG8jktAD8bzVTvbU3YbMrkPfqYFOLc63agBBb1MfidRioMiOEQFTPKzHeKzZ0R3iiM/T//NT
y3Pd7XJAjeGQzfNjnmgfTWjktCj2QLjQX4qpJuKp8lesyETj6olGbKsCxs6St+Vbt3x3HRY71xRf
eSvqw/PZWYaLsfgRkm8u4erGDBurv3h2m8Nge/hLW8Q8qnegiomjX+uF1pr5V2oXlBk6M0fsvI/u
s6aBV43YTYyiT08cJkPedI8S8mk4xH3pvyk83hNnzBEJmst2BxvLrpN3BSwJnAVTsKBmlKS77lGP
9e8swuM9TFitSmvnmpX+4s75iKMNEc4xXYV9gjujVK6zGbpseJ3XFfifKwij+a+isjFp1uDkYsND
4068v6bqi/1gTx3kznGE0MrNdHWVM1ioTmZU1ntJQc6hmsDOzwR+t7aS89kY859CFFCak4QqSxGM
r4r4qi+5Bknc7JTkSXG16bjcygqovRgDi3ZjWBi9gheddKW5C2y8UW6O/lUWhFBbn829BVOqsq3X
enyxOzBilqyGTZMUw9Wb+WaLicARKDsO5noUx341B3Z0znKIqJKz0TCUIvfoI+F8yZ3YujMV+Zbj
wy1wvIFqbzAPrsyFJ31hidkg8CDe48VUYOAwzqwbOARRHJWiNAhSN+Q/XVKxxCRutplPdM8OajeB
zgATfewKSo+s6kHw2dmnXp+c23XFVf54yUp/IjKCGz6Y0uw2v/rw+y6FSLNL4Ga0I6TjxW804dm8
7fYpdIft3HN7LLBSbC0/YKXwsCtECQ2uyGKcSodSUUpYQTBdB7zPF8uAI2F74zof/dOOjXwEc2A/
6Dr4kOLA3NBllD/oh5WML4bJhpBWeX78F2py+pzvkpBfHMfwA8wpGgk6Gqadg1QuO0sAjEz7LzQ5
y6UeD2MpU0bntBTYHNuuuYnluzHmOExneCR9YXw1/N4JR08TPUMVvwsvQFurxbvfpP35qZ4alqh2
wgZvmZp/VFrsGYqN3wRm350ddZumW0cmLBL7mHwj4sxgWGFu0jbnEdYze04k3BxvAbZYbEf6TReC
4BCOD4PKNOO/SlNrV1QvleuWL2PpuHKjGWyyXewzhfNWUfZ8dmg4rvh7MitucvpFKGwqb88XGhv+
9yvT4ctKpP9aDINBvp7PEKIerhJ+ZzqDPkwl5ptMquGCJoU2nBn6XfR5eldd/Z2ICNvab2uoMIVK
/o2MI5OdWKTg3Nm6YgQ+iJrcge9zbFeFg4ul9wyKHfz+0QiYmWb3e277+FaxO92yBns6F5SN1UfD
w2HctZskFBK+wmQo1wXGJs0IAnv31F2NxbBePEZ8c4dKMFBuvqu1W3+W7KlLTTqIICLHfRf0267E
zn99viAC/+9XqGQEifgiyVXnfZ6NU2boW4uiUD6adXu15IfT1NM5movfz0mNYw2/S7ukt2Kdz+r1
JbVcbEMZ8zOEwbcEGM/JHjtir+tVYil6d9tFeR2qFuRxN3NF9b3iZ+O233JhDWe5sjvSmebtmm/h
cY3vv1iCRUEmmHHG4Pb8ez+dYM8Xv/NMdil+tmUw7wHmv7i0yn2xilXOQCDXaRAojCg5GNPofQZZ
d4wkajFIenkZHQIQUO4xlK9Ibk/fa+rjDzXgku2/ZdPjxwEZEvcv/ciIMQZWM8y858Hgvfaq+JUw
oNkXpoORyG04BzRAQxCC70VkZbuenCznvnXySgvZ05OJH/H/rsg6WIheYg13LKs5EtpiEFW617Uk
8dgYzX+0DVNrMUVvhuVfA+7bh2wwMspOgR8FvRE6OZYwcmRsmMgLgSQdxfCWkY1KH57/ZZlM8zsR
d0bY8Aly1aqwk/Ev0LDJ3sX/s4t7q30HMKr2MYNdAA8ZLjYheg7SzKL+/fV7qUJMRzgqhuFXyWig
4SS7Vsa/Q1XChGAG3htp/vwc+013+J95YB3mG/pE8OrjGV30JQeV2J/VwR0qSTSds+XsBu2hiWuO
vno+PfO2wCiOMw0BhEhZfPs5ubiFeJvX8RBwToXLEfeuWzDvUXGiD6A9cgYEFWQwLFAsINEKjc/y
9QhP+XxaYcCxjMtz3P2c0q7TdQd+oOkxpV5f9FraXTXnlFQAFpfojbClpgquuOHcI4uFf3PTyjE/
LDSb7Oyx9Nj9UhomCvfLUhdVyGNDbmUNQxNcMo8lHrH1yjxxwOqy1UE9Jrem/fn8J3wmXxd8pRvD
QELsumlbTD7LOT/SyWawdNZBjTOo12jh0nuZfXF/fqlraE2bOXfsY7aYjJenYgmr4Ycj7PycD1Yc
tnqSgFS0ABHhjy+RPf3vhYcFOPYwYxUE/uAZLViTIpg3kuPJHk5LcH2myfOcRjtMRPyeDXBbp9Sx
j00TfRLs+67Ltv1qWJjLUCRCB2clSSjp3tUKlBnXF+W/R1YHBXRFVgxYFNa7ZoL339v/H/bOZMlt
ZNuyv/LszXHNAYejGbxBsSeDZPSKkCYwNZHo+x5fXwtUVl2JkaawW+PKAU3RZIAN4Dh+zt5r63ig
bi6qECk+AQxbJmRCM1jtn7VCfeIJOTvWHtqx/IGby79sG92LMTO83Xmsenmw53+xC15L4WQHp0lm
7daM6IADeywjWPi06yyyYngQgURgIscHwHU0vGevOJy6rz3BINtYo3Be6LrZb7IIA91smdRr8Ouj
aFYVojqkC0zAu9F7atA1HglhgZuLKf3nV3Q1N1EB9XsE6fGsuhbTf4661a4zY5NheAO6LORJ9Mre
myT4GRrtgt5yf0Crx9kQt9kuMuUXBsryxdOMchnXALEQN75dRqJl1pxLpx73jZ76azsjIefy/di6
x8SGgYkWkNUyFUg0kElKOrfKJazWmkZkP73ZbJB0JysQaqQCZNHnoACWhyON8bPnuxsI++eBT+9I
5CO5l9oydEtnpZXMKhRrxjZEc09sN8FcduTpDBhI8axDy19pafYYtchLjSD5Zs+qa0/kzFtZ4WqC
omLO1QWzmKdQMLC5rAZ52XB6C3iibazNnDOznBsx/cPlp/w9/XwZl7ajAwHNzGvgEt2EVQ7xLkvK
ymaetwbFTn+P4e+pD3SSSXSMKb6a+vtO5k8KwQ+ZVcUplgA4nTpElFDbxm0eH3vnG95uLJ62esWH
disGFJJxB+a73XFFYveQKBsMOey7mAvGCWS5EsNtgg74ZMWAwwohEqg7lXW4KKgQflBvz616IBI2
HRzKBysJcGgpy1ip+VbliK1JKDpDipafF3s/dEcscqO3I02K/oA5MG8TnYCTkoiTozPZrLEUZPFI
A54MB9+zXhMaM8Qr4arGvjhL3K0IhoOe3CrUIQe/dh4ai5aG51rdwpSkn1wkqvUwfrHb2j04/VBv
mlgaO63Wt2adjvu4T3X8XZXaRIrmcKscINTGvm9U/WlM2Tx4zKB3hVegAJ/IfY07f28bBQL/2bqE
BC3cFDGfQdoTWr6w03S2erbHaaZuNc4QrNoh7uCOMLZNOjQDrp/3XD/Ip5i5wV+T+nehzOqGplK7
STQGoFpevNGTdUmL4qIDEB9vgT59oX8kF4R7FMxDZb+e0FUCh1j20PTXbo4hqp4o7j2QQOUwrQbb
/FS7L3TsGsTM9a7qcxtJ5GDfjPPD5UsZU/cNJl1iBx/X3oWgAWco0u/BJOj3VWW2axs5XaQpQafB
dx9dWixUcerY9urWDkL3PjYa9z5np+d6bJNcN/EWwaTJ+9Qp0CNLJBfh5IAyztlg1+zy0VsZFdwc
ziLl45EZx9jeJkj/MQKlyU6MNC/HCV7T1s5ksm07in4xSXgQs+ltzPiEsnTKdgCiR64pchDC2fWN
Mu+F8A3QA2gOFmIcbuzW7ZaqajfjLKOo0onQCYhsC4Pd70KkHtYcUK9H7xhl44Ck0C59eOC03i5y
uWbOiJ3i9HDRyxe2iYAR4U9oWiEz45E3rRXHi3x88CkyA8tF6h8km8tWElFxRLhBTc+rMR9w7Car
OAS4xVQrOoqhOmKEWVlFMb4SfvokhJI3uGuWokCAjMQRaQVEPc9lrqEP0SabzYZaPaYbt2DsDQx9
O0a2Ts6WW917XsqyhKkubB6Yvi5xmboPkILWYYl5Kbi72OuLWowb9I+ffTT4WAR4oGs7L8pz2Zj2
Qi2r8NZvTfGgGfgMpEk8+ygEJmwEPFvQ/fVZp9NaoPTiHt4bNxkNqOVFue1bmITtUTfmAAPaYvTK
XoNWzK4YE+dDtG1823k1tHg9xKzb4HdOiffGiIEpkDdhWxTBUyZMwPljf2Mg56AN48BlGqBt2SXu
IVaAmzaW/S06lpjGau4xEbKTY+cGw62WR/tKMfK8SEV5fx/8KfC3RdyfG2IDF2WK8/pSfLuAqAmE
AiTPnjs5Bdq4zvNKP5idb7M1zIx7k3l40csSxklP/nao4QhihLJRhJzuvJAVkXVOW7enLlHRvvD9
Ebsk0Z9DfGtNOb4+I62fhSaa/cAgFA3qVD87qIQPCrXiwnJV9ayTemML7nqyUNVF/r6Ujg5WbOSW
HdfBMU7zhUSojwy8rla+i9jBxGi+GsiYw+nSl2tcv0R2d3W2A7cGBhVxEZ0XxoUuZDxfiGPjZEtZ
471KZ5+XWQgkmXFicwMP79zKJ8w1cRl3DY1CcRo9IK2GeFUEkvmr1W7YpjFjrNNd5xbqJqU+QwZh
WGg/guJslCUu2iSO7kaZYUkw5KxB1rbUCHRZsX+CPlpGepJCmzTFMmm4HEWjwREwclw+CQE1nAh3
AxfD/WCBIYUf2a4vHQYMjGgJjRI7AFHTUc28pbbn9TD2gqXNeTUyiUBibH1lyoTZJEXfXO5yW7/B
spHtXT2mL+GEJgEigvDXea24PPD8/CMFK43wItCot6bjOMdXzTaBjFEMG711Pa/KqRPVuPCcgo7j
1HOaN6a3zlpCFAyGtX6KDaEpCD/CCHwTqNA99O5LzqD4fHkIavEZggImUS7kG9mH2rYCERqPyjp1
M22B9EQyNEJ2rQZ0M5oIdB9Fyo0tyfJZVqCP1R39+HOeVuW5nnu/TgBYlqyWeYFjujr1CP5o+ndn
78ukiAEzSabdc7NfAIj5YngOweMG6gZpxYQvs3876m4E/i7IATrJSL+Vxf2QmpTSEGs/0SBa5Un9
ChmMtjoeYB8Gd4YWpZz5R174jDikZTTStpDQ5Zs/Fi0lUJpjfeEBEGIcUWhdqr3Lg9TEsKuGjg0z
UqUZT1BehuJWxBVb1il9yyy9H/rkdlIV4Yz86/7yrdD2vhvGLD8w/E9FFhMYOWu7S+BlN75Gqdul
/v7fowtOiUPhosBKxugFVATwOVr357COtpfiWcwgjcFFwCnB9TgGqkAkRStUjzafvT48uHLZsC/6
1tnJzgsK/XMs5Q+vKf7K4uzcFrpPXhhCPESs42sCDgRnITWL1p+Q/CWrpLWpAkdUMlo5MG7x03yp
4FS9kvzCWLYR24Dif0XVEN1CMt/6spIPiZDyAROUuyKzzKOVMxD55dILrOlzicyaMUTMcLK5U6rK
qdobJbF/zZQOKyEg8PchFgZOEPcRC3d/L9W4LH5+RbpSbOKhlimubFHNX8aFRBrMVXv5H6bMdc79
WJwuPwx0Jj+pKL9GZHGDBEQ966YBqvEmhz+el8NMNppSMDmJcTvFzVcg/l2H2IHB0d//9BwoZy4d
ycs3I29Mt0ZYfPZizzlEORYCO8jcA0wIgg3dWGx1HETbMqUUHFEL9TbbZkdgR+uZqi0sOYUADAIS
Cyqcn3181tConpvargx2m1QTml1BGyLQggbv//mxJ/RX1Yb6zpwcoh/zIEnOWcheKhcI6C5/4fI9
PyQoaBHP+LzUMdoVN7VyqelAM3BuDShhyxykFLrM4+Xry0OUFLcyMNtdLIpv4wVIFxoVbd5qhzrN
fGgp52hFwfa7nPX9vDNu54fKcV4hVhChKJpkh7L+dNmRqML1bmJv+vvh5y4l0ZufHO3/T3PHD/b2
P//9PW+zBjLOm092+q9sduy+v+CmV+Q9/9dbRqUznr+m/H//q/r6Lfz6X49f2x9h8xvU/fI//p0E
rf5l8Z/rmEo5OoU2wO/+rW7+578luc6u0rkfu9KwdHtGav+NdJfGv3QlhSVcnZ00PydQt87bmfau
W/8Sri2EaymUYdK07f8E6S5n+vVPSvklDdoAp6akRWtIt0xTCOs6uRd1DZe4loITVV8uuuJuRuKO
ejPt9Qltk12jBuzVZJ+7IAxOCi7Bgm5Vc3YqYyKIWfvh95q2ixoDV5cCLTVpWwr3+m70zRDbPiSU
yTW/YmGeMyvA6w5hE9AJIM+1txEHZPjCWgJzTxEozRNZUt9iRRMlHvRhTe5ovk684NYpVX/3y0f1
T0BzqPjvXjmtZ9gVuhDSduaf/wKzz6spyUvqNVYGiCezp23ZTVpxNyLu2VSUXxs3S/R9FsZHltt8
5UF6Xdt6hq8vnHOE/a9ZLSATjXm0DVA4L+u+q46yRkpY+u54F86OQPb5HxDN5w/k6gOzbVfnDNNN
C97pFdI+IaZpikM/R9o9nmRT6IcsTJlvwCGQsafvLewgSzR14QfJ1DOX/vfjmuifuaMprPS2dckG
+OXtaiIt9xg7Eog1QkgF2YnNzek3ui3bU9Tvmkh9QMon6+DdAaUSCA6kxZVwfcCYuXVnBwEvtCC/
skMui2xGp2CAppx98Kbq71+dMnVS0YVjWC5ZCVeXgRqcSFGcZUSLDAyv0jE/ZfV47+GUW5hxbt0Z
2eyNjHPxjC1yLTKF0K6zjl5vvLaRLm7J09nVmmS2C/gBH1sRfnC+vv/cbQD8LB+6YdPQmKPjfz1d
paM8q/HoezdFEe0t+kU3VpqzvegGNFdVvMn98kw2enT75+vkAvb//YN3BDJqJINEfFvSuTpwV4jW
RdKQLR3JCHB4QfuYPQEJTJ9sE1QkM0gK48/+THCi5fXi2Y65UFNLXIuZJw8lao8VeWjx5vJlC0j8
Qdr6E8i5D57n+4/QsQVCOYuwC0uiqfv9DXJ1AAxtDZ+yRkJJi2KuI8P0za1s3MrsbBfUNOK+7dca
1rowkdl9C5F8XdV6fAOwAWJ+7ukPzVuBlYrZovNBFoUxByT89j6ye4MwS8GrO2o+qX9/fsw6Gcvo
6MLRkqIHIBTJSAp3n9uBsa5NZlR0l/OtT2DxrAF9y0NyqzyRPqNbjzZWr9dnc35ArYBLoaxSNKAo
5PWsHfZpL1FxF3GybSp8vEoL1h0O+FIfx+9EqJLmmsbgBmICf2ofpEadDasP3v3fUxaw5nGKuOTW
c5Io9LEEjfx2euaWKFxrNAGk1OpJDY+95tc/Yg9Uf1GvffgK9Ofrt9ZAoxzEX0KVfsJuqz1FY338
8zOR//BMlCVMTlTTlbZxvW6AhyjSUHcAXg7cN1wXQqaARtmLJ5ZNBiatzLYq146Wpppj5BIAWCco
oJj9TJG2gaVdbL1YxoSS4fMxXPnaN5gLnaQ7mzgksKr2e2PEXUraz8R+PuruBi8rN7Wv4Q2m/ZlK
sJEOSfFMd0c0eCl0Aj3294jKPnjTLy/l6pQih0XXdQCr5MY4V6f8WIuIjgF0F2WrZjVygu2x0EGO
9qcbs/Y0ZqH9G+4Fc5cX4wazNDksBIPuL5JqZ8Aehb7XZpiT3poOinfdQ6nu7UdUQg9Kdz96vtbv
GSKXk8TiVisNYlnQJF4vJaEnaXk5PXmaw3TPfC466HiAdaQMizgsvHPXxf4KZGq0o2P25BaxB4Xb
wEuVTdNWTK8QnKzPedu5G6TBw1KG+leokKAHkGpuyLrahEjyd/VIByuZLPbceomfNqE9XaPupylo
ebc2mln4xnCkk8a+AYuDIrmJg5dcCnw8HZ/gYIsU0YQz3UR9Vq+dzFebCmTjJiiz/okmMi0e0ymO
CM6hp8q6gbgUEGwdjtMyoz26QfJUoVu1PnV5lxzbuvue2pWOgqBQ9zAEfhRCCx8DpxfrLHbnjIXi
0ennznT/6Gd04tGZfXCmXIdDccsgcMIhtWdexLl9zMk+v9y9a0Ta+AqDFItcau5TwkxM8SWkaMnT
rvvWJcReMTdN6d3p2ZKqiKJolLeicNaYsd6SVFMPuSbl/s/Xqn51rUpDKX3OFNJJleGJuVerxlhb
raA9HACnLWEi5By8lYL4KimhUURQQg0drmo+qt00jSfi06u0n94wKqOgaLtvf346V7fY+dnM7ktw
Ojp7KXX9bAo3agKjzcNlWujOZsyQ5EKHgr2wiSaxH2Pte9tZxeHPB53jnn69L1D6GyB5pK0gjAhJ
BfL7R6OcMAngEAe4+nQfcxt8essnH8hgfv4ste5r3hvRDplOty8zSG3zL3zwFK5K4Z9PYX4ChmIW
Z13XFhY5Q6A8i3AZfsXoe4rHQjz1dikRfrgdW3MgTlagIL36T7bR7XBZtR+Vl1f7EJ6CNLHRCXy8
JjX59f2jVnbFnAEgkNT6H/STxqWbtz8uwsI/v9ir2/B8IGXYrsnCqSiozKsrIaCHX5Ax7ENNjJZj
HH8C2bokmpYRDU7bUriUNfV3MprPfz7uP7xAOtUWvXaO7pruvDb+cgX2oh8FaxkqQa+IVpdXmMxa
VXd+rR8c6h9eo+M6lOmoFWge61fHSjxLRfizgmUhaSLnZQqfuKenjD9RpN2rOZTGqawjc+cnIfZQ
5Tln8LbmQnM8pnMGLhxQgN8Co0j3YKKGex8oFllNRVidML8HK9Pz7V2Z9+06zjv3qJn032Bb0zYK
5X2McW9bm9EhN2f4MErKnhJw9MEe59UOfqeDqqiXhxAj9jlK43WBzwVzLj16QXp7X0t8ZYGMwSCJ
ZQFBak/+DvOKeCDKJW3vYuqM5VDG7X0pWYoNY/KYhcyxBgB1X2vLHGhtqm5jOPF3h0rqrBJrOmOa
mD74RK8KTs4kkzQsU3HNkuhlXQfuZU3nFDSSSUiaiBcR9XAPkXMhO+dT6hBv4QosPR98sO+WCpMz
lgLX5DO1351D4ZQEA/Rs1uqye7bb/rlL22fBv/98mPenj0lbYa7mdN3SnesXFiGSAQIFmLjRI/Y5
uvnkW+WI9QLkTwPs0IdfVyMuDJP8gxf4bgXmLXVsV9nYj23e2asTl+hy24FyQUKU5qwrFyY7sXEo
lBV95dCFY9S3Fp5c56MF8N19iD6AoXAdEq5nsGW9Oi4ojCSuDGzMzYjFL7Ax4VikRu9irYAR3Mwh
ZTbTvjRmJYa6nWNMdbtNMxTJlnJTXw9B/cF2T/+Ht4J7IjchB4c5L/vqttBlseZFsvbJhs1SCNLx
qqyc6iC0EXuY5TyM4Cv2iSgZNQXYiZmyd6vJL7tVkaPqDD1NQcDCJ93b9yMxgoc4HfERG2G3+/PJ
csnQ+6UInS8D2B6GQ+9I0pi6PltSY+idEnfuslNWfNOmHRIupuBvoMiqUYqzHpI1RWiSvwxiAVBU
pcOO5a9cTpH3Hb0QOnviKI1V5rU3dgfAZLSN/BhOeIRxXhpYa7F7hnrLr1p4OkXrf1CFvL+OeZsF
rGEhcTaY1x2VNIVB59pEIpXV+Kxj6wrri9m+eeZ/S5eR+cG68f5OYClu97oy2T3Qxrs62ZAhOvhR
yO2Ip+FyFTtcyf8vV7GFr8y69AocYVx/Lg3SQFpQqLbJ8g4Yb7Uv40jZ1ENKONWQz2wkoD7ZCeB9
gTn++aT4h5dI04AgP85fXuj1yds3kNSlTluNu8xhXqhSER4+fonvPznOOZN9hU4njHy/q3cyUSqs
m9JEbTX58tDQRMc4FeTeXSqB5EdB8+M/fVkkrLLfmjuzVNPOVe2gAi1Eye26+EfhpmmFANaqetoL
Hy7Bc+H7+0XFAuw4ls622nl/pMZOxzCPHA+sapY9MqH/WQ5qNtC4oDc3f35d/3A0Z+4mWq5g0UVl
/HttkkJgGb168BaGGlGPp+u8psUGlNbZJE7dfXByGO9XW3pAum5A6sQMSGP898OxRQzhVjTegjHi
YoYBLVPCm5YWohB0MmCfKyvXN17WEhMiBtRSYfItsTAa1151xMVC18AG6Rfp3Gzt4nvXkwHSpLvc
9QPUguhyE7QMRlZbD3mDbv3P79X7myPPmF6+SxPU1ZVx9eS9sc4YwSneqwZ6utA6dBzhBIG8H6Y9
+PV0BcajXTD2gylMotafj/5+x2RRoDOVpVjXdfVu8ZAlZNzAY7HqohYQ5Si+X4q2zPL7ZeT2W5xi
JP5WxqOIxbQ3A9gBvRl/K9pG3pmYbz74LN+dOfSEdd026WcJ433TLU4jzDyWC1Euh2umAZXR6HOt
XYijQRd9sIt9d0tkc0LmiUv3k3NUmVenqQZHpzM5GrL26Y5mQsMt51ORIquJH3sMeotidD56w413
eyMOypvtMHShJKI2+P1kbYuoY6Ade4uxVubnHLTzilcdHV3UyetUkGBN8hr76jYNvhuki9SRz53O
cV/LpoJH1eX1TZg9kTp7x7zEv3dQTwGd3BRDYJGliHN/moDvf3CW/NOTZq7EEnw5Va83OUMra8fy
SwwcASZigB5gY9JmJ+UMq2tKMhiGwt4UUauoeFJsLo+xXkUfdOLe3QR451zDkRheuRW8KyNFFDns
ESQlvZcGp8gb7h2BbR6QVvRBDXI9xZKX7GPKD5OTUMh3hbHHnj6PytxbTG3Q7tu/0FvlZKID0GYG
M6VKWw0sOg9N3L91AarplAbOIbIJeXJrUjvQmtLmwWtiTLBVzbTEZjf7fQvduPH5oO5YWuxFnoJc
ivL0p4hRhyW0qWuI/VlW3Fox6pSg8MShokVlBplYtE2cPQYTzSr2aTq4JMDbH3zMc3/vt7sEpyUT
C4cdAeMLJea16pc95djgYYSNMZ+bEEep5WsmD8Ca2PvewunbDwVwTD/OyPXUaUiywQ3ucAafMzQ2
sMkInW3c05+fk3Gpla+f1LxtcG022lSEVxdM7ffQzgIWSDwYeMsLZwnY5AswtWlbOQRY0Mw70/72
N31oAeLwA/1YgPXP2jujVfemBP3mt+A5W9wpdhjkD6y3ryFOGgRgWGki76WzqpS0+7x/lEJvVgpT
+S2dNCIeLfdbPI7GPd2UgLSQRaiibpfWU7DQRL8rxsR7DXvf+MZZ2++A7DsUpo9m6bYPg6Z9bYhz
X9Weh1pRBsu+oNgvfDA+lSo7iKhadi6Hvgbvw4SDmzNJkYiYbkfD/pGVWFIRX5AbNiJPmPDcKc9E
+5MCQQ07tr91kT3b2imxm3QPNSCYUypzevb4AGWXnAWAsV1ke6ciaE5pYGt3qCBjGp9ut8oKOsvg
Wk+GVy5ooThHWXTRoXHEraUV1Y9VX/Y3k2vB5KwSF5lIgO6UQElElZ9wZr2Cgg/vu7Ikgmzw/5qV
bVE+HZLYbTfIwcihnN23qO5wMEXOsEHUbZC0Fjl7oYqXHtDsIQXEyG2k8w+EJADg9+pxZcmqOiLs
eQ4SWutkoSooP4laQZMDKlITQzsSBNBkzRtKFvVYGGN/MArwFaa0IcUYpn8IIGoRlRpjrpI4MSK6
FXeGxGIzZfmP1Ee7nJfkHQgaUOe6yI+yrG/Aw6Pls5R5Il4RRO0IG1kmCFWTBJ9U9kqgS7q2Ilvi
wE3vnMwmGqeL7I0nPQ/jhnUGSqSdaDlsYt+AcK2XYtuMvnMCJfYUQTTHBu68kQRiQb4EhhjTxBiY
8C3aGcwb+dbamKS67XHeQeFsyy8+/OCuGW86Ud1pQVIjp+3ltkiUtUOOCmiLDOU9KmdCGOh80Rv2
5BZJynf4RcGTCHLO1CEkNLcEDTlORXcrw2EPqbNd2o073XSTBIePoe9W2tFn6Y5ws2f/WpWgOtKE
f+O0cfkpq54DkBoYIUPr5MxcH90HDF4mJns+ndgDd0pwWCf1F5VmOUxz6y9LBfl9U/fhMmtu63mc
V2TiLzslosyJMcNYCFw775g1en0K9OGRVG93i2MQbSEBIp2wx8eJjNh10npLtmneCRVzvEmC6otG
TNsBygeo6vIkwxv4Ld2d3vndXVrBeikTUMQTRKudVHp8RwwU5pxeG/7TygQCCuHvOigq2qtcFr+v
jTWF6wC0iARYEqN8nXq9hKSJvw/HNk/jo1vQ+8KM4837AptdF4ra6wYmBFjABgZFbS3p8bmtoMvV
UaFIq8LnhwMDUcCsbWq989AMy6CMOR9V+InQh470uezrn9fhd1sjng41KgIRk8WYmun3l+/YHu8u
i+kixl4IWBnIHFrv/WAQSFHGTr63Y/H650Nel2cstjQcdYMVaG4eXQ8486pPKttTYE6KFLqOhz9j
5nYcKD3MrWeswakM6ykcnv982OsSlMNSFTK2Z+qILOJawRIRgDqphsNOaFuxabPgz/W4Q9f8Iese
/nywd916juYKw2XATLXBuPOqBvWS0GjrgMDALgPZ5+qsKiG0fiDHKVh+7BdEijb6NieUZG0QGo8i
LAo/uO9ff7bzc5AW3fpZjEHDbC4Lfrntm2T+eKNM/77tx7EK1rIlmCfQtZVuUgl0hGV+0LTQr0vK
y0E5uS2LaoUW3dUJFUZ5g9ORkrLTaK56EcK0POrXuK37NbfcZaDijfBJinACP/2Gzv2AESd5/ODt
v64p52fBaJdTl4bT+30xAUk+ULKWl25N0Xq0IUNIdiYobirG5hUBDK5WnfGlp8ckm116Yx+eAm/O
G5X9Y58B1p9aHQCD41kfbAyvZ2wch/WG4cXcj9BpCF+tOMCDoFTjsv+5Z68Kp72zehLbqvYJENXp
krho6umPOtXz5zBeOXW1n5gnBYWmvUBdnhYaqZr3f37HrrerlyeFIsIEfm0wW7k6XzUNKyGYE6wS
jhOcvBadwaTE+ByXMtrFdgljbxhWlJi3PfGtH6zB1/XpfHBqcrozuKzmAeTvJ2ocEe5AupS2aHtG
z2DSB3warvnBG29aF63WrzUnH7FAMMf7z3YDcdTVFUH4BajQHHB5m0mWnqg45Lb7YNnxVyPee0K8
SQg8xGWO0cmV2VuQYKRJfOMz/bHvTZB9dev2zN7S2tjjtDIC71UquOO1IM6h9/wTyeQE8ZLLVEGz
CgipTXKijMoOnG9p02xl77lKwl5siiAn9AvG2t53BDo5EqD3jGafoTO/sYWmfCWKHDyCnu+ywQMC
iQ9gQo0fpph3FFY0OrRoipOpPOts3058rIsu938ktlHv6vQtMkS6lqGHE113v8M2jbY6sSlIyYH/
ZNnJa/q/tKzoDqVtvnrAVHZmW2DKGT83kLKOFeE3HqIRMtvTlbT8bJEY5SanH3m0UqAJSX3o0EHd
NAFB2DnCoqAkvGpK8Riqauukr4Uw36qxeFUqd/dVZCKnIFt3y6D2zGq5Bm9frAvHgneSPFg9DSUh
oxjAh7ebdGfXlVOy6VpaMk0XYQRGObcrBmfdcA6dTVD4IrLJ8e0dKKoIfGOrfByE+RSGlljuXOz9
ZI/p92ExPmWtu2kmB523na9zULzb0XG+WaX/UFfyhzVBfQbNezbq4nmIAA2Eo7sz0vMMLoHJtpRT
R+S3iIYtkbDYmgZaiJMY0qXXzdF4EYkv1uzEalHOT46+9ZBApimzu6SXe3UK+k+BStAxs5NF9WcF
qBipja0C6hlhIPDPmnCRyng7TUTREOyMq6qsdoOgnxcEDoWjThpKU3uPSUG16wUVEXY45wZJ2qmC
OLnOGm87aSOoTiOp1lOhhgW6X7wubfq1SaPXuRO/yTIfyrRPHqxhP6d6L4FxDJp7LAP/LzYW2SLK
8s9dB540llBkpV8C3PZeTDNLtyhV8arHFfZ0C44TOJay/2x4Zn2sg2nWdhNkTn46UoJ72/mK2b/D
DkJCA7WE0r1ioQvvr1rOoi5S5ybc48sS7sWqc516YSk2FbVPyzIrTRAzPq5EpNCq6yaCAasBXF6W
rnAQLoseq2aRkYwW1lsbkQR0P/1FRAx4crs7wRxLNkGWHFCcqQWi73M66rspJ3pMyQEuv8LV5crh
YCj8z7FZPo6W2NKVkAu8TTXwDjzbvFAuwydE0eyTUIjk4lGLu3vQErdWTxGfc9mGUEQAOyKex9lp
KmPNiwl5k1eeyNy9i3sgZDPXEIc6TXSCGrhpVlw8Fz5qkUpPNkoFz6hzmMuFg7b8ZvYGGeOZl8GL
yBQeLe0cR6LZOEp7M+z4Waui6c7kSnaqOHgYs+HOLuo3L7P6x8Q3v/SsYwk711cgrpuu6X9oxuhu
VQRbJod5HEZYe9yuYVBSgqYmystftHYSw9Gm6m5RCeC10YvmLSoTG6lSMKxiWA6rNvjclTUZZnkE
6wNvEXSsbV1hr7GmAZ64CtK7OhiDdaC5bzMFcK3Bgrgn8OS1HIvvQRv4O8+D4YZdLD2Z4SYl+XPb
KRhiiWaWT3YXY5qjPcKIFw6TLZol4hoH9FErDnp7azE/XMI5VPu+J+4t4h01J/4cpm6XjbL0910X
YTzNtdeKiPnlUEhvHwcTaKULIjn4BGomWhm1Ga86i/FJlz/qxDsuWgvWapTJpY4PfkFr1lioEaIE
8uJwI0goZVnZVDY7zLwlNaAanuq63fpG1C/pipDj2wruw5jYO/HSJWhv6qFVx8mK1bFJGsz4wiWr
KzVhg9XNt94vznmS7KArWN+4nZPT4HifFMvWKo2cFyCyO4/STHjES4Io9Fb5aMF1GvHlJrD2u2EG
5lYSawAt7c/xFPoLrzdRLSVlTw4e+XC17t5ASlSQ/HHu+zTssQND5WhtMqmSZi6rnb7blgFCKkWq
+QE3VnkozaLEeI1ZdBBjgVfeLh4qrJyjDP2ny4NfYREafVvdDLF7rghYBl3jGn8lXuvdeoZLyyHw
by5fpWgCbicaW4gmiQazAq24Z5XtTyneVHP+ylRi6dSBNmkbEo9uHCkd8In1wBVX+C9pwoppijbZ
OXYUvLgZoKDWEeEpmgz/Jc+mzZT5xSM81/HRR4RppN2PmjCCnQTDftTnh8u/egsOqNvNkCvfGkAh
wfre/PsnPsyj4+V3Lt/7+YsJhPItM4ZPv3zv379z+dva5S82TXUe82bYXf2Zyy9ffS+fmgXaTSgz
oG9zQGJ7igwg8vODm40N5tpcL8jmmR///aPLv8i/vWuhpe8ifOjs9fo0op3UVPoauzouRUi+xWrM
DfN4efj5c0d2f5F55m0u3+v/70/1pGcy7otyGwPEw0aSfQ8Ey1gcquY+j7v4wN0i2xDf4b7oobWP
dDP7rkUEg81so/sUrc+h5w69cXzXeJHlSKgnf8MLaki3lWfe227m7HEaA4iwkv6l1goiL/gbDjkg
AHhq8LAuKZ+y/uI4gLifer1Xh6TkgvUA4BzsIcle7Zpr24r8T+XI3cVsAKVdvh+E0liPufB3ly9l
qd3LzDfvLVzW96WPgGL+v1GHhLspTNmsY8R9Ja17TqU5pWU5PESTU57qoHzoyZd+FEw7HuMhZAAY
kZMWlBVRFYQjnLLMvquwv+VLzwvD5RglhJ7NvxypQpFM3CJt46vLH0EjGpMf1Unqk+4+k614Nv6y
gUu9+ZjsUcJU2aOVimwbEJ5+0Ge1aNFix6+sqvgydSQK637xNqb+Mw2e9MUaMpJT4gZLE9zzIwny
5jrRBv+TCoNvlz8bjPbK9dX4VZUp4Bllx4D2jHw/RIazzW0zfgjt2iYBL89+WMbh8uejErOsTVLi
o+r+N2PntRwpEm3tJyICb25V3lfJtnRDqKdn8D4hgaf/P6ieVk+fP06cm4oCksSUBJl7r72+xltj
pCX2he5CaKREbJn3qfqOD8l+7p9H7A2Uj/2Gr7PPu7yrT7WnDgdGffBTo0K8INa5X6FHJaxdFeX3
0etgzwypdvUZpgDXVqj/TGr+YCrA4+iUm+c2b06Kj/FTXDJW9Os8f4EELNFl2ChKYzV/8R1FW+YC
O5R5q9Kr8TqOomDtTo0z6gY2poFjwrzVyU11h4pHLOZ9e60xqXXnp/ZUO3uRBm972Fzv80ZB+cw1
0LL9vCeBlu6JVwK4F7qdP2p3Kij0n+bWFBVuO8eLb3NPpqG/QpXpzvO2Cv7Aw+hT0zHvF8u0WNij
4t8vIHK0ZtnEQ7i9n0SFfziVfvV6boxpW70JZk/h6cAOriy7NvW0xdwYKylCLL6BznPaCjGiP5Vx
/aOwcxN9rkGlexoz9A1FkB99T8/uH2RQsiMazOqh6GvqS77aWEmIqcrc/L5WKW5xXTaHeZevHuYW
DDmzoxvrHOC+GWejtUySz986vH+dd/yt1woXzYVCnmY5bzF7j6P+j+6ms+x6m3prqGbz1q/rmBd/
2zkygnqbw+OY131t/TrRecP88XUtOZ4hC8B62E9O1zI3vp/MV+uvLVIbz22hYhAuwnMU69UuyAPj
5JSVcZIVlLYHTO0ZiuD+vlEwFvX34M1KTdQU8jd9TfVjP2xgygRUAVc4TX7trfpRuWiaLF/9tmXe
3OoGXDxKuu9dVI5h73StxA2twb3Gmw49t1Mb/g0aaioWscTZFPPgf89sbqOMwTvEZF4H2MVBKkzT
9qij4LkvKhOcaKysbtGp1RlxX3/MJm50OeXFGVBfEHAzSB8qES4gC1z9CVebok6+zc3iwLjlAEyO
ONW3wCoq+xEeg3u4LzZ+8FwpVGfPO8xdxnH9kpttf7h36av6q4Nx4GHubf4I8vCb6GFd3/swZPc+
SgyBfjutxP4INMh29xbYOn0P2hKe2HyWdRb88PGv+blY9e3fjL/Ez8akKQOGiBVj11+X6ZWgKYVD
juPnSWFrgeZJ93dfZyUFxbMq0d/dvU2Ps/kDhXRwnqY7NTckKoD1pR3J3f3EIJFO6CyMKO77EM9q
HizQ0r/1q1gk7ysmJPd1842yq5GZD/Fv2Ij/9p2mOKumo2tu7313BnASJ+/ULWleMozt5A4AYqFD
jj79VlZG0ijQJFVC83JskFHMB+wR5j7vv6CoSJa6XfSzT2bQykODMH7zdd0Gc9EFRqL25n4c26oh
P1O8Dbfv33NrHT1bmIboN/dzkykjfjwQxaaaj03BHxRpqy5/67cPAIlLvUlx6pnON9GJSAwK5fzM
+37eTxKjvK+GxGMSP/112QrW9a4orZ/LDeSphd13GkPC6R40HtNsr8B17d5niyvGosALfv11roHq
B8sMJeX657m5RozRaZ6t52vWNYpJhHptJzZaxst5I8xVrlUHIxThLirr9jbWFrYPzPLnpQ5P+c3Q
oWzHzteHoSE3tl3LEEab4cHV+M8ic/6NFzn1Lemz5jZYZEPBMm5I43YwY6fFqcV9f/nv1vti0lnu
ycrUzbxrNu0/rwr4Jb66nFdFrMLZBb9+L9WW9sTr8wjVQhEuYK5w9Ll9njnR2cid9dyXv6+lRSjC
0M01sw33JCyQ91PjXumbW1x17mnqdz76vH5e5Ufmb0f/teO8z9wKMwrnNLX6WpVN3f/a8b5emtjY
kYYFjZltNI03Dz6O5a2xOvesYRX6tcqrIQD08afn4I2bSnkjpyNvBV7t5x4samEVGhjy/GW+bK0g
CIMJ+ppad/7apEvtdq0K+uVWT1do8XDDFiXDcGG6VhdfopNQ/d+uSWsH+1RAEvv5q1TFvcVvi6qv
/Harusy3yJwqP39VqMj2vDjfOT+o//HNNj11FeNX2cQfJK2BLqW1CygqtG+tWnyi9MRJNHn3+yDa
xeE4rrCUdN7jOjtlo26cizi6CJ6jkLgUdTH2NmamLn5QmU/VO/4Yt35QUkwDRkmZEcWBViKU914f
6wXjeJw5Iy19GtziMdRwQLWaUT+lbegvMa6J96VuR2+h4S0MUQYfeiLtdY8KdTMvKtbGahY6QbFv
GC9kO7VJSPK70n9HInZEslA8S9dJjnFkGotC94JL7JCAtbqcanzwSdfQKTqoAAzs53NqA3KQkehx
PHST5InAxKMRttY6grW0FX0IoSCS1iuea+lS1c3x2gVZvukxN9y1Gfy8QS37Y0rtVItui6/zMnPK
n98MPX0Tthg2X6vmb1FdTfP2aY95N6OxqLoJPe3h3hfZahwnfnUTzwdI0gSuJm/NX+vv3czLX3vM
i1WF6Z8JqG31W5uv492PYubgSOJU//ja+c/WX33rSkmws0v3X5c471Z5GBb/dimZk/OEDLR4+dtt
+Trlr7uktE6zSxx3++dpfR3za7eqdp7KEeLAbyf4ddb3Izljk6xMs4dWPd2h+ePe/OuU78caB/cg
JRief3+nr7P686TL3sQnvMK45N7pHz/M1MP9GHmJy5I79D/+x+X82mXuIcfda1ckr3UXXVNnKN61
WmcUqFbimmERtu2GYdjZVdoDsWgZoSJFxsRD+Q7YtvuHCyzsxvw7jOLkQWWK/BIVMl8xR1VPedRU
+9Inwtu7pkB1BcRS6IX8GBucuyuomnYYb6D2mp+GnP7tPFM8Yl7uIYloMYY1S/M4Gqm5aqt6fM57
xtVBa4gfglRfNx08DMNXN+zCbx5h7CUQmfaSaYG7zdGrbgkDdJd5w9yESc/LzzOeqjzN5oeVY89h
WP7wPEb4ug5RYGLNw4FlEnlrq5ft43xa8wkKOyTwyzHjIT5Uwu4+FBKeC1MIAXeVSyQ5Uu3ny7YB
eK2wUzNeMpISDw7Ko781f6nCO/5num/udAMHAMzLqJfyTP3JuMPPOcUcWhPX+ebDii7ecWW+3u+S
GS/tKon+wkEPVpnudE+1AQEjqnLv0AS2d3BIVKw7J5dPbU2xdA1q8i+Mcib2cPfP9LuSMyDrwHuR
0o602teUzt0/hrLHIdMXsHYqGe9U7GZVO8/PuRYFOww3ibYabYl3quxfXbWBbtE1WzfUtEtWA/FO
ap6xeYKNs+L7VLc6Ne6aUNWDjDmS0AosGa2IIeFTr3n1Z1rE46qpredwZHCUTPZgmoxw+O54i0It
HWABymaNaa6yt3lg73lhfSCcR74DGuXcadDR4lzZVlUdMwbq8vfRqd6jmKm/AIHpSDXdIFpMd0lq
ZCR99QZX+0Q+Rma5V230QyNA61XsmP3J0osGHLjnrmeXwniyF6vGwjxFPVAON8Uj0ovVbdYm2mvW
mPteM15CrOn3/B8kT+ib0mU2VhtKssfHvCKlEVMud9rjlfysw6hHgBBJgrBMR9u0flWt2uPm4GPm
DTZ2zNS448IW8UJJXjoo2y81WO0gG8qnshd/KV1m4eDuNac8VBtetEYJErfoMIctnoQ7VBcKhYZ1
AIZvA+O8pn46ICdE9PXdxvL3Le+xBaOCSJ6ruEgWlo6zBCembLpG2Nc+ydRF03bBhwvTR2v96rkA
HbPWMCveG9MHwSRtWeP1D0DDPBl1GpwG+0g81jjNa9CB/cgduO/dtEqV+d9a1CgPcILCQ46D/tbj
vp5qRj5rQ+mSW9pdhZfB124YSWo1ZY6On/ffSEpFsfNuB339F67rLwNWkC86fuhKWWHQhtYHd9U+
PlWD0AFHUH6UuiNlCE6UvKk6wwDpE8bVy2PW1srRmvx7CrvsGQ88uznRuBl8mFAPjrdxU20UhkOP
OINF1GYsRpKmb1WmKktK7qxtERfeW51Et1Iq6i3MqUE3kc9aIG8XtRHHu74aT6SJUTToUfxQCQmw
yiYQCuhsKqdS4r0+QUwIHbsPfaQB69SRDRWJ873RAqIRUPZWhF3R4ju6ubWbISIvmWkXnhLKEuNf
bQlXMbwin7K9bsSlnsKpm2xzuGH+Vji2/72KcfdKKirCrAT5my2Mq9v35uStLgie6vmtgyWvm+GP
asiTc+7F9nLEUwmxjZlsghzLjPkWlTBAHggAAxidbpbALIdkgp9CJSUvX5Q8fYnn41glxkdqIRfV
kHrvVIkrDzbUxadxxIuOElx+wxZZSZlkN1Am5fs42VqCHqyJoEE3MOpKPmBmucdyOR6M+kjce9Wj
6VjHqPp3oRJb+yAZz3VRZovQr8WVoj13pxeO/WAJe21kZYpNMw6HcjD3TGudR2cI3xImvR9+XLsL
YuDl0fjPeiKh31JR+Du1NFx1iXH9NRjqfJ+r2NGZVdEsVaFk8F0ZEeLb7CxVB4JmAlNk7zuTWjyo
r3ZrH5XA6I+6GgxHDHuNQzu86Pz7XryKgGoJNHlf5UV0oY59VevGUgnkSrOy7L3qHW8zFmWOTT+L
ohxvHSCz5ZgPxVYzwDslbZduRzfwbwoB6mJU36AV1c/zRzo82wC+H9whcw5lFBsv6CV47CZE2aqM
e9Kve8yMlhWE6K0gl7qkYLU4jWO/bBkZ7h1ZGkeSTS6sw8LFAsV/iAzpv/GnE2yGwHil4IUXTp5l
RwQOxNtKB3P8rDTXaRuYV6NFgqvZ+Soyiv6g17o8lL0iD02YvAeF/a0kA9TaJtpKcnaPuurGjzFx
S/6crxl1pLuxLHF7tzMgnJpiP5K3YTRgUynbjbXzmOvlk+6P40V2hH4GBT+u16mkwnCDkhycIh6L
2FqMdlyuTcrW1wzaxw2WgOM6wX/03BlMb6QxfjcQGC5Mc3QuADOVZZ1XpKrzHLx62dx47pPffKum
e1dOwlBVK7lVma7fFxVd23UkjIMJZZaX0JU0q77WoYumkaTL1UjUCxLCMhcrMYThM1np8gZtFWd7
zX/kzfEkRitZygkJofjPqhOLS5jq/dkKFOLE1YVzNXcKj62DVotobaUW6a8WnU7lgepU0mBPaPac
hrnzHpX8wZd1dSz9vEDBeopJ1aJ8tLpnjNGeu7aaCjfr98F6G2LL/KAGUFtRaCP2ll82SKgNHkKl
m+2RdhorQXbpIUaru455yq8qW3EO80cf5xSDRa9RCIPJlvVlrHDfGCpdv/rNhSFdtmlcTJYx4Oke
kS4+W5mQ74YGgUwSdtjNiww+zGxol9iaKNfR0NYtLuLfhoIpmgFWbVdtuMZxN6a+uyI0bT3kdkGE
Icj1OxsNplVCgJ2ki5lp5UETxrB0SXR+pmS826qDLuYCioJhTJyoKiGipjo4Aa+B/IcX7JEwBYEo
jTBjDlqcX9UHBokGaY/fr/EQARUXYzGsG0weTo1Rxo9W3yBaNnT94kY8rDWsvINoKD/yEm1NUpOr
JNT7zM2kFjbMsh1V+QkO0op59EmvUXIOxLyNDW1nNU265oVMoiWIPhF0+88OFGT8HJQDAfbw7JI/
JeMLEL32cuUWl7FPHh5/6SHBaKmXIIlnt+3COIvBMg+zfDVo20PtNVy7Oz3e8FJ7Idh+DrxWO/hl
iuZZT5DKQ9YiByfXqpEMG0zusg8QVQnU0gWWwZAxQhkfzEKiBBViLb9XvRnCajVr8ABl+AlqwWRU
F2wbGY7HKMdhE2bgTk0wetIbSz2X6UERjdjmDqP8CUDTlJNBKICyVRDjiZmber5GRFDtkxBKb2yJ
R6Wh9LyoNMwJU614joiVErty+ktmmwUEF0Xd8x4FJ1BAVYjcEDMMve8Oit5Q+VaQyFXI2FeleU5A
cKtiRMwf4AyC85u3b2LL28iKVyWvQaxPA1eQIVP8ZVv0yBdEY1NGzLNzXdUfCDbH16QtxzURTP3T
zJzvaZRcgsQfSC19Sr3PHx3IVZO5YrPSzKB4jB0S9zYBnwcL9ft2gpDYUkn3DTYkEuvNgyU1oCq+
DamCUDD2tdGnO+EosjjxlhnZXs0Y86VUOmVfKm1BINTPcT4OgNtp5oA1K2qTpRROc2nqsl42begs
Q+w3VxRmxoQDDBgvAdoWG6gHr1tP/eF2RLjt3L76OlEbc7I+UTG8WkFO9a6Dt4ubsX9KcgRi2oh2
WJaDsQiaul3WFGJcwi76LBrD3HUCnwzT6wBZ5o676Ora2BSIlcAOWUcf4R1wL7M9VUVXL7KoHw+1
7wOYwiVmK0NDXP1Ewes9DCAXNgODq+nplMaA0kVl+PaCQSjW9CE5q1Gz6yesqM+KxBky89NJvUrq
TFOZHii+fhkYBD75qbWSauY+272xJtbQLnVJAntgpLLDQyxZafHovQ9efst1atUdIBAnNBvwDGsr
fIg1N7hSsXkpO00HQwYuPualSsnB+LedE8NxnAGwlc/P0YxQWtYB9M5Tj23r0ijwmc3KK7Wr+1wH
9InE+JvQyVmPqDjXtWJCW08GfTlw4oPaf4+9QlyFWsgTLkVnfnlG45irfZAAuqFmHT5xCETljam2
GsQnimvNG57gzmKMXLRedaoflPrd4NH7ri8KD9JM4SMtrmQxAFzUkw9icZw8Pp8UbPsr3Xv1J2Sa
FUVUKjrAiFN7kAzjEli003s66fxmSVF1twCWSIKq1TCxMiNjj5dq+GgR1DshefzoQMG9MhqhPjry
gqsi4BEKbRQrq0e1gB0nQGf4Uq3x4kVafYwLEhwadRogex6RweGLmDB3e6hbY9dDKzVWGJLYCBBM
9HNmu6cstt33MmQOMH0DQm0zJAGg+VDhe7Us8qoDD81mxRu6/ddiQqJnw5t/7dWJ3PuMUX77+FpX
F0ixUrt1lhBA5V6SccWXx9YkeQgb4YoA2ND7kglIpm4N27f3+H0oyzjvlesgg3EVpZZzibVO4yV3
NUNf2WEntVUk9dWjLc45Av8AZvpBQ0S1VMvi6lIRSIAC7HQbj+0SdkbNDLZFjxKlwyIMQN6puM4d
cdSvat3cwHXd19S4nXP+F3cVHADZNFeUg90p7ZijuVnWbmLc83G0mQp6Y8V+NRyHaiRDXyT5GJ/M
EvVaLLAsjioEURlOe4egcuyFATzv3bfQ2af+OXQG/0PLYVgZ0VEXAP38dBxWqdnfLOy+t5XrtkfK
4VwsNqev80ccVd3aIjc2JU/TYzmlp8v2SJ0bI40yDdrjvJwiLklxcd5WVHSywfDNNQy8v+uoZrEw
M97TkhiShu0stXGxOOKNK3CSZXH+QGFfLhXVnDBV3kb31BZpTtagxuEjaCTfwkaKhyyIMfZVyxF5
3TSmwrBu4SRIbhJ7aMV9pZ9VlIuKYZVRkniKvGTYGQnqR6PEwu0hloCEnEyurQmlWaBWKi3m2KJS
jQOGDsZh/iZSP18XcfzPvOQ5mflz/dTsz7a/1ukMgaqHeXPiqQffbcutn2uU7/yxCy/V/6WbOuTk
Yw2z4PvO/9fDz6c/d+0J6r8iJdn9cdx58Y918w65NQ1B5i1mZXvLNBhg+P46y3nDb1f3/+vnq9uk
Lhe9buA98KuDP7qa2/52TDfFRlBKyu/LIb9ghm58xxdXPsBMqG5WETAfy+xhBVE3/dB8hSRhbXwX
JfJzXA/jM0otyZy9hqkw7aqHP9CqKx9QS4oVjLziwPRSvULu1B/mBqHwwK4K77U1HTxL9NDcKq6X
PPte+TE3YJwagNQa06diUBvuohzXvaiUN0Lt27mFRlxgYfLGu4yBozD2RVw+Zk7y3SmWtu9SahZR
MZrbmnFM4sKHaxmSe5vOLgiB1Yxj+E6cKF7j0h3u/VDmj7ljECmYWlSZeB4hcLyYmZlsNTswNlZW
ui9a1F7nBm6DVUsY1f1NeH6/N4fM4IVvO+8jA8/53uhtPy4UqoDPSdFUkyt5tJx3jZNnHj7lJwzo
ZCWqrj20MSHARkmt+8G1xIN4SMie+RXTOEKj25F09lOUR9/nHgy1+juLBvGkEYnamY5nrEdG+29O
wp/b9LtkdYAOznGUy2Q8dMhlhfSZOeanz9xoahAMKDRTQJlHK6kNUKlAh+/X1cJzRvn6XoW8wMZG
y/cO/1I3pCaMd6ddWy98Usq8eaFSL9iGIJs3whLjS1/7t7lvApqEqqPSuulxAeq0L5xV0o/Du++H
y7kFyBJuUtL158BEF44HWLbkTb909Gj41nn6IsfS7ZuPkGYNVU/bhry+XgaRnNEKep/OZGPGMbCl
7+oQqUrVLYI09D4VRwdaYXevuYv8rbGhZcg+ib+h74ftQ4OqpGbY5K/lGNncm7DIDHRjg/uZWPkr
46r42WqJU3hYAa9D3L4/bHGZtyPTBmeuihj0ZBw/Zr4gKz7vCMABBJXn3oyQP3JVZswFpg16+ZLq
bfvhRGayttxO7tK+rp77NHyZt3vITKleF/Ylj0blKDQiZbhReZ9th4tZ4DtvhW03mzrTQ0S7ivbq
e8pubuDawK7yvnBP1KE4ZzWqkONO94Uf5pLi6/1CRM7aAkA1GDc32XvGmHPe0wvAtrV9Fx2tqneP
rqs8lZl7zss6e8pwTH+qxhwnIg/HrXmRElj/IPTyx7x0/7CZlsXV2B3ueyVhtA88HB5VvbOKRZz7
t9xndFVOfUZKU28TMOSLtjZ+HsJVkFApJYO9qQUxeoT/Olihufd5HazEtqijx3kfEyjjqk3McTU3
cKiAubXRX1+nbOXbFCN58v1Vf+BxId6KmudDn6dPEkHBIyVBxOcz8VZCADrEOdH7eTGL8Y7RKhu9
4rTVLxiNpgU3tSb5/dbmj24islcYN/YFYPz73HPXopQlmzwu530Qt5TLRuRyN++TCO0lU6r22lhY
AzGdnp5e4o3i5vKU1zmQ2OlAFGxkG6sygzWPDPGW4qK9KAuVEfp03MqyNkFcFE/Qn7vHlgj0vJNN
BcEhyEygkNNOjvDH1aipGn8e7AT0AdGpQKc3b63NCwOR8lWamnGp/PFjbtS3RNCxGFUhZbBPiHfu
UsAtvZ+7b+cvglr1q1ULUAbDgNkbrXS7yHlRM9OIPiOpj+S9//2gnlU9jS1YEityypWXcR3z1nnD
V7v525Dz/95KA7btrw5SrUfGMS+3A9LlNAbd+9vK+9dKIR4HlXb3tePkw0D4KzoneD4dg6nDZPBa
wpvTKTVdER2ydlglmUZ1zdduYQb5QCuT968zv/dELNRaUTfHcO6PXazWxFA4HsS9G6oltQc3IaCW
a3glBqQSsmmKmuv+2teK5p3QMI5eY7k09Uw92iCtT4RwbAbfpn+ueSPxJ5AvmP2qH7gtBewE0lDr
2+HNLOIlcVPnpdeDPUBIYOulCJdqm4wPNejZy/zhy1pcpJmHm7pFlf/HhiTRtbXSWMqfGwqXapmY
c1rMexB4F5e5K7MpFARPsEa/up+/adizrvzcZJg+HXxuPH8LybyscBzCN+i/G7wYnBreDBkV2//Z
oxqQt4Wu3y6/epmb5LXaUnzqkFqcLmteN3+MoZ8uLWQuqz82xF3pLYpS1H9uUOoKTgleTquvXuZv
RO149uCrt/5jg9pT4FH5bvXnBk2g+9Hqirnjf287Bbc4eAIF2cwbvm6in1KnAz5C3DfMW+cTH1SH
GV09yYX+2xUCNMIlDfqjr8bzt2YqwDZGYCZ/bJC1/OHYUQgP5T83N0E1QTYGJty0PsopkwomJixu
isUNLW+68pQ+vUkwtqvUFvFN+hostFgLb148FiuPCdw1B+e88hvhXaVQyIIxlbkS1atXssisq9cF
YuUxtbzmGUDg1K20qwyjbuWZ+XhNmRespGbJa0BMlKOF3VVW/PelldJcpT6MtHOra5AbKkeT5RUl
rEZ/ZnaVWmCsqARLrnIk2wu7EIhJl1hsLfBK0Et75QvHvygBwULPTLwL1e7uSgrTvpDm8KajWZec
cBHXFhjUhSsK7RT1EnRpiHuOP1yChmIJDyY1JXbgdlIK7S6y5o3Mf5G4eJ2ZsnWoL3lGisBPcZOQ
simgLOT5JQ1EuZZpnnI0lXIzpY8veeOA96uG8EK1a7P2zEE5p1XVrqVdeGeadGvCxiDh0lGu00Cz
zjJ2+rUXoFUJsnhka6ifA1Gra9+LCG+bo7ZOfaunbtLV19JLJd/IwxvSi4jNELMhnv6KTQIyoLAn
45sXr3qVq2d/dD7nbQ4i6WPq8sgepqbY0oT7iQm6mLdqrRdvCe+Zy3lXjM2atWydbD1v7V3PWyrE
xjbUs2v7MK3HBS7I5hQ97Q5q79kvzJUpgGoyfOOnRRJF1UMi1fG+yFR1Kmnz0pPXVs5LXqX/WOpo
nea2SRV9MittzvO22BGvooxDYGT0Yyjl4xiW6lYrIoAYqZOvyxJFPhoomyd52OCSCFYHvgn+Zw9F
a0frVCPp9XsDIwd3XBjdAVXOv80jJeQrjls7F5L93M/8EQxjjXGCT4qzrzp9Mbe7H+z+SdHBX2QF
3M3cHA4qx+K1SzUVbBR+jrI9RRhZLDIZZZ/Sch9LjDifiygELJSCZk6m9RX0EDex42/NJITioqir
8zLnXWsfw1BNP3UN6I/E1manYIT+YgfYKk77QcuIqVpqcsoQfPum4iJMtRo7DGUGwFUx6ktKRcJ5
xDAm6bp0KU3VO1iObK8mww5Kw/TyexCPt9K1i5fCAYxkCeRjah4Ob17IWHhu0Gn1ogTAdS6otTxR
TWMt+jovv+cDLnF5R75HGj1e1R7RcXz3n6VafJv3LOoAJlzZyluQp7gKJBXPEzf1P5vofuwSt4yl
TD1J5ocXXllH6JVDUZ7Ie1Wn+RsgYv9oINL67+r74q91YcWczs5hy88bAkWnj2lr9Otb04zodQqP
cATrU63O+oc/2llcC1FoZfO1/n6cX2fTVHq7NgazZgSi0MF983wav87Fr31Ks6je/23jrw7mdRpu
LrB8O+V+VX+eSzEaw8HGEOXe+LHJ1cvgFMUN6nRxS7WR9LqdHfM8+ZskbbSuLJPEViWIE6XNrjHQ
CwRuiukRs5IlppAr4loEBFURPBqtIrDqHZjlKWHwOK8rsUhbxtg7kp9TX7BK6SXTMJ8SMdA3vWf8
sJhDXEku6tt2TKwHyxn9J92qdgqml5sMPQUCowgeoA9Lu6SIcomP1AswtmTdR/lfXua5e3UMe5As
urEr5HirUQSoqXZEV0I4qLTR91lRIamQzTPC/Km6FMxWPjqGREmNL+doFHLbRtVBKvj2h0k33AJA
6sGo91fqvTButuzHINKg1VqhiyeHgrCtIruYttkuiiqxypJK43GKpUEMqGMDpS/eGH5VrGw9TVZt
VKZrV1X6J9kpwxkrzZPSElAXwyAfNeMWpdl735rhRfG88rUVPYrgPHqcl6Jwo/wTDrV5bbShv43u
kF616u8Yd8JTnYbPcrCUXao0wSUXerJMAk+Dudbvs36SndkBbB8FjalZBc3SCdCYq1zeiiDAQ6i6
/XX+EEQ4zlS1nsPeKt6dwnpFRACTafzQYS5dGkaTKG0dd6+oqlyRARu2o1+a3zR7XGOg+Vr1KByJ
gkc+o0g/0Sk6jYpdUkl7xbt2H854JUaPBUU7nbsqKUd5kAqwvkLDFJaYpLlNXF4NIWMBJu1QTE2f
erK0omZOGO8hrkFLE7DxtaymFDZyCerdyPIA3aWumJLQv9DIgwCP4henffZMiD5x6Ih9nxMdKrLk
zLt14yZKeC49K35UlfKlMOL0WEWXqn8KnS76RhUxRqvNvrcoDBBF8A+2Kdh7T5FETY7YPUuzOqru
Og/i8lumx+ou7i6kC4NTGnJdEGKi14TZ1MEdCxxfPY/aUlelxLI2lI3VZ9USMHJzy4h/buvWL6n/
p26tbQcHHjwK2oZ3si8j9dg0hlwiGezfAvJ9E/TXM4PgbzNL/9a8UcOUXLFB7i2xIkyP2eD4y5Ak
+a6rfGtRIRNbUQPhrGbzqYx4A4U6j2DBJvWXsc/MIrhVQqwiv+gepzVpy78eVK/3mKD8SSF09RAN
rbK2EutDlpp6BM1uUssFbhB5SZmV2G0GjNid0qKXUHF5CoIt1KhqvBgkl9VoKL67gbQfOlwG9qXb
vHpKUpwbgYioKXwqkCEiLqVO6MZQmEP3XfCoOU62d0IHmpwdhEfyWu7Oz0W7wd3zAdBw+FxLl6eH
Xcd7RY7uwUe8tPAFbtyMMkCHhnq2DaKqx/aHsMdAMe6nmlavo9t3VLF7BgYzuTzrIaRVHnC6Mm4T
mTrvTqScmyjuogd19Ldxp+0d8pzP/P0XCxhZNYnaIN1GRiuPuZqn22D6RvFSSu5XpjslyPZKQH5k
gXZZHhVZXiw1ETu/aCUGZ4az7Wsm82nTVNS7x/Ja4I9E3UGbLzozii9kZ7DGQBKBCIojmiPjRDWR
4x6quQeMt8DClfSUT5nARiCAY4SgJ8R/kmHR4DzwEjI1NNumPBhTtV+Eu/+x1wkkOW7q7k08Sx6q
Lmu2ce/+VXT5UTBOPhkqRCox+Rbl4l2GFTS3CsM88ZEn6CQHy+su93Fye2l5GV+DSmjLDHTJ0qtH
Y5UIr9kFainWaRO9U6ItH7vyWBZ2/I4QUNvqFiNcC13EB5VeUz2hzVzRcQmz6fojGBp7gSBCbBhh
v2lkBx6r0PmWNZTUM1YRzPszdTUkzoDdfGE9+ymKc+3/MXZmu5Ej2Zb9lYt8ZzVpnBs368HnWYPL
XaF4IRQKBefZjNPX96Ii7+3KaqC7gQQhDykluYtuduycvddu9VdDH8nqtXDQE3K5wXOq3Z2Gm7RL
rWaJ1vJVGysCi2PxZruIP3V/1pJo5spG17PtzMi+1rN4P/CTs+ti0GKUelGadRn6XJx8R1vHY9cy
Ax7FeUT37UTiOxCsdJOrQO2DnohuXoZ8p/cplN+qiHauocc4FDrz1GQ2lzx5BrcWnRsAi9e8PQ5u
273M6ZUw7gmX5NjcYRB9+Lr4eX3ypPCPgxMnGyzcUO2nuH7UOECsXPxxe9fl/OmVvwia/Km6mGiE
QPwAFRc8OZeESbmlSfv6dYll/krexUmQ5YEPEhWYbNrpe23kL1JX8XqIhbsHESzXZhSHW9KHzZuZ
e08FH+3NsSavWe+SZ8tAAh6ZnvkWd/oHRwHvR0P02eCZAbJ981cYWfkGJKm1moNyngct/6k7aNXb
Wc2S9cXPtonGbd43L/RsddRW0VnHkr2nMM4Ow9yTZGM29uAZcdH57c1qIntjV7w3ohQ9kKnb4h6Q
SQf3QvuhkfhOpq+KURKh7lyEVUruKOPcR5AUUktMlGLttCKMWeDnJMJBjE3+0aIEAXDmf6uSwV7P
LlevYeI4aII5QG8PP+LhZ6MMuXdVUu/xRO/MyE/Jd6+wawC6WCP83MhZidFFfrJGKwQNQomDSJvs
fLCdtl0LRqQIsdhK9TS8NEVKruoUEBRoeEhwA3fx9VbqQ+tGsDVWvtmtQBcRlhung6rVHnIVeQdi
jNUqHIP6mtrJLmsC8eQlQ7uKbApbSuXHGBfkYWydlhEf+iCErOm504el4ryB5eWiwUj/VpomUeBZ
kT53cQx0jlRil3bbTuHCWvl2vxxS75pNdnnxhT/H/017jx7wi1H0SNvS4DFC+qpUE69Vlh1i+tPp
aIZvtrGJmS19S5vaPYQmFK6ppEsadHp3pPK2F1lhm891OWTbsB7agyfDfgfymwRfeo4LEcf53ehk
cDD0ag4JJoF+KvoPmEAc+v1fyuhoLGb1tuXXXNuqD/dwHRjaea33WjUXM07Lc0TCJ7O7Hh1eXZAE
6U+b3hVX6EPhEX9+svVCoAFpbNBltOYESzJBVmOHANmLFf3arnJ2WSKMNQ2ebGVqmr8jFAdaN/I4
hFouMYIk1re5d5CxosvddtGO/F5AIm2S7fv5hBfp+ouH1HE9YxavnTrYrn+wPDN8ko6q7qbAC0Ua
Jgfnzahpzltuuc8Rnr40+u6iLlw2cCk2w1jNkl6BB5hMrKQixH7yCgQ9bd+vsDKnZ794b6KiviVm
12xLHS7b1yWyWuOnre1SM1vw8tikDIZasZnmNy8b3bBKLCQwX+/lr4dd2VhrMHNH1MrZW+s0K8ZL
9jWq3MPkp/VRalW8KLU4ozWIh0RTQ/7a0a3t+sb+bN14leFEWmldW1FA68AgRxd3eP+vH6D1QWo0
bMklIJV3vmQ9KaUFTX0Ma94078r2/uujAn6oHdJ+SNzoapKb9srkVluhoERBUxsvTt8fObz4D6kV
P3Obqd+ZwgUUyEkob45Uc08cEay90vJkRQ+33fmqrPck+PxECB0/uxYDOEsIQm5dGT9z+vUubQ7U
TeYr15/ZIrEkFNnQdPxiNC9Ix/YOpkQWVzF3j1GjkS1c7yItP713yTqelRday+sqm9RYhRG+4KrR
D0ncqI/x2IxWvw8U/MOpM41jChhjGzbB1ZoFvj2E5CPq/WUnVHkag2lRlI59jUdteLDscV+NZKKF
LYKIsgvFGRgUCbyD5u4ZqsjYD96TUIRrk10X2F9jPNoMdRduqPofbZA8ZIQHbivu4GUGwupB1i8O
Bv9NFVbtRukWgvjeLlZjrL9EX+kbnFY8Unu9mdLoBEecPNqqD139jXkYDS2/vJuqzrZ9qp2lmNJ1
gS/pLcnKNSfX8SOse7GYwrF+EkEEgWawk61fAgkYIje9B0oNB7ehTMnZeIWAmilZZPPetb+Jnoae
Yj0/MVwT52HoUPmgwJ6Qh9w7OYIArDAp5STxrIzcVPvUQfoGbNzlbwxvKOrkTbX9O0V1/wDYzV3R
B/C2DLTWQmrpM6gYUkaDiG5GWOQf9ADNy9cFfqw6ATVHqMZmAByp2rbYaxALZQRf6xJpWGjh8kal
sgZc2KOz5t9ss/+uqKJp6gUQwTL3rnWWtkmUTHcMOOugRVM7XwLNBY3b6fY68gd1VYRnNCgJLjQ8
5yLLOLt98iqthjbGaMi1W1mE+0UB2USlZR4pR+yFa3r10c+ScK+5HqeZwSY7Oels5td+LeNvSdlQ
pZGCumxNMW4S4UvQHTHZP154/rr0WvGtJaFnLeKmgf9Yja+hNi8VVnW2fHKg7TQwN4LE67Mn2cwo
fqaTVclyraADoQT0hlVfBNGNU+W3UopiHeSFveyburq3hB2ufDbdRSXF29QG8UNgTfGDo8Jh14/N
ezxrpYskak+VWfmkWKO6CUsifpWOjCdvtX43FhPetKG8kO2Y7LQEkUnYwbOsI8NZ1T3v3rF9Mu2r
GrG3CL+2n9jps9WgYmuHmYasE5qgVlc8MgIan5yWHBTPQVaWOu4jWBribyVB04ax1tqsPCcs4YYe
7akukcqx6awtbxBHW4Ptgv9k+SVV1qtM21sxL6pnUzMmjhie5qSe0Q4hVDXIQSMjiI5SN6EZmTm7
vTulJ9UUe6l4Q00IODfpjLQKwmFD3CRmN3NE8d6/m3rlXpu8I9nZ7PEEs4W9YWkgmzl+Q5P1EaY4
EQ0Lt0eBd+xcQFVdaTbvt9JACGBXBE6XvnnjBR0WeV0StdS9o2IJoLzF7sNsrTqg5rnVgznxixLo
mLs2I2vCiS7+iPkNs4B/mYayZf+e8auyIm0qhd3EnHh8RICwL+foLyVyVOCzKpoB2bKNsM1UVmj8
4FzFDlaqN8whP0OJWrpOG0paizNEnjTPta4He1p7l6Hoe2gwgGo1PBELi7LhmGP4i40W1UA4kO2b
Bs9QvjejP2g/+6OKxkebJewO3BouWpKuzS6sX7SoDx7NcroyvkjWHb3hSzJuhzIi+9mP+6dcz+03
bRorkivR/KZ60WyKrlEnEMfOakgYlPsvRFn4D7odZossYGjA7rMMDCOElEbCr2LV6UVXrwSqgkNL
dcXak43PZseMVddyUM+BQNroTvZLXVGUhJPPIq+N5mJI7GGFmszcKl2Vj24gPoY5gjkR8d5Lsw6l
WTJ+i4lQhFIZgZF0OHF8qTMnC2U4OE3IPQw1uzr+jCOZfku1JNjgCtWBHvrlsrSbFlZch4GPhhEu
qMJ+ZtMIH/ENba2CA8dgqLco6LBndW8IzTkhldoPC0jByg+CcmML/C6x/Z2QSndveLq9UIalXxua
NYBnhhky1zRADOviu1bifiJ2RG4hqf5srCZ+NXt61Eq9lmqmniWI+ZM2Uq+eMXjbogS+U+ZaukTh
7Oyk5pERgmtjq/iZz0X0xDLA2Jl4d90op4e2tl5aCpWSP/N32jDHvnRXblDWR82mj2TEdAX7QX/9
gno3ESyFyWw/gsEpj1pcOqvM0MLjMAkilbUw2bRM/x/6VIKT7ep5WfU+ZkS/W1X+Z+u5iyn7yOoh
miHM0TXvWJr9ZsTIEepHoa6uWwK1HTvI3PMyy8GahlKt3vpKl4+hGf+ahLPKh3vk0h/M3Ug+ZTYW
fzXhvpUSNJGRqW1NZuraYxK2roKU/p+Xe8/5mFerpkPhVKq02ACWYFaj1Tgmpu7B9hNj54zpwNHb
vzmqZpag7G2qD+JQTdMr3lls2gBkjqFZ3zV2hWXuoaQovVF7SFrPOrSeMS3hR6/S1KG3o3X2smyt
exrniDeSsuaYcvfA6PzQpDh3jfcYVvVXPRofBsvYKXcIj18X022QL/nVqbAb62KK+HPo6wbk+DCL
bAZmNJV1LCOnevy6GHRrTaFVFxLtr6UbehuoecG50fR6G0SYFJzK0h4DlD5bBj8KxN9KyEi9SZkt
/UYtpHZ39dG5+vGUvhTxwUyndxlGJnu3WZ+DOn7M66hcYytpH1O3/xYqM95ITakl4qbpgVrrWDeN
u8pxPk2Igx7HyBwe++DHYCuFjYVtyDDRFXESBklc8ir3dbX56rfERcO0b577aQlLJ86ZeGmEwA0a
J8nPkQpa2FXJdIwd5yEHqYHtJGeinJFRPxfL3B7nVJryWJgSDiN+KQ5RJa3sNv5wBsfZlTOUb8RY
ZKrqR04HedXI2mBV0qplCt2mmeKthheCEs7e1iQzY9Tp7VNh0o503LzYuInTn6x+U9lUGY0ugOSM
yTprsmBJr9Z99qMU3QTjJKTs9K/0kQDljIhDAq9yjkSFftSSYtc7eKts8wxCyABM5yZHmGmc5wbv
Tdd4xungbCZE+RsO1+lJ0AjvBW9CDAvBOuQZPylGoMt4M5mNx3te2i9947wOwh/WVcZOkk/Y9EMy
PiE0vIUOv0nGIWDvSJBbVNQb3JTBrrObCz7x4pqNoPpEh3ekKMcfMvBxZvj1OY1rblhCJZnxtNe2
jKx3RhBgYhAoQH+JP3FfBFhl9AgO2KwZUoH/Ag0MlxhlSK2L/EcsmwcYrdWvCJmxaILwCQ02Selp
tRaNJt8L2slLjmLJYxu4xHnV3qOor5M/YBJpXeu5dqsfkBC3tWYHu9LI3r0cj5iGpO45vKoZ690G
kTrVsCX3CHitDZZ8JG9aSfGoLPArCN2Iorj3Bf6tsVOzBk8vFn4KArxt0p9ZZP6Izdg8RTEoerdl
33aboN55TjStPL9NN77BsIPqHzSQSbfHKm7dLCByvdbYU3LBtw/EoejH+oPk3Z8mDKa3wq3dBfbT
cpkFQbNNmjY+B1OKNw9LRGdF7jqHhgLzSi3mgfLS0h2fsWnvn+yoRTqC/L71taUeNQITYjNsgG4J
0kPNAfkiMDuiR+zHqNOabUxXZ8EJQFo2fgLP6xB11w0BxTJuaKgAuhZK4+/FOcBTYXto6BotVA2j
aBEc2zL2D2Urw+PXxYYXsmVmF52rrmDuKUf/OMaVfzTmj1o1oYlrjGLDci4W1fA6gQk4dIQWsWma
4UtWolnWc6I10dEPz5Cv8XlYDfVMqrydV6bjEV6xtRJGTt2soYexEis7SW/4CFvcM4Fv4ZplID9J
bpAM5T3DH1+2azLQJvxBDnyf2HpAMRNh2EjXWDiOyh/Q7ufGYzv4yd4ZUawjRosuqa1ldHfco6j9
kTGjU648c3A3JKuX64ZCYKk1LJpCKPNgUb3WGu/6ooVdELqWyYSy/S5UfkxaM7zaCQI25WbaepQR
I//AGDeIwG2I2vhMqWBBexLUSEfHiNdJoZa2RwXIKiOfU85S+6gLbsi/uTOrwsVLqP+cepdIMcaq
tg4DZNIb0FF5zbAiKYctT+nTbNxT1Uu22tD4bCWQwCQrhp3eLplAcd/EwgC7g+NKd9/SsNCOMK/2
XYihYqh5WzM46tZdHs7vxfk4GvHHUwAFvcbaOG30aekSilk5okbAJfT/CH74PzHcZGeazNot4dgu
tMu/s35HfYQrYReQmee1qG9zGteRBQTbB70wyt9k4f/xMfzP8LN8/M32bf/5nzz+IJu2IQZC/tvD
f76UOf/95/z//PfX/P3/+Oc5/mjKtvwl/69ftf0sL+/5Z/vvX/S378xP/+u3W73L9789AMcay/FJ
fTbj82erMvn1W/A85q/8//3kf3x+fZeXsfr884+PUhVy/m5hXBZ//PWp/c8//xBC/Av/ef7+f31y
fgJ//nGNmxhQ/O9v9d9f//neyj//sMQ/TM/WLfy7ptBNY04u6rmL/vzDtP/hGmTKQ421QUXrPn+7
omxkxKfcf0BVNkwXQpmwhDHzzlu2yvlTfD8w17zHPfi8FhEsf/zX8/7b3+9//z3/o1D5YxlDgJuf
iMsz+dc0E0E/ec6W55eA8e263r/xs3MnaRMIQQIe70M11ea+ZvqjqLHZCxud1hZSNs4qeLeqFlNt
Fl7B5TzRxzmjvKFmcUztlEySgJ2O+A3ZePfEsEZaEUOzYfbo3blDSbZQ9QZ5ibclg869U1Z+dGni
XSKtd+8kNpOW2fYvaYrv0hmSbaHKB21qw6e2iPCbxz7UXxHZd2uq1N5JVbL6eqj3KtrUbY64OlUP
1NLmvTIm3gG5hYstccz7mOufiV2Ol69PatJf4cjEfEDEHWefpH1x+dkILYx7iU/nwR7Kb17YGPdc
t6rj6MZklc4Xr9bnOnvCG8HYlbeZmO6NmiHIGhwDDl76XadoX3oxA1waN8hHRPOClOGnPfnjZQjU
yIzOQYkX2c+amKZbKE+la/oXz53e53HXEwkcOElkf68UEIOYWToQm6+HY4qNVE04+CN32zgiXnf6
JLcyKOVa8Xd4MIPo7sy/F7QOTDnz8/YbFgA6EeaxrPQUXDQgsV5419pI00e8lOJu+++GDfKvoR5+
hs+4dXA43TPDWAb+FJ8Ct4mJC+n1ezVCCassb1x+PU+qiGQrWhB9bSr7B7Cpr6BodMzJU78LE2+8
15nOeTYSgAXn5z1a4t7H9vRQEI+0C4UhWPX1Zdf1walM++8eQcQ35V8rUy/vdmiGz/Qwd1+PQEKj
jXH8kMBT9SrHsLjTGfFOlZ3DZZ1kcXc61zzoEd0AOoAooGzvu47rf8XpiUCyrs3uA6XZlnIRX2Cf
5/dyRlbZcQrVt7eze0CEapKy39nhtHUn/jB1MjvoiS+pQnczJnK8TfDl16aPllGXzhbF1ngzTRVu
RmGUv7/Cm3GEmuM8+rqNnlTPh5vl5/T2KF/WuWP3N2uEwgih31x9PcxR5OGuj1vE3LRUK9tWt6Qm
Qyl2M1i8Y97dKqrqQwaK4PdDxy9vlj6jzPVSX2ABlDf42e5pVBoVhpzkDXJYdRGpfPt6NJXFVqPL
faKdQhakbG+ZOYinOofFjEzh1rR2v5KJmDWNH1+gyLbiENL617xKFg7mw2tRRDnMyuHg59H0+PtR
0r4bKODPMy5CqvRWaC1xcLS7jl8PgWiBHks8ZzcmEJcrRsfrXotArfTTojPc+CaDlFut8LxV3pTJ
zRnIS/IDv1l+fVbkoj1xwLq6nQ2yixsjpLx+cGVymbSS2yQdhitqlt+f8gf5RO94ozKflm/cPpuN
INu+8cFAmvLy9ajqQ3OhMl075EkWP5WRvzXisua8zFvFtZPgxSm0cYMnnFm76oMXn87JPmf0txTk
Nj2FDu7K1EG+ZEEtJEvaewmw/D9V/FwNivoL82LvxTLeSrCPj2KiwUjGwYvjxlcEWeKC/NV5GRPe
EVEzDIevT0q8Lyvpc1dJh9Dd2LZfqqzBlDcpOgx8jslS9kJNn1xC0V27+dHXP8mxWkswrU/GVKfQ
A7J6aQZuivpEpC9jnLnIBfxtwigX1nrevWT8knHKc3dZO73JIbpNze2vXMe2GamXXvpgkHOvPzlt
c83rrMZ5X9grl9V1y4ESN0Jc2TTtOzLai+6pKZKXWAbfmkKoZdzRbCwT6zbq3yu7r7f+wLlWRb51
S7tn0wumFy3trRtIALebvBdVWfVTj+rcjdYjPYub5Qj7JiDXwSbveoD0fQIpvK0S7RBFQ36WWdEu
O10/RIQH3SyGE4uq9vNf8TOsV8mIFP1hXzZbHIvJofd1ulTzJcoYHCd9nywH284puOMCxQkfuR4D
pMpOD0Y01kdm4PXx6yODdfr3R6oKxV43KhDQfIVXO/1eTDHWlCyli92vUPlEBy/t0lNaxmfl9tO+
UJYPMT0AXBLrh1710cmy3nRMh1rp5qAjkxaointTvTELZee4+uIpzwJj2WuxtYICTG05X2h3kGLi
xcuKuS94zJAzZ9v2+8YKk21NYOgtISU6dLNin9tZs7Vl+5CgKHtNdaZodFNgSMtxOHRMQBZRXZgV
GlJNHu35gq5UHq3R5h+/HtfzU9O6aWvbBDmFgIN2eVdilCiHZDGADryUIaR2JeRnXy/8pE9fA0zb
lw50xCIzevUax3rBYi7zNbw/9aqqDZSZjiN5je85ZgIikuShy0m9amJ9KUPEAVpQVpiWBwtrYBbZ
8LfH+Dw1XsxMH6dekZcvX/+UJMQv2IKkpTLoLJQa/3XxugbIR2XAuJ7iZidETd/KdfQHlHTFApPV
IgYO8B47IPF9nwgkjeX7uSijz6QT07sp55Zw0IzbEBnqok468smwZy3YXfOzyREcPVEF5lMfHlKO
OeeYjQBC30kLDD/GTqRQNDN7WhiFm52p/De+gHmkCBMQC2GmJcgscQMR17PgtgwM9Kxcdb4Lv73E
n1mw+E99qH+re3dJcIb+Tt8KbV/fDcfBdJ2Tn0ZH6JDZsotq/5aq55S/5YKgaHXrp6TD9jRgH05C
urVBvxjTqP/e6vKe4NWlOa/9nDaeM5mbqpYWIazta98EPiuZE9E4wtYKvWJ8K0ss300hx5NX+liD
elUvq7ZtHkrkyLjkk11cGlhOUR0+Oi0bqcxGnEuyh3bZ2P2rIQ8qmj7IB/PebcPhebRr3e/y94mF
Ylnk9vggRe/s49SstwZhqlco3d1Cr2Lzg7eUSsP3johaVJEAMkbTdmGL/8jQ1I19uvOBNULYkcus
V2dnIhxwCl8AJxDsOJHsF5CBhqyhWvTQ+taazhSq6qt4TadKrgRa+9C39UVZB2I7qSVSo4XS7OSk
QZwBkl0eQyf+gWyy2AgOhEsH1QeG2LZdtIG9TyyZb/O2hyFDw1LLWj5Xo6WWlENZ9k1kw3Nmieyp
BX3nMtOQCgCWU+ebsdJ+OUgTlnaXPVvC/J614a+QtKXR6Y5SOa9OwxilzfIeOlH+MDYWr1L20FrN
RovViaCHIkXyIsRwHSP3g35Dv9CqMWQolp29qe0ODKaIXqMZudQm77XvbP3ByZZ9bVgb3e7tDb1a
KrWpibFaTLD08NNFY1btLJkeaeQiBGsindNzSquny7BJjKs8oBToYizlwzBuPNp/y0Fl1b43kf+0
4r3vqQMoQJoZMAhDK/QQMXCq5KwtEmqMiM7DfPn6iFaAuXASnBAdOIxFghbtYtLruXi6kV7awOpX
uteZZAU0kLKZAQdhy+jXaqhExuDRbcb+yBKy6YZgo2khiRQOmgKLUKViJNqjThJkg33/yk5grGql
g06gUbCJaKIwU7OS0+9LUb1WqZlvGPeWB5RCf12+HiIbEByH3XCV2Gl5GPKcSYeVecUhDHajMVlr
s06axUDUzUKbSDiCRX2xwE/k05QzLNb1Tdkbq24kR23QPybEs0uaNt+YpkOWQ/zz3MjLMDTdAmmx
WscdoYAVukSV9zvdsU99SvidTUDIpc4dxawnFGsPJcyKtQIYkmZkJxgEDfQB8u3OQzRlaAFKaxdW
RDo0ox9BetP5vhNbLn5265gG8QvTsWDv5nLlETfJqJvJaNL2BitRfPBDgruHRDuLCF9SwBJZTuIU
yEoyczSzgxUc6CfUZ9HmhP2WnbdwpK2vrYG4lBL6/RRbH1FuiIWGEOkQjEg97feKCMGDn/YXkhfq
Zzdtj7Z9DGjHrhGqoBHSHItIkZTNRhZ7jOLBIuiImBiihhADR+yHERWjxo2KFYqjbNhtRrNqNrIT
vMatMUuJ2TYtayRtIiAYImk42KG5h5o5zTNsmXOHWmxaupJ7a+pJZfCWFCDNsQt8iHZtEz6SE4a4
0rf2rOtiYepyzoiIl1I46aPXDge+L9vvVDzHRZSejW7qqcuilu2fHSHSQazpASpGuzBRY7ruBlsO
yUIT84+xtsOVKUK16Kby7HZG8VBDhNnYhlYvs0wcwslFszmJlel26hSH7ocyO+M4QY9fd9ghF1Eu
OGjlzU36GC6cgNC6sfCBg9CmO7A3kS4YDHe7BeRrThVwxGwskOlUJQgNimmTqto2XtIIsTSewDfH
TnFZNvbOiAXxZ0jb1rorUDlUgqQYoPJHM57f/aPm4kasOS9OwTnuBvuoPDIPAsoCkRCBILUAMl+L
EKsqm5UhlVwHgTKWaGmDCy7BbzRk493IWJSm7Qz6c4hQMUYpd17cXdKcLA+vQLKM/IZ0mchaDNk0
LGPC1vcUXHr+ADMEv/d8CQaoJW6pdwgsOPtGNEuWFYCatZwCzmB933EXRQejypxzkPvTFtHhD29K
v3mqS/caACLEmJPaooK3H3Q/eou1IEY2zz0pIhPVtGEAZk27S+wLknPooJ++Llrd4yM2g63WWCuw
EfIQlnm7JKQmWOIkMg7kW2iYH+yLVAJJUGEG8uDHO9fi9EN8Ix0Fz+qWPoOdsVHRPirkheNAsXd4
/c/WhC+Wzb5YpjSoVwYNYXSgxXMOMypnY177QzjsUTpwbzPptBGeLTFeRTuW+ZpJ0cAMl3SkpKrc
RzbXi1lbJ1CUaq9M9Ndx4/3o4JVUXsDRJdJiRtL5Uq+H9NnRhk3spA2SWvdMiTih3QZVGWslVAdz
rXwZ0VIZD56P0o19kexXAGirsltHplUjtlHe0k+xllDAbK0awwJ3qczq6IIG/QLZON3VY7lx+pAy
chDdCgpAwUGbd4Th96i9onar3G7ticHe1xRFy7awfvXzmukRXGJUNNh9hNtOXG4o3/HBxxPVsAiv
HKOS61Q3y95kW2JUrziw0LPBdF/Qx6iEvOX9KBYuJ7etjMgi78FVe8n8KyTEF1ThYmA8velIHyPJ
g45EPIz1soRCvbZ6G1/xUxI7xoNdWVfhCeeY6t73AcoHUUFFtxFRVB8nvTwbaes8Zvron/C67GtE
dYqDb4iYqq+G9DBWzQnKQbXDHYWQnLTvBVyGrJsQAZRhhCKPvcK7BmPqLJ2UylDro2ID8iBlHIEN
lLi765RG1VobOarx4icEg5B1m5JBZo9VdDRMIvKSpHp0eVUe0SW05G0wk6ARzkrpEVcbNf0FJCKL
eJWQMNzpJ3SdOu6kddwSg2RI+GSezcgqAgRAEAzE9KgLz8iGN8bg1qjGOCB507gjFrnahYhFlfSb
SwhkaiEtT+GBgxjW5kwJff/gKqQ18EKeGrKFHls1nDMnE0vdoJ8dhEyx6SGca9N5GyPxDrZGUB05
mNXC/pdXGv3a7KpPTxtW3WRaxxrCm7AxW4Y0vSrLRWdZuksykDetnjWHbuxeCfMxUPraH0aitiZ0
VmxL8Vs+IJHLYe+RuSUXIXyXi1uEkJnIO5tGbm7hPlHyv6A3+9FFMFp6YwifVF8+0w7b1UZUrYYq
19aDpb03MYVmwzuqtpOYWz/yrtBFqx08z2GR5ZpzhGrqL+3JdZd5EmgrrY0vdq39HOLRu5RD8dfl
2ZHptHMaJ12O8yTbCivjqbUewRu3dE6tep26SX6RpLoQYxAme9OzHosuXUfSIiAsdOjjtNFNE9me
mdCJOKS9U31DlPnOsmMsx6ZdlYn72JSWfB+bVVDL7A6PyV/EzLYLkJ+FMa6YXt6KMvgkH5tjTLYZ
DKKU0WPfcjlVJP303kYiRLQwn4oUlo6J43KjIOs160QK7Zss1njs4q3nJy9tPGxyM9avhmJ2BdGM
eaHe/kpKce+IP9tXBsFC7N9h44e7GrcAFvRylwbuNg4BUOkuyLDaTNuNXXHCwIhw4j5CSUVfy7eh
WBZuuR3ba8locamrVmdky8raO1RMnq9ulRjlouvD7wDi+50GPFDTIADZM03MEd8nsDlwqI2cuUaP
9SNZaAICf9JhRgmn/hhJys1aZes27wjDrUFShzXcbSkN1k4TLRVkcW2wN2ES3SBlkwkWsDVpLOYA
D1MCYntGfVW11KsuA1GQfbpOcUWdNfIzRn3+PRcid7FldgRmcfprfVdbjHn/loctg9OOBdXfG8J6
cvz+rCXjkZao2vvT0hPxbZoDOxESYiOcVMA0lx6Uk7ngVVyLTPC8ONSjBfZymu0+LoNwZVALEI+0
6JV/qqbCec215/p/sXceS3YjW5b9lfqAxmvAAXcAwwIurg6tGDGBUUJrja/vhXzVbUyyjGk17wkt
M8lk3Avhfvycvddew9ctMu+g5/2nyGWK1pLuA2Ji9VdhRIdZ0FjFyo/6Gflh+nXl+OV3Qr9DgudN
0NdoAadhiDG80PEWMbHxTDF8jxy11yrExpoUR2nrT43TlPvIZexp1h9dLR9TrTTOmuE+NaX1fdJY
6ot+JOg0dXdiWLXAcTikOvzfuLW+p5sCxZyucQz+KsydZG+0y1kBkz1VA9BnjPbwKbXDpJcMknnu
/TExPuE5qoJEofmRAB4NM+IkabNIYEFZIgq2YipiwpVyQV400s4YCjsj329DLwevbQHEtX3v2U3/
bg0KwKNA5dYnvHQVFo6YgoAsCXQVS9vcLHpNbUrQDxv/4NerGT7hlX2IDaM+IyvPvI4AudI4Etij
4EuGvW8b1VsZkwBOw/9rFs63OnEiPuYz8FEMw/uiLY9ET6ZINxDJxKgH3JBzfJzf90XOJFEV59Wu
z6RMuScWI53TNLzAqBV7oVp2GUbNLWMMw3TWk7KObj57SFcpHRe0jSJbA3tEfBS265Vxuh+ZbfF2
SGfYeipD5zgxX7ZL86Yl3xr+h+N1JStq6zYDsDj7bbZoIVHXRQfal096IcaTait1SxcBtZUY20Bp
E9rAPHzIYrDO8Q1PeeLFHQtwAWaQLq0xUAoROBiZadCM8nFs8tbLjBQWFqWml2rZEY5c9UTCh9hh
wRS+UZnXMB+N3aqNURAKopqi9vOUuiYwsvh2aMpLgibjYdCc730jkX2O9tc26Tf0WUg4qdMs0C32
s4Suushl3eeyJiPRqU2vJ5IN/S0upI4/2f2FrihLh5/0mJdEQBZZxmtdV+SHknJZRvi2BS1KT++G
Q+0ggtBFbfvC7T5bdvs6C34f4QwANxNCZhyNO1iQ6U5fli7gbYwPLoFzjrQ/l2GBGMCt5WUy27c4
VC8AvtzApnnuWwQZrvnk7MauOo0qclEpkhWf3HUl4uNunePbcrFvq4X7uEDxsUvgf9h6qKTKwxAT
MqNxMPd0txsPYHt8GCYZcUhoFKFREpjNTQvmAoYUVx5ZTlLRiRL5faw9xq77vSIJ5FqLioVwWa5a
03Wvybe0W3jFSmRtSqFA4CTFFV372herKo/WkjVPCYw8tOB+FgF8XyrkwWXbSzh3INdjGoAN7Sq6
B7K50I+hzazrHjwzjMQRrLhpLSCbVSC2MwdSIZRNKJRNAMwlujjHEc/5GcsnQma9i/f4uzi8V4t5
nLEk7NPQrA8Y7VyvrdgTNnWDO5WrN7QhrjEUbFe0MoGB0ZugTxXuh6d6ap/oN+vMrbL47Drq1KVq
BkGo3wwZjQYgYveOuDdMDtlN1MC831Qw/VBgBVmR8wztUBzVTBNnKRt1pLPwPYrbes+ms5/Xar0F
r0PC2+QQS2Pk6Hkdmi5WOe8iSRKACGLHRjIcRYjsYp1qpueA1WdzdQH0/tVKME85NIbMSJV7KK4Y
MPLhkXqxPSHz/EBydG+XmvaCYVTcTgKWcp8BPoNQFESWKc/N4NXYyZ/KalIHoKt7TBLS6zTHfMo3
HBz9bB+E8Nsyt9iHNbPYNa3+HWTCVtUM3sAjYjvCDgwzkAgUvJJOwq2boEZejIa2PYPWqrZwb04G
D7657yxoklYvZg8N3BOzl7fkM0zGBT2ErY60cOleWu2nCl4e8CX3Wpl9fInqgqFYuKChDmsGZnbj
L/jk/X4dryHqw16H2hUy7sE+sjOH/D3a5mVNEj7YMCBuSt3l+A/WChfH+lkb412aTGag0RjiaDge
7Www9/YUoeQFk544jjeM4pGewLIzQ8eAKy2ZPSxn6kwchxEPlVks3zDr0OSIp2tPUeeY000jCXXD
P5QCsUgeIyszibpsHmVnl4GZzYtXp/1bTBZKU3SAKxP0vXHFqDpu+D6dXV97k9BGejJgJ1HI5ll/
kKPob7Ks6PZZiP+6rBgkC3qmAoRZNdWE83wra+u9apcrs3v6E6q81KxNHjVoy4tdAS9tEZTa6Q9S
54lZq8TjMq8rds/+KvlR/pyuDbixsDtOW2tvgJjFgfad8COK1zGniS46qDPZDjZS5tvdRMNpfDFy
vMZ54ng6p0Kwv1niORweyuioJ4CNirbTeRJ4o6apwY2kwmMpqyvOfrg0iToDujy2/bgVp4hkkG+n
nlXa6a5ZTNQ5blftZG28jGGYXpKRvk+1XvMEempCsDeJtiU6Lhhx4ZB4Wr+sh1FqrFaxV+Q0YB3q
jly9tyaN7SjGP95F7hUNsU6YLYOOZVawc0LUr666WIjIvD7EpEZJTMoflia1QjRGVlzTVdV/5Bql
LP5mPGsRWh8d2Y6VnDTHxoXMnV/bDm5+TeC5zTvK7JgBxMq3Qi6xw4dFTqtsB9/RS6hRke4pfD9Y
2ZtDCh5ydLvyPmNV0iRDRsExK7JuYPoUZ5dA7p4MBZ/NyT42orklCKE+4mL0nKgKz4EubLyTpU4I
Qas/MqybUNan7y0FpS9KSg1OETHtj9XxzCYceW2JfSqZtiOHtDiwGPBOR/vLrDdHa6qYh65xQ/d1
1XnSXcEonQ23mMPnzLhYbqMA6Ce3U1M9TmSoHDB1epaTRzuDNZZaLLzHEAj+Isd3T0aQzpDwtuk2
TIML+yJzKYhhSO9EdBvncbTL6wg38yrGa86/evmSP7e1EM8kkR4so8LLJusPt/UmtySCjjMhfXMI
Vi6NpzGBccmM9k442or3jBsp7QhMienCNufJyHgaDrOpYbmN7KPdkMSTqPW56JohoJ99N+tqN1h8
NHsonB25Ai/YfKAw20DgW9sM6Ladqj6Nrklcij39+ng3r/VN3Wuf4podFsWoXyYZrXyrI9JADBbB
setLUTTpXnO0F2PLYYwb+XmgEMSu7D7LzOJ1X/vLqJdo57X2PGELxYKSUdDXu9LAnwUL5BThPvDM
kQqmd5sr+BaAMfO5i+31cVxmfyKm+Y7GBYSTsdsa5rc0sJ5XhwobX/LbslDXGU2kn5gY3TRgZxnT
ywOsgYU9BXJTAoAsqMkwJLruYzRoajiFS9Dx1N1gB2oDDN6vejhW9LFDDzd+CV6Bwy6w92zXNelz
poMeoTfV3802Lym1u6PV5FUU98Nbie8h6U15nIf6I8Z1FMQRCkC37M7LhF41JTblL1EgscLbFleo
s8XYmlDLOYdnmy8RZwL1ZvZkEmhiXHyJIpMCBH9eIfbRukD7lWjKZaoNu8ZOaCXFzol8A/biiFaN
1pC0p4OnH+iQJk76KbVM9LAZmTtinj17WgzOVQTOlzK+RxYd3hM+jpP4iE0h/GJINAKwlQlApgnH
IrKhkggzdbLa8XPL0PdaXl8cVWKnrJaPVKNjFX0pNtvH1Oh3djrF+1I5+EoAnBO3NFAm6GlDJRGj
QcIEe4RmRofS0d6VawPqYYHTV4USUpmVN9B8y1EKX5npH4WLH2ugkvPGbir5PeiyiVz2fbMAv3f1
r6hOXyPJkV6LK8B7Jdk/paCJxKyXkmiFak+u62zkP3CcgsXo6qfZnjF26eg+8Ca+DU0NFd9Zny2t
jWjldUi3s6eaQFMbo+sCS12zF9dnewg94cDqbZX8jijsh8lBckLoaszhjUFj+9qnw8uqQ/eNQEw7
RmZe7XYwrzhYyEyxikOkSKeujOqlNbZGUvGUG9HzapV4/2qLIUSTPUHpfIsteAkF+KZTO6bGYREk
TzGlPaTboGhM3XgbpLGCJ5r7SeM0QEl5pD2t/xjIy1nXZtjp8JrWeGh29DFfqw7rTDvkwLIfCzfi
9BmUhZ6SDg5MEO5M6ctW7lgoLlO46hceLYaCbrFvmuxcS+cz4dvWbgIQSYu/JAkTwKOklUIz/sF1
bizD+gZv7ENzjZwmY1AqCKKjaR6hd/3oyp7ZV7Z8duzyqcj6G9qq+6povlizYuBoTIStvbhYPMxc
iUAQnuzXbXNAQk78fMjhs3N+zGxz6LOj2z5sdvXankKFSYDS2PLJI/McUOCXZOFIOvp1/WiFHdwB
VbxH7rRn06LIHxWQ79o85KV4r5HwBxreHB/yzEchVucwECxYUk17FRD+Np0IrDEgV2vw6PwhTQ2/
IXjnNE0ESIhk8Zp1fZZ5dgl7XrIqAvwBTuO+jhl5VptGromzp4LwHoCoZfKc1u6nRFd3NJ7HxyaR
1X61QPw5nX2jmMUwG+aRsodblpXFxzAsfWJnnHvprCPe6+zghr1+HkrE9rH1ZBXt5rdjBjZFRDgs
TXiZikqwApHS2cT61ylLZ8aqFkbmaB8POG21lSA0O+1gldD+xaYtL3/9khHb9O9/6mfsi2FUcXJN
jsC1ceDylBljZp6lJk6yLa0nSrU9TuSTFjf9jfuEiKq4MySmHI4UNNWnJ0IhCs7Sa3v7l0Lz/0tZ
/1HKisz0f/9fyehvUtagSNrPffIf/9l+/pL8x0sJU+Xvwlb+738LW6X6l2m7PEK24dqIjxXC0n8L
W6XxL2maBtpVy1Emccj8zn8JW4X6l247DlE6ruBptJT7/4StQvxLmabJicQ1LNu1XPE/EbYayGp/
lrUinXVo7CsbG5slIXxsstevn5nrRchgjf+l0L3WdqqhRE/JoC2t5iZtzB7CqXwwLVC47HLO9iB7
81i8ZRZ7hzE53WPURxzIx37cx6J5wFQbHX+6nP+lwP1ZcWsY/80Hs6RUfEVkvAh///7BCuGyuYYu
BbdJ9INK5AhjGFyAka/AboxHTTpvOq4rUozjqymzR2gE1uXPH4Kr/NvFsbgmrhSW6wr9l8/QgJnL
FT3fHYGfqExByGM/17VkPExt8mVlJHZi0AJNRpTZ6X/+oyWSY2mZpkVszHbffrovQ9spayIWZFc2
BcCQgTAdoDbLYYFXNK4LcbeVhtR4eLABUv3D1zbM3743CkzLsiXHSjAa1i9a5xb6bGenouZI4I/p
0rzP7katlNFeQTPZG0Q0kNzEqL/jI3o1fmb81uMQAPHb2V3l/flSbO/BL7fB1ZUwEV072wvx622w
V9PMpmWsd5NuOEcUFreyTpeT23TGTVJWh9zpyXGiSe8x4kL0SY3idhiLa6QJf/4ovz8QcL5005S6
gftb13+xEYxhlk1Sym6Xd4ZNUgZ6xbpoOQbFFsUWaOm13+KTzOFFqLD4h+vwq4fBlpwqTMUgzkHq
btrbXfvpkahsd1zoaOBIhqnIhNX8MqlOP7mRzsSyqIZ/r/x/8zD8/Abav191xTNAJSGlIXgU//7j
wkg4danH5NvgXMdwXXV79M9fB6G/UgxfAQM15z9fXWO7fP82U2xuAJvFiKfN4Ycy2LRNXWyX/6dv
GI8Tw6F5JI7AXOB6CY4RLWwULzXLu7BziOwws8dRmRkoTEEDhiKECfGh0DT0R3XmCw1o0J8/k/hv
rrrjSDjODnecD/XLu5BXsVmvLDI7l4Lz0A9ad5kawS9FapErkTrHtJ5xPUcsUk32QMVtnjLqYcM0
E4ycONhcVsz7GgSJj7+B8JVc0y/zYqFH1jhkdaml73NcMMfxMc3lWnkTsZyBGrphJ/njf/465m+v
NppfnVM+zXRWfor6v1/iFpidapq+3XEI5vhmAxqIVXY2B0KGSgm4tzXmz4WYzbc4Xj/IL9PKIjkM
Tk6ecQ/OBIUJ7EUU8HIBDGgUn52GCVm/IQWswb5rFJxJLAnu2WC3YXIlgb7p8tVFtXcUuQ5EpxpA
J2tRwmypiQIm084NxnsZtFkV/PnLWr9tbvgHXFaOzTTCjNT95csOy2KgkyFrpVnBMNZRCbszLqgA
S/QBFfKVj3n7pxVqniyy9fKllUl7Jvz2tdhcvzMphXRchH1eSlY8WFbPpjCLS1ae2+iTmBvj4K7x
Y5ONdJdsg9FazNiyEs/aog+3qIHrfb51sggk4TBNpQ2IINoboE8wKnOeiSGl7+NyGvxFqpTpDUc2
aWOfxg2RvjAf+rYmaMGyqvqEnuu2yFfrHx4H/DF/f+GUbupYT5QJ4x73zS/vOEc2uLdkDOxWUuL3
9WwvwV/fBgc6iTQW0r9+s3M7SDP+4b0yf1te+NEmUiiJO8fYfv37g2jlfcTW2/Y7ylgadUv8Xa76
Hfyw4lKH2s1UjnHQO5E6ZGs/I5gFi8PxBUdLpxw/gkyy62XuHjg203mulRVUsBMuMq4NIprn9TaK
WUeEKNpdVTjHQjVYYJL+e+8s6nYxphclUYemDYc3TdPGoMS244smsyDIF6cJ0+aldthNUmcu9iVz
gh3dbesfHtDfdzZFbWfge9r2FDa27f78tOAp9r1EOdCzcVGON+nwZNhQIhOrsfbIiiCBusr1bEnA
vHKGbl8msKg6mol7NsFs9+e3xfj9jpiUga4FQRKHE2/l3z8MfneU5SSU7NLZgH+X5I/gfpt7xkXd
W7FVeCvtZt8ZkDrWlfYdmEF2knH0McJg8RIO1vmUA2TBNeKNNqyBP3+839ZhBUjHoCChUuV5ldun
/+lSLbaV0PVFewyM6ITagv3B4CHN0KXRsSRz6s8/zvl9oeRCoM3daiDTovT4+89DzlrNWcgizET5
joP+ycVX/xAN2vBQ6lnix7B4mdEmGAWchMiXkh7CaAJ1mgxYWSbdRRkP2XF07NcEoBwJ1Bi8TaO5
gSnTww+JNUGjqsTAWw0tPB5pHqjrPpV4d5mWpHjEJoBtHBe187KiipDOtG1B0c1EylZZx8OttKCW
8QgBr0Y3FVrZq1lZ19Zi5lL0c3g3CfXYt/l8Gg1yjKc1LhmlV3QFZ/TlsoNSjPjHYiNLrqA4knc4
EOyCjAmNIjrNplt7CM+ag7Wgx8Ro6jWJSI/dqtfvNooWl4yge2OGQjjW5ZOlt8GMjfVAWGAb9EZJ
E1y82GqeduCrhie2fcR3qT4+KYtecNmGkDVshIno9otTbEp0d277wNYV4OivL6tt0iF0kvkfbutm
SPxlxbMsCxc/N9Wgwvh1xSs4869T3NO7aTNtrxCW7sZZACfW0GVlpYj2ukPbya07SPsQT6CiEWIG
1aNbNYGQymDqIcgTS5MYmzRdqX2YVeV9L634q4lxBb4z84WN8T2P7uHPz6T4fbm2LJYJS1kUoFRk
25f76R2wHJfRspFMuyWmWbuBj2t4f31v6cTVRiiHdKc9ObL7RmOacOHRNl664osJ0RBoeoYYHq1E
MPTN1oxrgqiujVNe0PXG7iGDZWmyU7voxTGNvwHQ0q6dwxRdzQP6qTVvQZDN4oDDrPuHVVD8N6+a
pQCXMZLZzjt/WS9/+lo5mTWKI+S0i5r0zmgI6XTwHYBgQbthf5sdgxZNbp4c3OMvEal9NKm/V0w5
77DenJD26jzNGdNiazPtTwyzEzTxGykAYc6HO5ASg6rxSyPi0v/zDTFs8/dbwuq92ULZwzgPiO0Y
+9NnL5rQcsaQ3Qj4ZnpiWI+K3Ul15q5NvqP3JF/nmaGFcvANzMwhfYma0S9jKwk0HNodJghOgJ7S
utvVkLPP6PMda2d7NJz01ul15dWT63LSg3SqmglZ/BA+gaFpOatrX9IKE48V0kxDJHkH8cvxpxm4
fb/cR9urDbndS/Ss5i6SoZEs3yOFy0nrIJa4gdVkP5wZVfo6hm8jrBALtTzpDOF3K3e/rLRMfRr/
3xIEhftwMsdgcZsfztRlOC8iyr2w/56KaiNQksywIdGZZc52AT50ZPovqvzBXLu7uJnHoCozVCPu
CeE8JDEsYZbjHOVYvjlFvniZcrKjTtx4QajejT3oFyDsfjrMC+Fki8NlLNFEMDNaLH3axfoGfjDI
r+uSH5HWZNhkpNxVE1dxym/CLn7O1zHZh0N67VAM7VTdG0GxJP6spH6qaOp5+TsD5fJ2iJ6bpkFK
irIXIMvd6K7SswQScdWy9PRZSEubhGOa1C4xEJ3peoVTvcPxaeBAtoJxHirtDOgR+q1DuuTZEcmQ
j2ONqXp3Lis72YtF4Wkwl70wCZ+WRshHbeU3Wvnc7Kw/24ZV7Hpjg003+MemaCMtkpXHi0hiuGGU
fqp3h3JFm5iTKpaNZn0exXBcZUrdjDBH0tM+qmFjEIKB6a0Y06hUQQLinUm2O10noyj8/JkdxNqH
jp0fViK3Oh2nRLmlaEwm8taieuTvuXVW2Fpdx1NnZO/2MZHltyIllAP+UOflVnZ2RzUEopygrUwW
JgLtR5EQBNtFIBcL08toXKEPdHaVpGzUQ2IbrY1RVTcTGudkzvY9k/ZaNFcCoXv8A0Q0oxAiTlkx
yi32c8j8eZvKBrMsr3NE9YZg9JAzrxZTguKnLf2pfXTNWQWZGH9oCxzrZrxYDIuAMziPTkyYeTVO
zArV+rlo0/Co8uy1lMlDYYklIFF5QB+wntDLPLS6ZjHtTuCyCxxw7maj44ZaOJ4OQzgipXLpuDt1
GlRJH+hrRVyxTrYr8SlVyqAC3vVCFIM6mkuK5EMzkad01cGKUzJRYtxVmap9VJqc2EsbSOYck7nI
8tT1c3aF/Ir7twyA3vL/VmjsciW3jBfxRN5yikiaaeb2l5RLEx9bsDw7t57Wo5tpvPKGdujMNoOk
29u37faLGYmnZdQ/2VFoBPYkhrvCK0tcLM2CQaFPjC95V/r6qH7UeF39oYamVSysudZAquucHRnN
TkhPVioYtIisvMkZOqJvIEsKUpsEZ3SuPtA8dJyicv3RdnpPL92TM7s3TkxhOtp4Js0fpBW8Mfpi
m3SDuorwzORF4VEpwSGa2J3EAxHp+5bBb1x2w7GYSVI0DdHu2hb9lzvWbwMZS3ueoNVTYfMVrWrO
GYA3j7hUV9WnJIb3qHhNGsheLKVcPyJiTzgmIqZ4rgb5GSnkuOIbYSTkqx4rzTYbSCJUbKvpjW14
xr5DvNCWNs4x7fMs3Zep1pCo1LLmFSyFHxVGdBTj8Lyv4hTRKNRBPHmFuXeG/tqo/lUrxTe76J6Z
DgKTSpygqZrGg1eHVVQwswfvUvloLGd/ds6LBhYJFLgoIoChEhxngrTNgUF1HJvehwyDttaloVB2
NNWsNeaNIVjBJRraa7fRBjKvMeJlai4Y0UnpaMdXbTAJG9EoRXOXS2AOAzqWIkUc3vq9MRDoiUPQ
m1ipx8h4JRLEm/SsQ3GKqhrxOrDNxb6b6uodjUoAgAujtrxwPEINVM8ww5AFDWPO6ViWb7KqNV/U
7kM6ydt0tpghm+WO5KTVNy3G7jFbRNPVF/CC750zUpdsIy+BRTyW80cCIiTLXMIlktklgyO7ZdEr
D6KDULyGH23nZDvVIVgI+6+tjbYF6yhTeqRMOSKTJkOPrvU6r2rxvKZQA8qMr0qM16VS9Q9pap2f
RG/RSk6quRhoyRJV7vrVuAnHmkU8nnu8FkTJ6iugVQy7cDcpp3EBZxlErhG8WBKm38UQfqtV1++B
n5iLi5V9RWGOsoFMVGcH+c23J3v05lkSveMOV5S7GUFRvMH2eq96+7ULc8h/FG9B22IXajbTMAmf
I3J0jWua9y9TRDMgmz9gDSE2KT+igr4AbDYG/VGPxqvDpRsVI0Wx7UjWG/tGa42LbKBvT2s4UWBX
t2mfM7LKzF26zo/DpEYPh7q1yxAxjZ2Ci9ryXsvstSoezN78UofVjcMEH009OYUL2Uo2KZQJJl1N
5sd5Ln4MQ0IgreEOaAExlNVI6nWnWoPGJpisLG9BbLwuTcKy+KZarm7WP81zQkxVUcJELT519Ap4
/tENIAm/uuhMd6aRW74VOntLkGQLLMZJ8TrM5vBsr7iDa3FfLzTzhmwzvCPna5nCe5qT36U9fzEm
JUgMWQDb+Jz183HmwTHganSpuavz3Cu0FfNMKXS/hNrom+73nHP9bCNyLJhcj4KkLI04UuQCjScm
hqvz7EpfRxLrwgjDXcJNLWvtjrX4WpSJB8GPuOwCvH0ow5zYplfhhp8WW97Njf66/YlMzB1qOt32
Y1d/l0ZCWQ1jCEX/XLY4ECQcQFkdqmkZfKNX4w7q0OxFhGZF237UTk8Ilr/KCDSkGFLCd9j/jCe7
mwW7poEfpAJa3q0ugX/gBtqlPIGkfUKY+DrjmbFzoMwoAb8yyZ68RA5v4dkdtFMmrS9zgv4BIfpC
yIhxUEDhZwlljbxuxHdFeFNbP3hIPsjTar04JeU0i6b9YsHZzFtoRRbBVo3cwJhhuCMn/cEi/yDk
5YssREqrHrs7tsSvNgI1Da0X2wf7jtu92GXHmbUQ7c1EVs1xctWtMFPn8tcvveO8dCiODn/9Wxfj
0TJxZ+/iGr+filP93EUA6IwMo+EUZWf6P+uZxXlzpUZNtG+YAXiLIjSjX7tnpjPatUywFEYLreB+
KwWx5gDIgGcG4RHw7FEMUp5mJULftlIWPls9o/Ya/MFBR5260PLUfNd4+iSnK1QHypzoE9XQD3xQ
yUkVTQGCG5Zs0okRdxtyryVaHID+gmFvM+eEabnuDUlL74R3855yjg1SE+hi1ZrrrdTGA2dJgm9H
ip+4lAXzaLgZGisVM/LijEEuSKew3Rdi0vZ2fBdpyWfXyewLdGbYho39vY9a54LsY5NY1fKYbqCy
lQIQWr1fz8ARyUgTO5KhrTOcNHuvpfZTOOTj1XmdUd7cqCJ56iRovGaFbhkZmFHYTT9k4SCr7Y9W
apj3pC9at6GR75ymTny7qON9W+B7mHilVjJWUlxLN9CHyxu35fDdKJiao9PfpkY1HSprCsAbYpZb
kGeO8AOyaThZGT8tY1TqiQibV9UjbR3ywjnUm9OQI0N0rKBnV0oxuKaMyrSJhiqouvvSbO6smIe7
HbV2H4EIOGgkO0PxekBi/x2Djn0dMDo/4xfA82Uv+xIbwwG7vX6duoSKOuK/63qFyKVCbhazJV9E
lBIMBM2pLfLuoS/CK0O9Z0gRs1cO/fTcdlvi1DR9VnlMDuUmvrWcL1a7xQOhVInCzHlbeolUE2yZ
jfHpWCxxCO/0WMbrCLXAcQLsuQSpxbGfFGF1MYiDxE6YA+2Cu3kVQEhHcR4WpGuQEuOjySnK71iS
DjMLvIzK0B/L9sNAJYlssXgRFQedbJzeI8O8uCppiBBK31MDqycR6MRIgXP1iikOfdK5cUz1dZAN
uQDRnlgB7PkT+h+8tkPK1jfVgLnG97DLL07KVtRn7H46aqUSY6KX682PTAqvq7F2aLzMQco4kRJ2
OsXA0PEdLNGrzjkhM6adSbrlrBlHfFcLaJHlVoRQa1ZNz0/u9jD3FW3TqOich5EOpd81DA/MIpMP
zGAH9hBSj0Dh3XUtiAa3VsMpEoJjnJA2HqlbrRrGIx1WKANL3Qf57PYIdLLkNDWc+MM4OkPszRm4
soMYjbbsbLTVfrGs5plHHpOzMk6daWVopEEjkqcWo5R0h28SLIYw0J6ikaDEiEdWRtapx5SKeK/i
GWR2GckLcdkwHxSaQhCd8b2qTQBpQ6gebbRiPsEKsNLNqbwovSbsebCR87ftAZCwEUxluolyOAYS
A5Px1RLjuYEgU0NgpI/d1QEJL9NjWSC4pu4/102F9X2M3A+TowcW18+5Gz2gkUVVq/LhmNRZ/w54
wwOkOr5V1V1XFf25GFqbesnonzl7BsXqAGWR0Z1kSu7rSmnXBoEmLyHlEEGwN8tYwfMf6yu9Les+
ti9jU+AlAhvzsFaLHeS9Ddc5SV7QR27LZXbVVEufdtYrv13lTdNIc9fV2AKQbmNL4mftAbWaR2jZ
WveNpkV7tebkrHejAlipiDBtNlbnxvdYRsfCnyKnh4qQWmco86AZEfHOGeTQVWOjJYHDvjIKI1rC
RFEsEDrdr2v3NCyclJKw5CCbpBdGHDYW11ZjyMTdtEqo8m32yPWLH3DqhztbrMM+F6t1M8z6t9Rm
7EIgiQ6V2E2AwaYJwt/hcw0DiXaIvuAylse+X8KnYpy/UjLXKIkNdz9hWnEDSLunTV63W4SV3aQQ
YW5IJ8E/PGYwg/JRni2zRZhZKZIci6bzIIfuB6lt2TpZ8RWM3E0TzcUB/6t9KCO4OFHMEgDDuvCF
nlJZYMkI3CEjqwcLwB1sdkryujvZEobiouLrEvdUCm1pvmhxips3ljsNYI03bbm4KqH0dsrivutV
tnUdUgiwxH1FTEB3YjasuxyFEQWNKgLI3entZFa3At38uRAhlo8kSwk8as+Naw3BUOfMRuPteCzn
/Mhfq+i52ubBYTcNQN8OEAmnx97iuNMBeL8uUfEVRQoWbFKFFpInBRiX2AIGvqRfqoo2z/AX9kDZ
00lyyVlkJguJ2iKK+3JFc50VWX5c0Ctkw0A6weKYRzepm30pMHdCX8JBTAoU66PjYlQR81GVxmPV
OPZLluCAMMeQs8RS3+WNVGekYfF1NT9XESTsasmZko2O3EMZcn0DHHrUjsZRw+J1rEurvafa0n2O
PXhwIhjlVqkjkqBMuWaRmAErcl5nuaAUIbDnrrHGnpUUPb5WyQd8WSAzirXdFdChjvGIc8QZTIgV
Vi1PPSvgpdEEmUbIaHc6O8xB2cYXzuUtdzpWe6ef8309MEqy0FcCpfaLoiMAIR+eO2Gjl4tG+Wmh
h7h33fUFT1d/sY0eImxO8nstx3kDOrEVm7yp/4e581puXNmy7Q9d3IBJuFd6K5HyqhdEVUkF74GE
+foegE5v1VadPjs67st9YdCAIAiCQOZac45J9XpX5hwidWv4txBuGZ8yTt/gJaFtmhvJa1OObxUw
xYWmcF7SwW5dBkRql3DETNZF0YMb7pERqnfYDEhBMyHVDmYrKUS03dq1Hffi6s2dVyVcvkg7XiOh
DQjZBT/l9qXYSkaAhIJcxv5b3+iPetzLVaAVPyK7jc/2iJOIebSnjOTHYIiL+iy6QcKZTsA46t9p
hP+iV7FUDWl5a/uoRI12kul5Xb/ROmVLNnF8KieE7HwvFwMwcMRGvjemZwuXOcwTdG2kDXlMP6fY
jYo6fWT74VGSMmVM/4HGRCOcPZdOvHTh2UD1MLP9WJcG0s9o8uRQ8TRVqAyGm12ygUI9Zim+Iwc5
V/Jw34YIqN282+T9M9XwU9UO3e1YB8CwQ73aOBVJU1brKliDOZuHgGGOFbr1E4HYKGlNjZqbNqxN
8INMEmOfMqiPnFekkKGH1Fs4xHKsczP4UfhdfAqpZRiKixeOQPNXqYBBsDLrLU6GLTxKGiNZsJeO
xwC7cnAOK8wcneYhZ9jdR6S8WqTGr/TBqeHM4HVw4hBBsKdoFyO0roPjhKdRi2oOYbA/HvDUyf+C
qBiAj+XelmZTLHDN53tziCiH6KKnlN5iekTIisyec1Nhl9WdCsdcTglXQpL+wo9v1W4E7hYHTFdF
0aOCwMIajTdHOPWa9hBK+BoLtDMGTDXpV6xCHEgbMJLlE3ylPPK7g1QDZ4vJ5k5wzXsI0HS0+FfW
bsgURY01jOcq6VKFTmDNSE5I2xk7IMLBidgoa6Fkg3GRIQ1QqQBzFZGyKTpdoRXMFMYWfEV9gCnv
kUG/BUlv3GXysVea4ER8AsC0Jn9UyoIhlDZ2e4uMAIXnNo0O96UCVEwn541JdbKAdRCgbRKT/+c5
M6xTGoue6lvnbzD70uKTqn/MYk1gr8Nkjwx4mYd9uy1HV9m6NXFcjfGQqyZVBAC4B5K2KeJpdkDM
Y0PMMpNFDp4ACW4tnitmgdKDYp3AJEm7BthfKcZbAePDqyBO1PaAyqCXF6izzcZqsRGKTiZH2Yvk
2AflrRq62SFvRX8z1k6zwz1xF8fGNkgA1GoJINcwI181Mkr0+lOzFja5tiP1yFtRqrE2hYoFA+lU
s5dh8ORmZgyP0FU5OkK4U0Or3A69hOkMgvDKyPZJgJnTY2pAqUcoKpKmS+szsWX1Pn+bIJkoOMq+
GhEgKYTXnDNl1TQAevrvzZAqW9VpzL0o+5RRh2Wtejx4C5l24oDX39lCBPmO3Dkm78XsLorsmm3k
xNExT+oLBgaOyh6TLk34A7NU/3bUu59B0iZHRo+kM7h+dtWpM8nyEobWixV6HZUbQQ0/Q3Nuut4+
C9RX2TFGSASmbVvwWxrCNXdEhA0rIlea2zKjUiVykpFaBg1UelPUOD7AAnxeyHUjiWScd5VpSvAh
lF+y8JLrxEldwaSnTIJVYpr0BtEUTa2o4TpHCcpvRKMXx29vj+1BP0rHD/bUuyJ0w4aGx4msAJBC
CO8ImsjfuibjOhXpLVEu2q1iGd5xrILvNbO7bWM6k+YfM6oEubeqUSbQflerS+NY33MgnDtiZdut
yaBxLav4qZsuFMpIYZkRqHcTmPeefW6dwD1Ikz52YI3n+Waq/2yiwiwPmSOufqm6+77sor3bGPue
2h/eSuEUh/kGNmSJnaHTFrkq5JYWxaVuB/lLZSxC6yT82VSozVs76+4tDU5H5VvuEa6ae0RGWjJk
s+W9R6+b7kYc/jTZDVUZdr+y3r9Ubpy/qhX9VWK0m0vXeQm1h2jcBz2ZD32mGivbEvZTnik/xiHk
M+nlOLZJvYf6aksn5NEkQQl3X62eQfrDxfBQXxtN01y9EbNXQSnmWzhEgIbZ4toKtkzaxHe9c4Kl
6Lv2TsYhvsu0BXMe+sBeQtT7Om6+BwLECZISon6raN7NbzcM75E5RfDiEPNGylMub1N0AzsMBM4u
5M9zO78wL+IHwRN5inzmSCEYQuUbVW6YIWU1PsAVEmtHFIIJNx9sOBJnH3/3u3mz5g00g2g776Wh
xhmu5903O9WaZeeI5jp/xTSsy8P8tYOcrLwRbt2jH0YxZXFC56p4PW/xtN/caQcOojVWZpn0Nyii
hn0Spdg+1bK5zDufkLv8dfpds/iJqTxQMmwyGI2mG8pYJ04wWOqY8venfrqxh/4tLRhMB9U0D5gX
nF/4fMt8D8estwZjh0xsWte8go91zUt/rvDjZa4W4+AcP9c03/vtM+bFDPBUOOFqhB/zZs1Pzps5
3/tYPB8VShCVff+5ss9Fvn6dyHZ2XmvX+3+7VdMX/ngHdUz430jzaBL9964ogKKyB6a9NH/8vIq4
lslBU4r1l+d/28DftjrRvxmZm22/btZvSxvAM9YFDrePHfnbm6f9+vGVP7/ppFlK4pIhx/SzfT7/
ZWvsAJOnXpv1+vPr/LazP99XW1jXUPg8fz413/v6ezYoXFb/JxJWIjLFZ4g8yOAwwz5K2nCc/Nep
nYcPortLpZ2vavrju7iiKtIoMCjnh8GI5X/ou11X/8prmwEyBfMFYDjzZDLzXqSaWt4mtRwPfkCR
NZdQoeaG/v/K7fA/8bb/BvJ++H+ge09b8xcS/P8TcLeFbuF/dju8vqfvfwd9T8v/y98gcDFYhooq
GcM/AghEux/+BpDeCG1U1aYyYZguUr+//A2a+39VVcfzgPiHBoJloQT+F7hb41068nMX5LdpcebT
/lf+hklG+LukGMEu6n3TQT5OIs0fNgIUsIORWbQPrAECsJIzALJHy98iGQ7PPj3JIEJePymihDeA
2cLX/A/yFu2rcm3aBGSvk9LS0UxD/aJC9WpYcvMmOHVIuw+kNhLQlkKJHd8ZGmkJTLsXFIeaQ5gA
/wAReYOMIsTh3eRbPcuUdeQ5exd+E5GI9j/I6r7qV75u3BdFO+mm6DMiaS/cjJwhWOLJwbUJHM3d
MFsRw44GwTbb6+h2/yAA/cNkgPrK0gzTgGQtNCJgv4i9fd3rfeFGoHsk6Q/6FPllhTLeWqB48eF3
F0GAND3X4WZO/Qidt0Exw+csJVe3q0EL/nZEXz4Oid/l7vokb/z7kYKzUaclhdYbpaH4sj1eWTtB
yoCRmW9ZHrOCIFXQBkszw38hFL1Zd1Pi0ojvK6Y3ewY/UXF+K1dDqf4yKXA8J2W0qFW1W5KtRomW
HxnhWLsddRHQBqW7Udm2sU9tJV4ZeUQKgW0YF5GI03/+In84Z6Yd66hYi9i9rgGz/u+SJCSkjsS9
7C74zIfOyaJ1EYeSYTocTp1q5M7VarA+NXXZaDJT9mSop9Y/SYv/0LbOm4HIV9PQkto4ef6+GZhj
fMnY06Xr1hwbNTcuOorWCK0Cqewg5Ci22j05l1TdyQ5JmQGldPN97R91rV8lf2zIZLziNIRxSvDr
/n1DEovigZWSSNIU1n3tFvF59ECkRQVzfcWNvTMWz1ObDM8j8oWFqKNh20U+bChqhff/+bfR/zwd
TW4Khq2uha/C/upqauljA58kZTjW+c+XIw4GB4RT0fflbWbTLHA7+ZyFlYHoVmk3AG3VTVZp77HR
KSBTWtKce22A2OOnW+rgGXJtVmYzb/gxElzlRf/wrzD//FcIi5IA+mSdUwWus7/vvLawSGimowdb
iroPdXz1KAzztsMSsRBl15/KUr4URlMcUS4WR3lxG7o2Y6nsTbdQrn7P3LYN+/RSMJPfmnoDoCeF
XiWFvDMDvb6l4jDzqamUMdCICEun08qk2R4T5zI162TUF9tYwM8sXKc49yMisqICrJ+7pX3sm+Y0
qBOoN6lHWMkpQyX4DRt17N4x1NqnOgV1RWLJIhJMqYKpD9Hp8lCa+kVUebijygjCunsfey87sDMJ
u4xDhY58Qpg2vVPwA2XyD3t1Vpn+7VyD9hSLCwcjbheudF/+G20CShrUkAUzmp98sikLeJQbhA20
o4F30sEqEiQfVM6gFlCUTbsTg3X7JPGmnjI9eMxc/UC1yQRmbFsLp1aVFSTSaKF7sr8Ow01J6Wob
RqO9BwqFNUM9Ao5WflGr8DSprnwq/JtgUJ6g3L22UjE5UURHVU+fUyXo4U76G08240E303o/Uj0J
38zKyR/Nvho3vuKTQoSj/oBi8FRE9dN//pf84QNCmqsRaCsw+DChm42Rv4sqsfPrgK1Ki+qHeRvI
pia0fbKaZzDHXekYD0M1/nRrMEjoltmJoA/BvAjY3aV9pd5kIz2xjP1/3qo/pJ5slY5aH7qtpXNF
nzyZv29Vobd2hbIM/x145VtbukB1oC+3ReYBktR0YERhvBmLV4Bc6vdKgpELe2PjD5p/Bi716thD
dpAaB7QZ3yjO4CxjIhCWJXeXod3JtaqQS6eolXOijU1XQFWPHamuToFQR+/kq28OsE08MkddLyT+
LbMBq/gQ4RXKN66sxmvZVY848kw/tOBVVP/gC5wGeb9fIgnQoUVnqZZgF6jiD18gCSh5V7oGF0UI
aSdVT5B7w8KOrAIZ4YzYUd+k0rrHREm2JASFuw4icUgxLBB7pnfW0YjguU/FbP6PkeHvcDr0l3zQ
g7MXayaQPuPclLaPmQNujh0CtdKMRoceW9zQBrr1MlcFw0Tw9fS+QWTftFQ4h6hWv1lZeGmiUDvq
nfaOrVzbdq0e7Mn+ZVij1k8moIKVpmcuLASKTrU7eocK6TBByPVRyhqXmT+CmBOEWZYklI2Rf1em
Qh4SDoVFIYb+wnS3XdRl0R7TIQOMnqm7wkerJc3E2ZAO+PKfD7g/L+QccFAANYyPQsO+9EXurdZZ
Vba9AVgvSt8i0oEPHu2opRE6pHeFnrVLQ1fconbSt92AYL3pyI1NIQn9wxjx3/wfuQRwrprcFzoX
0y+DxJDDcYoB4cinb94L+Gre8BJOKigagOYCcUayp/IIIbAsdFrN8c4KjF+jOZgPplGpRBno/3AG
/Tpamw5FTNU6Bg1MRCTyfLmoh9JphaLlzRL6E33eXP+ecgFZemHVX2SLHDNphbrF/WUvBGogSFQh
Opt6YkdopjiGrntT5VW41YCp7SUDGMTDaLyaQkeWaRek7XWwGaq0trdl712jdPRXQ3yFCoSS9T//
zroQf0wRGCPhx9P5c+ns4a+uBM9MpFoBvV4MrpVdqbCjD6wH5NL6eKDUbi8Jq+vhwmA8GIrE3yLO
KrZh25iroTZSxAUgLVNbvphBZZxzO7Y2BtnWNvALFFIFTew7pg8bmSj5baNgYxGiUU5hV6ystjjr
FBFvkrHYpZEE/hUoVyuQ/aJy26sdmhF90Li4gw+6GAanpZaW07CYUkbGSNkNpZuRQjiJU5IELxfp
xaFXvBkePRzHDibhRW6uHJC0p8iXKG9MrvEmxVYr6KyXsRN3FKeiX4h2iuD7UAvnp1WHIeeXCp26
qZzbMsgeBh0zTUtxPVZiMMKDdeAwIzow8hEuqnl1doHGLBkA7hVX0T++b0saqTD25E2Rrx3TRwrT
YcCxnlvLsjLqc2W/6JX0N35JcCkIq5suqiTQwWJcWaA3LrlAyIlGaFkrWnBbloh4C/DYuNHrCNbd
bVkk722QlpSCCSywNPWJU+OCgsxdQy//JSBwLRHhjd+jfsqtONnXxfBUdLAuWyIjYPNq9x4eIVdf
CTxq50CgqHCpO6+qAuNwTKbyIUKMPtRR9mCRPrzutAfNE9EFJF61yywNM2yrWSe7xtYTUg/EcoRN
qJeovo3afAOZWlNxFhoKGwcZYC+OXr4yMGYtqc0Hl0hT4B+luIMsIiQbtt2zOvYd/KxV3u9ymf3M
nb4mSClbi6Sj3hqVUwc2C6+JO4RXPA4NjDG5NSip7hyjyJ9UF515Tlr3QXWNPQ2u9MLVEkZjr0Iv
kqBbR4CcBAqRRhWqnXqGCfjeRJWyc5ueQ1/35V2KLvYuqulOaRPAOw/glE8x6H0uqhvYqboIz/ON
PSKWbh33LXcjZUn/J8cCVSN7b5JLpQn/HWvV2eafuEzyOrudIJ4dLKvXlHpoC/jbSELvKc608BQw
80aWoiwaujaviZI+knoWgaRuXA6fvWtg3GRu0R461ctONkShTWGYGahu59VJyYpRed8PxEurrjnB
TZCILBDyx1L81PsgP9qKwNAygROLIjyVej6sFD+eMt73RtSIfaTG6HQ6HW2Rha1jtpk5nIU8D71H
aWFkd0dVHLxRISAn6I4gJNCvqmR8jJBBDigjrgozzmMAhNtUK2tTN/DPfdUCNOIrzqmsCPiURXnE
6ik3XRMg5cy19iCZNOyjrIMPTGa2X3VMvQVaGs4S9Trt6O9ZJFxthl7D+loGdE1VdJdO50ONRX7v
mgYAm2nLjBhz2BhXHVGEpX6orO6utkvkmIoKCdXHxyJQHgDoHg6uPpgLqGo0g1rHPBTum97wLyVu
YlzYKjkI4Th9UOBsXFQzR71tu42bg7ZvRudbJ0Jlx9QAZKRN09vuBeTraQNET4ay7icoZHHNL5H5
iVWJZxMhGx6HkiCgIWz1u6C8jqH1HBHVduIICe9xb+V7GrlVievNMqviofPIaI3C7Oz1zaMaFONP
2yxfQVf6j/G47DQvvyB2WNSN0t8xRG+wSaQ97AHfOLtFyQ1TWDUYJ5iRn2yGzFHOFaPsc1I6wYH4
0YtQG3g3rVOD9EQnAw1twP0gdYR53KhGjhA2Qj2sBRI3AmItGvIN4tl2HO0dPkVq8EV7UwAjXlQh
58hQqMF9bOekOEVMr2yxHPPAOaUyOsSiDUmYfy/MqD6gMXPXSEzTV4h5a6JonR86KMclQd3FKULq
i1ZGR0dZlUf+5+o+JiNh3+nX0G6DU4mymWiF3r0jTcWfRI3UMzL5g4AbOlD3TlXKX/jgRaIAqsVM
tC0dLkoNLWkAt8EliRr33gpa62jSP0fl86Nqc+Pqa9ti5K/RZ4W7pizRcLIrzombMMLT31NJixR+
GiqA1B/uZFn9wL8VnTqVi17rE1+TagLNNbpL3fAM0hxL9P4MRE6jCeyuyMzxGPWtu8yc4VI0cXhj
iyoGZ4bGwoKudwx1E6RGRycdxVx+9sRQ73TfeksA6h97oowWbkBrBuGAvWotNbnT3XDNdRaIUyKI
US+c6Dx43rmTcX/WkM/TYFEWGYfcwiMQZUNfec3UzzwCEtIXoIVJT9HIPVGD/F6tqUXK0OnXpt47
SKUtZzFmQQtsmA66G03xTtqFpNaRBgp/v4wUJoxf9c/B8b+NiTSQFNMspkgNgj137osi1lb9dB7p
SEUAxXfv9LEJOkTZOS2S5jH8bpXhuNczBT1s5lwdI8JhlI3qfTzetvjCd32RRxt8WOW6xQO6aTJQ
f3mXRA+BUcG/jVetatp7kyN9oSA82vQBTOtUL8GB+YyW/S4C/CUx2HNx4dzYE8JTGGi2aj2s75xI
7IpkU1lG9paY0TcQ5Uudg+CuNsgoVHXnOapDEl2F9pNT1rtfihAhYBlvnXJ8Ju7R29hZ6Gw8ZcKX
4Y1R2sR7aBT1IfXuKxMtbGuF7qlx6VyGIORyq0ZHFBKBAZGB4BazzVe5UFddMerYVUhR5o/AyJGU
rUWRYYZjcJVxUjYnNXztbqWWI0GQ+c5s8GVwxPV4Ygv9obLWnmKKU+unD2HF7F0GMS0uwaiba0y/
VguPSKqkKW9jV2tWhUJ2cI4iiE5FVD7TcflW6Q2W0tEubkzVB9tH5MgCFrANFaHgMj502H4DG/vw
iH5odBt72UnSVxp+IGEg01GJC+KMA5w318QiLd45xM1tHQ7BTthRBbG/pqUfK+syMIaXqmJy3AdZ
ea7MmghevbpL6fX6XZNeRdrZ21jj7+Na/QqPi/8QxTm+1lGvaUYp2oKsymjnW7Z+8dEVSNt/8AkF
boYkvIPAKQq/uM0lRmBCY4JlCv1wWVANfI1KaOxdU+4axm67+fykdAxP4AFOpcaMwQ3O9rv5xiZw
vlMdCwMM0QCaYsJYjYUZLG2CcNdzfpSdp2KlKeIJb/m7r9dwpMeW03ZFup3EDRAlbn9PvGR/D6R5
G6C3vUQRaehj6DCoqh1ykzu8pKRXMZO09XMXp/va80mInOoimtmBFtdJ8B4FAYk9jgFs7c6qTOqz
OklqwERe8xZzEp39aqnb7Xjn9rDKm4QYj4bEgbNptCnk7mTcpKSsHRwPw6LWZEeFvJZbKyblQkWk
/5oYAUa+rsb+YJgo4NrwsRoUAj0L3FlG78PHbHTnOhxoRRh7zwYNSquTib7zzfcLeU/evb0O9DzA
JW6+Ki6/QuPJu3b0jRcNLxuCMtRIYyaXFE+U+zJxcjjsg74nZfhRUUiyifAxmJyHFoVWTRpL29yK
3DpHytjvE91Uz1ovxdZqxRuaMvtsTDcdTYFtodovcbTzAI0eFdOHvEmMSz8ywFloDE/WtVngyUEX
ksgK5odalMotfOOA5CYVZTWpU2ERyNv4rxvQnFg63LygXknKXIXp9/Mm8dptlMMYKFVZLvpG9TYD
NKRz1mj1OcAIaPCzWIr1mGitc9SaOj4OXvltqBP9Mt1B1+gig6L3CV0veFAyr9ijbmOOiGCHEaNh
cbEphiOBO5whbSSSIUfrqqxiccI0XQeqcbWmRCUCp5x1X5rularSEzDrDvF3nGHj63DW4aZHPhtQ
SvNsdJgqQILJSMulOg6tb6XXLhnUoGtqoxfZDPqpRP2890JtmzphsMhLwpjz8M2NyCT1VkOzQUG8
iMuhPckEFC07Mnz0o8myJeqb1iARSIK3vysHPPlOeMfOd4g8U50tB1FxEQ0Cl5akqflRrxLBYxMa
wE9mEU+QM6FoYIATu7ao5YpziNw5EEsc4zvommIRGETnKV5Zrnvgx0Zbp/u4Scz7etQ52zhhCQjU
GY60b/Fw+uweU/PvLc/DfdhnvyDN9IewHoar2qZruzXFTdsU4xVYdYSbuegpF7rrzB0RDjNel/jx
fGOVOfK2Sfz0VqnxGNZkMuwDCzEtGMHbqke1ScC8dVE6hQJulh4a24UAxBHcWmZ7VpCmngt3QFxT
tQTP5CFO1CbbjSSNn6pSQwyCiKeSlXbuixW83Y3SG+oGpqS9tBsoiq6LeYBSZnSE5eqREWg+pZC9
oA81ax+5IrOYCAsk442VG1OLl2TWUxAIvxetmt9UggihrCkvEykAJql5y0A5v3bCo2vm/mSopz4y
oVpFIEb2Xa9GR8gxEaxFigz9MJLYOQqmFJXproSSZ7ueZs0S1FewYvjonzSJTL9CF3aoQoZ/qc3I
DZx0ih02cdYeWkHk4hBRDb0q77PRRCnXmvkPhcG9rrX2xshz4mxDj+i33vipc1hglvD85yF/xxhL
VJRt+ycPE82FoRrCUjcKDpRMq5UUWbLR1CFZD7E13ie6ptwGotgO6S9VOvJSGp111fNm2Dch1jjE
UAB4UdBJRZAt6DT6zimpG5Qij694V4b96OBhhMVCaFlTOdPX7u5jXDG2ZM1lb641nIQ384QnoPR8
UMJi11sGUGi/2RvQH7lwMvcTJQxstzGvGGThvWnRi6NM3oyces/YVkzyq4pBXZONZ8dL+YtYdbrG
R0NEgdKSjBam6V1V5t5F6d9V8OkPUN2tB7c5+j7hDfMDX/fvVJqrN5oWWA81RdCFXljDYX5oN7q7
GtQh2s4PWw2CbTx69WpemaWa7THKa4yC02oL23JukWWdaAJZD/MbKn4w2oIfD/TGu2n7nL7HvCWo
Spg6IfP52Iw211acpNvt/HC+Z/qRtppX9rHc9A6/7PLDmOgdxYPKIskjDfZWpZ+6TNeX6LoxxErC
6gYaN0vE3rfUnOxvYFQRPldIxFrXQY6PYUBLlAejGJQHRJubOCi76/xU7ynfi1iO5/kRdZQAlGuS
HeaHeMEQq/ui2s4PkcZjqdQHKjHT2kJHszh7GBBNp/W2gPHO/Jl+zS+qTqpcwiHeza/NTyE+pOoB
CXl6cz8ReIVbXj6WLqjJDjbw/vmhHdAW0W212s8PUwnEuktA9M4rK10u+nWQy9X8ahEBheVKSnjI
tBlwx5MbKx2e5y+rkQV8l5jNSmoN5yMRRdQ+SoJdp23wwNITJZDdzo8s5j+MXNB+z+vxmqkzZBB6
P78a07HchGGjrOdXwT3zgi5Qfk9r0uselGuuth/bwCQouzXK9uPLmeSx3MMd/njtY3nM2F3pRHfz
ykJFf1YbN76ZXwtUha9iW9rh4/skxG6UMhUfv4FdqZCKjar62A5cGPWe309+bEdCFtxJy1GHze9F
Y11dqJF//JrwK9QHm6mXrpc3kZUb6zzW9fPnjZIyt/WIvmDUShb3Xy/Oz88PeyMqdmPivQTTNPjz
+fnF+WGtjPrS8QhD7ksLieuXZTwlO5Ut5pL5+Xktn5+D11Q7eLW+/XzKmWbanw9r8q7XDlPzpZzX
/rmCeX0V1jT6heXwsYbflkmMqDrjgfrc0PkexjZnwFPlBFtIseni85M+t9tymxKWK/VJtc53ndXf
4DRLTwqYWOaTbZOesIlzk0TI/uaXAj/m9dASy4g29PJzmfnefDMvMi/8+XC+VzXBjRWYFDKnlcxP
ff04sn35JMOIxL5qJwD93zfhc9W/bWJklQYO3sRffjz57z76c9vnVYoh+K6HoTK54P/7632ue17k
86MljNHj6F7mZz6X+m0LfvsWXZkwuwKIjunir1X/9rrm9O3ajyNc4HWOKlOAoFCt9LEuGGOGgCqO
gdeksI0EEeM5RrX51ZzR0irA0LqdHyI1w2yY4M6bF45HZijlNCh3qyx7tIi+2xODmy/nhY2OVNQy
Bco+v6o3mrzB4fg0vzXqhuiqhM1ufm3IE+9eysf5ffNNPzKIi3O0r9NGdnFyQMerXT7WNMpXrCfR
zbymxsUlpUEBPH6syuC6ZbhS/dcXwNW50tFMb1FRpQSq28q6SlqALNNDLsHqNm0t7eMLlNog94rH
OW1+VYYuepWpXJ/K8txbXf3g5YhZIBkN16A38M2iIt9ltaVejL7CRT8wjuiZmyvULd/NQXlPCrt+
7DqNsbxeDUcM19VZLaW3oqhhPXuFcZ0XFXV1ANs8vlrUHrAqD9oNf8rmADbI3UgvNe+l31eAovv8
PWwRsJvpm0XwM/FLTXznMpDfWvQV9qnZxRdXBOOyaMvhuzZYq3n9mvS+F37iP9m+FEABCv/k15Fz
svC0rkVbpc+AuB/m1VOM3GWjm39zpySQgFbsLRZ//2DFkHkqMhzvMe0SYzJ9Q+9nNI3VxqK5GkVm
7OLUjJe1msb5sh7qW0Yp4owxzr8PExeRqONhZB7bKCd2xLzksaDuUyj+PUFN4T6mFoS5koXpKAT3
jpfdEUVWnlPgqHeVerYnMxwUnuyFzBOVEgXSA9Q76UsJUGwQDKUqTTWudu5e56ctUfs74gP19fyw
82n9llUX3PiOrjxKQ1Dv59260dpkqMJwgmtjMhbuDO+BdJXRLcTextZ9dbnKYYIQ2c9GKY62lXTP
vRe1G8fNnD3ZMuKqBAxeMhLZfoqSEq3v6s+9Y2HYsqC2J34/Xv3Y7z/WoYOq1rXMfVYLM9twkYkP
CbkaV7gHA40/1pHQ3ah9tdz2buGs49oEn9v2qYf7p/5l40z272uVcq+OMY3ujZnTuSIOZJfb2cWM
CiIU/7rhwoKpV+ZUwOYnFaYz/7pL5TDf54yg9TFNDgV4EOZA3cmTbojotSinW6ue4raQyI45GIG2
qW7mZeYbJtvdab43L6andIbxmRpP6RiN2/ld8wsfq/p8PL8lwqG0CSx8Db9/3ucqm5oMQSOVbwH5
gyqQsHs184v7IsMCxdTkWTpqePayXC5cOwqeTbXlmE1ceIdl4T9HYd2vAHc6u1q3j7E22ONkmRuX
uToWV7T0dFsaMl2mR30XxXs1y8gEgaJsL2gQ+Eci4C6p13q3aER+mRq6+62b2zehQZPAL8Gsh1OF
YL7JACZYiizummYGXLrhphJFeRjsBh9XFRC7Gzud3KaNwIZjU20cKBYvumA0l4FFwywqW0JNgto9
VjJZcCnuTko3qeJHYCxaYqmvUWW0iJYyBFcJI+EpJ7sYLPsQ6lgaNP5USx3NnUiVHfHwzyiXwdxF
0ntCgHNKncb60VnRLk+zG1JV6x+UOXaSXiZO4KYjXLhEtNgzRyX/eHhWScMd/FbdFwSC5QnW84Z4
K73qH4q2XuCMUdaFGtkbzTsK6YcbawDIMJrwK3SJkj2DhLGUFknDTU1DQ73Hc6/QTIO0GCPJX8XB
Uwa575gEY03lg/q07Pnj2bny0knmi25q+HvOYAjvmJ9PhawJE98tmKOYeztzYGK1VIRa9RD3hbNw
bLVZthnRxQT+Yvgk+IEY1PIBh666y2I135ro4nD5nhWP1YVt4O8I4/jpDO2LLzwoJUya1pz43hsG
kkRRBOnFHvth2VSWstUjFY8S7FFf4Xylgumv5Wvi6cPKwJ+zisvE3utF814FTMaLVu77/CDtJN6m
PdaWsaQ3bIKHWqL8JYqoaqo1Ek5CtCtAQHrz1gWQv2UVvfhAvwKpfWvDtrs3+uJ9yOWl1oV/56vJ
ekzFcPFGHI2m8m64abNJB/cm5XvuMIpkS6PTy9UjYChsXQ7TDGp/jwYAhQQd5cJy0sfWS7dGT/ZH
TT07YI8Cyzy4E3bIhgbSF+ELXM21LjC2KB4hkgZ18o4ouY7TUZnHtxGIlzAa7gU/O47qlSLyByoE
/8XemexGrmVZ9lcSOS4G2DdAZQ3YWSdrZDJJJk0IV+Ps+55fX4t6kZHxApmRyFkNCu9BcHeZTDTy
8vLec/ZeW3SaSYF5jrkbVw5ThbhJ1PpJ0vrKnvJxL2rIr3RlSkkhxxUUZOKWSs1p7BNi7eVkL/8Y
1OP+KCWdSQ4rO4uQIiFk3GYjmSdq3Bq5YqAPqHe6cptMTOXE5pBF0xOkHDLeYPcR7udpGoDg0cLn
Y+HccwtBQ1yjB6GbLolf6cZvVVpTigmDrJAoL9xyW1V4z1QVYx5bbWmmeZ1gNu+G9qEyuje5wbbN
U2JWWLcYfE5FLfKNWQavcli/pYw0oFuksAhS/bZUbQEnSf8eVInq+d++0D98htWReeC9oCHKBurM
5N72pNd3WbKZK41SnwwQsND6HLettaETr3vo70CH9ojwYmactCopprXBk6qg0g8jltRUeol7rJst
BX2ik9SstDMl3aCvA6Km6gJbRtGtiiHcNyPlqhAtnkMSK7mF44t0ngR1F2SawHI68mZT2qhsY3m7
2KmIQ7dRrUhOZEjk5UzQTQqosk4tYgcyWrAtCsHBalx5Un5S4tnaZqHpySlLvrg5DQXN1lwU4QeE
18k0P4pUVSAPcqoqU39oCtPHsXTTBOkRM3ThEOumi3QF1BsL6KcuonGlLZXppyJRjvIagamKJKLS
zo0ieJnIF+2+Z3He11jsldLYitLKvjOo/c4k8CX6Y83T1mbpW3mBKnsp8a3aaASbIsOnpGsEaLZz
da9F9dvK74PWbMRcP2XqzEZKqZGBRcEb47LFSdzutXw5dArrI+4NPwbrYZNnjC6U+hP6uE1U1uFD
24xvMKYPcgNGjqjNe1BUwz4Xu9/ZkB0nChh2JJHUmOXJhoSMz0ZhUKK3yT0TGiBIhW1fhl96zMvg
Vh01tTxNeW16aoDNq5YZ9rIyV6zLNs1kJHZaEYi6NKbptgbmb5ji38U0P3MnEmdhiFBGw8LYdVh8
KZ1y78YgFV0NA9eGm4OQtoBU0qEYfwPWMPpMOckyfxTDY5stuyQsl22/GPeBvBZFnLA4zu1pGtJf
iNY/81B+izMQiMCqvvMCQgH25cjrzelbxrNVx79CQbjGhApldKRZnGKckroJDGHsxF1ubXp64pow
JTsm9Fvb4AnLkqgm8C0jaDFflIdekb9g1Y4H2Szb56ZhWaYn+scSiqaN+xTghMHQLEaZmZOeY/Ch
KAeUcjLQgZkkq7wleDEi6K4jmPQm0OkIoKmcgik/SaWsU7de+4S9NvNQ+E1Gj5KdUIjGB7msyBVR
Qtafo2YXAwpuPZdPZhrRmNTagCeGHByVmG4OnJCprpZjlcM00ZYEWz5L24Xs15BlxMlIZWzSsk6U
VF3+ETNp9lPtkpE5YHUnCUJMzXuj0mQsLfW3GVSbOksVL4bjdjAjlTm5K8+zxeMV8TVYhLLdKWFm
sQdTtIOWP9UsSF89BU/+TqxLF4QUMffW9B4RDI21Pla2QkISjmzMyBVa4akC2CgUmebUKiXDRTZe
R2uk49t1pzLNuqehL0pb1ufzoMrdRVhm9iIZy3RJ0+hYiRncsoxsvlWuN9IkOdGgVKMyewGdbHm6
lb41sFXtSJY0EmzLeFPnEnQuQWPGTJSHdsy+sVIrPrNxRVLi4rT8wTXi2NggWHrvwy5jiwilVhbJ
MFeHZL5ozQTtKzbVvZmQ4m11/SaozZ1oscvqQsJh+i5Wd6oyOPR+40PckpiQso1Tg6hwVSMHIMUD
ZN9aA11+abzoQIsuxRh9Q/gqXTGsWdsW4rmPESo3gAYELQ2flUj+LY/JTZNBFmnqCHlTrc4GpvPz
0rWUL+KpeSpFc/DpTHhNOQQHEROGV9dS7Sqc8p2Q9bNndh14OCPZqKJQb4S8+BRfFZZApxI/BkaI
TkINAconpN69i2J61XIdz8cGNzYq7crLC1Mm2gdmx4/eAolydiQ7Pgtn35Ct+QzzK6Bx3gYbM8t/
G4N5prZbvabguP2ltXJnMQsUSrORImSqErZXTKLqtNC2Zi6B6lc5i5HDSuwad5owf3fIAg5xLL5V
6fcE29gb0s9WnJZPFW64JQ++MBTSm9kRSp5KD6NZS7fRqsdjOiCZVg5qbUVPTSPYQpaGh1IdIJ8o
JJlwR1vAeuSrMMTpFfVOBOUoDfxQm4ozHqWZ9vwYHWp0N0XvGh29dMW8lT1kOSFf9otqfC3DWDyE
SRUiEVuXFG3ymfWDSQjcclEl1UtMWbKZD2p3HDBidl3w0Bg0HdphHoEsKuFrqrKurJB78LKFxckC
SCIOFHHTa1O/bVTSocrJojD52TR5epAGCJyGPFA9CMR8I9UzpBxAX7uliBNXE8Ka/jJZpfM40mqZ
xV08Cw+jCmg2NI5q21bXEvJi2hAxF67RHpQR8IOU+iWqZtakdDB2aSgNZBdCA2+lFN6lFVv8nrTz
JUNT9rMabgG5nZRkym/puv1Q8/g8IpyGORNPLMmBlhgDieHQcrDs0xA60NVHuAa60AE6JPvNmAyX
gejqvVIjOtLap4aVyzsNSt01tUF1W3O4LUMU7bqmfLT6cT5himJSQsO3jaTEyYNEPw9Tdzalvn2C
YEwA8VAdFUl4EfJS2S/TNNHWQrwYL2BAirE7lxEJkKEFJkG2EjghRfwQSOO4myAxeAYJHHsAnlsg
Kp2bpFDmJnNqPKGj+55X3DLI6T7rSYy34dCvhfmGNLYxgearB/vRXMjs1TVIKtrnUsM26SyxvSIj
xG8DOEAd6SO1OqjKVHjqoBp5mqUdETlJ3jKjSFh+oGfi8hmy7KYzSvMlN1ZgQdz2T3nF2A07INVq
//TzRdcBeaY+XtzES+DU7LOOiVcX5AeprU5DqUJFUYi1ryMszCOYADm6dGi4Ae6mZ5RHmLINdORE
L9aXny8QpdhJjgoCBL7j9PO6sVZ6Wd/nSurmvdT42dwAAq7A0o5ASz2E3JwvRXlMYPdF9gzZxZmc
Mjc0SLjg7BCQxem0GSayzbr1y5zmihOnZug1uRY81vp5ktPY7dSUYN5Z6p8DDd4o7MXI09AsEkYU
PquiSvZzVorPjVFeuyT35niRXkCKHuqGZC2iFKNNm8vy889fQySBrENAp+mCGr6xEiL2s35m06Ed
O0UAPpZkjiiwMyO5dGU7DOVNELLcH8AGUKt4KcYm/IrdNMlHH/hicCjb9o4Xwxk6q90OYnmYrIht
ZCNdOhAfZ7BKiUYrPaY8ehpnMKWSMZYgA5SXQeg+22WMNx1No5ga516LP7oRrvA4IcUZiTbKZ8qk
HXoAA9UMm0vdOE6TTgZKbwquIg8K2QTztG2nnjyelpYP5pqNKPDgb41Y3iyIWuwwtNAK9LNxmtpz
gEdzfXyWPgPkI8kiojzVSdgIBfso5rIQrW4gEcKO/WlRg4OlsUKioPKkJ6YB76KXd4RC5Q9Fg9jJ
CmN522YpgK81ZtmKhdKvpUJwjIkVTFc1aJUmYTelKxIyI2QaKmm1abLMIsau/O9U35g//9GBoBNx
Y8iGiHFGlfR/UKIXYa0UHXoI50fkmBbdC7iqzM9UKzzKuUqaHs9/7+djmXN2mJWlPCDXkU6yeodn
gId46gLfWvrqIFtESNAXPP58iWEpGUtM0G6tAAKYbIKtg3NnNpzmVU/ZBDUcwTLRN8uANoxFr3GU
cqoCc0RZQeqt7jrgGGoXJtxqnj4GlLg8twkKj2dlU4yVbpeFJj6iVvLHSvs1CuF0ZxczQXAGWZ2c
sYIUiBSSlRdizeMlbGIXYvo7iaTBzupZG8Yx9OEslIlnZ3Db8wSdmCs87H7UT9l6P6tJS4gXWSZu
gPsC1eRi0WGXQDcHyrGtm/ac/14kJxzVO8F56DeVPt5oSvpKucH4Qws/dlnhMK2V5JFPt2ZWk90w
qHCsMwp+RtZNl7BizRGm4ntZDuqvkp67BClFAVXTyneAxaiOF1vsGmCXplq9tZVgT40aXykgNP5I
zO2q/TL2AixOILMxenCE6gi8dj31B7sXWRH0WtK9E4mK45LNRvtFbdl0lnwN4OKx1HVj4cwzsmtL
BCJt6Ys3dpaMhrH7qDQQuAVssX6l4pOTeUgVySlHogtk5PQ2cR4N66xM81Mi450I+wfKg/chZy5f
rQCZQseY2wN4tyy7CS1p8jca08YfoVDXXC6Fan3wAStXhctMx33QvNpsZNZfeYCxUXlhkfdNUanZ
V3Ixr1RcHfO++AlxJXfVNhX9MhsR0iATZXGX3bmJp2tckv4g5rfZ0MZ72zQ7pqhkzZMJ1rvWkUOO
SeBAK9jb2XywKCY2HVvNcjgZeVo/hYMVAXlVtfaS9VTym7TZ/Bxxjm7/gWg3p2EsrSWJ4FEkTuQh
FrQnS0jRjSpa6URDnW8g5H39rJvrrIOfK6DNGJ4n3s3/MUpELJsVixRRTVsm3kl6K8UJ2N/qBlhB
RXGLFjSsH2igsNoVKVc20WuTDfP7kDBegmneNZOu7ntRju9yLawyrgchavpLGwfSMZIFjybIDTlV
9GRM8KZKFbHiKGAYHJvMZ5NQPWaQwPGbRIWhPDMff4qHZBn5BSPPd2U1baRNW73NdNkOBWyg04QM
Py6UqykoBY4rUnOJ9RC8WLLA6bDBTIMlOMiZ8CuwgD//uDr+RygBBJj8/7//ZPj/iRT8m/3//xzj
z6Zsy9/dP33Vf8Uk+NM7/7+BEjBwKf3XJAEv+5enX9nw66ts/j4vcf2hP3ACJFT/hdvWIN5CpNdP
0Bn25T94AoIlggbA16yR5PSPQAH1LyobN74hKSK34mrC/3eggPKX9c6VWPpiYMK59z/iCcg/Zqf/
8G5qmqbKkAnQomqyqJkYOP9sAzRUaqzKoms+Vepbp2YfmBRYYL2agn4iaigGtNYo1BXlEyEsuyFQ
T/kQwriPDfhgrK/SBIxPkWdIVNYi4AQpMCXIqAW4m0WjaPdCDSaJ1odNDDVNGL1AK4RSNRpTRGUN
bLEGozLQMxwJOvvIJObWwRMfS+izdKpNaaZ9YSprbZFFwSQEVMgU6yaYwRvIsQV/s902Lfi2wbit
H0Eppc9C0mmikrC0xnKV6d6Ual5Anx2Bu7EDQNeyAVJ+Iz1vsPNK0cfP9+Q6fAbUusPxo9hlAGKb
fG5AiSMgY3QTRj9CTEn0VXc+OOBnLIeUPoRDleQOZemS5nMzgQ8Q75YvftdwjGO/l/X013pYU4fD
GE/gDujaLRtqy9FJ4Z0iXFGFeZPL9CORoKNTQBpRpVVf/RK9i8FiMa+0KDBDKl8pG2EFEGEChJzy
X/oR9Vjd8evYLRZ4yF9zCNzpXdebBG9+9IGgn0+tJGe5Hm45J78RWwza2vIZFBMVtcHpLddEZq42
t7VToxOdYzPFxfCWknchVn///EttxZ/CitSBBFYq4r1mrOR4W8JF3pMYy6Mpp0svtKMD0vY00yYH
Un7SekOB69uoTpfUSJq6Nb9Yp2oapMBLxXtu5dlWta6lVoCHUAAV92hfmlCkNG54NX5zVA7B1xwI
9EaL1BPF4GKUnwxgEPK5ejOX/i7l9U7Ocow7yfgM7h91UPLG02ty8lYqmN7HD2PFva2aMSBJYH1B
b1YZUvDZmq4YLETH76j8nkzOnS2MHXvKrVSbwkZSxp0iyNMOK9WuGMhSCwxSSTQSoBE7ypU9I5Y5
zTknLBDUS7Mc5LhBCSZIdBeE8DpS2h81VrJB2e6tWSSauK0+snXcp9j67TFWTb9EMmUb6VVPEiin
a9nb+gEEdqFd92RQRS0sDzU0uMdCayexp42T6reYSECWyxB1jKG+DVo7U1qW3jKiNahflDzkM2S/
FYucS9kqTyL07aaC3V4lS+Jli3TRxOnSzVHjcD0kp28saLVolqOWHUQt4hKzzEetrTUv5xZ19PHV
tPTXCb/hKsl/TKovVhHTORI8i467GH3Bnih4ui3AVJO3KaIoTpVkF1MiBg2R7yQ1uE6z9ZkbmT9U
KUM4xsVgBFzxvNoF3EDy0iDwBgMsZkm5Qy8QStF4NII3sRgfMRpGT7o0zrSuVXB/Y1g9cN1XY5EG
vDsMVUb/RGHBiiEu1fmhGJRdHJc4jII4QikeozcIsD4CpnSgp94KZqKpEu808wGOmShggyH/AhpK
saUtzUOPfiJaHTJjp9kNwWQuHqtwO2hrYUIdHbxSCxDqod3CR2WQaalvjVhkwKa9dcOc4+Zob4RA
jPu8ZjQgBG/WC6LFsvFEV5q+HCaKKlQmvx6e9AHVsDiMr20avBvKpgKnHitIWCyBSRcu8WoJKt9Q
nVnJhOQte7OgeGDUdmky4XNbZn8UcoRW05LRwSxs4sNv8lT69Jhcy/KXCMni/Ew1An+hOnzEIZIy
TWASMxO0ZpA+YaBXOzJ7I6iwkwlZlzawGqu4tKppq5jNlQoCaQxg/mwhUjR+ztpSJtbdUVhMzwxE
EmammgyMwSD2hZqJnH+JQ4ekWKpvHWUy6pUxQ3lgXx0Uz1gyKQ+Z3aMZX0JxFa0ZGFJKusu7Pvwe
dODBAaxkRJuDppxwW3QOErTfQrv2KMlqVWFd+iml8qql1yvl/HYTuKdElUk1ihc9koMH4HktHcH4
rS20d3Y7gF+0qcYL22cuRoPZppD6WNFfdPWosJzKGugbZOCD+9VJSFkpsFGNMklEtFllnlC+8F3i
ixJ/pRyOIKeCDXWFQUQTqIoormuVVbJDlanrZozREHPm9GKIargf52wjlevr5H5w6PdfQF13bgsQ
kBbYyoyjI5so+7Gm2rDoJjXFFhxfZha0PmgoRuZQbWhXpKJ4ntX5qa6LTx2gFPI2QGzVVjALfW9G
ReClceBmIBhPKkR1zK4lAUwm21zJSs9aY80OyxPsK4AXQgz+0ELCA4WxwtdHVtc5hAHs2Nn4VcnX
jkUqQXip+GBGCe6KdH4qW+ueTILpGvmaJdNPPnV7+brMI7lGA5V2iPTlNQ1FX6wi06XLydOwO83i
+KxL9F8jgvSmSqFSElKr0DuBxYDW7gYtz16sKfAIRiUPj64gEmA1RkgQizQa8De0h7lPwf0DxW/E
5ncTgv3Ueahr+TQRfrLkHIzlyWwXtjXZTxsk7gOiFHKB6jdKKWiQnCEQn7RK8AVS3PajSuVBYJLD
s7ah90QQoR4/4ISJT22ZXuY8OYpxSB8uj946w6y9lcapjZK076MYz6vwiP9nMwv6VyVCLv1ZJLQq
qp6ld9Bn4tUJyJSwlolElBvo3AS3sFoTNV8g6e1ElPYxLRAyrZyWGio0SyS5YDBbCHyCq0YXLHbn
VGpOWt6xctHiwQsm5YnmWMMspz103MhYDcMd8NsHLZBad2ii9zQa4XrW/kBte2tVjb8QVTOXUfRA
SX6ToaGtDHa4qlOqnxO4lg02E5GCWl5dZb2ueBzrEmyNjnYfhtcSnVHj93mL9RmpMbv5hRJveAj1
gZIuu7xGsu5Lo0x2dW3amofwRPaKPB+LAId5OFLSAWtgPWspi7iBRzEOJdcYQ68bhkMtz7TG96bY
LHZi4IyJlLLbVcHYOAKUQd8QaKDDlx8do1XxgoUYJ8z8Te7IGspwSLlRJaZQZYNiO/cYqiaAb9Mc
+1lXGr/hF+ht1MGcaesLoUuiHbBsdOOUsIZmZY/kgi4+ULHY9sGzicfmkIvMr115HDGi7iQDrTVu
WLk3v5KEyxT2zCraaarmW8g22aEnc4gH8bcYBzQOCEmE4hbsAxJ7zvkknXpQj9xo174Kfifl8ErB
9m2ZwC0m2hUCZAOgtjCcOJO/sPRtBRZnbtCw5NCabzMODj9b0z6b4HarqjtqecxzEE9Wj1miS6ly
Uuq6ygPpWgLm3piH0xjnH5Y5MLMr8bgB/4wRsj4Q0vWKkLhmxUGnOqjMa1PC3W34/K2fqioRSYLy
rmbZZyPeGmvYBvL4JZks182gRElGr9oWJcyk2iWK8luCKneQ9cgxY65BRIWR2TbfjupzWExI+/Ic
ByFEPCchP2xMhN7uY0o9WaPgS7H8qluOwKq/rfRlKA/lZLiVLiPxFxj5qWp6FrowOzBGJyFXww3z
MvQKGViI0GYnuioveVbgzse+ZYXma3+u+vjNoISA39l8IhviQzXThzHAS5qdqnA+A2GLd9G7pjfs
j4dznxunoSpNGgHpM+W/XUYeMdQA4gjCXt0WAQcfBr+NoEPT1m0xL9V22WL4auso3+cZOrdex61N
LqQd8qjeSx207ESiREQcK2vv+kHOenJdav2XlEX5kYvp9nr2OORjcwPVXG1EwOy2pld36wIQKdiH
JvJkjY4xbyFshqZ9qdpIP04KNfVAL8VNGr21YQsVWgVd21hyuheG5oDf9HEwZF+gjOpOXGMKFKyw
qtjYZal5C1R2AVFCCG/LvgPafUvGGbObMBzHlSSbUXeycjgf7Oe40RJK98prmW+Mda8gj3ECzn7+
VEMcOoDDXC1il2WGE2v2UPyA/MVly7kZMnQM44TxLTVMLAVN6AWBFkOtFxBnC8qtDiBVmqZOQhWZ
Wzk9Z4+b5rlU5AJzVnci2m+d49EnJPQPKeKRwoZ5wFVJjLKV0aCBAu9xqFSKGvpezKLIlfv0owzk
BoXScI5w0vOgpZwpDFgE1cZicYW5vqGnt264SJpoWW+wdBI785ZaEMykWhscsV7dmMW3eWpZDqH2
d8W5/jVFLz+vRSKU2D9nYqjxRkoFYSfxxxI0b2M5Hqoo/ghDtnU6siLihq5Zy/bw52ewlnMdeG2u
o5MO55xnW40hDTv8SaTaE1uSuK9H7bMqrtCMFzSRwV5LFWUfS05nDpGzCJS/JBzcrF5k0dOl9EOL
1d4pZuLno6GV/A7pz6FHHBatW4KgDrtrz9sP4qx4gYiWKzOFS0a1zsuqqNkI/ZFmGplsbZpx8ZZn
tTDNxzFXH3KLiyDKpJZ1wi8Ve815ETRX1jrluRqwLXQVDOtsPvZFB8uP6CahKyS3X83fofDJfqG2
MUt+/Ow3e9PYkZ6L0kf+/bfzrs8myN4+dTqSQuZOhJOiMmaGvum8RioI/qHhUzWzW9XzuG9nUEtF
QXDctOmjfjrN2j6miLhL8NEiABhnkzQelg5FZz1o6HSVka17UuRsd4JAd9RZLveNIaMP5z6ZpcDw
s7oBaDHEPExHZT6VIzKzyNLTDYDEEBi7a0hkZ2ENveuzGOwN/UFbAoECwYyLK4FMsjBhViJswpiT
E86PgcYOOfDoru0UVd8RMQS+U568KEs+UDVy90bXjJIFNqlbGJZHusxfY/IldSM10rV0MsjyGe3L
e5kzZNi8tWT5PEQdcAjkEw7P7cGpRIZOq3MIwUheSa0LbryEfiJgMyxjVIqcajJNoe0yvk2xhwBe
Dw39ghlGfDClD2FKKb00vNKMEBWZNyXgrggj4Zax+6Dsclpg/0GeKnBZk0DL4lvnS2Ke5ATXWPdS
9L+C1UFpRf1FC3LCR2n08KwKblq/PrnXGSKR+JssW3AANJ9z1ttr0QLh0An6URNMx5/bgUpo4vRt
9mHQE6QkSg2nTgDpMDX1U8VBzXwMlkAKMlkEOAa6RnNn8to80j8F7JdjU1ubdKJ6YkIqctALfUZT
uesDTBaGhIEk6UmOUtXTvEgYQwGk5MUum5PXjIXLOjjXcSnKfNIu7C5Jui3Cwl8nRCEhQDslh6GM
wX0FbDLQCoKVonaEcgkoNW8VhB1uD+4xUUw/RBY4fxxOsOhsQ9ZZifJORW8kXxdJzLAULEjTnM3J
zbpBdXqNJjmQNydRqQ5V64TQEN9asOpoAPEM/dqAzLOPGcORHbZIAmr23OAqbQAHy1YImQur+Z5L
JIes50ZQmOrWLk+SkzKTMef+XA51PeYivqm98qteA73XC1G3WLMA6ulp6NUl3bJSysgFJMOsM4z7
T8kMODPW7/X8zmvFDFINhSs19fOuP03adE2y0CbXcK8SYlYkr1ad/iLs5zGLp8yVdXnZZuYUuqW1
GJ6GB9Cm8Z4xhbFaEdNBt0V46R46/AdjYhDrK1WttYRbPjPW1gnyZ+KeQHNTpvvUDYpBuCJje/DX
y//zCJh0pBtWqPk/L1UMropptheWo1tVbo0dfXRAI8GY7lWihBAPJ8RRqWntpnSltkznLc9l6pLr
bTLhsEeIiGYxomSmGi5kkJqp1i60oXWbybqJwUDUR/ucVjyH/q4A/J+ANxVqvX9HFVsLqjAiVcOA
KSauJdz1+5+/rjH2kH/7V+l/6Q3SjzBQNV9AVTLMyXbs84NBYgLmes2i7ld0nzEDTsUPHSXcXT9F
w6wKbuuRCUVF3TG8r5PAem1xJ3/BjC/n/UR4eZ1ou5pBGPeMyopGHXOiVYkDjQXzRiDbKVHkqxzY
//wjrSS4P5eI+USaKcqKtYInrX8gcKqCblmdJgLnoyacjznrdypja+fXkDbl1N91AjWcUTb+G0Sd
/J/9YqzaBshbGeyMovz5VAKLxcMRD5zKpvbLIGRK0E5rGbhLBDQM+gkgzs8sUi3WSVof+X2fEP8V
f2i0frvKelNYPszigQyalwh5Sy/n3+q6uOm5m6Mw3ppN6fYcOBj8j3XNMNc8ZEr99M9PoPJnINYf
YwJgrw7fa8WO/cBj/25MKIkqitEca/4oc+OtR77e42M6PbaCp5vJRzU0Z8b8rqaZ4xgpUxiRlh/6
HFPYY+mhMjvEHFZLWdeYyOGBcMMUjzd7dVPzAGHUz9LnovHMxC9rGzM/oPz7QojWM1MS79cq5hOY
DEqygrdey4hb8+eT/v820W2uvv/tXz95LnfNfP0O8Uz+fcdHEnXAsNY/xU7v2jL7/pdbX3BOv9dc
hXn3xYzwt5/8K4Ba+wvlMx3PqqjIMvcbY+mPhpGmAaBGVmVwF0IuJKP7bwBqWf8L9DhFt3RJAYGv
rqjDv/aL1m+xOhFFUTf4cZ3e1E/PLvwu/zqb0WgD4f0ff/97rDC3/Z/HsgH3mmGsENsOvRDX+j8i
VFs1G9j39qp7kFwM5bZ/u/v20T2/v7f2lQxJe3LnTe19MQrd0B+dR1AVFzArvmaT+2bTSOG/0kZz
6LQv2DLI49Dft8WGuGV78jX3N4sIZ3ZeRm/0bvrmficf29M30U7YgjBxDVexseDw7HjR3NxOblji
/cwJ3S9WVDZoAFd3Jr/fBt7gElBts2CyQ//lXtu3xWXjbH/QxrBHXhu6jy+PBsfvn8Greamt2I+J
8/R86Hmb99R++T15+5Mt2y+n02zfQUE4sjO4vNPi147qHM+yU/JZ3jt34lexR+Vte+/Y85t1j2hE
G2W2w7u9aPZjz2EcLPc+b8kn2bit/f5454+pe7gfWeXx4vcjBHvndj5/S/bnG0drT/bmutvtavvD
3Gt35a4/Lp8UAqp7fpB2oePQ5rETe7a3FBns+/G2ezfsxyf38X50Z9s52U+5fX/JOezjOXLud8t2
zzEHeecEueeD6Eh8y4dyZ7+fL7t3yz5z+UpOWG2/f/iiw/OYd023C/+AHYQrhiLQvoieYH/wHrJz
jO2aD+zfqQ3bN1hNNj9+/wBOwk/4oX21bN518nP7/HG8++fz4XxDGc5/27O/u71zSd5L+3jGYWIT
t7g50zKwZ34v5EoGxiLY9Hb4qii2dZN2wiF6EB853k9xo783d3RpCJ/OomTP52qLmnliX3vBX6C+
sbobtt0B5NIGnZtHPolj+aXNx9+9L7vS7p3D/UAJ1Y6cW2h/Xxf79iF6orc2I5zRG/z6oN28k2fa
r5nDL3E4Lq9ki2ULure4PZIPp2Ul23vChDZlmyr2r6/eeYkKP+Pyx27zhkD4q7PcitFOt3GLeswO
N6QxfZk7UnIdZFZc2PXcWPZt8zl4ymaxO6/ylw1rGl6cOt43niN3cYFhcJ4vn4QYO5PNGWy5UpfK
ruzThVKeXTj70+utdnYDWrXqNPq047aIBzb6zrxYHmUVDzOxjb/QFd9QyRQ+mXd+6LG58gebfHHe
NT5aHh0dx/Ju6z/cNrvcyTflkfLQLuL13yVl7cS9URqxrwnDl0GxyXdgCj2izh35LLwEvnyJj/rb
msdc2O3zLbarXWvfdGcX2rZu46dydrDXbIeFmN0xVzi5c7129jdxCrzfN9UEl5cuNhfIsI/32L7u
zpvBZuLgRn8p7cRx3z9u5/XGII7WXg+RYyW+y47c79Z9Heyd6vArucwJpzh2PvFsMBSP65A7nhmQ
3FQbwXl9iO339ZSwafeuuvOpc0Cfmwvn+3ZtHZKgOf/15nw4MqyvVwAF9pHJTbDXP6nuNeWg3sio
cS7fJLOtv/z6zV8uHA9nyXQ/P1Mn9C5UyuwrzVD7UtivJWeKBAgn4Gok7sIPXdaz/8dHn+zrYG9+
kVfuFE7jPLx+XtfxUvz85JUfsXPnNXSeJaexL+SHct9juLJPnR3YD62b2Zq3QSrqxJu3zJ6cX8RI
7aijOjRTtrQbko//y9yZbCmubGn6XWquXGqRGNTE1AKicRrH8YkW3iHRCLVI4unr08m78kRwPMOr
8k7qRtw4EThgMrNt23b7/5eb26bBLUKCjsyOZZi/0LAhWJNWzPndOG7BlxViduOBSXhPEJTbJF61
W9VlPd8ajgHKkn4V8foyZ/UoBbMbZyAWp811in8wT4IE/aWiKAyBRsBgYXX77WFrdCGx1Rc78lFR
uEQ24nsWn6a/1RmOMjeCwqZLC47YaISnP/n/thB+Yq8XA96Avya2M5aYyLxIWJmd5Hx9hZ2n2bvt
9sA3MqN+Cfs9QDhs8poODLv2xYMo3YM+zYEH3TadMdahvXPDT7TTjXHF6mvyYXPKI7GlmU+8Kby8
vdshxV5Ccs7cEpSXispeEYkV740DtjkLr9nvu9D/ZGoLt39SF0/bfrYnK1vYjZhtfbE/2MFiux3H
onV1sefrxS4VJhOEtsmN3YAQqf1Ruh+TwnNeJx8ZI9XiQxWyF4uvCWBHvEDoBdXDTUS8E+E/2zid
I9XX/efuuXPJcE5RiT5ZpyCyv57PG0gbm2CVid1s04mP2Tv2rlM7+/HX16TXyvQtokk+PhqxCp4a
Zyt7ha1xceauI436qSas1EeMRtmtnmgqEGdfFqpz5nE32Sb1U1c52O2r5tIvgbRbYkOvl5OyO6Cm
OVBSiw96wmwmCxiZy9VGCZewQzGbTcZuKD5dN7C3s8recyNSYMGcVo2njcfa+OAg1PbX3r65Hye2
+CiCmktbchpv2zizgPCwTT0WG7WpJ8A02f1DPj+dUBO0vjlflMA5Ki8fxReawhST6VdqP31Nnp8m
04n38vr6NB4L134KMvtjfhLTD9b+CaZa8fLyHHGBfqniazw+uwnP0SE2NfnRINtI6+JdpjvNUQFx
/zxZ4paL4xOg15zkbF5M6BSbXueAF+8Bs58a0OrSEy7ufuvnIO0htGHuXeb3HaXgX/TIvLafzfy0
61663VUSxqv+0k6TuYrjfXQ/nqFSFx9EzzGSMuymoAsiLrETvYsiey2ezM/WL6atbwV1zNKqYpaJ
DXBo4lP/awN6Ob+7UKQxhbsN4bSwyZb3krfHCGOtP9jZzMEwmJ3YPIh3UcOb4Dn1oVBzAie1t42Y
fNVienAqv3MaMd6GoXsX7zcRjp9sf+mOV2EsJoGzs13X54SE9mI8C5wJz416/ngCKwqxpXwlGI4Q
Mmwqti1z+nOXu5nzenNM9DBL3xuDdLQKmvcw83i2CbsVfPzgc8nKIztBb6nih2MSWwOMX72vvv3F
64qs8zmuDch7AGdVVOe0VACmkWbnwfM13poZpslxmXpkyde1C2QRsqQ4qaOF6qtRwbMtCsd6uk+s
EWmRtAuIZHA195q3VwEnFJsX+S3SirGCqENo5ez6izt2rlMlKDjtk9sH2PNOPSaW5F7H2Xs7zzzu
kWf+HkRe5laC2LyNrk/cckMJlTkx7+Ewd8FW80Cic2T35N5GSZCt59BScmskS3o3kqC3CWr3rTdq
ehVLUfsEmNmF9kJFjn8LUy92dDsdtQ6r7zeu4bQeCLSO/NU6r1fXmLzCCspGi5c1bQ3YW72pzWWA
GuUu+0wEFtm0v+Lnn/M3b/46GtiAnIv1ujehYL9DKWHMzV89bzL1ptPpfDSfXoXX/zHltkXTuHcG
nHjcn2z5ZSzbMbOZz9/mrwM+igmDnYiFWQpfiPnUywU/OwhvNO+Nm5x3r9+8lwv37VW8de78dT5f
v6y5j721P2ccBvWW/MHFOBot3964xq7C4V4qp6P56z1Yv649VLk0KUEhDrol8K5htE+RSdtiNXr3
BKB791XFLiTa7178yNOF8QR94nNCbFK2My6zERcYvz63izlDLhlkNJ3iL4ywZUfeeiTehYv9EYq5
FzJ778Xx5qNRfxkt+a87wpTH8OnfiI35l6Ey1zC2q/D5ZfrygvhjmqjTG0YFILI+rOj1k/IaBfcR
NqGHkDh+7GDNqG62a5aKw6bQViue28XKIS+rYoi9Td9eLTvanxsxwGohu1xQ58O5iuzV6iv3aBp7
8ri9O4RB48/MoYs0kELpI7IlGt2n8VMyv1riOLa29Av4sdh3YrPjBhkn9vB5UDpgtwbPtXjCKfsC
MFC4m5k7dpezMUEGfp+X+ciwaZ53U/8Lunp8MwMPLB3RAm93r5kmUm7MnfVc7E6T+9r01A3AiGES
oJS90m5mBusM+bg4O6O5hxXe+Ky4d/ZGyXiUuDmH7OjNl22AMYn5ECOt2FRHjwSQzYVMGwUGlQ+G
yNsNQ8QuPXAZOA6fvfmsO5rmq6P+VexuaS/tK/Fu2gQw3fe4EzQQGf1bR5/L9YVDNEd4X+Zz722E
GYhrIrE/MaPF9usroFZIfym8VxZziX+27h1fLCEOAU7kxON2nStsJzI5evOmcyxoRUw5A884b69v
S3+d23ztdP02uYgPXDUPV2vEmeKg4UUx9JrVcJ8RWuaHVekvxScuEs7fuNvQx2mveYibw0O+cnqm
JYcWKUxEbzwEL69TLjWOSu9zLfs5LeeM7XkeV+GkF0psajzO+ZJv7Q2fZWy/ccrfcHNfvJcXj8M+
Wi/FOHAXI89bv73On53eMVvP16/PHPopJ5DXcRP4hZrwMOrfNAfPecgBf5338r3E6vFnzMpj8XKb
nfHn69g+O/1SQgPyl/n8qtu0qHGERp9Tz3Nwo3EoeaScafcHvw0YJubIeL0vXIq3Jc7GcuSzR6O3
Vz6G3uGI7ZYICWU2QnPW/FvlmsKittcj1gb3v982rsWQmaIyxStgqHw/j7aOd5pD0YG3sHZDFw5c
e0uW/a+f4d7aeMhvzQlZ7Pe7/yTwp6hNBeGLvU9ARTBFb0E+rUa1O+lsqd9z/CBbmVx7Jd7iG7z7
kRM7sXd8KU52ZpH4sOk5ervg/12nUuLlqNraKfGCX5NXLfFqXSSv5cCmqJ/6NEpglC0pHppGL8bs
wFuOJ5vObxU9erTpRrlsMMujj8FHs6DKO+h9xcRul1kwWNVejVs6pPvSNp7ql9ID0nliLCXW9mX0
tn5j2/rd62frhwc7wnTb+SMkYt2r3gWRhvfDeLH1U7Hb+72f+e5y/2di7Iqlz8qPeI+/8MNMhJyE
5XK53W7fd34Y+vwdg773yJajz4V/dPr3jhZLH+dqEb7zF/wUD3sBs0HCtRR8x/sCAemdqyWP059W
zq+/cmd3DA1f8GXLNRuMcjftEUv7yWaaNgK29Wf2Cn/Xx91df456R5BPhrOQ/+GVKZg8vs0j7sTI
90f+qHeTXD9BPHlhuQxd39/NsP/9cGzvw904XPMAi9D3P0OXdXG3m9XKDbc7dxwuxS7kr7PdeLGj
10CwHLwi2T6LIrj4MXHdJWPgsMUuFilxGHuPvbtETkJ3FkycGX/5ssPZDIMpDJepGH+5M9yP3ebM
3ZEKF5PUcZ52vMHebt1gt3P3YzvcW8IX/HW2ce0Z70EfL1zfFYwPB85ipr9IT9ttiMM2C/F5/JmY
ubu9vfXdcFE7N9e9u7tw7M52QszsQGE5FHtzd7ehv3BJdwoRziBqOoPpviDAwfpYfPV+NmtdXBR+
88fuyLPzir3Ap+4/s8VzkXGpBu8pp3yB23ZnSfw67M0f3Ey+s/9YL1dWPzM+Hb0ni2K2bd0BE3V3
fQAAY2mJ37TIcVldvIfxjm/0+NFu3Hh8aot+Zv/xTQY884LXQ8bb+fyTbR04aWDa+NYUMwmcL7+3
fsNUCD7uhn5vqXIHvCO6F5sjy5l3/dn7J1MgTCLeW6IjUPDgHd6wkBs8IwTmk+ADcQLOEcOHm3Fq
f2GgTp6Cp1k/oz3uB48BZDVLeRaLHfKcERPC09yzuYv3T0Yb9TbYmpAOJ/99qbN1MwMP1K1cdpKS
TLEf48SyDLWXO629XTReP7VlyqPkDmlyJoTf+i6hmI5cgi2XBZXmaKHY2y4WC8NFS7mr8dPGZSKs
+I7v12z+xbEb87zYkUPMkBBXdLfpldTWxZNfrYKxu9gKgae8Q/YXi17bkoayT27ub0MkNPHG7iqy
n8hBCRYz7ANTrGnsvbv2Bln1OYK92en2P8TTVcRodsRAcMeL0Wi+Hi0RG5cdcN+XXAEHMWcplh6H
y10sEZOdgrDzxLuCJWALWESkbcPa+uPdZnZyxsjmarvzQlWgd7b9G2nT5kBd8WL4NJvP+uP6b8+T
JYd9tN3vWEd/624v9ufnyTbt8L1CM0juYepi+Di2yxnebcIxNsxup3oR40VivLk6Cq4Rgo7t7jWj
bEhzqqdebPqh5Ls3MNzDDo3I2iJuNSYNT56J/a4SLv+d7TMczLsvPS/ZPjYfiY0EKw0qjs2DE6fh
TvV9nzvP3xyY1H48xEXrNw8BoTa0Fw8iFFzDrGgi2qAX4ZONiuQ7fH87nnWTYJV4B3tv2GPalQNq
P/FxxxrRAooJTyR6QUx8rhPH4i69jJsqAB1igJR/0Wx0Ee3MIDICmhSNjKJeV0sLb/DuqohuIZhC
u9fsPfqM6B+/LiMmVjttIShgX0RMpl8bwIidTblIUSz13PLgyFjjDofSVxxU+9M6fU4n2QSkeYRW
dwBF/+sc3Xn3RnIkvMCYSGTTe9McIjXo+rjkkTXkF72wTufwGDC384ZeV17nByfoH8/0LbaKgCEn
METOmfdTJ8YHe7zf9d9Beycv4YHZeO3P5AVM4Xxwkc6Vze1V56uKsZmM63n6FIp3i9nu/QJh9X1U
TR+tqZ3VkzNx+MobWnL89aRPCa9QgtQH+59ilPbXyYnFC5l7e3Im/garfUjEuvdQvDdsGVwjxjRx
XLFvn8hAaOLlRgj4ubGxjL8owLLpEBX2Dj3YhzXSEU1pYxIc4xuRy5er24jKe717BDCb3vctHJIi
lv3xPGzsA23QTuJVRME2xzH9XwJuRaKAX5l9fs18yXH55/NsMUMxVY4DXlUwgW2uE7dN4Zfz4zjm
/PuyLAg4FJti0D/J5wUP1ZcJkozzAvpJrziMbrVzbnkBCfO+YuIcfQSBjWt4Z3Cdgwi1ksXZzZ5U
cWTEL8By/P69sXvwqFkWx2kgBwyZzIvplQ8nTrkqXumFwPHto4arft8LBD/EBPQIPmmja/CSE8Vp
iLv1q5KxA3ijuJm6H9mFF7HSgTn6CL4SfrKSiKx9PH8FGxTCE1hNbDprgVpibNJBL7XAawmlCYVq
uBpwTyJIK8LiM0bgF72MQUNC52uVOPC+icpXg2raBeAmD0cQm6Ej6A4d9VKEeeTU+EIgVxJ2vgWn
KWiAS2tBsHOO/QU/dv4EKqPT7EsXErpRPjXmt5fKOWt25Q1HKwIB/cIwWEOCK6jsMT0dLMQ5oIhw
Vs360Mtz7crP2Zo6mgv+UN3LTWfHuGDPR+JLBFFke45p/vEyMfnsmAOPAX/3WgLfvYuGSjcF3g/h
KQxzSbxip88lBBHR/5ogWlN57MhLc+2syHj4lv3SiKePmgRFHz/qk2CUi4mPm/P8zOiiDL4INlKE
M86cPCD+Oh5sgCKifSuy8QNDklUWx4zV48mBhhf0GAuWs/+y1cfk4+OLL4OkUXyR3hIfE/JvSO/0
2RjF/tPX0OFc9m8+MAg73Mf2jN7t/+vzfexSdwFZn953FIvLRxs4C9d0zHk6qkJSf/FI+WjBlF1T
A315O2yH4REKPhSenb4Yq8M2j+1TZ1/O4gJohVfuj7FjrC/PIGSRbwvk5XB9e7ld8TmjqVoIY6Xj
f2IEV/btQBszJU901UBdQNnX5EI9eEAXuVd4HC1ShPUkcQiLhabTTc5+QCLRiZAOZNGWHBYLwdQW
hlN5LEgQ+5Wn+yWZSNU/zGp0pAlpWjeSDu9n6T8LH/6fsuj/d52U37dk/n/YR6kMoeL87xspF/vz
vv4tLd6//z8z4lAd/gdwV7RC6ibpcJUf/GdCvP+BQj6c9DaEhLo8oNQGuqAq/t//y/oPSJkMaA1h
9TP/lUX/V0J88B9UoIL+ZZqaAjYVbM3/Lwnxh2w4HZ06uGMwOw9Ukx5K5SHGWKjSuakrpQFL+BpA
0gHCzmGqXS8wN5U/lOEofbnL33U4pP0fxmK6v8YzKaujj91Qm9DIcwoHlVV6OrpldPUuw4aCu2l+
v7mm4dwzdXoA7kNTTgtNSt1f9uVfFQG/VgCo385YHVKhIFO/SsXf70+hS90xAwmrC+WeHUClf8lC
/d6TINVpAj1I85vWiRKYr6F+nFDYKAZKbLfAowNIJUx6no+AqOn2IStIlF6nxclpD8DhSNkc/IiJ
ZGVLKSNMYLQ/0D0q/YP9Y/m0XozkgW7pxkM1UXpXlKgqtS5UjUuoa6SFjat/zYZ+ROvA55LKCdrR
cvvWELW6H6HQVWfJiUaom+n9eQl/L2v61z4aGnypdAYTmn4g+yvoCErlwb0Lcxn6Vo9yH/rgO6fi
karyGQEK8uinyT/EwpEdijYGHB7QehRAAB/afGkcAXrHsAoIZA+e3rfWHk5O013gptN9xQQFiI7J
7NAAsF78MF3zH+v++9APApNbl7Q8HKMCKoCtfljFR5q7bhBzMfgVk+XPa6v2h+D3Xf59tF58fwn6
1+DjHW/6oAiNE0XpTTKRaaKjss3V80gYSg010sChH85JGgmCrcgdSIB2gSbWWcbo1B5ngP/Z50hy
m8vdPTTQY4OmlSiZD+yJ8+dn1Xrl8PisugEJpdE3gpuDfuV+eVYLIJhaicoijKl41tTSv5Wg+ioH
IO23kjGERocuqDyaKwd9AzveTImHzr26B+0dvHRYV2ujdgpLsguoGmSIQYusEgXHi8hmBh+brqfU
49wBejEaqjvV50GxPdXXVXe+vcfwh/ykn/55wAzl1+k81Aka0ImoTVcVodao+1YvPTPZNPLVbU8X
TweSocwvATTKojIIrSr6qjxfQKlKg7w6w/J2/kHs+tH+sbjmgEKl4VA3BvLD4l4VqekKYHJDediN
L6o0oWwJtijco6sGw951OqBc9M8b+s+DzQL8MuTDAtwqlfJnGnnCpEvBcyJOWJgzacCQzWAVgxp/
VWiiSQ6Z++dx1W8FCd5lnRvPgkDz4Wa4NrSyQOSCIA0qjH1tTy+urWdAzSfRsgRjYmhi6cZufoHI
lmZgPfEhMzruB819NLROgFrT6B6RNyiXckyQpL58/fCEvX75x27wcCq3gWn8gwNZuSldfaEoN1QU
YJYu1YJa5FmmDlZ6B8nV8L3ozt6hwNgGaVxN0pnMfQZ3iSigrQCz3+43q+w0+2ZSoh5zHiCv8XNV
2Sd02QsuwmUx/J8oTSjWe00NF4H5D17rW02JdaFqVXjQzBk8pcA0mvQA1Go3UwEzqtOgkclqSvEP
cqR8ozIZmFJR2QQe4h+4QJbWyNa5Y+DOkCYVqB605S+aXBqn53USkfo5lArpsbQH7wOLW7Yj7VlS
rAn0LduTIm9vPb+pdWt/krNvbhFNG1ClLANnYcnywy3SRiVYS7VSheUtCcjg38m2kMYaGHaL1a0q
RBx01Ylyc3VJiqnRaXA1vZQRvYk8rnpJ1nVWQsvmXVXSmpD3/FnIvl+2wVDvq5StAf2hv+vTGGxN
CYqlKoRe1dYBjTkMNX+gUTwITQ3w0bSuUaigw2UWDd3T2fSUU+YpoO5ZAwCDAaJJIQ06/0Tu+9fd
+iD7INkPsVMNWe4VxO+P1RXH/AwaUxnSibGMzY1RnvxeEdEaEXANe1CMzWgboAvYMU5KAKHzWJe+
rDQHHwbXPBqKiB4HGuuHGpXK9W0NONmyuJWL20DZpJm608xoUtfZLitfjhngNFBkvgyb2LnTcnvX
jNC6Z9M/L/V316ymDZEANlQZcKB/n1N1GRxSpVXLsB0M3ArNdjq5lxtoQBIg3z1zaxtPDsdPaMZ8
M5KWPUybVW/l+LLJJeeenD2s6U2rKBvLfI3bs2/QVKDoP9xI31wBGHsyjgDkuAo4LL8/ZHpX20HX
DMrwdOhhLoA1KXCH1Zkeg1FavGmm8m8O+LAqZwDkAVhmQFN9V1Vib+r8QAwisjZp8gFIyg/DPVY4
9FbdbxN8EHjIx+/3RmI8KHNEFs0HxEV0KIzauQwPlBREFMgM3v+89f/NoFp/whSzLyv+fVWtG8y0
sWSV4RVCg2M1vVVr+CbsVqUC1MKIlI6OhHdeFpn/b478cL8O7mUiDxqJ/ey5u87vMjBH6ZksenGA
dIuOw8PzHQzn/PrjyP1CPh5hXf57zv3N/4ulVhxhH71JEUe4AeWcOij9iDTRnj1shUyBB/5YBHQG
L6qRJGhv/kG1fWNZsNH/Nb75IMmKddc6qx//kgBOqs6vEDMMfZlbOw9Og3nB5H9Y6x9mbD6IcgyD
65VuhhI4hTxAb4IgH7mVfrHlrBjT/ewBwgZC5skZSNCRpxRm3/J/c78f9blcWgVwC8z6ZFBZqddQ
Eht2cycWf9N9CRxIOom8vIO08nz+4ar7dsFVHULtvo9HtR6E3EiGkqyCLhTSzSj0lJo2g4I2/NYj
YR/oeYSuvw20n0b9VmH9MuqDgF+PNeCfR7MMARQCf2JgG+SGW7prhxyoq4atkdU/6ZBvbEcNLf5f
M30Q7XNk6Yf8ykyxLkVBqxHrGiXPCNkALIfsxElDpcSUoJCG/rOQ9Yv4j1P199CP+vlY3JRiWDBd
6HcBfaRYcrADKlPUGTB/uz+P1V+yfxrrQZ6VLMIBvqMqk5IG/HmPz6ku0cp/HuWnGfWn6hc9AY5x
N2xyFlMziV5TqSXNVfw55T6vafX781jqT4Npvw9mDm/1EdxyoPJz0yNeUugklYawogGWDeNXoYdG
a4VGZ456ERqogBXcL3YtiVN5869ARCqg4YHB6xil6gBs7Q4uht23eULq7SbQUMU5rjI4M105+ME5
+9ZU+0Xqhg+W5KlSdemmsR1VQiEu56s3cyDvpGKCWC35h7i1zZQ2JXN/KaiMu73JF9OrJKK+OyC0
PTn/Ucf3Q/5JQnr39pe9Ky9ABEm5UYZYkW4HLMktyf2rTJ7sQm6hZU0bR41rh5Y8m3Yu0UI9bSmN
fYLL4c8728O7/fFRHixG6LrzywAIpdDCcNHiidJtk5IKV41MmKHQ1P6Wtaq4X1JwKNrJ7Ux1NkgZ
tOKBzzmBiuYHZUhH53cPpCl9jFM2afd7UIfX5mK0xwvmXnaGHzaRoBmFigoi5iNoOZCL2XDHutfW
0bqhc8IfOet3YKlkG8RMICWObpoPxf3md/mmiqD80NwjTCdxE6TGB+12QDg03um275kP0vQZy4Fm
cVLyzvGgwvBYPEeXdnFtSTKasMxrxwVtEZm8TTvz/aamX0OI6cFxUIDkHOfWfVs13fgIqbN0kcfd
sFoctGTZJPlMyvZ0+HNSyBHA9KBTLh3Rz6xK70cNvleghgGWqf1DSVVTl4XlADSAJAnO1zJ26usA
wJkkVKp6mp3j1bl0oktDAz8AS1rRboxBM5Gqg53TdyfRZA+/c1MfnlJJn10PlNga1xHYBo6ZU90M
0uza1NJx2gzI5p0nBSDmhm6Gd5ghO6KNF03dQsU51MFSj3qWKBKuR5n6gVv21MtjF6Wj0sxWiZq+
XIw7AFbSe6LcRmA+5Wrh18UpE7dhu21LdXdPrkGXy5v8/Jq0uQ/irN93xub3YhxdlTBWa6qN6PtV
dBuyN1e6HsbEflc56DHnI9T0MsEwdQ1AzhI6PJIqmDuWsVLLalpFxUhJLPhDK5iuTksppvCPPTLq
bnyOz4FxPc/ikx7c426XgFV0NanBuml09tMhop/a7SABhB1w8upULfS8DtLh9Um1DGdoaMEFyOK4
vAIDU+Bfl+OErJS2kutdAbLJvZxftTNUNs9dPo8AAr2Yc31AalwP5VQKQCKWTi7ioB+etftnPj4f
gSqH3tk7R6EShVjjKlTLYHEDd26ftAmQYLRic6C7d1U7OnWi2xewhYEWtk/ZTstcs9b9rFCflCRa
XEEDyE3NjmWnge30kt7D+GgBHlDMiW9L53NBd38OoAL1vPKHPOpU3TuffUmKvYMzzFSaL2k/bXHx
CB+07drsTtMWvoYuM72WEU1wUMvEVYmLVUNt3/tGl0rZR4X6Hl/3t/JimwdbVunOaCVSXfSqXXdg
qKeHVU0FIrBO5cVwbjHR7XMMpfbiOABVvFw0rTY7XargUpFfhtz7kEkB1Oj8ewDdrfrD1fSt/vor
xj6EX4OI1O+q9HBXolvR5FWY1kfnaMUCat3e/+sn+mdV+a2d9vdI+oNh3Ob3DtqussLjMgLYycDK
gQi6xQnQrBEqHXiCi927JH8e9ltDbaCSRQL5UtXkhwnWRcd+tVy9zZkDRzRbNqnJuZYAXJKBvdTO
1dD9Pw/5Vyrp8X7C3dOADFVVS9YeLoWmPkMaOrjUYW3OIFOhoxe4nlKyGzOGu5U0OADA2RBQ/2Hi
QPH1w5Yq310BhoHDCfaoMrQeoxis4700o7wOzzF85Qk1y9eDU5QnF2g6DzZt/9rQFZmmo9zQR42e
TOtCH/15Cb7dbLKAfdqJBzEfDJ4BbHiN3J2qsFBMxygoDMFSuBs01ajUXuD5lXIE+cVP+Zr+4n9c
eFJS/zVsbzj8YhicT4YMNQbDgipoDHdAh9Ed/IO/9dMYD8aHfIjORCuOVVgnK7mcm8APIVX/3vI9
CJAmSYOjMThUYYRyGZBt6tMwTXR2y2ZWtoqw7rg6+tv/ZFCa3mEO7iOpDxMDUDoBFepShZf87nbE
amWL4nAOaEPBgkxIDo53HRP1z6N+e1h07e9hH+aaGUNJU42sCiUVhEfcx+zow6VuGx2kPjlpL6Tn
GneufEdiyEH+efjvBfXv0R/MpRP6vWuhjAxNwnH6cHlRaye9zUBAESYgaRpwUz/hTvRp8G+k9O8x
H3xHFVS9g6Uw5vV0d/U7bZkmRr/uKHFno4xtJcZixJAv7yucITFQnRy1CKALliSXhATteVZgBNAG
dj3SfnaFLG+o25YMqMRP6vOn9el//suJiruTVJvxtQpv0lukoTERxi41wBGeHJWrjxB2mh78D/aE
FD0pCJXA2V/p4V/GvEvxuTZUgke98ihKCszl+f0IXwyhsytgNZhY4kwE88+jfntR/DLqgxwWx8sp
PhVJFZ4sMGo0YrhNjIOz5cjdsL3kpvlBkfRf+A9l9cuAD6LXqPdSUpQ+RtZe3MaCjqZ9w3IXGkfu
35vag8CV6UUZgDJYhU3x0WKP6VbsWNQPNXDdXYOKINmfx/tWwH+Z2YPQlHVJLJsURNjT3R8uu2OO
tTz4QUd+73r9PYr6YFBw35dABaMkYRkSXToA5LmxITQV0gtkBRQxX0Ejuid0Y6RBtjy3dAAfl5cS
S/Wn8FcP2vCPrTRU6EAMXVbU4V9IM79I7MEqSoAVyba01t27Xs5T0MUc7baKu1ZYQ9mJ1JNnZQtT
if22OvmNfvatGqDASHNrtV5cGm3fnuuFXBYjlUIQW79m4bmWwmN1+SrM6CJu2v7qg10OoUiP301Z
4Z3UN0nayFzdz5j3AJVgNI56S/1+xrQ3DZ8ArF+mOWCvspCGpau18HhEKyUGp0q+LKRFldBkq2XT
RlI2mXwJooMFcn1M6WdFEs28Tkkr2Npxe2vJHA1vtpHOr/XJMQ7aDwaT9U+LxSRyB3IaXYDAp2kP
RwHMfBBdWzkPDR2ittaCVB48QCW8xW1QVEOQscCgqoOTYc3X04MGDyLRVDUb+NEBB1MBxk60UMie
exS3iBbBa/J1aYhwN/XAL1Tz5CgNUDJDtZ7JXRIU8VubxWO9OcOSSxPlSZmWarQsCmN0aAewuN0m
hzJQishNTqSEYTCHyuM0xcMdt4o8yc3OH5S1c0mSr1gyArU67a34PFUK60VNjZfCDHBc/Xtljqhv
ml1jc51q1vJkXl0CEJg/d7CWsg52Kb3yD3yoarLPoWJ+JW3yVZ8LFRDZYlmdz1A40bnVtvlL2ZIO
SaN4KV0sguhNHcr0gukyrFa1cyjiOWRus6Ox+vMx/ity/KihDCIJlkImGHz7h0jc0CDfZV4HFdBv
yrbS2nEKS9cx9XPI1or8thji5UMraaa2dbSgbxq4jdQGajMI4JP38ipbnImE5gl0ZACYYfRKWuFB
2krK6/hmWdS438zwcB+4ad2tq1oLTauAsC4bKYN0B1Y9NE7xKfNJsdpdJu4nBdzKaDw8y84tIo5/
BfUNflC9puxwuGnu5igHJFoeYl22+Ti2XKU7+Dmk55VJw1KqelVmbOq2wsWDkEorgVE9ByXOcXU5
eVpXQ6PZ0ltqdNtrpW+SuFgU4MlmqjXJ63yaVnjH6kkUhTK5DaXjD+oMUJbvlAgOikL6EaTuwYPW
HEqVDIxQUocXo/MhZMXqscAAPHtBSohSU6htgTCuaMALa70WMLnTIfYPseEcuD+K+LKvsh6nsJmp
OWmtoSmqAW2r1HUq+gTOt8C6HtbqWR6VKSWkiRnEXboBwzLBQRhk4wvIlVe4zmRfhx8Zxji3Abd5
GJUvSXMH05HmWvCuILkJAFOlz2mhpdpLnuLA3iEC1P06H4z0Kn45JmDCdFwybXsO5YuXZpEXA6BV
p3Ugl/pMRWJPl0/qPk9QNkG1Y1dRZscFuO0NKdPK7zHphulSze5wgSwriZ7k4vl6ouEAoyc9viZq
5chwnt5zY5Qd9j38VgwDGsUeT2VezyPKVsrzZ55um1QFlpmuGryvBtC6Ewjh0hlqLssKy/oAgzNB
MqQjvxzc+H6b6+dn0xxQ8lC6MkjmIGjKCW1Y8IAcCXVGJThxkOmKwlDhfrlHHasGmQuo80SpOsYC
6c1LhgdH0c8ffaCoi6CJim52oVSudqO1Ny3Cu9WGUXcEDF/x8L3HcVQ4zRBiwXPiSQN91EKScy3v
47JNKdO3T8VXqQ2ml4EyyVOoToi+JqSj76QzqFHatwc/0SX/qg1GSV4AGAgAVVqBgpA0bpFcvC7/
P+SdZ3IcWdqdtzIbSEZ681OVpnwBBQ/8yYAh0nufCq1HC9HG9CTZ3wyIYTfUilDEJ2mig81psJim
bt68933PeU7v9IKA4Svor4ukcfMQrzGN3jaYbAunhSZf5OmZeomxKDTsDvmtUGI7iXhFmOG+IQg4
K4h8NbRjPjc3c6vSQVb2ur6XJGiQ3JpqTO+WBcQ4AEuQg21Gsp0VSpg2wo2QMxUb9Ys1qe5gdW5S
59eWCkoxYT5B+Yt127Qey4FbHyu3enYHufaQa6io6nkTGpjk06fANFcppJZZEu+KNn1vm/RFlLZS
KjnCFK2HrnbE5D2oKauyalMn+KDAUAMVyKRUUoHR820A/oXogIaASujzMP/QXdiZNL0JU/NggKO3
My197+Gy5YF/k3cGMv36lEs1Wg1iMq372ieDDAnlKFwUuvria/rJZwKTo+qh7c2buqHURmZfXJeb
uju1kUaILjZmPaX7RnUnMq4UI3fJWj8kebdKo2Rt8vRa83XfYaUc8AQW8WVjGM9s3BdgrnWpN/ID
b8tjodeO3Fz3fXKpEuAjMWqpaHlJsox35ZTmgdfWJskbSnpnssJSdWHlz+Khk31ID4DLqoCHpH6Z
UzJ8/MMCfvND5VwXL6TCeWb/fWGLkfQF7zRxwREHFAgGssMHdiBJlDh5x8RYPAs671LixV7oQK3j
DJ5oHL/7dbiJU4qRQ+rWs8XEaQUvvkhwajjeJ7qQrwio+p5m5k7vCFaT+SJFVTnP0Kep1SrruO2J
ty4eFnBnGuaHSfchvQgqGSTT4MkE1MbbhBwqw1JOyweTBRkLWfoMufqBDHTgCsHLwkXLp6Mc5+8L
EznWope+Fg9j2UASVi9J+fMKXVtlOdkMnArkEEF9m9oHvt2HOusfaJFedorqTYp2s6SeyKN8yFV5
n8b8WX8+Zaxe6yw7pHWHy2YKXyaz2pPAuksUiK71DNcRRv92apL3vlLPYoc8PojvE40JQ2oelEJf
55ThWfXczFpaQnDXHzX1MMfhC/HoL5pguSNZjYmE+7rLw3deLmdryDdEnawWTJ6W8jgv+x4WejdD
kL4MYfjOLuW90zF8z/Vd3cz3P3JRugBDi2y+WN0FUTTI6YtNV3F6DTRGqm20Hhgn5cx7izaRKccv
P06eVLWHqIveCW0EfaDIF4bY7RWhfJhNhXZOcR0rIqECgIvVPD6LfbEbyKUFw8ljZA7ZfSk/jAsw
0wosajvRDHcmWRO3fT8PtTtX+iYdzfXMtFL0xkYqGEpRRNIdFnhNu47zGPdVn6vnOrymOHgoeP6s
8kWSTXvIocUjnv7rFc2PPcHnFY2hiCwxEddqrNV/3c7qcqiRct02h1mC/FN+75kcpLp0Syk8zIr4
mJrS7UQhXmHR2ZfEbKsQQRdcfe3vg6E6Zkq8yUumfoVMwJZ1SPT+12f4u10o5DaKkKjYJJZev55g
qQM0lcIA+UISnxu/2WXkoUrB6OZAKWdKl5bwVdHstzIRgzhsUJiybqqfO+gVxSBhrKz6YOQUpVlp
sq5zzIZ/T3jQ+nylyZML5pT39pfVn39f+S+lpn8d+9P1ykYzhU0t1Ie6Ld0AualGfIlaa89Cot4m
cb3T1Ae0OmtC3b1Yra8F5fGvb7j+2zsOE1A2NKKfKDX9esfjUp61Yi5pbdfbBlZ4A7A8y0DJpo7Z
PS39kaipj2iW9nnIBiu2XhPItXB6jVUfiI/ENL7mSXcJG3JaVUH57EfKc13bVWxehN10nynGa6GJ
j7nFykmjCVMV75lcb2NJex109STI0o60z9tl9waU8n2JGKA391r60aEizqQiMNJup2Cj1kD1fToy
IssoZ9E5RlqyJqLxMaVrUJOds9IapuZ+kEniyJmhOk9vRFcl7CmgP6oxXlH7126goBtoaTURz0M7
zpDTlyxrb/W0wxqUV7c1Ib0MQ0KbzC8ev98I+xdVO3M9WVmo6bVPj18NcV1trbChrkmmBDN9DJhK
qbeJXLhmk3ldjk4GQSy5z7buC5skQncnxlcE8t6G4he7zh+7yl8nA0NEGmeIkqKZmvX5m08j+ljs
sErUfumuTc3t8v5P0+hdnzeKpV8WZI4MLOoKKTtIk3LOOu0sE8S4VCVHdhvLDi/wNQJce5aKePhg
k4BZjvu7nteUUBo3FOjzlaSRTnHXhdoJ4Q2uwhSI+fIxTov00mJv3ahCgomhhU2csKT6Mb7/lkPp
994jUJL/T8fBUevXCGoBt4kDBnIq+6k/tzX91yv32r26c53/9o/77037vc7/cT3V0fNHpxPliX//
K386nxTtG9lvFC6wCJggNxcDwU/rEz8xSIHTTYvsUBFzlfJP65OifFti4UwLla5Mu8hg6vnD+qTI
3wwVJSRqoQWMRNvs71ifUNL/urf83Yl/LOPWbK7rNKtJ4Mx8jS2MhlBMD8miIRl0MJX70vpRH8lu
tVQ4x2p/53ekYAbSttFU7K4K80rdEVFSa6cO1JWB2rWzmlNSNemTaY7+snCjmMQabiXLAdHco35P
vYRublGWMCMlHyxSNL9PoxKRWd7X13MjEh6R+jg9CVkR0+xqKFmkUYT1z1074RjvC3W7RKyMY3tS
9HQzpcXdNOTsl6wQK6sVMeOBv6+uahklfDhKpNF00UjuNCqQFIS8zaoK1Qy4urw7Npmpelaf3ycE
WFyS/z7Zmtliy+56t6lHgG11dKqqyZYoK4mhQbq5CHWtMtmFxeGpYL6di+iutaJzLEgHRRSPYSSv
a22a3SxpSHnpTTJsNGVwzLicybaPsXwYeJZ8PXPokGMQKbN30Y8x1QYxW1+Wmlk3H6ZZRI2hcuSs
NzHJiuL3JkyfG6LOnMAUUK8zPdhkQRPmlvkgWA0d4Fupda5kTAFzlza6Uo9rtUn2g1RZdlQP10Kp
v3RyMNORLsbvpL+8TzSdzdqn8TgxDKog34/DdGWWxmuSIf1QVMslnuMij9L3bqqBtPj6hqS0ZUeZ
LSaQgeCTKtroc+EFXSqqLM9TKEIhUTl2E7TNNkt0SOW6OPIKF7t1Xie4hsYwvuwoiq6LRjKuB+lF
15ljZ5+gnJWZZxzXSFpXTMeZlSp5PjVEN98tFeqs6H6H4ZJdm0zcaiatAykvjlnJVRjpaysHhhck
AOgTwwgf62rM98o8zDvCIzDSaBAbNS1U7aRtvFY5F3QMSoo9lpFdmFqN0YKAQ2NAOxR6syg6WoR4
L6vXuRCSjBjSBqLmh6iRwfwuDCD9lJyCebAm1/aUyvo27ptjaUWersTHOmz23Si7Kma6Qa5OpZld
jGbKuj/d6yjDk44drE4QnRgz9BUNzC1BTZ1RwFKSJ88XCcIogp8usr816/+pL/U/o+lUY1n257Pz
ZR3lr1H53Bb/eIv+cSzy59fi48xMr+g/PKjGN1aTxM0bJnYMqvHLW//nTMxPREskgsowTc1ADM8L
4Q8TqqowSUtMxJTQZcjNJtP3HzPx8iNZNSh14y0RWTBIf2cmRuf/aSYWTRlpgMwrQbbQ5P9b1yKk
vuj3mC2rpV6Fm7vbnwGd2bMHS87pN8fJcIgiXgXXpi3uBjd3snW0Ni4IkJtj0FPTan8X9CzxQFgo
a9imqFge4EPsOo+ctNgbABdrC/hwNwQbjWwWVHHmqjndNS44z022MVzTk3I4m4qb6Rs5uxOnDVs8
DGmU92xMPdmx166o9fWc1QShuXdMyUU4gLTuCUe+fe44hXNn+67lpOtwq7vhGk4BZvTwrAwkjB2w
ayMNxVy/ggN8ks/pFjzmTgOeLO/Kw+LLBhzwuF+wnT7WffFe3dRAHeWXyPPdbgOvQbhWVkRicgTU
PcZFYqyUg+8pkRuhk7/qH+VjZwM78+3GlS50YrFXd7vz3Z21OoK3oBxn14d027hQrBZCLbuLAyrd
XZJyVnC9oC17N3BQXkanPLRO52ZXC2YiuaswtFPNbrD8i2s5XfFdRDOS3lV3F3rcMwKCFowWhL0F
BRZvCfbjv42O8YqTfaXbhrl6qSFXJVctWK4cOkVwmqzYjm4lOb9ikiF0ugX2GQyOgYxJOVev81rc
lhCQ1ZiABKRTnsRB+NxBOxO8Byai2SD8upi5o9FwPVeBi0CN7xJCDKnCTgLUxdrin2ltNHByeBuk
+4b3xk6+hk61jiz3Xpdd6dyD2HP1R/hsN8JGmp0GlhPwXCfaxYBjTAfa1jbcjmt1L8vunVp66nfp
PvWkTbIrvdHTjwKh5Rhf0MvtPBXrvbEOXYKZE+fOlF1sa8svY0Hi96oaN3CiNH6px+39beq7zbjl
Y+BjUXiFW/V6uK3RxpPP7CEiq+DoyJRsVzXl5moTso5YmjLUUYnKEh3jwB6m7+9nQj3TkwUBR3DK
tXlfHsODfFSu68Ow7m5141J4sV6KWcTkHNn9AglT+I24S06hQ92O/x8Lx2FwwZBSaADYyuuUX038
MKtaJiaIcu56OGDbGZ0ZrEzoqpYz4feVjnQKOpgtyPresWkCL5Dgh2teedM9h+SSHNqLhr8D2eC0
69AThRvywnbhJTcWexMf8s/8lc7LDEHm8vKw4/wrW7yuHIEHnhRrdF7hgwBQ4gZt9RK9V9nNu/5E
2RdmrLX1TfJy4OYou8QTGFE1cDDB1V4bPm060toJXSOEZ4y7PDgXoKnxcQ8OyS/jA8OsQiVwL10m
ja09UjFd+dfia+xBHoKJs+426hGdHxB009ZeuTAL5HTodd7ltEFcbAe8BPleiHevmQ2Ck3Lh3wpe
AndBvBeV2+k+TJyGTeUL5wUMFWTHg8ZEASbpwT/Hl8F+fNNNt/ouvHSEzRMnDjRS8RgfGvLG+yqw
5elGhrS4IZPOU21vciekvCtamA78TW3/Apz4yHMS7eO35KTv2Fzpzzm4peS7T6SLK4JneWT3SvzW
Rn68DI7WsxLZNSjDS/lKuYysW4UQeaSV07a1pbNylB/NQ1nD94bw0q1exa00H80Ld7Zh2zwgLzlm
BzQuq/JFvtwqV2vDlk7hu3KCOQLdZ7pWdqdqG0OmkCqylq6MZAtURb1Tay6oPpXE02yoFDux+/xM
bZTk0624ug43xeUudhX73i0hipwmx2UbGbqvsiMDT2re5AO/g9mlPuTPjwpTdyHz7UxeC/hn8MJn
BCngVdhHwuodXaoINgXaw0n2JBvwVX2H5lW9mHcLngeqQbYtDjyqrnlRbKkY2wsCFZEpTC5UnRZ/
BhYuhK+TtoMkXa745/4A0o6g2k0ER17ZqtD5gYMnW9Xfte+atuK36fujAT6Jszi1d5NkN1A4KKje
GW7HRNivkDQ3h+oweJ3MIA/xNb3H8g5QECSqGu7Y5Okk5fKv1s22/PZgrXtkoVgfm3YnEDdwkWYO
yWDSupu8zuEzMJTWKXEiqTOb9sjwFI/qayBCzdQ8xQ0utfWjcJS4BkuFCTQxGcLgYbZYS27hPCvP
t2Qh7a7tzbtAU8mR9/re9G5POTGBILfNlQa9KdnWvCWNo3RKBnu6jLhFC/erchQgY8urVTgbpS08
8Ubl9I010ozgJn9mWduQmk2r3zYfKCifhoO4yqGrDavwaFVPE6SWt151DPIN0NGqF757Rri/EFnS
9RRd9JRySl5s2iNaU0dgCczS1/RQeSr9xnKkVqT9v9PJG/0/UghYfy9Oz9n35nMs/H/CReNfLhn/
S07Ue/3L/v2fa0Tpm4Eqk+WeqFpYnK1Fk/ZzjSixI2dLjg8d+IPFSvBfu3VV/oZ7EmkhPzIUnSLW
v9aIMotODTmcBMKYxSOVpE9JHX+Z3PFDCvuhMCXDRzEkmYLAEhMiYrv5tSQpW7nQqjUosUo4jKlf
kNiJJZ1sGXWNmsBcSU2P3zrKWa6JdBeaOi22WrMzhD46+zNhhUbabuJGdgUWgKpmFie/Kg9xvWiM
Sp2nPMU2oVIWDIK9KVTlXhw6zwpY+6iDiRSZIBslGxj7mhy5Y00mTaDNxyge4WDNdPYt1YL6NPav
mVg/KT0dvvkUVxplr+nsl2m/NhQ01ak16Iuzph6A/opqspFj+mZAMtOcuNsCH+lZEEtapdGToMrr
XKcNU1kj4VevVTEchngNIOIs6iEVuFA99x1rAr+q95KZCXbFM4JM3y51qTvNQ/zdJ1mwKujSFYQG
aiW9a0L/9GNSqQSBGZAXBELELbkt8c0U7ZrbTukRc8Gib3NJVObRzF8SwRTW2F2yzWhOV2n+JhZ9
fFB4qRAwWLvWAOFN0oX9RKacD8a9FMVTMJt0SSU6j77Wzbb4NvpBbs8qktsx6BC+ZuzNO1ZqQ4t/
QN1TRdrUKJKZtOiLpWrltpT5uSc4tIc6YIWr3EVLV1EjAp3bxVKK+McJHnAkFlfWXFxKt1JUv/uJ
cJ8PnepWcRfzB0ZK15H23vn1eownhL+WAI29G6HAycziiTFsrEXwEM9UAgyJ1PasnHdzb+b/G3vP
/x8rjjKPLAXtP9/F/owVOkZvw/P0cff6xwd/VhIF8AXkCtGHoACoy6jD0A3+nJx+/sjSNZQ4CzqF
zeo/d7Cy+Y2JC8M/36WFtHRR7/6xg+VHlB21pcei0twBHvN3ZqdlmvugdVNRlENYIApJI9AdYfey
Vf5YSpTUyAqJVAseA45vx0nwumR7zb2yV1J9GypXA0oQSR8UhxrHSR/VnYmowQyuiBS+Njvez2V5
8iXR0wVt2/Daq83+iUC+V6kcKNABDMwzby47j6Lhs9b2LQtx8fDhvl/+nEo/opGkX7WXPy/ChDQC
LULUuTOfLmKYNb0JpZ6LQOlCR6W462Nhg+ndCYKlrJnuO8m8ECx+WA2G01r9bsh8BenVvSDLxzTR
7/BD7v7+G/pPizb/a9X6/4RvadngHfrnD4Xd1c//478//1LO+fGRPx4H3fzGF2SaqvVj7KqLLOqP
x0G3vkk6xX1AKozEn0/KHwUdSf5GBB5JeDT0UFPpCufwx+MgSd8oDlGjX4BkS0CW8XceB+nXyrpJ
scmkri9ixKN5qBHc9evjUFZDrSttTmhBOFJ5LK/btCXiIe8fomK4lIzSS3HGqQFv2yVvJ9GdIWP3
q87Ku9YLXxkHWHL88nj+PB9wCJgg+B84naX+9EGKahKlGyGpk2lNK2e9wBCsmBMbnuLVQiSHKMJN
hPYgBe2DPsfCKo72JTH0uKhw71U7SRyv1QTWaeDbZhE/SVi0DNyCkbbwKfBXVc268s31KPaHJhe8
li15z25WyVdCxkZb3TezSNp6hHfN0r1BiCOnnwTBTWNMTgJII1m9NAvo91ozAR5MiM2NLvuBkHhl
iHBpttSXxah/4p371AvGlVglXgGNSByHrdAJu1KxDmCqSJQ8CvUt8LS9sCxouslFkhJ0bAjF14RC
ylCeI/8QR6GTiAKMi/cgIjA0e/LHKwtVV9smKJnY26rvpfpcRDk3YkeJX2I7DPxolZuPvQjQ1boM
KTo3JGjmkM8TZaXj7tOFejVa6AFU1wd52NeKl5ExpYmFrWr3DeHVyH7lBHihSLFN23Zh6nT42GqB
qnNwV/n3aX4zs2caB8qAOu1OyDnVqaAGwMmupnhYoUH0o51fsePCNigKyb6h+NX7z7Os0FoAfa6D
BfUyU/HGyCfFOXdHGDyJ0Dg6/WKpCB4y3bclfSpW+ijbtY6NLgoIsa8vmghobXAq9WlbJNgE1ZiE
1eJNMInEFdbCDL9xELRDzcbbas51zJ6qupPns4V02SUpGtSoNSIsY61CAu02NNnCRJOtCzRhUsIo
orsiYgzQYIGHw6JIPocSzGW/sSftBrOVXjWGE9bo6ay6vCrV9L42yZG3BDru04zQWQmOYgUxt1Sb
y1Idz2mTPEYC+0BLi0u37inCtFFysAYjcLO5BPmt3hcVHYVmxjAZNwymZGCBNcgjIphumh0lTq4R
StWM5WFV1OLTXGaDKwe+N9fpzSCe+G829xIqFrnvpJdrMxQarkXA/eebFy0IvFx7r7rHFnqvWtwY
i9G+q5wuUU7xfOWHFXLGl7gB0zp060HKtn5DlJL53E2cx/BCZneo8WYMVoZJcW9gLLaTN/pgOBsN
YANCzRZ7sEYxN1VoGTFgUG5qMcrLmaAyiiukuFomtCjYgc3lqEHGaZGa830lh0xq7rJsOMvZq+qr
2y7x7axcdMZ3yiivR91yIm7+mM/UUTG+DV1rOESZHwoL4XO9gcEmuWG0HaLnRCXDprtWsoDB+jIs
XRqjeQnqKzmXdo2/M4kuNuQC79FNrFhIq4uV1AHx/6GfNUmR5aG48a3rUTKAXbzmzc1kHY32bAw+
d3sZBJeqsjMyGG3LR/X3iFFeVTezeG801r6Tw7dBPgj+WlUpsjAAfekpEpTLuJOfxPwwlAS/kFPf
TbJrNZFTTCZeb3WTlEcdRq/aSLagL8UDTj5FEzjmnd0rPvpf87pXVCfW/VvgIC8gfUD+U6BVRGfS
TXymVwr1V2W6FQPUjQGFD1Xx1Fi97QvEoLRG/fJa75qbWu6fWnqhLY/NHCtem42PVtkfK6K4R6El
0PRkTpSfTcVJ67tkpuQt93y1/jpNCr5nqT8t+y3Qb+2LNk+u3yNytEKnL17aXrkuFKnFpBDe6vr0
Fk7vQdJvdWpsoz+sl5kpM581jGCa8WYBhg0JggtGT0zuA5XaPxtEqXRSyqc1KkKUdSzy3zJz2spt
dMIy41lWs/fnehWkltu0uaM1z4X6knG/JJEnT33zfeaUSDnmysnCidCrA8UdHLcqG5xS7/ZmOezl
sRtWahk9ydHgSCWMawJzbxpJPchGt5J76WKqrX0ZRXv00uzF6mdBDbZibjljSqEoHEs7ishsaMTD
rON1XWayE+9We8JO3jXdOu2MHZSYvVjVzyBDXZOce2R/+TEcxE1glC/mQFktCdddhOY2s6bNNPfH
xhyvRjXcx1H0YqKQHSPxnNbWYZ7a74iqT1IyrQvM1sh8csZRhk87p0JcUADX1kL91hjioRSZzCNR
3QZDpjvqmIP8VdNNHSdnInU51AZaT65ioggplfaDfmrxcBiGv8Juv/VV9pMMcy0okav4tyaDvMzE
kikdWW8b7VKz3MuZvrLmN3Po7LSz8EoT0CfuyvpGVWZwPImbZjc+lcnUqpmuJ16YbNOCaT12r6na
8CbFOOBfFcDFmwnEbZttqpRAGtbfRnsVGeNBi3NPXJijbeCZSriu53NQvYgdWRNq01AbBZFryO+J
ji09+Z7SjDRy0UtU4qhkiA1qbl2r1bNF+apHB7y85LLbtAtWUwVTBQiwj9dMQpwzJgSCUXYOs96W
rMhNWWNkcukNuodz2A6RaqtC5WV1c261q1B5LumGlyVxAlG3UmXDEfGxSPMtXTrXahWbWdOZARNo
RroytMNcE1c9mW7aH4vkvh7Q2AApJDEbji/WVcVyhl44VBHtL2I2IgTU6njlMyEhPiepe5uHytpU
+E8R2ilhckNABzxSUc3rqkCaztMXKA+WJWCZl773zZUMxaXQWOiL89pk7ux7XDA8M1Oc2lqIAo4H
cwxpLIyPOiXxsut2clLYSngdNltTfq7xbI2CjHbwMZoRMGNNIPzdldrHrKRxMVuurhSORRR2ILy0
Rbq2ptumzDxJvIjGbM0OnlbEVlenE5LeFEaQUvOAKpD02vfKvLLIzNTko14uPuJ7pNl0idJVlFl2
oQqOLD2lVrvSIWLjH7D1mrATdEeUDdrsLomfFDGmZGQ66UzGi0iignar9fdKEq2aSnYnLVilpnpC
b9ZajMLId6v+Itdr1yx9hPEsWglLFxTNY+t5U4z1bcEMlQ76Inawy5EpVBC2CfOOKoRuI9YHObjt
xCy1ayN5GMeNIB866aoQLrMRyWogILwgsa26LPpb2AuBvx3j2yl4lAv6gAGBlIEAFgANWmS8zYVI
6LOCtFjfaNHlpItvE7cfvC7iX40TE95j9U0OKKyXpGTo+AXiglcM4ERrVr0OECh2LVvX6K92u0Bq
N2JyYdEAEGSPmHG7VOpTHcDzHvhGDGB8ACBHli8zq9FgHUQWhZ1ma0jGuutaLICEbKbGhnB5L5Ar
V5VBM6bNOuftysIetR12xZ7CdhUQ0SdfChpQ+z45oTNiOcgAWh5AObVxqXiGEtFDO+YDk1skH61B
YJNJis18W00XqD5Wdc9oDPejkF7UJjkDIa3IkOr6RBQRqTRSyRudJo+hv1gNFT+WAK2BqCQdLyxl
9PKWaj1OiB4DUSFXpMXT34oiVwM8M053frozk8rOTYS4s0VlST406pPItJSkj9W0sYQLoUjsrHtp
qms/8ETqfSkKzHwm84oPiqXilNKwmgk0aCXcaBStc1akFd0bM5U3Y6R4fkfJPgN4CFVHxyEw60Aa
+msjh8b0mii5pw0g1LvW6yKuuVlHUE8pN2YZhcwSOLwCHl17U+Z4P8a7pERfLoJbhc0jpeO2n2Py
zKnqWdbG4lMWzuCVn6JAqcKAcnwnelgs6JS0+VZTu2MWijt5wjqF3yOPUWoCbHXVxt9YKGesKXL0
2rydmsm15OyqErI3XyBaDrRfKV0nWnvp54i3s0bBnRlV160GvuDDpvc3FQl2sR+qKn9s20z4fBrM
FhXpwq/btkQMyggqqezE22CjbGj3rQXQ+PEXmsdfnZk/D6MuXABqSGxbPxdv5EZPBENKFEfnzaSW
R4P2I9/jX1/LVwehKPZxC9pnrT/oEwdRynJlqc9W5q8q7eKvD/KJS/Tvl/Jp4y21EHBgsiiOthre
zffqHD1Ztr9B+27x0iQOM9yhpNiF340vike/2/F/vIefqvOjJAR6ycLfGcuzP91YzAxfXNpyg/5V
///j0ixwZsQhwqygQvHLDezM1oJgExDA5S551ZUd4V4iFEdYZ95wr1x+cbjfjT1KYv883FLx+1Ay
yLUC8jLbL6j6kodGwaXQ1Ta2yYFDMncowHnkV6yR/L00jT1/dfjfDpcPh19O78Pho04X1NHg8MLG
uBhcySnOhUo4b7LtdxLxOTPOXsd0v7joL476owfz4ajiICpNknKPhx2IpA1Cwblc0QF0dC9hJt/L
ZJ01pAv49hcH/uLL/Vx6LDJ17oaWA7M5QBYgkSzsbw2X/qo77bXtF0dbnoLPQwmfA9B9al7Ufz/N
K0Ykzv2cxsg7CBd0FSd26obo184rtqnbfu/2X1Hqfqim/+qIn57+IaBj1Wc8Ho0b34Tog7QHwxvu
IPW4yktwq26XRKrqEufzNtuSIXyVL2muJDd8ceW/lnh/PkQfr/zT/CC3em9aDVfeuGmzIfx7F9q9
uSrWmgvITL4wUy95BAlzP799ceTffcMfj/xpgvDHfuyFjiML+84NNrnnO9Kp8+DG29PGcP76aF9d
5jLOP4zj0BojZnsONg708uB5zQ0Q2hdN7794dfy20vnxspYz+XCksq26VCn5YtE9ba37amT/5PiH
0Za9FGezne5i0/0SsLbcrL8aTp/mQh3D39gsbyyztKULyUP2yZ5wZaIOCxlIAMIJ5vPoWP71bf0E
0fn34fNpUuxFdSh6k+O2ZOFITuIyB+uEgi1zsIbL7qtp4XeTsCajDaT5i4R3Uat/vLuqlqhtJ2TM
R8RLiq5uF0djn52Ds+EW25gE44wsn3idXQ8EnHxxrZ8nCci7GJZYeFg/+kefGUl5gaW+HmrFqR+W
ZF2FNHHLtY7VVrHFjX/11RTxCfmCFv/X4/0wJH0YSX7SUdSROF7vTXeZyz6FgDUsjhvUkF99j5/n
+R/HkhQa92iGZfnzBCi32iBaFa7UlpdbQYpw6JT3+T0hc2jIT+3acuqvmCmfDFV/XB9eAF7dmoHg
89Oka2Zp1CbixJNy0HfDOjk2XnyFPIu4mi++uc9Px3J1KkpX8Al0NPTPzB5BD8cO2SpPv+fXq/qG
upPltS8ETnJ5OuEct8J21L446q8dwJ+XhwQCHS2GJNO0Pj2S8azWU+MPqsNER12KzD3s3ka9OJO+
W+JGz+PNj8v8W2rmi/J7To32+/f2+Fz+XyBOWabPP+96/ZeuaT+5S5YP/Ox5ScbS1zJg39C3IrFG
5yc/W17WN00hhYIWMGYSy9KXJ/U/JMzWN5G+rAZ8hP6sZH4wk6j6N9pjIlRiml3yomH+Ox0vxvCv
L7hlrC2UAgkjFxMGMpVlPvnw/MZB1IYm5RrbR4LPt07DtuypiApZsyogQO5HSjmmdi+PIu7+adoG
E50uuKd+L6FE0/VNkRbV2qgopoPOc6ageVKyUF1TWLSV1Mx3JgURw2g6u4SZYksRcmRl1rZq4F8E
on7VdpEJuE2+67T0RtRJlaIkZ4ehLrrU0UnVyjsvYBNOAQBvqhKdezU7Q3oCfACwDX97d5iC4dk3
29aWB8RbY588mULJBnyoSJczacBfZlBzKNfXJHNRYBqzxRhf59p6TG4Fv8XhF0ieXHT3aUZRte6t
dyYCWAFgu7ZtQaGwtTM9l06gHhbmpbXVIsCploK3wipp8Uwq+/PcaMPNKOIFsKxdKHXYw4LbBjuq
CQhThZltXYRZRScJXsTKCsMKDa0bGm11bMr5KhWnI5yC06hld1le+WspSB6kkE240j6o+lC5Attb
TY9Rn2hU71Ipzm1J0L2o1jskddcjuh7HmOp8nQSVk/n+i6T3FlYHkotK439ydB7LcetaFP0iVDGH
aZPs3IqWJXnCkq0rgmBOYPj6t/oNPLHLdqsJAgfn7L12QNcngB9joGoVkgw5pojx2IPcKG1J/tbM
ZIFcihQSKAHUjrVdWw1xjn4zHSXmXSYt2mM+F7EK/S2u2tKgAJuz61jR4F+JwjaYy3BFpyOng/VZ
G5UZ5/Z2zaUw42r8rsuVDDhu4fbGbMtc7lKnO8K1h9y7o59mXf28WJN6VABOMwwEOXSstagoqKUZ
uyGRvlj3i6jvJaIjMWwgcM6dwn+utUWcRm682RXqwCIPJjqb5tGElMQTCq0oGNdwpz0MNHoYEAYE
4bG3+JdcRKyb0HtAA8QkyBOgEK4qUA2JrQtEXNdM9bwpXAiAUb+WFCPJ6L/4cvSjkp68Rw3j6kIf
p+2YWc6OwCLyX4RHps/q44bM/OfAqsO9vaXEdtvZcchpovui7hkXhciRyz5WVS0ZrgUyCTxksFa4
nsys65JB5k4izIZ2VN5G4xjS+SxqZy/46YFFa2STTv9k2Mu8ny2kZU5RaoSV4Z+qdMlgm0bzLdzU
u8SQG01pTlv26oDdScJgAFVvLwSiLr3cp9AtsLvP0eJnOpro3Z7pHsFUsDQUHtBS9FisLYsF4YNz
GX7KXAzRpJzYKRrxEjoMF1ePfqLbF6RhbRA92g7bg91y20QxuwQ621fGEu6WLWN+tppJNgV3GTMj
s27ZYScnbFUNkjeH4ZIH5cAan6cpCA5moUAdQXtlhPHPAsTDf6SPtqeK49YZiapaBiQhdCjYAU/N
DAsdli10n7IfdlO+gbhLUbGO+JzClphHppGMfjzEs2Jr42FOm4NV0FnrxjwKMOSvafsCSlS+e0bx
pnh8sVdBduiN/Nnrybmzxwxl/kbPqmv4G17xkIFYXTL6tu3k9gcR0A2VdUCUi7YPxTZZaGkKO0Hq
dvDczIpXHzNCFzBV6XLbTeq0+BhK80vecaXKrr7L3KnjepR+tKgcden9Am+HZxWKIbHS1IyU1wPB
8bL9og2mMt2L7gIKOgnWrPDTW6fee7vF2Q5noWXwZnvyoruR2UzLcq06Os6ubmGYql+WmBidsDXs
0s4eoxyqkVk5xn4aMbuNy8ystMAalqvfTsO4jWl0tQsYdO3WQn2lagSEsUaWeWfgz+1DbpF9qlJx
afS654ckEW0wHyFPhLZmlYmB3NQefE046vbAsfBeFrSAdWFHaQgupbaXrykN6PVYvr8DakPyIL4v
beVAJeXLQmjQrjCz/JpKcILtuVBkoaLfiHROnsXU5/tBQ8VqujCla4yfsMom67yk/cUIGOEZbNJB
0Ae7sVVPbjejvasZHJfManblKM+elO7Rr5FOELpwS/3W3g2O/242vjiEqDN51zpGcW112lwR5SQ9
9mZ6LDtEFf1o3ipF6zQodX4zq8fe64JYBHURrSagqsA+B8JxDkY6BAyioOy45fA7997dvt85ZUnz
0ejqk4YgltPw3+MKv3brmMeWcsZkBusz2e5Lo7sfo5N9nI93/2VpXLWDDruCS78t4m/jhmuclWyl
ChVk697doAMLKZyYsv5/ZZX4Pd2zZTRrVPfro6g5Ni1XPXpdz/hlPqZie8j81H2dx2tQqOk8qpXl
allIIPwlGUfFpLMtwyisRz4AA9C0Bb7ml/2672z7YLnibhvw1T6k+Tj+sbNlTbbVz07hkEksMNUj
rwMak9T+GR36rpMwP2XBvNFm8pQNKDv6LTG7QsehjZsyW5mO2v6h6DL8OJkdAGvh5HYHxqAaGU7u
dHEBV5HWLXRJQ4CtTwn8zJWsTu1moBC5057ZBLtUobeYjItsP+dpOY2lC7NCcPXCqjpMQRj7ExSE
abMQIKh2N5fNm2H29T6vWQUyz19kA9JiFbrbu6bEIZUzgckG6NvtHLFYzT5IciYKz9a8C8UC/LHJ
nrJOjZELjKea3pw2FXvMtgfPl39td4Ac16HyLbKpg6bSEc7VOuhGi+W8Ou6d8fRGlVUI9b7e4y1m
noCkjmgNUyTSxClluF+2W8KgS6cvf2ByUgfo1n3aIY44zp0PHTY4lfaYpHn3pSVTgFo0T/4gr2Nj
vhOHEyauRjhTF8Gp1aOfFKCM7aZ+wC5G12w0L3XOHjDjxujdEab9ihikd3CALE4JzcWaiFFdHheL
xHvYyIiScDmxD8ZrU2bHsWz2jFGfik4H0ZgHxc5eARHJFdaTCqz94uAcXnDRLmaZTBkg3Xmy8pMA
vM2hxIgk8xTBKcFv4z3wyvyo5zk4hl617YouSbfcuLqZJDV8zn73qTntVYUXaU7XT2oYNPcZKMlW
5e8bNRCUFAQdKTcXYfLB8wH80lT/WFq/ZtkMjuauDRiGPpkNxguFfsrVuEUTApOoMOaPba6CxC6A
voddS5ztvK7gZjI3cWB6XjcW2GrhnoK6RVqdeyePK97L2ZmMK0Mx72ibVXarLUV6FDIpb0ujrpft
vsgAl1tb6UerJLdFCEdj3sgfAH5ZRyQSMq7U4KHEQfLgOeLWDet0T924Jwi4DGFNtpDMDl/StIBO
5WDAQn401sbbaPw2qiw7L/4pHDFJk+codkyYucmN7WkxFVMiACll7blnc8gGQNntr2aggm97oLCl
KdI90jSL09f3YwTfdeszh/bC32E2f4sluzrIw/fSM3GCh9VJeiUHyFbbFyX6Bc1TsD1YpJ4BgRoe
hVEd6mrYV4eUh/MI9OSRIWEZLV1VHIY4z1BUDVP/X9YGoB7bCQ2WA4HI+6pGIz36Q/pqyTkFVlLE
QNCPq5G6O9W774aARd5O9ZOLcJeZowlYY9soNgheT8sjPJ73pk7JkMX7vjNATsSOoQ8hkgo/bGBS
oXRn0RY3MpLsfIQeubHV2kPnRMKUw75YUE5MIa7ztKqWY+Dk694AUc7hzgjTv8iZnSMVHP5mNlhn
LNNgn+imU5NBEqhx+wHBgnAiI0uxPc6hDSVcuvw/fv+vcHKgjUQGPdZcFXIPQKzij6o5647lULYH
JS+rYd8LYoHbzLPZS7wGpCHyetWeJzT3J5BbzF6ZxPf+PQxm5EuTS5AMFMgJb4qKZi0/GlgfcJH2
49DgfKr7H+U2YLLGpTj5AQweXOo/rongDjv+uhvxzpHvhqhhMtiX191UInGv6mrECejUifbXD0Nj
v0+DNPKnhnAQOR1ytf3KatzU4Rxi5lrVebx/C6HMz3DaSaFymkNW1/u5s/+Nwv1VWcEKs5/P64vw
HXna36LjNJzNo90t89GuiAGlzu678afEsc1e4+Qo2JCPNdIi3iY8TnZKSoBjMWSE+bmNbQqVEAs4
Q82ddILfVsfctU69Mw56JHit5sZmvq75XCeVgyt3De2nQvxM9fhn6TJQUiw6n93cbu0Hv7p067Ie
AqhQjS6Oy52rOgfNJajrQ9VbfEu28yW4ISdwKU6+Qp0zzM6jVWVwwKhndV9G5jB/BeH2E6TLocgX
YJ594+3QIZqMOKnA66aduWoxK7apB3ODM2sZKuSHAkNAt9ocEtufUmPldESZ4O0/TzZF+Ky6ky6C
9KBa3rIet97goNmbFfkEN12AeK/vPOPRt5NQm2FU293LQOkTZ2P7KKUdHGdm2o2HTb6A97AzPu3K
49PYwPh0zlOWvvsf3AD+3yrkOzdnf2/N/hqHMxpvr0W0V61QcnTV4vZqjZfJDGdyBmxi8CaN5b6N
Ujj8pyVT371hbTt/tnSyQEvfmav4CFz5WKqJrZREFLZg/jUN9jcbn3t7nI7Qx8iT8h6y0J8eS5sM
aBNtZ8uGEcGnaojcrKXPgbPhnw2KXiRFRoQhBiDUIvNbuqg6HgY4sWgbuLz1PZ6tlVux0kZx6T3X
Saxp+V5l3xw8bT2Y5AhdqnbcWzrTTwMV/mOnf5nIDnJTiV8zCwq2m8K9by//Jj94EI75NPTOzn3Y
pnE52yLlsWZEN1h+zg6azi+2MN6Csfln9zlmsY49ZWI7S/VRGFue9G7/CqSD3nYV/Gv8nqqgfBMb
WBgxTL8pYwg8t6gcXAm+17s7SO5GeJQvDHGDNDjNqt5isS0E2IgYCWZ6oMv9Jbhm2NZ8dGV7VI5J
5xooY1/yUKsN+oW/Pk4ujEVznTkS3fJsGw3D03rCOY1gmTHYYdvQxnFn32hZcHcVOI0Wq27PmVO3
KJOIHTIBR+1625oO1G2vXhqOUTrAF2pskUCW+8TL0J6mlqgDlf8Ss2Mfs9F+tRqUkGaVxj7E42Qs
i/PALnEUy3CWRmve5HL1l0o8ZDflkzOMpLpOjDa85otsMQn55j4/b+lo86KPz12+mbdx9fZtwMUR
5QYW6aK4dTlij41nTveoOxnfmUwJhVeX1ZJWkgfi6EnQ2qSnlWQM/z/9hIfi5YELhg/78FhTwwcF
5mDKmSLKC0iVc3sz2v5ij96jajqy2Qv/vVi7cqfwjnFQynVPngpaKl+ZybzIpKbi2ssaFnFrXx3k
hrayfocrldRKy6afqMV153E7UOGVu8hp4AnsUfEeA35trtkAogNgmjdYjBC7/2m9LDFFmWE2DiPZ
Qcpw75D/jfNuh2Uj0uiQi3JJ47ITTmTM/ce2QB9pl1wdA42O4y65CfbCdY4iTG+ZN/wMYrw5Rgkq
mVzhNMMf5fjVQ7nqm5t3p1IvD9V83/UZXXIJQkOhVfoBVMoAqJiigJ7Xk+0b9Umt4lJ64ddUTrdt
WIeoW5bzVPKREZdJ2p07y+zfsaimwmcvC/67qyLbe8yqw0Uvahje68rBodqaRHAUtP/cUF8Gc9l2
qlHnwCyw6taIurrBOnK9f5u2B+6LxwFLWOxsCLsN7T97+XIe2K7iUgmsJH33OFMARyiHUOgThYhG
b4l7Kfp9F6qFtho/WsphLmQP9aU2X8bApyFX4gcrrIXJKdyAoiDE+1nZLKfGV3/CedwjKntu6sA9
hg6izDpFMp7V2Fc549K1nxMuiThglzDa+r68zLLYQ9PlOYXel+ueZnv6E0zyWNe417mGUKnhxW/M
k18x6dlQZ4TVHE8Db+zMEV+YHvMvu+F2aH9XXKS4m+Tb+EG/KN/1Bnh8tZz5eHtl4AHXTsCtePkb
rHPI6eEl7ujSH2UtcdHapaK0gNyz80qvQrft34RwUXW6xSPrNYyr4NB4Eyo+MVmHQagP0I8/K2a5
3STKbxg075PRTWc3cH+E458F7bdFmR9FWFBEbswhBjGAGQzDFIlE4HP1JLzHmcZLVW7brsoRksIq
yHT3oCVpQ51Tz/sAP86hKnofck91MaYsp5NXvPjZ4uzGLTvbBErQN231IzkA0bbU+0yUIE9dGynn
Qn0CeSbyR9N5mfzssYZHvGs7V++0ifVdSdIm+iClHkfYmJXYBgPjS2HUi1kyNCbgSPQr5Z/1yxfQ
ueaGDaB3ykgi+z+WgXUZCzIrxBp4CGuZaG/5xdXhc9ks5tkJ53/Fk1XW9YdNUeXJF5t2VNz2BiE/
snqdxjChvi9O05r+dmZ2BkjYJ1EjNs0ChrWh0dG5yNotqYdCcpy9Z6Z69sJJx3MQNHsUQ6dZ0m/m
oKsgD2vKT9SKSpf1OXXDPxOOCXeb/hnd8Nsi8fEsItAzOurM++vpyW/fr1+12P46k13FXsF3Usnz
JH933tWwU4OoJ5KhbEgFKxX+zQh/ljL3kkxYHy0206YUSOZ9bJTZyNoL5si2tCAXRyQOi+rq02oV
im3O99HuBaoAHdTW23GczCgVM8yR/sRbDFtABJ98nP7Aw0eySKB7SqFuZ2GCkOdkF943DFEh4QkY
AsmYmHKM76FrUiPMlzHj89lmcAXIWMVGx2qGLPVva9iQcmZ8UX6HPpnrd5FtbRR29ouZeQ4Kp+mn
QwMdz1CpdrnvHuZ6PRvL1jG3wmpRbDW+HCAURqdwULjil9zsW+YXl7EtTUq88HvN7EQHujx0s6ZU
TJdjXrAJ+ICPUBj31pm3HKJI43wEtBcewtUnKM1ZdnR0piQMgc3SGhxc3Z0r/ALDiBFjbernqpg/
l77749GjF7/xxuPWBNeuRH0c6gYTxZMWI3q9LH1QqXrLKtqoZSpjmw9BD/wjg8+FFfiv362f2aK4
GhTpG640PYLVy3HQJKWbX6sxfx4mu0u0BVImDOsbsbs7g3ZuNGKa2lHk8bbO1t++/Q8wLN2VkVlB
ZeBE0TqeXPmmJvKVrLlworT/nAihijbLiLNqoDkNAjXK9AypozKf29H47ujXV45lknecPzXqMArw
Vtp4kZDxlrR5Hxy3jPVUGHcxYEym7DFr+ux0N+t2NZglmraQOOBfcvDOF4dv4xc8/yqGz4sXh56U
9n6VfMpyWv39oIDpLXL4Uy0u9wc/hEATcrOpoALY4XZZ55Q8aopYdXftFnle7AszNtb+XRu4GXoU
sljE8mdRe89uUZzS+v58XStk81seaFBsUbBVZcy0Hjm5vBW2eLEqkFUp2wmi4Oq0FE2iJvc5eAV8
Mt27a1+BgFFurn9ctV4qNh0XobrrsHPVd0lq+Doj/u82+6k052NrcfunErUn51DQumnA2+8ar3sA
6ABH+r/7/rN1P2VjJj2pbgwmuJDSdwET2V8szizTDkmysv56YsPD0lexNsf9wi93cLNkyBFk6jtD
fu8W1UGsunkd6wGxpsqAeWQPpTzOMHGjEWNGblQ/aLgL3DPeNR+h73LTLK95wI86j8cAJfujvwWf
qQ6DJJsNGPWDPRzJbossuimvNcpFcjvkwYYUigz+LOwVPM1YhKc1fPScaY6l8qa90/Try0TiO/sL
bEsavzuNlnWr4Y5iRNbU6ovaAhqZ65Ni/DeHYwcFuHrbUsN/CWrnpXezLCmt8amjSX4u8QXtIHbX
B5C0D2ElfRrr/qdlLNOtb0zwbPJW17jTqoCBiB7U5zwmXuce2Fiy2Cgb+1IR1+wa66/e1/Z7Cv9u
52ns2gNfxjAxzZ7la9oBwQ1799Fvs2RrLOc6OdPTMkweetEhGYeOFLMqVIfsk44/cbNNSg+RWcNU
LH+l0/00pmXspmE5Vun8TlgEYhb7v6DW+zAASTF1d3nsJB8yVaKS39SJWZN53Zbx0x/aWzFXdlJm
y58tSK+bP1OoiPbRUqQ/tKZJx5OpXe/0Ef219RhIZOljszwOA42ayp0PrVnrpFJuem+Z/lrqUD61
C1vMwol+pKmNuXHdOTR00b0ujGqa2IWfG23FBSvsfQDrhclUEFU2yN7FJ4SYyX1yAhrgZZkFURk6
Sb8GJkf9fbxqE7TuZkyd3pxSfK2MPMwJ2nvqn8RqQwOOHJcRx8Ew5pnsCWqqtvwQJ7uDa1RMvgvt
Y6J/q8lm61ivmmnX31fLc/yLKKjlGnsmWB3HfE0AUtvm99oITM8cLPEsKClnjreYw+hJqxwAQdbY
n2q6+hNONTlVz5i+sEUt/N2MwS925RkGoLz5q/dSTqJPGnJ58FVBxpq6lpoPujfj0p96ar5CY7WO
HqkbsmxC2ndFd3UqrblSOW+pMXq0ZlRwdKrcjjqp0Y971j+7EzrJy9U6iKyRkeEvwyOhjYz3chWX
lRkkoTlRsQ3DnNBCBuXVgrbfLSWfsvWY0G5zp0+2W3yF1O8mfDrTDGHA0JSfdP6lXXIkJk5vrgbq
3aK1DsEZo0CAX4l9xd9ZmfFvbfxDqwhTH3q7OVBuXzs3r1n5LjImdQfqtfkJGuJxdMMOqCI/CWcV
XBLA9Sw89sDCOEoiBI4Og/pp8vddl+YPaRCc8iD9BZjt3c26KwxlWsCWemR+tpumrHoZXeMB+4d3
7Zf5zJ7fx4E23Zh27VftzS4ZtvWtceRjxTNNchMRjjdnH93oUNynzi4Nxclxs4cK4DZ6K7KAbFq/
aGIZrxru5wwMECIlivO0AGRVlF+8O35sTRwpM1xV9AXfTtNZrNX6UfKxGtZ/bln9uZ423nDvCoUW
7hFZK63/B8MPXSqbEUGaq3913ltJAKRyZ84Z3QIzf0WnAUAplCyzCcwPTmNOHn84uaVzql2jIml0
OajyhXHFezhaWywXWm7+llkM0Wh7d/jld1JYXHZqmrWywkaTMk3ihkyZxCmNS7cvLHicgbFn0z/C
GblawzI8V1L+F8LHfgwz/avOuV8YODp4F3Sk/fwVnHaKmcoLD4v7LFzB/YU1apslsHVr5eDSxrsO
AvxCSPJ3GdMDR+Jq6MqmZMI+eM+UIeZcm4C4io9V4tDi8r7Eq40nAmj6oxdaH8wSw4QQmatd5i+T
q6ZkmgzaS9amzvVqnGgxrldtZyWX1hZvgEztpxCSV7CIzz5kn+iZWkVWTWQJF4lngw72Uz5T7BUm
aIycVynK5Q8pE3/GFCUJONI/nlVNV8/H30C47ZeeNjfZFrK/GOnkOzoiw2nmkFz4euGR/NtCKCNl
qK+5aN0dE8pdLlvsPayMgVAHiVopysO5i/PWH5IsdyA7t3iVcQAW/kQ6JNTSXhjMo2sMIEpmn3Zz
mgJaFYM6ewGGWVJbCNfIYrmu+0p037VBKaacrtvhG2yTRje09OQCzdGra1y4HQcdvH2Ls2vTd7I+
nQGD0XTZtPICqP9XiPeAPATuzik4Ja5FC1XXmiU+cHZHcfH0O28flJ9F4RunsrPVYSra1z7F39vX
cxoZU0hQJndPSc8MoXKaRgQa/7KViQWy+67Kuym6+ddn069aUslS6dztR1Qn+N6wRYTG64ApYzdo
AXELjkPVl3CvlIV1tqKfZ7hudQ68po/bhRl4OYq3raft2M1esqwApKSSTYI+hSbHzk7H76G6I7U0
Fs+Zwqrtljwp4MfH3Ujb3UsN+kZBPzKpLE9p0YIAXJiquwdGmOwqajSQlOSvazdtB08NBy6D1pGj
0NVVYvReETtOdlnd52ms5mPfFxw5NWYaMW4OFpB6O5BFve2sENtHmeHnMUOIKr0wD4j1kcNW7VHM
9b9lgYjiiTUkobyl7p0y8mXwMBlrLc6FEeI0D5DZ2OVdGeHQeZSKy3Vdt1jnCXWQjsb7fRcU6XWg
n+zsTSQLu8FcYYzeZ48FIK4UnTO9E9ZnQLnhcZ/LUCKkjvk+F+m4a9Ej7PMlKyPfXetYFP+Nnjmf
zc25z/f+phtrcmm254YRD75R17wtxfocjgBz9EUu5YUSGAFB7r3kof2fTgsIWpl5tsZzvak2UqUY
4+2uQxgrXOx05+Gd1v43gh48Qel7LgTfGjb6oMUsVq+js++m09gPwXm0aBnbeiOUIQtbFDQLMbpm
9rhaqTx11ZSsPVXRIilvJl5JhaNwqgpmzz79hjtlpr0PyLPW3200mYbKZ8/p1r9hY0bSLNebuBcl
5bxct1r82+rGSmCLMIFHN7Yy4OdWKR54BN0FHKLDSgsl3z3a9fNKZhKVLXtybTrJ0KVEvkSqGefb
zKAsDjXD2aJa/2bp8q79USdWWB1l2xJaqLSALWhMibUsFuZ0ezqEo9numOQBy2mee0cu9O+a8+Y6
+WEp75oRjVCnVb4V6YZtaqn2rKO9Xr0hYTpEmpk9vEtOgzhIFVNOIo6fq1sTrcJpX92NBjCOevoc
9JcXVkHhMw5nimnnEJfG2fvIKqacZYv0NdjUUblcatoa5UxmAVJbpq+QyU3clwVe9qmvTiHxVstw
z5wN8xGTZFsn5LS0yQu5PMNr070trbjKTV6dSW0Jbps6ax/XoHIPk5h+6FlBHk9busE2hXahrL1a
02/ixvH5hjPhPxjEHBQfHWMR3W6ULpA2YlVgr/YLrhBSflie21/8khPfxI9u0KQZXbgJ3PDHCz6p
ZNW/zTIlldegsAYEPe6Umbsn9BFnHA2bQTmWbSzSnOAcewxeBq9/sU2AfoUP7pyzNcFQO9AJhIdZ
7jsJDkb14S1saFB6aKtk1j7PY8uAyqTTw02BDkujnsJUrHvznnmc+0wFbaaQonGypCO+ZsdctYxJ
I6mTdk0ydBMx3eI+7pMcUcWLUkSYGY55szyx95mXR5jJsiTMecwI/Q65bz3rfO7pYEw0UOR6MdmA
zKa7FNN2y3q7ilYCXs+udMFVr+ULeCUvDrrti5Tn9UA8cWIU1VUus/uAxpCcVRTdpfE6T+F8ZY56
QlcJAtRT4DdtujG92m4kW6Nivwds+mx8q6CuTscZlzb8Sme8ZA3lA4qK+5hSaaLMMeiQmxD7FTFK
7f0Vckw6asItkGTK/G9Y+b/TeSDQOw2oW0RzMbLytW0zKNB+ETWVthJltn6UYr8bebBBas1/UGn9
E6L/cjq+ZKO2OSqLnqkOATAGoi/s1TYm/hZloPvfYBdjvDQWDpm0JKeizg89i6jgvKeT7+Ar+2kc
mqiUvCZtOcEktenWPV5qZ7d4HQ0OGUr6NGftLs1jWuZgKgIevmqO5Vq9rFofirDcl8Ts4Pw1OaPy
X+2ALpR6FbBnSta6p8+dK3/nxZBeCvVgaIey11M6Ls10bymiFSzGKrs7hfwyG5qqbdBugsjhj1vh
qqL82+XNHTdGnFyQYk4cvSKCfUS3q4UH4jk9J6/Xvlkd9/e6cl+nfjr6mY+XNoCzqOw5TAoTmcs0
9ees2nthWz/o1EPjyRXiIIWfDJYdRmbBMwjI9LwUHVzy1rPPynjuc54mI2h6RG0GSxXHUWcJZG98
yDgN5i1mOMDpGxYAVyRTXbr2GQh158Qwdzoo/HWXidNPO4jp0nHCiSstEpyXjn3E4Pc2tLAGJWSM
LN6Jm/FLz+ZD6NLjl7V9tDyd4Z2mtefMdRNXTvZWN3PieWc3bdqDnnP0Q5h40dC1iQDgdFW1zaJd
dNIH/C1Cw7j62dbD3ebSBhBkzNH+9Lry7KIBRvr1bzUMAJ3VcjBqQJItxZvv7Z3s0HnjK63b+t0y
6SOjsoTFPZyGYnpF7Li3ghTccem9swKGSBbbd5gvT342fXd+wezBMIDU+peWfffG5Uw4cWnM/hGV
jEF9MN/UnSEvJLdEi0Gd6WyYSKvqfc6BhwYbk/LAcVFfMoUei2tAej01gY6ZmjwKi/kacKvrEDBs
CaDCy7ImElH9VWTd0Bp17lkbVOcK+KdX2NQyLdn2fnjKZxqfS8h5X8sQ5Sj3jKinIxQPTgev835Z
mJSiVGWW5PXLkDTw6Pd+gGdlacpnC4kZyevdiST748r7cDSDle3DWM6jTQgNV290G/ehlv9V9ACC
uw29AkNe7tKV8dejUBI1WWViayKY5F80SOeL7F9K+s4umI/9uMlgR8cM5L9jJ2LiGHfSDJ0fWSYH
I7wEq4RqXAVPfmvd1m5hbZtOdyUqCG/4jbTjp65s5WHzTBspLfdq5AxT0mbyPEh7isS2vpUBdDxN
jcaBaxXDXt+lErn/1RYjT0ECz6LvfbDTDuomg9N4aJnTjl5ztVan380d2dR43pds+dT59lo2Qh9c
E7k3CV07U8x6P3KmK25jZGA6VYK4dod7Pr3dx6wgTfD2s+A3yu7lfpw1BI/9au/TSDeE1GuqPqb8
A+IAV9igBc3oIb+koRQPNao9sJsI+tzy71jcS1JvGeEepCqSlHGR5fgbQ6hxix2TF4vxcdxT54S1
cRS9fq5C/+f+B6VSy7HQ03+LBdEiawLrLK35d7ihDsHIGY91YR+2kgOjLZAy8X7HASSoIICm0Nj/
IaXdDvWyIJjxv5RJiUC/uj4xfURE55SARO+qoECGD/THsZrPeJ1TG209o0evj6x+O9herj9MhSuc
/SZuWKmRkZrXoVnN3Vg5oIG6kVUAyojOln3LG36OgEFGXcbCYPC5rUOLF5+qcEqN3/my/I+881aS
Xcmu6L/QByOhAYNOFUq3qBa3lYNodaFFQiby67kwM4wgDRq06Uy8mCdudxWQecTea/sbKem/ElWf
7KWlUyX/dD9ZvC1Zm9yWQV/uZ9N5jjMUrjpJwCYRm8V0vUERatnMFsjGo2ymvuzv2qRi0xL7MTf+
uVD5BWLXU9KJXa29u2VgORDnEuelP55SxKVHtB/8citPooHwTvpxcKBw9lFRlj+ZeSitrjgNytk7
q51daqUOQX2cg5B44nAEFW4LYy9886jqSRzsfHj2AO2UzPiPLVrFbQYnilBYdhPU5RwQksQ60V8W
c7SOvnTPuZuzM6cAJRMixEfMLkqFVrnvpuHJVQsof/T/e9slBirAGdDILj/0IKrRYB0TGjhN6urG
I2aB5XfEbtM0vovakydpJS+EznQPMb+dO/WRwRR5axWCVV4QflqxsKLWmLgETEzwPeGwS81+ckJq
sR+su6bwkxse34faLUAyp54XuUu4b+baOrbEL27YLXzHIbNIevEQ5JMnbylnkULkGCRmu4DnCVAo
hYzAP0oCQqydaEBqLdnIfOf+ozNVH8NQWgc3qdnkGw8j32CE7BNkRBEvoN8NywtAHtDZ+jCxwmBq
YEFVDtdmjHKkOmU2GrLOP1Xx1N6NFdYgNr2EVALQTPnp96HXDLRj5SOXWLlrvWm3JO3J0+05BaMy
qPyts8wZ0U7AVSYXNvOMdjcqF15klcPLkNGUoIxYuEsUWLBx24yIyFoQU0BJsCBMLxZL79cRzZQf
jrf2wgp1LaQZvXuv4yoP0B0BiOONM/U+wg3LOrKvqDZdL+ZdLNi9zDY3nCff6TN+RNm2J+mjlBXW
n7hmCZ1VqkCCoqNwBPVJ8djvuESoCBwwOUGlPdDAzXKcE+SDSiArpoGEWsQmit2dcbbrwmcAGj7V
RkfOuTzR15n8SPMPgmcEYUR6LAFDU0ZCdd/srcXC3VLMl9l2r60BLNRnuLtYzzb6mY1JEPydP1AZ
roYdqqquRvQ4IF5aJT5zUFwJk4u3Vsm75DHxqFxOpgHZZZLPH0PRcZbaKLjQ+W4MVm2xbTjXvJUW
cUYuU4CYjMmx7p9EPb527neRpowvEmXsm/KzCJJ1biEPbdHfZCEgxEwoxljJcmuq5MsUxU3cpMWO
TuGrCghDmY3x5PWqOLAhkoyYSqJBCmY1uuDahL2FBwNrJLsyjoLKs97HCbVsjCTea+COuPlHk4Kp
KHAaoN5DcDvoJUWlHaMjjZrcA9fMxH/fDtal039GG0OJEacdo+i7eQiqPU6PO1OAnBzr4Defx/QQ
WLTRWiODSa2wjAaju3hky0Ys4IfIBoYGjoiGDw6Fy8CQaa62IreE47HAxIoyFd8vtk1wI6z+rn+h
WrKOnIHQXQLE9VzPdtdPkC9ag1uupFfPdimRT9vR1M/WuPqNbMWqbLbabZNN3wyxXDIQcc2Y5eoX
6D7ZfwvU/J+gV7yHua5OwaTBbYDLotwsvrRB/Cj7lndXPYjUsU4Mv7HFcNlypVx4wtp7hqcvnu29
WZZ1nwXyPatk8VR4cGIW3rFDX7AUNV+TGQtWnNEmgZm3WhJTsizs9nOOfjxc2HrE/axuaRxS2tYs
8279GGR+WFXyoLJmilwu7titTpIpQ9Qk+bFAJK7mnqe68Oudy5yS2IAwxfZs1HCD1+kYAlSkYsOd
UVGQmdgk8ZgARgOvmR2krUb6Gz8hUZB1nDn1Fi+8AZ7c49OtZybIGuk7rhF16NcRR6iHap8sNvGq
DodpU1oI+xwoxsQuEizgg2ShFW4YJX2RPebtjDpjsJKyJJMh/ivTFcOphi6VFUzOC8ehV5QuzagC
5B5y5gmpf+LONmkqe3a0oTiYQ0lUbCFXxlR3q+dzki6amxSvzxLvqrQ/QIzj/QjA8Hhz3R41K/HK
sJKLrfAt1ebY7OelQZr0ZaWjfejHjGmAS+qZm1fj1mkZJ9tmfZcQaLl1C3RSo3/TKLu52DlL3Ino
0UMiD1NFc5+GecHYqwtP87zs2WvyNqmp3Llt/jcw0CNOo1vcuFrGF4dHdc78+6HzX6XltzvpyWw/
Jmtn1/Pg5Hn+Eid4ozyVPXGn8P+g3seSDOdd2dVO1SnTTM/fDq27tfpRXux7kwHTdjX+zFVbHbt1
puQ0T4EkBN3V1Y/LQ+oGZRnVZkjbd78sZnlNDHwBsYWgzMwjK8uuvphd+pnwozeASYZEOXEUsC0Z
X0yvu6pS9OfExzGQiPbbyTCV5GSex4Y8aq/IdyvHYRvqsNyp2MCmQTjohnj7fr8I90dwe88zk4JF
cr04ouITM1TBSD+pbv0fx2333eCpbckK5kA53mgnvuUa0004nmMHkWG5yNVrgZBXiJsQANWOJg4s
htXsGUt25zZMz4VJq45MFLFxWDBWH+dqI131bgclXiLJXDVtULEPizKPpWtEqq7Dc238CAPZajKx
i/aLqX6cTa7qUVLOFy7+gnC6jjaZgfVSAunKPyqWrs9Cn7rSf6jsFDBF4W1zYz7lMV+xFTa7TKGS
wwvDth+p43HIZ4Ori7SuWDXLTTKxD6xDRerfBJSng5gp4YJxAUt5MY18z2KV+6ofGqrEOj2GMVbp
ojoyEhluSrazR2uJv5Pc26KXYqlqq59E2t6mBr5ND41a3APisZs7VPXCT+p90fR3ja9dlmLTdNu5
ZRKVJVsbc8LKFUhxa5nqlgL8T9Jl17ZFdQuRgzRo6a8+ErLJqrG5yqy6dYYAVQCuYlQM/sFqnqpc
LNEChhsX/QETFzWUQtagujC9oUejQk2IvRhax9+OojlySf0rR/T/ZEj+f4m4xl3/v5uaSf+us08k
nfo3aaas/vwfkGv+1X/Zm8N/B3EQUsThTIc+H+Iv/6e92SQrzxZEjTGTQCzprBCE/7I3u/9u+S6u
Y+FSlTF1hD5B5zyk//FvgPldQDlYnCHzC2GDxP0/0Pct0/mfyAAfLPCaBeXboMGw1Dv/sD//N3uz
by2lQquI7J+l8gPKiDgbMR0l8g8LQWYCtXxLbKn30hvjU1uW52We50dcGPYt3oN9llRYf/uVZ6m4
DcfGqo5JATZQgxXUo/ge0obydrG7m3DB1UuLeZQgPB47FB6g/2j1wyoR982c/WrMeilH2eOsGE9k
NgZWnM73KZHT2CGaF98rvruQkYsnyOBr7s1hcZ+QJX2haafRAcJ0Kspr1hfTEwl05j5OW+LU6m5v
JOn0Ql57i3BeVduuqu3ImturgqF/0Tn3dM4094bVsUVBCZ8hF9OTl/ol1ViWswOi8AqC8SQXzz93
Sxc62xZlCrvFeinIljPN5Z6+5VcVGVJ5xd65MxN0AfgG+RPd/n4YZ7V1ZR2fnCrqQpV+umgiANK+
6naeXtOKZjn2tk5W/O0mRBCahJDAYRQX6ALpQCLPPZ6lKiCVA1/3sG3yozDG/mCUyGRZPVVslq8Z
grxCJeJPJU6ugTG7xKB1NGyul6BxrkVdrs3+eAiYL24zK022lS4W0GEdo44q2dZW6e3yPvvj8Edj
Rw2fq7DHZsLwJfJM8MrsPioRonsN5NE39XByFNTGKSwiqyl+miyG5eEXJUI7zrx5QRRaTjErzmOf
MgwskkxFhsU0o/bLmGNreSj8PN2S/YDot2bXRjEG+AlSP2vJIEDMy9q0Cvr+bCWwOG3vFzUK/Mn+
O54xZtasY7c6HslmlhmsvTWz16uWYs/X2O093Tu7khHese1zyHGtxLhqPppymm9MALe+DQetmpiC
ylk8Gwo/aJK0yPN03UY1qxJimJozK6ZqlzTFsVetdY/2nZvNHdmEMN4LekQL7VoGWD6y5aYeyOyy
y/yIfbggWR7wcJK5/QlozQ4HVLNtWgL4psk3DyFM1s0UUuDIVOp7RDPlFvZhrdppWxuOZqSBydoe
lbnrATTe5NhrbxqK6309NQKreRFcCZnc8WKPZ48YdARDsI58+l+fODk7cZAjZfFySbHk0BMSAWmn
891+iEPn5KUsosO+lzsycI3zKIEX0qExpGtlfwmq/tZnv99K+wgLdo/llOCnhcFJUFjvnj9RFKQU
oixz63CB29Yy7ZA29u7FLu4rBpJaMLBoV+e/kvNzOcyAs2frNUWFeurW6dzSJt5m1ugDbOX+CSpy
r8peBYc5ZWmuw7A4BaZ+DZPl05nQGhtslTfN5H3gquK06e+WxD+B6Py182CIqrT0GEiraJLyy41h
qar5WkO2vI4Ng0nX3rUu3aXfMirJO6faZEb+gAEu/0QJcNb4o/d2JduTK4IXatNT27ftizP6Hjbw
delaulCV++S6JErsYkxLwUzSmdWsNZ1vPARl/d7Z06n2Y/3jVvqRsJDqy6zLX4+qxJ4y+YiVv6f+
rF9AazZnI4G0Ch765JQ1+zxhJdusrj4CO/tmU18E+qlN2ZAtY3vrDjHuDeB7RcfIsEgAceup7veB
jOVGj6uqCVIhZzf5Sdq/oTpmsRzbPohKIKMlhk2Wr+xK14JNESXnxYjJpN0/sHCG8NOZLDZsoBII
rAlXJoWnGdgNzrCy3uzOkGcvNhVG6AXWBUUS0V7QcGf0DQaPcrieCTn7Wxax7E8H/TPLu7qYI/5r
Oy9l4dzo4oW4SvaLfMt06GLaF8ONaMrbpgqH4xJMzK8JiWT/g/Ola/6kMnvoEpI5mUeyxx2PjDD+
LvHy5LtZJGJdHzHxH6uuOBZd8OMostWTeHizZuxopveUh+Zju6ajoD6I4YmmHgushZKIuRZPR5c9
eoi+2tk5Wi06WFmPaHgaBvtu2j0LW2G6xm5/UyYYCwZB723OwIdMhVuoohftmzN329Zq2mjswjeB
ECYqQrpJq47ihdnhImnEbagNARGd8QJPe7Ho9vTRw+2LXSLl2zbNzyAF7jivW5ZY7G3OjEMtTFYm
lXeX9+VKobSP4ZA9Mp5lWytt0mLnYn/iBYWtr7OzIdBUo184lsySaW7ziDR7BjeHRHEYm6/OiKOl
7vBrGrX52TNhyWzvUjsSSoEcjGi2q+++kxmXHTsDUaXJfgxXmk2bFtu26RHYYABPRpAkM3m0UTf/
wzQgr1OLh6NEsl6p+SudVcw2ge0yc5xrS2FxcSrnCsRjOyHSiLAp6FOS698UIbsSxQ+acLyHZc9R
xXhsqhQiRVe9toa976V+yl0D+1BQ/ZVD+NMomsXSGiNUjKe2rvuoGOJPX8tbN4gb5hFltvOM+M5B
o7DxDKAsYdu9Is4/KeEO5/I9yJwfbyjbW+0x++UjCjirI0b173kTBnhVyKfSihsvk+3DJHCwm0jv
8KUITVIQM7NuzACJGFwQ9D6o03z2wCEj6mJc12j92fAGKqTpHONeYQWsD3O1UoGPpVlVZ8TX1OvL
t+V2b2OowSH443KSsfErnPQaK/sml0wneuKYIss6N0ZZnUzeVqYDQ38z7/KO9UmoPEYqMUKUFmMI
YJqXjEzMjs4kaqsx3zVlHqIgHo4FST5sINjvaXZDqOA025GGMIDcFtQK/EyNBK7byRc+ifsxBEtS
zM53Pc4WktrypZ6D9kh6VLqxKjdnDNIUUenavxhZuVMFvPOxXo5KzJ+mCI4ThmOwylgRV/hpZ7pP
nZBn35uZ+9o0wNB60KXXb3ikr7Yg+UQSh8QU9wVtf75tUqGfZF1HTje+Vf2AIMIk1nik918Ff+Um
Hmq0oZLoIzW1JAYMxR+kGUTwtQwaAh+bcd/9RbFobfo6nwDAkCjXbGPN3ATNQnGYOmsLa7ZdiSbL
wXBXHdIQRg5rs10ecCgN1eovgBOf4VrvXPt1gMl6Jvb8MnVYbuwAu6xr2WQaMOQu54nBTNptRd98
AI3cLanI99LsfukJ570nfmebPlgsi953hW2dK4HkbZ1dzDppL9yA3T7GVFmu/3SIaSFcemPf662j
q/eYggxjGfI/IVmU4ayzFDFFJs7nqsaC43cI6+IaVZdqffYvxfTlOsWXD477Tlbyw9YBse3qlgnJ
D37/BNc6CmymIJhr1XPHa+e2xpd03ce+m4iHq73nAEnNfjRNZJ0uuG0hhp94an7yCn94Y3IAkpz8
x5FVd160SalnswPYuMNb4bgkXADOCAL16tr5U0xKZT0de0yChoavHYjgYBAfmJLlF9rxA1k0LAtL
Qv5EfOcRw3yYKGmUD3s3Tm5TI4jCLkBsNhGVqlhkO5YLG3hybkfloIrOr1h72JbUgETS21mv4v+l
+goTP9hNWu1Enf8dhyjpkYVhiG20J48dBVJpBuW2MTvEYJV77drw3qbgTudgYZmZIGoNkGQb+qEu
vKsRGnuv0DvFKZrF47JtydXeytz8QDPuZBhmfYbL4HUfEqYtLjABE9+dC4a/tcPvcgKzKPXXPBT3
Uhgn9mx3We0x+sW8BckaXF9v/4CoxFilwy+dIhmZ3HPSYWrFjgWjuUhfil4/GFLfpvT/2yAzsj07
JYG9A+sGOxCcpfckNzYNdwtInHFySKeusOyKZYbUrf+0lXXLupTfP8bsWx/spm0IW0iYTTS8UD4k
kCD+TPjxUsZEObW9oycMJiS1sNG2D1P2XIcDtMowPsEsWh+0+KEJ9ccU0zbJ+pP58Rcb9mff6Q5u
5XYbaiE4zn3Kl1mJD07Jh6UhtIO5p0+7QG0Ue+5JDMHH6PfZWcQfdW6rSzmwc5gmFkjM/b/cBQw8
Bzf1e8xGZw0XkSHwBPC88YxHEsQCO7cVkuSkI9LM/O+g1Q0i4fmwFIfZMSD+t5wENGaPgnt+l8eM
lHxEenTLJwO5ZUQY+dccYNfoBFSstfJW5vJZmiu6pdJPzlRczILVXtX2EVswJChdnkYmW8e24788
lxBh8oULNLExtjfevpPjn5nY832AY7MymalNs+/t4meG0Hdt1psXxwPWkef3ieIWzf3gUU39obIR
GGbtXe1zRkG3aObqyebeDJYqRujHY8A5cTcvQMe7pmalDBuFE9S9i1GGEsyNQWK0OdrsKSd5uNcv
RdFf02X4shVKLj35z41O5SWxwj+IPglUA5wRybgxdq3BLz7QEouwOvRxRoqHGoHmYefLJdZdhAjm
HNSbnuPwbvFRYwXzqy48/dSUXCQIW24XXCFOkoGjWBg0poyEe5ZDEhowVhj3wPAQxEg/k9ZLYALz
WYZocwcOx/c70lLCBJ1yGP4iTHBeZjOsz5XOuXluO22oQ9dBCCnj1S36j+K1w/BdQvDwdPeQ4YfJ
kGIedTIfgDq4B+Hzng+BeRlqkkJAOnUba3H/NgaZJMMd3n1ioG0E7FwzUbuUw54xNzafMcrh/gS1
CZGrGW4rhc66dsfTIrLqCDRkiBa6LRykWYp8f2BQrosAk1CCjlgo4wbgTrKxchtwOFKGIfepvmX3
6I7Uo8zDuwIah528xxgpNmbmH5VGZW964Q/mV0bJIoxyg6u1Rna3cZG/mLh7t8JUP2aWvs4B3Qnu
gyKqfZxJvNOI01L9ZZP3wkSSmf/sOB/WElb7lLENPXR9Zai4+suw8sI6fzMm+OCSdqscT3lrIUMJ
PAQelP77jqFgjQ7Ezjg/3I7oVI78sOiOpSiiYYCN65j13zhh4s2Xt3cnkHU5YMoik/R2LCIqY/nb
sLWSHoaYspkPSUGerd0SMhJY+Yef2+s9135ifELzxAowXNoTRoiJgxedeZO4J1NmIcLY0cGjbe4s
10pv02rYEb6z5DyYaeN/1I7fbRunb55njznsZNGUNBVyO7Izsp0fgFoTosfEjCJSA1kRM60QPzWI
qILNf9Gsf+Wgbgnq5TLSr3DFIqFWl1CDY8tXk2fph08TBxc8egY2ZA6QCHLrc/dsJFgF0dkPZkX3
LFXzRn/IOhxl0cA4nLYvEUQqPpNTSKugIG/pWL55eKAoIRgQDS5aDebndwh7f0aPBfI0s2eubdgk
WX/Dp7DBD3Ez5in3k8q4Z/1nj/hCjGEsIybxHWPz3TT8O7VcMEVlxbesLGQn4II2aI/PKkeRPBng
9lYEVbHc+iaHbB+W59ZVLxNqkLDMq41nYdxShv06dg/TCh/ipEujvlY84QFP2ILWnuP7jZ+ZxMYM
P30O4GgzDPFNEPvNSS9e1BZTztomIF8HZnzcFsleqy8FiOy2XevTWk6Xjv0is/utl6GnzlQBW8BP
owrlFndkQerxYCX30/Ttecwh6onnLdHTHs6btR/qtbBLP/xYDUwzZizGrbe3BB7yQf11PNYSKcUT
tKf0kAvjOSn99ogtvQBap43hkM4lgG576He+654HzMO73kTYVckHXKfiErs+Yy20JVZSE10z1xDY
4sI5s3w4a9v8aPgjtxMfMtcaX6M5m/swnoEMtjo5JV6AEqcZyKT3lja6QdCAcSppCPxc2QSmhlPG
jXrwdOruAthBm3zsuBx80ohU/TfQ32Ky1K4gtOkxCaed435LQ86HIacJ8ARZzUOBuMxHr1pM8XNg
dyhz4+zdTtPHKiz03oMiccork6G+Z24zjaBtkG28tX0QpzB/Rz4HbB85dlmsFDFu+hLJ3UJmw8yg
dMNPxDqK4jGxsMspNq9ELnyC5GMP0nYnYdCGIgLDYpZmqFrK8HMxeZas8sVcgGEFWjOJ4afMzfCV
FoziuwIEhZ/CGm0uQEZVViq6SBR9GxVGeVO4iDZjSYDzZLyYFgILw0Qq1qMJs5cbgCc/mD+mu3r8
HWfAHq2XP9lDXBGhZO1TXvVdNs8pxgC+joHjcsqSp9y7Lws2SWzuly3ViOuyOp3JJkzT+TNhRS4H
egg7C/6MPb8xcT909E75JmZ+47pqP3vE0qY7PQEmdA8yRJMHHERwLm8rwbDRZflUT128G8tHvBPO
ThM9s4EFcFfpNNsbPneppa+BJC1m8ur3LPF/Mth+mcYcp0AJUo4xspwR1/kTiTY4G+6Z/NI9zb0g
fLu9LAtrw3jwbKY1mC/HEf0nX9BS1TgtxPzX4w4JaaK8pMKC5h0Wn6GiM2FI8IN1ZMgflqRDe/Sr
em/whESBrXrGS3Fk11y8XMCo7brkuVySt4CnJ+qr5WOQ9ivPLR9ItYq2NNmujmL4tpjnOk4Aq4T9
20hR5zNd2iJbiQoqOoXbJwK2skHj8S6SdOZsU6scTnzY8UsBj7nTySuLOorhRzpQQAQjfWZvR36N
xcemrmarVt7D32JkTlgtUm1CVIYGiSEFULD04LE8XMx1DYSS3uqzR9rK5pFZyEi3p+W0Mzv3rUnq
1zpGjNNSUAZ5iowmsd8tg+KDchqd57S8d9K4Y1V+T6BHJDDIVENwR4sDKmB9TsMhF+gPMP8LyrAW
AVET/oU40myCwRx3fjWeZof0HWbW+xzuR7SkNkTiubwZ2wQuluV+s/ZHOQFMwF3QPLmBLLaWcL+z
4llYAo5RSMGgHEyoFi1KXBsWC2iysJL5/I//yb0m4E+fyEJEcwKN4bdcJzDSKlih93HUOa9Gy384
X7f6iulP4jP2dGZUByPWHdKj9r7CbDghK65aeyYgJSE5wmsYSIGUVGHub4YGTRiq6UrOlzAj8WTg
rI+q2nrzF/tpIPYk4eLbeKwaN82I/C8NXhfXKA+zh150JnYkDf2L2xBBMlgQzOM24HBsL5L7fINj
6Dnz56d4YeBTOYBEp+QsnIkeTrAClysmNOj+ilxemUbyO0zUts0gubeoJepAfavOZwQNKS7Jl3WF
Un9J9BnorN0iit37sHDRqqDhJl+BaMEpf8oMhBN0+xAxi6tdJA9hBn6Gnwj7ToKwMeRh3EI8As1V
NWMUDpFEjsiHnzfbVdSMXMskb2yfscvYmriYtonFzHiYCGurDRQlklT3CTB8xGheZo7eIgAINrty
8ZF2TSKhiPGPgxc+WDiesb5q3h/TeAEVzvvOaaZ9vqwWicTWFBnU3O4Gty7gHk0JX2ls5n7/onP1
mBjtT5aHROwpKpGevVUb2Ct2C/dcnT7plgC5pHgC5WJtZoxqCB0O/uT8jg2mjII3u2gQN1UV8itr
uTMaOn+nm36AseKvpSZdrO4ztV8NJUiAcYZPz6suhMi9mn3DHdZPn3jULaidzWkKqFznY6FGpk6d
9duCi7dag205vQ5S2gxdW76rkjADyIVArxgQgWd6nzgFlIK5fs/RWiHuEn/X0YHDwHSTPyQuo02H
NcLWCOhHY/fQduGnqHK9hcf4GEsVSbd476md6lWm4doV0FwqZNYoPnQTjpx6CH5U1bRXnOktROD8
O9YJQYAx15hUv02jmFy2w2dcsuBz+NTjBG1l5YzEUfChIZ9Kdont3JlyeHbjR0EVs1kGntSByQgS
/nEzZdPfCv4NK3pwB1Ckb7yUTU8LyZexf7rrPf5esmTPs4lsock+ZKX3xYgQi2uYkTmohG0Vvy9h
mG99GRAKJ5M6au7LcGR6jMMapcW4Bota27YMvoJSHx3M59uWewO/IaQNI2O8vThga9Acxr1b7HXC
JkgU0F4XfQH1hsYKSKVXxleKcWA1YUna1weORQekbIEKyyLQK7N4TnEkRb7qLmaLBEzbP4KNMlPA
2CB6PD7PwWp0N6CizAAemWA+CIdbzurREHTaPXgTer00rhacNs2TIfLPJE3uA/xXKDG4J828L5Aq
JreZSaJZ/adB7AgAqfpb2fxF2vJ3rZw2XJS3LoJnSE18acs0486Yfsln4aWYuVBFbhBwmH8O3pWv
1uIUhlVIGBFsKRuSllG+sgq//vP9AXET0XtIP2FnIOufsqpq1k4z+A/f/qMUd9QUq5Kh+B53HbrH
nrKoLx7y8G+XZL/F4iJgT62rjXRoaYszyeVPYBHfmwpkFvUWsrJ6PFFbjOtAIsB+ComliXnTcAGQ
/gdejk85JKtWJmuTbHw2eXJPGmSH6qvkgFoFOHnD+MdpRsor6y7zvPs+9yFk8tEuJRIpnkIOsPXL
YhNKImr7LlrjbUFZjjJvwvbkUduVSU6hjQ99Riymje4MU/GSygTjdLs+1wEGEJEat3Mgb4QO3zNY
O5tlRftmXQaU0L6bS/cwlaXgIrbXVNgmSicsMorwUb/m8g/b5SJzwezJfdLSaHYru1uVfO+mEh9z
0+eUxLaK8I5sO1OqE8sCzOnOOwZGll441Jq1gZvbNGo0vxsUqJVQWz1W7kJKITjRvf8cp8Nl6HmT
mmEIiM0Vn0Jlq7olhoNc8jnPnFZMZsiAgzGcc2K1ksuI3OrzKJLPgQAqDh5i1+wvmmaa+VU36aFc
VAOpdetfZJ77bcXo0PKeEx4joQVHKPwt5+fJAD+wvq5srcE4+GCq/b56ClmhemkMJsJ9GNKpw8Ba
pHu7h+hJp7DXojZo0hDY0DQhSTMZYLICQwP105QrHIJYTQOJDupNXvqwLw/aVIB+Qx9HDEiEfY/Y
KE6b4hS+u1nC3MFOX6UGjkx3tu3mSe0Qbz600FmX8drUnPLYUv5UsXpAj/wjivgpG+Q1IMuNLoj1
RsMPn/UGbJuUZPuG39/xaZELI/n0bKRJTWZ+m01mbMmF+8yRoPv4tnClDrghYpdiA/FoEjgvHkCH
jeslxS4U+BSHHpSdjKfvUXlbwd5hXwfLqyK20MhO6LyzDbck3VRuH/I5e4iHEP0bFE8S6VAHimNn
5M8+6uQML52FH5FJxVFP+f1M00K0bBdpW960kFCW+NqH1Nj4ZQiJY2LlZvfWxEi+ImxST+Ft1oU3
/hTf6za41B3XYaHgd+DEzKz3NqgZpRg3XVFbF+6wXVc5v2Xo+ptWDPPWfC9Bhqe4L7bUqO8wqEE0
hS/I5+4KzexH9KQZWgtvcUrT6NePAVbEg1t4R7PzNBqpge+Ynrm2WhrGMtOHATsoMIfBSNG8VpPa
Lr19x+jqq2MvFTlu/qShBm0bnFBQbP0Pc9oZgP9MDAT0C+xDDdKYGVqP8mxhtzt4ZbB38uF9Ei8z
/T1MnvZed7yMjvY+7XY61qGx8IGWVzVb3jnFiYmaRfF2UqnlFiQHE12WaVpXs/pCi0Ehx2PKe0C1
7+uzEU7ddkwNKPu8MvPQL8cOfwIDy2HrSeppKBNP7K3fugQHd4mk5Oj12SM6ghvDaG56AP3AE5aE
JVC1TUdu/fXMFR42XZ15zy3ahSaFDze4xBUn4fzWdZjusoLesZdf8Kk6YDb42PwQ3SZ2/N1QsYtH
oU+HYaO+16APG+uPCLDNhI2gIQ+mNBrMPZxVcoLdY2lz4skUQ4jT4RubtLh3AbgB3efXT9VjnrTn
VjM0k4uzrRPxUY8Q/KcazXYtEyAH1JxOY3z2AAOZz4HBYbQA6TqBU5aqUx86r3nOBN82gAGqhP+7
yN55Vv6QOojzEebUXtA/kO2VAl6HEbE4PonCI7W6Fdv7xfNgaytQK5O5LyoYjr4NerYZ7+Bb8jrW
AW+AIQ9OVZS0+GW3qyZ8+Gu5C9WNSVKNWB8ZU50jucbTyiiw1cfF5zC0McJ4M0yi3HcIJvxP9s6k
uW1l3bL/pea4gUSPQU1IgmAvUb01QUiyjb5JJPpf/xbOfVUVd1IRNa/hObZsSySR+X1777U5QXJc
y3YzvaVzKnaJTsAk6cp/F4/8f9vdy9z8+Z//46cGKAr/5k+c1tV/eOfwwf1fbHfMUXXbU9/6n4Y7
vujfhjvT+Jfr6q7vUili+Qbzx/8y3BnmvwS9YPxvh7Z40zL5lf823NkOvySw4xGFtXWTler/NtzZ
4l+G7QCXNCxMchjk/p/6RFxhrn04/6fjCROga5seZCUfud8UwtL/s09E+tjcUv6eHdcCo5yQcp/x
BLhXVKgHz4VLYo4WOMQ11hhr1d0tjJ8FgsRmdMm8ZWA6uSqS9R8wt/eiNc7FImFvJ5+R2bJJtqdu
T3/I4E3PWusx/I3aATr9cxd1j8Xs2IjqTwYf7W1kznip1tZp+G7koTijlQU13da+e7Ptgrj6NiCt
TmTkq5o9nD9H7s5RNZfEyX1WS2cEEnr5bmxSZAUDw7rfYI61zH5Dn2kElZlliY1qqpHO4Jmn3g0/
S/ZFxGpKuG+15zIalR14G/qkN+08R9tctx7M+LMCkxd18TptDb/lfbGQYJWqSRSlxqG2sxAuWxR2
uxVhCW9sr1bWGHyf39KmW7VVj2P1PTo9UEozMIWNkcqGW5SMdSB0my2EKQKWvCdz5MRRuIe3/Wge
ln6V0CFg+QYxO4utwVC+dY6DA0qZl1qSbYdpHMPq3Ey5SRxoXE5K50S1svkE91QSrP7JKWfJfO9P
GgGVGaSySIpTnrwTHRJMGsXHsanf11ekKKK/VoXYxL0923RWegJeQaDCHT8t74wnVA+04a0Sy98P
XYNboMcdyy647HMZ9PX4V1CCsp369qFu1GPrOfh0jEe4eajSbLbXgtBLrQduF0nytIRQqhWBL5vp
/FYObFIrogbb2WXkcbUXWCMMy1z5DQ6H3hbbeWSfg6b/HjnN07TSnSgwQMslGeqp6YW58pClDnoh
v3FTaebL1CLVmuqCsSzQe/srofPqYLXylM7sgvp2OPseWjqSwSpLao9oOHVA308aNBMzX7xFgkQd
NdkUgOi6RpF6xMZwM7UU0stDvWDP11rsPlPK6Afg3AsV5Jom8nhBUWajdPnWvPihnHFK96MNk64u
vxub0IudPFYjzgN81hh56GPYVTa5SLo9gohn+WVK+NspskFYjE+MKgROypqyBX89GkGSKRM60ahx
04j7Ny+qdJBQfO6KxP5lRt6H4N0WplIHA0FqwxNIIvqK6sl+enGc5+z31MaQhcgbtx6BXvJRLyLp
qFxITY33i0ecCG3UcyKSZaPtB8lgTazNEpLIPTVvNnSGjCH0rpLuoIGK3BreSO51fhP22G3bdLLC
xVtDzkhltAltCiNaArUe3kMC533U0x9pd8ne7lMKV3Ld2Guz8zMPuXf2/cU4O5+zm1qXAXfqCT9U
EIkBd4EywUQuGmG7Wd+xZjUf9PpUZw3pQkPM2zJhBaW7kkvwvnPSmuTVXLPPHLNdjURgdhM0L1Hd
B7NSazZj3aWjwXZjMmNytO/WKJHSeAwkWo2dYjZfdIdSA2K9dsA+/hkGm3JMoE8k0HLpnx0NCpmN
8N38zRWVSMhrlynLnBsjOB301jsXej0YVH/WtDk+1wjR8zKPL07lvc6dBFdU29/pstgnsD+BaWk2
+avxo/Er5wxe0yZBBOHC9ayMy+ConTuIlgfesEd8E91Fjv50mjMadjqm69y0iKn3BXMRQ/HOhmIK
quve+A1YjUGU1C3LPeuILDRKnMBZTINHzj+IkYMU5PLXlmI5NpjKcPgnuyrKeiAzsNsw9Nm1zIKi
A2qgJRhgsC5TbN7n73J961apfEMs/8KiuhBCACAHKdWhWf0SDSsbz4Xc1C79gTQ0NS4FrFcIyNuc
0gtgUy8JTG4uiqFWl5e6v9vRRNZ02wE/3pZZ9Gf02SwOBfEGlm3rfEQEkj3zXvA7dp3b3AyRuIc6
9s5qtpudM6Gj+GJi2IU75PnIO1AdohCqkhOfURJx0wm5F+3J9XlyFzZbQO7x8AUTED2g4SBSvgPp
5gFYkp8FS7CF315PoH2Qkq0gaZcj3RckeFgV0zzfK+BlNT7l9jPNJLNsbM6h5VFlWU/vs7RU0Nvw
2Ucymj32qMnAz2UIH9KNgtLUze27Pjb8DHy5l1ncQwTA0VbzhG2E+RZLh3Q0/a+Fl9hXDr9bPRjN
01x8Vx5RCyzg442mq6cx1U4lLy2+FwxyJWGnst2Y341rxqFabMyrmeTfoMHciaXRH8HBH7D8P8g+
ch594fwmST6YNBB4vNSgnsprGflchQdja9WRvyOOuckTdu2eZTQPZco1IJX5m1RoDLHP+AXw7KBq
Oqv9mV2b/T0Yfb6N+GxUyzCf/Yz/KkNGESTNofoo3MndZ71/VjhtAtuHBYyPbGMRfEZ2huUdlfmV
1LUb2nb92LtNd6gjykMzb977Gqx0esyCSdnTN3H9rIBJ77fO6rwD3liVz7R61CGX4VCy1OPodWaA
sxAxFqUW0okx1Vhtc6w/Nd4A55EWtNgsygdsqxTFG/phqmeDCp/hTjK/fESpCF0fbFOMf3ZnzckP
7NEYFJ33x/HsaCuK/mQ2jREOeEINQDQh6sSvqG1AGTTTnfMNPJfZxUHVsxD39Z4g0JBTEYO0FyuC
nJGj7zmR1WkRnMJsOy6KfZcOLXvn5pICiPFPs2oBUAO6l0WaT+P6Ddk6cIY4bqnVqtWDntriWrm2
3KB6fGS9gr7vgF/C1y59RDvcI38RqfFRFJ+DIS5DypnswsHEflyf/GYAPudAFALVe7IE866BtfSf
dgKi6UWyk0b042k4cYveHc5RVcmtGut4X6HAi9j4zfPuVxvpIIHKmo4DFhRM6eCIOnqoInmQVfFW
t7V1lFI2ZzeeT6IZ+xsSR4cviC4MvTNXRENm7fpYfYiRZ3Sd5sRYkbQIKz5BtRh2k7nIY6LHoUgL
69Gb4BL6C/VlcZyZoIcMA8L1yG9XDXHmygCQX5fZ1u9JGOSrdRW86bZJb+NgGtR/UR1ha/pDZGDI
7ZAMQGUux5691pxPkvd5XwZQgYXTP+ZLTnGs8nekpSK4yPxybxl/pxxvA7nMQ5+pvWZV0xFIATtq
Erv7LpGSFC/uI4Kh6iQ0f8X9ONwbFvwbkgg1dA4mVpxY9vwyDLTxxO68WhC3c9rPnPfG35Kpn28Q
Uoul30FXz4HhlTHHsb7s8iH/6s1J21gZBPk4W50FTjOALEND9+J246pxOVD+kAcLGhnPI/M4NQ8F
c/kDlzOSYpBa2JceFgwol8ks9s3Sqosf64EEqMwHJLvqJiCYoUiTRzQzVtAsG1MrUecaHJBX5slp
AeIdTq3lQmjEhyoTt9/q0I73WCEDW84ckEP3o2Ib5QPYWapL8oJWwVJDqoxFOEFpmhlcfmuDjYON
gbnMw3FpXmbO+W3lHlju5Huz4jI4tRMrazR5Zz1hisn6K7XxccyrS9w6D35NSm3IbypqvsfeAjbZ
orAgQrhLwEf8SMaE3b9rHyNgPLxcH152Jb4bHVJ95CVOAMpRp7fzUx6siIkFYjRHAkLwGpBto6Nm
sw3tp68lmuB8ptphMShtqKgc3ViESrDafRYiHc7TiwUoZtdkMgm83r47jQgaL5GhtxAY6tL5Prrw
Wth6qzjNThhRnuK5m/cqsa1T00MwLdPxu4VLB4GrGPdmB0eXIGmQOVMBBWiCmtQRNnDp5osQG3Zy
6D5a3PIbnNoGQWF369fkFRdIQxtGxsOkmgM1I0ctxflszL2/HxPHv+ZhNcQg6VUzBVksH6sKvJZQ
rDEIqHSY0eEj04R1mmAKISmKGfIT99DU4+IFTuNKzCHQVJHtOypMTIyrYZ13w3ZRWnopMUVrMHI2
ZYI5tC16TmTDQKJKC1T+ioKDxdzrAw6apcWTaURW2MQY81tDxWuMmQasBog9JlndnP2djq0HL1k6
01WR3BZvonEAwcC0LaSxoeuvMaFboHP72dRVELFnx1UjP9sI9wnaTUQ/mn+DkQ0FxqB9hSgFbyx3
udBxGIe5KH9sdl9TiS+Y3ST9YKFZQJAG7lpiU5l3bOTEbiBEtYkt7Tm163daNvtA96mzWsh+ZzB9
ZoITPHZx5UHrC8yOMSwbZAjQ7rW0ddjoHjRlbzJpjGAu2C3wu3eMY/mKfIJZSiS8svI4jBSV4BY+
MpdFtlzk+LQQszdsWFIdnLFt1k4kr/3uvfU8tt1O8tW3dByRwj1QN6nBDMVCMeWJFXRe91LW+nT0
q0enVfWB+xfAWLSQwgBJV77YDB2sDW3uno5/m6bk3jgI5Qn27c2gDbeVvgWjMSiZ6ZHs5UtW8Lmv
ypM9xe9GS4tO7jluwNI4KOJkwh9GHizXiwfgRpLr084zlj7sPC63pk8eSXnlQUROCKkH/0GZvvpN
wiuON3o03N8awTOul9jyBMY/s8h/uUO3A4rznAzzRxetuNXmOlfNXjPIT3s6D87lxfKjNy/D/Ncn
3ZOn+0x3gLLbwTzNjtlw9LK6jqobIu8mdv7x1sl3FZsUc7la6BDbVr0otvNcRwGNK1mTYzTjmg36
iMIJl96GUd/NfeKj92YxBjfmr7Q80ypl7XgsRViw/MDjLMwK81R4VKUNpCg3cawtu4KMS+LNH8jT
pKoVyV+/gNgbe8E8gcoCnGfP1hsuujfHRcXWRnM5cWE81j3GHulR1aHR5tTUPgb/rP7qMva2RTU5
O98k0lb2gN01ssolR4qYXptlNtkjAvJph/Ld8fInHjsf43AB/kgWi/iey4TBd5f6B31wT7VX/vAR
YuDCX8qqAJMBF/rDP7+7ziDG0uJBulGnJSw1ML6ggTdXzCv+rnBBbam+5yt4njGcU+WR5U1wHHq/
vGiKLPakk5ImcsdgiMFOTGv1Zzrx7BgzroaL52OIf7F0BvLEc4leRIrUMZWWYihvUaqx4iysD71P
22NZq9/Ck9amzFgCqbE5jBWVl6oDsILn4JkHS2gPlh2meBPzaLHvqqGLT7XspXxW2v849zgLhtsf
oxxueTzOjyzLc2ooyGnkQTXG00X02Rn1YYCziiAiMAmYitjXwLfpajU2KetBdxgHk4LQSBMPLV9v
3XW/CgklAlPoy9/w8vutSNNTjTOm05C5EuB71RJVWGTkvZaA0hK/A8u2NqaU+d0cy0ffg1ZudPwE
UE7ZTkPeG3tB+qnhIaYFVA8Vh1jOu4o9/MaNTG/j6eavBgLMQePmttdhlVH35f9pHKJUi2jxEE9w
8+Z2ECd/+J2C8rgtmjjAUo+DzLqqgROQaMtnBK+Fr4kvRV9dYeiBZKR1wayzl5IJD9A4w9OcXIXI
bpFtvGKIQBXJ/VcyDGG/LDpPmJ6LEPfonko0VjZbBxfcTs9cAu1Gds0IXhUlqTEdqXlvjTO+gnOX
CR6Oc1FsEfNpnxJ/B/INEe0uFJGGXCTPLTP90g+/+HSUwWLJ08gv5Ct5qGhtaOyLYI/2hQzFNiqX
+1hQ+JLn52YiXjoIJ2gz980z2kNLUjERJkbD+YHRcGfrIkjmCSlYoRzSAVT5Q7UtjIF5wgpqe7ib
UQS7KCM0lntHK8Fl35o8j6zCYzPmudumOtZ6sxY4BnZdrqESWJZeDspgqwz1BEedSbXjzbm0uyGp
LrN2XFCqjhb7ugmvcTzSjKFJoQCb1YfaZBBPrTcoqCePxePBzdW7AqgFp4OYQFw12RZOPpWfPpCp
jBUYRj97O8cZI7uOXMQYvcLH1sNGVDnLFO/OAJvcaN2CtTB2JEupMfTStL7phnsu+rJ4GLX2XjRd
MDvCuS4RNl2DG/TZsZejbjTLWVCfbOAJiMermeI6kH1+cOzsJDCYbPjjUKTJ3WEH8RNS1D5v5XII
u97HmhhhbrQXDNpL2n73RAb2k8ehVLjGl0v39LM9JVuVLcuOyIK1E3AAMWiQeWytKRgVEdEuQyTt
G3M4lfP8kGWkeoy0dLdLEdVXFrbojyIRPDpwf6wpH1dGjwNAy71iuctKuOzw7qdcyrmbuMr5SmQ1
XIru7E24c4y3pinBADnTw9hL/hSMILwdhpJiaCqqIaVHp8J9Y709XMFcfODuxfpjaHeCIcDArPJR
cCzy7ySFx256n1Gmy9WfGJLJviTvGW/nxcHcouKdVfKOQC26ejo5kaU+V7P/xkaZUM+wIlOgz/DD
TY6pIa61oyvec+3O5hzcmG6TYtvHIVeoG7xaN0ipHObH5Kxi4HbpYwTHNpbEqEADcXZ/8UT2T/68
HNJB7zcG9sZg4ZTAo8hxZSiP8cMaz9Sc8hjGfg/p0Yx2Fc4o4r/qgG+TFWFMPRgUJXffothuHJuX
1MkV92beTjcM+udkYMcx8ekI8QJ81UN5ifnn7HiLPfPFpAWtmAljnEEPWjYBJ22yCW2aoVN2y6em
ypvels8SefGqYawpY7r1aIHW90tmPQ3JwBaYxmWMzmGb2/5eX6TDPkn2VEuUZ9dt1M22yhfZveo6
LhbdXRtqtfSQwtPdaaZxqMroPCPd7ESKyyHCXJY3NdRk6GbBkn/NQ0ekOyUpkkrKA+AK2RsYoXtv
8YjUi3jPN6Suus4F22DTi7WXBlCiBiPL13Y7mD55D6uDdG3QHSZmcnGCtAd7SCeaTvawUBS4EI9K
mNq2DoQbP408suYkyUSHOFFPx7FQ/WMEVX07d/aWHpFHImtk+oiSbB0cvQUoZ6NO+7AnLrDxsGng
U2JZplLUj8WO7sak3yVY3H6koMZ7JZON9K1TK7aQjYNJEJ8aTfzGsvLiMRMXo/lX47JDNdh4tS3j
03Ap61hlRmoizu06tA6SV1/W9pU8ynCa2+lbm+RThseZIKHGpRQwV9ha2tPcoW52rUgp0Mn8vTI+
qioj7TJh2cJDmtBgwCqkTTEPRG1Ow3H1AlHcP+rmYwxql7ps41jRhbdNJjZsNITT2Nst10JYBz1d
gPkMlRdM2YvhGfrx0Z65BjNmPSRt+kRR53koMIHhkr0Jht5t07gfZTP8xVomNnZRyB3LdA4xtgPW
nKqjGec4W2lR4kGUkaUc4Fc3aZIexAoJX6yF6ZEeiFNbkb0ZsS0FTNFbLQcrVxfqdXIFjjPmW8JP
13bsn8A6GXsjt29Gi5cVp4Kzba0ZVns06nuIgfTMG+/tlN/bAQei2Tgnr6gJSI9cxxqWjZx75O18
79QUUXow/yH6ZhpNjTYbpFHyfF667VK1IVe5gUdfZx1sos94atrd7FVPLSKNPRpmIHxkIVAs6Ozl
H1JK58E6USMCg4IEcrAk3NxoIKOYiILejWd7HyyhGAD/geh5bpiOeofchas1IdEv+XbVTnYz9VM5
QIUez6VXakf+HqsycZD7p7ZA4LB0ngsMitUBnF97kGP2GYtiOA9uc6J0ijeR5/9kyi0O3HmuQ9k1
YenAgR+dhttfwTu9SMcbFdZER+gk2PuNkwR4tyS0CYRtMAfJvqk4CBG1rhWeHrALzTEefVKGnb4H
ASje/O53r5c+Ay/QVZP2oRS3qGfTF5sN8Ve6ZrJQ5tMJOA4bNdfCW2IAO+I71LnLMKPgWfs7Lb8z
8aPqb9cjM/eL+1Je3pz4XXYV8SmPLVylGs5PMGKjr+VhXry7efrVRrROmCbNpHbKEDsZmX3R9eW9
ilEMUlOQymx/qyqmS6D0YTnbsDv5pL3WPp9vaPrBTFUQ21rR8K3zka7JTuzIse/b0riAx85Dj/kh
BiPswhatnC9XDT+NXX1OdtfT0ml8OIuZ7f+AJHjo57m9Zr6JelHhcpm0xGErNjSHtm1+iXQZ737+
0azmUzqa2Ak1xXQw0iqcaTw9uYRUskaQ5HKMb6wY8N1EbNKJWYRc6z9xZrX7dHQZPKbfXseluXTM
8VJkGOtcQbByaBoTVAXHbonb/TqlTdDPxjvvOE6sFuc2qexf2RdrHmxN9j02xA+rO34O1ufcZ+8x
UWT63CbqFZIjHDoqKwnC4aFyjws/kbiuiwuPE5L6i/fcy4Q6yvS5MsrsAoyDNr02wZQeazcW6Ggv
cfxqFDklq9aCgJL8lQmZFhtueD0pyT9wwOWgLXroyu5P3aonM7dulV2/ZgMVGoWaqfCTflCawjuZ
snwqKmiFK4GZ/fgLV2NzXxM7OXsWTzZ8RAfVr819ZnPle7xrXJB3PRTNEjIC6RNSxLqW7xU0kHNH
a4vGxjemb/UnRm4EpHeZpkiebEIKi4fXU8iHobFXUKgTmBrGLa5ch3EAOuNbuAHhbWJf0p57fXzt
6Ku6GpZTEUjquOrpdXsdUpgQEOaAJS+S+dP+LoplQMzBcwf3TCNJxWPN16anbuLHMRoWfMGKz50q
ycZkycw2MBhLj6wQO9aXSTlPneEDsmKlYSQYjDRWKWd+KCTpWvtZY3NxdgWlf9WM3waPlTWBPAC4
S7Nrip3fksQ3cvcewTxBVGM0a52iuLmFfi3cl8q14quiOe7ULdVDrnn6sU7q69Bz2c7IC/qBoEkt
guYPMpVqTWKC1SfLlouoy9Ai8FXzp/ZWfhnTN/xOm57Rwqm6fZE0YZSU5Ppnkl3xET/O0iAaTVdX
UdpWRYGbfRTFW8mWWBpPkNwuaAaQ1p8slsIOOpyGaVQSoufGhQWJDqiEKwvBDbIyCJVvefyt6LLS
uPCuJ2GDEitQ6UvgNu1DVP0anc+aWAYoyRseDpLd+fPEizqYzmGBEL/lID0siXHShPZamuMKRdhK
DcZ7r6PbtRHrUTFHSF7I5WRSNDJ3Nxcj0IB7XWfRxSeN3PVs7zijf1We89eHpIKfMFz/n0BbH1kr
qvoO84kATLfrdUklp7q5VDKR17ZDSkJQMf505Js8IGceoY1x+O3je6fWD/WDNT0Sjulgn/b0u5rg
liiIjp39UpuPToWDOufxacU/8/xXmg4/ib+q+ixYaGWU2zcxDXHDRzZcdFhDOvUOaZxjaub4BgO7
MbTPqo4+IEzCswXMYMWsyt4E62nsFMFEl2h9HAeSp4D/NQp9Eg8XCRZ5l/VNDiYvHxNIOToPUvpq
KG3QbEh8LtqEFyT5j9GfmjJQiUdQOH2c5vhtJtJJzUgw19lNwauoIaZ1bCRjINu8pAw57buFXNlV
HxWUvw7xRYrqqCu1dRvouxWKjfzbYxPvu4NhDG9zwnucXnCq25RwTkhKe3s23pDj1m4g5BN0HpL2
+6E3djQh7h0X4mmsb2s5vSRG/i5wJbNQK2f2LVTKCT67ZAaW6HHW72YFmd48JLHZQa2hu3gVotVq
th7vHcseS/1qUTISoniNCclSMgBGZ9OaQy4gPNEKdoACWPctMnjtGADEqwM9GEXnlBtN2N7n6s7e
/tFsbjneWx+9spFnf3gxsbuKjp9qfajMX/bYbMbqw5P30s2CHgR/gdsMomLYO08jLlSd2wgJww0w
qtBuxmBJr6bjPeZIGgwRG5+lo2ZFO11UQd2z0JULBrn6KPIfYg9sMqlZsb/scY2CIwi7Om5ovgW2
hN1poLNGE0BJtviRWPzDgR2NW14120EUF4dgA1iaTZq9In2sEayNwDbhlAAiur+rVOCw4Y5thQlz
eOUCjBLJywHkuLUPjp+fiWsxZEoiu9exfkqH5KdnIOGLXsaehLOWn/OqOuM5SYxfZE03OUqGF9Ti
iSFuJIGY41BKGpw3SXdvTIZH4otA2K1nxZn4Qiv5iy7z9tZUNEkuWHgplzOuDe+R3hT+URFI2+WK
yqhS+u2x6If5zgJs4OfeAfyCN5U5Y3qzcj89SqgQy/CN796wP6P4awEWti4Jlr7ZWrSzwZ7o6W7K
Gjq5QOkKKkZabhJyxB7Nxpt/7iSTMFn0CzcmFAVb2FirrU8Q0ehbev5B7zJ5zJg7th1jPNQ6jLdW
4t01P2bNvuA1cuopaFarY+HDY+AN4+j9X3fBbssCfR9LxvElAdEpISBQ9E3pKW/xOj6r12IafucF
fdHtl0mBrvC9XWnKn57QvhfxXqG2J+ZgMl6rVpzTksaDPjO8XTFG4PgTg0OGA8KkXKcR8z6b8q+1
HmIxAViOyxwkmcVuVn4U0RDS4b7J8upI+PU4Gj3MxrXxBZhqCYs0zR7NpGcPg0e+ei3evcV+ameo
vr0YLn7VIfh1ORMKSGFAsScNsYJYB5Av/hxGptINFTUTcQrvFMFkg9v/jppHBay5ndgLOaYeYm8/
ppP7PrkxfoNUQzM2rlp5brn2jnqCvdz6blqSvf68cXPBW2k6E9/c98l86n175zTjt2JRPGWArL3y
UbXTHwoSfPnWtPmbUyr6FNaKHmwIFIpsuRmUyfeADXTTpzYwiJRR03I2cetOQdK/Tp4X2nV8wIfB
Ftmm/mkisjiIC8o7wSpz1Yd8cEzT6n/ihgf6iK7YwvX2cWLseFlX5s++a957DL3uPB0bba1igXaf
+TfB8GA331aHaWN2vyQ4ss20UqT7kRtcQvtEWf3qygzTGBklT9xUnN1p3d2Xcgbu0IOicWDPJGb3
Sth5v9i8tfigW/Tw6Bk5kfKrTusvY3G+9XUeHV2WSR0wmokYHei5fRLpH9Birb0LObiMCap42sXm
DDb96OwmfCJk1F/6dBBX7BPo3h3wi6aw3ivNe5ZSXCUx+/MK/rFr4Hr57IcLPUApRZ+20HgpYdnL
VLyXbavORZI4W/C+c87+c2TgHsx4rytCGLrIP+wYaJhjPJRFId6qhu1P8mL4mnMaCu6LRo+IlCyI
dLRb8doziGlD5kE0UwwDxNKXAddUweZgTzthkFDV2Y/Vk+qPpXFkB7m19ZBEIHA2fG3+fWIDCDrs
JdMVf4ajnizNfDMjIznJMe0uFB1daWGSQUbLKQBlPiZtBgDH8i3ypaRLqGrKU56qBTXVGO+s/MFJ
cQhR/jwKF+XfopVbkUzEEsbfLcd3m24XqBMhrWp3c/42AUMpS9tPhUu2Od2OLvwytxz3VLRspsk5
yvZDfaRQLNprMTZ4PSkf2dr1su0dpDW6FcrD3JwgS+yN7h1qohp8AOYSz1sWetiM4h7gOY1/7T7m
Ala4+t6wkZmzJRzEL4/uioiEqf85czVsLWfEoj49mXSEcI/frbY2VUAM9aZwZPXLEAkyls6wsnEu
fZmhSsTzYS4MH4GeSIUD+cyPyh9oziyMQcVgBylOsoHMsFBCgk3lSzPctwLWe0RQtp25t2odhvAJ
GTyw5vhWwXp2qukUK6A6FWHWJb9qwE3YzhXeqZ7zH4EhMzClznvFSW+VVL+aaHa2wHlvDp+3U+tS
rGJIewrKyQc8Ky5jkd0813ycW/uJeMdLHC1hOxtXFwdQVS8I3116NiLphD1QbQ+cX5n9MrhpSz90
LNDFBHaI0dker6+OJ91ZXtZu6oSkSFI8QiI+YMC6rsNndMvr71pdIJmJugPms3qzOHs+ioS7PvHD
OSU84HX7ceqeanQyDnNSDc9WB3Sw4yyFm8JVT43+IUpfqPMK7Oqv3kcPNPgGwtF2uWNsy5zhVcy7
mt0dFcYBGY1tZy3hTBGSI591rb366HudsF4bTtUZWmzOtoymJK5e9c+UqjWITsvmYz2ctcF7gL7P
jMhuvv9uEBK4ZewXAFpiQezsaLQaP9bQchE/OdpjNUyhbnd7nQxrPLDmoGcpY/pqBoS8V596k1S2
VPsAnEsdNMEWhNLMwfm2LLSWdWFLOqbF/knA0WieVyxDC8Woxrumx6Tr+dK4Dy0tDl1zXZTDWViS
w8yloiWjzRWfPwMmPl6vAZYjPwFSmCxRQLZ0i7ZzFtYQ7SEfJemeNED83Lb4DJi93P2Ut1gtg7YP
JC5AHFRjisLBFb0FtisvEmFpvXzhW66Ueaj0/JituRh/3CZZ+9gMxUPsXNn0oz+oi6e3B9zPQbI4
YYxc2RTHwXKfB1dSq10GDnJtxOqtTOjzG7SwgzQ+owtiD5XOnzIVe/Jy265CMVt0wkVlvpxQzgIC
7leUIgeVmsspqSsyYoRjtOmkpgfux2ypqotFRpObF9wQygu9hWiLihgt+Sub5qnwp30/Nrc6EziD
M+IMPBkX8ZzTY4RnY5A7b8RRWa30oKR9oNaP+yVZZvwRNEkpidfBv2YLQOqa/IZ97Zw5UFXOp7sA
/AGYqVqXEWbo1mOwrqVzImyev88pRm6hjKmxu8qWbDGqz9rJlsh10ZmcxJIHY9Qe/MymjxOq1M6I
+3PWYyRvonGjm624aDX+XQ7O30XOlaHJboXtvQDgvzBpkEbxH1w/UKC1FyM+cVOdiMloeOOKyH31
EdIAJsFMoF6izL9KA9OR6dWPOXE83cNJIikZUWLn47HM2ghzU7xrKgoZhwMfLk+IS95yu6jGv2mL
v7pm5I3cTL/A9uXj1nIPqKjipJcvUIocle61fywj+Wny5UnzeactAqm6cVE8Dnbm/SUoeQHm5e8T
LXmLyLniS/4gkfdAN93HIuojdoXtlLEw0DL7NE6qPVhK3pNBvzQJEjtv/Xhw0HwG9aTw3gRx+kp0
k7YcV+OBPHtytwiSjmRADR2rbWqRxhoMAJ0N3U3DguQJNdDzc/pE8Eb65bs//BdH59UjKZJG0V+E
hDev6Uifla7cCyrXBB4Cz6+fw0g7u6vRdE9XJkR85t5zP730nWyGhYbWJPEY/vVHTusNDBq7crnX
icQC0QtD8j2JnXXFelIXr3OeFgJgAgzWs5TMUV5a9g5bXejlOlXRmY6thg4bbA6T5qCWhyysH6nL
XEGVxCQ21Y/Rttm+7ikbcfbFdQ0+dkbDxtN3Z5qceJHZMlKMr8nk/orm1ZpKDI22cpsSouXJylGP
VYFqUmNzNf4i6ueJN+feTVlJh7xyQ3/Va4bQbvkJq2mdmBWRrN4CUBqbuJ/BMZ5plvjWlLJx6ONN
4f31mM849RsKTJIiQpgNNbzThFUdRuIOuSyLvhPD9RDNjLfVkmQ9aoOv9c490cLvsSNWK1C3aMT2
MFlXMqarTIfUx6afjtGFPRALYbSObh8egZ8628gbXxQ1wTkUtOFB0XhSm2SPAZjWXuUIG/qt25m+
UwdP6RHdlPA7mznt2ewFJVKX2Yud+QVHBGtN/cF5+x4OED/cgIgdPIwvZUNXZqHCahpzSUnEpEQc
+qI55PkEE6SXV4FPexGX5YkWY6dnxa2C+woNZFjUdbbNXPVDMUzaZu0HCmtOxIRAvi7f1Xl+ksI9
tbQD8PhLlBiA0ACY9bsw1O9DO26FOvpGVW6iAkXApKNxig7InhcAclYOGhv0Uh/5WL31FQFJTati
/h5X1lA+2okEHYNnzNB+ZNP4TmM8+YvKp803WmiTZsSeZ7JJUwK0pOmIWwq7QHvpVN9636UHJLG3
xlPXbkl5Qxijq0afYDvIKoytBzXz0Z5+XZtcZleRFzw9Fy0JzAWWmxe+VuI01VU0dccJAegmYYOh
YuqekUNcxwY7pX4o1Aub84Nm5SQQeEcpyg/AS/j6LIh9OTWESBmOkhyQaRhR7EtZdtAzibEy5/Er
9ImAzRyxMxTLu56EBOyt3nUCfcVU5hYl3+gBAE8NjC3D5Hcx6Y2fm2g/oRkwE9pQZZ+RBaPUqo1D
6HK6WhbQXo/tm90Z1ywjJMry/Dj6TWAUF6wKpPo6IpPuGsiGOl8/DaMqVjrhDq1Z3gtV3qayPw+s
mE0a58YLbnYFfsqmxKM/CttNY8JbjIZt7AF00ohfrYKbQTE2lHgS5Tciqa57zFjHye43UgePiQ8f
Vc+Xi4G7oVE0RtKjJz5A681gApQxEDaUkN1+vSi7k9Ee4xLTHhH3HpkejhEdCkXsa5MXkl+yR0MB
U9QMnl2onj2YXjXXR6IfXYcl3jJRQF6QoFiz1C2NgcgFnPKjcWwIauNHbyA9MNJjohTLdZuVvotx
uHSiS6gzEiyk3wDik73xKA0XSYF5EyjJxaDuIvGMUcQtOQ0aZx9RiZQqigQMT0H+r2qsMxGqy3Eu
I23zljOvWmtTsYtGEovMHWAsxx9za2tq31OAM2XsmcVZbk3ADaeV2IShaW9ywzpAs350KWEWhZhD
ODrxIMAB+UAQXQnBHlfxVXWTj5i6oBPFXe+bd62Njpo9FZuyndLrNGKDGILbyLolVKetG3iPMCHt
gIQuZLLUIaa6Du/BDPyPWb2Yo3wdWfmuYxb7gXKQ7Y/aKJuge0dwROAIgx2h+AXpJvbQA+7kfrLr
VRbVfitxNaH+nabmy5mjRFA27nmrGfJE5ZZe+kCY4AYpGsgNNzzkTPQcEhJG0woOAfzzBRkm715j
b/DOw5+xfGYKjd/wj3SSuqMxNr3XDu9p6+7bJpgfRhDr9UDdBqN6V6p2wJA22yvDc5pHpvWPh8HF
oxOy3fgYpEj/yuSQZdatImOiq9ObeBVddPCCt3Io6M9wuISYrYaZj2mOPS11r/80HvIFrFlgpWGf
5UQUtnhDS53/T3WNu2qy2kUf8EjhiCYfHih2uS6H8USZWSGsRozG3s/Z5K2igGdxnzwjSfBialQH
JZqtdWA16xZU5MLRGU01DgNJS981muYTTj0bKADDdBNxmk51d8Q8C0vQQ3a/PQ5Ykyw5Uvq8PakU
PMCtsceE/D264U9WEvWkQIx1uPEancxBDfkJ+lkqR5R/YEYyY1h7qSAYlIWSa5kMbzncXefIZ8J+
I7gTuGctDYLOTRQ8SSLeNR2F4mSTugyqCjXEBBqgTOiWE1LGUptsillTZi+R2xIIIrdZFs3DEB5D
6B8GBGZDJ5DJ0cJh7ZTVSseasjYMuj2Wv7inm73V2MPNLaunEw3PxEUeEU1rKgTQlRlq+KAmeFQt
ieMIzOkRIKx07GGlD0gAbcP65vx4dpDBrPKThOV1F9B8ZfUmioUfiX45O6gL7IEky6bfyOBnft/G
cJW10wINdQmdDpuaTbQrfiVKQLZtH3lRXCwLRjBBkWEseE1GinHvkrNqBu3PoIw6pTT1o2F7t0AJ
oSv5Q3gX+yxL9l7qnWoTgxPlZKA319FiegbUjjHMs7T185g8agcyTsOwX+LpLij1OyIH+nIzNupB
Yw08VtGz7J/SWZX2sAtd66W3wo2Xx6+uMkKGAJZrKvVRptqlHbRLQq1RG8Jh9Vtt3JnvGn5b5kmQ
sWI1f7ELkD+V/qD/Jdl+RMFtE6M5mKxO+qeCTECyduoJarbhEdGmV3T2NiRfoKEMhRhP5VMEPT8x
l7Eq0eYaDwiqz0QHM5t5R53djFoACzWRcbcVawpBbJobt+dq1DAhBa9herN7Z+ckyYoLcyfq4LeI
kTo42spo2Y8ZyZ3uH0FO/MAGDVUpSoel0uGSYOfiZ5VE66SetNr2E4xC3RXE676Kh78FceJFgQ5s
tN8UxkO9LKCNIG1IOusIL6ZnWlZcatXYBvRhhVU8VLPcj3W0HSrrbmsJpHyUmqCbcEhUE4Jue9s0
DnML/N+zkiZbpRjoTM04zAEOxA19u4aB6jlFTCSgJzUaONAsWxF5fNTc+BBmGtap7DXsGVDAcDmz
339jZnq0a+sLIvGsgV83jXoL1GzdC0aodNwcOFtykNil2jViFaJdMiY+3KlrpOEbWt1TGEiuThRl
hvMjNNrLIU/uahD4qT7scBdtoSBotfLlRDxNHEw88JfeqfetzYi3Z1XBq6Hlr0wZefDTR1SFlP2B
WBu0EyGd2WB1G41wp7T/SMX4nUhfnzROuUr8MLjZ1UZ6ovz/JwN6gIgwCWz9DGWb4FFrxbWrmqVS
1v86oncNy7iNiAcRZfilrjwg9KzaWPHn7C94gAeCypeZ9kGkHp4aFzKdlu/DGPKsG3bbQHc1RJrV
N4pgwi5Z4UiWexZ2ACWi2VU648bkRJflPozST/DJRGUn1X1IuMyAvyySPv8L2+Q9KNM/4uj/uYP8
MANsi3XtYMHgKK/Dc9yzBqlvJJyzV2LBFWE7zEKm99g9dDxJ8+g807ZtxGBWFG8ZlL8o7dHP8j0x
7s1yiyaAaIE+VrYKfoJVnGu+YkcIHAj4ZqKsnZuwhytvfxuskupuFlIX6l1BfyEbBi9JcDQd/Z1A
pJqx+PgRJcVxZAFI7BkofdRwSCJZb/tGTPYhpN+I6waT97LnhokZvAG4GLy3rBj2ePzw6NL8phMt
bAKqULdQu2kOzjFdXJ1ZwIv2UvIZGwbqE2QtYejwXjGUZp1QYGEcHykVnyh2ATFGRfirO2yHi73k
dOijr4kRKMwbsUGTFy7UDOJy4TagxaTx69iM1S01g1xw97RSXfUGtCpiXrB6L+CkrND9H5kLvDIW
XEpSrbBtYR0jCdxlPKiQ2qXWXxVYiMbbZqGyUNJ0qzI0KUrl6vTkZruxX6XEKtXxLXGyJ/qNe1Ko
BKJgM+tJ7yMUqWDXJs2GVtoBW15UN5kkV00Z30h4kGWzbOvqFA/xLnJ+cFfuSzO4laZI1/q8Uiq4
rUPljgJmOxVYyIToBBGtFTJ56TuB/lEJnikmDFuQwmskhATaZtahcrZWUf7gWjnjW0OtkpZf9FV3
qJ7Fugnnotqql9ILfqQMtzHI46n9rZEXrPrc0yismVyR1NzaOLu83HvWUXcaRbocuiIDTAtGs4mC
X7TES62dPpwk+KoZq1klqx9U41e8yRKvNzCrtWkg4TKME6amYzS6fw5jC3yaCGftwDs4+WtONVwR
tVFZHogVt3qt7ZgJXrzU3WepfrTCmDdhvJw8yqFTbGtPf9dtC606q1slydeNNVxFb10wyO8TDxnM
SKQB6KaFycQibARwtvEZtIAudNbImF4ms3gOFrK6WocCSzoJEtwK+84UsJga3IdO5YNP3XmvWFwA
wEQAGv1/mv42408OjBaG0YtH3ACX1ZceOxuRpBShxdmN8jVCiR1kcpyG4ZbSDa4aYrX2icPsVjrM
a4x03Lu1+wyNZ6DEF29ySHdB59ywJbSKb7dkB4b8M9MB8LCQdZjlUEn3m6E6eml/NzWx6tzCzzNu
x7RfZbJatqz2cj14RPQaWIvvbtycsLRjUal5DQy0WMTZh40SoOFC7qupx8kIzzJF66hEFEeYrY1r
pFOamSUT4QCmYbEMTeT5+Gu3mZLsczs2sJUkn6ryGTG6riwSm40vdnuHoSfXlrkH4qN9SjYm6XJ8
4PJqS2RPhnOZyzBTXVQoxT1nemOwTJ7wGuXTDi7KCzbOPazVQ6m6DH8tkjs42SInPxNLOBCNVn9H
sM2F4bBLqR8R32ytCpIE7bvj8jtEIyEkryQn4IdYqqwRJanZUgGfqvNDW+Yv+0tweKW7wUqL9TAD
XtKNbDdSBNmwOKUJSchdYDPBGNcgLU+JpQRriX/Po8uPCS3Q7orxDmv/UXCyIYpZVfhfUqIJMTrF
OzHN41EEegTHjKn70QBUD/P2hjt8U0DvDGIlXOVhvIpSLD/NOc1TJjIxi0n2PpMHzQ1o8FVty3WP
n1sweQ4I5ICYlYBiTAHXPIhD32k6vX0xPrB2fjc5HGSEu/EQXSatuRbhnjuXSX32ojLtsU34PjX8
F8tF/uMxRUcXp8Gn8MSuwpAYIDWwpppnCZQwNmB1k2TZq4V5hNUfo57gpOBPqKMMTzQebbPe94V3
67RrPb2Ylr6dQwJ0dFTKqfWAmSlLCcBbApJ1ZkQBQEcTcYUhEfimGJZHl8Wo9G2twlDsfEnd4MK4
RqV8Wob63k5MiO2g9avyQ6TBYpzFqWbZMv/sjxAE9tQnxDDEzjYe0ofBGLu1u1sb7LXixcr0m9UY
a1d1VnKWiAss9ToaSp3vmSzCNmvPg0T1YJ0Vw94BIPlhzbzJGkbslOQmwhHiaPdR1b1UJe3QBOEC
cHwu/0BD42VgkZGV4zE2yo0571DT8JGb6Op7/Nw05cagw/xmvLYcVYdkUfFVqPZCoUczHPVIhXCP
MEXO8KQvlwJaY9FZR+8ThNu2ZN7bDqE3C4m/EEBqdGrLvunOyHIFsYQ2E1N8FqOyqkQO60hsNJUl
xNit85TUdpxldS2Oo2qrvmmBDC/NiJFZeJta55QO2aMYlQ8yzZeK7A9BoD0UWlAvPEcwbRNg8+n4
00rzvbasI2CzVRwCBCJ98LXSOfZTCUaDnQjuPp9rZ9u6COPt4JATLlQ+S66KNiDTpgMQ6LDk1o1D
B8K+qRVMjOYW4rYLNsN7Gk3EaVuRrgzHqjDW2D22trKJVOQgwRhvQoQqegYjq/pXmcqbZ7CFSShU
gIra5rRtab2SMJtpqhBNpDxxWC8bojMw4DQwy8ZnA0nZzMaXkvmFwksj9OySciEWtbJLvJL9WbcT
QccQmvqp7MHiu4F91RlmBiGzVXh3HGfAqlFtKM3anEMbFSz55kCEQwgKf8CxQq+Li10btj3ChjSy
r313zTXMHkntMSBNj6Qe7o0ai/wc7oIc1ux5DPPxRSjpF27Kd/JqAQfMPxqzojGfeKJs89NuM+zM
flaMsOvYuDWAWY3XsdSYh4f5qVaUo0vCtWZ8yPDdIxSqiLMvT58pEO1BQmeOVN2vGFFzRk3fua1d
xtrbDBlc5nBZaMeA5PSMcWcKQjyy3V+p4onF0SYWuatdo3pCSF8zVpHtNiBJS3dSsXRiDWdB5Z15
RMi6KGp29MYnHFljGZSoCGKxDVTIbXlisSi2onXCWj280zVsZEqdWwQvkJC3gtY1CTUKRs29pyLz
AewFKHm51mdcCMHutArMkt6yIb42BPnaqI0wN5S40/X6h5nnjAsGl8Pmdz6AobGeXMVvGQArwjyV
Q7PHfrJHX7p1kQ+ItOURrl4C9w/dGgNwMn1B0hsM70aKK7dZRC0GNnPFerVhlzeq/7QRVX8QHWVj
8jJ49P3hVtXeXHPAaIN+KvYZ5aIsQhyVLgPBNj6ZBZnhy8CYvUI6sCCv7zWuSOGuDpZ8FfzWU3GM
058seDpEjYvyL6JkypPirlL3RnP+T5b78ZBd1OklHut90olfRTGWCE6Xfdu8h6bc4/DURxQxeW6B
JVGpSWaBYa6+ggR5SQrvnCQxWbfl063GZcUlqCgzJFD/DEe55p0/tka5tqOPsN4P+DwDrrgc5zA2
HBFby2x8OJRKGfMjpvidz5qEErBbjDg4ukJZ3iL87ujclgw41l6X7G0Ae1FmHpqQlUJd70dU00TC
7CJ4ZyXrriD4SzMIrm2GXIpIU/gZ4c2R/wZGp1YaLWLM9Ja2J8Xr6nrdiyrXul1sw+AfCdpcs7DD
Ju7eemMAcI2/HC9ZS14rZi6hDXacN0mPNX6/u9l9KKOyDGW9rThhZPFppCrgn5smqidEcOpN66Ik
GPmSbVwT1wRiUtNS3lDT8mjuvJ2BmmQhiISuIxUpc7bOVc4uM3X6l3jAK22IbN85+Ypt1rEGiu3k
3UqVWNiiMx8iIAc0R94nC4xzNryqySnkSlZmSzBvhp3cFQRCvdnTmTDBgigZW90aRME27h/zKQhc
D8jkuDTIWnPSXy54TBQDNLX+X1bkvsKqtyPrSR/QB5SroUgeRvnixDha/0XsO3VjQK1yKPJbQ+sd
q9+uvQV1sBTmvbFyf87N5m6kgCHq/hojMOd2AnFarGzx7E3mQuOFmltnEysreHncQshidcl4AC2j
IbNkk/Yq1ZHA90Kg2jfiwo+wtfknpevrkX3nvlk219pifx7F+ObTcnyL8+6fbuskdZtNuwJ/ki5d
phZbI/2h8yJ1BQJhxjQCXSt7tqb51LvYevaDe4Za4HdY2o5Oj3mwb9WzKIpr1Rb2wgurd9nNgW9W
5r521firVeGAzBiXWBB5xC7iZQNts3OtS9JawR1HRosPg89WV82PKZ3+YkAzQmn4DQmKCWpcSkwe
hS9zHVmHkxdkbECIduHUqaOV7nJds3cDAzIGKt2PiskcNqdab53iBk+ofMnSB9v2ccOKEsFsJVXi
0uoMtsLT4nAdg++eAxBWdOH8MJsupk/ZbZXqT09IkN31yK8z76kjUhxz2uEgI9MG4izji8BzFrn6
L9Xf2zHfMC2TKg1TvrS9nbTBhiUbqCNW+TVx8JOMCCAVXj1rdpLX1g4onWmDgIqVMHDSRWEibORj
D+1DaL3jTnTjrR5D4qguNnyJgCFkce15mhVD2Y2Wu9F0Hzwl7/0+LZfAUJaiQeNUbDDzUihdZc90
8FLT2JOGjabYjFndYwu3uydKUQ+dK4gJPZmWExoJ85lj8LODncwBK4WQIHpQw+jP5V+MPASupY95
dGmBsVXaTQX2IEEzl5Wssmqe278hD1czw8zemoK3XN1IhxoXHZxEmT13tCHHMTKfwSO8/aSLZ0NE
VhntS/HbyBelclcmsTzkWXX3hGkwnpI9I6PYQwRIqHPmBvzZHoE8VISlBGwOi4lYPAOBgsoA5hD2
O5fzl4wn3Curvj7FmGxach+aczvB6P6rtIP31400vNqeN2WpxLuifM9KiQQrOuZs8sDNHhp5BvsI
6fuNPEJVJ0wq7jhFQRpVRFTybjGKpFeH3d+Rc/cGEG/hlB8SL6cyrrL06FF2m1G1aZjbW6JbMWxZ
zloCjU21Tatb2LeyYr6BdFwuVGb+enhOg3NbevCCP0AeAIVZhLzxbMrwGJIkvTRpWvQYTVC5bL7+
f3IYZgQ9zkK18LWMqsGdDeVbu+rQdhmLolkThbTC0Nkz6mwKjPPazbY+w9pd9abvwR6b01FtLiRv
utBIgMkrjaOt+aZ9Te4mbsRKItChAJniPYAjvAng6N1l3MY7hVua5aGH+RjzFTtyaDnsGNF1Wej8
9uqE2ZuPJsNaM+Lerie0BzD69VhfOXw0SfFuzwbe4OENDH8ZpIXUo3HxVugD8vPPlAwljzJRiqtw
jrlaH52aHq7irFSWovto+JRNLimdQ6rkf3u8eq1zDS2crgWkL2fRqvXORUyUl2/I/Ji5uM25Q0Ge
WV8oBQKVG6Ki6uwhiUW4fDF4JDAg+srXmehH/Say/YAqsjK3dcnCCQ0MTSLoNSx2RCRQ5PTPADCB
hKOWlb950e5SbAa99QnyGN3LtrfibTiRoQIpeEA4OhOxHVa1Bu1IzvZzfmDMlWszKiZ/kxUTttpl
ZH05fGoliX7l+KVKfqjpRsDOApyBrAmMNJ8dd/IQ88x0/5BpojRBgsuSiT0QJNw1CZm81Git2VTq
rFGNNgHHAgJxBFHU7J0O5CJ7/GlAWDVHd41r16K95iSJeIfnLLuUBfNIlYapSGcoLYgu8FC3ecWj
EPlDavNzja3UyilCtERddjnyP7Y1vNeERZiJ8sgFSCEyRViwu4Lhld5+N4oNEGScXnqdgWGxmphf
lix3yraA8X634HmxjthQ3kWSdMwSH0oVgKjHr7QkL5JAgRirTg7Jt/DkPIlk4BoIJAbE2LabmAAO
RkOZ4VdxgiWKH5QtwUpJd30eKX4Vhi9mlBP0SGTRwMhHhHm+Ro/dv8GyxPBZ/xRpSd2uVOWqSKzo
HLXqa3APSqNltRGrryEo9ABJ/6OlzTpYTnc3UCP3IAdnmEpsM7m02fCimkUcYMmegvUtsQSKYHj0
FtEm2JQy9NzdpAD2O2rxJe9MRPmOb/DFtuzg6PkYFZXL0R3WUKt2EwsrDhOkkN1BQGju3luMjIF+
NopfnHGL8NQGryjR9yqZQs5U7wKmOAbaMK66NXko00LDNqhaZCRpkEEyRyTH//+LTALU6x2BXjRw
Gltyz8B/rBbmv6To61VuoxAOVSkgG2rfZK11G6tihRQGEJCs3ruptkV1H8lfj5Zv0RJdOWh6d53L
M9YDfhx26tJoIGcoRARXuofgFTL9xqjEi2OQXNzGH4mNzqI0MTpivsPB3BprHuP2lHlMkBypmJ8x
9CoZUfGAKh+wg4TFVN4lYSOkX2SDg++pgcIbvozkW9mq5AVsmG46I24BsgZrErrQTY0cFnU2LvvC
AmzYYXec8jcxBe99Mx6JYfrteXxfFbybUORCf7TT6KCU5Uuc1OabU/XZ2lSSI3QkqgG/53mKEfjg
+QdLOCMtxylF6rxvW2xBKs6telUj1eId9ozxkJgkWRicyIU4NVNF6Nj4UlGXWybfXXvUVCBtKElV
4b4Dv9Gw6WiA1bN2GVjW/R+rrbM63WSenPIsdGE71t9jcICh/NmM3aZKg6sw2lNu8V1WKctG8lhz
1/tDudMsQsR2RWIcK0PYM+bkklrmK4bRa0VjN2df9KTjOdqpo2Jo+KHInmI1tDUHFNh4SVTIb0Lt
P4au/tatGKlsQ1aDujSxemCMRq7AJoaHNcz6g95Z91wYUB+/akSVVcXf7rj4mRTWyp8022tHjz3g
FW9wvOfcGNzTTI3/svhLKW6jeouacyCjTaraXGThTisfufPdojCsXEJ6CdQd8x0+ByO8V5gacPyt
LBGDF9SXdXbSEnYT6KjLECFWwZII2Wa5Ko0YErq1razkGnFJ45yCePFMmS2STrkqVfZTAkki8W29
T41XcMjPoneXTM+a6X/TvhrK32C+TSF/KABItvreIMeMc5Pm5pe3fF8IA7la7r8SBo2ZR/MlbhJL
Rs9slAQX9psu+M2Tak2gC5Mv0tvmuh/GfFgTBGDtKm67PB3PBsgEErKMjZlaX4T9GRo9KPdjiAJS
L1EwJIzH22TaDlyr/YipdgREBKGkGsmAVdW15JOdBsdvU7Zpk2p9RM5wI2J7q5korCor+CmafE+k
6yN2rEUlTyw0Vx3apdKNXwv9oFVMQekTzEhdDewcK8R81ccYfBDW99Gpw5IYn7sMINW4LPkw9zAl
WuXXDLd8apBKkUTLiUFoadq3jnacnSkM2utUQ4tLmmofYECV2msUy/fIgs9lgzLn8HbAYlTfHqHa
hZ5fqsLez2lwBSG3IQWrwtjLiHARuy0ThY6iwUHBHOIVRoTQOwzdu00Y7YTSXeIEDt5IcDLNhW6e
JcMsk7W8icPTDc92zdGl9es8wVXbrmSovAZsPvSq3BY0xAIAlWc7Kwc9RUvCDFDfXmV6h1I6hbHT
NuIUmVcrr0Hqs3NqVyn/UcSlJ4GKtWubKzwq4G5rPH11Q0GlfXQ45oq6x9vhWw3DJpCaNXe7bnWf
nTkuYx8+Bdd2t0o9B4IvfYke4BRGvpvb5mvCF5DTxlrEik/s103FWyrTiLSXgCE1Phk04bRJxBOu
sowoRVm/UuJ7iuAjOWR6zWPV7Of9e9yxhNQZPxPvjp86wJ1A1pKCD2b6Hcc/tpl7UoZQfpxUrdtG
//6J2OAXcxPUTxgEa5GxYC+MY4aUtDQPgligXONhQ0aSduVahL9W26/HnMkYVKoxfnL+L2o3PKEU
/2jie0/Mg42OEe/HS0DPYuvDS8t0wEzsK7zXtSKw3dkB5nTq9bFg6YoiQ3I7tkSBEAoNISz5mGVP
rartbCdYD0p5DOL8ZbZPJsG1hPBYcJb1UtshoSUPBNST+pUnI/9eRLqqMj2ijuNg6veg+d41SqFY
QTNBktikOptKz3xA91jK69sAYY47pSKoiXETY5KaBZchmNmph1klrYrvAYqA3dHbiOpKFvq6G4H1
GFfCiBZ4FHY+AMKVN7Q/Ipf3ubTSEJwsRdDuKvw3ntKiDi/DBar7lQ5Tf8D8n4MCUOKDjly3Cd0d
hwvPDcBEJeBXZ7z/3QGGzqnmHc5hETriUFiIgyCjFK65yyqL0ABvSY8pW/lPQTAYN/Uh0bV7TS8w
Bqcwv7iQXAc1/SLbZ2P+DuJi1s3OHdpznsM6xJ6EkbTnjYOrwc4GXZg+7lRLuZndcGDPdqwxV6R1
BVEMSn5ApmFeFbuctPBAvTiaeWlUGlqiBNXhbkzgEZLO/RM0sVH7ZlvExwHdgw31xEexjRBKNPVm
YDBq0UQSH6mYJbwnNpfKjZle7hkbIg+ecT9u+5/CcHwHAxA23J2te3zUybitbTCRjvxoPWYxE9ua
10HdevQkmVkdhFZA4zA2kbzGg/sWj8WpMsj2mb8fuMimu7fc14CyctCmizM7ZeadDq+Hy3yLrUmu
NBfF7Vep+y4K35z+0jHbdGwrbAGEIc7+4jZ/GDz8Cu4GXjxK9Z2qQklBGy1A3CRj7Y8qoTlOu9ca
BFqN8gNT9QWgEsENd2KNt7bZ77UWDQ0YTK2Ltp2JqLZLz01K9gPL6BDZKgaQU8Gc0i5Q5bL1jvl8
qo0hlIfoARBZnd+ZOnYwLEFmiixfLLX8JSPWt6rTDRYk9lzwEfYal4DxF/YzXmJh0JoTI75O4ice
QtdwtkkJoQiPCpEnD6/3/Lqrzl3540omWYJXn/aggrfTJTud+VdIRWs0t6asLsCb6UbbtV3DRNE0
YvnGS6bF7910kQzqC/1Pts9E2PBqklmHwJnq66LcN2YDN65EozAgkOW+Rs+rJoSG0pckZfgbEmYY
UPx42fQWTmdy2v4suQF87ROAgTrs1SIExNNRLH8j0AAgFLxMaQvuOfiNoZ8U8iMnioLtG/ZkgR6x
i/KLgE96YEK/bcJsGVfo7jc0Ujke6KgkqvUKXArAKusa1Ed6+OGMc8MVru1vJWn8FuiPiq4sTFvf
ivh3a5+UfJ8VNTrGRww+0MPxPuaMOjPmocyx2flxFZ2LiaEv8Rko9zKzYbj9mZCLamafeoGvNHbe
VAeS5vgug78611bEvYJJ23r1d1IOvtJSVKvqjSpVY9EEh3vn2G8ItTayYM3voSGm7C2SYyGvk5Pe
FPveu8qXYr+kQ7tmcb8IW4Qxzr8kt46Qaha4K8sq/MqRyeqEqaulAkwYsLbSL0YOqWD6p3PND+nO
GtDuAO2h3PYr898oFFynys7GRpfpT6N4AKyE4qeghA3AM7KsBe0Ikwh5IdFc9KFw11Cfx5t5Pd/h
BPGq82xzszVtbXCYCbTLKbF/7giPro6/hA6NPutvGZlCxEIDXxRbpdwEPSuFEXudfa//Dwp+MVLr
OvuWcsLdI3buA0gItag3VlRtwcDsh7+gBFTZAt6IhnoVYkloLblSkdEtWEbCnTE3SLl2Sagy6ut/
IkAZ9Hp4kaWXoCwEUQ5RcBt3J9XcySeLFoUCNN12V/6kwaQehvOAK9iJX6L0ihAc+alSWYxjXgNx
iTtAeL8qE7dww8y29x6iu0yT3yfHSOB3WzmfXjHDuD4KhHmtZO+pV2tFctLtoRfuDE4a+58+eBuT
/boJwb/mxnLHY6e1SxvEclfzbF1ENC/rPRLXGEgNyZHt5SjjQ2V6Pvi9g1szT7J+kQPw8KC/9ygP
FGPRSYaStX3lnaI+7nivhE+6AAOa+mJ2/3LC46RxMrnTYGLRexhPoYlu0csLkQpN+B9v57EcOZNl
6Vcpq3WhDHAADrhZVy8YWjFIJvUGxqSABhxaPH1/yKoZ625rm5nVLH6RgowggHD3e+8532lOHht6
NWKVHVbCuLaR3o6tceufkvZJAvFIxVNIX3PKvQNafS8/Alxck/DJ6OhUM3LMGYn6ty2vPtbjJ0l7
pNxEormW43sewjkzxvAWmURBOlqykl1N5uCQnHqy3Y5x1BEVDYiXbSHIoXdxavcQJEyZuzFRsPTT
1D6HvBO8tbTnIUNNBJjRGoIThI4jTXKxt4bikQgY42RW8Zqk5+I6h415j6puTTgu7A0sNxs3IU0m
TC1IiY5P+tVEf6SxoF2luMSJp3RK9CsrQxUb1aDgzjMXvz9srAnw1pOpd3heiWFeQDuN74njaIW3
nQQ/NkJpY8k2nHgdhdUHebkLazZ/FVYwbxv3AFsn3gaR/cNM6KPriuRSQKVmwQ+PJnj0cwBJkeGd
omoEuI664RgD+Dq14NOQiGt9iQw3J4eiyRjrUObaQR++uE4PCxAu0e7PLxsP5FisNMrQ5U/xBuyt
ZLIfyG7IH9G1S072DeKZz6REC2D1yXQF/SRPaeugiTYKPj8ufTB3iezw2uI+pU454Isx/WNkaXn1
U2hcbTsn28Ilwt6RpbWe29nflZOig1H47okW8FfsTNDjbP/dIqWB49Xgb0zbNE6NjoAgpmRhVaRR
wBezElgolft7qDPzRObRfFJl91MAytw2nZmvOytBPDoPuDyhNeH+UuO+1lQRk5ib/TAxyxtV7+6V
l9+pcap4URdGqR8G294Fyd9VKFKWGGG1QAH6Xleobmuy6ZpE43TQHp0X2zhmXWfwA/b3tT2W2yXm
OY4APEZLb870Qatm7SSOYVbIfQ2OLs0NefLwLkwd5OTSc085Mlkew+auKqISsy/+Sc6joGfi4Qp0
2D+2Nd3vgNAxzh7C2eVRGJ+j+NYdZutUds8x+dZnEIyii1HN2HaHv5U+mVUAxfasmL5DMCN966rq
UIR7aHK4gTAbbZ2ieVdxD16VDVcmYCOJNSfIWvJgm8wi7+bungvnnsx6NcZxfZh5gCF0QtQXRFoJ
VE/Ea7oX1/yBb8IiVuo3ZOYzChjjrgG+yREwZLLXCX8/e2xDmIMuM6ad2dimVvA5mhoOZkstGenh
GDkpS7ku32OkVpfaCPbWXOfkEJffw0RHHr02xKAgPjWjcZQeJj8ZVOUmEc6GwC17Q6lKW83I0l2b
90e2tl8tRBwjgJkRmYzOoj6NTgz2YN6AwVGkuhJNh5sz7ahriam56bpJoYrazUEX7FuDE3vpnKrZ
hW2P641JvIsKKw84GYwIIcD1jXO6yAqhGkR1dojwyGD7Gi74pDE8UTNUhzqjD+YUS7s9xmw4eBg7
MmViEWESP5UkE4J1Ms0pwPpyDZlV7j0Bfif33tqF4u0vFkZnrh5do1pQOr29G6vmybcxsyW5vkL3
Y2xQjoR6isI5u8VTAx370EuEmzQYd2VGe60Ev1iVYPRC55J15rTXLh0ku4cUCwee3AR2URIuWKty
h/mrASB1njkVyQ5IxAjglHDiLbM3cKhTNNK1s5CBxmjJK1SZgRPUL5IDzd6M3PWwGGHjjmIvzeMl
1IPRbTiWtyJbRDAsyWbURVtvEN21j5r+iqz406mT9DCD5ggLcclrOC55P8VYqVB5xWxZfnY38zDc
oNNSBI0i421iuIKq9D9dwYqeRtZSOYYclXLCdHIPWjXwIUayclkdsse6y5/BtjHZxDZfRe249cWA
/96LCO8whhcRJRJme2puVfeoY7O6taP420mdeGfiLUXVanjrpnMBsqU0KswSCEBHqv2EceUpxXyo
vGFeC6PEbRrLB2UwRLOXlkWrnuOmlhvhdF9V1jOP7k3CdPaIXwkMTi13bSIdK3L8+6DK4u1I6gdn
J8XHN++MjZkZXyQ20C4QeAmBVcQo6xGkNJMJEDaAyDbZ/qvoWuxCQMYPgcQbS6vvJjkaQLnONNLX
dccARxVADp1WPBHNhytDDeONa45fVmxDjIsLiZq7eJopwjIatVCNuFdFWO+M+WLllGuDRqoHpQkX
Nrk/dqew4WvopH+Y9kVXnXQ0fviNl2EapzypbeSr+WIOncvha+jC8sKsubwk1s8Yjv4xsEa507N3
Z41pevQkKFujS85GXdEHsuzNBDycxFlYvj0DOE7GuLi7aThAgzxNNL3OFWKEAHVI0Ji/IlrfB9Wm
q1pjcNeAem6c35iX/JvlGa+C4Ss1rE9CZI92CF7Yb6Q+zMyoU7RCYer+QvrhpvDJIw8zkDSmB0Rl
zr2q3qdQ7OnjOZg/Yb6FIzVbF1lERop6gxNrgPpIbna1mNfDka2py3eW3Upgd+aRe2ZulFlka58+
e1uVt4GuUK2zuWw8xufCpnaJ8o6YK3jM8YAsGOqZQyFQ98dIwr7IEa0RjK62YaZgwzsGjnLAMTbp
qeQkkKsbp8NNJMvj8pDfzi7YLoPGFqo00pX9B8Inw72Bos3TwP1LMim9zDijBn3zPU1rOVPELOrs
QiuyJ7n6Gis3O1VWwEByqioMC6R71CasBONFjs4xL0ofu5XHXhC25CjiXp6MbqOIrwU5l2uq2trH
INJB2fQEZXiJtkl5ZnvIFFrB9r3VnnNxSnJqGhRrgadvK590V9vnYMb+VK4ZQOX048NwkxnaOObE
wLtWj9M3Y+WMjcUuVgr4eIxy6rF9j9r2J3M9TtCFAxC4aPbmxMnCwIG0AbmeCnBkjWqOeYhK2wqb
eKOo950iiramLb916L0kJKPzx9GKNd/fBSaqtyy3cHEynsVF+pbV/nCaW/8BAR7B3j28UekrEOsu
n6Wul/gQUQCqit9vGV9OvmbzxMnoBK68qdIRXAU0DnwquOV9v6H+i6ovGkr3abYAlMbQ3Xc51rXU
0A7MBU/TU8ThGkEg/Zxgby2emjpHIhmlw13f6XYXpeKx0al7KYhUAHGDEBZetklLiBnjHbr8C2hr
+ykImbwOLgDkrnF+w6SyDmWDu3ycQ3WZFxn2QPHg9mKf6cA+uah0El7jrFGerBz+PnEtU0u4LfY7
kkmegRLm2wrmL4608GpWkB/ndObWaHi6ovltKuM1THqONRAAZVnV6CHoQ9bVuK1s/BtJiyiSvgWQ
acJpAz+GKkzN3PRu+8DU4WARiIWFSR2jBAA/UcDljnIf9Cyl47rK5QBfeTS2te8u8Db7bKIJYdLa
3kCNoZL2rAOXEPFZy5jci2MgkTnZ63IMcLymPD3AfjEAOleL/slNnBHbCkE231rZta6081T7MNlK
AKuxMJINaed4wc33yB3HN1r3BqkCa7NEflZnfXVsC9QSjhDPmAJ+VZwrr3MaH11qh1vA+LdMfvot
R7Un1PIkuQl0WGXDO9KTt50lagDA3EDzpNfw0ZLMAJpLb5fn2cVOMYFfXXmmtKhFMxtVtEE/Npjt
d5iqH+P00rejvLSJ1645u+tKfBVjbl4mRAyWy/jSNcML9Ijm5ELksmSF3LqUQD8oDOIxvng+w0c3
UyfLNN6CEdUeRSa9RGsxJKinqSP+ufQH6IpT+kCbh8amWZ09GcBFhBcHbF0ddWgeeoO6BR1ytxEZ
O9GQ2qdxbNMrk9ZVZQRvGrI6ehwCM2HpDdCpbnploHOOUcvBYVO9oltBKt6dNxOYic/ubRiC/Kym
e5IJQ3QkSzCKR6cppyBPUiXWTt3inDWi/hATQ+2AxELndcYsAMfH6t8wwB+mOLO3TTB9Fabh7rz4
1JNyVTgMclrfvulcyVi96H6IV8HTEtNl6tH5FhLJTtyh/OX2AYcQ1TmHuYp3MhhWqV2/D75DgVEG
gM7Cd+FPT+ydu4ZifC8n1q6hA4lmt4S/iSJGfN7CLxU9Bteh0calZmpYjOkI41oesnpixULUa/rz
L2mV6pqPYg0u0WMDnwDxtjTzAZYQ+cSpJSxqRExwrRD4ZgcCnRdtRPwWdaF99RA4aSMC2FZb0x7v
GoQSe3jWLaZMEt3RYi46R98aD34CeLfw82HPTOKrNWnoIxABU51Ycp1i7rGi5oEJINAkQJH7gRuN
Bz9vvPbsBd3Wjnm7hA9cnE50u7lzE9S+CglNoqe9kQcWtk6bgYnLmY9HmfA1094VXbLV4hdqdxQk
aGBv0ir9jVCcCb2hiJjL1bV2019RjUzVZpFZRzIjuqA2QQaOEACFV3c7X7lfwq1pY0YF/PZKnYs2
9sivS9fVKOb1KIl7oJt5Cu1Wv8Vo8lJV1RQBWYkIQN0Jw8ALfxgNTA5tCw5mJpNprFEU0oldx3ye
b/JiIVel0Q8pR7BLEkRKswezd8SNOwzNzkN3VxGvrsfm2QwN0n10dC8dtIlp6DBwRrPbeuPw4kPa
b+HADiHzFIogci2sZsRuFQ1btNLYe4v63HToV4RsDtYsf2oIbutwxtVOY4cg2r4ny5JSZRy7m1FV
YkM9g4wzOQ0TccluVN4ChQyALOyI/MbkgmcTp/sn2V0KlmF54jmxt38zySwg46cPN5H1YBneWWNP
xDq3rjEYrb25RRcTH526G7YDq+S+RF7WQGlfhxNCSngz7Rod8rjKZrX/W5klAqiOMxPdyim8URwq
tAfE2gVTLtHf4khtPdTSBNAWxoMOEKaUcUMAoXhUgRz2fwJM/78FvS4v9FnqCZB41Db//m//euH1
R/vxX36x4Slqp/vuuyZ1temy9t//ja8Mv8vlb/6//uFfvv98l/9Lhqvt/h8zXBm5ftT/NcB1+Yp/
BrgK/+/S9E2CWz3XEsL0/nd+q/i77VmW6xPf7rvQKQhp/Vd+q+P8XViedDyX1oAygeT+9S9NyRjy
H391rL8LR5hSCcfhsOVJ+df/9XPf/TOWlUv2z+vwr1//pejyOyIg2uYff+VdcVScwrI4fP3jrx7f
SZmm7SGjZfrheM4S7vr58cDazl+2/pYPuitE32EylPa7b6qHNLZxfrGk/KcL8j+8js1P9N9fyuYn
wq5qOq6wbSlJuP3PLwX9bdLdgMxsaiCIGZSvw1cYMzKzlIMKT3/G+fjTTQHSQ7P4RssDbggVXpK4
yMFVdWfUySVaYsgSLKkrK7dodcJrG2k3VEBO0aVPNdozQ2OKR0sv6dqUCQoN2hCMveSDbMhhlSxo
w8I1dPl8mIP12sQMxiB9t+zcxTEA4FT1kOdTD2ReUNsvY3kPaRRXI6XrDF5tHlHa5OYj0/p7OO0n
bVi3AIPbg0TawTvuvtigoBH4zlZnTPKxQj8S//hp9yNzDxtZWFGCdtOG3IcWajOREXKrER+IQD4R
gwB2oaOOz6T1OIhwwuozvBZVv4t9ZoYD6Y5pxUm/zcZDq+W+7NI3bbo/aeBeG4WjI4ETghTgtfCh
s7mMmFYQYmDIWcahSJxyJUvz3CXTQ9noDzvMjwNlkE+XHF81SiEZX+HaPcXeCTL4F3imfh5+k/xr
r2yT3h1+wsrBxzhlyBr/fMVYT8DerGfGlDk5GJQGsRW/R+W2nElKzRcWcVQv7vH6Ok81cwb7AwAU
yGFYjQZtEtPO3nUGkEBeUpRjuzhLWILL/JsaBOavYd61fb5Ma1FTyfF1yMtwB4nxrY44dJVZ+VlT
3Tb+RMACeLq+pivsyoo2iLJ3F0miFLhFDpPMu9fGAIjCSGW6aiKEfsliSNcWyjvrrCTorUihoMda
91JzKrBz117xeaQozhFtLu8B/c2wnqYnQ7WvdT7jWuwxRua5QsiGeVonR+q2AnoOsgNnHn6slmAP
gKBUngy7E8D6dUA1yJrHFKP9XdMIL3MSVGzE3pwP8dAybhQWNjcAjUxRWOfxCVlIRpip1Jm3U838
BJWdLdKgWG/nWxoXoN+WXjJtJywSHn3TxibkS+ljYs0UhpaC8BMfhUxBmNfpV2PCdrxz8EFQK6Zf
ooFA7bpPWtM7V4T6rlqvOHMXEUllXkd85nWaGmyJRUFqlTES3TjGBy9jKogZMG0kkczFa6/Cp4ab
I9rsYJjkNydkqkIaciNywJqUDB2/M3+82r+1qubH9ZpfDN9RsEykpSXYr5kpgepDkKuiETBCFB0d
flMgCUGQUP5yCEIuRz7YaeEfzYb/Ebm7dJgxfJPPHBQtshrsav3gsqU3Lg7iFDF6daXloleB2X6J
trktMDGNVRZfcvTBfULjMHFtLB9YCW5GElQbVMqq1Rn9W+Lo6aZVEYSMhEyzYcCe1m9tpu2F8lzo
Mj296Hr4qKdGI7fV08GYcNIMnn6yE5wpNFkzleao7IjxwHGDJhyfhcBpc2MPiANCukRT/IuR+CUE
KjWMoEjBQSPERwOpSGobrOa331tPJY1w9EX1rvOKe9a8+7LXB9sxT7b6zEVCoBiCaUTlwV6TLzu4
kjnFr8Ac3lUH+8tu5vthyKhDdwxd7m3lXCbN1E8r2CwGXekpDsbllGOytiWrWRM3EDq7ZozpZCFH
aiRFBB5iHPkL/r/EBOOG1S8AU+1WwLKVFVVsllAGSdghOl/EpFY9bpiwIz0uOmc9jPrUGgqfisKi
VGCylniA1yTeoUUBISSNm2qsCZdRotjPARpHZLuhWiXBu2t32ODdO/C3Mhrvu7F6cWB0a6d/KiJo
TJTWgzVtyOzamH13wtMEGmHTUIXU8whBOFwz4li7QYfpJviI8cLT1dhOwkERFry5kPVGQgYLU9LH
HX9XLW6RJHf3FmdUM1Gk5aqXKorXrbPHjMQabmAUxGMpchgerYuvxw2xKnrQAC3QiVLJdqc83oyD
ZL9g7WfpjU5dlJ8GCjScqt7WlgtXho5+5GVHI7F/FwaBYQipI2Xs7Q58A8kZl4n5VVOCiGiDY5Nj
7rGpOsMLXpwddd054EMJ3OqxrNtdiXRTmOgHynZcWiDm5+gb+KYs9ChNxWn9qzEmoN6V8eXPLIT4
sa6cr+GF3xrkOE7I0swGSigL9W1pUvEauv4SPVOfVL3n7Yc5ZadI490e9nY6XruC7oUoZjKoi48W
BATMpB7kkL6VQfHVQUs0DUW9qN9kLZ4rY3yohvpV9Az6tT6wDzm299a3yt7/2Uj0riE4SYsXcUsw
IRWSxwy7i18EaX03bkMPchYMmFE0eOKptknG5q1784HZ4SVOwa615bXQ1m/L6u6z6Gms7WOsumut
3DONr/tI1ccWF3krEKLn2V3kVJdGMI7JFnmQMI+Fk31F8GXnilQrGTzU862ostvGUcD+JQ4N95nc
3ruqW5eQJhsAdjFFqvyJB310ZdJCZVRvVtf+6sVt4lXbtHSgYZftq5jdUz/WADtdnCqk4gArmlEh
1q7eOcCStBd+VJ77IVyT206muQ1Ipa32U5RsG+lv60Y9UtheiBDFouAMz2jU6OqKj6YLz4nfvvsR
C8k4W8/F/FoW4t0Yi297tM5mPi67zypr6we3BoqSxNNrXjtEaJJV5xPz5yTpU9TIx3bYq9p6sLvm
jgbk4+Doe9+7Le3wEZP1bzgqLTocNLlpdu8VJkZV5xAU84mgaW5yYd2zXe6yxtmGjncWgf50C8YM
slS/LSq/L+Xk6FUNCXfL3ifJNjbm91aYFyko2TgCsm8mG5fyOvCnryiIziiRvgn6wxqDNy7wnXvB
IaifQn+NqJyGw+TsSgT9k+890fc2b+KmxD+AY1vn+6zo9+hsMLc9ltq8cVMG4+YIQiXUQDAtfJeh
8+EY+p4u7W4a+oJoBGKPjOIJdevbn+HcqIpTBjN7TIsjmtZTHDa0XqJrQ5ncmfIFT0IevvdkOdTc
vn4KfikvPMWNr1cYxFxTv9Iq2jE7fBvS7hzXDOQ4771iqqKtwXHEFrdl7O/liAIQh8BOssakajn1
1dhAAUj4NlzP4Qk510ZadPdtsn7SKn7nMUfVX5gvFj0GZiSQ6q1mWFsMO2mxZ9q/OMJ7s2YcuGLY
JxYib7M/DM68JOfylbW9CQc8k7Aqiq57AIN3gUOw6YmecxWzwj48OhO8FnvYJTo+K/grTOGSxXLv
LwSYdTKH7Co0/9i7H8TCaMg/nC44CGe8unYDPMHeMmw/Lh/PQrarAqVNNAKDQa3piYHtAN0Ww746
k085gt46DG77YnzzSB8atPEZRHTc6tK5cwa969D4L/8wwSeDezmOTJepojqX7s7Edt8Y7n3UTBcN
Z7dipa3H10nvBBcTCMmxSNWrNRarXth3A05vkHhbZtBACtO7zhk2ztivPCUeLQ9Ar4Howof515Rn
gsEOoekB5B7ujdNMr2K2Puep2yprM3q0scV0S9LrJoANgk4ks9/wS+4hy9wTG4QdAeYXWHD/3SGG
L1PTbW0LPGTlc6f58QOcTDbjfgKP4kbuTNu91iNfnSXnTLQrL6xvxZCjxss3TO/d1jwCyNvMePpq
gG4DfWsTMlqIhbVMiSKLNp2ajjULYCDUoTMvTTrsYhOpRL0gXvwbe8RWy3+FnK7DWJDlhBzTFdsU
ozLhI0xXzUtOg3Sa7EPil2e/xmfOm4N6w+UH7GcVK1jJ4Gry4/L7E+N90OIj7npQsHd+6Z5qu39e
7sKitTPSaKdoyOkKOR0oeLAfe8/5EnlEy9veLjDAoAwYhI27GlJbRLNnsKd94Hi3QSTpmsf3o5Hh
tgrQZXGK0A81DUhDonhmBBcee3RVsvKeM2MBb/jbipNJiMnY0no3uPVRES7mIx6s0Iz5Y0wsaLTH
htSRGbJgwyK6qHyXJmveye344ZGi+70DzA14muQ95HFRzHzYZxwOLJ/kawZxSv/2MF5UDiK7WhJQ
AkS7+ki3oRggKR3MOXhYYsG1XlAkpK6E/XVAr4FdYGVIta656IKnqyFzq3HIN2jjW5GiE4R8yk22
e2bwnDeX15wxqN4s91gN4aZvJEskBVgT0uUZeVxidd/APIsQpRaCOzjMu0bjhuaxsUds5729rjiF
/uE44pQk7tyY5YJuXGUFpujaYkMKDm3w5Y3lwbWjU4GXeaaY4BraQPL8u5avD+xymyKpIQOPpNFh
y1QS4wufw6UKLv3bYMqeI288qc7cRxFypWX6FWdb2qUwP2bq9PHcct6iNrx4obVOo5jmG4GUBuOl
0bl2Ql6EmtaW42yLLD5Yst44Aykt9ngy8EuMM+pojGBR6+5qU2xcA9VoPZ3NAIxftaVjDvRKcdps
LqViZ0Nolk3EefHBj9BOWzw5OWT6GVekGz8787yyxteW5GyrfSs8Phc3bNdrEXhYpuNT5xZ74iNX
RMPduQ5HbaiIHe31Fsvw8jx7BHibvEPVNcQ8hXu7jBkYqc1cI9nGHFuH2ykEiYHtRiDUEP10UUQl
54KYjwZsAryQvtynwXCh5QiDwnvwJ3mRLJiLflbU3s50h23UedcO9bWr4I+kB7qs9wXsdghXAZM/
FG5uvani/N6Ps0MPgbcoJwBqBDA3oLoz+0DDCGuBtws6+yChc/xp+HUwsbXkOSJvB9rSbIIK4dla
1jOCOZnwI1wKrK2V1Nug/o2wiMgRDOyet1kuBN0ahnYEm6C+yZW/LRT4xsHMXnRpXab5Xfb5kTHc
PvJTKE3Q5L2JyHsc/nRXl4top+ZOk18TyRBYLWxn+zmLzN2yFlbOAs5pjxOcIUEmSuzEFzop97ae
X33pUQo3pyBtnwJa7esh90hXyzYE396KxnhoDQY3cEagHDOTSc6tz0FRODZEiExRXcB7mSZ4FEUN
zt951wVgPC2fCxo5N8TOfNdqwqgRW2e3k1/OQPKvrpATkx6PJpQMjWk50QZo4ppkidLo3//8mWdN
Am4f3I0SDEQ6PvLpErhO7W7VsyNUA5IumRuMskP/hZEdbPTBfg6NH72gGTLfoT1kmRSwdkEEUo5w
Pq6Nh2KYnzNzaZiP1HyNeqBB88OYEUbLOS6hJZY+TFhr9mAdUEoR6o49ZOad4r5V8zP094UJ0e6s
avEPU54k7jLijowTyh4DkzJdu6rtxCad+D5j319rw9/A8GJ8wIhxz4B6Zyr7HfFLzZCRUJPa/GU1
5Y9jLC8+M0UppwVYk4lvi8441SFaNnIu4Ovz0UR3zNJmhg9hxMrUWD96yr9n+nQ4Y4wcxzvD28nD
WGC0HwCqJ1pCsbWgLopMsJFi2EPPG+L8XIZ7BYR0CTjWIxiplKJnLdEzSFY8CNUmpOd+E5RTdnXz
9rTcU09E7GV29h0J7r87eA9Avr9LRP43YqZnlMn8x+6ZNkb8JDNxp2TDR4e6H3+qCslKyg0pDdne
MOfqlvUi5sXVU9cbV86AYGq4vGEYQlKo4ldCagKGYrzVobWfHUTSI7LIZLDf1dRfTY9346TfnRqv
qM5dxEfI57ypWIdRsivN9qNVXEiD/gqNoeAxdPAdlazxhJutTJtZrWvFt3l6izJOn0aGVFuj/CiC
5kG7zA7SJPxs5Qx6z8wfiuQqOTCh9CXioOJqN0a7N830Uyk2AZnERzq6BX4ljys/8F4IJ413Y9fu
JBCvVWKw5ST+eqRC0CO1nscPR5fwZuiBcJnIz2iYcaGccGvNVGRuxzzWGKItssaAgRoufu66JYvy
RugpXN0HE42MWmfNpkrCnyF0bCIwJAi2qrjvjacpNZZkm/S5NtziaFSXkk/QrrQnOgt9YePkIFM3
tOSrEcLlKHNVneaOiUT0MdmxhtHFT6Bz7K0IDU5GV+3Gtv7tx/On3XD3VV3thjBELraz6mjaYmaA
+M7bDkOykzhhPJbyzglldTIDwP6ZbZ1quWRNYxScAgI27Cn+mWaNvt27N3LOOI1yDo7HmIt4efyO
HbIhfyhwDyZfVUzZ3IfuUx4Q/VuPtN+qMNnQGv49uca732x9RKd4oQKMaMslNZmpxNEs6NJxtG+5
ZC3nJOBX2yiGn+O16O3d0DPXQRBX636pf2t4axJd1Zpc2sp7aF1+nZmt2MwdXz6gquLsPu2LiCJw
lhZ6fSRGtOWrVym0d7SuxWiRPzQO03rOmE9PGkgYXjj21GXm3hccpCr6ajkq5z+3tkFyDT7PO8iI
uqaq9Lehi28t+qsugxYbC5ehTULsBJ11sGsjv+nNNDg1SAPkvFhtRlqVYTIcRZ18kjng5ZxzxpC1
dFmVcqGbLR+mb9tBosHk/jV1Le8WnxIYAed9FKCssK+twDNcshafF/LIPqvna0DszlF04wPE9I+8
sKrdPLGXhn6bQ6hjWj2auP8MAa5Z3keR8+66NF1rPz3ZfI5D4E9IGJDLLa+CFcNlEZPvSa33JE3f
GgPv0eGAtbJxTsxxcZFKA663OTZUdbMJfoJE4w90rH7dlMkvV1G26xYbSqx6KESy2FefLTZ+NKWY
rsCRiJhvlrgsfQPjhmLZSlTt9evJQRXKPvQOoQgGh8VCJEIeLsdaHo8SKDhACzQYSFJosWL174kj
zH16mVnb7XvYD2HNCmWl+D7w5PRE1hszFGrRwaaP8u/O1N+Bg5va6Dog0/MmK/gUT069FZGP86Q0
V13sFPuyxYudLV1BGfyizcFG1lIVjV26G5R/NdPcvfWaDOkBnLhyTuTa98n3WMYmE+2YYapWc6qc
NVmQ8sZTy5PakDLSKSAqnB3sYvxGLOCsDdPcd4tuO7VxOcJ3vXGZpbP5yz2pRAt/kZeG0XGeAFBY
FZepsmAlVC0qmL7/1Wc+Kx4fH2c2b8csvUCwvHolup1UsmfAMFlJyb/ABt9zP9LtHHuS0274TG3P
uaPg3kOfgkUwhvoW//SkpmjXtbg8gqp/ientH+qGLt2AMAF+m5m7LQYo71uBiuubiTy2GjqxkY6/
l7HXrGmXQlpX+9rFRwSioEDcJNE8YRc3MNbehOzzNz52T5OpFHIE5031wyOhA6+DTWZpE04cXslh
AS//qEJTQ8Dv42PumRxwXKOhm9F8pMBM10n9aC3mdG9AQjdLBs/V/NniVbsJZPHdaNgv1WTvJocH
RS52zmryXuac+c/Yk1mnPY4sJe0vb0GZEZf4AkF2m1juoRtYpJfHxIHH6AoJKz3nQRY2tx/+a7gK
dYRTIwXB6aFrMsnQVoLMXoawm35sdmEqrjCzzH2e5A+z8dvFVLyxHIjiruOMR9clAoAgknKTdU7F
4KwP1y3RLs6cJZDkHpEu1mcffqnTps6unq1Xw4YqEjFcXpkz5o+q714zn3AXuVhcAAH9xgho7CxG
pvvO8O5blCpnLpF5jmPvxQntX8NAd5XYq3g3L5orZef5Blg5eoCQpl4SwTxK+8NEc2Tj5uRORnhm
wSjgOsczMt6rISeGg8HcOl7aopiIbzsRd/cYWDSBwLQBCo6aIsK40qsM4124eGbzbkUWGo/GlH5l
UWfRHUkvZZe9mkzt74r80ZvHlI6TUZNWq9bo/dnMpOcca/PTRelxthVOrsGBIxpHQLlDYm1Hv0U/
YCDIQrFBjYCz1G/IGu//ZEfTB2qL5N6JIzwfjQO2G9WycDvIdt3wSJjUAKu3+sjT6eLEDAlccsdX
VQX/kMrseSzZPKMWZo1ltg/RRJls9HhcI/BlpFhRwZdBtOXZAf4SDvdJgTspmn08GJ776dvUHTNS
B6dH5N7TbQpKz2JDAtgzQixI85CXgnqSGiMsdelADhjCO+E6V1k5r2NqWDeJwg9m1fbjUJSYDDks
1bPZ078KyO3y9npC+t0DVppkWx5ZBsh2P+sM3pWw0Uh0FgREPR96QiNaTSn2H8ydyXLsypVl/6Xm
UAEOuMMxqBpEH2SwC/acwBjkJfq+x9fXApWSvUylZdaorAaSSffdR0YDwE+z99pD+tz2zMamsj1m
KcHwJKa1e7v9jGeyT+yOVaJjIGCO+tt5XDDavqfXJvFD6HfZh6Cle6lJM2EC6aJu7pPSOYwNB4aQ
xrXxEjLuWQfPxYgC9Bzghtl01BzQ27D3CnoFpO4IjYJiuRO2gRjJQHybhurDSKMFPkAhR0L01hqN
VV+0z9IbrGPYPyMlxwxjmK92U5MFRXG99pP5zRsttbM7B1clqakwQtrtwDTVkOmnJdgMhT5OF8f9
9OUs1p1XMiMI2ze7HgTGPKYfPsLomQQVwNg4rJHmbZwG/pBZdcSNewyeEvJh3AGYzkC4ByOUpNhm
pCvR9Sy7bIrSmTnqUHN0gp+Fdy4qrP08ixiBA/ozLWgkVAomQsgQBuImahd9sr92c4EKJUcV5YMU
2ZnG+IYRAdn5QrkCSnNjsEsv0Aqxv67ezVDZxB+y+MQ8zcFQYsPQNGY4ccjnaU59W8wnBqcI0pHI
wyeRG6v7TpQNmqWMw43mEuRiqg+NCj8ln6xykuRAKDCgP5l99jHW6qoebzh6wkOZHTvbo2LFoUsj
ZdhHO+u3owm4ZIgbB/S/OJbmXFwboGB2bsH+b0I+PimL3AR3fCsX2VgQcO/MMYlpBZFoU0k1UDJG
NeNqm9Y2cXLen9lKOWIxLMJiuAR9Ou90sey5AuNoC3hRnaJaUv21KKnRGrO9TkXzwOalOI7ZjxW3
72ynSRTkdFuLXDyWHfHx7BBp0tviMnmkhrOxGT1001UV31sopk/BMWk0GA5/OgE2gKobwC5FlrBt
SzPY+YZ8bXVpbWJxNdSdubMd+GVBFycnVes1gP0ywX1Bb0euLXx3AMIFdc8mxHhD2Hp09JzwXFdg
GWjZDsCE2oexjC/4SSZgfhXxWcreF0GC+Hi28VEDMghGVa9qm3m7O/AXAnD2bKdzTOIekmOZzq/R
BDPFUJuqgHeSVy4e7T7asw89G1UO71+keFQTAqaZajgurpZpGu1NXJnsKH2Y02gHXZnA0XVScjF8
3HcRnY0ArqDS0r2GELp1Ofm2POqpgho4mCUsrYVg4du4IiC0nAPXvvPcaXFyt/XWHryjrNynMGTo
PCQj4D/POEUlWQGRw70An3uL6KDc+KkJN0SkV+aYIloVkvCl4CtOZog6pNWvMaJyjOIB0PvRrDQD
iapC2v06tZZ3jIzBfalMLAjA17c22rxVlSckYQ6gJbJ2mndKZO89QuHDNPNQ10m1AXXSrxN8snFf
YLPu8GEzH7vxqv66Cyg+Rl2j1gL6r0yoarmQR3rmW63Z0zXGwqVNazIbTNrKVJCchwLi5JOIscq0
i0tWB9WmVfqpyhHRyp7IyyRs73yFkBBcV0jPG7GKqMfrJsZhbeH2qF12iCwUThaWFC9rTs7YMGov
mfXXRLFtmhh3QgZjG36vxwxjC8BmAxvlWTRwhKKWFsOs+V9VWD8bMGb2LsOCahzGDSsWPj8dGsB+
+GlJxZHl1AnZw4az8wj3rXWGL34G75TUbDSYJzW7NMZTk8K137Ym5kgNbLo2aiJK2OQgG2Y8OzVy
3pQeJ/qop60mLTAyHAGxMQ63tSKjiMheDAacFdzny5zL34QuGma6Z6ysOY6gWux7YOpEIS4+gPGe
tdq0DdzhSI74wTfaYzxWAWLlDKt4C7+6bin5oPmhaR/vUxk8MY1EUNSk6PQIXdy6CkP4gFKonrEZ
UMLdDHLJ1a3hwrtmfBKiPPgNjP/IA788AtZaquMiNqHGtDgewCd0u6HQ7FNbiKrJVH4QHoMTI4wv
OAI3hCKhFjfEN/wWzvIc7S9jGr7AEdwJnBwwbKKQjCnIex4Zr0bOcCO94tlr7NNgBUBokSUCD7Qf
ZRnTWZAqsfS9hc/ewgSMsJ7Km0jM4xmx75NYwAsJCCDLgc3frbyg0PhckoOM85NSzRNFs72TH26t
eATNt5qEIfKxklcwyusxFeXJsQricRTio3xWOLO6P1FgEAUaj589UqPegWUfSDq7DI20lyABsnko
euy/NqYXRdt8Otd49bZ2I79C27rHR7GnMpdkgbnNiANcIJKxgFbRy7yPBDVi7Ic54bqLjQS3CffG
2UZChRsbgJEiGtRDtYX8NGSFj1dnpFjfpyMoEA68R+FR7Fikdqx7B0e6leVXaVRCTh74d/IivysD
eBxekKChomrPCvxJDY32epoZLzgUQW59nQTjMTOldxd0lFlJ7+2aHtONp+Mv8G9giyZxF2XJU4cT
ajsZ5kiELk4OxWRtRagKk2Ssk7lTAlnzrs0cZ5dtJHrdIRuAY6Bvx5gk+Nig2g7ksUrd7yKuqkOd
s9UJeyITZjv6qgTm4ZKqhqSTHY9PJkwFZhdhRxOfhFfvS4+hicHvCF2CFQApIchqahZQvn9pUu8t
mNFsCbd/gJNcXZlp+weMcLr1QgeKSDsdmZ4A0mvOgeaahMXbkHuFa316Nbt0W1s21uGG1BKlBhwo
E3Yx1PQz7i/HcP2NzcMHTgkSZBUCZCvdnWUi1ULYcVQwbusMwBfokqUKf56HcM/cwYfjtdi38A82
HgJySDrqysJq2wGEsftq2wPrXU2Bja8fjblkHE0JaB/8YmEwNRRPM4pY5HzxVtX5zyC8q0JXX7AQ
3/qWlcGibOHplftmsdOpQgwwBfUBDeAhBFq8q/OXMqrZXnbDEUHtcfbYjQ3FdIM5SEvW9A5SKWrm
IWMfkPr7vjIsHNyZ3k6OPk6zyXYCZ9mqHk+DmnjUs9qg9yfw3eZZDUYb9W3VbpOCxBRb6106AvZA
aSEYEvuMEkP7Y8wIIHXK4CXtw+u0FfI0ZMkfF8UmxGdfbqIieLbbSKwTHZMcq9WjqP6gvMyveHgS
bFgdyng4Y7vlqRn6OTnJ8Tp0nHhLjDdONY/2g+fzykJktk1ZdJVJAHsn8Z6lo+5tuHUrs+ZATrya
XEh4Z1OQ9fu6NZ9bfRmJ6b4KLGBEkm2ocn+6GO4+afDso+fwaLbY3eKUvDXbmq8l2zEbkGxXK3RY
morPLXKH0QuMK/72AzE+Ax6qVK+HKowZoeJ3kSASYSI6mG82bNqgEgfvmRG+m5SBaVg6J+WAx+Sz
VjuinXax+GQ+SFima9qrNgWNM8XeWznA4fZo1/mt9TuxhGvbRyAn1FBvIdPDXfXeE/rTvYo6YkI8
2BkakX7Oibey/MV9bMsfFqb3SrKsQusHwBAIn41Hk9iuChC0xJ5hJPhZ8JaUTJYiIgeb0OGOYcjD
5GKZYYzUfpzjkcbJVaA6kS7SBabl68TEj9hpCVIlv7dZTlVKfJMkRiZ5J9n3lA/MfyMAa6a9sysa
D9wfKQx2BxvEKvfGJ4UGkHb1zmIUZwea1PnoTjb+H8WBKIr30UAZBIbmkZQQvJMzy1Cr09cFYcNe
TRFK5cEEICh2+GvPPJH6YyoK6Bf90eaH+DCwAzlva3PiNKD3mt1b15NUiFScuEF5XkP087vGPvSk
7rCyM66FRV475o2lmMSM7qQEMVnEiQ78SYtFYcKeaXr+uEM/BXlAs1sPQfry26be/cpqTG8pC4ku
oo4M2i+pAU3Yrb2aKQtaX9w4bcBGx8vIH7c4BgVHIj6tjl4LMV/A8jIjUipUuUtPXJHU5PMruVK3
5kKlIy/lLScVwKimc7/YPmpU+Gwb5hVE9gA1CbYv30TewYphn8cLG6iIjLVPabiy6/aVngiuOsP8
OEMUB0QAbQldfxkwnh2hCnjWp7YlY7e4v8YdzgkeVA246fqctibSiYp3m4DrG3z0Y5EPAwGBEllK
EaIEy9vMBlQ7bfgXtu7w1elzd2UDy19TWljRV2ZIh6AY98yMAmg+6+4U/w/JM688rg5owX4oNCvK
QnWLj5KVVbsde752E7fJDuxhY+Qb7YMH1fPJJnFs5Q0OPV7pk6mX7sdxDDedhosgowD3E8bS9UB4
4myhOuTSum4rOiY7qsiw9nmSAUvf96Q50SQwdYwDUlty+KQmDwW0S6vJY9rEkANaRvpMofmYeO5H
2CCgcuPqrVUIQxWOLFZom7kNYctiAUekOt4DCp7plY+JZlOR9sVCa0FBFDSYnizsOmr2j1Y2PpvQ
dmKWLqtENnzGXXoIErjQueRdVrSC7ZQ/MB1amC4kb7honoPvWjF/KVvHgGUVvTeSqc80c+vSLO7H
cgB/E+j7JrXcrVtUE/nCxotEb5lJAOqN30g2BNNdoeyXxdC6yh+mhWKQ4eEDcFuQHs1EoGvtn3b2
3rrYA80BY9TXzAnbnCBE24La+xvONNuCTtQ99IPmkVl2J1HWnIx+grQ4zr+dCUEiWp0nECFkPG8G
QpAQQGUlogkPFXrC8EQx62X6YGB94lsJnQdAY9bGTaZP1SfPCIzWok+2ZV3d5Nol/qKd30SC0m4E
FCiV/gwNaiN/to5+p8jAsreZcm+wAH5L68ZIcYR7H0aI3I4YN3R131PKzpMh0Ss6phBFOvq5mEto
3Wavbs+4kb6JhLh2JofRuwxztZsyW+O88RTAnIEd1E+JxHRrlv77hBl6SahTXXwW4MYWqpCzHXR1
XSFTDWbMrWyRbzUCkMyCHGiDTPEN6yRMQqgypU+0hC00N+s1GYq3sjffBpNwWau9yFI+aMgwpaLG
mJY/LOls5xpwiETEw3792q9QnYmSu0OX8M9nBsPcxpy2JkhB066/tbKORGA++MhSwxICQrG8BjMO
ryfoAP3oI+uKmx3gPGQKjOuhdc6a4IG2QrdRk+UzdqzUEX8Ea8vsOPToCeGCv7JtesKRcy1jOEiM
Kw60qVSUIcwYgzIcQwICFnWv+zlGTp/cuoa46Zz86DvBlw3cawq+VYczAW7+U9bEQKTZfWWRfXGn
CjmkGbwMsIRXjTPdRuP4mgdcAY1kxjN54uiIPtw0lg2j6F4tApuk503hCKe3r8SjMotNg2MtVNjL
lR291kb15s65Wh05EC+Z6CAew5KBPi03Qd6/iwG4hmez6DBmDRLJI1ikjl7Ip7uuhh57eeTilGhO
MFt65OFXVu5hh5qnQyrNIwbb+zAiZCOzaUpohK2yBZ88fZUFuRqcnhAtODTnYzN19+RaH0U1fOYd
9WNDoo6fRzSc1wSPwYdxcFHPvf/RBmwLq+a6MNlQM0USOkKCbnwlBOTy0EBFpVR5sd4lRTEkw3MB
qjsIqPgSk25+qOSxd6en1lQ3WpL1V7f4QASoIVRep9ALiAQqztmcXA90JZ755KAyZPd1M7g1XbVP
Ekr5ZTjN2UHMMTIgB4XIZPa16Fn2qXHc0/hYU3XnSH2qtXhW+XAXtvGFAVFluUhy3MfKam9zq9+T
ZsL12JznOG54uz12rY7pmBVSgfY/yu+PgQs8PPVzHvy1eJyQYxtWdoeihCIyV2+sTW/RYD64Eex7
z7iNMM0PjV5CziQCJqSiqlKffdehrA3Ys3qcShbJedK/EfKGewaI0PIPY7wJbLdoHQ6URy+IWOG6
5jzp4wETAAY2MsWDw5xGf2aorXWkTn300+XWbW9BXo5iLulJzu9GEu+hlrHk5cBkPX1byRbZOLFY
NVVjM7DHbMbP0k4W0DRveSBCfKbb75romLXYufG9P2eRIHjvx3CmGzNoSW4w9y3WWZ9ibu4i5P8F
1oWoTB8xwYrZ/YxoS/imCb9gEbZeNgRpAWl10FyMhBjFa/sKK+ISSJBdwrrcCdK2aCERPY6td7AJ
KaI+ZFAV0M1QMvBj7Q8EtciWeW5owRW7tGRTyyGILoF5iM/n5YgfVlnMAcz4quA0IuOdiwipyIfP
8BBmbPipZcB8VbffZhte+5F1q8cXNwVC6Jfs06feOeadPHsu+u+CBKjFcsTSbSzOfQqbYJeF+kMC
icFlycQsnP/YJAggy5ivCPZ5nUL13TgWu4aZHbXLUHkOAy7HlJOyxF+ZsbjVNtOvYqpXpTFe2Izo
VYOqcmBUQDdC30FK+xOZKMdhXNZU5Z3nWU+TKC9RnXC3MuQw2+DHd+K7TDvvLXsgonA2Td5hEcG4
w0NI3mBzvYfZ2oASAO9ak/q5ANg6UHTVkN/ZRIlPMRlbSQNl0DL6bdklbAdFdc4w8LaBxRVJkYVS
PUYsSSCk4dIwUOyWkDHSH1/mKwFGBMLpjYgi/B0zCDfeH7BmyCZNIwGudfEPdBNEDi9DlXyXiHIz
J36EevHFWm43mIu7Uo10se13yWmSlxnRliYd84z0HPXWtrAxMIGOtd5cxrggIPZlVh91q46O119Z
c4hkc8EdJAyxISTtjbp49bL6JiA0SaWKFPeFrsSCHkmRoHKN27tYd0iB8dSt3JE7yTZdxIjJvlc1
aPVlX59rNu/Rqx+6z/RKDzY/NnVchDhu+ETs3+y3m2VHJJVz5YbzUx/aLy3oAmt+HtBEI7+/0To7
44CGxZOJP20/vuBnwT9lYKKCIPcwGHehnm9kFRCuFUOn4KcEcl1mIFPl+NG5pIOBRWI3JMWdWS/E
GbIeHXMBzdLFoZgt8lXZoNRLJYMGh7osj9JrNLQW8xPD098eG9vjCKAKX4GFKLpdl2ogZnliedGl
DvZ2iO1F0CS7wXFuPYvHDviqnVW0T5EDex/M5bMn5GeI/1x5fOPs87i+FWhEOtpbp3dd7GA+pSUZ
mXOBeMjmNcvC3EiGQOvcbb67JmHxGnaHsBlfdL08c5BrrtowfR6A1jmwablTcbko+M5GOG6X+Kms
DXc2iBX6z5IjDgoRwJX4G7bFU1TFm5btcF153pqmg4+yCakb55emefdiTNVF98QU6rW0SzRiRfHh
ZDEl3xRvjUTe4yl7y4M724z+MLaJBWk47viZ5+6JIurU2A5TZdTZWZWc7N6/xW5tgP72n+XouJBf
Usp1znePYD246BOBZjO4wfnKZfCwKvr0kXKYyGgfxT3d+arPZzDZLTnFZCQ1kqFKadwPRfjuSp+s
08p46jo+kdHPgEFJv9h23s5W4N+wrQHiJXC6HvYjhxMai4cq4OxqCUfGyw5OJm7GZ6d1TikClJ0r
mpdQIRKQ7JP4lAsGO7Sj1tQIptfRUc399/LyxjKATDD+sUq4g1PZ3UZL4dZ1lB7oimo7xDSdNOWu
rj5QIRXXjuAQqlvsLabJ/ctgHnX7bBx1dixclseIB5YgCDj2FfaGYHEpGWl/m5lox5y0J3qA4Ryx
nnjSlZ1fB6lLWMaomaeo8TnAJs/HiR2Aka3emV1sAVN9zkcA/WNHGESnsIaEyW1vEyVMlE9oau7v
ukMPMt4JA+xsERH8q88Bjr4Ns/Rz0xeX3mV8qhqmBT19FYvPTbV0aZ4jAV4qJAPvCb7lDUNY4Bxh
/WnUyX3NuD9W3QNqWunH4w6BhLc1iWSLw+PY9HT34UACTMInbFdzRwU3TADxG7kNHGzeUGyIR4wv
lQOfEfzCZewxrDE9MjahKCEDtOa8ddkh6opNAQNoojgLXntJ9WiWw3XMh+v1xJ0GoX/yEgymM3w4
RIfmqfQBV8K4IN6yA9sQL0dFGZ9RMN0lAjVbgxEK5vmgNvMg+7XluA92TEtsqxH25AkRoAmc1L/u
BfWhOY3TjjUoQwLGJJgHEMK46Y/MO+a4tiIWRb6pgjdEE67XlWvvQssR+yzPTop/NKLWodBpf8Il
b5D/zCQPrGaPVUNQmPkergJTMXOdL5qRWpxSl8ihttJnzpUbehI6VAIOkFCjfBjVR2pRHDq6BBqY
Eb7WOjvVDhacpKWwEdgtbPJvvXkfk5iWiWmHWgs1seAZX5XqWMfTLdufq6Ex3xy6NKisJxSzZpd8
T4R4r7oSGnabBSiI6LzplTYJu/Qxs8bVIPgW5GgDeuUwSIaSVCkMKyK4aJ8ow0xc0VJ9KUbmaRk/
ZT1YtChEIEP6SzmS5bgwVq351CXuKQ77nfDTh+XXotO+FC2tW9beYTJDHdVA7Mj4fmAP7GWl1421
H+YuY79J3l4xOV9BzqSqTC9FdIUOL107NaWaSIGcByBzlmhV8WPM4bMbVV9ewEaNBHIfvejyGmtD
/CHG3GBV9lAywD608bPrsGdlwnSIZM/6DioCDH40gnaCQy6Crct0HV8CiBLfJ28nYBpiPsdMYINy
egrj5ksQNRvnAgiiZgJj4RqE7hUhDSKxSojTPNr3FYo7gn4v3MLrMAV9OJg3rE/vApLqjKZ8FNlS
ZdXo5btxvhmZKBUERZf9g5/RhoVcDqQN0lWTdGILAoprXd2WQfEzFMOpI7liQHKfs3RYWW66my1w
Sm0xfWCwuLCJ3Lad9UJ1tCNe/NFjIFC3jA9KjtbMwj3VLdF/z7Wob7m7D03B3JAkj2PfwTf3Z66/
eSG3283bUHorE8XLaraMx4BtK5Jvl1g7p1kFWAHXphNxGelsw9bqnLvZiBq/BmO4S4FLLu+hrkH0
0e8W9Vvjogua0u6udfsXR/MokoBVCNH5ovLEbJvCCu6B2TleNqwoO8DXp/JMh3KpMnUWBYcfpR2x
FTrYBEa/agMoapm+iqk/Co57AgLkgRhO5HMmT9LaszdECBzM5XP2ulGtUpJtaSmykx+Ks038VaTF
E4qdZxvLqmHVt11V36XjSCPhxw/LO+oV4XUD6L5w/urEvPflc5yXJ9Y/lyZWj6j+j0Vm3PT9g9NN
x14b781ErmN91xpEGmq27bJy7otQHxboVMOgH4SaRsbkocHu/HfHI45DOnjMfQUdqEvOikcms4+e
OAlvP3UAyhV6PNT5q4lZzWQhemmgZlSKngh8bg4vWt1EZrnrbAVJ89N1cRUU00myE9TLNR0a+etY
ZweP4NnZVfeWhRs8bo5y9q56r7sZaCd8yihlNnfsW45lm6LcY+/jjrfs1S18cEnDJDO06qeBnVLL
8L4Ni3vYtZyeESfs0qpHdthsAYKhk8VXGVI3ZZVxskZ0KUXPzByRwl3Gf5qKqK6KSMpcs2FN6DM3
fiTuy9a6Suf4tQffrQyJTzIy76MBERKbLfr27EZqCgAPPTzHNjlQfV6+8UQ7jsl5bgb23PH7gHoH
jCMlHIyVeIFpPmjkkYiFnoS/LUZ5V/ZItl09Ql4xBhQP44BMRBGfV3yWFOxpxDUyiJTnv+2RXOWR
+se6c6dROOIA/8F1dTFz9s5VXWeb6RIhKlkHEXFdqIxSDOheygjLL/bCb0G0eqEJ2al6zRhbdtJm
uumiZY+Zz+6MDms8e3bmXYD4uhe4hoCVAV/7UFyIg4ali6z6Kc9I9SunKyfP8VZhW8gFdXWUhsZK
m7jXbftPTINOZAGpe6KAFYrmq0sCPCbJxiEXbt2NGlRS2VAWRGh1bOwFA66I3M4f5j5ZHicLY3Fm
RGJxMhS1sY6Dqwwe1NbuUnZPqt4nd9rIgquo4EkDVAOhI5tP1774Scig3jYOZpuA2lqagNBm+0t8
xY6m67nwrP/HQJa/8lj+9/5PcfuJ3PwXy/JV/Bum5e9gln/+3/8/qC0Kmsn//AcMZQMU5t9gL8vr
/1//Y/OJ2eqz/voE1PLLgFmIKMu/8ndsiyX+BrTF9DzXdYWwlP4HtkX/zXSZO5qWo2lNXG2Jf2Jb
pPs3Vwqc3oI6QzmOtP+JbZHO36TUwvI801PK9cCf/OOV/V9gW6yFy/IXbgsvjB8GM4afY7muMuHD
/BWm0iLyanwGtVSn5WL49mjPoMkNnlcdugqRQom2G0GXUR5sr/vBhgqs/i+f1n+CdBGAa/7lNYBF
hWBjagXRZQG+/IUdU6VzUfbdonkrnkbpZTDgyNRC7fSEtI0Zdyeu2u4WPWJ9qgp7X2q5G3jd63i0
a7pkLJnwo1PQcuGbm7bjvesOuN5r76nwMuuqcptry+nAjw9wwgm0bG3IDKFDlZ78N+/E+9dPU1mm
drTt8YkKRiL//p3MljswrU+HtY6R9OUeiUs5p4jTubdDV3wlIGaUzx+A1CtWTt7uk2nm1UvRbn//
vE98tHEBKYBdSGVF/EmOi35fdPLbGPH844D1r0QJwNTy0QFqNPDkC4EQcWrMngul0+rZeht09WP5
1XJhUVPmCnCE+1UXESzpooZWrp2TuZDEVAuNfySt2y28Pc5F9AZM7hDD7Nwx9ta9mXECVvOTPzXB
Q+ijRfuVltZF+adDWJdHRIRESYIGNTeftJ/ZyMWNFVgPdP06XMxTFa8PaRyPTLYWxpgAkBLlzIk+
v7Bux6DCBMd2gnk3IVfdpWUAJg/Ydm8UD1Av5p1LlK8RZghpDWFQIckPLIvWObJm/71helo4VXwT
wHbep5JvNfbBv3WdrPZGy7nNl12PJMOUM2/Ws2uqTzaQi7dg9V9fws5/8sULbiVb2PCytWVzv/71
Euajj2PB/pGhDr2NmRnFCRP7tSGVdcr+YFk6V25FZmiuL3Jwwisxwnsk/Ga07X5JVG23knPc79V8
zM35yU68eZe407onDmoVCf9BWt4bbEVUWiZfI+PblcPiblNN5rfVJxGrH6APTg0IVlICVEgtVj1D
qdWoJkJbGOTOE8DevnSrlV54fyDD1r1PI1dOzvDffBrWQmD69w8V5WjXEjxZhAuP4T98Gh4iqsIr
CtDTyTTeomEhn8aubv2ZhdvyHsZhCckYgk9y+DpCIUjUUyPUGXfKLjoj+awc5ZtMiZVXkq82yty9
AX/AKCJ3819/cVL+68NHSZdYAZ7P0uLp/B8ePujgHMcfE8rvFhQ08h6mgMuF42myuZR0PkMnuJsX
HjXauut4IJfdg56RlwiLpri7S4P8E7k5fCkHynhqZN9NegCQWB9tu6tJz7mhxqj3ebLYeYyCssCd
vhCxIQqbIQoxvAh2jeNuGQS7G5hJBdu2XWGYalWOwePvLTgTkkmU2PwdSKc+FiizVoS82HXu3BlR
i0dFyZLVJikbLSpl0qog7n2yrSz3E4vCVWxCwsmNfQCObx/HAeOBbNr5qYHOF2lwhpIpJ80rZS8G
xGotWcUzbhweTCKf8Efzy/J8OFpdWG1/r0AkARbyssm4CRLn4gIspwkWd8MAPGIqSBWZSNpNYZSr
Eo7wwm930mNraevEYvBQT9lwW+YwoDwX73F+gd4HoyUhYkqjoyrUiN07R93m8PReF70vr9KmeEyW
FIVZpcO+CbDTV3raJXzoBTD9jSWSSxizBEXDzzWeOgxkMuMjA1R1jTwDriJS8G2TyGkLMIFgtvzH
aiSmgHKcNvRY5xA1OWmXxIulyZdgD2fWQF6h/Ew7NooxcQisw5HgvCKzfR4SlhgjasIrGdX1Fovi
cy8mcj4K9rSOzruN7baHACHFVWgMuyqykDO3dXCtkDCsAt98MnEP4zki4sRftHnLczMX5DXBPKzp
Bq80id14mnHFuj5+/WhtG4xkI6KsemIwkrAsbkogEHbG09XAzkEP7Lz1zBn3wuNAoGZEn8dsZtsu
BJ1xkWrl5HRi1yf2uibOFx/VOmkhgwcTMY1dTUTTcsn/PlqMnL0wbOD7eXl4u77zULU8qecGhVQX
CpKdo7jadbF/bQ3FEo4tQCqQ59cbHTfNciBNUGUgJRLQbtXO/vcOrgXiLUtzg7OsYaomwcxfipBX
gM+h2dQkUrQq+g5m3riVjOZam+WBPQuzSEedzRQT3BL9mmccJUldXBgJEzcAM5PNAs8yb7z3GmJi
conGVZnsxSlk+IUM4NaBaTabpEbjU+Unr4/NY9UnfAYddsDfW0nP9nNiL8oqpsV3cB+/OuV+WCUj
5sgA6zDV/ZbpGy0ETyuE6YplLksuW7b2sxjFiTgEY1NnvOiIr/OMrK64q5ZQyUHfJSrIztIYqvt4
/IKmd5qHyL93HKaTiZxpjbwCjJ2EqKv6h2BaEBAmqjnHTtg75B7pvtVt0nfWYUTJRJ0wAGYjJwzK
D/jjiByy3ycp6RGoHiy5bkXbXxsh6KAlWM8gp2CyFfvaKdgSvGOOlX/lYlLYYy4FeBUMZMPXxKAR
vHOZIpbpmES4CjQrJ5IyEKks3ysL5vBkxDDpfi9LF+YjCl5sXSIBbMzsXmHxN2ysV+GTC0cXBki5
s0aHyWgbMKiLGn7fVC7VRDBtulFmG1ujzvL4ila/10sWLrdKGR2lz1Q99aWxCQhbyE35FZgGBqTl
tOjK2IPN/xo1nt52UXCT+OIegTPQta7EQ91xzYOpo6fP5wd3nr+7SYDIW/4CkjFja48I5gJv7/vk
KYoGX7VNaMMaEQjJIfZMdrnDSp0wmBLdb7PchYPVcVXb5kGqEFVFWuxNTr212zcXikCuzIK/6RjX
uGF3pVX7V4aurzocDldeCQMCQQvPooWlE4uhucsWbKaTsVwFUCbxTGIqdXH6w/KXbTPDsGaybfQ8
oe2e0WCJe7jR2QGbHrOQAlp8X7AS7zxnOy4JvK5CXaNSs6bDtx/tzrriLzLkrh9VBB/PXV6gYXAA
ZxiXyt6rb21NgKjJ5jfgWZfxFDRM1GZlIfi0xfSBN0rv21zzX5F/ZnF4zZjSPSBRwpoRAjKvwQ4q
Mxg3HnO2HRPlPzp3z9HAy4A1B1aQCVasWmvnd9lrpKKPJiV5Y/kgi2YhzKS8/+Xsj2brGAhrNzkK
N/5yQ/8+AqaIKBXl3OVziFrIDQiyDrHL/97RgCXXxtAMuybk/s6tjlmImX3NS8mY1wVZokDwcS1v
4r1ncTAYrN8viFPb/Thf1SPH5e/D7vfhWPbqiTgrFxsf1valPIECF+3T1H5Lw/ymqKxz0WnOhoSv
wiJToiBeeZQOBFpiYP5++LLJ46LJh/oYWajLlk4jwPmTVsBLGisO2CvpL8B5/ruZhExlYfO2/B2z
5YL7fZKwZwUG7yO8LzIfnlKFsblijTCgR8Yf7O653btNxjBAKi7u1OY9dozsRtUjtljuyr9/wcvt
+vvM7GFHmCU0y98PtDWR06LOA3qRIl7gzvh9ODMY5vyxzn7todRwGZRWNFDHBIKvmTGygj+PC4sh
2Tjjdjaaa6LcCa42k4/fD/m3mDeXtmOMgwUiQKwoGtDl4PjtSMaJ4ZI5JPuMhFt+NeERQpgHjc0H
CUzMXRdWCrU4d1VccoQaig6hbHjK2Qy7zEVB938oO5PeuLE0i/6VRu8JcB4WvVEEY5YUmmzJG8Ij
h0fycZ5+fZ9HFdCZyoSNXpRRmVW2Q0Hy8RvuPTfD8c3hfBNbWb/zcryak4tLiXdH1IIGyQOkQblf
XHKgM5zN3tXsjIPF0iN17EM+8p2tX+U8mTOH2lyE7ugdRrNg66OlO3bfbGIpuBAztunVXRjKDF0N
YgOv9B/qSkP1zR9KYNXS+wZIeJuZIL39XxsCwfIBusLQbbQoZ8TpGq9q4Chs7vfeTXCP1Ur0Bvwt
jAssJ3mWvWlZkm2QeWLEwhIWekRP/r7YNfR/+VC+xdDAwA+pPt7fP1TSWhFuW8aPQ58R4eOYGJ9o
lkjGREzRdgDxAkQeoy+wUXlpCOV+2v3+I5jq5/7wvbispEzd4RaFO/sB3mpVSEmygjTcaKBJz/Lo
PHnzL5vchXEmK2cZcQ4vVBLrecA5MR2W4VNXcZ+i1UFY02m/ejDjSwRvye4/ddgGb8qFZAnQBjCN
3OzRW/rX339oNYj554e2oZAHLp8bFdffv7deyG6uY45TEoUxy4ClN1EFhxalGOCNkaG00gLo8gdd
HSkGDn1gT4y6YEq9+f1HWb+f//v+XAX4Nbij6BuZG4EP/NBaWbaIbIy0HN/LMp9q2X0as9zicgFF
CcrBONTa8pUFDd7GyGDkwSbXNJ6h9HqHpsO/qgYInS7v265DGMaqsByL/uLDmNrZnjj3JaGqOVLl
3dTXtw4pUqGLdNNkz1vsYkvODIX8EQHdvhy+JUxBNrXwmWLDCcA8XoRR/NlyGd60oH/QreAJZu63
H+b0u1V+AhThzpDwTR/puhkAxxwCeRYs7W7a1gX3bsXpNh8WsOsN3rq08WdCXL2FtCWoV6p6caBq
H83JY/fGyg2kwryrvX742UcWKcEVmoOsexU+KmWkbEFqGbzzNOQCOJSLHNTqemsNmf0dRMl4Fcu1
DD6ZIn3OrUgnQJL6GIhEt58XCnQtA7Y5WsfUgtGyNnSE3hVhjzWCZKqrrmMwclm6t515/f1Ftj/e
b5CNyQpzLd0P2D+b3ocxktY2czMvxCf3lX+OmzQ59vi1O9vbxzmoVh8uwF0n8Wn27rlI6AldQWJw
IGKFkcPaIj2Fd6rPCMeycMQDQduBtyGdrS9ZGb3WVhGHS4dqYcjNOSzb6LGvuF+hAj6AoUQ3VHDK
dyK7uHr5C0CZDdRN+9IlPUOryHk/OWe3dW8z399UZOBFuOqk9O5SL/8cuHjhfv+FeP88uIBXow63
Xba7jm5/nFLK2dByHeG4V0JaSUTebR2NBXM+at98qknc9cPPtT4NksJB8IjEZj1BFuj6td8BHxPs
I6yuQju7gH8qshwKBq/4ESW0O0xm2JHUi5gY4W6J0qrAi9L7xDRZRq+USo7Y9kF+ceyiDn22MFRl
6y9kruBntwUPiBhwPGCyp8sOHZJvGOmb8da05+KivD9rPbgWZ6MLWNhevJrXgZ4yfNtDK+jCfgDq
ZyVc1Ky4Ll7ihakq1TBogqfJx51d2xcZ6AIZrkWQgqx/9EQVQNSHsDimMxUSZhG4OZQRerMfo+mh
jb3mGJPl++YqFLVbQz/5/YUx1XHzf8eRx/jYplHHcRb4DD0dB/L4X19zzKD4fDT6m7UYG70UrGn9
nLTjgsmW+IyuaI2TPeUJyWRsvNCCZh6Ka0+NdWJ8il4ZBLDwx560qvh21FHXGRodkiTwxoRAgsqY
WxubJrIT1Vb+/uP/y6DKZhmMP8rDW49lQ913f5k8o9SLDFqyerOemGZswkxpcbdOJSsjZvpAalTV
916cast0Nxq7TLKbIt2Q8y0qrkwEEHmQfDpnCnpoYx6OOyDe+nD8/Wf9l0GVowNc0JnTOz7CnQ8V
RdZa7JL6AQtMPvL060RR9uhZLIk2Qc+9TyOhOZu4bYERILGwCHbwzPotop/BGUwgZ1KzudeXXZBW
BegPzdpqKSc1Wb5b35zpypykxYHqE7DptCg8E5EAMczwvhVEiIZyrvOQGfRbHlVQxFmWIqe2Wb5S
0WiaHPa+tmc5yBxF53geWYaLjtH1MHxDxPUlrl13lwTVo6EmY3iGnoYJl0YmsGNZ+XirO0l30Xzv
01qulqbbHTRZ/tDihPRxvd8bvkCZX7XFze+/VYPty4cbGImshy7N0hnc4zj6+x3gL87SxxEpeRSN
DE/XQd5ihrMjEIhSfJ7a5BQpmyWsLzzElkBAhlviSw7ke/2svsVD6nvLeQkIhy6dPxWS/5xPOpav
M4Tk6KMCMT688FMb7jqRiLgL1WerI9KGR1AaMM1B8xges34890OFGC5y502SMAZxmFOfgiDgiFOz
JdWfeH75MydJpMqtPz5E6hn/+xngeJbJ3BtWv+Gb9ocJ6jC2fZWnLD06F8fhzJ4WtBmrZfTvUf/A
aMUCpEwT4JbAZBEdANZA1rqp8ijeW9rPSMd45U14Os1x/sPl/Zdyk0cbfb5n2bYVBPaHyws6JmoL
HDMb/D4MzVAxBaXfhjoGQJwapMTwLdK20YhZ+muKqIU1QTaHVtSRrqIZeODGWOGaszvd5Aafc88i
mNgNdm72Eif9ebBo7kw0ff/v29L1DQ5VgyQFnZ/gw1VHooA0cx576KroaZllwMnBGRqytEeAWIDu
aCsdYLRfXiMtKg40eM2l0atL0ae3qdeLWz/t/JDILSKJvWKHFxCupz49/v5zrofO3689D7ltmE5g
Ucx75odrL9POxvuW8P16gNSXhklTI2scaHn7vn8xo/ZMP/CkxRkLO2UWGAmY58SI2p3eVP0e3DmJ
PbxpeLnRqU8JuzBvYijY19bG9Jd+1+YsgdzFfW9u25qQ8sgZHzsoQDd2ZX+HtQsxnyktqtxwbbJr
LJbkExnvCzLS9ULLzJNwinhZl6iL7X4m70/SbQpJkE/pP6PvwEs0+Jgg2qjfW6lz8nLwRWxLlvh1
0RBLAS6zTuNinW0m4crFy1FKiHGbaaErmk/rAAeVExTMhFWO78st1nOmSGVyGByHTATe8ZVBSkVF
uJYB135QA/P1X6NFKFnp/OHl/G89qO/YbJh5OB3DCj68nKN+TMsk4OKsNSJ0hWGzdurk7zAmZQS5
xO396B2n4lvn9Gejpxsda0bZQrRfzCy9/v5mMdTN8OFmofM02KgQF6LbH1ct1G6F4CEdNvjxnG0g
JwjKNvGPzKN32YB8oTFLepe+O/SQP1yn+dniUbjtvD5MJDtp2yBvIfGrPxyx/1LEsPy2OBTp7qi4
P7Z3tefWE2K3kXK7tUMN4VUcS5LVen3asdCE3Sat7bpy0FHP7uNAfIVhm/GyzQuyQG1i9GLrRTZ+
p/6EYQfOUU1XgobVajqjpm+RhZzjYTkXFfOiP3yrnvHPV4RnWbg4bVQBJlu3D9WxW2WMn3ywLKXU
PxnsavD4Ldt4hEZUgbq8MJaeNoMf8IIOOkQz5BA5xPvefdLJjb7z0i96JAhRGxxJydkdcGFm9x3G
83X4RgzLtKEECFzmk5PehWvVkOnZF1BGSBbnGGYUgVxO3R1TwSty7R6R4zldVYXrg40CzUDtBojq
vK6n4I+k7pJvySRk4JodSG+kvV+nedpC5FLFAa2WD2QCID0qtGNrF/5+7MQpK1EqWK3OBjEuj2Nj
/JIRToRC2rxjnOHnOnm1hmLYxj1QUPiL1zJm/7JOqSrsMLssHiEVLPfr6ry0SXz3MbUl/XShlGXM
qObIqQ/Xx2zjR1Iz15IGW/BdSjIHuw8+0fq1oAYlrpre+IIb5Dhm/Rj2MYFi44wMuzLvzFQeOmbr
AdElu6wz3gJpvhUe2Z9wNSAhradBxvS4NfIQWTNEDxY2PvR6EASQpdYvYJ2RLFSZEwMzKL+slhti
24A4NJ/bxjiMKWTjrNN2iUcCHCPSy4g0aAIFmyVOCCvhpqsYTOvLElZVEUEq5VvFZEBpo4ZyVnLP
kA3iO81QUdXRjhV/u6kEU0PI3+12DNJTupgXBq7AjSuNlRvaVnTdN4U1jwe62Pbz+jltBwolOt6N
JJhgh6XB2gakkoZBisgznsZUJcbRuNdaE/ZjZaPEhWLnOVW1darui1M78dZwSE417KneulOz7OJm
6YH6QISzDO/LYLNjkaB9tjJOQ1gJ846vccROa+7GqhZbrErlWeA93S40oFV7lz7ETtYcJ5m86F4T
nXP6W0kyMIY9puIIIY+lAERoTfGDUtZuYpyYe5j7iNIHpKtrB+xrE1scGDi1Mek7ctQo67FPlolx
BxTEJJRuKJ+WpAor0OmjrT+aVtw+jUQO1x0rHcyhh3V3QUx6dXODiSTfNRZr1tQeij2BRYiQG//s
2HNwiYPlsJiZwmyJC41OEyYd2mMwbdg2ICszJsUCxaHiDKThziWen0pH/Smotjfr0FPri2nbQ+wr
yAUGCtQaYH2ZpqULsgs4Ah3nkiS/cX0i+25iXoLgW4FVaBZ4I/kagagEswwLWKiCB5L1Ad1jlRyL
CuqdPo7isN4D6wRX1ZRlUIkNozkPulGN9K1FSLvucjS4590sqjDFnYD5w4LozMIyXL+MeKIQiIWY
/9Og+0CtuN/zJn1bb0+U86/Cy/KtpXZuHr7ZYcE9yLLlIOyMQk1VCWbZ7PJBD3ivX4n/DbadCfY5
bay9sCS0pcre6fiQhwJ3DIKYBgoxUpZOzYvY4h8M2FZ7u+OTj7Z2xHE1Yk3fOm3VPgzyxNfWgs70
AsKM62W3ZNEDWy6D8YixZ04CJMhIDs6S8aEqXGaamsKbbhGdalCDSZ1Sv/gRq66BMiHTnIAFfMDG
Iut42+FIYLm9WxvK6Mo7H4ac+v1SgvqOnfqm0ZMtr/ISC1B6Xlc9svLnc9p8a2evI+TZ39iqOnJK
juWgQQXFZMfew3BFgY4OqCyv6xZ83axl5AIRcd8VhwWRkJlN03aAeLWKuxgRIj9xCWChhkJiTDZm
X/xCpAuWytNZ6pZzdMjQJAhcmWigoZG1aVLAg+L774XC+BWkvjlae9HSagk18Ess7v3PboUbVmuN
cjckhJTy0mU5tZCbpF4e60FcKyXSuLDGKMv2RVqDyapWgrVOS3ED8r05JvOdM9vlKZ6856yOvzuL
gkh1artrkgMkcONbzCh5KXoMSFBCF+ifqmmiDvafhe6pC6JisurmBhNuKwmwFPq3vAB1LNrEOy09
w3iyTYvtqNbmVdQ/ijxwdyPL7y3qclY46GZ1C7oGmhzgXm66TSr35JpphUgD+0BQCmNjdvdGgQU8
Q7IdlklzoLBsjvbY5U+Sgd36jqkME1q7Fd1bM0M1G7FfCE7hLvLDVPA8C998a9mRv7/xkokEssCk
uLcRUQhN8hYnnNYBWoR1XV4r/H7eFaZglzb4mWd3uvYeUJVofBFo2DeFiaInw4ezWfVhYopOQ2GQ
uFu9xYwkDut9N0T03HL4Ueag0BJzsM5u0IKHVWP3ipPcHPGbdWrVlqVY/PgOcWbkKdhD7DW4i8An
rGVksDaXxvhptEz5vktfj+4OUcomGAgJCxjSK2lF5S5IqqG94jMHQuXggmwr8Cu12fCXJOnXCFEv
SUzRZr0cmuZuWt2yjl6K4WV+zXKoyiakiU3sQh/IrJMHzfOGWfKPVTo3avNzXFcvWcEdtr6dnSQb
N60LPrWsZb11ghaiuCde3BVSjcfpRkcyeGv7yS22m3JTDvrJHosaAGheHdmTeqFVmTBmXV6a1tye
g+Y/DzpQjl+zawKmUwtTo6dmKhI6bTOyZrrZbTVabJvyqHnog19DqXNPxFQopFK/1pF5186crFmg
YAgmmuYxYmDS+DmwKFuphVDiPNjQdEQ8k7YlX1YJxPoOX3+savLoiRw8OA6wqLCQrHELvD3bTMvj
7VpBDdNUHcuOjqJ2W21ntAzdtS6+Rigm95YXu4do9iFSQA/mTLJ1iD8EFbiah4LIzL9wjYfz4mEZ
lWPoT8O4S2mjwEX5Z5XnDpFM3g258VkLrOiUUynuMiqIm/WyJelYHLqY5g86QKqWjZEDP87vvBuv
cStkRPTOots3avsJCwduPdaH9TzxAq7cetqNloDMqWCQWBXGiHplLR1qJsCX9UwbczKyALdVNxn2
+H1zWJ+y4L5hXLiXGfLzzMjfPO9FA9j4HZQYCZoq8RqwvsvWfe0a11Zo1T9UJa6+YeTQbFzclrH+
0zEBUOCzNBmqogJ/F03M32avRl8h2c/ONhdhwta01/mwmP9ZZjmG3WytIjpmJe+hJShvGpcR8Tqy
0SvUGY7FjLSX8Jkco50p9qLnpGTuWEoJT24YXoce4oLnsZazCwQk6w/tllivsxJj5By9oZFNQlud
Ias6QRJxMlkmCsEGHuV648vq4HgmcIb3dbPvE5pH+XqAEqoGgzyHDKS/ykT7npbYaNuCTTUGQELl
SOUIhzEBA9IT3DCTyzXd428gT0NJTclLXHaslLH/ASOp9X58V8jJWRBj+Gq78psswKUQ98Y9oQpb
oE/3NajdbTwY+pbeZW9CUUiCixLsZqneb5It2SfoWwpCcUowNLksWCkP+ZX2cCKnBBWs+tNWEUwq
g6tlghtYn4ai1fYeGlBoOTY2tKj82SE06KRvHErEDiEGs+dxNk4mefZ725bPriZPKRtnMJZ8Z2QP
ADUR8Ks5SpJUjju/APBZAxLsGe7t1lsjaOQPLyVq+j9XETmHPr5kS5FuhBKMsOrgMmjVs5C/MCkR
8qy0qpMx/+pBpx4nhxe5p48/SpXwFfBm2VcoqjZlVz2RDHYnupSDVwOepC/8kH6MIsKV+q4Vh7Lu
uK9UmS6w6QBfnQ6T0qGsY433LsbTMKyM9V1WJ2GrKprRcHBzmZhvmAGqIeFaOQmlqlQnaSX8brf+
/mDpz51PZqur9juxN3yrXePru56gRYPrOfh7sgFPnz1BpihEw3YtKQ7r2UMg8w+naN+gQbNv8oSx
bcz+5/pIWlr1DY9lsalGaClN71rKC71vmRHT2sW3UTGdaLERnHJq7Dt/DAdD7Iquaj9bgWI+9+bL
TOVPv+Z/XxUBjJ3FDZyQnc3MX3OowuqI43Y9Iazev9RMZE6cyRCzl+y4fj6RYHj3tSGDu4Y/tY4g
UKyFxtwJVlwLGepe9LyWmKmqHdZiFFo54Afq5QLad7+dfTiTUpUZLVDeuCKTaL5xVOwKDkOgK9DK
Kinhd4hPY09G3NCMP9aW0PWq+wjS043T+tEJ3pi9bVqorXFcbh1EFBGzgVCmwcI8z0KJyC3jK5E6
ITyP8MdYtbvtDuVYc+yj+jXT4QUAFqAKUSHJLhq8dfmRFtiiCcOojM7frhqZtArziYluO7bUHW2y
S4EabASroPfBfKO+tXwBikCtcY5HH0Fq2U2brJPHxjN3vQ/rH6xPt01asqAWE6JB1ffbbDDbe8AV
30mnYho2atspTdtj35HWTrAO8GWYAlE9PnlR3NL2I4UloXwu0JFi2uSS6dGTaVTDcWqCl7RnrObY
1Z5HbjzLEhgDv0EbJzLane4MPicz2WVWTDZrXlcgjfx9n6CCJeRA7hDzI9aHF7r+wUZBRxSnk781
GMhuLYC/u7UG6FN8ribx8Dfkm734MyL7yO/RB2XKsGONDHcGMK6Zlb2uzwjZ7XitNeNlLZQqrf+e
ZgSC+MPBnBmaap3qScosO9SieFrLpsVpF9rvDiI05whAapqxubgrx+F+7OkPzSTlPeAbj3YHm2nx
v+apLPeaXxiXeB9IxvQ3OsUWTBhMe7VmF9gd3Jx1kgYIJNIuMmYLZjkayeNe593qFY/Y7MqoCaEX
KrAALyBjWPzt4E4adDroxnVP+TBrFY2kXz20g+MjK2yqLSTF7Ox0XOhGPKcRGNi2RnWvJRJsz4Q0
sGPGZfpkA/o9pOp6RkCeNcCo1vM2Y2d+iZ3hIPpmOgoOP8mI/rp+zYPZUc027vdZuuoeQ6LVNgsV
Kj9euFjD81o3yqp4QmkZI+VoEQSDGN0Ngzjlo/1sk3D6WfoB5rC8CGsQDLt5mIYTyd04OGvp7Nb2
pTJnLifH9rYRWKm9Mo9UT27wFyH6ZHXOKoa5+R7mkrZ1ZXH0+xr9uJyQ7PkiJf0HqUPZ8MqgWwHf
34VLBBvOKBKwmX5JrEOQWWFvK2d2skASYebzyWkwt+Zj8pg5zSWv9P7WnW1MMZxMZLTW+0zW/v3c
Ol+dAdYqgyn71vH434ssIdPeAASU8jYVo9kCeaCD9P2jlMuPFlo9iAbC7bkjdrqojS33rhlqXuae
k2o6NVgboiEfTkthXiQTtQP0V4OWN/3p1sQLZxA0t/UiyXhcykum05d3x3m2663pluleE/W1tiT/
Buj2GJmkzvr4qrGdQxUb5nu/dMhYszCW5kSyqzUVaGH7GCC/muf5WRg123T2H6cC55s73lpGA2bB
H51DGQV0AgX3s92SbBmXcrzXoG8gIIDOBrbqzAUeth2aDuxMTmgtWn5WsJDJImbJIZiCeFn5RMc/
khTP+8pIuIk1v8poL7uH0SbiJWiakasRYHQUZQ+VyOWV145Hbw6aT3DsMb8AZDKjxT849F2zlzuf
WSAUMEMD0b0uNWCn9cVoRvoOyn25C0A1252mI1Ptp31nobI3NObyjDwPmlaLnVeVX1YNCqLSsJ9J
1zR6Dfz3xBjKZi+51zN56WTyGiHieyjU4NMvmhfPeHByOw7NZUS4GXXLkw7JlU3hRVDW3yZRV7x0
Ndp4D0h4LvT4UPSL/bxAE8BGDeexSY95lztPvH2TbZrDFXYH7+ukdcnDAKFkhxjT3yAzT6+jsbVb
llU5zPuDnXAYC8HBnjHkYb8yROcysL6X5kKi2FBm5wEaZpQMstmM010c9MZZQFFuY7R1WcZ0EBbx
Hg6c9pwbHdJri79+6fLrLEtC+Ep5iYe22edlBPcFEPa+YnJ7M8UOz50514cM3d0NaCn4NQJCs510
KPmTRwlkGbXeeJv1Kp4A5OfjiCrcy47Q/dJLYQTZVnfRQHLqX2ikiAaT2sEsu+Q+jxb4puyht8Zg
a7uxBblii2wi6rYrcJQqnvnYsiYe8ZcWNgxGZLjpJN1LZVUKMGvOT7ODV5QQPQ/RfndgWtHuOsDD
J0d2b16b+4CuPOKkamc++IWZbGIc1efBdS+5RsjtzNDofqmiSzdQLhdub9zSlgyfxiG5xGnuX/HG
JimDubmSwWUYIaMWUQp3jEHQXgrqODUkZzEIsLlPArAtjfBO6y+urHcAnoZDLkzvVNsmLGXBjiud
svSs6aSADFmbb/kOovOSgaDBFZXvTSk4TNr4wh1kHdaLtcA8OeQxFCpRt8XR0rwR4AzoiIUtMxmR
6a6UefFEwjJiyskbDsWiiGSzuRxdDYGjn/FANwIOIw3rQ7TY0Xm9dwa7/tKYxLTVsWPsIHL+APaE
RUtHCsl+0d0VnmEoMOR453fZdJf3ybBdlStu3A+7iXuAPCft6rea3Cx6sNxlGTgOM4qeiszXXyv2
NYFAXJxFhXG3NMl1rN34OKBlYnenJLJ89MQGAOb3nXMgnAcSp2TKn2btleHRczdzTeI4Mx9JtJ5n
8+uCIJTIQ2TAPVjpQ91UI6ttL/ok8C5usuIpYyX71No6ncloZPvF7TgbAeURfF0UF1w/EFDpUJjS
GZtaB6M1ZRIiRj0d4iEg/ndqiJ6Kqp0kVGgjsLrcM3XeKLXNibl4OKYU5b2piPQFrBnCvW8nTycq
Psq3jdNo10FPUag335kRW5gWDfgVXnrrSu0pl+5PyKnydh5K90GBMPHLgJiIltuiHFImPfUYOj1C
0cXneaht/eyVwjwxDnB2kn7vGkNmG1tgYiXbg8v632RJ49nkCWlurhK2rprWUcfZ49etcevI1Lg1
i+cegcI5c9ziMkBr2GolNBofKoh9kyQxQQkzeTWqH7jQUu/Y7rI0dSt9HzDCOGt1QzOAiPcwNNTi
GSjIOB+nK6yWtrPjI8EKUeiCRWJzdtcLuNfQMF5k39gXA+nnLkElSFzVVzD62X0+eCYmtGLYJCrO
xwhgr9tN7W28PoLuqzs2j6A3XfqjMfrtI2VA97hUYuuRcA1A6GmakC1r8XxEP+uyicPz1MrCA1tE
sgMaNAFOtyKcMx2JhtRiJdknn7BxomFPgyHuuatxtdpqoEB2X8Ec+I6leHRnDVixEyGnY710oM/r
/GpM3YK0yxXE1LI5HSRRe5aX4G5a5OdKpN8KxSIZMRKyrSSOIIgQ3SnF4zihFkshpTfA/8BF++wJ
JnHXwQ0YBE1+M8hig/+FzjBumuNaTY1xBUShP6N9CGgJsqrottJg/lkYTEJTt9zmkzux/qciRvOB
eN6FD9NkTH8vpTINugPl8FqdGkpcziLwGZyOc2vP3d0SMDVDY67hBtS/EXJhfR7RAGoiTGvdfExc
WNRl6vehxkg+ZOZ3kaSF3MEvvHp0Mm1vZD94MzOTIAARPXKtLC7rxK6q5q+2P/iXvF7899VOzwG/
aYJ7GyT/SZRMHpRwaic68NdRU73ZNuz0rEjZ0NGgypksQ7Mov7KmTFymz00LRQJJ6qboAoQA8N+R
4mWU7G15CDT9yOugpn9jerD2trOu3KnMTtB81q+sqdAZZcVxSBFjaAt+H6Nw4P8mh35SPN54io+M
frfr0m3R3Ge4LuwQAr09iGq+SpSlm9K/Wg9RZ2iETf50/CdLvmTS7++zbqKoAoMzAyJ5BssQmsN4
7B2rOCU52zyaOnbDFaOtbrYJ+5hdnCGD9hnXDFjJiOA120kfWagk97HPckmphSqNny13JFiomdsW
daBBawCAIUoIJulccpkjjuAjzG+kBHsfcZc1mSVpwlNI3zHtTX28nfxyD+NKf6h1hRDNcwgLg+7f
BDKOLxowbKyZ91ZAwqbVivuakPm9rg8/xWIs1Bg2xkP2MGz9NnmkG+cJ8T3Jb2QmJNWQbRgRvha+
IE6hJ2qwT9Jpb2jluSTf7LL+4mi8B42JvmEQrNkwdex6DctQA63iTkTI6JpcP8dIXM8oc6hDK+cn
a63u1DN+IcKrPk2YvEOvw2wGG7U6KVqKb+SkwpQVJqAJs2E/kaZWlPMSphoR8bE2aleN0jl/EV0h
QjOoy3e+AdiB+Ke8vksR/qvsi6tMy679n//GsfsPiYKP0hQxoxHYFg+Tkov9RRBYt7IC2AB+rMgA
yekQf2blgGTz49eMqDVpva6ObmyiGYRb+ytVCTbmPHtcR6Cta3OGld0XJoPdJoUmW1X5fBvN7MOL
IY33ucXmz8H4QZSe/CwsFMf8BW95bOlbBLUu9bK/bMtMRdNJ93NDpOMd5m4ApTzevNCZYjnNrx55
+Obdzhk3j0U+f84zdUerad2QFhyRM4dEUC6Eq7ePhWaeAAoy5W1xRhZAXTVl86mZvcv6RdEV9846
V1TGElOjo7Dtz4ZjvaxD15LKBJSbfE4a7+dikJ3XZWMPzRNPkqN1SEqU6dJOa0Lci+XiW8TzoqFC
fy5aaP6T3Emf4URhgO0Yy+Ul/7naDKco0/ag+3khpddamh6rkdGHizQdpEUKrnJCocC2doBi31JS
4VYPCu9PIgY7LI9C0+DO+NVrM4tHOJDFvY+FbJs41tcaUAEnj/ixzozqxEOrvvi7TkxvVlmUf9Am
G+4/5Re8GnVbV/KLf7E0ZCbjWR3rE8g0poAGAaagznvQjlieZsUsjeRdw//r2grr1pPEG3GUPGpE
mLKsWLxjHIFtsvMRLdGQcE2GAW8G/Qn1YPlsNJimQaw3jxbc0+OSA5VaZw9RM9i7Zaqe1rcPqWNf
c394K8FGbVJb9w+G0WLZS2rtRiJsICSczBNf5L+ayGAnb/fdqTRaaGdxxAwZDMwmN5CIpQMhFlB6
7rX+lRIXixBUIoKGSWn1B0vbC1ki0U+Mtwb+z4lB0yVnPwfJmiF/1bANLQwjP66D2tUBS+NnDq75
gv1waI0vhp3E2/U2RtFIj1E6V9kCN1eeW+FV1sNbntziZo5OleWfrcoBFVrb7T4nsgXfevop8XN0
H1ip54aAwCVI+GkXGg3kWj1qfzFSECQesqzBZPBsWP0+NYe3RkVB0Q6MoQu2AHXrgq80pmCcSCNx
c/veK1sW501+wgoHS1n5H8DV4iQDUjyHNpTx8yr2bH1IVvn8uv5D0CyvlrR/rk8+YbHPvbIB97hT
sLJwVmhTtF2L1kg9t1jv0Fc174u5WDCuc3v7Js/UGMmVb04dXMXcJAcCzQ/G5L1QwxlYxOE9CWj/
iMoaBB30ki7bn7LqCTamFCuUMywVJeEiM3seNZPyuZYnIUllsowpZHj8lKjhdw3cRiG+Pg+Z8TjO
Jgk9kfk9zrDVr/KbwateWcDtGM2d1vekBjwMegWPPj2lcMrn0erelQZmaWsH+F0/HMB2fziBLSXI
/JtGzHUt3wQCgvZR96xAPWx/OYDdxO2SxCYT2sqak2Gl064QpHEYpUcuJbhiDsHls2WQzDuJ+MlU
vEW1hmQ9ER3yDOG7tKCzKc8bVy0shuZHMuDCcRQG3Q+weerxcdSACjMSWs2Vq32U2pW5cQH9yrH5
w+zleZVA/EGppXRYf//ZWAZ5+NpxIcI78T7o8dqiCHjZojNLNId85+UIifIZL6i90YK8OVRLhB+U
3ehsMd/VUgLICYCT51zreT2COcfr/SdUg2X+y2dCAG9ZZuByhH0UmtYJi8TUisdN6g23VZXMNP5T
+pCK7EdEBPlBt76su6h1TbeON9dyM2XsucGmrlL2xr2/uDiXje8WPsLMa35NhIJMHmTFSrK5IGHA
NCScYLXIqKqveTmc5GI07GtQJOYNdXMTwG1lU179QQJp/oPL4Xq65XE/4ZmyXH993//ldgIBlRhJ
27EMruZPonbl1mxG4oSmJd7b1UAAVSumDbHh64B0XYWs70KvaDgM44Y4LTUEFrF4gkE3wn3Zr7b7
zlMAbhOR8JJ8/8NtorS9H24TC5yHq0T+CKo/WgdrM5+yhnfvRtcL96aDZl6xk/bB26dxG4Q5FtJD
E5nQTkiiPVS6GlVY0bMWU6dkS3P+w8dBnv8vH8g1TTwSRsB9st5Df/kSDa9r24xVlVI3mtioOyfM
OQ1OmumeeHwA/TldekarBO/QMUyVmKR/Wx0Vq9wvQSYHqIVcm9hBgTImGDCbcvi0fuXMZm5zA3VE
671Ko8SiBZNg6yDHwb6VhNmImcGoCf5smQwcm0l7EEoVaEXfYp2WqU+rs2ggpnflghrIX/R7kGtH
AsZ+Zk3MbFQdifwnOq1jZa9gb6x8NmsRl0kFN0T4PXf1fWXV0f1EGmZroQgptf+l7DyW5EjSJP0q
I3P3Xifm7DB7CE4yIiMZEsDFBUgAzjn3p9/PLGt3C9k9A2mRqWmBVAGIjAg3or/qp9ztAq5AKyPK
xWoeRm/DvJQQDlSXtky/pXakn0eiZqvULLTn2XdfGPHBBliC4VADun4tovFLmY/dSc0bejPXtwZa
Ofkjlp7ErvaJ/UhcrX+Z6vCH3XQFc6GkPDtsWkgk7km9d8IFlt8PwPJDpxKn9qcfZtbassbhs9m3
n9DC2auyp9pryORFzoUr+q+Jw3gj3O5c+lbBsRzJQvfT+twwjc8z6rGnfCjuan85Qh7Qdu6c0F2w
uCHFx4Sfa0zAZc8kUt7ECIfQxzdZ26IB6TqUob2fSwwxnHTeRPvWeH52aUJpH9TD5OwBYiB80OWw
LzU86Z1g1KOja40mtSAydOL43GPp+KMOuL3PG3woxhBd4bffIhzsK36BlSsMvU0UC2qCajM+qWHo
UlB9JAnMdccVFe6N2Xnz+6xZbywywN6RY/o6avr9ZALoEyFXKjNJxq20mqOXS79aaaKHjcyWTw5x
11yyIvib0SQWMJ6OHV9S7F4rZYCeJA2hT4bhPYBOMPeINZC9JteeByv/AiIYeLx0rCprNR0LA8Jb
eRk78Z0CK/RLJm0T9ykUR+1OmANLTsc82TfvrHYL+H+F70BwymMoWjA+XQ3i3coiLWDKC9brAxEK
Nm0gFNZmGJ32tWZx7nGCrm3N787mpzSvjXc7XBzIEI78qqvrsTrfIx76+6bQLmlTvDUG9ASHfxof
K1HbAWC2Y/NhWKJhW2m1JEvzTZ5DvDz4jdZuVl/Vgq8tlPiW8XhiPdolY2TeeeawT3072CkjBVQb
fhqrXzXNstxC/eSbpO6ZjX6xS8eB4NHXK3rvumnQ3yhwwixi3oi0J1e7qm9h3+snIyI5H2v2TmcY
uKYFCRF/WS5LyqmvmBx7OzfWc02vTIr0frOa8q5pcfRUXWruoGuIXd/Uh9GmatSBVXPkvnwYerJR
lHwXB4q50i3OE2XijU0BHjTEkkvJCZWh4ksifMJOOGH2tVbin+n7T1GF1mOJ4C23rj1lIvsGIOLO
TpFpKz/T0B9RjNxmPrZSXDShSzBC1VAXqBZLokfLLZkIBNOemVt8TrTwRWZeGzEeRYmJsRn7tyDO
83O/FBcA88dy1OJjkl042u9FLaZbnop+my/hE0Pv8Sg//bkVd45VW0eDFARNn2qCAIfq1Vqi6L5k
PhVW8qIBhYkBXLQ81RScphZ5eq8txM5MBGAMF5e2J4LXBvcjksad05BdicuAoTaQ45OLh2Y1GNo+
I0x4RxEORZRh+DBYVk35sLYT0LTyyIB9Y8zjXWlEn/QFQocRbJHPCWVWGEFEbqCv99/VeUqhBgZp
brLA9TxyDGMSIYEIavHuqvH70FtIKQzS1eymruqfy1J9tajuXvVFER6TKqYwjmNcHdhvutY6mPBt
b38oFiylzCG+qUNqjdKIGmlv5lSUp5HES5xLYvFymg3ak9V+HsTSpZPTnqjylJPHsxIb3jMxa5Sm
irES3Fs97zUgOPReGrLba9rr9KT21AIdRdgdI+nUy70MwHk9wBMZoEZM+DyG8KXvyKv0Vu8Q5qdo
O0qWbVotLO5yl/p/1iq1BXij+5CMTC4HwSyu52mgFGytbgh/GVKMQ6NhUWzlqoRxwBpl0wuOQvVz
qEtV3zHN0gNcAZ6PMpBg5VaKmjqUoTXTcVwk26ho+Tzrn1o+tYdBQj1yec9ITIdUKyvgsbDKr0Gt
TxvDqa+9nxgnLhob2+PJShxwpGpC31fTnTTV10naHarkB2xWmueptTTC8JLPXnui1efSdcVwiHCv
jBxY95rpNeu2zs6BJPeFPlZvsrirzm82SYepV8meylwd07O8hpTJ7Jt4bjL0X5R8UfvzxSFzs1FM
pXDqn1KTo1YUchVrJUVIEbESM8rvB58zqG6RyM8WcGlJTJu3Lt8uNavQMJHjLWaA4y1HtTaaZPpO
jijdC5jGVUG51L2BKa6QAkiBOMU+K88QRGjf0Upmx2mEizVnxOJLLrCMZxoqCuFpps0yOZmUYh2X
zCIWL/6x9DR9d0sleeueoF4v+T7rqb+OTAx18bQ8UrN20HjKWfLJ0jHt82XTadfmGzO3zrCF/L1e
DDdds+JzljQ+rgX8iDr1V3OQGWuAA7QBTAFsLZfCJcnEERk92JSxHrvRgNnUMdbrxVAfWkx2FjEZ
Riy/pNMM5QOATguwX4QUAvU+w23M/Oo7Y88Vxqol/Nk5CKjucxoU1R494Ecu69ysmsFVjTqFnQm8
rF31LxDR9IkK436hwivGISTPOnlOQMqf5vpcWG9NPeU38eA/LTrNO7UkfDCqfAY4D6BKSlRq48xq
GrCsRKNqLU72Vas3WHKWcyUtoSX+9k3u5a9WTXHnMFan3LsHVdwDoZ3uOZSMJ8MQJjBKJ98bcxPu
CpMOYLvD7IfPcWVUSXaqTONaoI1tqqg9yAPHRhnnAi97bSuj2E5YFDFgdYe6iPtVhX5V6lb9oI/l
G70HR/mPlFa5NFseRNb2e8o/tZ5ONz0orhnbWrOEJv5I1gZoU1+0oCp2ylmVIF9AmzvkIyS1aTzi
yvb304zhJGFgumqCIqAaF3OKnej3Y+EtvJnb2GWNxLLxs6jmOyWRdSVactRZXNVFmRzHMHkep7A/
YgClR5Oj1AgWH2X0R58b5h7lgv4kw5Ni8xbD63SdK0xPBCDPjqmj4UguEHnIGbNaUyrwkJLpMMg4
qP/uTlm52lEraIPlUBba8WmYl2f1+3q+eSfcUdaR4PAlDjzzEBXBQR0ro7COVh1F8uslQ/fPIpBT
yNEABCgnksdTf4u5Ito1shXWdWGLlCJ5CLyEk0PdbAXEgV1SRfHF5wK3p2n3WzjTP1T3HRxIO6Od
3U7Y3V0cmcro5ZBxQADHPhNozkGCihNxy/Pl8J50UG5ZdWUVOa1aDmYe2kpoytPsh2iOyiu1Ddt8
mpNd5bns5YDz95CZ98r2NckMdc93lv4pFiFGN9I6Ek5YssFTldpfVIGUKp9hMrR3775fAaVYgnpP
9zCzHLZzY+jpkJJEI5P46NepKw9qLyPUsqeWCgcYhh4i0YMslOi2Ct02e8zlrBawcEpMk9aCmoNq
V4fWxh7wK6tPp8CSGUdT+/7odj2rSJLEF/U0s6QxrS0Zgi1sQ4x6pfWrbFICRxw3RzBy2yHDDOO2
znEB0b0WtrZT6e0moiRE7418DeqeSGC45svb7QldXdS/pxJ5WS0VXuNFkNpiyCal6nCP/7/YDDPP
DlnjU89q1lW2tVeO2VgUDxHo0RtO0M72O9BSNJmltvjaRmZzgt7CSYB7YJaItRtz3FRnKexJ9Uji
Jx2iJ+SxVcdLv1C1tJ16RmRitoD4h+5krkegK31J31DRupRxIGKuHAHI2wjykntCucP5Hn1KfIYn
A10ERUTFZiCCi3qulP446M2Cv5XfU7givJCQDw+mPGTLY5naLlSqZiKywbWtPZAgl0Q6ii4s7ZhN
vX/QA/M9CjbNBGyG3J/u3EZf23Ulrs4YEi2omZrlov4GGi0+aRFTVGbIDyl4h6kPWVdj44dYcvtm
2lisSrd9NVJWddfHowGW/EeXYnIIxFnt/qEY503R14/x4PR3zaIxupVecvVI1GwXe4PeepAWXNXQ
BB3Pv9XCvVNIUCPPwpXwg8tQh4/KKujN9muT2TQKSTcnjkq4HkSkLeukOKwT0uUJat3TSKbiGFfT
VcMEgpsj+pbE3SHR533TTvo1dRmSSNYMdV8dHSxJdkh8Rvbym6/0H4GG1bbpNWKSzmedPEHrzc6p
Me2IY9KC01sPDH9fW4qQOZ/iFw39md4NI+OKGBePKmrkyNhTbM/QInWQ63XAZ2YtdJJZKbw8HQLX
uqoKmQ3w6hOKRAGio2BX3A1E43YNAlpn1tMVd8fz5MThube50E/lcDS0qt9RtTIdFZQrFQGo1TR6
USGGSRjVPuhcCjpE4zOWGf01bgs6v8fS2iE8U57b2Aghyu/cR+Vh8a0HPIIll4Fo5BXY2VqrEJjb
YN521oyFJqFAHL2HeSENlaucrYfS3gIHFMkttSdGZohpdERQLzRMMCSbvg+wFQ7NoO8HrvB3NVeY
lHEQqDHidBZ8HYOW703US8RLNPwYQiBsklym1hWddvNCF+cwzTRuozzgreitDdrAeQ5gusHpetVA
46+Leb4ohJ06YxYet+4YUL7atwZ3uWWSx9nHjJjgyDzPYsg4+wdnxXNLG6I5U/mplgi8fu6f4n6Y
tt4Ql5tcq5DOYusHV76XvOE96gyWclrSAIuaIr1wvzPgdtWPVdByUR3N92XAmXymPBw9r3lAbilN
2GZTL3f2RsWD/iDPffsopEgo77Ly3MeMBhweblwFLAMgj/aTO95n2E/XrW44UINDcXACqSLLZIuB
w2q3xLd0YD+KUy7qJnOLuCIRBM6HmUo7PfuJae0L7kF9bzfvLviuBxsfyae86LmCjyf16ChtvUhq
nFPxWxlweZzL5EzisLxyvfoDAuRfibUWZD+HSZOpg9H6QDPIsqb3p05nNyzaLSF/jiXRmyHHNCkU
71O5niS9UG3+ip7M+Fdu/GQ+JAXEiv0vuYSF5gBqiuST5mrhgej6AX+evqKhJSIlZX6Jc/ZGPRyc
bQRvA8k/4461pDSumQHjELu5ZbQy3Qn9j0lmRUn+qHzCjIJ/6RmmICOOEPk3oVF0mWOMtjmBV3U/
k0QkoJItR330nhODWxtwDHNn6Cjk3qJKZFNKPnVxUZYJWT+/gTZw0gqnYfiWipPmce5xG42Me5Ie
J9HuJsyMDxTRUF/RgzRpIpoAsG907skZcFfOnX2cI3DWdRwe1RnCc6aHnA1K/h3AEnPvTm/OsU2v
poVGtJGXnZCLgVnnj2iPxrHLizObZrmlqo3FgRuPjoNi06eOBqzJuS6ixyRDrtyWzgR9yDnO3TI3
QG2Yk2KraXqyxuC5yvK239cDjTpd2NfntADxNXGA00sW9xLqKvDyIT+DxbsrJuwWCHjsQU6fPkyt
Rom4K5sp4byBjj7VrfNMn+7BJIJx8EPq3EHJUDYgEzoeBlg7wKvs918tia6mU2Ci3GU2VvrQBncT
zPf4nlwxPU+P9EG9YGRtNpVP7CBMyzszGtOtJU87FseeyjRzCjKIzw4NBj+mNAMR3pj6U2++RGPs
YAkt7SuJUbxV+K4OvWd/J6dNAkCeV7OkIrkOQdTArkQlV5dsZqOHcJJM7Hpib1pViRmyCHa0ZY/7
hLXSrXKKdAYO3KEIUOizdluO1rswGEsqeDdDYEjFpi6nz9h40j8Mf81/MT5xCQQxXxAWXz/v4zc2
ZxmK0U3fuY5IzzkS2xJtJ63noC8C2oIojnEl7iiVYLNIWvDVT2tgomqldFri513pbgvHtjfukmnY
ZzptrHGjB6su8X9kXBU2MBnr7f8s7FvGP4FbOAU4wHYlZgyXjfOBG8D+X3Dbh5GrCLqR2zvbYB44
U/vztSVQlrVe/ZQLTje9xj2QDWRac5veLSUOUDC8fPfBe/JF085N04XrbAp/aEsG9NUmaOwxaSPG
SEIxw7gHjswlf1Q/BkniHiL3qOYDXgviqfdihwQDJFFLTDRhtzxKyymu8IHUMdhbvSJ8955dcLKv
2sLtltsD1mJHv+8qRE2Mf/LYRa47Syb2Wu0wU4tyJ8RXU6tuXph/NkeKVMw6fElM76vXYj1UHPK+
YyXIOAxt+K7v08o31lULKbkDPvfL4aBKctB4IkB7kQjf2idMS1PcjuYydRyvCkfAmQxvISd8kpqQ
K8XsZEjkn0qH4e3cjiQ/nJ8MWFFw528Ebgv0MmBH6WtSj1x7jir4pkSREAQ5be7mSqrQu67yIwzi
D44/HdSQN5EsMKt6zXiSt3ZTuCThT6bPKUgClFFLyZZKLOlSkALD5vp+RZjq9ITKR95KjrmSDvf4
SEJCGj3C2MDAnzT5auwsTiOS0q8kyEq6wCTEu/VZfopkRDuoaHhaOu2HNVouBeCRS//XzzJ0vyRh
cBwyPEIcEKfrwrXBIDj9Lq6nJj0CM/5bYTevUQoEXp2rbWkRc2ukqjRFQ5VEhRG/7kpU8aOaoCe0
7tUoSmtjpLUPUgXGiBF9lnEjVxNFmC5eEKfiU+Z52AvieMv0IsIZZM3nbmGgjTi1syLnoQendlAX
2NbamWZJIlX+9qIKih1u8SYaplvEBqhD5g90ZhfSBpPSwrddMjknMr96ydjs8Xaw3ZbRSf3u2q1R
nJrhOapORcefQJXCau5050gTJJ2r43ohZbBnBIWwEgU5cDx6kLs4NrgfQJCj/QtiC/Bw+oFwB7Pz
ymB01RDXYlT6YDFUAR2SPYYL8paiIQKlsNaOlYM0qMjWtHeGm/o7HqCLIiAmaD0cPxao7Q0mIZb7
d6BcIs0BrkF+4/0xxJgQ0rtqL5XH6QpPQJqQK9D7aVP7YElUQrDprAjkc/AlXJiq4zvG1ae7JN6C
hmRgY0RXSuUACPrP0EL+AqMFkrk7dba2FiGhUnX6dwSdx2xRO60YcGIjBmCzeL+oqi+BkjhpqZs2
VSaLbyW1XkfgLkUsDZ7yDwxQbewQUp5UzIROOeUYdNegYykNnKJbpZp/m0KqlE13HA6tlT/WC+7o
pQhe9JCrYZsRO2md4BJ2+MuY5ZDDH0paF9vv2jRjvPRcgofJjKDvET9fD6hCtyVC77NqXXt2h/ZH
1EzpuSVLos4Cvk6qtodGc43C9kvsz/H7qb2i9VSfDPOxsIsXkO50rhGH3DjS69lYJG7tjm9vlDVY
/Qa0zlAnWEg11f2SO+U+Sspu49bUXORDdwmL6FhOjf1E3nVXJVJ8rCgu9Jge/okbo7Awv5+2fIse
JWHblgAtp3+gmi6VOVK9wPe1A6ZC2hX5Np2FcTX0vKYwtJu4V/jtLpdTjipZvkbEPp4dhDZwvuNp
rLlUhTHClc2uHxJHezaAsmstDO8lzynUWhL9nFrizdWmLff38tTirOYpxSZciAPkKBgTKZcHX8TB
xiZcs/FGkgQabMaD5vQ4GAv7RdO+hpS1bhATXAxmUbIrkFn2lRvK8tXrANPvvjM5rqSLe+pKbi3u
7BmHmFJy9eCnkRAQSdxmXYW92CY5UxipjKh/KaT/NxzS5lT1+eM4YtqN5Pfesl6qUcveE2SkRk+Z
hvrZRloiseXZfkzKV7FwTVMagZuTZdIyXq6lrY3Y+argKTg9io0soGvtR6bNy1b5VKrMDrYNTkK3
DOe9Wk9GCdtQIn5vyoIp/77lKrxOYolHnZgStC59fhzva+GtCcO09O2mzUbJLOPsBlw8s02OgStY
4qtpo2Wq9d0q2pyKSH9ZmWX/4lNrd3aDt954qVM2D1r3LPx1qwEiBB4mChXuC3moE9JlrHwZJTzq
iiZqHOLJtmmX1ykc6rXRUEfnaeEOPqY6QCqENmU6/XkW0YMaP6oJqlYN49bU0iNQ3e8VWdV1UdM1
CnicSVeQXewZVb9nWk7/AEvR3Kft2qR4lOhQh2+Y+WRoE+bHkkMVcr8HAMmz1zOVVRJdOJLX9frx
aLLUXwOnWlZlFGT7Ri93S2TfmP8iPcYIvwj7GDniEUKlTNXigEOKtay7WreoCZUZ5HYafkxNjL0m
NN4jqIs5OWtraaQ/OuLFxMgRQVr/4LTDJCLAtDJaPdVr+W4ZJ+sQmG6IrbKg26Jy0jt1Svtfv3lS
abni138vvfr7L//3c5nzfx97sn77T/67Mq3f/qNL/Ib2U/7qPv5R8tX8/W//69XJpqv3Pi7ss/IX
W1Vv9dD/bObHn22fdf+3eerf+Zf/8VP9Kc9zRXfWW9kXnfzTQsKQv/Vn4bz97yu3jk32rfjx7eNv
eC/c0px/6DrXY99zhYt2Bn77P/9j/Nl2//WfjI//QTwfbrLwHAdLkMWZWM52ov/6T9v+h+UJ2+E8
r0MoMzx+V8sYTv4r4x/8pxi3dNMQnrBc+9/q3Pq9HseG5ChP20Qi+TuADH6EEvo5+rnf0mtaeFrx
BLn+NkVLtl9ooTmElWVj3ECoXeIajIdZy/bqKr5SMPYzzDOJFbJPozsH+1DrORc74M9biwcj9PNx
Hzd/cFB9qLSSLxbkrmMKAzM0sNSPcDEvy3XyKCkomym9R2bHhhhlJ731bGJnQHVoMEbNSabbGNFL
B/gG5Zw8EvTJ2xTAHRm6h8CNxabrxFf1c/Vab65dHRKgZpiHJXRuYdWiv/O/du+xEaQ03waGdU6m
iDLcHA8U+Ml+H9QHvZjsMwLJttZysv8jT2/PdSVpiyPTnnvfQqPmXl7tAi3+1Zro3jG2eqZMjNlX
5sjj7QUQ6UvbWo9J/tOR61PjjP1BrVu1czEnBi2Gl4XnOArgBBrNK9NwOklAZl983/QfSfv4h0Wn
yKrtzK9+OkPViKyHgVDZMcQpntdueSUyVKeUTfj1XK3aeXTu7ImBfLbU3mameT4LXMZvPYcUy67s
c7PY9tmpcwqMiS4G8RyzFlFcPEakU6vTEkwHLRXup3YuvupTeho6394mPRtenTYsWUH07xHx1Ifu
Cd3xbWzehkVg53chhtIsV/NTPnQD1+6K/ghQW8wjIHaE7Vn9P7OCigKF9hTUTnVmUM4gy6K0gkHD
2ouc5BDIA3WRNp/1KLTPHT9KvtTRkRqj+3iaKWjNHJy6bnDHdOePR5vfDGt/vXwHGB4pCRPP5Qcq
Ze3RxQxNC/iVYbXHMiuWq2sn8RWiAFdqG20hFpQ3wfKahwe8bf4+8tJq52rOVU08ErLapPfoOOnZ
1+sS3HQp/mgcZz35m8/v/VVigtQB8uu2w5n/9zeZiH0zmyTO1lO93LS6oE6JszrmbirRZjM+Tvq3
JYbkysUwxklzLIzGPgeVk127Gkm9pdkjC7tnsjHXjMnb2QpEd/jbqnp7Pwz+Foj4p6WKQj5WSvng
6+iN9ofX6OqJV3O2KRk/R8aOm/M3u88DMGZ6ete5so1ICnMTjyTVVtGOlibycy6mcKAL6q2cU5hi
HrmSOMm6fVg/mBYps8Jq/qBmKKPq/z/N8m56jo0w6gFzd/Gz6vLd/pt2SOFUaPnGRM5WuL/qsbJe
guhiwzc0spG7cr8pZigrIsk+yZjoRmJqyxmOQDhSCBUSQ4+N1oRbQTd84Tk/jaX5ZVsDYgeM5YGq
5K6/FxKxKD+E0ZTrEN2t3KvpGUo6mgla+t1AAJbxNS7w3URe+KxTtaMHVrtH9oJfUKEacq+Ewxpk
uN+i/Jal/bwrxPhCgQED83S0b7mUF0vrYPRYFr1fduj2j21Es5QtEvscmYS2M3qTCd784ZP+XQz6
6/3jaffhecs988MjT1sb4xRJMMOfV+8z6LRnL+ZAr9ZsfWRpA5H50uPoiKusPuSMuqrU8U6lCPOD
biMoLvTAbMWubbT5+ocX9y++hsKQO6Zpm0LX3Q8ym+9rBNBJz6+LSu8OVsGtuWenXrHY3nnFwJYz
TW8OmcNNBBG9yk8zBSML1HMa6yNxHMJxL1qQg7FWc/+ywFkOaP33Q0JY5X9+qUqj/vA95M3zDR4a
3LK85N+/h8ivc2JN1BkbbfhjbHnPikHAdzKLIuP5mD7j+CD9aHIOTbpB/646wKZZoN9EvMllPWm7
powYgnobP2mgCxTWqWh0CLJL9hr2fvaHHd6Qr+jDKyaRSYKFow/Su/hwD7S0RgvAKhTrssCiyB5M
AXQEFLM17ofC6HaDjmQBX2/nzS5DfuF6jNnS7jKnZP//8O79nr+S30LPEILiTN03LQPC+u/vHiFQ
LCoh9H6/19xVnTfx/WKm8xHV65P6Vdfr5lmbkoNTzTPpSoN2N1v/ZKdwnNTTl9vZr3FOgk0S0IuR
iQx1SMfhqM+wTbAM9OfQw1kXN96mdwx3N9baQRCr/sO7ypLzz08UvGl2UNP0WZn8j52QNl5+z0Fi
wTZdhruOMTs9G/ZpFvrRjAhTxPg4AbaAm0o6k24r3T6bNkhGhxDgJFcYq1s+Z2EIT4lc7coa7XQN
fanaYawzSZasnRrTWzY356Lv61MSolXoRnUbq/xYcRH2Kt88D9h1j5VfU08tz11Zxz4HpZhoS4qx
rZUnDyuOX2wPVXVO6HnPEzTCzP0ywlfkMFVsa+db2wRAEQI4WtEUfjdnK8YD5h4RHB/9ZfHuRYfl
OCuTb5WI3pDNKED0Ck44UX+nbsiMTOnRAHt0bROWXAjLAOVG5C2bQdtOq2fSB517Cbwc2Y6HwHG1
6kvpF1+SoYy2tUcAOW3jp3oCg55RzbBq7G2AI2nlV6N9nvFqX2l0ogbTvGipzFIh+vBs7qhsqTZj
nAOAGImSN2X6pA6o4xzG1yRo7112FQbn8WuEzfLgx8Yr5YYawxlmGKEMnqo3KF5Q9b2hvKQ0KhOQ
oy9Jp0EVpYOyQcg0iopGVfw35t7gTyvtXgDLcpFOD3QpcgzM3QdLqsyuX7/xM0THZZlIoky0XFHi
/JJ3xeecNj0Grkx91UfskR3npEvdmMcyF5XFd/VKxtG5wHmGI8zpEOfWts9AodZ28V0IbbqVGhDT
DjMPwR0AOL7jgtdb7Gfm6/0ZmRFGLhGogM88j4M7td5MZJY2aVA/W12uS5MrnFDsweZe8wFglwtK
gwd7lDB+c4C4CuPELhMaSPjjqQUDMDsOTC7kRprU85PETG2yLv8UmyhDdQzqREw2+Xm0pTlwrad+
wSWRjUcFruKH7Xu0/Zwm5C1dSYBNOxjnMIOcAxYb4gLNzvXi+AqqrdqlbQ5cStVO2p6xLgH70JHW
ApKf6qM/B9quyhPwMY136C0rZqww8WEwRpsmKJha1Yafx1+1W4VrnSdjP8rLywDGkrRRvuk1HIwQ
mc5I4HCoHUS8wIOyXnhztc+bRBwJ6BEvDCze2/rNHVA81uSIdCfmJmAbb+oUmWC9Ym2zNhX9N+BS
RijkuzovCwnp4cUs3nejpZFTfcmDoCmfHN3bRUQpzwu9ceqTn1PnVAUEUrzxsoS0k7ApomfBgcDy
6dhnQoE8IEsXgXO1YHPJK6QWAdYIc3s/evOrWQ86Ni3jvskm95gH/g8ChfPKKfFiN1HibNOIO9ps
FcOudz53In8pK+wjVus9Gsns3jPtkVo1SZJir979SuSbpcqLFdHTZt9aTfDkUdieLsO1xIG9qly3
geZNG6BfEcrzGhcCKvSYcHGtU1JhHsQfq0MN0ugJzp+tyvhkJIj26vuHAeLZH3XB5MnKVgXYzHVG
tH1vhQHKF/bRNq5PoydzEUZ1P4XbPOlf69T9xd3hDtJfscOdtcXxvqXaeFp7VDFt7CrkFAqm//T+
7kzOgNuSiQbEOhjGwvxk0gp8nx3BROa7NIqv6jHFk0Jbkt2kTG10Jg80L4/rYbSXs/9Wx/qqm+Lk
GJuL2MLbhKEEh1QefuVw8NzrWABwgZBIn8sny/O2dZFbj3PrXQlKTreszWUbAugAM+C7HDV1iuts
xCiXf1dvv1rJlsDZDbKCzq0CnSctuPWgSZDCByYOAYi4VRcAQjIxOVwwWIwJWF6WyyQDkC6/RI4f
0NTTVrv3hxkfdH5tScXGDl9gtPRdQY9smVN7ILeRRt5nQaqr1Rnu3I7+HW+btMlX6Za8T9haO3k3
asP82uszphmfoH1QpuKIgCl0n6leS62h3HFdG3Ojac5HZopwGxw2by6R/RFQHkwqC58dHgsniImK
U7N3quu5x8gyBDt7IdDK7ebeZxNcZ8SHdwsVpO/03xiH9KGxiUXXsXlQmWD1INkW/DxLUMYkor3b
gLWoXO2E6ajNZvscj0a8cYwGAkTazFv127h8iJU/lO6+haG19cKe1uXdHCasK30mjl6c/ZoTYytS
Cuy4S6n9V+2YToXfbABO5c1+vhHLVJxiD8XDRVbUOib1+OI3QLwZ4yQB2CQbYqoXPxEOZV6n1tR+
elTy6xRgRg35mtMsQa6V4emz1zX5Uz6/Jfg5gnJOPsX28py2HKttGQQgg2NCbjSw8FSwroiS9DnT
U4L23Epjj5uVMgGMiNM6PDnmPDcoXgP+vvJuTnv/Pok/meHoX4aJ5p3aDswH97Mwu4yJLwqTMYz6
ygixSVYtZCpNNza4JdjbA2k9TIlJuYU2rXy35vOTxeptLL6FUYbXuwaK5CfLdIlxHxxJ92H/tfy3
WK/GncNjY+IMdqIl2FoWxi211oYiBgiGWxybWhkcbDBXDQZmSNFgW+xs4IysPqoBwythAzx8dRHs
k4yxgMGaCOhIHHKfhX0aDYpqKvLSos2rYyYfITc3D1M0ebva9eG9GfykDt6rqdICqhoWjjNpxTGo
pxc8TMDz8yGPAMMo0Awv9CPHG80LwMjvM9/8piW6/eQ02S8rx++JOyEt9OG9e1bd0NU3wuYBbrC5
3vEOcZjx2yPlFunJCyn2LC0uKg4YhS4nn8pOMR97kLGoyc1bXA5ksjBVbSH1DcQc5s94PUzoL8v9
TAvyXv3pSgQoAa3ToEtndhlwNKwmGkhHY596Hiz4PiQHoM2URKF3bSHAfClddziIID1Yy0QdVT91
j0Twdb63cgLoA0uiw3QrWJ33tncc4yRZGxHrtdon6YWJzwMEn2yyj3XRmnfCbjGxJOOxSpPoaakp
mW9pRStygQm4Cb/qQO/ogE1f+4y1JGs5XadOQbbVRIuE3vdgB0a0A3cFqSOjNxeSMAwSTGE07mx9
QTm46WGCDKDejl1i7VJYJKveLNJ78Dlj+MTk2MKMg7nLdJxPasvWjG+mjw8PcRcPQi431LrAZhnk
6z5c4h0ZaPd9jqUe39QLF+yw80GBr51I1sbLK77FWN6GK7OqbD8iiWRSQwXwH99KTLizMwDlyNOz
w1M+QPDc4ZNadtxW6mMJWPEeXuPZWcK1hZJVLmxsUU7XR1naLEXysBIFo73zGECsAsvXLu/rdr1E
v4jjVSsqe2rCX+6w9uc5pXuGN0/3RQB1p782LaulqmWUa6q6HuIc+WURjruUsvGZGs3tu8Tq43Qg
FoCH0meUaTvxA7x4MHn+Xh3GHMN79eFaggDDkmxnXBqs4m4qCRkOoHwSnDlLFow3tQdbbUuVWm6l
a7U52fOwNemW2i+te8Rz4+86c4sLsjmX8S3I9PyiXiJj/zuuV8xv9PleCq5pWZ7NAKqM37YLCa22
PgKZUs9+i/d/R8wEh5ohyO+n3fM4P5jooVfPAYaRUr0rFxIlzaive9n09gZs+JY7K0rSGFFtIFZu
9H9YOq/uOJE1iv4i1iJDvTZ0biXLCtYLSx5ZUGSKzK+/G3RfbhiPZ6xuqPrCOftQRmEIV/flIu+i
9cro+vihqFuAiS9bYQP8KLtEZvUFmEpnACkfPeaNZ6dHpT5MRCQZyYwTtSDJOq+gWfStuhvq5VXz
8+YM4XWXWMMljjS243Z+KHkegs520Ef6ENJLo6wP2xfQpPOuGVj9GXpmhYUB4Z94gnhvpPVpK3c3
KsA8V8c20tmVlQ2DaobP3WAzizZczPXMoXkJULizeh7keWyRZDbWiohgp9SSdwox7796wScfkHoA
Tp2REUa9vHy3Fwe+bvx7HtQVvHT0MkXyzpjt3/YUfWixlxwqRlMGHN0EX+Iw2L8wWEO2bHsQqUAI
QkZ0kW7Vd9ickWfPvEkxX9nIoH5njyLd20Cb96yFd577YTZUrChA4gfH/900GLRoPI4m9O1d1zTf
ToaGpmQfE8wuMcbW0JHDTGuWtOCTWI0Fhq7+q1rMk4tbn+l+YOuT8XsoWXsADPEOVj+og5LIl5GJ
7XosQqO5T/WpCizjT9+5DPqrrCckDqydVqrASWsLKgSezdQq6zBGwZLROSKb47fk8IYnrGHPeScD
UDfyrEewzXx9eiOOug1t33zHe47xxrLTPbRaYcaUjgOh7cBxHDqjmeECL9pz2ULNAEBKxInz12ko
K5todhGFEAtgDuU+cxuSmFxU6pPVvCVRmVyGGilDERFGXHvWkWovX7kDFzhpbE/Smyn/VdY1R2wb
tCa/WZNuEzgnL0/9g0+bGMsmovHPnF0jVs/i4OyKdoQMX8UfiLi+7Wlor7KfGLqCyeSdECitV/O8
sd7PlsMNGEkAe3iBir5KyfN0sX4gQwZZuXNVUe878jESO74Vpmbd5txlNkqbXhtRFlTOzFKkUYCB
FnMJDNQWXfaLwcV3WlVI8ud2ADdaRGh4JCb+1SQQ+wQ6AUgXhfHp+zNsBWwsvj1omMnEnySdqeek
nAOlnNNoKZ46JQ+4uNGVjBSs1thf3dIHaA7qt6dRh9LVEeDZ/sn0MZwmfKE+MRbEQ8s/7qC/eutq
h9Yqomhh5n/uysI7mmt0QZVYZMhkgouSnr/DO64W3w7UkrwBnDtCDJpPS5Mf8A39lfLRVgMKbg3z
rGfzjA5ZP52sltRhfrmE43FqKv3qJp4RFm3S4DmVCFKrb7rd7IqK+KDS8sHNkXd2uvy3AVbGXAR9
Vne7SSdYfSoErtec8Qbs1tx0+DqM+UMbRE6hi5zZScbAclNAKA5/75E/cDh0/rU0krt8YL7r18cp
xn3EOJZmPn4b+VnmlAVARVwkzRkw3Y5Gw/61OIFD4gDkwvoix+8IxJOr1BNw0qCgcNh1ZmXjlM+u
yR2MmZthaPqN2fKzK5DWi3OycEr0xfLtTeuh3UeEpLrOsyfIWS2z/Nz7fDFN1p/TBlWUl3x1jY6Y
hSGRCZUGozfRFnbF0EDp4u/o2C9Nq2MGHfy3GisphvC9k/9xHNIGRSk++zx6jYkwDFw/OkfFUgQ5
FG5qpRe3W6FCy/Rb981HwaUUFekTBeadrOK/s7DhS4zi0vSEjeg11HgD5RyZYNiiPP2w+Ekb9BHK
nKr3+UOVzutkpHAx+8Pg0TZNWf4QJfU3V/dDViAfZ37kcgu35c6Er2r3fFdFxjgb/WyWVE/JkkRI
MgVu0Ak5HVyK0M103BJm+9qJCtgwP2OV21FYFFjaiXqwQijPu1yOTYD9Bc2A2Xya2J/3rAzWACb5
XJRoEzM1aitJhpCcmKossf1XEpBXZTYsIzlhWkT5G/lwppKbirJvW8B3WVLjWaXJgTP43OEXuqtm
/6t3LaBqSEMxt5TfcWYCJ8MyE1ZOS1a2ibiRpzlCqACgU+raM9s2gpYBQ6CRnfHo4KU1lbonteG8
kCeLAJ9qpvZqBwULvhqCv/Ol8MLORjyuZe9WYyLFqWrKdTFyiVMmFNX8Nk/2TBRaHtaL7Z7qErz5
ZNQ7Vh9a9q3Wo8wfS64BF9Fd11f3fNuMZGleKVGMFEGFg3mJOJppaxVrqHSRj89vvKRMInZR58Pv
KZYwaqMXNvLIOht5yIrc2Fcd2rxkmK9llFoUpTVf4FK/u73dnyjfv00Tl0mTckC65l5Pj5WnPqqR
QES5xpRmzVlvI/Y49Mr4HqoZ//B0LLNxgNZtLztVxA+Z6V2kyTnbe/47GHidZauET03GjTLOrWU9
Um+MZABgaaKQvAgvIStutu6YM5NIU+oUJfOIaSmDd5Kz466aR/jEdO8FgnEYgDIwJy581ZHdA5yE
w7v8tocOTiHCT2Y15NSVQQ9hfc+XGEq8yaccFS5n9Pice1hphD9XYc3UEPDAmR68ug3VVO16uig+
mprjrcMUSbYPjljHOQ5OzzEI8CEWES6uYfibkueDlWq4DNhBd0X3izk2wuzuBA8l44mn5c5c82DH
A9ogqd5N3tUsNquL18nypHvuSauf0DstJ6Msv73BCKu5/pzT+rfq5DdafDIpSPK7mJojA/QYa9aH
DrNMN7iKcqfeK/sfk035VHmOFxAO72EgGiWGmBRE3IVZ31qoawRlpe5n4XOijZX5S5c48PzuG3XB
RzcKVO+GIprIZWVnL+2+IKMsmCKtu459M1+m8kXIKL1GyYMusC4wJ172Uws1X8s/lq6IQwfla+hG
Ux+4U3csDaSQvAIeFYTZo1WPOD5Mk5t4vmZNhrIdm8RkjDTbzvjEXRmHqe28tg7JEYM7UEgVzqVB
vUkxzOlisy+f4+5W+zpUPY8/tQNsnc/94MbLNfPnf+PyrumNf0ag/TxHlwUdAMnB6Cg7+Bo8LBKI
aZKTyd3uR4QChyzX8fBePRiDtwKB8I4xxp1mU9a4pQk2XLPZrDqvrDxyuF54s2W33GyA9I1Wdljk
05kcDDvbR3ZJ+Jq+7D03r/nAzMDQFCEeI8lcFbj8HRL2A3leT4P94A5YmYe/WdL9i037aS4HM2gq
/62HcxKO9vBZudfS5XyrZE+kGGbZE5HSlYzNcFKxfvBrFNyucNkc6jrO0l32QHhyfS+0caWk4oN0
W2BOLjVzYP6qjAjAMFuMUNMMMqloqPYpyWCh85Bw+7M/BorPbEzcJQqsrZMk2L5J6c1K8BVT4+qX
OlFfpGAtBwbFj0VTT1chvCc8BtipFOTAUfuV1dLZ1Y393aNNQtgVY69Ar155yydl00OUmgTd+s2b
PZIMU6Qd+T9D9U957UTJrhORiMOtJJ/H60eKFy13jungGYxDRvecw74JR6V/pn20HDWvufOXQDOd
EGl6Tk4Q4xFIBJ+1f44MIuMwmHF2x3pIWhXC9c+4LpAK+x3pC/oAJJeSE3K/jxK2yk/gkP9bGvMZ
ADPlTEQ9FDMEaGOHw4rz2ovb14GM5Th5TqfmYlOAgTWvQ/p/kl4amIywkLCY1pJTq1rhJ42F+Nig
TwCJSEJXtJ8zStaIJOtL7xYPU074b86LgCHoT5LIc93EQQM6FlX6IzuZFyOZ6kslKYprRP+euSg0
eWjBLTCKYaZHEzsBV5HdO1phMyjv91I7zqVKJKrI9f+yKNXuE7952n6R1bJ47lIAKQ15JZ5enr08
WR63v1NVOD/J+WhJOIJD1FDYPLbrf6hsIIupstUpHYT1aInFfkSdGR8ao91PpL9g48m93+WYjCEo
+lFKSsUUYVU148n+6WP1nCNOeHfCsw6rxl/5aX/hcB4xqcANdLNVJxJF0allXhiQ2LEfF4IfB/8g
09g+m3P9npBjfeCoQnvpYi8mEyfj/oXLmcID2Lr6fvaPWVGPD1HveLu2xBDtWzWPxFQWZyN7V920
xxpcPooBa7ORzwR+rzKB0vIPP6oCNvSAPxFxciTNE5rRIp3E6vZrjplGjnjWNs6eM8efVqftgvxo
bvBjV4QK/ziMs0UQj8Jf+lE7FZ/SwnlPiZvRwizDcWys8WAsVMSgOUTGh0hUIOqUEeTDYnckbbGj
ATOT2ael+NcRUvfCxbRpz9b2v5gsSpkobw6iRsGEX688jsbyZ0j5qRnN0aV90kY5O1Y+OdOHka19
NV2zYXIO1hxj1Y3XYBCXm7r9ipU0qZ08MLZTTAWfzOelI/uxbCjyymiQt5MpfefswqTZwTj4t5gW
N0av2n3cUYhXPcejnRnlLdHKfueRkXtpXf74dqEnewlU6NFUWrzTE7eFgv8LM6xPsCcqvLzrXije
JB6jPQAOE9lN+lDms3z1pzcaAjZgWKxZZKV3AGi/oDDHe+ht7xpy1Cer49nexkprZl4Wx6+ZdBU4
XhOnqjQv8WK+kK8o7usmaY6uSP+RkzeFGlHImK57gsmmNz9C1rZNTXDH2MGUoIHH88m+LRIxKWP9
3TaHn11iY4wq8c7bPGKb+pQSNYoXpdPRtsn1QyRXEA2l31etRXvpyHOc2CwA14m2UbQ8wmZkPLQZ
ERD0DgjtjeJUG/HEn2Ksfx7bOKF3GG0i80YN6fWa6Gn272kvFFQJ754+0rtbuMQpRiX19EGQnzIX
VpiLuD1qDcu2xYJnbkbfgtH6tWR1GLPnJoEsUfGMIRkHB6EtOWbdrjskqPiITqD/j8cZk3OWXOp4
CvP1YWYxNz3CAnknkOp35PqkIi8zpn/b/2b0fVhWqf62qKtBAR5yNAONWaYHKiTuyXUE6mOPo4+l
vEGn94WqCZwYlTlKHVbiBKKwOMi40SPhnXPJlDrve+Im24mnOHn2sa/s8EYQ39sDb3d0xhjbT03d
DOGIrSDMx3xf1W6678SCwaJueQnR+9WO3/Pp4WVc/z1OCiCmIxKIjUZOrqPFNCNICSkLWjkQbbYK
FStGr0cvEbvGjvzT9iSQQv2KzcK5KDalnex/UUQSQr9u9AWfB57HeFePBsusCUO95bTmgVnsFLYL
pQB5JiQhc+AGPd7wUJI6AjM9o54HwIR6ouQrAC4S5bjn9FqSfzqz57V0td7e7NcRF6CcIPkqSVUK
1tX71xn6Y+LpA+BwqGaeW4Lob9dHvOcaWuU4tpBjGGNSUdF8c7JlOvh699aWVc02AfdQl+hPNrvm
c47jJyBU97FDhXjVlX1v49cnJFxAV9cSEj0gay2DJMpjyNxf61jUTFQKkYdhd28iJpet9a06EDfu
1M+4CvhBkgi4g6qTG3LVP2D/V+I40ejGu1xM82E20Y63vYODcNXfMIdqdlWnAI6sM+wolg5pLbWD
j8CWcGGMkzvMuKg0B6xZnJ+iuaoPjcYlmlZj/uhId7iHncMmmdNXZOkhtXfb7I+Nbr2rFy70Bagp
Rv4nrNoTfgBmvN4HRsD5WpmYiirfu6kGpVmGpKobXZvjvLw4q77Sa62UyoHgDtx13Tym1w44ge8X
WNorHg/hkzq0pltBw+mXGqoc3NnBKqBmte6zOTIs9Rv1BVeYbBVXe/At9bU9NP2EYV7FzQuz+7d4
KF7FOHjhz5ugBBQOoGB7pWKs9bic7N67T6RCQgenIXluc4FVLI/ebIWxBqSBsSJZ4p2F4PY0MQQI
Gst+s3zoVY42Nwd4yPWhs9Z4pQkVU4oPKFp3maKlIAUukOyTgsvWJRoGlRvby8ovyDdy/prsta/C
jUEtFC0UFX+fZ7agdaPnpvl2jrC7HHJYPNwE8FtVHf2tMl65bahdZogfYOTFD1a9PCWu+WlQ+957
huwvJaDtny+JoalxhKZn4GzAjLZuK+0l/W10Q3nnlurLauVJ+vmfsWL1bQvj2SUT9GwBzjuQRmPi
OPS9sLXN+FF21ZcPwnuVKswLPC2F0OfmJ+RWDst4ItIcjGCs/UuNBsuGbz6hM5l9i/mkHNGMFBoW
R4YDsaqB2HRck7PsvbvtR4ltH2ALFUysQz2zfQF0vWnMIJtTGGsMg0+O6t5z3rUnw/H3c1NigO6R
HidSO/sWy/xhtu+mrNWunuZ/VgQRbE8B+i3nSmLeu1k5v0fq+cbOEFtkxd94wNebdReI8CNzz+a/
QmFJGVJCSlvBEntCPalb+u+Ob4hPcyiR8tpIbTAC9xECDNJ4M0glOGA0rAUVoTjavLM8P3vphuhW
WshFGhKxcLlnV1NctjMIh1yENHKZoT9CUcswH+1MOf1bxuy7dhMraFCPUXSzdk6QZpDpZS67rYLb
LjSitdWe7dA5L5qHrSipWg2vLSaqHaiQcUekH5GZ0IgBCZfdabW8kY7to2viQlIyutPF/I2xJP6j
8yptOs+tUNqO+e26qPvm2/D94XGcWZUIGyCiHz0VNonM1sRbo6VD2EIMgEiJm0WUzGZX65vrM1cA
fiZDJ0op7/PY2fs9pqm8rt5xvoHtQR3teGDSayf507uwbfl8045sunqYwu27Ksg6OCV9fLZrf2Qn
XDxtx9WySlkSqwzLTjN2rD56hh9s9UunOMesTiDoNMDYzfRtu0d+BPQoo7QPQ0rtomXLnwWBAgXd
6olaCwPP8Wtm7KP9UArzj5iZqemiP40FYKBBSe0UKXFjth9f0jUpXSNz/BgNyZfs9Z2SPYRAS92D
wMrue1f8813tPKT2b80ceeNtE11kVgOrEE1PtkPck8nh25gE1hRWr4tYQylO3NHu2TFTmdnRML/K
jBN3U+5uqj1H134lgqDqiakMjIx5euiJ8Yl5yribebAwdR0EvXPKOAJg2UeuRf+2/WS/Lu3rUX1N
uH3G0WfuoalbXBNHQljh42DwGfyohigoKkMBW25X3J9pgIgd1BxapTaeKz2+F3HSHnINvhHdPYLe
VbTGHRMfvVo8VOObObcW2jETP4DCS2exq4ToAsBlBVYg02YFuOqIu5Vx1A86vU02k+m1fgm9xbxp
FPYLCcQ74FpqP9ZABGO3he3Gr69XILlsdcwAjBiWYPteXUqTg/IiuUf9MYaalSf35njN0ivsjNU2
UZ2GNQuZji3Zb6v8vKfMSaX7YE/45mJUzxieyOoirWP7J8aIocB28WCtaameZMlTNRDBFpwnJ7ed
kwNU5TpCPzFVWUHflMCoNmqbepObgCEYa1GeSOZN+T12y+O4NNoFFcc9OvMXK87FKa60R7vH4BU7
xMHZqOLsMU+O2xftgqS4eROrGWs96KakPpnNXAWGaRETLNQ5q8wBOCxwNBbLF1BuOCo5u7fSm+8G
kMxYfcKzG0PRTTmT3QaFpUMB2WAxoRLGadqK96oqnns8F/elhwytaSfYNF5XBd0ENV3nNU05DsLc
aQB+TKk61E5130UWOAE+xs26sTSUnonOiCNvvKvGWQzGgCeRtqw+AE24EEkeB4rBX7h9e5XV8YtF
BFDJavJwUyfby/PMdOOx5A/a+4REAUORYTQ1DNOdDNT9WkbiMGuZmAzzrN2DR7rIwTjrkmSurdYo
wUUilEG1WJMvtIaObeL7EaXnHkvtreXIpPr0MQzpdh8dtk/VyHPoqNPw4KEuzdYALPC41F646cFG
IbEw7PnikNtHy2uckFI8tdyeF7Ou31LY87JrPgiGuDPsIfu5cnm9SVlFArNHCFYERNw1GOK3ddVH
o9zkuN1mgl5Ra6b/K2fSnCEuZkB0LkxlMnd8Fpmt/bQ4ZP2ZQapZICHj8WHrguO+PDZOtvLaxI05
jnjw0ycnI+3DAwUQ4FcVYctsdHsjZzLfRwFrwnKiu+3GLM6LlrrH7TSPU9XTn4v2UihfHqOpuNrY
FIHPEOq+dqcTFxgTxgid0OhHAcEGn6PGi/4jpCXEzcq663ZybfcIIdHOUa/YUlPT8i9eyBjVG1or
8uX2efnJ3Ng69w0Yp7Znxm5JgFNmTPBO14+H7TjYxLkcX8AndbhoDvyDwfnPj4GNaf25SaUXTF3U
nXooA2Fdjaud0rBRabQg4ZPxnTA2GLpL6dM0w5ubqrOFlQ1PDovwpED7lMYUIWXlz3sZ+6wYZYz2
M47fHCLaSSqkM1YuYlyedetIEtZ9Cg9ve5J1yBtmxZ+KMdYvCfvzp9WKtQpyBaybUV1/FtsQwynp
+7vND7V9CTbLVubWe1F55hUNVbQjAY+enVcMFaG2NxXETiKQ3aNmMWnzovpMRvkvr4H+kxCmG7Xs
In05fRhGYh02FSxSbJPMa3/vdQ4LBQsWU56LKzLY+7oDSfXzYeqatu9qE9M8x0vqkccx+6T1zR2r
nyTNeeeB48aq+tDbvjxprW7dFXka1qvAxckJgF2zjm1JYqPTm/6+jHEw6xZ7odIa78R8tgZG1avf
I18rZm/t2rc31c1GSNk2kz7PawELZ15MWYs2sVm7TbC4QaMaeUIfYe4mOb2KGOk9kQvyRNZMhnKE
cmQux6+8ahBMOsz5AG+gfHTnY55NxTdzeYd4Of5XOYtH9pAckoLyN2rLf06e7UaL3R7LsJlMmb/V
+tMQ4vmSpN187yK221V0PJSOQGm69nN7xdy16F7vFdIlAjlanxuOSVWshTcLn4/G7ao/UhMjHG6I
GS5TnBbgrLRQeQvIAz+bIUoZgcdZcGFw/K6wWWPe/4c+l93vxD+V2MZbgXQ5tBS8KrKMb5phQbSP
1Z0UPtF3xn+xRkaC6tnubDf+wjxhN/kY/eTMQJT0F5pVrbybIk9drQkUqG4MeWjVzhNy29/ZCHcw
nsCmF8hgkOsi8OlU/rhk6X8sYfL7qlHRoSryHcsViJSiflG8sYdRVYJVvBFmrnWxO60mkt1ITzot
6i62jP9SN2VghA6ais/LwhwMLD0wzkSyxJ37MRKIr2ysnJn7DTAKxuSY71s35zavImbOq/x7VWT+
HBoOGexFO6nAjYx3O2dlwzjPDU2PlRc4PCMcGY7TL3L6JBN7qUI3RBAvHTtGHn9kPtEqi5t2I8PW
cFAZxwRE+lUlXBarD2sVaPqTOrQDa4gky8YTnLRsxd7nq4Y57jC3j1Huh4P9XzFF4kEzO4YxtCxd
b+zg+LDbnwr/yNzWDcqe/uynXazU/wuNWsgvh/DSxyr9QAIy7YYkAzhSfjVJ71G3JXnQQgm/srMK
xdJ2T3O3/NEsjctaMJEygWw5Vp88dwRvVJUPYoaeWzPbg5WzxpSrgkC4Jdsko/iVJ50e9FZnHxo7
/xAjjo2FXFnbJIgbHvVd31f7Piv4sXqYBCMqUCbp9bEr4D/1xnizptm/LM383lZVckdJQu4qmp8G
tuAFP41PJk0GSspS6NjG9NAiIb8WsxtUy9iFlsm01eJuaib6KwXRl5TUpznB/pR7T7PhkHToDsNx
McdfJgfyfVvwQxiShBa+PC2NJzpKhDNMH1tiyTu6ZqSpZtTQSbNXnbOlCyyqxUsKe6AlrAc7IIcQ
Byun661uoUX1Z0If4ke8nq5zV9ZLc25QosH410AcExxUOODGDM0Rlx+d6ab5R06F8HCYdHF2mkhe
KpYSmo18EQwbk0dzr7hC6VhZsbCzQg44i/WQoVKbsh4Nk9chKTLni87HSOCp4V8i1DUXIGKBhgfy
0nh+eTNFhSOHCqezpmc96vQHPs6azZxJ9CEyDpAOI76Owf8gHSs/JxNXLI8fGCzp3/UVl7Y/xRdI
GXddKwqYEV28J+3sHNUALFnAj3gOVn/UWkSpUrUXh148cDvSQtO1W06cT8Ld3buGYTSsfOIDxYgq
u4Rutv0ewdTirGIEwttTMxFjsSChbArv42dA1kZfRKQeJUKl61YOd/5wQZ6pQfRCV7GMBSQ5lxh7
J2FZG9Xxl4geEQoW501CWPrxeAXNIm/NBNBRn6djrZNbSpDBe27iEEgRCAkz+mvoNS662TjNnvOd
+tK6bt3mtJgPqq68x0JrDkrv8VikCKhjET90r3ZpNY/bU2S1AmWlTvaO0aHf9KIyveRejYmHYWX5
irn2A6mE9wzrjJNyKM6MUNqTbJkqTPU/rbqOJAyigc+giTJmtH1k8Z5tI89El3ZQsnMYdggn5NtX
5dxfJuTMlTZZaIQqEKXr86oKNsJWekfsIBPU2PzqV6MzWXbvxWA1IYIPMyQR/bgQVHWtMvMJ8w9d
BIKn7SySXRTqXmwfLFE3wWDapFFTfVG2RugJd5uYe6tUe5zA5LfEL63d3BeOmd1vH3TS9xFekeGP
yIDQFIBcb2MfBxsNrkmkuNaUKIEWyeeqcR+gbr4Sen82HA2J0DqHlJOjjmyMnjdrr8Q5JDqaWXT7
x210rRuEhGfl2a865rmuNgVbPVdKlL8oYhkMbvMkgVSBZdJRyphh8pAv19hhX2tk9Y/js2uWlH5g
ZnMPFONi5SwJdDgheU4aLPY5rO52ionDmM/rpsQiU3Ln4OI+Rw7Ks+2I3X7crNMvE/vB/Wxp+kno
zh65VxZiMCCoUgzFHWO/10YTxH1Sg6D+HFEkEEgOsyS9L9v6ZYGcUkf9yeaPe0Ep9JZMa0lPD7Xv
ojh5MK0vtxjMi6zy/8Z8ydBlsaaIjL+o2Zqfr7zw0vSgRpjpjJKJGSRuKGXZF2pM40jM+TQL5PJb
eZf1RMkJA5oiGkoiqG0R3zlxdZlHUcJupzdd2uSGvdBn91EjVln0h6j95VR8duY6E0SI9yENzHCM
sYeqs06Dr8pg603wKgaVT45usgquMsVCah1FR+gigxxh2wkIcMW9EmCC+LMdLt36vDL67fnrMULo
tSWvsvcN+ct/Y+P4XZC5xqHOy9IWmJU3O74pPeecZeC7gPBd6vTHjdGiE9zpqhRrEEUZ6qDS9oJc
kL2rAbgdo9v2ASAokPfb/wLQaRHXR78zoLp31wBZdPLPovcymJjJzYtG++oSDnjd6gA6gupaoz0K
SFcEzlsNxQXF7jXLMoTh2/PQDFa4VaBIHkPD7Gca/X6B2uVWt8Wu7k28XkcNTwx7Z94R4S3Pqgc9
YJQXwzMZHacEHW87k+2Kjcj+uyeWR2eZkjpA57svXsmBeqgYz1ky3CofKVGyopUjxJlNR0kjajQ/
tSfDbTwgck4RcG0BI7cGzR7bPcdVGSc171mZQG7ZykCkDzchoalNi36zuoyNomNSgqL8cZaPahKh
hwfwDwjDnYQjG7A+S0+jiMC8lee0M6AopJLVCWOAYOrJEvOd6Z8fx6gjeY5KoVtBNC3eU71K2w3u
yHRsEqBOXCPRuMzXybaOdS7bYFmWKYyErW5I3sOtvCcmIzlZHrs66S2nbVYwKMd4wP72yNZf7LZP
fohMVqcEyfc68RCDlsrDkCCkaQaQTJPdV1dUCfJ+oW1DMoKibCot+xyN1r+txtIavTz2E7m0ta5a
zPBddpCAkLcxYiJGQuKXen7g5SajwjN/Opqm619ZIrYnVg0fCEqILlidmRl++r3Dfg7B9oTeteI4
MftOPySJc407he6KzGePxO9m4Odx++Pm63Cr+D/mnOZLBqjVbEh29EgWD6xB0mnpy8z8nbxlc2kv
TeTCFmDzIrX0cRtQDL3WPYL6eainziSFUwMxO2ng5zW7v3oLhfjm/ZtFX+K+bnZtI5wrikZYWAnB
y6tLpGAudhpTOYTRzN5BlqSwmIlE2sTcihiPe58qylk680VAbycEvve4sFZWCEeYtd9+xSu+BRGG
JJ+T/FdhQCOfUiOtHvd2oog+1H3GwU9W2sVotpmKVVPDX2AfYor41EYZyyFjwgfCAKGUsXeVUk9/
2fHoH9p1TtQW6lVonMt9O/6NDcJqYNaAgkJIjqC6GJDPaHloj67O0osdv2oNBpKUWgdtyn8nbfnF
StIhm2k+eST8dSNfTDWNUONtFO/QoTCIZ8FSauJWJn/rWB2Vx1vDvas/V6rQn4GZTwUDLb1uxa4X
MUVXq0+QjMRvBzLRJesoziodoQJbFaAognHxaGGTo0RXt6lMPzfnQN3yDax8kcZMnHD7SzHWbGTr
jX5VuhnfJ4zSWaZyBK916QqA7rB7I2bDQkw0AmRmj8Zu1aSTE6FdUqehB2vnj3Zcfks4TZ0rPlyK
1R1iLUCRUf4+QYdHSzUATXT7jzGuunM8JOPBSVpAq1TcfBA7t4DarS10fuZkMRDUNAgJOmzEria2
e/OXjUudBLrLAtGMlX8jcnfNN7GCymX0UvpHtiYpvdMM3Cp3xqvsDA/RcPqUlKl4KP7C4qx2GQFN
0ma3YQF37Xs3usrfhZr7c61JXowMWYSdk9tMuOJ7YtfVAbfMdyTUtK9yHaEUX5HtX810IH1TxOU3
zhfnxLzYv2EaCkn0eFblOB4b2Oau6XnPBJw1Zxbvd9u92rS1d811/5GtVHzHGAFKg6dIeJ4ESzPX
PLWLfmkN6fzaHrpynEuCs/y3gp3tTXkJEEBh1CEoPiMExSJp4sqQQ9zCIBTtSHznYc+ZL5Dtesy9
+R5hLz9xoV+s2U1Dg0puD3p02Su2M0+E/i4utcKUvSHc/A8BSPswoNGvY5KSPJC0wdJrkn6Q7jPR
9ijTMOUYdbur9Z4h7rhCedZzDWwejOB0RmO/lt9Gg8rXKhcyuJn1bu2p47Limyo2fmA1GioQ/AJ2
Wl98VL9OqVsvdm585HP9nOKeOOLtkXvGVmIXpWN1jK3cQCxsYiRt81djMomLblg6NeZ/emKnp87s
Jv4p9aEFAffIXtp8UoPJjpLEBnv0PmJiPzd+Rlrb11IxClk4YVFYo2ckJUFharMI3FjcS9UivYrn
khggftizphcYnmbdC0wUCrwJqPDXNwcLGVublI0U2IolseKHdDH+M7oRJWOGuEHNPMixw3nkMrZK
2HJvlUipkBx7/YnMiPxs6uK/zJkR8trjs09EiI1aeytAVdK++Y2nLr09IPxD5sHvU0+ZVY3EQq0x
luweZlIqdjymQFJ67jej89orDdLTAED06JJPwtiNqHJgzwwAMUqcvAVRuYHZe49JP7s6I8nJxuSS
Q1EW6pbO0S95tte6S3lFc+FbxVVOzDWehRF5suk/ef0nCqSKMILB2qdkcLg+u8qsg+SxbsM2EFOZ
1y91hP005XIlRMNsaVI5mqL/MXceW3YbW7b9l+rjDgQ8OtU43qY3THYwmCQT3nt8fc2IVL0rUbpS
5zWqIQ1RTHPOARCxY++15kpcuj0pEcW8b4aMiMfyp8z3puPSw1mwkBK43hhv58SeNg4Jzltr6Hil
3tgctDBFwQgwd4vKF6NDRac+q6zhVhsqkkls95saBZpm8tNF7HlK7eFZDQS0kcewF211YdXclB0P
HqFA6Cc00u9cxziqPO8WCAxjZa3fCiI+wwAnLx69kucwfLfcFka7CSFTNe2KWNCEtIePkeRFjWkC
BFOwdnNhCnzAOwMi1gmQb72v7AUOgsnSX9f5bWEZ7t6sigflohfYxNWB0yE7zqF79pAwy5fbWWNW
+1FOB82YwWk+Z+YOL8mF5iyeImnZZqVE78CUVbCRHKqU4LkyHYtTh3KbgTXq1S754idZBn0UR3bR
fVfflhvzayBG/VRS3uZpG9wUJoSmITTEzqmH4Yr+UH8HGgE4umP+XBfcKfjsp8jhOG81/cuI82EN
0e6RsIoIr33BwkHIhpXpGabA/rdT92RQnzuBVa87393olYlYtseWnc7tY2baJBz0wFvHbnHWKEHP
JRr+axDRfh4nMXF63ewDZvpX7K1ckLqyz23rXVKGIVfCsKx1BLR9kxP8vI/0Cb+m3J0xufX3It97
RX9qwbGfbVDOZ8aG59kso8da0y6BSQ+nyWnIWX3f3c02b70J4KiG9kPQwi1pjIYg7mRgOuNMLY00
ZJqNOfNIIjZ4/9znUFhj+q/HgdkA8gqIb5/7UbG0w36SP5K9u2eeD483Yew1Iv3ZTsHi3y6zWJtS
8WTx1Jop8SA2i8pBg/iygYi0bBUIwtPvFXkDWIpzRLBK12ruLAgUSbJxJhSbRRZmiBFXbo0RLdMR
yDPRSo96ir0r8vFkwPGtDxJE65SvFdKgwg30By7bp+JjmJKTsPTqJLTuqRk87BxsWniS4V57jKvm
L43Xzbee3jyoSjmgb78eAh8zoBZW+zQY3V0Plm8bLaiW0ugDgNuATNwstyWOiZ01E52qfbUMSJIZ
tiZGnEyv/uvftL6/4kr9mTmDmtPA0AFXjztSsVN+R2sCaDFODRv82iCYk3LMoh6vG/OaF2OJz4Xq
hWxMutsGvcqxcxB3zHq8d8dFnMtPxtX/b8Lif4Qn/p6d+N//icP4f5CwKCFK/5mwuCUEsIj/QFiU
3/BJWDS8f7GlIY6wbPDhkhf1X78BFg3xL49en+tTkXq+jXL933xF/1+O45totgWALsOTHKL2N76i
+y9bcMD1bVf9NP7qf8mSv91Mn4RMtCJ/cXMZEvX1b6AR6ECXMTAYImEDEGJB/gVltURLAlg2FBvF
PVbhc9WAalGHSKdyNiaLE16LJJUUp5+tMz1bjfeqyK9+S8hFMdi3M9MoqDR+ucUwlH3C8hW5WOQr
I/e6z7O15aRHwjyGY7Fkl8CijoMYh1RNJt/97tP/qzf1xyfG1U0h2Vwun7etaHG/UJowCIbLkFO1
hyYiSdtJvizpV3T7rwk2GfprcK3V4U+BpIUMlgT/Qya7zGJRg7hwiX5CFbrQ6vJesN2hgQWFHSAT
LWuSlnzcnkh7Xv/+ZUNi/NPFMHXbsoQrTNvjGv/yuke3q0diIPVNMukvRjXMzFHoFlkRSUsqFs/W
WojYgY/MjIadCU5IF2+L7Sb7IfS0TV18OKVAkaYP61rTnVUp4seMWKndwMIs+Rz2VqWKKUK6jJOd
3WnhzaN5nKJynVe1tgvLalolzYJrbhDhzkUXtiLfultLIFNqIdIpMMOs1Y+1awArddctO5WG4ox6
dSgHhkk1Iye3nEinLSp3m4Hnn5BH4V10GqhEwXqQRBnDHBg71qN+0I3qKYCksitC2cMLMryHLPxO
i4Uh1X2ocMgvVkbdsKEC81vFA96HtnAf/MqHsDHZP2MBvCpCX/75u4EObQqm02s+bl7rDIfW78M9
yiz5BdWyc2Re4mQUP9MhfYvk2LMBpzKTH838ucJ1LO8KjKhegWa5rvJXg2GyZgNgTyp6/3bIQU22
zVSmUNNWFSdE5mYLI3JEwh9DsnVn7WlpXoZvxUidQoV9ZjJU70LRvXhY4VTCKxMTed+1F9INNdAj
pEwguOhX9JKZWkvMeUTWFpaTDHFzMo/UB6B482B41Bfta4R6GHaK+1NdhoTeMkUi87oogBKOHOrs
pf59w/Ky8iN32OtdjP5W/sIEI8c2oMhtZSxSZmkPBb6VYPBCtIKSqC8vXyITnReCQjTfJAY2aqpz
1qQHexSbWQdIWfjDd5Xo4xb839Z4xSFOSFyb62dbYsg9MzmGy/LdbDXEniA0phJM6DxyPubgDLR5
lCc/+Rl2esNNNeXPOJV/44cnOq4oS5jf1fXzjOQdmPb7bPMg+D2npzTaKs64Sio2GjpwNVFbJHGi
3a6NCj/o8Jy7JNkrTAYhxGvSFUhrxy9Fhtr32AmfYsmOHwMEf5yjCLJkGVIJA3qPIprGvEoK09vo
xZg8GlwjR4ZoKLitza49N2WxIgfryUm6k7qXscyOSXHjDzMAKAlbjaax3cAMJ1xdPr6xDJZXD2bn
HEKalHsPRj99Q9TWSUOer1l73LIFv90P7XVsBhc38X6oW6IrYVCg1/r8/sRYvD3DamaYiEZAwcOR
WleCv+3jbPMZKSozbsv+W2shgW6c/13V2ha+m9ff/ftr1N2bSPZ9mDZ0EkMeeHXxicIrtxqSw5Vz
5ACGN08juqqipUAqsrnuu97a0PK4iyH3rBhM2egZ8Q40ISEXjmD5iaNlJmCBcldeevXG1X9lSM4Z
SVY9WTv+VS1GgfwM1NqrfrV6Z+rLGpoA63QIMKDHYN5kjKNuCALX6wLFMckIZW0/LJKGTQzBxtHJ
PU5MYHww5Lqt+nL1owkASKTooef3+k+LvZeRL5wAiW9PAm2VhfkPLWyeerPmf8cpstW5ObryTZgV
urrJ8WKm9fxRZ2kG3WLAPJqIVXLhosodI8I1ENpkn4VhuMX3wxQ7602gSt57IJLXGaTydiyfw26m
lySfaUfInsJI6xMpEwGi5Jltw+y9yLQdWdpM6DhvruIG3LtR+0imsLqRu7ifHR1fM4mkI1ZDNqtG
W+eOGVECMzRiP105prNlelBC2eWpKnX03WOmeWAp95ldOFfcWwp3Prl0tyY6oKlcMkhWv/SJd6fC
J01/+JZiZs/kYDJ4dQKurCWf5qxPn81lfqJDOZAlVbWvtM2aIzTQgHtn3pexXRD15QrcdkRmboJo
rm7TkhUlac+FfBKRiJAyKlpxUS9PNO2R+OqP2GGGJrfpvkMIYUXjixM/JzUOq2JKfEbh3Wc8Ry1h
wCPCO1rBzF+mbCHWB50ty8kgWhQjmiSsefpuQNgotRgsXDLlORi6ZZUs9WuBGHzvlszT3AywV8bj
aecCr59G2KR681q1rzSJBpIXqcrG5AAVAVCXuj3RGvR+4oPEKFmH+HxlWii5RgDG6hK0CMh+7i4V
DKFyOhTMr7VsbL71dFdB9t3I7lsj19/Jdb09kty7vNXw/vbOTdFwp1X9ggK2mI2HYoyvloWhS25V
5CJkK8PQDurJUBvXOCzTqrexvLKxyd87kUm7UmJEPNH6Cki8Hxg7VyZXGDy1u8AR12Uhn9EJR1pl
GbYp9J2DzCWooCPh28TaUxB1wqq97L7RV202bYTxTSqcFwOP0mcQj08uC0HRQGSwGBybut87PVQm
umGHpMHH4DqgQ2aNy95liPloVMY0zVrjLrKvPL/1J8Z/yB2suE507Cu34JFBaSQfpMrJkyPIQBey
J1SlxDe7bWY5T8wJSdWYB/1gyPm1/FK39d1VQpKU8CxxGjGj6LX7qlf1clJ3V1bPtyWR5nr9OpvB
eJjp5201j8aQLbb1NB/MBGt7MyCxasSHWp40JOurYgyxJKxcwTWHeGquIIDg8WyRlpoVsRgTs4i1
SkbU0o5uWwXEzOAayWugPY1pUW+ZbrXWQj8pLBegDmyneMRqWi1fI0GSrEjs8TjF0Bl5ztgmdFLe
hjJ/6uUm2FrEyNRem5xb1vwS6S75JdNZhRJOaSXWsZc/6FbykE7Oq/ogSsdGfzuLZ7X3aW4ECAPd
C8JrjPQsqxkfcGChIhlrhHbqkywC1PukWu/IcZH2aL1bdwipUM1PXypj2Im+PmDjxxHDm+JWb/cC
bCAegMXi8ol1nXFd4pyDpuU1gLdy7kGXpMxGRg7L72GJ7xC/kvgu/4R2EFU5RDk7wiMhqzDHdZ9i
mdGT1pBUokiO6R1u/dxkut8Im3AXvm+oECCgav0UQsqHUP1XFJGv5/oGTgh5W4wjzyrhHIfSX1hq
neaIn5ziIzGxgtRNgRbK7HeF4Q2bKtHv3LIZzsjrC+9J7YIq1SB2zeewfYydq0rxc2VpCMiDgIkY
CUrKPKtoXCpwb34m25ZRTYo6Xv0atX+Ocq1RoRQlqrcMF5/tmus8xJXXYThsJ7Ii1B1mpwjkcAC0
0CYe23G+qb3mvfZQxAfcX7Y2knM6phjYHnRoyogTHBItEEQAQqC0H5ujJRhO53H8EbfIzaYMnCIf
lMHMeW0m8VWl4Ki7opefwdg7H2Pqz58Zk2opsQuAgGbz0C7s5hMp0Nzk011t/ZgjpAzqPdSR+a0z
413rsLSp1Yo4h+4TUC0ygxwkCrxILurV99DK8FPL7cFUlQg7cS+5G2qTUIt+o2dnkOiswHTENmrt
Qn677IJSqnO6nNATrt/oLm8eIddshbB9q5IDUF2DM+qt07x4Tyo6i+DhZPX3B64/JZJx2kJF5Vgu
+FzHc12O5r/nYA+E4CRQQBj4yBpK3cj15D2GXtBvJs2CdIrnezb0ADl5AK4Sep0KzU7i6OiXxJbq
VvSmWeSNJLr9sdTGK974FnMUxtEuLA6h3tw2rtf8w+s2ZdjY7w/tps4EBYstwX8moQ2/JqlFhW8x
LRbhtu2tc5UXORYMdNsOExEu/E7zl1OaYtUNzbOq56uov0+Jx123HaNIMp6XvQr3GAWFhg33odW0
q+FS6wf2mB84CcEX6lF+2t5q1IZ6o1S6ZpftU5CO6zQWjzy6w8b3fwzsN3vgtW+qLF6g6/3DNfoj
GZizvO4wq/OE6QEHppP8C5/e56xigwNGGyPP4FFO/pMWcqZTIj6tGklViDTOsPL1ckbg2MLCwrQ9
WIWWdqfqnVRHyttWCaHIcmiaS1ZL2DRHOPJsAej91ZUnHfVI9biGL5PBI4UHlJNw9ffvxvwjs/m3
dwMfAumQ71iO7Ov8/o5zCqreZSHDJy02XWx/9FYHZcvA5RSCCQrH8E40hMzpLRZKvEDo2+VZvtK9
I2E25JjN2W2sj8+5hvpAPWXqcc80fzw4fg1CzniDE7Dx9Hym3AvrnZyDJG1nr+yxxJnqT+ytVKgd
feINMiH1oSpgZW3th+j7P7xd+QD9cqPariFMwxGOC5P8F9D86I1pgqsm3qJ2DFbCHfDZ3pqz3Cby
/lwy6tsC5NmWSXCDcX6iPKa+MARCTLUdqgJOLnHqUuSelAmD38GSIAuWRALxklU980dZGODzFyvr
wCVujiTEYzr0Md+pBYb+17xmvvJoEEQ5esbH37/PP3XRaDi59PAkcl1YKKp/Ya4HhCTo2ogMhVKe
/C55fDZaMnka8h78BqcfAaTI8OXRwO4f5k5eXbltGgb9E6OzkEVWyzZyg6dZVpTVMpx9O2h2n/sR
e6uLHnpl+4Td2hRlnT/eVlbxzNxgq065HG7/6VYVf7pVhWX7XDdofa5nWfYvtyqW0qJ3bGAJ6vyf
ZlDbIuHcIVrh+RrR16cWGkBV07QFON1JYgeEdQdxjppXFtvabDy3RAn9Q0PclJ/mH+4qYTkwz4Wv
U92xBP7Ss3QzCV9PR2cTBuWzxaFkmTla+J5qL2C/Rc1y09E2SQaekiamskgSqthUNpu4MsuIMgd6
Lj5GUxxzDuP77COnzuzl36qnSh0BK7e9H6PE3M6ylFHHdVVyCFvfhx58x5YO3meEEX3vv+7Hij89
MYJnRdgWXV8idDzvl+Vu7PSFXkrqfLpEMGN3m2ig1Jqp7/AZk+dsDDQnomE3idPsp4+jFtKRnIty
KzLt5e/va9OVHcc/ftSsuXSJbdJBfBYtuRP9bvYwxrrrhzIUlDvlB9qLaB8vGmfWSp7GArIIMSvJ
EeI0ExNZR8RZgprf1UXobO3AueMKZoygxc0SBnTIOh3BiQdEO0inY2ARahZZfOPQXtUGHKTx1zbh
MEU24IWGB3W4LMXoYXgNMDBVaA+1lLNAoqn3iYxhrCocGn2/rNQpVZ0bNJRMRzfo7y3AslReVI7J
2O51G86KoTNBwnGKEZufrDYSjz4dLmG9YR6kkvxChB0ySQ/6j+19Sy06CrE/7JhHRetaNlPkyS9J
UnxP4UdbTA+swefPrklnbint31VFCOQloY3IA95gTW8nmGuhQ9FDVK/0kaiVV92c9USHxBfk+I0z
Ad3tMu4DPJYn1WTXlxEzLVG6skJR7SpCHB+CksoWGsYqzeCBJTXekm6Y6/WIi7EicDDT9O1kUsHS
PZRtIxl2GfBK4K+yPLGghiNYZK2pd8zbTiNMek7A7Ys60qsOITkMN0vCmVQlrpEvSEU8xj/D1LlA
eHwzbdTvqQtooU1CQC6+AVA8QPlpD90+LR0GygY23C56Dp09DsXx8zA1lWKb9da7CrDPSW69NHl8
14RYncE5oZFPH7C1Ibwi7PBmmWkalwsWIdmkhOP8gXl0owPvGhv7FGVWtDE8KlMVCRlWMzCskSZ1
E2lP8mEexPIUGpwl5NXi6DYcwAhpDNmpcpT0qoX3uZ+1oxYjOkSdQX6kNu6GFrONxclyHegth7k7
lXMpHEX5KYlCAvlbkZcmq4mswzdRRhVpbER8rJjcvaiqxJmg9yJz/aE279Sd6U5q9WcZLgJW6p95
Q0O3BWEAoo4SrHVxwwZ6fR9q8ZMbs9KaKFtXE0GVK9edH8J5dk/C7tc1IbT4fkk6HG1YsNLCgAuD
aDq0Aa1AlafqnbHk7L/QvVVvtmuxq8eTzBf1p5PtDd7F+qFK/VjDVEL4hzoJyW22mhEptuzSYMXO
SRE9KFGk6mRkOpp6FhqrgQg3zSXHFQT/Wb7sRYdrtvfcoypFnKi7rTjgYYyiEkadB0dStuA1nCQc
1iJ+W+kZe6iuwFJo6KVTDK0tGI59WT/6UWrtApPuVtgk+CflPd9Z2k2CxnStigHNI2igQmw+50Vw
GqMGFRYG1EGkP/N60UASjOISLAZwaXw20Gu4NOwNWk6R51rhFbQjOBsSpVScoGhSc6VPdaB6Nzpn
BTJAE/rnLCwhkK5d72/6iIjXKj7TDA1BbWBSc1vkLFio+dY/jIV+Nw8IKWxwEb2KuotWCxAzpB4m
+yMStgVSjNyRKL05LFW7SvjPdEFAM9OQKhP/virtBTJEgFofNKQ68/YZK0Qe08zv8P/YFeKptkvy
I8PevZYjhXSaiU/X1/hx9p1BPM1WcOpQvW+rGWupbemZl/gncPHUz1aBLFqLePgpqVMPN7IfQZSv
fN8/ebLqhQJbrLFRXfTFvYU2fmfZxYfaASEVddueYjH0GlBMjjR3Dkf11ke5SgCzK0gZs/dCD5lO
B9Pn3TWajTi3/V37PgR3XtK8x7KQR/ryOqXdQd216oyhnhi0v4ycOGqvHGOydqMmDp7tiItqKRB9
+8W0kmVv1PZ7vwz/GPGi0o9+2fM4blDMEbACbevXebtZYD82Csgbs6uLS2Ghu/TijarXutL5bRJn
yS3HyIILLs5wND57EwUYfBh6YJ2sLNIvwZalrGRgA4yS/Zyb2ZtbvoBFGqD11YmBUBldyg11U9PC
uciVu9GAjs1RdVFNSGRGaOclCsIXnBFaws6c8lk9aMAlgC35a9nKoAuLG4G2jqpgendojoAk1kHi
4YiWV8XVME3lU7USteBml5nGrrzOmpftxTQFK9UwKEyM5XBzEPJXWwHFzoBKuLaMVz2dxGc6yURC
heugFhaivE5ifMQU9+zH3rM62psFHUaUNb9NUdVpfqJxuLFRL4weEHbNIp0XXebVNaKDSzJHb0pV
f6btDc6mmwbuAxafjdyi5KdhjdqXMPbGz3Hc//urs6B7v1OzET+rSYFzybiQcwbycU0M2BqhPHRo
49qioSnJg8lel8cqGiXkW9lm9/D3ddJf1MqG58r1wZElM5GJfyyTsLPjY8hCFzIuM0/VpzWy+NHF
uCv7G+reybzh66DP37UeDmvQJ2dCSeQZmxUyDmjbNUN2/IeX9efqzdR1k4kEQUWeK35NK8J6OGH1
GsDxMpgkjlXbwjd+suyJXrasddVVpxwlYAbtWluDzQDi1//DOJ6j3p+qSFM3qPUsB5EDpvVfqkg/
8ggIle6ZRgA/ytOrkeBP0sfoSxk3q5zlaK+qDtTEHOpaeczpqdH9nn0Ob9MQptF6tAUEKgaiMnRW
ffUyiaNpeNConQIPww9NQ8Y/2+nXXF+iVcb9IZ4h8GzbcV0b41vgMgfRZsYXTRgwfa0enN54pgVC
c/IKMoC7zi2R4kHxN339pvPYneCcn4dcVDe4JGLpCgV7eQfjsTijzYX9ox+GnnHQpI0gm+3YPolg
fu6FzopboAVLXI3voEemnlh1tEtq2ikjHbNaMKSKpR7BH99nt3MQ/88vU24+e+EbSrTwU4kwlJW0
oSYPE9yiA74+Zhy8MJrkL10v1cKl+TbRw/vseLjFPmvZmEYpqhBYdIrJYt4lH41JEhnTCM5GFs8P
9Uh/l8P0E5I8cipkk6Gfp0huvvCePYSfUiQBKtXemLW+E7r+k4rjEsPsARbDpKGt9/wPajxBkoMa
0pIRVG+p1T6VCo5n2nv3YkxMhNTaUMXhkx21b1lh3at+y+cjWg3vcym+yTYfQ4+fWviZL6kqQCUg
8IkSDydW2Ymusxbg0dbczwGMeqrCiBjQS6nzTKnHTrZKpGSaSQQFvjr863LNGzGRILHfDhQqmCHp
w8rfljgXhH7EEDSHjh5nN4Kklw+kmqWrl9064zZpbASXJWPAtrZu1F7Xu+G7PVv0yVip5MC/9fzi
H9p8nLT+dBqkd8JZkHa27BhhSfvjugIpaO6BedPog0ANw71hVlYSM7AEzPTF/GGM1LUusx0dZyKS
4H0Xu/dOC14mTU9hU+SP4/TsuOWz1/n+uZQ5B8j+DvpQYpi0deus/hUCNGIwv6E2JZ8oib7msCVv
Rb0RVTNfamun69UFlrp90sFf9O6N6wA4qR3/u5YRjIPt6CEbmAILgpqcdN5aV5BK0Y5jcwI2Fq2M
yJ1DHMIUDMh5GVhseM1Bt0KgYa+HQWvWlhYux5YT0iKGfhuaKUeJkQkJA4an0r4y2GYMOfGYY2je
ZLMQT3p69UXHGVxrlkPnjre+JVvNeudfMP5uMTcFlxLA4trXErpFtfZD2MO95RQh4ajxuSHM4oDN
xN2A8mmM2V5pXp0cZy29QrMLNyIrJ16VjZWInXxT98jMITdg7Uq1DX2lE6eOfaprp0bLDg02xmF8
yb1539GGjP2H2GogTUETdwMew+U2bdNrR0dKbAJ0LBIiF4fFDzOE9WX1Hwv3HiroTe7Ts42iSvJ3
RhjtH56mPSWhdxv1W3ekTWGCkuB5ChOL0BeXCWAZ4QOiG0E6BwIeYty7+4IIBuQA0yrCBcPMB7ai
dilm87aNs0MMOsbZLI3B0ZVgjCQ5zNl8yrXvXX6sc8JbEZp/9WCDrkBNbYAGfmGKvYPY+IoCwY82
87NJ/IBDvwAgQv7Y4pRJhFhlOsR4WGSxF6HRNbZVhVi1dK/N2fjobfNGnxyOJtVdNIFp8BDvNwde
6koXV1THNVVN4fyok+EKY9Ppl/VO5EwFU2t1nZOrX30ZafMh9zZvAg3QMfGU7rSTn2MWvgxdvhmd
8lhQ7iwevg8xfLhjxeD24mJEMBaX5DcpFTUOFrzFVRTjOrZQ40uUFWxffiOedm7f4jlt9vlZK/2t
PoYbahavuUHPe0ErejNj9oz6QYLZVn6qHfiIQcMgUAoAthb8SOGgh+8YTIkMH+0Us0O5/jWs8wsI
rTMTIAbSzrklVy3lh5e19W5DNNF691uGsDgofwwt9i4rPc7wUIbUv1t0YLMIlbe1PT5OFgjxtLJQ
IQyE90YbkNVXt8l3XTTdOkYHytl+CRiY6HF25mW9kWfzYPNus4D0mvQOhwIwSPsFBuwXjZyoIfEO
5eg5KxBve1hA52LCYJpX+LNyMsLSgOx3URAiZh0mh/OL0d3UDAkmbzlFOSY1RzcYWhsAPMj2sUEc
51h5g5pDfDCeGK5ujYhmlZ2ytdZDdCihHfRNvPGN+gEvLWqai51NYMn9+9DQj7l3hyr4dhwDonW+
ILdaW3b5kJbmGr7/m25pF3Kx4PeMmNZIu4PAPAHs0dq7aqnI0ijebAkzIIAcIzfnrLw4TU65D4ri
1iB7My3ba4elPgzv4wAFOKC1yhP7ut6VsX6JPPM2ztL7pYxeJye484se4KU0uGgrOQ3H8MJCsqHh
S10Q7FJ8Txpj68insajB/w8RVhsEDt/7Tfw1rcS7H4O+s/TuYaz88+RftIgegqQWlI8lsX9mshXD
qxn9FNHzuSjKVdy3W4lMqjNroz/GnnNfhJtbY/jGS58CLIUmvb7n3noOCmwP7kdpjRj7jF0WHpaO
OLe+ZGLv0kI2t9WFLjms0H7lXTtMfb7xiEECm2MwPxjNd7260/HyaAYhWzzy3YwzedpVwBkK7NTB
nN1jGyaPR66f4Xqk1SWDjGlbB6AD/AXxd9c89rQfij69JV1wFeqk1Yz7rivOgY/7GfdOCRgRdzUy
s5kkrSyESgzVUnSEkbWnhge6wtrkCgKxUB2mw3uHFh2f3Lm1wh0QB9xdwdnjCnmuiV7ePUQVejnr
fjG/T8BSpqF5sHGOt4ARMLGvRquCIpSdQjmlQuSmieHiaeW+CD9qf6YRd1lqfyMGAViq2/ikLHnu
mwVDwQvRyhj91icGguYmqT43LaE2g91CxRrWwDT2WYHQAC170xZrPbiLgitH8EMt4L8aKa6RvY6f
Fwj7XY+H2sTw1toNLZ/3oTJwnDVHXN0b07HoPvMZNOlpmkDxmNsy0qr16CLU9jk60dpjF7f2GBbx
gRvesSlxfDPw1cSySbyWkLSO4qklXm2g5WBr+GT0B8N+TZhiQAxajQNcoxBu10dZn325kmAdWrAp
u94PXAlr4yQMil9ikUg3AlwbY3RgvGc733vTAXVSnjk74N19EZFH/doS5HwrRhqCiBadZR/Nr10M
TyfdmoEG91c/utOHzdk/MhZpPVyD2XyNfQYTdrBtyvap5yWKsAzhceuoJDhXlu2DxfRaQyIx0WFA
trmdRfEc6vNjoyNT9OFw89Gd7GE5jdq0RYzHM0bHJFtbOmaTOokQElbwWfRbkk1wEtR70cRrnYg9
y2v3uYZ5cXjrlsAgo4BA5aIaz3C0bnXT+A6a/aKb1QG6IJszHF2f7cWEDuWfA2hXhelCpbHuqij9
DkQOY1TZoYsp3JfUDcjLnAQIc7pX5Q9Ll9kwhYyi5f307uvol89u2p8wEkGsTh+XWCYzoWsVIrkz
XnJg0I72sHTTxgjMGwxq1qaKm0dLhHcNRhZaNdaPUkDbi4BWFzY389Kml0F3D2aZPPTjtQf4EpnP
g/OjGoqzgQ0lY15huCkmW9kTo64BfSeqU1u89gBNAVnso8Jg59wR2rae0/KbOYgdKSxvjedsQJji
BfZIPkzTewyrw5KcPSaDBnEOzH3vIstiVJoB+lo2kGfuBN/qvbmuvU1Zz3ydhJwz0rRrbKZ7h49e
uoBD8iA1OsD1Uj6nXncpCQqkDLLf6857r4P+5CxlDBVuOA0hZDzMHWcDYPCWqmmhRwV3swnFA5Ns
MtQy/W1BQY+2krJtIKL1PrEOgj1o9FPi5IRMRjF01pZEvHfZxAAxhGxgFQ11QGSivtvkjaN/Q2KH
0ok06MnPghNx0Azm58ElQ6poLiPcCtaOsThXDoeKKMrnY1qIGPVMWB8MLdAeG29aVtrSTycMFuGT
4+T93sy8aqP+1snIxcAuchryOWzXWofdrssK9iK+NbB9EquLifQr+UfSDfVzZc756vOLk/mnQ5zZ
ZkA7Q8rlkj45bsoG7E3Zya9DiF6MGDE84lhvAyCrqXPGTFe8QN7OoIoA+TbHPH/Rx747eE01kT+U
VSAROm09DTa2/4qMFfUljWihzwJu2qsfMNHKYoFYAM5MS/7iJixoLel1J/W3ppydEvggLupv/QQJ
NLEBzDBJLUZ4Frz6pbFNx5rBqhUQGeSAPl7N4yExqSiCtzmY31udV19ISpX+UpXx0cT15OQPCQBZ
HgeNLHE0cL07H2ib4xItyJGn4B/wSo/Zd5m0Ut8TLdmSj1PtHeLP2LKG3dgCPydPufCajTWYj567
mKvdZDEJo6n/JUG+RWM/fh3bH3TOTvpUPEZeUCMzYSXFU4sklYzCEU4rNckKgcDe0pafHjut/Ec0
NWhFWrOjN+xqnRjcrCJ9DtSXIEMR4RRip4YXmx2i0Rh3GbhTuyADwetz+MhgoJ0Zdtu0g4nCNCIK
n32z3fVGuy3gecZu8FADXF/NyXIaSiDm0DA0NAcFpBvkCeG+W/rTbORfI30X9IuzkzKvqCXME3fp
2ivXAS46F4nw2q2QO5KygnxU3PuwLInTubor9KwEKBkaOignfIMRjHyXUCg0oPGGHFUc7t5yQ4TB
G2vOyR+LezMnzoOWJyGVjY8OijWqoKe6NIh9jW1ssdqC/bkD+WHo44C6vqUJWDlXhjho35j09SMp
smjjk5MevTqNx85PS57AmOl7rzOzMlP/MmEodzD8a/Vd6XfcFuWy73RzY7VICRsckVPlNvsMvnHN
hG1DCQ8Ch2RQEl+b2ftZUB74NVbd6thG2UOSe1f462sttV9SbAv1iEa2xDBuOJfGNjfzaENXiFau
3j1aNYTlHxU/NKysnwzXSDIPMMq5Bw68z0WR74zEDggT0PYTzFhEsfXWxd9rGOa66zjWpzOJo125
vNg4wxu9/mlIon3jJvDRqO3GZgADI2HwFg90aCO8TSI69mxoVp/ejDHDVzvAelqa1ZeSjRBAj3mn
zRsEo9vAy7Z01wbygqhsgsEHFgIfa2kfljmE+IG2c6qjZxcs31y1JyuB2VIkidhXL2amWWQ5rkBL
ljdxT/ZTHG3z1PCvmsMaUSPIuyK7uOvre9NZEvJEbaJWZSAthww11nAMZ6EPkG3qynDOQqsI+pII
gE508V4UjoTpRkfs9mRwwG0/0FzGRTZtEIE+lJ1Wzke/czuWInKFjKg+peV8VULQRXZpNWd5DcC/
nDOw5KsgNK1tU3gjEPTgNJtkOGRDE2zc1NBv0JY662hpg7cawR40KS0865m5tqmo4n0mm1y5adfX
sSfaEsId/8a3MK5zEqJPpkz3IN2QM+QcPC6owvehqOoDIefnea6DM+FyZ0EDmTPb/1B2Xrt1K9m6
fpWDvmeDOQCn98XMU1M5WfINIdsSyWIOxfT0+6vS2qfRDTRw9kU31lq25RnI4hh/hP1DeuAch9Z0
LrYMeW5LCm4QWoyn1MK8B3hNwGfoekSJBD9KGpqpEQDzSszhPnSiz5z8NokpGXE08/lICcK1UfJY
zHL3YbKYg+TojCetAB6L0Tl2VXLRn6m0D4STb5rSIVLLdW0gzXVBZ+zCOAOybZphpfA3IAE+3M9N
VG+/1d/ajRT2kspWPNisDTXif+Oj6sOHaon/WBgHIGaQEK6J+bkm1ROzibfTH2WDynm/gLTUgKA+
WmdnqW3OtOlF+zo06Kj5W1q+cAhDYw8Ml24AaaR+d5j7+OVjYx/7LIj4Rr8ZPEpvZ8Cd2dn7LvUL
4JcE4+fR+zS6jClrfx5VZOMovX7/u9TWgNyxdmtdjt/Egkkg/DahOPBI6lN8lRUlt2E+XsaIinkH
gaZZ4ycwCYih6Y6aEGTu2hzRd6hG4USHa+SCkWIn3DQ6dVn7WgYGbTxGv2+NjkSrMnzR6iCNz5Up
7tDFDsVO610jEKYN084xqhCxeSm5Aoqx1++XzNxPgs2qy2y53yphTU+SZPQZYLfHO0P4aaaqmdVf
rjlqzdb+UzSi33ldBluiqs1vaF//ZHs1DYiYca9fl7Ar49lM5htvwBytfERFGIE6s17prwTJVwmS
iIMFtJwqgO6B5xOUwDffrH9LauGSWEPkomEBDmsonRMOjZYDbt4GSvNPaw5PQyrDMcBuCtFUu8Yv
fgzUvWzasn8YFcSpic7aMU9TmnaHbDp7ktrOef49KIDUAnL9tlmYm0UdYbnl0Y8APq4opcZCRUXU
2yZ3c5dEtP4Bvz7zs0JVEzt5t8v+qPnnAMsX/JDqXci2XUR5TjjnVwHa2x20ZbMRgUlJWag1pUZH
QgU0z8wxZYj8nKuhNmBAmfo3Tcj20npd+/VCAF75TdESN0RdAn4lqk37H9ovsq6Pvi/WG8VQ6beo
uQy7a8jA9s2jPp+0ny+Z2yeQCF9LAAiY/TMKTn/9iSVO1B2njBwnpYTVBLiG5xNMBM64FAA5SF01
garB6iXqdkvXs8REJl12SLU1g26ggkffDzwYoAXYGhZrWhORjDZ5r4YBj6Elufrj1uL8mCydpFzP
vuH6FPyYPmLEiPgGoAaD2kgeqCauN3pMj3FhL5t+NNj9ZHk9S9LwLcWuaVpQUwDfBhdj/aIqugLw
Mp7HqP+2FVSdMFgXkUBR2qM0gwRA2NTKRty3rXtWj6hdY0JlJgnEZoz6Y+QYYRHzN3NaBBRnctHp
/ArmL/issKKKx5m2ml3Xts9YgpJXVXoeTZ6fuJ6ZINRPHTznxcs6TkDFL4FEwyuAuGu1nko6c5ya
PB8bCEBRfJrQm1mWqFv+QkiBYE7Sq2QBT2/19ZBS18sFiEZ8tIBwjOM3seHbzTZNCIv+0Wd9s9NU
ikb/fbPmICBK0sDyUR67MMlPWVfaXDBctzQdhkf9PcwSQUGXPevDwY/UWCfBqTuDq86sTgvFSP3A
TuxmYHp2f6eNMt0Isan4BWIfSc2oh0PRJpd0ImShwBqztZ3opL+eAowO9wwC2e+HsGP3Gx5m0fft
7zXM7HNAAmICfBpB3BN7bKCtS6aN1zcPXcNZZPeJ/UieBqcMx/S30EATD/mMOTE9aWFgNPd/5Fp6
W0VC1FH0bErvOcyCA5HnjMJKnpMHdP4Y+YxrZkHFrBwg8VT36Fj4mXBEkI5IJJX0gKRTyVqdjweX
A0Wxlt+HZgRPb/AkDoe6o6xHMhtbhE7hSt8KFZGpD3m361rq5YL+qC/4jvhQMo7u9E+PM7yY3pir
1Agffm0EQbbF+Cep3fcp8Q26DamoUlp+ISiXcaeSj6H+ZTnrbVM27xagVRp1b3WKzDqz4Uk9i56y
3HlyKHk9mW6bbPqk2Rlm05yJncBSB5lVt2XKwtsTGcX9rW8wkwnqbDNy6mvIJMCLDkxqVQohDx2z
n0zsm6ByYBts96dMfIJYZQk50EwNIhBl1Bpw3WyxAmz0Kam18fqY0Je5sJm5YvynZmjdauFNCt28
k0FDU0VBVBm1KIRJtDdxiUKCDHKGOB7CgT/fueQXabfhWPgOfUcsOWQRh/RRNM1WH3k5VdIIc3z8
YVzCCFnXU9ulMIRuSr5Vk9O61dJmj9JN0bBHFKXvjRrk8xB7Zwa1OY/W1xS8tGMHxNB5v12D0tp4
kj+Jcz5Uvqqv447euIjcQJXRjJGBTT7M4ldbsgnqnZf6e8t36MlbWSWQEAK55bN3DC1aJfQb0be/
vglNA/ddbhMBoTxYyxEu7xQldf3tFClHEv6bxDNhL9bdoLRdgi7vTedyWc7KKxc7H6Vcj0TKUE2v
7luiQimiobBFCWfMMQJ253bj8/ylxZqa3tTHhT7y9PdiY5fYO117pb9/Clz+GBZZqHpQ09ITx0dm
aL9X/kTtg5oahwGdj42tCmFKcKvfiCYY1cPQ9+xzA9MOAZ19+r6HKISqc3IyX6QSkbVA3zNJKTd9
32607knENIVlFRAe7Wr6+NcPJDMnhSyJqDbiKZvaHjQxhiQ+bSzfoRVvogrOplZWdE1R6qBB4wFG
5TGrsx/SMOODi6JNjwh57vH0Sgl1p+hVv9zvQ8qBNZ8Wk3Q9g5s9qBsu+JKhJkEeutGfkr44tYij
qAhdpvJ1uJLdSY+UWrQ4Vclb5skv/ZjRp44YogcT4vr76YM+hcCPjARn8F6UZup7Dkn/Jf2LGIFN
tUb+QazsucqFQnHWW8Upqp9q+hvUTK5fpL+qBMhRP3vN2eOQ92+Z0h//+TAe4nC30PVzFB1oa9BN
J+2CcZSSxs9/YvajxRvH+kod2j5RpmelKPMy93phZWLLR93VVyvtvrV7o87IoE9wqpNhS8Qkf1Zd
Wwa07qZKxFUO/BD7xfuIe+1Ych+31lKd9GclmnFBqBaf9Y0+gqFxbqJxxP5GmWnqIpGmpXujuW4t
7uqoHNvMiYz/cvzWo9xOi3zRPLuWYBWUUW39zruzUhIec+VP14EypsCIlyz0szdTcMLpvwsd4zIJ
+3HBIq+PNk957rVNTz9dCo9AI/suV9ZnrfwJG75opJB/CKekEDkoERphaE1LWguJHJ751A/66bx2
EqTYnLcZ9ugh4KxxSzvCbcnoiKq3Z/43zvoOQ8rW7O3fskG9kcTZq2OIszUK0LUiJE7ZcautvjK0
UjCwOIZSeiyP+ub1CxhLM5juBW2S2i6sZAfryLRDTt1jn6cvLnX3aw5Eo0Q7Dl2ijAQENuKG2GZL
THs3t/3/GxdC1PAruty5j/bZWLzwTungdf2z583P/SoGxgFeph/3Pxa2blvy3pUElB5n5HvJ0bWp
Nxg7VJ5G/dsZnOGB9gZl9eKUTEJkxVWY3JJAsI8srAaTnQ1cBH8qdZdqu4H+QAKaWQBrwJnyt3WS
08kekYg3atVAzHiduXSSWkq9qM1v+kLTeQlaMBjZmOjKIFmJ4C7i92TF1tGtR4I24LY6+allbjJV
RtQYYa9jVumxdcx7PwA9FV4KVdD51wuBW23MtVqb9rFv6uuc1BeE7v6uVwIR9ZadocHyMg7f7rph
4EmYtMGzR/YEGezDVn/ebiRfx14VrnMmqZtEq7b0lFQlz+5ac4ZZnUFKwE99ZejRQH8IetAe1Nam
77Sl9h7D2CexTv0Q9WwD1QOZ/kuYYXvpl0+Ji/6VeAGFXwhgT8fWOvGEok9R2TrpglF7j3oSmKwt
3bwzI/+qDYYn00qPglYvLeDoKhOvQSe/jJoxdKFrPUlieZwm8tDLWPQHiABuYTSTSlr0fYIpq3Mo
3UMtiaQ1TPu6lUt10GK1sYMWJ8TJ3pR8WN+D/TSHIAdDwW663Os9gK4FmlBa2s70HajPcBGU2b4d
vse+PpM3Rh/3qLexIJFrcs2Cd+2L8jZWhiVtO3Bt8UqQLfyTr4zq0sy22i4/Wf4DCpK3Oh+uwQG+
JTvQjW9t7B1jz2OFNOudPh0G2f3S35xdTo/FbJ0cqw24T5nFtCJO+ZiitXbRfjufeq7Sx46eI8Tg
RxSgDrTcQTwsEORK5qOlievSk0sxYTxXBiqtrfew1eI7qb61NFqEOozKyWq2F73X6gteP8CqOrlX
5QuxZ75mEY1466u+6qeV1YYgJ3pJCvf7QJhQG8ZDtX9pZ8PedOr6yRvWXRDYY+6UFOQ4qG0E1oqs
N39Mcfilnxp4u1Q5ODxGaJR7vblrnW5slvdxVP1cK3TQ2TBE99AgCSoqtcRnJplacbPeZP7wyCXf
bArjq1OmapPlUX+PS+4P+wRzHy3JTCrGVi/58RgwUSOb0p8dOdqkQD3QixBfSWng+6uAsEjZ0xeG
OpoaqyOoN0dUkC5va7JwlmDWPFFQ80CPHCbsgghWUeQX/VYnI3x2CvHqpz2xjg3smf67alGYV9Lz
6RRR5kvqjtR3w5lIJtxXZ0SszmDW+ujX/7mNEiZXEWz8+uSpY9AwDLEzRvfNEBdjMtsrvWB5c4GL
ODuK1bQPsQvgKGvkEtoQ7HJwqqNCf1nqH4TaBXQeNV3k2QTn1bnJUzmvdM2ql2LaiMfhOr79r/pp
J5eiBofIvwAkb1DzVGfTp9xLjeF6lFwoHwTdaCA/bJdePTXi8MkmhgEmjsYbZTNnbzw71RbpybVJ
SdR1bhN7Tc4WqCKPbA/NRMh5GdfzQlT608j6BIpbif3gjcbBHZvnZGzaSxxaj+Fqyr/cuWyU7C2y
p+tJEzGMmvoc1xe9fn3CaxLGRBaUMHfBotL+LW7oRl4AwysqNMXgfiZr/t4WsfWYTcdkjoixV1uU
59cP80rGeOijrFUROxMqJdY8HIR5R/lqYNKT6zE4+AinoOVjSrmkndGAUFLeSKcNEbDrUKBq8NcG
lnvYmSnatjmB2AibR23oZ1WYLl4BuKq/LN9ALkOuH5s6l5wW3UnBTjqS5Zq7wY1+3mIBZO3XUUX4
qidyO7vVeW7d7CXt7a/UpDBDPeD1zhwsGZrhDGmBPj5oHSn3QbpeCsHpnYe8C7ytCWyicd954DxG
3jx4Ll9IUZnwAQ3PSZ/OaxUJMbdw7Dx5XSKHg3FTC54xNNVT4nQMmte0srx9aWXHdOQnJxLIp4TX
1PNYQJx8GAHte2g4Zubyk+GU6NPH/lEMwRMwFR8N+2oRy/huUJKvNm9OkTNiF4agKskhPQugsZVn
cV/F5c6h+hmWHl9h5aw+Qfo0wDtTB9acyqM1dtEhIC1p5xNn5KEroAlcFoeuZAKboEydcGyQygPy
2YFf7qmbuC/IID9AHH8YsxscehukvwpOZPfzgJnEL+pupx2u5vfA66h3sMurEQ2MbMnYyY28Osju
gh/nwsrFcReKeAdTekeL1MtkpPkxpbVIEKFudqLdpMmQHIXD7WX4Hv2ZRPftCN9cBdVyIgzoa8TR
sLSyvbRIxfwqv7I7MOBCjnDWeECkkSeAuyhOqRSkQUYQmUH2xWOY+MFZrN3nNFFJ1XkEgUx9dkkT
mmaXniggGsa8INyv2QyJ5dTG2eZK3MbUuCcDGRk2ASFbACm6PRrq01UYVN7c92XUbKXdhHuR7OVk
DjexQzSjF3voPrwHJPYliz/o0lzRWTSwYOwsurvtdCbWeE5P1pl2l3K3rMaVT8sJ/RjOE/dD0n9R
nP477bhLRmt2L87k3g9z+7aSzL0fJ8JU9f81IDB133AK20Z9oNTnHoQJwFo6Xytppae8WXeOMbfn
ODAPZW+hs8O16MtAQkbz1fYlnlQ+mQozLiWeS2LL84y5sUxpRypC7953w6feawJMuEuyWeHHh3H6
0fbldeUBDtkBIubeNt6aICH2ymtmaiBVu18of4ZR+xEldJl0QYW8qWDWWxGI2jIn30HI4tRHtoQh
9GJYNyAHB93JVKcv0UJWVIgyBIjZvs8rsVIQlmL2jKkXaQmQIZx/G84Nhnq1z0E/fSRB8gAljhpw
wQ5Q9SVZsukfTHcUy5IiQCD8pQvTbB/hUN0O9HBuQtJk21mO7Ati3sTDJS1H8EIZQTd7ybYYjuJm
oBn5KNiz946g0jbt1J9rM0dxJEchRoLsA0FOsWUgX4+wJs1T8c6y4R1X2b0a4KzrRNpJV7/RW9Yd
0OkdkN0BdEVPTvInQExxTR8B8sFwvgRTH71K+yNqnT/eHDmHNMl+ZeZs32T4i+w1Tm9fcZ2uRNZD
AeGcINcKaMsJ6t0QsnsjD0ZkwOKSQ7ejNqJEg/1tDWyqa4L0ScICkEyD7Dogqby1bAq8ayfawcy/
Sou4/AG9Y0XK0dltBJkrWIWnzho3S2uNNxYZCxOWjFxQfyJSdMgRSf9B477NYDiXalS4UA9FQmAf
Kbmx+B0VRnZ2yyG8CpyJqlEiJDOmKAQhrBw0rZWNnWztFhjPzCGW0/orD2aSTkt5BhsTl7kdeRsZ
qbEt3ZiAZqoVz18JwggrMtDQaqmtoC4r1IwJ/ZJjbl7XTkgVDq2qoBj2vvfkK5Vo3rH3ySjCnb0n
Fim+DsGI3DRoz1PQvADFHR1yb7e+h0enjG0ff2Wa0Ok39TcCjN7oneXKD8oBTRjMvQnacdWFFQ4C
rkIONzQW+aXPTNWZiyCtjEZUPB4fRBMldKMYlAfVajMKWvdbF/2/CqH8T9mR/xIw+UxsSl3+33/J
k9RZib9rnGz0Twz/9R+TKv/lD5Go+Ner230MH//yL3vCzoflQX52y+MnqdXD/4Qxqt/5//uL/+dT
/xTw7s9//O03eaKD+mlJVlekSOpfOv/5x98CvMD/OYRy+/k7/bcMSn7/dwalFf499E2TSMSI2hDT
9fGnTJ/98I+/Wfbf2aAIS8Sz4tDHqRz6FSBb+o+/edbfTY/cyoDwBT+MXBVc+VcGpRv+3XPtyIos
jz/meW7wv8mgJHXj3w0ieLlDndiI69kh0uLfvObEoPPSRFht23Qk7BXRmjVU1WVS9U9Dg/a4J1Db
L1FbGKZ4qPsfJbjB1szGdd84MqOxbwU2qXNozJCOIybIDWlbr7ZV5mdWgn2Tlk+DgYp/pQgFH/Kj
MLEve2b1lj+ivvrtydpCzAXWVuYXcmrPwZAE7HkQdXloUx9QwTYzSo30bGx8VGls5fZzR82lZeVE
URcbh14lhlTzQyaF2FJ7aGSkTGUpyYfSIheFqLIRjLMKN9LJ7sYu9R7VDJXY4CAp2vOdERfddpkJ
0Vrjbdg0VA2u9UREGa00KPWhhnKyzlB6k+RIpRkodEA84tHvJakI8UCzWNPfBs0w4++4lDQWcKAP
MNmFTyoEz/klQqBkxrCFTZSi9EPHvBlm5y3JVcljcOWH3pfdokyRTUFscv3Hj0Di1z796vvyjeXY
Pk7L6m9tKihyyj4Su7wLSMLcEHp+A4uBKzoc9/FAZRlioMIMSAP1IkSRDn0k1JwcW2v9JQrjhwOb
jt23x1wzX/XmQvkPDi3y0N4olj/F7iGvPlMxIYu0gJqXBMtDjxzXifBusWKiXq7o5bZokRBXVCYh
NKzkS09Fd1vPP13vvET+B3eCp+q2DguZ1pdyjpiVBCE9SzftB9rugW0X4o/C99DlkVDn4LJD4jzE
03CYuvJn7nTwZg9Fbj1lWY6OIbfpxyiqX3BZ2YbOrUcxKWwJbGQGet10Ec9RYk37QxTPu8rnxPVz
DEIuonaSBvq7UsAsDWNW7oKMNz1HD95KK/ZY4EheHXGKo1twhpeuR0yM0IimmByBbC2uBgtFGp/w
eClZkUc0JLupJJF1ohUn8ahgbDO27qLmqnSNz9oXjCVXiFd+JDZUAtwwssj1p5+tVybb5DaOxptm
SH7B3F2vRlid5bScUTgvW4TK9ADNyXtTSLIZ3RUtUMOnnY8zxX4tu/Ks5EC0udbDMfAmlAr0OIQO
Kdp+/7U6yW3suSc6I3IzibFlbQkJzU70KsLOiOatWVkURDHHPLGrbem428WkR4FwaGVtNM1NudKp
aRTJVU0ZguUANlUWBrVYcYaGq4b+7NTyP/zf9DwlVDwOIrqWLZ1EklAE30Tbs1jKum2/QnVdj4l3
LbHal3MYHIqF0luy1/f1wskAhTEfyK1lIV/aYrPmwQ8jkKgrB/9ubbpLMjU3bdhsk5aUpSBHo0C+
hbFFGEMKGp6ITdmCCzl4GpFuB8XeS9m6U8SVM7r3vYFVGIz0sP4pvBQhcK9C3Lmcujy/SRKByyhc
+UwW/9Bkq3UTu/S+xVi2UHR1gXVgLgY8aejCqOjFyhg0tsa1P5cYyebrxGysGyHI/CaUFQtFfuU7
c7knrj/eWbUqB3OeaM9xTln2PHDmkUXmQ4pZ+fu0xvQfSJj+2aPcUYZPYxTJoxko7agaSg2nIoXd
rpor0cmrbOrHk+eRJDeuEdLvClF1LC4w0O52DRjuOq+4MilZ39gdYuY4WO7oj6f3pSA93CxpIAZf
JfsAidV0imcMqK7zUWUEKcmaPPt5vdP92EEcnp0ZI0tgOEx2mBjxdJAsQLgYoj10aZgB5SsFQO62
8J4pngWvLsPfownyakTDU2yuzLXjacBImagvJQgp4A1ddIXO8jLH0yO4h4q1rK1rZJkrb3yYr9zb
Dp9p7Fr3jRfdOs7828lEvxntiQYTSyjtBmn743O3BP2dNSYjC+BwMAeP9oDRvp3Trj66jvxTlpTH
jwi6ECEhTaUnHk4fg7mSzPkQu5xT4zi9+F64E+iVYLIJqGwdXCocg2LrBiUFP88gcWj1LQQknDo7
Iwzknaj923j1r0dpyVOXjg92iiiqwkVud+51LmS4D7z0zlyMN1QHLmA/J++IYnsDtPxHEg54XtcW
ct8aD5HAq47XFyGuzVMP3sZ2m+Hc1riRyFAgA2UKFpJWmVKbIiF5bfKNU7SGn0Iig2TQX3d26bOC
vnNdVJuKifBuxLubpE54MvrmrqO+B80wO+ZI/2KPcl/4oJ0ixzIQ3M0eSq64Z4Buuvgl40yUeRgf
xSTa88CJRm3R1Wx4xT7N4lMwTT+z3j54BiTX1ANopmZKnGDWIDkXyFJn1uChxipTZSrwqquRdmRY
CYJ4xri8fpn99IFWpmB1t0h0TR67yb0zwtI9eFF4joc03Ddt8FEyqpPDwbdIvtfFcuR1Xo/5SUaX
KEvWozFeROHdtkEhjhl+rshJz6U7/hTGF8vJfeESmTADje372nry/eFM/x6tQyhWJT2/CKbC19qo
801dUDaAO+5k+elj0EwgASXXOm72Cu6PTke72E0uDVsUF+fX2Yr8Dt/XU9B4z3VHlAp+B5XRFLun
buYc7/Ey5eXSnWiN2DqDtR60QKiLB/fCyYycjyrGkO30QgXNdBd73AqCKAER5t5HFgR7X+A3WnwD
0lYci6Gin2wwrmg227Z2Hj7DPM17NiCQFB9pqdtUFVBAuxzCkfKfZK3MfYnAtJxL+zQ5vIaZwFvS
NyYKGdufbEPdVmYY0yrGEh7SUwFlmp3rqeqvJSZti2LHrXQxkE4rhp2qjm9jk6fPaBopAkwOeESn
/TxZ5zWtPohppDaxwJkCLXwzZn2F9ElWByebafSYxuvFwlxdCcrJmwkxdtp0N5I410MTo2L1xvCj
cfC7WTkZqGvuy91EEwO3P8FbS9heVm4BM4mic0Zt8xqZy7lHvQsaxiPbw+JR+2ghYC23TdplTHHo
UTIeDzsvr6mp7AclkgDQDVPqL+bUfIRX/XLnpLhtIudniID8CESZH+YOHQYPVYIrh2uCetxDBChC
rHTeH7p0MW7gwY/92oofnUoWTgnzpwhIaaFXD2ks8+EY+8sdqcBwAKV1kwQR4hl3n685BRQWyFFY
zPQRpMHJSgVungFcNI+UlIJKge+/oiSpN6iVdnT2p5M7WO5jvbb7lf7mkx9PqPADivCqAJeki9yh
XF5EptAs86ooKxJogVoeXWJa8D+kUsnpo+0MMniKJoLLcicjfnYCtCmn6OCv65O/xLho2iI/NQZ3
q1HGl4aS0FMQtslV3v7x6zbaoiFIrrxqua4puDtWgqJ4ax1pDA57EsZpEpbTNUtKddMTIHpvJNz6
lQyuVwfcvuX5L2JBmK8c8CnR8HqyGmJFEBZ/sF2sN9Fk3bRpdZWvbnWq0XEPBLDsXcc8m2PzaMZ5
eAkNZBFoyC7E1de7XR+38uJlVkq1PX6luOjbOyNLbsATQJhgpy6+j+EKua3KN6Qy1nTxFJqm7R3y
MeEz6VC1NMgSuuKDF4olpYNcKPvqCsT9s7BEuI8qEAm3WfqLcFN/Yzk+DkcvM46xJX/3U0YkkmXk
IOThqSKzl5ib1oIxopFtaMwru8YpVJtVt+9a4050gyAdh+JufA9yCsj6qz9NCMS1VMYUYOxquC57
uLeZMLkN+XrbeWHOqoXx2vREhlHxwhoxUxuV0pY+I4DZ1E538fzlPBNFVxFiCBZq/qwzEEvy28aD
s0zbuZy9nV+i4xiS+eh2kbNNDI7h0WdaouYqabJrbLPZfsDvEql2GbS55J0uJ48gpkNsJZsA7JTR
gfGh8w/ZCptX1qDsi1Ff4eogmb8jmC7AbtFnJVhmT70Qe0yNVBBq3/qUyJRJI/xkHi0OBe+PDj40
/G5+1fpFTkF8exqNgdEAhz4Z59NNN8TsCMUrIgi0LVH1K7MwsbadZEmy1+FUGzImHc/B8wiisXU7
5OqEmC4fKObMZYP8BqFqTMWu5HTaGM0usWzEfY0575aEG09Qb42RHHUFpo1fhdsREOQtD3ET3DXJ
LLfSmF7jzmo3y7C8RH3j7uOSejFjLoFUw1CQtOGf3cXAdzjTKg+tj5UisCLSbZLd2A0cBE33BIK4
sJc5RuRv+0aKfTNBrWTregfz2R7x1nJOT/l1gCkxDtLxaS1UMyT5A2lHP5U/zL+DFqneYDfsQ5UL
hYUAOqSmeoEWF3DiLJEXiUuzJseCFNAv17DBM5mSO6umuMWA3iebOelHCwCXoRry4GdjE8sVusr8
hU8jj+MLafRPiGjyW4PSVfbEL/fFZUbcTU1Npi6NcMe08Q+mQ/tNLpbdbPZ761hSfLVxK/EiU4h/
cupddO3Mnj2ufPUKZrh+Yo9qHM6kOmwdZMVzAQ/V8wXsleFLtitL+ux/KJ93MoYGug6g1WlyP+N3
Mb5OMzRzP/EeZI46zEPrXQnQ1jpe2rO7Yp5ug/doRL9rlZg+p/i1MfNfhcfctKrVP/3MCv45mWjm
c8aHdeDJHiSE4adTdZe4dYQprr8yebI6HuahJHO2tl8+LD5HcdZwY9XxoRvaD89wf3ZFfqBp+JjN
9d4Z2gNCSJxVKZU7y7j87hfny6AysUn5c8uMb8kwcY76iGhZU4n8CbiFyhxza2Lwon4Bs9AgPbTh
NpX2a4jDZCVhcIvG5WEUdEflyXQ31sI5RxVraGaOMQajZtcEdKXXAWH4cdScwzk4On593+YkUeOI
rvDoOb8bqxFAgbAHPnlPIqCaEtLGRYxYEiLBMLUlGCIIC6LGayKPo1jczaZ7zDMaR0nVpDkNQAKH
+HOCR7fJPR4tEfCu8d4F+cxplP8ZPYDsss1u0lBtEXZ/Hed0QBjhyfHM235oaCUMYrzK8EU0dxzx
UR+9PvkI3JZ0Rzd/m9cIO6A7v7dxwiYXjhdjbT6gAxIYXPq/axsStOO5Vxb1y5Baf5KIcd5JLGTw
KSUeidHw9rz6GflcTF8w8ExrgI5kU0EgJxsnrWwt99847OYOV5FRoo41VIu4XSUHrwBDyWps7bLr
V6rx7B9z5955IjX3yPbuFziw0e4+KjpVwfNrycsYSQzxOyZYMFuLYDm/sE+hg+F4tY6mJ31MuLLY
O663K2oSSoLhfg4jydiKL5uapu0gxD5lrYaUGxU3S+iAX77WyNmOowet5AftFy7GrgeAykthYgp7
qirb4cZErAQ/jFc/IIWTyfoYADQZSUQjojf+mS2MJz0z69bL0595nohja9Mw3YfByZcFOVUHN14n
0jecZVtXTAFrQww49guid6p32yruAq/HeZq4ewPcDu6OX/aXTelU7j7KJgts2neuahpJqphy6WGk
BcbFgrqYI8H9SVGjAs+QxLmKCIurYl/Lq9B4aDL65nwbryhaWtkeRMqLWYv5ac79X50prb0naHwO
bWNL+SVKmmTnOsVlrJI/Tkbma5UBc6yqyJrlWFpfNozyAekhlcNTROt0z8OyCbvL2NevpJSSqRws
F6CkxykEvKnEsoHSm3AwwXSUEXRqCSVwbDBkdUnm7fXvsPsa2zTaXTshMcM02cJ9ir48rDaYGffp
1KETtrCm2TM3ECVxL6EEYRl55jNt980VQ/8NHsrlTJzII+J3+VJI5TWvh3ZfYgiTdTA8O9Z+tcW6
dfp2wlQmL1nU8fw12TYl8erKAXHnD6Lbwtb/7FyPMoruNchzug3t2z7FWo+lvEBGKQuUaoXTjIgN
b5koOEH8kZ4tMLShImKH/Bx2Ffdnmnv5fqrEbehC3Xgx9Nxa4+007F/xyv1fBBO9qzXCFOu9b3/m
bX0eE1Hsup4iO6I4dx4H9K4qvPVYlsl9LJfg1ptLWmBTQvgth2mjfU4KMCK/Te4xtBoMBaLkXY4b
cvEOY4HavugrMmHt4chmPfhl/kp4PdFvBCBStp5BkaXzdequKLvhNcjTTfb+OmbHJUTQNpPiMfLf
902/7IY8iU++dduHPMdCoSKq7cY5IAP8wUG7y4WX3KCgv6fCKb1MksyLuYKFWdb5a86My4IWjcri
mW7MLtzbI2eb6vg2AG827YpmZkU0n3Bd3M9LAGtaU6c2Z9RSiubJl7C5GUsOZCdRl6v5O28d9OAW
0t2gRS4ZY8HG+5PuXB98xmXSWgbOcrunD2Rt/WNbNCXOmjPCbgOZBSY+KwW97pSWsSAe1GgwfA80
KjpUIKJxz+Yj4W+7waZckNaOH9JCLo6dVpjEwtjzDyes012QTOZWSDrdIre+DDlOx5apzveo9Cs8
fyCjhMVqFPe1mDlY+cH8zTwgMLweAuAuVw7L9eiFP9wV96HMpvWYE/CykT6wJs9RP03peTPraeu7
/Q+Rd+VNZeNs9ERzDDpqj2c/v7DtPjQuKUXDWv2sWmIYCY17ncbhExp5sGqeMkV6EwdDdWtE8c2E
ts0rcuqXVYY/7PyGp/1HjXNrZ0kGMVEe4EnLfdH2P2Q+fvXuDMD+39ydyZLcSNadX+U3rYU2h2Nw
YKFNBGKOyCFyZG5gZGYR8zzj6fUhq03GoVXUv1W3Ga3JLmYhAoC733vP+U6b3MR0fbatW79ZBZm8
mNAAPpNKhJS+WePKpfMHS4PDebK228H15sQv4Hfwuf0yX8NTYvJJQ2FtE3xSt9yteBq/D4jq72Qi
DqxbRzYJpKvE2foRWl4XWVOokYEx6LS3VAYUvmCiDG1li/yi9nqS1hf+1B397Qe9G9nGSvQ4iaUR
Kwo8BBLkSOcsLY5qyvonqpF9YDg40GQARU3F6HKjNZkbVwJ5OdaK+DuPCELxpp6xUmOQsunXhBQs
jECIIBZoETVDQDBJ7HXL9raHKkvzhxaZV+ZpRI1ZEe47htE6cvW73I8meln8bgzNN6EVQDLK+6RT
WGejTls3ifYx2/ldptgsA53OhwOtOBiy7SjLi9NTqajCQgeRP+I9xukr43QzWaeiIoAxXRgDRZp6
+QN0YRrsoN2WzZG45Wdpb92E5p/IWg2vJoqdRAUtMTnEeJGZvDdniQqcFsNKFCHQgim9BP1XVTmJ
l0fjNpSMTiemDkIRdV4vupjsPkFPt9aq8avsOLZhtEb32In9aIRbAch2NY7EXEW8l1lgp8ckpmUe
ldbebkguWx4PKpasvG1dCJdtnl0EfvlL3E06nIiiRgo7rX3NRTJLf7Coe04pMMJowjH7DLqk3GkF
sOo50cmzbC+lYfQ7xOm3ke4/WqxR61zj0TWDdyNE+kEHMFn1QPx2Sksfsfos0DuODGKMr62fsqwM
eblGn1EhcdTcvWbjSs0cB4FIax7DSKDkaQJefRpKbY6FrgoLZCQhZJ02luvKWrAx8yHvYYrGzSwP
BoW9rU9vZUOQoYxi7DLJQLN9OHMe6LBu04PtiokAF92/8g3XWICkWmuxurAD6JtCL65DhSyAKuwt
kFG+deIBVfjotb6mH5UFBmHALWrfsuFxRqztE5xCB8WFq+9YudHMO+kLatuNHIxs08roPTUH3D8J
JBgxG7ckt8ABd1qe0J6muk7vNcVWQy+mSfFnzqQH0JeASZomxbo1xvlepgYBYe2eBAzVLtDZCsJg
4g5v0g5esEfgJKlfdBcrCiMxZukNf1uW91NgvwDrZWpVonWZFDiQiHOojeC/4SyP11mRnMz0EEmX
uy5bDO4NceeF5CBQtca8lmR0gg1yr5ZU+zRlbKJr/OUZ5zRZXKy2Du9AMlKtYFLX0TzEeHQcqrQc
epUHQPUafhNmQFdmjnr64MGSBePWK4GkQLDjVvopHnK16dETrQbYNU6e4fOLw3LP9HJbzPmTiXaA
9lm/LWX6osOwOh361KpXScLOlHW5Z8+12jpnvRRYm+guzQ1DSlw311bTUOHn/sYGd+XNAyTAHuIY
DoSJbS7aYWPgVknjOWtvsegC6CtXQTy99EXq01sTCEakumI7h8fNd7tmDuD5WezetXTzibt1W0ZY
Yki7kx6Y2davJmMNRPxNoFPzEXcdI53RE/lo/MvLGvmWqJ+csX3UJ2mvq6qgL1bCxhc+hmrNkjsW
ErgTg3Ezk5frUYmH42bqyJ2lPePB96FGotigTwUfo34pLZQReXZwOKIdS07oIxZZgdhzO/AsDnb2
NY7M98quctruvG6hst+cUm9w64PMbFky+4pHpS6ZT7V2bngDzhxqpKTwes3tNjGDJA7u5YMKR1KJ
guGO/vxZ4SXSdc6SFpb/wvfpg4ZWuKuBaxIu9wYF5pIU32YSmKo+32a1egmz9kYgndlJM3kjWvk7
n5yolVE+BDm1n2/014mh5r4P3O9pPZ6kT8sqV68G80vfr1EAdWfXoMOXdMM1n+Kzpk/stN3aStGf
JTaCVT9U6B8HCmEXqVLQGC8CpZZp1eW6WLarpW+boyZf5aoCKWSOIPMrgQc7lDehTp5r1OmM2onQ
2+mNUCsdN1SkobCLEiJ0aVlvtCHC9OeSgpzLk13rONp1z8lQGuWOTmaQAUPN1saLWTKrKBsXfb3w
XxpYqutZGC8RzgSzFJw85vg2RVu40qYwuOEHrMqxbE/QIe8wDEF8AEtqwDyij2a+4HXBuUd61zqp
QOxif3hv5+Y4TKnvNWP3PW21mgYAhxJXJU9CVfKQ+w95pBHRZf2VWW5xJL/1BalNBiNaR3s+6Djx
piVNlY2PY1rNFqSRWmy0SeJVCK/IYDFfexhiG1tv6N2yaPTuB+Kww5DzvKaT9V6jCl5C0F6hy5he
nC/88tBRFAYx2A9D3AeC9HiliDFKfDTlcY1Vc7arr3Hh0zxIH5cNjqY4AUMRXMAdi4JXrTrVfslN
rNOqo+UZS6hd4fBg1NG0S/B2lEqdacmhcCijIwvMe5MT5xPWqNtth/5/hj3UBhcvc1jhmskBXR+e
61SzaTjZt2WY3yM4fDFtjt6lrIYdIeHxumvkMQ18TkKmdnGYo9T4MkQLG6HGMm4jqXNCnwadT/er
nq2HcdQzeBQIh4uEQ5OO71g22XPe0VtIXPmSpOl32NGncu6eo6yA7hYSXwNEl087XRoOWfBnN3WI
tEAKzhgjzkRaBh8iTwQd/EM8de+5ovddfVhkEq2tmkrTruWNXmWnWCuLfTRn76Vqz62LJHJSgYAK
Cjeyn6iiIuRbPOVNselasWXZ6w695t/mjvMccqyyOu219t15k6JSWVsNUdJZ9GpYmGvgU9CQKPYC
YfBKHOzKHPFLdii/KKvX7Vh6hopuFXTUFS3VY40fsHAKqMqJdtSbaduWGcgpRylgPe7KHVJv7IfQ
8wuILHBwRUa6VFPRqPGqUNP5gTjYdNpLXXQI2llfj6Yk/CdX3xHZhZ4x69zCLL0rR9MbshLfQqp4
9BhjMGWGwBR7hOLxBoJt4eemhzF03lVnH0eL6dzgQupLqPQ3hmAW38FIOOmoeBNqKKRl5B1Oljgp
PzhMAQo4wkJgNw1qXY+cLognOLU2JYGtMTXXtfhjUJqFnxwLcZW2ryPPzlaafM+mm5VoYUqIfWL+
mpQkTeVhnjJCptyzbU0hwm0YJ9bLidMBRl9DXcNRxOq67St0nk1C4U7E57yX1ntpWWrNyppsMjpS
G9sKzJ3WJS+NIeC5RmEO8gsgV96z77D4bCS19NbMgWVHeexFqQ9ZhCizJdlt52hERholueZGzRE2
/VYvwW/ETdHPZBpM91gydLBKwh/R95BtuDZZmfj8xuwldvKQjw6quQHVMo0GtvUcxot0/C+Q2VT5
MrW0gdyWQ9jIt69PLVCwwLjOQgcth2NwlQvggcGyPAds4Btiq7wydh6SKje9ET0BQ0LOZBApPd+u
LNqit22jurXfCIhkJMlhhkW5l4QuIaesSfGMuEWH7cNohocSPuYKeA5h2iGeXmSowcpU/oPNyLIs
VO7RDnzJtJxW0EiHob4OJpr/JAwXt1z7XZXVbW63is7W3NFSnPdxnSGPVXGAj2uXy2Beo6qY1pme
H3Tm1Edb02/0UT5H9QAbIPO3k9a/c2d3pqsJZtbL9xZ4dd999VM6E2ASsMj3iWkCegPz18Rvla7f
5FMv10QXCRSvI6pCtstsOBZM0FqkPhu3M18Z7eDicLDtdPrD4D/SaUvWk/uhywPq91DDZ25oD9zo
faKVz6DAPuZebWS3wHmoJmXF2L0i2GSF/Aule/wSWjx6JnnB9DIkhyPwEuNonBssQ3iUaT8WswPk
BZdlZQCOE11yl1vGBeQ+589C8fjZH6JhsFm4OXq73r9UCaL3pZzqKmoU8wkSHRJ0hcKJl5A6fTMM
Ec07EeaeRDEFwovYzMIwkaPpHxprI3KM/KWY001uMmGYR1Q7mcM81qIIDuePPmg9K8sQyOlcej2L
c1y1jNCNp9Yn7qfRYGo6zV8VqzCKeEXJGZGKHnTaPaSs7/Fs79JEOcfcJ1qsbx+ppKwG9AyZI1c7
Ltct4xqtKW6UoLUpB2U8DtAmWhsqoy/PWZVl9P2ar6joCfhwgrXdm9mpRAQ6Zna8TXtFQla5DaEA
a3wyvMMCxpupS88ELL42LVqq7sjJtjCmv8M8V6HbBN48KpIE41PYp+VWMbvCbu6+JXrwERvqeUBU
pbvFi4WUJ7A/0KBnXi/RzUntGJcp1r+ifELh+o5QZDzBNnM3rmG+a4b5gFwQJwrUvmjOoXxa6mBG
JoefJc+Yh47lhDXGks+WCaivLaHNhaFs1jOTNVM3sofEHT/op+KyNY1LaiG3ZSf9mApT28y0olHq
9Mi4+/EYBxnK+6D7Nmp0xWk1X+rlBrH4hYuVId053ShJ6EzTnSwQhWHJ5/DEIlQ7lbMRuOv34Ha2
Q9lfO9J+kYvTyMZP4RV5Vq+d3naPI8xwOdPFR/zI8QmpIeOtXbPIMoRclntsMmHD+12ks7XSg+bg
FJq2Kof50SBTJKiHA2wqlIDKxjAe98tKSEtRN9uP4YvVoN6YQnyPmu6rXcdTtcJvQCI054ybaQRJ
FWCPgUVUZivdKlii0hJHFGv+wHarC50jYzzh9oaYzAC+fXKHcOREkwwrJ2lG1JnW2s9yzUujOCRM
PEEsj5sfA99VxqZYhXagI+rpJMlpCsIxTxwDrVv8Sqe0ZJbmSv5V2RAQN0sR5mNYWs2XtOpfR8m4
JEcNtkLEAYu2Ixavr2B61RmrYgk5hLy0d8tESJjk822WziYF+9AurFZBbucX0SMAEXOzQ1AebUsM
PKLL43XLgYOmretlABTPtuALkfxcj8oa6wgMAAuXwJaQmMgO96VdvsMmpTJpQTDGNsqpVrG8uo15
w+hyGxbAtUWBciTzARuEGQomNVaXJJ6fVF0cqtjm22ke+j6+iTkJ2OMQnVGheJnb2Yco4PhiWBRM
Zh1+IMx5yZSEOwUCoPABFQiZglRHkpEJJJOO65OvgZk0d/UDVhfyloEFekteFu/jcYxe9BDyRJXT
DVBBB5MKsm3RZ15hDQ01kjpFff3kD9i763CfKJpxGcykkP1qOxJNQAAJ9CmNuT9PNoamwgWwW7nf
0mm4RCNdwgqROq37J6sPF5anH4G7Kl5JmGAsGVgHAsg2MqdhbKoIpNwwkttoFQemOLa+sBa4Qfct
5IvKeCynFx9KPAIItAP0WfURpZvVVqReQAPKw/A8RF98R5WHcqIbkaN20dwrEaQBlmXcETx3MYe9
Q1DQOoWUT3t1Qo7favOm70jUivxog3ww24RS5Vj3L4jG7xYyCuJ/CfZsOTiMZneKfaYnVUk9rcZk
g4o2gMkY5UdHrwiaIQHP6HArocPYlOaiNekwj0ImRqXLCctHvYuxEaUhU90kQBHMEHjZKdtjpXUO
HbIAw2quKCMhfwCs+wtw5ZWSgTN90xyAH6ywkF3TGfEdAqTFCZWDy8oP7VDcZ+4TjbwFYSYYwLB9
aL4lb+kUcpgbi2qNYu+vWobv9YByFlnEyh7oMCdth2PDoLHexB+BxsRZWYyH0DusBv6YfufQMRqS
b5M+UDKYL6ZIvqfpCIppYbJ1XQ2+AAlD4urBET3sw2wQacxYPbZwK2CTQuuMi50mLgVZIYDYZWa2
BxdKnZDhaRzAlxfZwOeKNRAYGiPM2t7ZkcHjBlFADABiJtti/j3Mx7K11VqPkH3Uc4r0N4LDWeYH
mbj9WUwpQUePg4BSYqhuvnL4na8uJKewBq/JzCRG/jZ9mrycVUjfI4B6sZXWcBk7w1/bccoP0Jbk
VziCa7q1wEobysuu6w+RU37Lap+3BCnfAL8FnTXElnZEzl2jmQy0An5PV+xGDdZ39Op2zVnppUO1
Hr4MJdrUJku/6HZ9Ysb4nJpoS/Jk+qaglbWQXoO5vdRsbwaq2AlALNnWB9/vOCx1b6li0uj7WJUS
5YKlGqlNItt9auPgvs/xhmQN3ZcutT86jvygZ0Lm2M5bNfQoD7OSkR4NzMX8V2IrO+KX9jpTuyZR
vAU2fjYTBRNBB5AC3zfIwGVl7XBhqRwpoA5IuNFjM6NhQW3CPWpGz42jbBNrVINRbNEgmItvmpUR
XI+guTKdR2UF19mMiH0eAQyyy7+ORNGec83dEuneHiAxLBvRMvKokdxaH+2gTRsfB5AXJoPYhZp8
cSs+FoB/LHg+xXLU3MlOYiIMpwH4NVVzKpFOdc277IaLjd4IUR7Cg0Sqo4wa4isEvN2E4yp1Qe4Z
Oi3xIL0MaUpLolOg6RzKoWoIXjQY25iaeNRD88vY8NJqSrBB2baXQJs5tnPx3Y8Nf+8TY7aKS83Y
zMw614atp6fYIvuonzqvbFmy0IntaBsdeePvZcXQuMpYdyqma2Gp0WV0LEjqsWKVlmA7TAMv9zWn
ujVT9Zdj+jirHRu8W8Mv1UhkpV2HL+0AncwXt50wiDeT7V9mGr350aiATphHX/aw0NCJhLaJZJYq
h/Y9XSuzObqHIYvmU4Bs1wNRZ/vjnRvyNCY5HbvJxQMgFOxZzJ346lBQ0mlNCIe0kegSSnsfYKvE
bpBluP0iZzcppmrWvO5LMBt2hmYA4iMUSV9cLB9hWEc7g1FLGjCEr8Odm4zhS/qZdLQA65rPYSos
aiuipMX7nQA1Vg/ZwA5dlsl1Im+ObABSoIog3GJIoAfVHyOrQ8yFWt8xMSOa5dJL3Uwj8FFhXtum
PkwGSl/HkFgXfAFbUcuq/aSFb3RPvKzWzkHhHuMYj6Qe65wtMAQwgw0OVj8Ua+xnYX8Zm/ZrEEVX
DUP2IUMVPS+zkyKsR2y7CttuyImVfjW9jCk5cDZ7KIus3Qf1A6ZowrbAYoTmIoBmQj8l1KrBSGKG
tKlYRvg+RRnd2JofkhEQvktHZ/S1A3qXebSbNiluYtxs8aZyQpqM6VdBbMU66imlANwS+WF7eo7d
wJCNvJGjvfWBehzRkZHBwAS6wByfzeradMlulC7ERahFqo1nz+mT75HLWT7XWaXcReIj5WM1z2Sz
Bbs6WLfas6+jfPClDyCwwGbuR0xdUjalqeKWMK2ud0VKJFQYMVcT8jbTP4GkxIXIsuOEQVI02vkD
+QsVT2mFFrEH0DoHmxk6o1eWiu55Ii+JS0Mump+lAeg7o3XhIBfU7W7TcOyGnarOCkL6TVqYr5zO
WKM4BB45LQ33YYJIvvTHPWPHfgW4Md1RM28QSX80Zarjak1OwcwhPIyeUEzi+lQWhS/ANYGElEKJ
cHFWxmMIRqCX8OdL8hg8npfvImBhcCrjGqNGoTr+CAe2HiNHIgOjlOK/KN9B4rKlgf3wZt8+h7Pe
EQhBx3piZ/C7qPNmbdGv6T2iT7J9W+NDy41DTTThkGA1kW2+K6A9RxKAiOq1L23MWbmbD67GiK5Z
2iR4lfaNzGcQ9ik87pjgLDvUPRLfmnM7ahsp0SCB+hjXhdjZOtC9Qo9Ia+WYHrTW65BGJJy638ei
sS4Sjauo0XIkUF12JZl84XOXhceKfTcYF+qUNn+zFUxcO/wol/Z61qV029d675MnVTXP+DvokhZb
rPxvpeNkx0/r2X/Lovf/m/sOz9r/3X23jfL0a/7xiwGPv/K3Ac/Q/wVUBZMbSD/kZ7aLNe/fBjz3
X5ZwJHYxgZNO8E/9HwOeEos3TyyxL0pZgAX5v/5twLPcfzmECBuOvXSImXfb/x0D3m/xVULaCiAP
RkCFBxBiwc8xM3FHBEFsopXI6tg8VJZD3hvNfT3BaNpYUOA51Hi1iRVFVE+xZlAzTEW5rYKezI+u
WRLmR45Ymm38IcFK/moMFIzx8XAZ6A5MqSvxS7Buh3iPpZm0DZb7o9UO470RDreZdmc2YIVNJiKn
0YiJLWqfOzr5b7odeRzW1UHjQ4jQBR6L82rAvJSWQbRnZPVd9cK/FIbCLT8uQtcF/iK6xiG2mxaP
NGq6XBghirAf7354JO7+jpD7r7zL7jiCts3/+h/mr3E+hGC53EvJWMIi0oe79l8/pqlq7BBxBG96
YzVHGWeELPSvrdOYDOM5x5J8MJwJHkCigHPpoeQMHFK6sEnSpEC/74/po13Pr7EZ+dc2VH+NUop9
tejIWeqts+3+1TtDcNsuv5j+vhh1vh33gY5q9jjTM0ED355FXkLEN33nBnCCtmJi0y1ifHZw9PeT
YxFDEzSwMYvpHEKHNySsIYXLAb9vTg5rFf8h8VYuibY/xu0Jbq/k7ETanmErXfySnVaVrpUZM4oh
I8rHdQ2pnhyTDimVoUM1cfxT1j4nBaqxsFcw8ZzutWkAPEEfczzkIUM6kB2CCIWgt3lrDku0lhTZ
wS7Du5bq4vOprDp6i4GOES/M/2JIYZ3++c4aSxDTTx/ClrpwFNlmNKEtvJI/39kpGyrXjmKJuA91
g00Yz5q45+r8SVJBoKVD7+PAgrG6uLMwAHWrseyLm4DJteMjCS6GET6yryXHotGPpZ9bJy2Go+Vo
xnG27OFShDQJqATjoMLZCYDtKEuTfIrls8wqYTvkufIEB3Z8GS0DdlchurLAeLZ5uOGh/EPknfwt
hFnwQi7Ps26ZrF/qF8tuPipptiGdU/4xSssUbS1zaCveZAin9JmckarNrtDuioPhDCd3soxD68IJ
x2lMelpFY3/W6g5Fec5Uyk2MHS9odLZqfY9gdNonY3z5w01alrGfbpJUSjdsi3xlxRU7vywmNrCP
vhYo1B2g0jpjx3PvO5vM0p6EVc4vtH9oQTTh3dzoGFLqijzprE+1hywCluUz1SqL3j/Vyy+5a7x/
wgQ1PBe3uhkU97ZbX2kT1M9EGix23rK4M7tdJox+24fNuxaX9tMwgQ5EyuOApdgPPQbb2C3lwXYK
NL4dHZBqob2zuuQ76pcQ0y9DwH/+FvTlxvz6LbjSMEzXcnBWWssi9f71GuUBS5b+P6OS8oh2Yryp
/SED7DDRQ+kgJeg1Ip0FzPM3IdWorBOv1VIXaffKiaKbCavrn6IBf00oZH1XrqHY+0xl08H6JeDM
oZrv8LliDyPC/O5zPbcCK79zM2CjQ+ifzDwbL51FflJoHuKwcDmDd3L9h+9kWXh/+k5sCcZSchGG
5ZqG+uUyzEKosPWl9AqI1uTRimhXZFm+7lEJnXLm25iMB+JMmeA+VLmPWUReZreiGRE634J2xMQa
ss90NTPzviN18w/X99vXZBu48E12DLZCyzF/uT5rmlCXC5TBn7sVzZno5jNpONakOvWkweiWNA44
TYZdpPKrEHQblR3f//NlyP94GbbNGmebBm/SL5fBKgo4Z7aXHEcKydh8FtZorm0/jR+08SGsZ2Pn
xpXOskZUdpw45WbMWZDKAi2O6Iyj7voCWkiGzdAS7jkewKr0WeA+6jg8W0yf72D0o90frvq3B54H
S/AfzlZyWQGWM8YPD/yInAPCKOLBssaEQ/tnJvIALeQEeGkvs0gxiyLBVY+7+QmeibgJZ+1Vh0B9
GSP1FzbZZj/HiTqHGn0hadX+ubH7ctfC6Fq7SssOehjgmCXaHM3lyx8uftn9fnwyGSfoNidH7NrS
xSjzy9ta5+A7mpTJXTjlDcIVEJtOzsX//W3V/bSvyvhoqhKe/xSdm7i6MRluPGUlf9LVJg9tHtyX
kxhuWVqJHgvLM/El8G0GZ+ca9Qht6R7nTPklbSm0XTPQqOZEQR6xOGMq03c1lsnD/8NLZ/x+tnM4
3ErLMCVnXO7Pz/fFt8LRoEWZsDtxrX6Mn7ybqX+aKKSv3g9npofTwajijT0i1tWRZ2hD/liq6Y5g
AXoIphZfNT2ytr3xkaczwl/T9U+6xkhGpTTU0nJD/FeGqpOUE9/iiGr37Vtoa19bNdpenXYxtBIG
8ojx1E7E9bsDZgb7ZHyl48cchSDRJ9OXd1YsHv75vurLffvxvgruKccEFmL+yxa6vGo/PJRDP1rG
yBHHc8UYoOsLF+tR6DvruK2RF7oWoH4aROvPQ6kYcWrMvoE7ILbbvR9xBgBzJP7wpui/bZAsgxy0
dQUP5PNQ9vNFMb8UBbQKAykQa6yRvuaNOZywL+CcZjjwep0cuEelYxv3WYIohj3GOA5x5u4mwjVW
RobwTjiJfhPhHTiWKbwAJzb/dGD8D4s1VZE0AZNQNhm/fnVIUSpazQDNpaiTs03A900YIfEkyHrf
uoy0q/IlVFJ808bWXTGz44muaemnVto+ZErcBhoWYk0ObPdpGr4VcXAhcWw+fqadfwnIRjsLP229
Aqjdo5v4b1KvcA5i3/znh+C3M5SQ1IMg9kzBk6CoA3/+vo2Sj8lJgDegWZh1LvF5ygSf12fZQ80j
uupyK3munWErmLhj7gqs/VAYSGxEf0QgiEwjJN6GJc29cWwTOIcsGdtlzVkGTnzTVkDu//mS/9Mj
spygBHs2FSNP7s+XbA+BhKyY8ogQv7bpRdpeey383vYmOIcSmVmclNNbQEvb7OPpTkYR5FtVfrFR
24iAnts8D9mC3RLzComVOI89StfEt7kZ/3yp8vdXzOAqgd3A6bIlgJmfLzXP4qKKamEh1KMwdRQ6
C7fsGT9Fr9DLyfag6iHwEsmng2YESxRVhXDVTeWQMQq1/KA54zNzB6wbnR7v2bLWaVBZhBeCSwDb
Yjidu23y6Z4ma7/+w8X/vtVKU1iuy7so/8PiyDjaUPWgTC8xJ8+qKvSNRvBtbuz8VKYlGomqzq+f
hxJCoHDVm6jSahT2Yd6VL6k9PIgQ0TXiYVJ5mmAPoD/azwAItlbrAEMbxaNmtl//+aI/69efFzVp
UqcbDoUBKKHPFf+HRQ3FQqh0Ek8AQqTe5/I8awWRZtVzFLYZOgaLtvFcHlvHRMqv2d/R1Iw3uGvw
F+IQzVgCk2hcPm5088+X9luVafAq8bIRGmOQBOssBKQf19tAalnQFY7j9bkvt27EHL6oxrui7ng+
LPcJ6pYLjcfRNobROHvLYZ7ki36v2BbvND6OFeh84XMebzVSr7wyZTocF8jZ8tE+yRwdajLfxaUf
71PCny6xbJhY1Kr4w1P923f8+UHo0xi2oVusGstp54fvuDWGuWCGAjrCHqJd4rj6to2jr8Ysnj/P
rYLhx9AbNemXubwUKvsIRFg9sZNvM0ULMa6051Bp1CAuGUD//C1/nkN/fAC4OK6Kr9oC4kxX4JcF
zdaGVguxhfz9ygV+v2uL2D6VQZLsEZHdN1Xd3IYDA3gU03AItEd3Nqnwzbb0XGS7h67pPpI8fHTG
Ljp9Vsb66M8eYMripkRgm7pNeMlnZZ7HkLPujICiD2qY9e6kLoxbTn3H01SlmnFo9K46khmxUfWE
84SXDW5M75lZZUP1kwamXFQ5EH3oF1TR/WD72i4IQvPCnudyVEVZZI7RHxoFy2GZG/TrdyQ5x9PY
4g03fz3LF0naJHjXHKy0pr21fQr4bpiiQ0UeBBp97F4HrcqKc6UcGv/LL3lhP4i6cLaRmzvHpIU6
WtPl/vxdsPzR5/8agvibwXThOCfVTTwO/UMvmvKEc68/0u0RetzcRzbmeloVJ6vr2ruuKV9UG03H
zz/6rMC03n7rDW0ZbylBxCESpI6mzd0nIjk0U4zfU0X4M142HzkncerE0CgW9I6ldLm5tYYLljWr
3n3+Vrd9xPxQDHat6AjetMW1dWwiN2XbYzsKkmNcDauoMYKNy0ifh4ogkSkU5wGcAvIhI76J3Agh
wkxbzJyceO+Uxngqhre8GcplZN3dOIzpHskfAjtAsuvf5ymD7jhRAeWEb2CaTs6STfr3hTq+c0KH
/qa5ZrMbRjoz7jzjkIlg/AMZ2Em9Jjf5814MsigOcBoW4fi4h3RtEMEtrCMTE6j7iXmjySn2wGPh
90kYiVmZZtz1KJU3HLHw7JGv4aZp8jiLALbH0EZPeGCGfTnW7TVE2sOTXd7PTJEvVjq9BvT5HlvL
HbdETuv7ASUyEywV4A1VH6FpTG89LNR/X1pi6liI4UquQ0xAh8SkY2AyC7oVQbVrEl1cKXKZ0QZY
7J01veXssaXI8dCH1RSLrUE+QBK9WFb7UOFsfXAr69mZi41ZTDhxutL30PngbmkRGyKK1J56RvdD
E16n0URh1vjiOgL79sqetEE1PEREZD5o8zxeM+UpsyXtKcmObV0VlyoOorMPZmKrtabxomhyZHaz
5L6iYk0GaxtEYbx1XXTJWeV7qeliEHewTzKKrLaG3YdeNrByCd3Pt0qNAsKxFt5PBZxInMTEm8w5
2r6OVaC2cyJ6xsT10szuH1QqvNrWs1vRB3i1+9JLUzKL1qoxYdxG+UvbuZAW9VUsh+a2tRdd6NKM
WxqVG2KP9NPnL9Wg7T5fDuIM5A6lU7iJ3XFX10F2CdVT25oC7z2ogzrEbpwgTr9U5nBv0fg85Al6
raDqsoVse4owXm2hQj47efllcNOTcKf2Ps3zm8+6PoGeZOuC1l6loxmosMUi/iAbxu+edOzD68GP
9XPDcAcJRYNwUR9GAk7bZ9Zjolka57nELAzx1dSwj9Ix/fypzmeBEbgC0CU+q0MiZY3mIteAMnHs
6e0SoGc7Jtsl9DPDjVeMLfCaJSFQRDYqLDWUR9w16i6scf4Z1OubQBXmfhKKyhhtJmqbLP7QGb3b
4/zaC+oB/EEOKS73oV3YTGirmI3UTLYG2bpAvKPxBJ5RrYOsCbdmWOPQQFA3TQOAeh23gVZA+oDH
gcbJ5pyP5w37/2emtFmoi6l15a5fXnjM1fRQm8g/Ool2HkjfZLAWFhu8S+8jo7RLNl+apUNKVW9f
et+t78secW/bi2/QXahYfCZ4URB9z9CpI9p0okMkRdAd4JPONxnP+U0R1NMx0wdrg6ANpd6M2Ey3
PNctsaThwTqEMQDCz+UAXPMrwi3EQzIbN5r9v9k6j+XGlSCLfhEiYAvAlgRAb0XZDaLVLcF7j6+f
A87izWIi3lNIahmKBKoqM+89Nzf2th8w/jab/pEO8JtKwnmPU3SZ61S/aJP2BfqUDNeZtTqHQkF0
mk/QiV1+IqWawIGfw1ahu98fVQy2Z7Ttqyi1zpD8aRhP9W0cgnz3LHXqBrlvjgseNQwqaqWoUgJt
hmDfZIZ/G2WDqMksZ3tBILyq2gHfbrIp7X7+51sYYsZo1O9SGG9gLUXwQ7MGr1apH3K9xfuD3Gtb
ZqnlibB/qKzGiT/7h+ebFAjZSm/JTtctDNx9mUxu1gJdT+0p2+AQYU9lBAEAOxTjoyBokFEypzA7
+UrDXP5RRfyDNhmWng3HiwW8PjatvbE00LzP1YOEhOKUTHWCkaXPsESx3IGY3QzarF3niobO8/4r
EdVg/RgWb/lSiYAKNg6VBVKFI/PLIDNkLbJo+1xcmgw0nolsbVOLihpmzAcWBk74haVoDgz1YIt9
ZQC/uFnaSt4QzeGOWU0woiIBu4qWHoYhFtMdIXd46ero26Jt5SCUudIuhuirLQ80sPH/qMDlQd70
bi5J5r4apk0XASMMeTwI6CSsW0hMTGlBtRT+j1S+EuPEqTSSe2+scE50U6TI614nzTXsA4AmNV4N
oFkuYn+3Q5bhagFyllThd3POy69zCkJhjlTIDTgeU7r/V3t5WnzQ1sQaa2cF+KinStrj+RSlmv6b
RDU+WfIaT3jlvUkT0uF5/UTC76mBhvpSClJCrQe8c8yleXXXgsl4aXVpjb3neZ9pA5YDkmcCdHjy
Ni5C/zhUCNOfP6exfI9IQ/zj6nfdYTJK1FRdL2VfE+Q0BU3sNqYaylvdDhM0gEDCoBoiqqhDJlL+
fExT0nbpzu9x3e+hi+N1FVwfAguKPpV7tcXj5gdIT+vUW8ycNkeTFuQUfSVScPa52A2kPkv6jgq5
rU5l/TCR3ZUTSiU6t6W4hAJDcYhYHHN4/wjHv9jx6ADzE7kZao8sb6I8zwPIXqIpqft+xE3LP1mj
mOuS0Ofj8YDrmY8y5wP4l5E8Iz4cv3rIY+ijgn9sjk9cG93+VDyE2hdOZCBokwjeDdKJjQh9FQLP
4Lup4s/EwivBGIQYHq+srI3ic9QI1IkqQ9mHvgOiGy6O4lWJBrG7DOfrNDbnepQHt/fbeMOhuF0b
iH52g42UNyvZwxEDxK5ly9LeqldDZ55nsMvs87sRRL+X2/GH3qTniqC9TQ0jZu330wbcBq2xKCbK
xprCk95zjK6TdFxSvNtNYzoB7v4LZ+priik3NYPpPfcnbTPSDoJmCjKM8wHOoKiZ3kYlPBohh3yc
siOPJxb5Zsjy40S0Bb6QZK0mWuMWIKo37RjLb6OavUqN8tamvWeSlZeg3MtLtG2qLW2MaBqZe7IN
8qoHtEWG8kwsWuGls4Cv1LGKhVfOZ81KaxtvpjIeIbDixyPyhOq3NsQ1zGTAAL2yDFRPVmP+GqI/
DjIOEYKyFqmvWRMFHte7Uq1vjMBfs0adnSmKroEx3mx1QgVj0B0oQYFBzflXzaTOGvbQe2pNK9kk
K1Wys7NGO2oup6M2w3LsK/mRtFq2ZiyNhZKw8Ys24FsPUhuEYmvkmNFDgurZ+sgTgl+te0w6XzCE
PQh5eH1eKJGEtkxA1FxHrQzyoyqtvS0QDZYwHgKrwsePB7iIr5JVbJG+kg/hH2bj1zaGhz2atzr4
Njr/kCqVZ+hkE0doRWEIjNnkzj2dPR289CCtKh37yyIyWSyRdKMWJWUzXnjZ9Ziw+yzBiTNgBFkN
OU+Lpv6jS66sWaIUZFj2dxLN3/Mwnoqpuw+y+mqqMWOx2njISuV2WK4SlNqnIZKLQzNO2zhFRtVo
Lpms1JUfRmu3cFWnwDUqS9yktsN+QQ7quo+VmlSnokHgo4CwquvofSGyCKO0MTVCHpTx9M0XLMd6
8ZuDarXyb5EYe3zr+yYMv8YqpcZQ9ZMNz9XsSpeT4zZS+61e/UxlQiTejRkLpJ5jbU/XGEOUpP62
02Egq9RONxpI4pnwnlWeJnehsdFb7bAZG/2Tp2tRjZFA4kMLyFSY8UaENHyuTp0fS1vwHO8pzF+3
nshutdNpR2wTYoWlkkrHA0r0ed3NxT+7qUjS6tZa/xa8Nj4j/XNAHyprHBUVNhz7dZvKK6VHqdHh
so1ZIBZJrcVZ0P5ok8x+C5TJs6VsfM0Yfh+CylYwqWXDp+pP02oIJqYbbOlS1bdXLWwecZm0n0lP
PF0k0QjHtJPt81pb8qDGI+0igCGVUe/Leeo8itnb2DDkzOyWuYn5Zpg5j0NfZ/AZOxrnIAfXvcHN
GgCGoS9Zf1Ry7hgU5Bq+ZUCFq34U7mCzQvbkZ3uI4aWXCSWyBu9RUQh9eWcUgpOpVW0AdbRaMO1e
sAceIdF4kxrmDw6eLTz/UnZ8Akbpna5D0E60cck7h9SxixlYA66B4TcFmF8a2tBy4SN9ajCumUSf
GO12rOdbW7dsMFOX7SWevFzYb5EP3Da0NLc30n/TYFxobaJ+oPGG6sQzzK1fRE4w5VuaGcDai9US
PKjb2AwqDkTtP3pBngHZFfuOY/ZY5/EscPDzLO2hlJ/yQNx3/MpMIL1HuGjWXX3sAVpR8V6sSP/X
C3zsVbf9jnFIGFH+x8egE2CjRvFX6zdyyTdNKuRXW17iWRTC+Ow/SYbYBR/WAgyeIO5QiK4MDgIr
I5jqfV/KB0kDZ1nJ8U/VUXLP27KAoppU/gkqZcpfzUSpgbcS9qRF1i9cMAK3LjK3SyHBpx2ZSO3y
FrcKdV2MnxQgpB7lx1QQsxSren1r/XkrdzMXW0CxGArZ9FrrVWFapZQsN7ASQ4HYHAXhDvixdTSA
ihHK2yokwMz92obasREQ+swUl9c8qckC67ylcfbdlonqFUUQwaoppJtW1McK7MOhg/hzNKt+KQJB
XocnBhV3fFScC/JH3C2sqhP9vVkP1yksToEmUlsAWRgKuQQgE7Rkv+FOCLCzQAuS8b9QFqwTZW+h
ADKJvs7t1IvjFnxtMZirSkkBqaK8XE/WXLsFmO+tChvGi8JFjMm2nkmyZ8Sg1XCCr3uuWte+VDHu
npCI776IXm0zvTHGzzGL1RMoIK3ZwnAEthbho9StGKZbpH8ptFRdnllmYL4FhpLPLzkcNzOEQ2jj
b6S2aYJoesvBgu4kP/hpBJmw8phApWuDjviZ+RQYLNdsQHe82KqUvMu//fCrWLeItT0Yv9MY4+6E
oxfOj0HcKYkqTJr4uSeZ6cJjSlhdQ2hr2VvW/S0kAunZDbg9jTDdU0GvNNgThZFwBoS4gyj+0Bog
aQMbQXjTV16iyYUbYpLHJ1sD40g6V/fT5A0ciAo9kjXhlMqgd9KetL7RwmU1mX+GHFcP+QtVXIGb
q51BPs3+KbbFQetsh3jpywCjqNBgiokiPeaxdjNGnIpZGXi9M4F83iwPyxq193Ci7fWulYymmWci
xqS1duMosMlpgAK749Q/xBrdbw1pa0Apk2tQd/tx/Cfq5Fu2egqLdoTizBHSapJknYDpITYCCTN/
+jlOGIcJkNXyusSKYgfGihqW8yrya7To422alsAjlr3+tUUmEL/F+b84+9BCHa88fCs3G4fuGkvh
WzW3wEjzoNvPqF3f+yE+EbO1wc81nisRqy9JyciHex6bNenYkMr2aAhPViw6yk2sQ40lq+9V2F51
6dio6SGfx5Wwgq+6oa8J4Pw1gvpAeb9KxGA6IMIOIvG7bZiT7WqaWczFiRq1YYNYhoqA2nYEM6tZ
iy2AhKlhclImo4GjMT8D0D5KeyDxkHWGwSEkDds4QGpOgUI7RGxDPI52E4FUq4DJBLeKeAuFwz1W
NARJoeIhxnXwM9h7XOcg7/LS1SwYD8ilcAeVnflPEn9L7spfq9AeVIVUxup7DxkJa6GuU3Su2TgH
AInkUTC+iQ+pQFys8wj6HzPySHLx83MER1i7igzF7c5UXlq8PpryIqe/gcTRn4kqRxe6EQQ+Dodc
8lhdBzzEAyiD8RzXH4N/7bH26uxcKhHN6kby90yhyWzUikeAfLt6GyALSd40utEAPslR2DcCeZuG
AL+owPIeHFfzV0PM3Rds1fWPKRA3sPMol8n6mGgq5sYfFThl5y25qQkAQII4Dl3wQX48/VPbbZjg
iA3bYPPmpwdhYURZmzUwD4ew4gguYPEZpS8DS266EjzdtiJd8Fw7Jt4X22bxlzWJg5O+NZXO67Ig
eSQFjKiOHdINpo7xS259lJiccoDKrmJmwi3SoHFTfU1GC1HBLa9XQcUFv78JFBbH5kbyprKZBMQL
lN1OEWfqm97O/3I5oXo2xtqZgwxIfOP5tlT8pO3y/KXAYjWL4IUwtXecdXTIVPpwGalUNrgJyUdx
FcCQ8BBAAVr2taEVJQQOaZD9gEgk8PDsBlBP+jrGNd8i/6l1LxyM6JiRHrEfe8PYaNCJLvMI2wt6
P5tu91L75PNFkW2ebBk9Uy/xEEIWnHVH4O/d15GJAlsmYqq0Dghicc9P5UnrlJ2sckxOg4Ogb0Bg
FZYp0gg7eZMXPSZPmEzpxyjw8Wc0pen7aK7Sd94coYIpEIeXQOLqR6kTVZa+yy2VJ/1f+sLEYzk2
OBNT22U9ob8Iyskb7IoOx4a84tux6NfbBJNDAba4CtMDhxW8xnUT31CWQSKpanmLjjzbm921GLdp
jMpoPMboAO8yknOQ/lazMbsAH1LAvlcjfK2ovUnM4X5pDXM166+s68BmVr0G1DCmzFaqYy3T40Ph
6mJ0b7A0pxTsJeX7mFrKnhEeke9lRzWQewLrOYFTYGdYBubkVNvNjkitgzm22PFoPYwWPPMcULPF
/hVsOxVS7JBh2SmcEvrt0BunyBy3g/oCA2UTdvpm8iVcmJSxpGV07NrL88w8AhCqSlQU1x/tKZst
Hr+2V9ulY81c+pzB4iw45CPxR8ROZ5uIfqBqoYrNX1HyG+pdATSFPG0l26nbQ3nIWeZbP6Pgzzcq
BD9fo0qAL1p2XJ84dHKJ6TNUpJFkusA6tiQRM0R3lsiBhsH0mOOG4YWKyuO40qBcYMNxprraVKW+
Z6ciSBR/qIqsvjrxX5R9RdNLoTYrPwSchAtx6GQ6EsTmQZZqOFYif2TUBKRGwTRpYApMTH1tDSXY
feQcXceUQkFym3lqGJGvFdE8BNSp0GvY+s0XYfdAgYwV+ADu0mZjYecyhjfO7uxE+qaEHp51l7Ej
PSGJ8vqWLW+a3Hxv/YPPdAI6a34gwYk8hbyr2E9apwS7pCh/aHXYec/KE0lvzHK2QP7nk2THClXa
tKbhBiJz8Pcy6PsmBdtDUlyMobk0SUDj31T+olQzsRTZmEJKetwyjYeAi9Dc2Q22IsgowpAcdYYd
jo+DcBMmQXMfOHlICxevikVZN5qQCjiIhb6JAU/zCH1wwuBTix4J2p861Nca6ogM64SRY1KlhNPZ
3lpy/WRE3BgfXVtobuXrbtdewvCzye+GHblU7uvcHJ1MPBYRUCzjNYU0Ah9pLQsDa943i1IkrlwH
5k4EeNMGYttgMluOLBHxrNV4EMM5caesPoU8yNOy1Wccn71OUf9KA58BBBCstRGzBrpf4P6mBLtX
gPKpiq45qGXK2slHaTcrTBl6qzkjozE2FZ007DSVzq8b2rUQNmMBEyPLZ6IxPI2xzjuN0am7oK7B
OFX1KUuQqQ0zbiskd8ZmNLWTmILgh+kUrNGJA2w6HTAPGrhvATUzOCKVdCJDwu1684WA3zN3/aas
NlqEsBLuBBSFc6/Jx7wO9xa9s66JjgUtynFuaUFbdJz75OHjLXeK0W7wQKtUUmYLh0A1yws45FdB
fN0N6ByBVfp07qbuw1QK5dHbj8Xzuqrll/rd6PKLlLQH0NlnYG4HX/o32KGn4WSyTWXDNPcAghmA
+RLBAN4zd+fCcrWE6D7ZBvFjeTnm6aAVZ8bwR7r9rDcvdSxcaDJOzbmMHhUTnMtU/Qvw7ivqXQqS
XZVzsh9uUkVbE3CJPvp7qhh35ArA50Yvhtpgl0kugTLoFEt64YAL/8jJhpqV4yhJvzYE926e1VUX
bMHHRZfG998qmG8rjWLGtccG/BYWCQSzKa6b8sMCvrHT+2xGfVNbjtoYnKWt6RZ1xXfWSbLbp0Fx
Eb2SXzKzKi6xngWupSvwkJbPQUhGt1Rb0GzGfIeoR983fhudS2ZkAePTw0jqq8yRrrna00wWs6TX
16ZgOlujc2NrS99R9gUr0drlvam6bisMIoP0fxjYCD4o8QnaId8nNY3YVnH9FTIwuPQMF97U4pqO
pnjll2YHnFbXwuJuE30TXWwT139UNoeq8PUT1zA4kPmcW3PpoIbNr11Bdms6VWSdqumrNeEDl5LX
gFbDYe7yZimcA7fP2shrVLNzQdZ4Bgr6j7GwXoNwG4ViF4TqZ0/LnhyUpqCt4ysnf0irTaEeLCOs
HcDA0j3NitxTAmQ34IfafWgTEMsYVxxyK/0drGQ6lCq4xud77Twrm06WruIKeYhVib1fr7CxdX01
OkDfKZAS9DIm6USJQefU0GlfYraMyxMsS4+I6/GQmwTsiR5ea4PZ8cDjIS1NzuH5r6uk+JPHOUfw
yKDQW95Ic7hg3HuyZzTOakmaH0MIAkdasBTkQvMm8O0ucdCY6cFegqRs2ptsStdWS5V3ZDjdrpO2
JXMz0A+15PiJiFx9nklHDQntTjo7ugxj/Cc0tZbBZq9tRE6PHOCETFuoBrMijmGJQ0dqbXXPnIW6
d4TfaQK2CfE8jCV8KQvHe1ZiNvcxzkM/2MpjeY09g55qGDawj9X5w+zOqdTyF9ePgTr1NCbGTgu6
+VIC4D7Oif3KDT6eyG4kzjx6L5XsJrqoAPaJ8q7RKEcxNjK1x4m75n7GW9gh/i8VTo+dQHMJRVEn
5mh5npI9W02BzJuBkB5ZCfit6tovbNfPoW1/wnJOzmEc2E5VBtMp7eApDHSjjtbS2hmF/ibYjh3a
NKdAMQ942v9EtIc4NRatJ9olGEet/uEx8PeBhN3OikYafviLYSF6dadqdD80H/QcyblFGnpNtIR1
tdPvEPsCe296KCQBdcpSSdobFLpEkZ/tn+/990aLzJqlI+48wUkmwhl5oZXYQ/ikqeIZSpyTj7qO
tH1emvaN+yBeUxP4TmeO3yoAmrOUwMPTexj6MAYoH2Y9xeZYS++BSuUutVujtuetBUhM0KG7hAp1
T6OgVBsLTi8aB6tQEm9EBlAgNg+cuW/0ilS37keN19lWzn2nblLQs+7s6/HVnNX2XJo8/0wJrlP9
HYT4V7vO7LckJt2LNMk3wO0YqKRyuX++J5QYLdwM0+EpGKkEwNhsLFNH0sFk59G8SwfN3jaTYr0O
Mr54kCOlh5Jjg4rdzYKTXiJJU8UKudi6m74KYitifFlvpbTEKNmOBOqZF7KhZSTY7OMRCT5g9Jk7
w4O70t2KEaA6t3e4Y2sMPkpmAbo11l+sh5N3Uqpg2JlpuJvtdqGRfDDAALusPUwltz2trsSJ3iTh
j9Yh468/ip5sAjLKsXDr2OoDucNBTqL5EZURjtEG8FetWuVG2ITTmmm/R072Yw7BQJB7WHtdJbGa
8HwCVrEZ0GshucHJm1I3+mHKzTM65uyW+XDtgMhI1NyF/04HGZNA+WbTUjgsunjyqlbWANi9vGep
nT0y6OKQHgn1SpWaPmgjvonCY55ElqJtFzPQFm/ujegwZpbmIcks3GC+oMNcWnyvg6J8BVtFBcNG
JwpANS8p7Uex66dyfquKwBsycCmRcsvksDsHYaueCBoleT2367dIKe96IN9UfQRH1jbzNkWtua40
ZDhjSRGSNgN970gQnimb0wsAJvW8nDujINvzGl5jP0o/WVo3HUwMUEwAC8IC0kk3bS1OEmCcsWPR
i5MJCy4qszindD3c3sZtO9OgpRG4fJLfbuzsXru0jUGWevp36sNzyrBPrTX6Rcs3P980MgoJmHYc
hXRkI0Sl/81r0HItNy3doXXlu2jxP4iM+SpNnNpZ/MhY+n3MyHqHtMDVOWj1mOA9sE5up4HULGFt
Q2hEbi331fsUWK9jisrWGIiYYBeHmmvahaMia1rjZk9VGMhhyODOpUEpQxWSagepOUCXaiDfLPh5
UgchZBml/6JyGiTkZ1N3gGd7cRmYqvGtlPWtGu7HOPiRqnqrJRXx4PQMgrgAbv7Unpabjtm/Oj3D
FfBJ0fwTuQ/cxp9Jtkg0heklzbtQASYCSB1EOambjtTRPjJMRnz2qSR41Gts7P9y8hdV2CWrFflV
48BRNuCX/KK+EarDLAyxQC1vSgmgvyjDfgXgxAnG8a8ulnpKpgtdGa5vpYiMSsIqYsjBRQ79iFAW
QNfrEiax0WIx50YgSK+44eIziE7jmpbo86Y2aoTSjI9jjtguHjxMTX4pvYHCYcKV9Q1HxYL8BptB
vF7SJIlbO3IUnQ5HkSlvWgxALp7D/aSZgMMYGaXZGRL7tcwj9cGWw1CWCI+aEfZRGIhberKzVnaT
fzAnU5iNM+5D3eWBE5odA3ksz7O5TazevwBu+hypwrVU+83yTL/Z8uyOvdY5JFpBrXGrKZO8mtCe
t7qqGUYzNZF4GWdm75Q4hSq7Ci9BoHz4sGpG8VdnPiC0j85utigv3UbTV+oEVVO/mskjpJYN0xOQ
S5nmRrCEXDIIjxuTrjkDcYz3o2qEe4PhRe1HP23B6yKn0lsEf/bQynFwTm6AtwTxBIsSof3qsm+S
rzAJcH8KPzzEFxE15AEpvriyEFzs1EpfQYfu48HCtZID5kyY/Oz12ARPVUnHabbJYNH1mY4jwcxD
o1JFEAKyywoB+gH34nsm6zZL1WyALqd4Lgz0WHUJemWQSEljYHalZW32P3kzf9LiIbpE5xtD8G9k
3dDU8S3KLo37Qr5m1T2HgpCV31MGxjUDwx/z2qv8A4kT/ZvwCfmO/po8GWFCArp8nwygbBDPqQQx
+SO5+GoCmvgRwm1fkehJCtyf3Q0UBys49xu7AMxS9H73sISbVEscjEsJvI/fsVJhZiaXIK6kXWE0
rppckdLjkn+j/YHxiMYIN5IAnEtR2Qq3qs/2gj8p/jSWRlaKWOdzQEVYwsDcgTGCKNjL5rWOR/tE
loLOpmOHQfKn5pqygvEejWF2QvSFAKSwW4CBWvgnIOuuJ2f1ldiHbgcUmmNQazpZEUpfitWtWh29
RGiQm5SgYgh1UCj0UMEHZr28TujoBAvy8Oon79Zm6O9StbGCvW8bDtR+VxOXJWxsAuZpPvTY15w6
A49aGTLhwsU51iCKVYND8PcnAr9dFfzmSN9qq1tXMK9b5ZsLVpr+zUyqi2g1ZEzo6PX2Ue7KbJow
cLzCL3VHtSGqMzprd8gCUCcGrblps1Ei0Klq7pL/SPMmv6k0fU9SWzJVBXkeHVSF4RYYKC/r5JdW
jl57jYQHdYLt2cPw/dZn0lJJM0g5QAJwDFAhrPCZxbtOKGjFsaLTMorGz36yfkLEx9eyBcaqJoyw
np+H/Ijkmdk1FKUXaahO/TIIxcpIWKA8fLZoZjZx1SEkWD7k5t+jGu0eSi+0Y61BQn1+fhKoSLqG
BV8p7eOUBNM180GW+hYjCR9q6FpKtFsSjjfwKG4f2XhaJTm5GQDyVp0U91+MOAAWdRN94Ppc2wlD
jpKR/ht18qpmf6M1r6MXbZm8FCPZdoA2GPh4iUJOoDeKZmWA2ovNcCWDop7baW0Fj0lwQgs+7OnN
ml7JglvPFgsw/9cKVSCXD0aLgNtMoKPQddnhJVnn8tEwTwqD4rLP18rAjCZ+R3ywlq3MrWwSWxnu
m+XgGgUnwwJBIfIs+1gzkQOEtFYoQfqW1oTZU+ZhhrUJQBk9jTRVrXIKenDGP78BPN8xN2vpNJYT
2Ww0YBiSBTSFJNDxU3Etgl9NgwWefC0deGKl3QAhKtQXGfyMTyMJodPaHOZ19DPBqyd8Z10sbZmO
4USaelUkO7NxIe9kTSjtqpVAyeSn1vxGqOVUUwDBsHdMvuhQc8SoI/bUD1bJWDkz21810ptB38vi
uNXAuQx4QmumDV39AoCPR+6vmlalbf1bcJfE1Udb/IFJyZAKkuNwVJoYHaa1asQFgZI3gbya2WXg
gLDCwCMlBcVXLbi8/7sFZqYNDx4YD5idcUaA2m406nbUrlxxsdOxyC/zRrYJx2AwR0XqNITRFcMD
BUvO/D5pOjrwCNKVm1TQQG4/6ewysi5otu24EQAb01EfyYulEatXkTMad30sV53+bghMbTsJeJmf
ZFs7QFcSvJjiEcA4H2Q6ItULz+Sq4mcpZY1pjHDRhhGOxVXPqin74YqwD/TmS7wefgZAQTMJpc4y
OJ2Sfc+1rXR7BaejQIAwLMhi+a5rng+cdcGzJzHUQB5swVFOJL8+GXmFNKwGrjIE2o5p/wv50yXi
gdPlfmJQN/wR+pcW/E1rcK1ONL52LWNW6WylpMYuLd3lmPBL0F3Fz1nASJaGJLW+ophfifJPle8N
K/UUFEccRklIIp+SA3VtfccysYxgapLyHxE42NIh5iA/kJSfEmaaYLw7hq8wu9cgq1cqL0CYEReL
1IezBwFL1PrwCseFzWh/++LDAnbU8lv0WvPqBsxN4wnAg0kE9Q6kmvKbjIwwDEiUBDX0perK9H04
5GzAhoJwQYVB2gdEVshoa5PfsGBoic4il9wBsLGKNADJY+jY1n0SA91MBngFCt2KVONcZ6CSob4i
CjkOt7kVksCS2+dcbptXlYRSopHwhJkRAcZ++caUVkMMf8c7izK76imGVDhD9m5m7PLAZTA8Zgg2
YzXs0MGPr+qsam5Gl2EDuc5+90fly+cyvEadXj8szXBhVH9DpQiuQK/7fT0yXOxEd6p1fQtcU9qx
GJ/b0E7ucpLojGubg1yNyT2uMvlm2w6i5gp3LHGrTPoRbobUZvQLTHMD+zS+IyaM7ggWd2pAcCPV
eeVW+hzey1mVz5IcbhRc1ffnm54TGPFl1ipIGvkkmqg8qELCY6iM9kMh6gT9kVb+cADmjCn873To
0zX3HqdQeQQlReNna4yqdQ0tlYy3qB2+m4Cv6EXlRcO2LgqFGELtd27hmphdHTEsM3ALYG07yTAM
QLRyFIoi47WKxkucTP6/VsSXoeNCZUoPwm2Qxem/N6XsIzOGZyXk6n8//fzMf18ActuH6FmM6//+
gb0dtQuN8QUQpp+G5c08pttgKOf981Nx0xHa8Hx3zCP6umry8fyyDjsSPf2//kAkrTIG8kkzjYEs
Td/6GCdyuKJBnU/Pf6jmSj7BLfmuQr9a49/OkL51O+SV/keRjPJG6OAdFdjDH2UXPZpS+xuNQXJQ
DHpd5PnQdFLIeshqEX9KYjCcwgQeZjC/WZl5X34SKpFxm6lyxKLdNtV+CvtfHsKnUUnme37px5+s
9H+CHn4kG6i+TS/SNM9XJW9+dbNpP9t+3iB2yCBAq9Gnyu4/1PVd7/TvYip9d5yGyhstiad3os+u
VrdM8yEXI62ln9bsYxJi6AQTSJsI2p4giQkNon2Z+Ir+pxHN3hSKRCQ4HWf4sAvFW0o2SAKHD9Ue
HCMvCMBCXRH3JYOXsrmgKjc3lQSN2EdhItsJZHZZdwmk5YQ4NtopkXAoqQmBKcSAMGu2DVqp7TYs
mp+x6fr7ING4aHBtb4Mmno8oIuZjGNBRX5HSEGzLLYzFu5RltP0tdAA5LNSgEsV+SAhMQUsblfse
t8gm0eatAqu+7kqQqeCl0rymvuIr49l0sfCE2xE41Ao6uAUqRNLOwnTrrCdQwkkN7aR3vQRUzdc3
bdlYp+cbLFN0NNQK1D2S3Wc76PlG8iO6M9Z8pFeKlco3iEBAG0EqewuqQl3aRni6WovYB1L7klQ2
0P/TWXp+s5HSBfFL7TjbC//y+bPSlF/Uw0Rk8MPXFeGM7BPm46bOJUETQTc9pGEWqwapRQlNYyc5
mVWTXVEVc7EVncqxVzroRa3cTEVHykZ5a7b9tcAn4ZBlSQxJkxVkIKFZUKx/Y81zBxFPWethvJva
/pc0WiInW/MkGdEtic3Uw2/fuiTwZQ9LWjb7Of8Nlo+enwrau92Sr5dqdzVKx4eIy5+CUfKxGTIk
j1k1bjHGRA7esXybRqH2qNMCdg44fMC2fCgSNLa1yYj3+WHEdXkBInYoSwPj0JKZHtJRfbFqL6wt
9vihfmtxnx5Ug+a/Bbn+c1IqXMuFHe4Vqz0YTVNfoNoDpS2Hs5SjUpyoN1szQ3kYAcTJJvM9yGYJ
Y8oq7WleT12DzgxcIPpMiXpVNk9ar7aMFvXsKojMdSd10O+h0pNogUnitbMLxBLW0H80MZHbYdfN
f0SByDjPBzak4Ce2hIPnkYZTkWonU29seO2LG6oWbb+zyGVplo+e/4olD2FE33Hl2YQhgF2vY+f/
fN/z3ec3c2Ff9WrId89P/ffm+bMkU5P2CJm9//dbe8XO3KAB3PffL35+Ya1OJG+m4aZog41l6l9E
CcxQqokHcwepcZqAYRR4IGBVPHkM7ofqski8LjOc3pq1a//8qDC7Rd+iSltmEArMx/IWhLa4wgGO
zNm4Fb6Sbo2StkCo1dpddBhb7WqKt11r3HM4TV+9jbW/YiVb1Ro4xrmYs1uvDP/D1Xktx61D2/aL
UMUcXjvnVrJk+YVlOTBHkATIrz+D7XNq37ovXZIsya1uEsBaa84xr4Zb/ZmLMLwlbdgj4+L2HwUH
lkzLk1nQUXLnXgKQzO1dE/6QjphI67x6mhjsOSY2eXZQaLDQo8Fti1+dw6HeNYgMsubbwAnwZPY0
3ogvEbswJ/fDpM0qLMvZmEtTgyan2s+Jg/AJKLA55vYadP4vL8sXVUDfXmSblqtwbsZth1XvNAi6
L+5EkBrEx3oHwdpbebH9HS2l2CWJf0Gj+wtYT7THIhLgnuu/WRHGWnt043XIydCOhg0iLOsYmH1/
TpOuOVhdS/xn193TOZZ3Y+7Id+1IUpg6Wvxau3ft1M21trpDhCxsHzeowtJYIla3UO009feeJXrn
h1As/GY/Mzn9DGx0jHaeJceMO6rpxgtOA+fiSOJ3kFWhKnE0m00qb3FXhpwlsqes5m4eRuT5TQ0X
enbjjsOOW14jYGZ1DbE4txZFgiJGIZE9JzgfbSsbmED6k2jWm3ztp8QkMEZbYLDBL1ujD3E9mt+M
tU8IqcKCcYcpfTTwaXgmZXtXVVqg6qi/yOBuaUoKtY2UrA9V4R/HkSKjKlpEqfFrizKCxMTwr1XZ
bwh9qx2Uf/IkGeBX+D+AR49HH9ZKJqb40LqteZIdv9CKxksyGMXNxZXQ9rxZfUe8kGWT4WPO8iix
tI9FT5qtDSGzxkbCNmNMF1mxM2YigsC1fOrpiDbA8lHv9xz4//scq66xUa9WCXIyMWZ3azjjNxUi
R+KkJXdyRqtDhObPtrfIZO/HbuXEDZBGqwKijVRQFw2R1xN2yU4RzG4NzhZQOu1D3Hl68qpnTYl9
M4H3Ts3zGCb6btOewoovzsYctysObRYZtwQqBazzbxXQBGRBWK2yJFdXM5+/dG+M+3pkXKg96OsI
p8HPT/TjIZDvCuHmT4bofjYM84+O+RdJdHvJm7C/WjgIhyCZTm2UD5eSxsURZRpW2erNWoKfbM3I
SxbYDtSQU9TWw30O7b0jS/j7yvjeLvulbyc3TOawVbsfUcP+pQW6AzUSsFdRE1uJpkOR3gsneTXG
sDioNGY2W2UH7RH/Fc/dnRB6AYGY7bvArCworB0XzwpufgdkthfXL01EwAdHAYHMczgUUZvfO80I
zmax2uVG9BQ7ILgSISmZA0wvrZQzEm5/ugAYj5e0i/aQjlLcwjk9jNJGbBz17ymnUQixqA48trhV
TDUNu2PZCbpzoKkhusI9lO5IR0m15Rb5sqBcVX0nz59tQcpLS44VxWqVb3PIlhwvac56pEoKjR2l
o4vu9/5fLyqNK/L4mum7mQ9/mKGXTIoIoxbbKobnP86ix8jg/C5VVpyYnuzIzkEvhvanHhByBYUJ
mLgghN6KQVv3VENBNOCCI8ZoQGqFiIReajpcqsl7iVo7WBDIGF0pCNCUJWt3xJejqzpeAwYxdzPK
46E1rb0eoTmgtCJH2czRG1GVxAsF1XSQ6i6wnLZ1qZvndIdnA+hgFR8R+FwL3+CiKklbL+zc4sf6
Nav68EEe+tYkpKpN/NdysmCmsqzjfDz2P/U4GVdyfl848VYfBRoa0lZke3t8Wpnf/ToYFx6CSekE
L7aW11KH/XOSTu419xBpzfbbWCv3XXUenZe0Fvuwsk5M2ejG4czcpLBrLJySaxnGnwiI8FYH03c7
C+m9mqa/sUbecSMhXMT/FjSzu0q64toGAze0pQGjdA7GEnoZPSK5RnExG1lIgt5sXMq4mrY9LKJl
hkuLPpUewT85+0hZPpUusUmhDt4rRYHNoNXZKloFZUJ2BO00AmaCo0stuLF64mosm+Art8V5mXhv
eewvQZvqa4qrb+7QbPKg+jlmHeN0mrMrNITrIu0A6ztLIFoec+0k0W9w6vXBWabRRfCakti+8efj
4A7TJkHWjf49oqNCOotf3XQaDGc9hs9xSA6I+ElEjXmpGtdazxDnVlWublPlmRhh9d2TtvdU2f42
yDBYZQ5dkFHReNE9ERYsDHoJBuuNm4kLqaZb6kM7WdtBeMS6f1epWexVl7ya3vyVJmRlAWruNuiW
ssyaDtzPhz6V+oiO7cXsfmccIo5NSpsClAfeZ4caXWlETTqBpQsMuq9bk5zrIYBixOgCgN5Mj0+b
W0nH4m52wQcm+eDEjqJPUszfRBgjw8V0PGCpn90QgLk1LalIeDCNCu10Z3xP1JwfLfHDKUn6JgW7
MupPrwr9MwTKN6ujaTA59IvSFnRkDTuXsOP5yYYCV2g6QXmnTjDim53TMSOA4RcdxoH0ZNOfuXdC
+2pNqf9MEPfVEtGZ6Jb5SB/Af8qzNnhqWv03SNvomC6fPb4+YwYukUt0Y3vxw6xAms3CXPQ0I8lz
+PfQLB95uNvgHUd0irNasagaDXKg5SFL4v99eHzt8akH+O5IKjGDaE10amb460mZUJZD+SZSc9hq
q/gZNkXwbFOehJ5X3HuBosKW09H0rAGecjOeczMgYDcklJEfPrQ5b0bk6fTAnW1k3i1PjOJslYhH
GazwYRlBZXEZfiKVX1whKWCJyEUS7hLNdoB4H/CvbXmtBwcPlMWLXLH8nrw4fql0n+7Lkejvjlzm
tVSZ5tQh5LXuTXl9fBS0y97acykGdv8d40H2wbp/sA0fr3VGPwfZQL1RrZu9m9w1DveTzfD3T8nz
5xAQfY34bnp9ngMSjsusmM9TeCKyNDrpYpTIbZevYzie/32HEaruZGRUFMsOg8o+v3vmajYRYtGR
Le7/fbkO2ydyUeTp//s6+BOXth6Ei8dPT9ovroKZi5MP1oeziDaz7gPX4zLmpDv2+LKHYXkf2XG3
KyLTW5uiT7ZUfMbp8RCKBJdGZJCw3PCe0ih4PD6+nMsKS0Cb01Oco+T230M55xm9O/akMgwrYzXC
AjGItRzzYzer18c3Rm7JWwdl2/A78zIPHavu8sIHxRCfS8Dnjy89HjK3hVOZoxDD3AJU2gvkoWGj
JeMlzDQKYB1SF4hmX5OgdHCRgqA8db6VWSMug8d+XJEP9t1TZEpN9hyfJ/pU3/svXLr6aocMK+Pp
LYqEfOf0KXemiL6sfFRnhDCkhcbm9BE4vmYMFHrQMvl09hgX4Iz1bxHAkXeFXWiqJmTIyr5OAYLU
f9+FWQ5tFTOeZngi4ZisoaqdEdPbbFSkYSHanXABtU5yHCz83Lru16MA81dNUbHP5tj8hgOVgzmH
aocKIeZcdc8zznchmu5PiY5krb0Sv9Hou98SL949vj7T59mHoYe0HP/Yp1n3RI5V6Ztffxi4rS5B
2v2/D30PKSFNXPQcGby2x7+ak/F/31LXuN5JIGUYT7FEqcwPP35NV1d3p8fiQKbnbugdn5ZHHjzZ
kYsl26/VJud8eSmJ08CRjFQ8qpL95JfTs1oeIvp/KOnz3ei5Myr23n0OFb4R35PPJIz9mQwTrr5R
vYTB4i6aR9Kael1Dvg/pldNu27j5JHk3nfFXLD/Sdoh+ZqW+j6q4D3CMnmdo8ASTSmJ7PqTX1eep
joxzPJnISAOjeaYRQr/YRbGRaYwGIkRH8nigiOnIKcOxFAwTb/Dy8N+/1qiajTlT2Mj/7wf+fTQk
4yaJWMT++wfoY+MtLDakUCUvLAPJy9wXLy6JZ5dh+YxuR/fUF5K2PZ89visz2LV7ZFG0XMYPh/js
TTEOr26kazo2mCs8c2rJ5ApzXAoNCWQ4GDcoE9tjEg67h4Do8UDrS+IL1XotGt84MtcmwXgn60eW
qPstIN7z6qacnvxsHFBYwEiYQ/fCX11utWn1e6/g/Bp0i8yfLoQYR0iIo1UcPAcJd9slx4pk1C3I
0nYz+kx+yCbn8laZy1C9UjsCAsG1K5RNxA4xwg7H99mwFg3jkwj9TaLy/mIV3LqISf0r+ZJa/KGw
NPaoNIp1mKuvord/dPQbdmIWjIQRZcAMrLxziOTEJepg6ifqUTO5h1UenJTECtkiXiLBFEMwdIRr
DH6riIvg5OTcZY1RPUM6LFBhcmBnoHpCu/7cC5AStae5Qzq9DMMInIscNrrcauNzZ+Q4wnouh1LR
zQion1eQBdITrt5POwHbQkG/DwoOb2NEX7Xp/zDlzw9Oes/zEdsGJTqZA369SXhz14Eh3U1OU+4S
hx+x8oxDwnnCW0oS+ic/jQkX42TZhEmR/MlF424tOzJfxoRxxdDmv1MZj28BIyNijgiYtTDMGUvE
nYM37FxhibKSYDrU01frZ8fICLtTNr62tl2fPQsLWG/6HJ8L0nUyuQuMErGUDPajlM2ubgJaa2Fm
nMysfPWpibe84epA/aZM932BC1MZj6SfBXX9VyeSUf5sMkRp+w+DUjcNwkWJbbjrftSArJuIgaxN
HAKYr3WEXf4MMY7mRgU2QmmnIJEWhcEAmI8NaJk+IGI5gUhfK92efOmSgjGwasYqISmno0s2li8s
Du0+rtndhTm432pHHoe4/QJCU6+KBi5XxOmXeZLgsGblv3rbmynsscF7CmFbnr3mnmWdLJWiAGOF
RFiHCW2acDTIOd5FGQsFDFjiFv1wB3GC79KIUUsWdCJkpz1ZfdusLpgaBulhKpBh9XZ0njxvPAwY
DDlG6e9oN3Jm4baxa0yF/zCfDvS9mhX0MoTR7VRvOA5Se280Oig/I0Cgcq+14QCuwAKS0dGY0Dvu
oEwj1jGkfydPFjqKb2ZbwyQ40ucAt0Yf5N4IT7HWA5ScLc657smxPUSr2Nl3LmAsXLI8TZwuzm0i
rWVGm7fqrSjfkWR9mjmZG3BHAf+yo2U+3biKULo1wURbFIntmufSHsiovlDiFetxNMRunBiuplC9
JGcTukS5DRMrkexIrlVV6FKjZ3iJLsiG9ttMSveG6YfDy4piduppffrX0quMJznlX11BIsgg0YdU
yFW51/a5LpJtUeA5oxI6JHZIoqDnxVuaY2B3QxYNP6c2c31GGwI3mmjc+SIIl95XA+caG/2gyOCG
0MhCP9gXwVp0/XSTTMQzfxYsCGF4oPw6zMTZURtK1I50wZ+mAAlsZ/X1fiAc+omN4bXxmCxTXkS0
H7OFdYoIP7dskqhssECGuLperi/hSCmQKtzHKC+fBOh2FL7E/gwmKw9SH9hBTJzRbjzrWv5y2vCz
7me1bb6VJuJ4FwfIyoMR4YRvSYP7L8/D4JpV/UddQYfxk7S8xn78U6XWd4cYzr2FceI6s7ia1Egv
vlq8ShLFWtVBxe0Jxj7TLSmPmVFcWleC+TLiPTvjSnIG/pyM9Aduo2+UsOnVWR5qztpOxqtkuvTS
bAuky0zTomsmF1MUhiZ4OTurTPoj2Pdy6+Yn2DAM9qsYe4biN/pmf3AKLLq1EZd3B/KA0RvhKYx9
8MPK3jiT/9ttjT9ZFsbM9oh2DfMP4bb1U6BgexBAfrPmDx2gOOotOEh08F/C+IAFszlxkqSyDyA/
+oivD7KlDSZrUaNunZ+YxhJ3Fw80hYxLOoF7mAy8J80cPyWThd3MkzzzgWgkJqPimJRf2iegw2xv
sSfxF8MUCtXnaLZITAVarog6pauyfY0Dwu3qDPvDh29NPbLqeFGUIaaqY4nTMUIuG9rWLplL81D2
wQ93nrxTMx0qs9ZUi8s4n5au47rjNltIQnX7lgc5MnkUoRJZmDLOM1nS+bDoS+A0rls4LryfeBUM
Qc9Bcr0aMGUOBunWrcfML2buRQyQTFgDmyvkc03p0tvrPsQWXCWdwrJM63lhXqQFR/aoY1AJOPuE
oz88NTYHYUPsNc3UW8Tw2+GOvzV4qMzqotvIOk7uEgNEWNtGKIfI6PFXUtrNtTWkuUZ6mm8cNrMN
9iVrFST+NYlRdvdRYh0sAaulSkhMH5hzBUb1EXkd0udp+hwUSXdFgu91BMSDQ6pBtw/mzR/IDxZF
+hs907hzOHqzQeRkwNlTuTWoTmlSZXrBE5CJOfV7UpmInQiSv71l9eh/uxrHCa7gRMDTywO5Sqf0
bxlnwa6J9Q8qA3lcet7KXOCo3sB4qhDPNdao/dDjeBrHcFzHQJ020kyfgYn+cDD4IR5r3grs4Rel
qj06lV+poX/Cy9iLGqEvmERr0+FnR2F9LCZf7ZNxbCi66VaQCAFfoz7Kgp4omY3ttkpMdy/n2qbn
X6n1XKHrazR/U4hmlbGj+ClEYh9E6rkfjeG/Nm6Gl6UmmSgbzf7oGN68H5fZNhGpDBjiILqbNnk/
OHk5DE5Eg8p+fm+6/MlEGjzGTr/VKmed7/uFQQmkvUHVQQeacT9N3U3fVNZuJHo3AQSOgem57eWr
p5Q6HqiwATYo8LqFCSrM5/1mR9gDjcq3SBsMY/xFtFSIEvWRwPW2HmXsnP1Cwuwzt3Dv/Jsrgt9B
OTurpgem2LZKrHMjeI9aNABpI8g6R9OsaLK8jJUREPH0mU9qvGnc0LTn5jWuEvPM6S7YoUcjlhwC
OUexNwMzEGyVCdfi9GSWWbfzidXaltgkA/0RVlm7KXOT8RPoEJ/xz6qz5p8qjqdVJD/mDFmcl+dQ
Lmpet9H9MeFQ2pFX0a0dZeH1zy2APopEsWR4mRnTMWDzBoLUloGssu2VG7Z/M0xGK9Nr/jQ1y4DR
Iy/ufto2k3Pk7nJngZulrcdlSIjZRdQZcWZeg0guJeDd7nbStO8VwZw3potfSBLnbc9J0M6H5BJl
wdEiofTQlQFWLsFB8PHgxH7xFMbGn8Yiz7cjiclvmvda6D+wNsSaHHC9C6S1t+BUs37QER8sgaq0
Tg+Ry7JMBhTDjGzEzuC+p0ryx3AAQ11c7+b4T+r1w1XbgkOowTN0c95TJK37Aq2uVY7iXDBRgXq0
hUfG4l38dlS0rxuTY1RS/XRG6yenkHSbYVBnNFap81gzmxnST1fN472jwjB8J945wpHncEgvZPCQ
i+ZzohpjdSCP9aYmgPh5545vtDiZFMfTznenaFtBxHg3ChfdsRz+WtmQb0rnWnXteBUCtT31Auko
Ak/fnF4xrc8bVFRksvZBtEYqsjGLMkCN4v7K2B7oj8HwCXjtbDLPXFN7h9lqoNFkFQyx/hiHoBiR
gk4bIyZ5RbTIP0WN77DqeEViSnJctptIYuIJW/OlCxNry0D+oNo42i6+3M7OxDXy2d6BoDHHYnDl
pV9hac4M5DkkksK3SYFqYpOSlAks8Ss/aF/ZC+AozpRqjMpfzcgJlpi3iK4ic31u+ZpaCo0qpajB
RDUAMleBtZG1idlTRiazw/FAwcjwgLiwBMI+MgQOtVJN1trwwo/GGvtdLWYCLmv7mAwYKxD+AMRN
vqJUzRuvb/0NQViY1fqpf1FWGGz9adyHpeVtUaYO1zYs0YwDDfOrnvn+8sBY84dnFe5eZVypC32C
5dt4zWuk4cnMYpWDiatF0PKdkrVWdjmuA/r7uSbbtHNh72H2wDe74P+cIAz3jd8Ee9fGqzf4LyQX
Ga8PMJocF15c7jK5deKK6OLA3XvKRH830fV2kvy3NwOG9EN1rGMmvsWiaq6VY56U375MhT39bygD
QU2bsVX2zkFVntveegxx1MWOl15L4mT5i03IESi9h1BlGy/T4u4X7JB5YxfvcftLm9p9jQMJlSgC
XgdcES6Tzdkd24C3qkrb26RGGDzHBY2QcUktMqlz972PrM9S8m65GHfGZO8slGOvYkij3aS8Q7nH
SWyjaMkYkSRkWz4Brv4Bre8+8rKfFLX5Ijp7EC793qg3NuaVuxfVf/ouHNl85WsbFxX3gpSvj+9y
k1mTBNsSg4LptwsJf6ezAvhYN5y7RHZ/YN+mQNwelELPtk4m8whkm6K7Pl50XtFgE1oSAR+crlvY
1gLCEuS7iqjteEFYBwN4+zCF4xI10TNrrGLWE2+rwkbB5Itzl+cp5AIGPm3DTNdr2lsvY+9K8xnE
AxwEjpzevV5SRWjVrB0BI6J1o3rdWk27Bq2G+mRAEL6cQD3cqS5/3ZqVk/KYVJtr5zpI4lvnLJr0
Hit3Pkkqz6Eh3EfYWXalWq2PEVaJzBkyE0q/X2xbLYyDanzyXMwIr0kq3XPBhnaxHffidIJxFNzp
VZ1G72bdzJcZtdKezLCPLuunU0qq0C7OnXFPq1f/Y1SqMA332AvpxLHrXh4fRQnuj85rymfd+9vY
8sc3vv1xEZEfu7jmOMU9HgYWiqrOVi2UIiDgwUtOIPAppPuwmkeKWYKXMi7gRDKV9InuJOxr6IUk
FzkLn03MRgxqPOMVMwh2MyKDN01J8VnSiT/PvXnyDVSnM67T49yFQJ+wTQWsplh2XtrQNoiYm44a
VySByHhNBE8tZkIwYUUgg5VDL6TCaWf0qEBKC91zj3AXAXYyQfytsvAusgGiY74AtvzJ3GkHa30b
xiVGVnaVVJf5PTaQUsfZr388T8t+76pAXR8PaU5wH5tyfzTQEBE6hY3EcbJNHAeC7Z1jdzCmnziy
78IWyNa4B6/LZ3og5V7CEttP2QRgFDkjwZzuq5yCtxDu9E1yTsTF6Z4bzEMMmckrHmiVYI7VFIgT
6ieBucMpocQYJh5ZVPwbrgTkG6UI6KXy466dpV9NSuBX4+7MCKVMKcgIffwVSZqEFELBtjPYJ8Is
r25xExlfOi5YQhDqrWeVgJNwwr//hRGJsl6nk8mEtJCIPFsT3uOUxONuJlKGjkxdbgCpBYcAs8g7
Jx7apBoo+6pq7Ap9azbthVHN+7RRb4M0TlNe8bxtlJtaGfEuY3Z7pRjoDqnRHns5fDRMXP+AUlsT
df2I4YqS2F3zDgfkP9fT1jKI8FTZ1D6PlHjvzdjTew2qCbI+D4Y96VXp07jWIWyjwkhvnFk5XE/x
CzsJ9NZottkww+L47/mLuHg3nJeW0QhnSwRaIUluLvzXTdJjkkUjwLsoyVwqk6w4aJIroOebT+it
ix1shW5bqYllpBMo6rr+4FVz9KyANZV4kN05NH+ybjAUmO1pPwfun6G3xTea+kCAltcLKnNB05hr
2LJew7T2n/PRPSRFfLRsuAyYyVrk3fjZw8TZ2mmB0IiZ/Y25/tOygx/7GDQWsRR3W1iYzyPhcnxt
/rShg7ucy/jp8XL7RO0eHrc7XmGGjksrx2Unb5gPbSOLsTPSCJ9+f4mXDvVoEwTf5vA1moZkY6pA
vsgaKJKdoTpc0fEKN70U/v7f3hYhYKnXuLKfqK4TsmyQnUvL8bd5ZTm73MVJ0zDYorb22oPgnw/I
jgGXwLJaDw2q5nx292GBL3Jliuw3ludyB4hloynFZ+S0XVDQSxjkvC9RFb+VQI6Pk3K6C4hccF2G
sRkxN6HJL5+MhUv7SJp67AD/MjgeizQ2LPukgmZXRrF1e8SahR0+Nu1bRJ+3LtGobXSwu15sRCrH
zYwt+h5K8w//O7RVXgeDJg/AhUjH3mYmvvgNsAPd5M4en/O6PsXK/CCXUT2LAVFIbaqfWiXJqaSz
0Psf/yDJznK2mtMqvKqe9AQMuaSXBsgTLDo7O+DG/lPXI2LPRImmUjCYDD1BQgyGeOU5BzaZrxxx
9ce85OBi3Yi6RUgFhnVZvTsLASeZaN9qJiX9wkqfcbMyUufojPuZsD/brTnJtWl9IRZ++hUIsRom
K0Oe/BWDQbtXAxq/Qcf+JZIadfWwcMIiecl90k0cO0aRCQ8Kzi20KzSObcB/lH2z6oDB16AnY5fi
HjnUCcPmmLKazHL9/Fh18AUxZcgy0IK2wMgzM45dcg+qZUu20qzfVKm7zcdw+qFTgFBJ5e7+XWvW
gOu6dJwf3kJmbgYb2k3Z40PpmYHO7oRBTITqoCvrx5CqbAvzArxtOZzw1HHIiHFyGbPtnBIb/UdD
yNXKFnSWsjT9zQttfxiOSXlGFJkJUaeh53MUljscDIJSD4jPwdoXTK4wJ1Yk2z5XVYxnwOrq5/FQ
GUXH2b+ctz7lWAp8ZmXPPT0G261wGBjiEI1UyrUSSFuWXbpxgVpJyX2hHWPcKBs8iD92a0QM+uYF
7VmO+0Jb/Z2Mg2zdpmkAupqTUolf5vFqPZZCGqLGV+FY2SZcVobILLEgeO5wIs/uj+Nn5bZZuBT0
VUb0rbP1K7aBtarNg13M285VZ4UJal6d3PrAgjw24p99vGw5rrKtbx840zT3wKD6HgjIrTJpHvzH
StWZ/a5lYk3mNt6cYGHKjo0PB9mNyQ8IwoNBRCIH9K+pT9NNmZmfj//VtNxw75gFTfhluUb0O1yt
1toWEXdtY5rdsRzyeddNwa+4d97sIRhevCV1Oo0SZryInTmNa3nHm7pAM7qbNU5Hq6m8vaPd/GuS
iBzTKsefqhpzGw9F8zRVCI5SY3Bvwxh9CpiaXxouMVoGQ+1NLoaV6nS5A3gPXGa5eTQlE8YAvKRZ
G6+TWhUveVMT0YBKq3Jl9yxHJoBm6b0E5gRUc+kMdwlm16CKLwP63hs08i9hhMOxAVBGkxsE+NBA
Npn8ZDMDOLzkBObRQePobY9s2orD4sbyF2tOEuinx0vDiBIF1hxfu2USXxvGcCBgilzinKNQFjvi
UFpZjZ2BA1dIKXAWbn1NWuipWsp7Bf4aCBhPljiRxdZwxcywGeA6rt3Mbo+lCfK0y+DYFwuoecbd
i+8CWmbh8yvyEoWLMxvpMbYgZYxVgTt2We5b0/8JKNJ/7V0WBatKlnklCHZPmiws0GJObZ14GCRa
BxVeEzLOht07kRINZAXpGNEIHmddb14FQZte+hK3nmWW7+4k9c/HCsDwqjlrHL/boeXOmJxm3Bgj
AujeYvmXmSaIEyMOHj+vuDVlMnKkZu0qVId83CZYCZASa7KFYs8uPvWItsJDpIBBvcB9XFXlJe3T
GcbGhJI1Vk/NYuKrcKdtzKDhV4QCapNqiR/N8SMldaev2d+exdTLP/1uGm5hWvlr8pzLA7h9DNJs
q6sQ6/CL47bXEEEAOWPmzUH/ta7w9ex4iuaBvjXh12qb+JS1j1e8S5waaz/e9yZW+QUthrebK4NT
6ay8K71NDHsGmsOA/sy26brmWHfTb7o28bo2x24/69/QgdEyjqQNuCB+ukCEWxLtfcJMCQefggor
fyzZLSKxMlB3fu87Zey1Tkc8nXPyacDoQmjABaVe5jYKXwxMZ7t6tPTTv1erGkkWfRQDdjtglQES
gFDoXwkLOPbss/jCEj/Q+tecCaCdNE51gKEQn/PA4Si0pDwaLLQbydF9+9iP8U/xS3BWGocBOSu3
HrWliyy7/5kYNGmT5ThuuD0mVymWiHMPi6UmwXTi0uwL9zVtXXRXk8tzN9FRL2sewO/OuKV9NF67
Fk15CAvgEUkwO5TWc9MAtgIqsgLzw+SFYsGx6jsdsnDThZhKBd+xtU2VgJdeKF1GdIkbP7nXvTo4
vXgG85ox/Rrhk6SIX3AN0VYFcNuI0nklUnPEdNQRjJOUw/pRcI5Jdg+SQV5i2SLTQ5B1fBSptbQR
r8bpq5ruj2u9CnDtKtXA/cn0nS6pf36UqECpkYJ51iVsy/DOnWZuaBJ3JFgA5le+YENcnGJiibNh
GupsRY85IcRLc69Vsum1/2ZzG704Y+peMQO8dIY5HEfbvNCrbdYDgrvTDAEO/aKQ58GN39u42jbu
hMW7GpxLYLmfta+5IpYjlE1YEcZs8wytoTvLal1JHGexQzcSxAiVj5HAOx31qZLBE9mm+dopJjjy
dsK7NYoL6MX0CtuPRgLif/RyLmYXCw9p2pnODTH8iEo0F0fCW5xpcC9J0babfx0ChmA+GLRb1pvv
6VQCRRwLeauY7167aIkJ/qSfUrOlheKezA5mCps4+BHtOgoOELvegNisjXtspE9xh2E/wJUQF9Zm
DGAsoPCKzgqFKmryYnlnM0GxzF9MrsNTX6tgi23GQYilthPYDrcrxFNhObwtgReuU+3Kj8fSPvf9
uy7LI8GN5l0j9FuXJq7SZibd03Xtl4YsqK0XceyZaeGcjFj8CmrjY06N5MsNGPlWhN7HqGve0Aa0
PfIbDxb23WjbbxRW+uKUY7uPCHeA6kebaMqAuJjGqI6WdFaTxIU9lRA7/x1wRZ1+Cu7Rj6oN5lWa
S+9KDxR06NR8tkahbnM3+EiUE+Tz9jefkM1rP5XJE0ZFf2sV9MaG2Y+f2nN5eWwfKoCU82/xz705
2tvLaC7oZXF9fCQHXKYjjsxDlIzOk+jqj8Gw0u8Ex+e+VvfcQb5J6DL8QoD5PGnB/xtsplq7dP7g
1yuq/R3fsXM5MC5a2/SMv/BAb6g+DHB2zjoRyZnqh4AHVC6jedRzl75QC2Tv+UzV2hrvfukdUrBv
RJj388qiuxqTBLWeclNflDshb9CxRr/Wv8nAhNSi2lcMKcwR8JpCs4jVOy0YLM6dOmYRwJnHdWLF
2Nh7vfHavCJMoQAEPkbOKs/jX49Sykm7r7T6fPxPaJfM18phSVTDa5LNVsgSp7MrOus9zSVzQ7AC
EwPBwKGKIYM9gmZpm+l/DQQmu0A4uNhWZcNx2Bzbv63JKC62+uw2pc2j7KHwCEwIfL6G9cj69zoi
XdoWuRh3pp7Hl38Lc0Iun42z+HFxCfikBYp91eLgR99rx0ez5/SAqKl8wzrtcMBVVKNTOFtrjiTx
tRq+MVtbxSr6H87OLDluLNuyU0mL70I+4KK7KHuRH9476SSdpDu7Hxglkej7HiOpEdRE3sRqAcyq
DFJpUtn7CJkUdJLuaC7uOWfvtaltY+3Fr0Gfm33+w5puwwgR05ZkAp0nbePfw8AgWZqIUnZYQLha
Htl+se9NXHlJYT7Gnqs8DJKNhc/ZRHsQOTc2W1H4ccL7PoYPghieH2PNEqLWUXonh4iydPSj3bw4
qsRxPw56+mBlfXybk6R5C3Dstsq66iksGLNjAfM2GlaLp0D2CMkUNQAn1VE3IiKbnuHokq9CQFjD
XKBNf2QavTo0G/u5DFQF+UVxqndXij+AcnKKB4kXZH7MjCG8a8NoSmURZcQQfMR9SEN9LADGJcS+
r504QD82xNnGrBgKUUCu59CLuC7Ni6yv7oU3+x9UDY8Xhrs2Ly7/9UeekFigMui6RAl6gypF0Kfw
owPJZdo2slIW5wHgLBDRlXQZXM4PxnIg6prdeLlLdEcsE2Z5b8R3ASwbSnDj1Qjg34edKBmrH9TM
CBgs++U2dDhl+GC6C6FO9VWFqjZzAib69Lgon4xsaY8hqgg600T8Ths6va4vWj9QIFGS8Zayh1iP
asrYKsecEKh5tE0NehBZxubfndqqYWdmtKeaY0w+4rZ1+GkWKrqFsPL6SHsru1HLhrfXe8FLOkIm
U1p0iDSZWW/0+i4sy6uyG8cbYN2AeWN84wEqqQummcaJ5467cnQkx41j0ldhyzCXPtZY7zxjBMei
DtXOgmZCQwSrSOZZ/a7qsHzkcVtfNqP0V5OdE1NtD3k6JS8BXdy3MlOaZWvRJuVai85NfOHM8UVY
OYH2hDYUodzAbAN51muVcZ9nXf7xhFdSpLC1VeEUFdrbfDFVFgS4sOX+M9W2vE3b8HtMibrSacKx
IOiPkevDNeLQ8mRdhbrqPw3Apnx9eGI92/lmGS69SDXvwaifYjAEF7Tvyns0pO7FfPElFlirIo8f
ImEK6Opo9TTFMbdliMwKpXAj1B9WFO9gQmBo7K+mVuHHRALPLJzHzPP3VWloK7dlJxxEY32th9Wt
1LNor3mtzTNeeleGBH8D6NYxwaa1usSLj8kC8IZeLZKwSq4MF0kP5JuroMu8/XwaSgXBt9lrByZo
zKWlzu6AOEnQCtUy0Ax3q3aJu5wj2vKADRothBN8KJsY8MhfWrWJ24vK0TZsdafiCyFSOLmrRuZU
QabeelZq/VCt8rrRQaXUNOBW7DuXVGriGEn0XVnGJpckaDJzIuWUM6RfpD3iCtipV1Euj4Xe0mIM
aIHNvVQYh356NKreXw9p+wOI1YTRrIlh8nFEIaPqkFsTzZbE7W2XUbUD/4uQmani7MZuuOFDkkYy
/QypLjvdXVduq5+pQX5ECV1kJPAjuA0KczVQ6Ow6jXeY67mPzkLxkpHodlcaZAVNNnYlEZdz01Vn
Azw1P+3OnLw+6TuNzQYVuu5cDR35AfNFNu+K5tVRMTzwZgLt1vz/Irug4xJbt2NhP/ZTJ98gPnQv
I+ySIIA3FAMPDKMlB1G3r2nDgccooYTP/xSBJHomUdWJifgcwSN8bChKcVMOF0j3LjHgpkeL6Jij
xsN+/n2jBMkbhEaxclO1O1qqGSBNItAAsLm6yBpSeKxwCO6CND9awsdUmDicrWpS5arVSrWCeu0N
bbZFfUFcd5I8IZXHzTTwnJ/vaLMwrwqd7DBlvNa0xvrhuskt5uuGh34h6SFe5narP2ZjeocFGNZt
Z7fMSMCBhVGNjj1Mi705hN+iOiMzG57Mde2iceLpscd3CtpWpftBvODKM+t3lY7cncRtuKgiXSOh
hk7UfArn32W2RBa4VBcH31bbw/w3w8JV99HxtNBzY5epbmJrQJ8laP8WqXaCreJeZWztWJcYOcyv
MJHgRTHcDOlR+QfkvyG6wika1ONWadGjAy0Prj1u3C0JACimpgXNiqPXER3WHCc1Er9QVBHZfUiE
n2x0S1OmBzWkSKvd/JYTBkC7zrpQjWDcfNye3sTBL+Gv5kkbLeflHUVTftAHr7iM5zRcJJjGIcje
StuXzyoe4k2OUF4QKQNaKNp0oQgv2qS/J8z1wWBLOZcxaTyM162CsrzceE1BDar2+sFvs5Eyhr8n
gnlp9BiDZb5CFPSt09GcfmxTcieHt+kE3TFVuV+sOn2KBFJ2K6BuVELYhPP2FVOvw5bAbjd1fK8r
hFMUE8ZrvuNSymF88bTph/K2ZSBwORjD9wDT9hEbk31MCOneV4YG9zjqX3M1vgK1wlxBI06DS1Wj
w8kfJk7y66zpqXudhWgtcR6levx42htSHHRYMi3F7nWVGuWtxZWyFJIojblpbsRoxzselEEiLxs2
OXRuYHsQ3mrd/DrsVP6ULyzgOGiqrpnStB0xB31+f+X+8ao//9D+R5IR85CMur82JWJHj47KWmnB
X1kqoLQsa99Q6S0GW4moblFu0o4mlvzSskcmgpok3MBWiU1C7QrdUz6KgTGG1YuPkSEm/Azxr6Kd
qiR+EkOcbPAxcvI0tNK8KQYPCm7BjyIA/1OwnGcryYiDIzX0ra7Z9kLvMmPrYgM/9hfz/hlm5B7p
akxflF5Xb5PNkbQu+9EGvZH+FlftFKDasO73cJmjyaGLqNhAIEd1yYwTv1Dn1lvasATFt/l2bh3F
OcVYWBGWoJnVbT3Vc6Ohs9vjYFxqY7ilNxRt5rWy9RQaXugWsPQZ70pbXjrhIhOW+aQDYF90gbuN
sSZw1cfs28ZoG3eMThlFLzp6cJe2hXIPLSpX8jwsNjLadoZSBb/L2J3CgP8a0Uo4u2FNLgrTMDEL
OdOZ/8uZFW0njEqHiBdpFg3wkfBQOyWMDR7MPmjZ/k5lwogmnXciNdg5POB2ToG9Cv7BYu6Th0wB
G1z7mkj6jSqAoWh1Ive/vgT1nwPbNbQLwkaNimpCk+rnN6pxu6ttNqDigdVNsFfdF+hLGb0wud11
SX1SpbLzm5roCgWsWOb0j1AZ863np/2uNm5Sqxm2so79Z0gwO1vRqlOJL+0qaGuTFYD/bwhfQU0d
hbSWqk3qAyvsjco8BL31qoSWw8pgnaOmAI5vA5kPerYOJc2nTTn2cuH2Mrr3FHGRYrpfziP5NAqs
3+Soz6Hjn8+X0Mmthx5lqUiUjS+xw2gMibxkoVt5RElagqxg4qSbxkFFCsfpgGEH6T+PfvQyylNW
ud7WybVwWwkNqJfiXEhdUTb6AFv+N+dnOv6f35hu2DpLg7CYK6jal7BmBJWj1wC/XRla8V71hX5B
tR0DiqR4aDTr0IWTKkdhyqp3ZgvbPCjWTJ+fkiK5t0zXuBYYajTVUC/JNVix3vA4tICY92H0oIzA
vpHKaJcwDVl+SAswlVaF5E3Ryu3IbkEJD4FrZPu5BWaGwvxNmrH+U0o5S6CwpKrhcUSfoBqfrz9i
yRsPU7iHcgtzqk4vdxPV9B0GOr99hPnR7JTskOPcHIYaBAv3r+0GKywG9U1W4nojriDb0hNcWy0d
hFok1bnEZhRW/QtWpHzhiKJfxlKK24xBk8ghhKsAE5ZqSQSLR2X+DuM5Fg7AVS2/LBvz5Tdn8Gta
s8on5MRZrPQaS4H+5Q4jdKgZVQ8j2sdDmYFEvdKAFh4FhBVsGaHRmuhXEOF0Ttmu4zAvVrhR4UzW
5HDEuNQUCWy8pwli54O9mrtTug5YESMSjeVQv5+HR2NNkh0RYfoqUmNC6ya1gAzErZkgU/Xb5OQA
47+Zp6ZRpIw7k5ppi0KlxzmusEvkXv/1Jzemc/fp2uWT27bjsLjwn6Vbn88tfhvMqVYYstuxwVO6
bH2D0EFfVBFSBqXzCFta0MZxm7UK4tjJbumH3qSYvngMVgc9JLdrVNGZzRIs3q9zwaO4X3q0nRaJ
SmBGUjtrtkaIHTqF/CQdUZ1G4MNqEFDQ3KnPWuGHk4m4r2X9bWhsZScVWiGRjzEbEHiUMT40DTXZ
WMz40KJZJDW4NIRCLJE7a7raYpHXKKvJ7VQgvf36CInp7v1yhGyTBwT3H3ywn65+X0/6LAxKcPcO
ynNV2mR8EEm6CWom53bCbjZFKbi2i+DJYxg1EQDaDRJtfAOkyUVV6ROXjXOoC8PjiDZSinMm0jUd
4HzDICq8jJQgvKySdv3feOPIcyx6ojohXo79+dSqWuX2iZaj6s5tCqc+gHfhOXhyCZD2MqAAsCl+
CGdk5Ir/nkzCQhPEbYLuXSQKPGWux3Ml5F1cJtQz442S+NYW+4mYTu59fNWL1PvNbmteKj8dbEs3
DM3RbUc1DN0U0436l2cyA+uwMJvCwh+uhHe9sLetGgVbb0TopiZGecEiYa2H0Wx5ztjOLhfqkwU1
4sLR6QP/+gD+2zdjGrhrDU1FKWF/WfdUO2xCpdSsVZGQw9yW0ySSeeqmLAlNHPXWJo+Im0Nv63jd
DdLe1UnkkAHgR/ssT5LfXIjGTztRWtI6F7plM6PUhZiW6b8cG6fKhmpwkVqKXrdhWmYwrOhtH7yg
uRv0YRehalzND4EUOfgKR6K4cnCzdWUEQLW+ytGQ7kmRtJcoRewdS72yZfQTk41ohid0pD88lYfm
2Cv0E+uqvuhq315ALpfbyrSC+0a1t54Jx5Jpjb4KS5s+uGIgoFHIDSWhrVhTFj+ng/4DxQkF/bxZ
mVsgqT8YO5EVQJCs98LgaWd3vzk680L15cqx4G8ZKEVssFBfl/Ahy9KGPhYunqBxtnO/B7eWtxpI
WzugHrxHNbasEDufqlqyqBCc7SD8ukYTv5iXa9eK793UUQ9lq/oAfeEKsBERp7ZL1pKV8MlWvQvV
t1rEj2ZzmJthMpThta+V3rVhXBltRc5c5DubOYPar7A4u45AgkQWzCWxD6R6odrTtNj9za1u//SE
ZuHW8Urpgg0S3Zppq/uXSyONU0aolcmHn1p0rELtWsOF75Ph3EOnxpG+cBXP32S+kzGqYRDv6QBW
Ss1Tt6qZn6mgm3oB5AJw1dRBYWApN5jAUMxrKvIZDBVrU3OffYGGNBvC9iALhXTHuYQ18X+FajS+
bKIElGKMkIVVXewSrb+fm7wGgi9s8S000bRASNsNz9CHLzN3yh3Jhmyf5vlzOKlbtRCVL9DfcDPR
yK/xVtzMk/jMVuB7xe4TkabowHMC712VgDMi48sVQx51hXXeuFaH/lvSGjfqpIhzawDQm8Evuktp
RJLeFOKT3imCJSumehBpLR/8HBOVph9MrUsuRq9EK27IkQ0mfFXRtRe/XlDmO/TzNSq4e01D6pZj
az+tbp0fD5pO2QEvtQbPjR7nJuwBdLLfRWk+qc/CDFvPh54uNA6RgwgNfTSADhczYyXqdO9V0bD1
FcI7oymDXo9IDQ2K/LKYVJF2gzzJH3+z8zZ/egSyKrP35m0bJtZ180ulFAUy76NYGiuG1fLgZmNx
R0F+T/JygORvaRkGvuaBbm3O1Pic2YMgqjZW9Mn79epXDmrX6RtlQ9RLCQ8TG5EHNlVmqHjHAflJ
gvBfk7bgKdU+gAaQB4un8UFkvqRZIun4CIxiQVALgsvIsZhn49QwT6iznc0shfS88Oi64Z3rFdUu
CUx5YAZE8D0DAkwWypnIEAaKDK4YJVPKud9tvSa8xxbVpRtrb5KW7G4cOA+iafO1FcjkANTM+M0z
xZjuxM+XAGUnzzhD8Jj7uYgJVBEjEGjoCxSFIAyJMUfMXMMqhwhcSAeyUCHwgwmfDlcUcMP8R6ca
r3NvMR+yYV9OGeGQYVOe25GxSWxUa7FN4Hhawfl02+hyHDSxL+J+qfeacdNFI8nkCTWrx6xhBZ8U
3JOBEbeVJVgSA0Neainlzg+ryyjEMKdU7nZyxLNJzcQCXhJRXxV5ArRk50vTcNSr1E6VqwCxn9Xx
VsdsINg3bk9s2J2jJH0cA1UQ/GaZ034uhHVpOBw8gzsYpf2X63CSzQ9aPtqrPB3kXgG3vodTsY9M
tjbI00DgSMHjyQ/KC0reZ20wrWMGVbeMcnvhqKD+FlmYhZvBgbWaIBp96umWR/Mq9utbXfv6sBY0
FxgxO0JjTVbx3n9ekdtAL+jAe+qaITbmWa+t13gztNUwgX6V3FtbfvqDiZ64HO3sLBXxBPxYLAsK
jWUg0aX/+v2Ir4eO90Mv2GRzJaVjOeqXzQMqpkHkaq2uAybui45XrAMUW6NzI7yg2/Ss+qvALGLw
S2lOgpw9fIwa6Vrjh9bCy6ztvwXCtnYoicVeTFdvYwT+PkFt3g8UcUWuZpBuAuZF6TcpGwIBW7O/
Y6V3t5aKR5sdXb/89ceyp/Lkr7fT9LHYTBhCNUzV1owvhRsyUqVQa5hF3VBd9I01kXVIxkZK0Puk
Z3siWkVDjnK6r5QV61u7R8XVHyNHkDfVrN1GcV6HECzvvCFoBsbFNHOKkfRJHXZAep0m2Kwvkiwi
FQcFBwBHPGxGmp09E65GbpJwiJSqA+lVIqyg7azctbjGVSeDcJ0QnaKoSFiZd23mB1llA80cRt+j
c2Lq1yqHfWFN6yBOSljLkyAY4eD7vCGJiwocvYJLOu0gHrt4tlBbr8nfAps8ic9sHzPIxAMULWnS
Unj0gel7b2Tfx5emne/gsnWX1Wg8azAhFnkQojuI0Nha/Q8tDjI+XErYJBl4s1Q/QyTHiAhRmpqA
84BDU9N9L7ONoK1KEJGZ/+Z5qE0VyF/PHq0cPqEQrOymoMnxpUIhNcPSh8Er16LzVtKD05n60Fhk
eZirSYcNtw0C4YdREv6cWJju9Da7ZHVAnwSW6KIyzGcmWDwP9FpZA4B++PXl9dOCM71BKahHVMNh
6y2+7KsU0I4cAZ/O+OAMS7Xo3L0PNBeFiYJ1tUGH2uvmCbJWcUEsY3QTIEX2yJ5RTkUNe5uH9gsk
/pehalimDe8K/ID8zcb3p5WG58nUmHYsQ9qmSjvz80oDnpXFX4km8xVdpsH5ntRMlWzg3MuggZXo
EfdA3DCdV3og6X0YMlTDY38pFeu6USz9N084djRfzqoK2kBoU63icBXa5pc3pKAj9ZPIUsntXdTo
R+7M0G/pGJEEgGfHWM57xTDWn3gujXeYfT+EtRYlBAwyP7juUVTbkz9HMaeU2WKMmJw7ww0ajJSK
ZO4KayiCLQc8mJmq+jmk/baCyHdh5Vbs0nARq6pP88ec1j1wKoqUaBjjh7k04HE1W09w934D1jjs
W1wKS7Yy5BXTalrk0G4WRtQVew/Y/anP+XkuikQPgcQ1ChF8ObMYvdLwdc8SQsuVEI2cmLjOsKOj
j+MKHD176mJDx4SL2a9exq634e7QxRhc1cboNwaneZ2KUp2Ru0PaQp4Idy/9oDpI/KWORXFeK/0z
KjqcOcKQW3yoKJSMhNDStMi2QzeiiSjKRe0M3aGW1nEkkTGlJoTSHmxFEV3pgPCvFTr5m76RROYl
Kzh+NqVZV2+GHL9vWQM/wtWy0wo6/bmfd6xavjoRTK/qCI9tXjTxrpg8RIrt2puG/z8vTmncJMuE
8ABCrdSDGymEehvXRcvAW3okBVc82QyRP4pS+zDs6IWFUnJS8ZcUYKuPvxayhWM4CQk8qM4LP9Sb
baLZWMIIE7fs9hknAAlaZeTsHEjz+7Qcv30M/3jUFcRfxRXAbmzKXQ4Cy4za6CAMx9mZAeFxAaqZ
E/lD5iqmgaZGL+mAKsiJPME+Fdm46AkpGS3S4ZtqCLZ60W2w7adQe3RivFsQE3MjjqKzWjRsMb41
5fig2eqH38zqfEiVzljdNDhtpd+jna7IZtGNIH/sAxesEoM3LodHTQP9XcEXxwzaa+gOm+TUmKN6
EzTjOat8VF6B0C79GmShxENBEmxNZHfZP8gacYYo2vKCncaFGBpaxSMhSthbJ35+8mZ1WX9Xh3V0
GcDxpR67MxivXBAUti4BXszD8hj0GUHgrr7sIhDEFiCPpdaLc1fTXA30hkXXEI9z2Ve5+qPqgcRG
C+Ic5r/Vbf3eGTbS0V8vrfPa/te1f1olqCh4fFuOoRpfuxnI8GPJ2qitdByR3PcoAvXcg1XemvhY
LFjXHjewUHzlcv7i0CKmjTr57JjlblCRGGvm3cdApDILuuKJ6VwMDDfbyT3kWcN34qngIZpdtctz
1hE1KurTfO16Z8Oo0e22lnHZR5Yk3ob44kYFtZYOdrTB0ck6j773IHUbF5OJfW6lw2vZACTD91a5
8NjD3vg2JgOBqp55UonL3Em3v2cHIpdOPajPKXHukOHEg8fY04Lkf+mV7cDwhjRGXQx4dwwXrqQr
DnFTDuvcRkL060P8b8pNajYhdUdj32fwmP38ZAhpO5YWDcrVyKQ864gGH5rwEKYmTkkJFCB1Cfhw
wxqqJXKBRUqorxip2gYV5B5T1ZHIVzz1lVAQGRPzpngkgIfww9IRKSaZs2tZImf+77xrRqPsB/jj
p+cZLqJGrfOWd40Mfj1aMGwyxyLLva8z8ivKcR9ieQYz2V1XlbftrCo/YIm56yR0qGHAQd3UYBEc
Tz8X1kXlt9ZaaBbi2eZqrpGDKq4/CpP/+N7/T++NEJN48LK0+sd/8u/vWU54AwFqX/75j6vge5lV
2Xv9n9O3/b+Xff6mf2zfsuvX5K365YtOcMiz5OtLPv1Yfvs/393qtX799I91Wgf1cNu8lcPdW9XE
9fwW+BzTK/9/v/i3t/mnnIb87c8/vmcNilB+mhdk6R///NL+x59/SKqI//jrj//n16aP+Ocfm//6
3+Xf/ut/vZVfv+Xttar//EOx/o7W2KI40vAGU3BMDc/ubf6S/XccD46DYonQPsG+nks3ZVTk//mH
Jf7OBc3EwhG0Umw5dW2rrJm/pE1fwuNokttEyeUYf/zfN/fpHP7rnP4tbZIjeQg1s3zrcwnHUJgK
TtDxYOQ1NaTll82f1RqRZRkxbKFiREpJn7CCRE0PvX5UMjb7qBgdzH3FWrfrWxHQaGjTgcCnaXCd
Q+UjIgSWGTvbngVkYSZGtJITYBtGslrGBwDPxxxbO27Y/jXsCzxiXr72DEDLxVAuUJv2G3SQ4bKV
6ma0vGuQgYuiecOYcTtU0TuwyYPdozApneRK0fk23AdHcqzlQrfYFJTOyQGouQAdPyyCvt0jQn6B
iXnBVOYRGvxeCAATmk4Hh43jnCghw5FK0H+u1YLoCy990aLsRSMzaTX9tGD4rlfl1V8uiX8e9b8e
ZfGlyz4fZouxti0ZwElO6ZftYloGeoyBR1+SXUGAqxNP0g/wUbnaLl2LKDvHzdFUDPVS98Ek2yPh
VEX6brgI48hTPE3HInQ4uAG9nIWTpRdqIR5ThyMLA2VYEnONd/JkF8paL82revBJu3MGDkzunask
QVzE95G9Qb6MEy3HxM9XI9U7W5SbsmjwCPmcfhPzI4+FBOce7zJX4u/x+Aj19IRx6z1s3VMT2GcN
lFhnIJHwG2Dw9ZOovbNbSFTEkBvWATGYsCPOkXlEOtNiqRmB8/SMPx2dHS7Wj4XjwYM0vW6loYRc
JD6gJ71FTpS6ynWZw4xrPHGlmS9llhyRwoKHkPLVoV/v0XZeCMC9mJIJC+qbhNyqetiSaM6zYecD
7Y3Qjy8UR57KhhM7Yhub/mKkarroSA3DTBPt9d7qdpVMHtGTIl0K+Syl1QMTMpstRSAUSiN+EaDl
2H2MF26R3dXIFVdOVD93pnxpMg+oe3bTdOnR5NgANX3TU3lKCVwTfXaqOq5HroiKhhEDciarmG4T
jo/EWM84aD+9uFJwQ4/oEXBujiQD2KceaQii6eN8V2FRfymkDxa9B8WIMs4K39XCPWW5YyytUlk2
Dpk8uKeWUgZI0Q3v3Wo5t4y4iYN1QHco9QF5FfI9rrLpuob5dqTHip+p5oamv5/G3TdzsKvFEOBv
RLm+G43sHWowB0L13ocUgXyjn8vp0zQRKwG1YSDLR5BZQJg8e2vlBrM29y6popdAopqTkIpV1R4X
isbnxinwBBPpyqk4tNhS3gstOjQkqIPPuWP48KS495UFMi9M1PfpAygBAgIDO+Oi9siMxXXeGWG+
ZnqIhLzy3gvq0YVeN/dMZgjAjQkyNIxsU5XhZRwIeqYmLQ/QT5gfkcwpODCatrsqvOx+vvZbwaHR
MczBBN0Men4pfe11/nQ4+34zap/FKv/a9023u2mySTbY9VmmgGT1eVNiKArAySYTQHLCvd0xb069
9NWRCZgBRT/3mTjY5LUzzNoMeJVEpzJ+7zvG0qk8Mm/3iOMMXxlnT+YfhbECwb+ZS0szGxs8Odmd
eacK7oM8iogGIY3FZqJjgoEKWwwh+PF1QvlsTXurDX6lWsrj9KoIiCGzCrqdMeT8AOiM435PHH+N
T5v7Ix+HJaP5m55o8JEhKC3k1usPAGQPTZ68+goSSgV0Ryhh/UbJKy61DtHrG1qb8xiLk/CLlYkT
Eg18BnhJspclLQvWcrtzJ5CbraYPlLkEbzMT9/l8tK6PCibBRWoH++nXiM5d4Gn+YUyft7ThHE9d
HLx8E7hp+vQWDJtfL83arG37eq50mwJHo4/Js+5LE5PDJoIxoOPl5eLs8LmmwwTF8pC7hMrZ8sxE
Y9dk2kuMXQvTZrIpqhG1bzZcsYU8Ta8mGVShSRKlC4cAX0eFm1OKl6ADtxPbaP4KFihNfVPs6JVN
8lpTjFcv5ZC3k2y4jzhaWqmu7cG+rQjn0TPjjHE2RffJLVek33qFXLFMYS3PXjUTtyohm/ekRL7a
OHmWmp281rq9V0v7Oba4hpyCo9ezLLEdJseud1Csu9jkedzZLgeQjYYLQmLfpRxSvPRioQlxnkq0
zG6PEBeOQvJJ56+MQXZrptVx1MUhCxMfJOXkfiAvrLMIc4bJnELvAS+BcJJMd/WQZtoRT83EC18X
ZrUxjTBlXeNlTWcdxTDs4TvtZGSDhkCCjVglW6qhTQwd8cwWc5+NX5xJtmoZsQUTJZ0tO7iuZWqK
b3bHJY/fbcQaHEG6cNxoN8L1NA1Ii1EePZdxdP3ry8P+3FL+uJOnYb2m6QQ7q1+VkWqjBFP3VVvq
Ng/oNIAIKMHPyeM4coysJvsmda5vRK1L2LxErRT9Zr7pMq5pj0du7pbouLRzzAKQReph/qIWcBfW
ISfLys619Nb0fQ+g6l6nVzYpEoV+SF6VmF9B104shAFQjUo2auLXvDbO2EvPQecc9dI+ZiZENLKc
jqEmOZYRB6tRONfTG8gG7dwK9aD7XKAYgHlopna2RBexGbsC5Bm/qW7PFI3speBDL5RUXiTige8b
ljkYDkhc/S7VWzw0wd5GC0FjCq4OaJN919GHYfBL8CE/ROOP1uUPoizWQals5kVA0XNm083OZ1mz
WPAGFj/S48+/PknOvztJFFIaMxlDtzXxRcMwpErFJynFMrRauVbcZhJwXddaemzt9LWys1ckFNmy
Jti1htu41AyuR3o3SUXDkPPHba3Hr9PKPL1eG3MiJ9R0yqUptjoM0EXQyW9I0Vcj+s+FyVx+lfIN
dNLQJShY7h5BTN05bsMXuS2tJOByn86B4kbPWUGKKudqWvCxz3BDmjivyZuONEK8q50LgWA6uhn1
KStcd44c89xMq2etGcfanaD7CDNQ3Rb1VWDR0lEJ36imZ0pDR77tVoIFw+9YMPDanOGFHFIgj2kX
niWrmWZylxMUsUojZiJ5zJo9VB1BtwoU+ZhMCbNbFhkrjatwdtOgfSGeAJiR114RigE2cJBEH6nR
c0ejmhLicjp/8DWO04Jto3kjnSBfwH8+lzzr+ozlHKZrtqpFe4ileS498KS3tHeU36zciB4+9WA/
7k3EeobpMC6TDCU+P2U5gF7naDSpVSM7jnX2ohbJSzXmRyPJjhQu59JHG9wqGbu55JC3ytrKz6Yx
4jxJD26Dd9/PgWvDCg1XpsquoS8RJBZFfXaDvXDi91wk+drGh6U19T17FnJtEm8ABDmsPf8iU+vX
sEgPihUfec6zA3PusNaO7GUyi3ZazDaqoKsI4Td8T0vvHfAZu2giK/uWRdNY8aGIxdV8IicDZ2Eb
JR4Gaa9qv3NYMpUQbTGx1DrUDafJYIB4wdaFeqHSg1l+7MtE/hD1zlaQFafY8W3tGRATqhu9phoy
9pkSqtikpZyfJPQR6YymTHFUZiiNgS25GJoXYWaHANYwh5l9tcNRyLuShB5CXy2THmZmIgikU0Dg
HNt7NJraUjakMLJd7Y1yC0/7rNSYFpVHUEI7HwSFUZK6iefFXhCphwEMiTGp2HwwYP1yIdL+kLqN
dTEAJ18Utrfu+mm7aKf4rJSz32whnsHsYRASFgHpnxaBZbwrt6Wa0FPgqXn/XUmVZat6UCVVKKE9
H0XSN15WJS1qwBRLRcc7brBp5lGWs+3z+Wn48ik6J46RD5d4dE+2xs40g4qpA7Vfz3UFQ7Sd2dqH
aOBJgxuOMKY4u1foXasjSv9A7KbLZrqSimmX2QuuOa49macvVs8eWU7iklrvQQlG73i9MahFWrsM
q1Pr2Rdh412BWtkxGj0k2NoXAxNHSaqsG70QPfJeM9LCwaFdlJH/qE3vufeqp8Qy902Ybush+K7U
0AAMSiInYCMFKAl8SvgS0A1kg6S8zZX2OAE9h4GSz7K3w7szQOtSIlQCicXeflgH1fAcueO+M/wb
OGrvVgAlABMCGQrhHXUYYT9TKT8lH4ObB/gA9nmnK5ak4uMtgW4+9dU3K6SBCSW3QyPFJxFGZy/Y
inO2yXftrJc4SV5Kyz4ZirGbdvcu55e8b6oN5SoNfhTUdhZHTTHiQ8ygsOCQIkTLlk7zXtThOwGG
Kqk1T2GdPPquPM3XAzlbGxPg+KIBuWDjBWhk8tJN+/rApqiZTo3eJQ8F3K6l6UcgeEk2rms7gunA
jRwAJDG8FzJI3wM8fMsmMe+6JnysSz5zN51s7F8L1CtPU0kzX29T6d2H2X0/cZanl021G25tlLrm
MpHZwY+Cl7iSJ569JxB/p97cNCK9C4xwB9GP1iFXCaR5qu7Cv6MbtewDHEwpesYF4nZ+Y/5go7Ve
dRCcFqr1ra20d92tdl7INxYJ9eu0utg1r5/qb98gpHEYga9OH9qBIRJYODyBkqb1BrnMA2OjU+ZC
6KHkn5eI0YZ3UsXpSz99wJ4M5sEG6VnyUOv15j6w4WZ5DiHangM6YghQCVFkz8VkFET3NT0pzqtz
aoP4BUQpxTXhQgs9M6Gif8+r6kFrs6OSqfSA7MfMuwzS6mn6dfDsjsjo170ki5my+eRhK4diViC7
5EYhFOUd5R0pvqaGbWIUa8fudyE46ZzxMHUDn096eO16VTmGZndj5dM/av73/2HuvHobR7a1/Yu4
wVQMtyKVJQfJ7uAbopOZc+av/56iB9gzvfc3g3NxgAMMjO4eW5bIYtVa73oDYWSUt+G7MysvTRif
NNywINcEUPQThwNcuUsMqKbtr536wNz6df34LqscyTgVkpGfkzSWCCqBPywzhl/Cq+XdBeh9l4hQ
qoK0YHdAVDYKwvmWyrFspoGZEA3QSomuORdvVVw+9U39JOaT2eZP2AJuM1x/bLd4agdgJ8y25YqV
y1Jp0PPF2btS8TCC7h3sDGPqtuI38RqsYgQqT5qdvUoQp9MigrELlaBrkfoa5v4bcKCniKSXqUID
mCIt8vVBeRfW/JjJt6obHP7h0P7EO1m+OxwUBmIlbNgubHclhKKfk8zC6QOiFrC4erAWbnup0H0b
MH99IgXxsp+9ReUiOY36o7SN69iq+jYmSE0JD3D9fJcB9bnDUNuqJGrALQ3kJi0XR2ltAfpQQ3Nj
5N4Ra+nb2GucGZV5cHUubx+7L3JNzpwRcsW0MlJZLFiijMA16Zv+XYxVsgIZ603WtQXUnviNv68U
V2rt782eC8vZIKoPToX1G9xJxG4TLCrDABwtOcNVmBOM85DdYyEKk8hFuSyP7hlIQB3TtzyHWINE
dI89q+OvD2Vf4i8R9J+aMM09V3TxlnEiqiiZeY5GTWGZYuXGIV/vZ7T6//QBVpbjb5/AIjfXVW3m
Moyff6MTLEI3C7ehXVX15YIwEBVuW+wUXX01if6ucGncKLDup7R5qafnRaPHEAu9YDg6sPFafMQi
CTTIarS01C3afV9WogEKykD9ljAg2izITzf9hC2NsUwvsqDMrATLjSTdtHTLPMaKteGB89e6cdEQ
eLNIn4zJ2Qf9w6LO18SlBdXGkRmMRUG4NjIF9aLEZ2rRPYsaWKIiHJraiCtJz61Rpa6dsOynY52P
xdwGL9u49k2Dp37SjVf0GJ8CfAPdEU3MUlGxx1TiIqF4dYhSLwdT6u/ru+pE93CkdtXb8igmG58B
DQkaDUDtPDBzPwJBgQJSny8JxiWZ+h5W0mBh0ymwWQ2jf8+wx+qt/WKNM2VA82UeaBiEhesxMoME
GIm3P3YIywC/4fAh54RjOSnmq4QH5mC4K8YnibqsmI0mSETQ+p88mXwqi1+7thyOQ2YBpIdNI6vv
knRSkCnnoQxaqjyyYQi5OLkFifAtnotbFHqvRBvo3S1Lp7O8SHbXbUVuPUnRpWgiNoH859qxdAIv
CfsYMEBBXUPmljlQlkYkM7E3gfiGkm6pvXZgOrOWY1hhr72JMhmvcai9xv01nIvXsAy+1s5jS42D
R59sDbTKR0EFpGx10ht8vGbT9FKiXtyOloI4/KXmRgq9/IZx7761i0fZISi4QpQl1kx1uZN/Rx/4
4BTAuCOYToYZ+toxDOlDJT6XObYOgrVHZVji+S2eXKO5Ryrc9IEL3ibZJS0bDA9ZK4rsVoKYP2Uq
9wZe1msY4jZHH0+1KxtrA+2/xFfW1nQaXrAbgpVkca0xodmEZfYLbBSxZlE+mTRt5dohyjY2Ftp2
Hsz9lJdneH/whtl8CWL8eC4SUxzJev0HjpfxV5bQ2svAJrUdG2YztNnf5zCqMYbA54nuSbB2LTIz
PIkdU/vAjsGDfjaQK1CxvK9zmcEcr85gPYS6+gjl9KNGHsc89a3hXLXU/IT+Xta9tPwcM1raLL19
Qtx/gNlGoT+QWTyl7xhAXIxxwvZV3TTy1JAbdN5NlzLAD8AxusPkmm/yAP37jRhvlP9s3piISCqP
i/Wqq/5GaisNREBhZPGbZfmXJj+HyN6ZsloWHKa2PO5X8L+JgpeBt93Crsfk8y3p43dZXcujVTZV
uHGQ6g0r/47nCjUjhT22g0/yQhFMdEJlcGyy+omu4KkOQ9LPLU/OQxCx7zBg1PEvC7W9NC0t5pOs
ROX1XwtNsRV1f3VD6k0m2C9GQsmHPGIzLvwaF3t2Uak/QpFdZDdpCHnFI4wQ3PqWWflTRE5NGpo+
djJ7KLbVdnaCF7yTDehUwhUgrSgYN/pgwjQRj9ac4K2KcGVtGsuKPyTfMWGjCy2Gj6laZiFoTfS3
9X8qDpOMqqCT42zFHPQi37H8WBwakTc12b60gGZqMXCETxz67DEPUVjiW02JY8bWCF202OMm5+DS
zT4mjNsUyh6hqRCM43JVUCBil3iK8WSRx/lakMOyEmSHsgPbCZgwIRJY9PkYHTkMHSw/Jx9n7dVy
una85loIiwXyJyV+bwHrMNzG0sLOHLBIQqXrxd4TMgNUQ03NEMndEPg3wC5kCdhVdbcnvNFMyrpe
o1hXkKYLJTrFXXgkWIRl3hI3CK3tLB8WWRvLtsElRXWurjoVRoi3bJl/lye57L8FvmP4KMKNp7BY
G5k85FiR7w0H4NSXY6KEwcMGR+H02eoXi6Oc0K+4yfCcqA8rMw+fcikN5laXduHFVg4CWpjnehHv
ifUcdPEMYMmrujprlY5GZ4yzjtIskzeLOcrX3CRa16TUlI0y8UDPAE8HMPrRX2qKqbXCkDWgusAH
yydvDKIfgRzqWEO4x/HGDyPlZe3S1wbUvVWiOpu9gUFRuHMy5TzH5WvQ8jZL3DZZ9A9J68lnoQ2s
g1y9MAUorPTxNR8O/34dLTcvltV8Jfv4ELqyY+aeGAvricfGtsWvMIcyTsBTNbyI6YIvxovBc/nR
IfOtNq0cq+QLpdMix0nrEGuoKxLlsyf5WrI7jdhv5kJ4RW09GkYNX88aB6/BFJtst9GzRnGsLOXU
huxPslbsQHL6LHosCcTJluiN+dRTpkichesny84oqdLdWo06NsWm45TmLnONhyxjZKQaE1m4No7K
Nr0TCoiIzOF+LmChlvVeDXkOZ3nJ1y5JUXEYNpyfsh2Vv1pJuIKxvFR9isDE0idlK8fEKiTbcjI4
V9km5U5RWXwj9IsnC1wklA/N3LRfCpWwaFkc52xQa9e0dhAkTbvC12sQSIxXho9Z8LodW1Oz7Njw
uXwz+S51GsEQY5lJcCGhhjfr7iGARoR45ftgf0fHRndErjRNdcF9DiTc8Qz0y0+QQSnndylNqbxG
4zweQDPeZA/eoYwhW5VbVUeP+F1dM7qP0IjfUzasYi6+F1V+L3UslVr11sQi5mEM4sM6G5c9lcmC
4EiU04i1cdJy/avZU07JtqzSmvOSRSQOcJ6ygytO+c2GkLteyp7wka3ohv36afEIo5iWz6kx3ikE
fpkBHH35WdWlvbvFrY5palZApdCyx0XHBKnBPaboBC2CTTD1+jQoVePVoA4SslhvJWbuYC2Jeh7m
4EludFiTHybT8RDcvf/9+bVCyn8pwxGJqLA6mPM5TPt+h5z7Rv6rQTmLbRErgDVj2fOtnfK9xBeW
0WD3NbVXNTqgEXez5plIjIMxw1smEGhFWVbIQG578jY1efIYhMtmsrdF3VyjMn138+wfDl3x385c
h/bSlX0D48DfztycYQYJQzOK7ZznPMqetIX9FQo/zYumMCisf9i94hXmgnveu+Xml+lFsjga2zxY
EiC1VgQzeGkwwdpkPbatmOnpSEnkGbRiNPJ8XTdz+S84lB9jZX6oVG6RqfZnK+uPdWEfLET2clda
z6/OTXAOpL+K8b44ZGnsd4X2KB83JcXZza4fM51pbuiIF7kFrM25Ld9NXmOvmCPAkd3X+pglhn2C
MvLsumTfufzSv7/r5l+FxGuVZkPaMW0TTj5t5G+zwhhOKZajPOqdbr4KCLwV1JS+pFGRIyGs4L+4
+VdHWDRECTUZgLglJ26WXuBVPMCGo4yVHI0q7Haq7LJm/U6E+n0IybxtGMYQbETT0+dA+XJ8IMem
ctJgMRdbeyY5XpBzIgrQJUt/yrkBBMvZa6e2hIszHGptZniR6q9MIPVNibHwxoxmb5A1s9NS/P79
FTFkw/zbcyD9AFxGZMJh7i2X3J9EecvYNzH+HZoXBHN2NMQ+Jvl6Qxdw6Uu2RkYYiC2UlyCdYbsQ
u1jZ0/MHniuhMQxu0XKZF3lE0HvB78fGCvnjFg/EA7ZZL+ocs7U4FSZXUEjwdGW4+cBhtPIExlCQ
+mzem254IJst2vSyAowyihR82gJ0HosckusT82OmR/+wGH6zamAxyC2AT8z7wbcCKe9fP3qsNkIr
Z5cw7zH5rin1CzNQgJ3Sz3qMRtDYbQab0Ytwn9p+2pNncUtDzgQRBbG3WNEuJE/t7++G5son+Lfb
YesO/84QyrWBDv/6npKeQ9PBWs+Lh/zNTcvLWn5IRN0xJm+AursWcpKAhFP/+1rmrTj1ZIWPbngb
qu5LGcNEkjBrOVsvxlw/xTD+h9G8SEREgp2LThyFc1kcNg8SpokHVzLydKpg+1EtZ/G7NkR+WCwe
MeZHdVopL4G84fLHZwdin/V9LcLWKmYlNg1Ya4DE+kGFyxa1U0fP4UrAUW4+8h+cXjDzDTrsiVs2
rLV8s+AyZSUndGwGL10HsKg5LXpg+wHRZOZNKbhnTkBXTwIgtPK1L8oS/NLNBsiCPVp+JFlvrTtU
HPdHbHZAc5YPyHUtY/pCbjXw17frr1znKbIKa8tdqOFeJ0tIlFxvC9T/iIdgM0hUWrFIXHPUbyt1
KFM6aOuk1nE0hAvdghyzNCJ5pkTCuISqSXPHrwlslpQKjGmddg4RzrujdUj06EvfKMdqCLzCnQ4i
bTleHez5cSPgElnyRq3gZUFpKaksyZw9RZF6JIXHsySMNo+c6P1kvFnWgRHoQesw7CwiAtlkk6VD
+esD7FYrOdFgnCghXtuTPQzW1O9GWL4LkV4iegACLuCBD14H82tdNJEcPGRG9GmO2rOE89MUHKUl
KFTN3wt9vOnIKeVjrEuc1VTxXcrqhwqMWo571gpnNtJfZmx+gNVjVnh54BYbq8u5UKaHrf27OfK8
K2ryDed1YnrX2laeJ3UQXKHyx6yEGq0K6NbawOYL/uwqQD4aFZaDZIvVcwYh8Tjg4rBSgWz6gUhO
DGoc/mCj/cM42lT/o5lnJKmamoY1DZRkbZUE/WlTBCnNTBNQ3JP7YJKQ4ckRH/DrZZUumxPZBsjZ
i0hpasaTYEiiK3j7KZgTRsVlztKniHUy4YyW8nc5yeq7b3XoPuM3+jZJ9F5umbXG+A9VWiMHR3Jo
IeFk+azIwZRskis1eETnwThUzphMzdowg2y8CScAv1OfUWaq6wt10u3jl1w5I3OqfrlL4JZ8p3c5
OJXvgMSsFxidcjtdn9uCB5VnW77c+0ffbUVIB0L0YBZqr5W3GCVMh1Bqkp4Eat0S47OF1PstxX8L
C/D8LWgLsXEnza+65cCaKATDcclZHABy1j+E86OihV/nuHkzwQC8apLIQPEmV3FuQtALaWI1RHFr
6yx7FcwiGQ/hriG/pVp7YAqSFGaDG9QEnrJxrHeevHCEVtXdZUS9qTN60k+/QIAp3+WcQPb78hF3
jOqpZe+cMyhWc7IpJFdwLJM3uTmFEdac8C7XTUretb4ACI3trVFfSVl80az4kC3Z84BSeCu7JXL+
8nVF2LSHLOq71g9Iz7UXdSSOQs7W1tZy3RKxZYVnRQRi6WZvdoUBjp7c01buWPIbFac/DdgPbQCt
sKujvEW2g80rFozOA8zxdSq5bsY5E02MSS65LKFAzuhc0mOYAcvfGdcxaWEyIXtkPU++OUq0kb2y
y1BrHSVqcpRoR9mdB6+govRs2XrJD68TT7vBU1J+lMAmiXH9fks1H02DXUy27bYTvsF65n+dW6V9
VFy2xo9hdM0YjweDfF3IIEQlc+0SRQ4k2Na4TvLYWWnH2qw9xiUjzz84kXzwdbwgG8kkUX5pgwDi
xT0P+Q4nVvEmn4lBDW6NS0hAdpFvjrSvJxundPDP5Awo/MlhPCMfEQNKojWpqGy1H9XIZ5PkgY4h
XTVfGjO8r4ThtF0TuIgxyQY+UiY/l8r3juX5o8XVgQ6IlFJu8k2Pnf3aNAPQjviKx8rbzDELb4gD
UsSM20rzJlEGddxEufrj30WQ7fSYsCo/PjAQEaLivcq3n7lyyUvytMi2GiyL3dp1wQi7TCEPwCxe
oFqvNOt0Sa6dqew/JobMU+S8JXWyZxMjn3gMSDLMKdqprVThCeiti6Oc64lAHcCWdUVpDNMXOg85
mJUTLGLc/5hcdmRQampC2AANjBwDyyZZsiOC3ugBoeqtJCevPZ1ldM/kpzf2STbR8kCQYyL5/WpF
TUBFv3DejslLE0SEOUEITUDF9MkkCkge6bLllYtZjhcdbh4xuqRyAqaNIFxMWCurepOoxNqzh13y
Jo/aQmLzSJuW5CEllHQhopFDjYZWPjltcTfz/joPyyvV0jYhrFtrGJV20IV5Udm3yRdOGn5pR1oi
e7U8u+Tk2iLGAVY8rkRyr5AXLpBLeO00VwiiJwzM0PmplcU96dUXq7475k9QpG9Fme7CwT3/FKIW
hDnSzxaLcRhs19dzpG6aZNKPyfB9mnjhjjiDhGcbl/6XiheUcsqqYr5kWQBlrA3cyHiXcaH5w6gS
1M0769yg8LqRLVZiEfhB8uw4z/nKCJcj2mqIfiITqSpeUp7sLcWRvJYpT1+emi+a4hzW6vN/QSDy
37Uff1GU/H+VJv8XFSJU/n+jEGm+FT/ib3/Rh/ADH/oQ919QCFCQQjt1sWB0pS3eH/IQ8S/NQBeC
NkRFAYKfAtKNP+QhQvuX6qhg57QfQjMsyYz6Qx5iIg8RDvwBE6MYHNss638iD/mPHodxhGOrBvo1
UxWm7Ujm3Z8qmZScOQA6QneyfJwPA9T5bcAwDVmZHl1IgowumSAroESffGf7nkY24URGeTgd2TT2
sswP01yNlxLf+v9p/4XHiIHzgBRVc7D8p/VTrlRdW7YIo1fbhx6jFRF0T3U0q4TVcmrAkiTgaDQS
fFMXm9ZxUA5FA3vendlyBxV2U9dT24YJHup/usX/RfHxm5sIl8rC+8IwNRNxl+ra1u/NYW/ZCaRL
6Bar1G8V5TKguoaVuSAfaMxdZTNAVZ3Oj+cIl79My7YDSZteJlKsCqChUJfo5QM5a8QvtwYJilM/
n4t0Fvcozr+7jfWYkUBkNnFzbNzZvgoFrBX60I2M3H04Ev5AOAQsYul9SVA3DH6R+UmLnW0EkfPS
JgtTNymXVzVCzCu7YkTU6cfVIFebQi+UFjp1tEANLobHDg2QoxrxLiDh2l8D99zUjQ44BcsoG7TI
BpJPg9Scf7LL+itqhTkAjj+W5toIonTxn+5tDea7alFFQLWLlr84vYJ/TwpG4BgG4XA62K5tifbm
uKRMtK6NOKIzISL3zl2fxfcQTwY9Np7Xdwyb9R8Iwr/5VnKjgQGwOEGK68r/frfrKGsR4/YN2cit
lmmD1yaVxDI0pKaRYj5/HTs1ekgMN4egPM1I+xTznpIyWYjXoRrKh75hZj+ZO8XJNSj8pwAx2WsZ
xKVva3V9NOrEYELThkes8Im1HqP+Q7ALP6rdZ2bo2Qp2vMaED7sC2jYsBWEQQ47tvla5mLOO0eP6
haQ5lyQTlUBlHup/WO2/eRzIiwBBmhmejs4GLv3vTEyj7K2gCw2YzuuvVkP1aJT+JIXBkV3aDw1t
GoH0L3jyG69Oop3xHXSO6pgtx1V+nLe466/pimkSRDsRabd/eB5dhz3xT9AIywgBnqqrNom5Dtin
9Tv4iVDGnYibh5eQLP48Wcam6dyHadKf69QwAdvolSmq9H3ptD6uyhiCLg943OUb/Mfi0iRyG5Hf
Za40mFCuJ4Ihv1biB/hEfKW5I6uvtOE8jguR5a59xWTeZHalEAdSad+bEJtmMSHBtSL9PZJXZ8EO
exqzrW0j6lg0TSHVId2nxYguDsd5f5XVWzVhtREIX4AdI6E02qXEWvvcZ/1LpIDTNCQ/LKW4YdL1
Ksf8eqq81epiYeGuO/7UJK9Np+7Dqj4ZcORzcsBhxhhU8/lDX23FOG8bBOmbOGputppe48ipfGxp
zmarY6KP6Y3Z3qJ85PFBxzUTH6FbbebT3yExcb5nSfKaOdk9jcLPSjD5GuwSIgE3gNB0pZAJ2rS5
29odskbhYRcVeGRko/3oexqh5Dm3hm8lqHnekbbFWm6J1HjMo/dhjM1PGm2inWuwAPG5ItvwiRA5
pBYqHkDVUBjHMab/HErRXZuim3YEE6ReUrYF0WlX9pTkJtLHCR3U8hRgVuLnCNQrZApWtdUK3gRb
neYrSmx7jeUEywYV8xY+MZNjNdxXjvJtzFUXddH8mDI/eUyq4o8vQlfXbuiRDqA82EO+fNHd6mQT
YoRPgG6eTNJDfBeq4a2NknHbu1H1aM9hgvheExetbN1DgeumnCzsRzT3e4FI4MlxDAUtR9bC/Fze
I4xCf45u4mnZDpKH/tBKd8X1C/lDcBOkGU0YhJ6hDcFlwCIGt9iCDD5eAMuC1R4hkudKGY0bfK3M
X2b6ucKkPyKmujqm0xz+rILsawKz+C0WuKSTLW1+CvJ4gnRA/Ae2Yj75ptalN4v2QVUB0wp23xa5
NWalLvql4KRlJvI3dWAIVE24Rlj6ay7okhbjbLvT8NQpXf9C+M5Wt2rzc1pXuzjsEG/ERr2vFXAX
xXY/tfNo781mabZVHUXIKiakgp14bkS3PA6dixpsKh+g88HdxyDAtxpoSYbuHN1hceBgMkrH5YUw
USbfu36udOBgTNIj1hBxhuG3yZZYSI3r6qwlTxwZiKyVwT3hpEewbde8r39rExJMP/6HtJErRvME
C4qRSNkayunji6481EaYR+wdWBdF8hmv4yo+ZXbx3Jfxk57mhGXpfX2pTRX6H/Fln93gIZvwS1Sr
Dr6Zu5xK4XaPXWtZXhmUEMemYt6BLQ4s7CnEzGcYG8+WtmAfX5DtepHh1QlithJPw7rvrv/+0mKM
cxhKjka35uYMWFphBjR+CVoV5JC34sVFpJ+UoQ7IhIsMBlHmcLZ1iFgghM+JygdEj9sf9awPjrZr
foq1ZyXuftk5RKgpTp/JG20e7by2ziI10QRF2kWrNf2bNezKKRq+x7UTIMlcUPqYMsWrMdT0UlWm
OJkJB7b8G243wUfgUo+5gJIMLakQsXZJBnFdQ5U7sonbGG+QOFVJz03nkCTPpWYkX+oHzWV2naNP
4tRA7UjwSxlH92omObQwMcOqFrQ5SJVoblaHK1Xt233eyHwRLe1OmjPMBwIAfCQiSQ4TbrytIW8h
JcJ+6n3cw6uvajf+0poW56exfYwMSjJNFBzJupqd8CI3yW3O9Wd0mKdqarobrs/13sJkY9LbW6r4
atu5N3z3b4VhElvglt0TkdzdUzMz4CHLMTgkbuHCXEjCXRViomom2klDhe4tc/6jlPlsU0I4Geq3
rVqeVEhZkgeNAmqI4y9CJAUk4NGbVoMKewyjL9lAfOWuMbriRQzYXS1GCWAu/5rmKYXv4tg3d45/
DT13L18IN8qnENcV864O1Xxev/S2rX+YSBmdu/hF3pcXiCMdgtmm9UPbrfemOxf+sObrjubQEUZH
oq/pBN+o2Morcx7KWSs22UUJ4LPGQj2Q5xh6ZLoMN92ey1NjdtWGqfFwU5IwB9PLPg/C6m84RfU3
O6ceik0ENcpAbvFgku6zxoVjBxxu6oQoO5UK+4waYYJKyXHt9kVyjhWTUZci/7j+ff2TUxSMt7R0
O5V9+JSNGHStvjNBmzK9ND83Rj18w3ex2zrOuGu5pWPY6BdRmURBx+m0yweDsAl0+AdDxnrydBAC
k2qF12iTsquMRbqH5dpupSQFGVY0eNk1exw4CEiXBfYilUSZPgMUTNsBQvPVthpy9Hr46EFhPysk
rj5LtFGedD8/YtHDCmK/IyFNOHZ2i+KVXJvmeRkYe5p1tNewQtzWY2W8RiXmFlnRbw1pBuOStKMJ
jFmybERB4RQXnE/Z9JfhpNR5edHVgg12HvPNWEfFS1DXWLbHGIeHXRTsQpBvT4EMBJHPqO/hhEmx
od0UUaDa2Obs7QxYmphHO3pZmvLCkTbcEuRue2g9Dfo757maggg3zLE4RoRRAKPjaDO6y0NTqdUz
crZza/X9Jc6t7ZKE1VdyIU44Phr68DoXhMOZk9PsOkfku7KsOYkdI3uwFxuLRKUitr6bCSfGbZWn
sbyFxa+u0qzPqbkUvg7O/UT4LNr1XG3vimCIQRjLT1WMzW799pzYkVNoyeqjHb/3KMAvmLjVd0is
0qRquLhd3Nz7HJdyOEo+PVy5653yWR2mwu/H5JezMADqzcckWabHuiMkxpJOjDpbTt4SK6X/JIog
ejHEOODpY3ph3YtTOw8PzdAw8dEq52pnzN2alKOLLisj92UXjvZXome7TYXD46YrhqcCLOCMYwls
o7LYZ0ZzMzlIT5Qo4wOs1QhVXnpRsXZHk89YCQs92LGGp8f3BG+pyHwDeA9JaME10o4pEauli3eE
fhsjiUmlTT85kZyc5Hl8VV1K06y5jlGSvs7dcG2H8hlfJx6WsV3YLAwcsdH0kRzzKdFCcWlpWVDL
ENksWv1uJQbpnEF75tqB/u6sibFKknXn2pzjU0VsebKzh0rdB/N8NRJCr2FG5Bsyw767vE4YDiDk
kLigG3DXUPFPvbLr6sFDCDVWgXJl/r3Fym/y7D4fLlZjJ9u4m+btUs2PlkPBbC6KX6iJdTB7c9fb
XXFoBTE/Yx3splacIKhHbA3u9NCHt7jXgp3uKhSxhUKZpivnynCmfUlAVAaUVrXhc2bnowcs11Lv
NVtEEFM4kI86vSOXMnZDdgrU6KIZhDuWFHf+nKq+uxDeE6Ro8tR5flNTNbkZmMe1sBrKG52VTfSV
oXt6yVvpo/G5XmBgV4jMu7TadUTSnfCqomZT966chUQjyZrC4jRs9MlvznWsAtMKv6FH8tFUwi2b
grtVKC4h1tourMrOt9z+TRSu7Yk8+9XPmPFaZfwwUZg1U1/sdDOsN27hx1WDtyK2Nocp+7m4lY8j
Ls2wsbwQbF4e6tLBzWqAAobYiGjN7NLPKYRIlqU9s9qxeLLQUYwvWt+WW+F+tTlbNk1cYeNpmw5C
7vJzkkUj/HkF9T95VGXa2LgvvzWGO/IZgoTz8CvwwSbIRgWmS5vvlmz+5c4Qt8dRhWiqfRI5eR0J
fuPnSKmuveo8o4CHjGkE1SFL8muYumSUaq82Ae/+WIpgX7fJY6LZYouP+3vPJrKNdGk01FCtzdpX
RO24rLbJl3hWIDyUosf5azkZjhLsTOQ3PpSWU21hmYML1sB8bUSx92Mk9ols9vwRdQ8DRmdPXUcI
TaG+qa896/7gjoTfMIhj8toaOzUi16Oql8s1GHR/CrA86G0SO0zyWHoxlRdnrgihTxaMIedDa9XB
FiNfx7fiUJwmrdjOsPNpg2mh0s7LKpHuhqietlFn3LSZBi2F1kWEo6zfC8F22R1Hxq4yI9X27KxQ
HxJi6VutehHuUO+s2ngQFaZ8GXBbP7CcjWZq6Y3mbVZo4HTFfA5DqLw2W73KOBqNFjqnef6VxOle
J971aGLP5KkV/qi225xbozY2NcVkYigELczOa5ybT/NUYVDRS8lr6TIiHCHR1ShW25xAoRdbJw8u
6vS3sASXruvIYi7IdhrOgEktxKhZc04ViqUUSvpBXUaY3xap5iEtZrZUyPv4tNj2eZXROhc3Twd6
3AR/K5G0lPqnPB8wS6vgviuBe3eJBESJQKx3CmEQiaG7dfLv4wJ1vw1lmFgEFoJWawMttT/KnihR
ahi7qs3NT3hIUsUDUlV2oxNJHwKWsMt2hFg4YALH4W2FwS2BnXW26jrYiGo6NAP7f9Sr5d52lW+4
OGRegcWFCxvnnLUGxB93XDywx/cYbMFnXFOeu0nx7NS5YP+xcBoY54Bkieeisp4pqlRdKb85pvMs
B7d6mX3Gz+45aS14sJMIfdSWBfFMVCOOUfhLYhbXNgPGRKosLTJpphax7JfaAWGBTh8N9Y/SHTka
aahYk/OGoKvSK4IGf1Ms/ZlH9unVcskZogwySrfznbyvKJaz6RB1048aEws2hPqY2mGLh1Zu+q3z
IJIcivxQ/IQAdwvnUmyKhRLbMmA0O2VebEEmMw/pFinOmj8ZNZpzQ20ZSnBZo0D3tLK8lO3CFlGk
ie8kORm84BGBFTV+Sm5fXEa8kmWPCNLrq5YE6mFJ0zPeduZxHrlnoiEu1lAFzB1BNnwTFiejE18B
BcqNvry12kSkjpL1uy4khVK30e0K9xi2QY5tyILt15IfKhGktwJxUtV/Tq2Q4NSxbHfOIp4dDEVp
nzOInHohfEcP6G8FEXtVDZE00BjZjCFGFhGW+GC8yDgnrfIKlWuQtzmwsRYnW0amm6xkLy0ic/Dw
p9wWyjh7o4PRIHK5PZIo9G0wRBpnbgiSargHc/yFkXs0DNV3lN08t4q+swatxvandHcVFfo0LflR
MdqjAyVkUPw0FL/mOK890aMThovqZMeyYdIcWHd7iWhhRhxnNZJLTQOrv8pydnU06sceLYWeEq+J
qsJjjrvH1k3b9dHijXU8bJzZlSFq5l4HWLjZ1fwcQn/eOCkDzdxiS0ANijtZwF42xtuoJ23UJL8k
SgOopyO4pag5ihy13MJZXryuNAwvbDm7LaU7pi09S1USHUF9j4Z26tGxVdZWLRqMtOcgOqAJO2rk
S5NzQZouYD0OMsEpGcJNhdnJ66jZu6ZdGrhjRrVXozrFoKjEbwjJHtPya9PuoV20uzHnqhP+5tMU
tGegIesK9t0MbKRYwjCfT4G8TbU6dVhObhH8fp5dDngC3e92z1TXcGjR4jL28YmMfUddOFJ067JA
L/NVA35jo1EZpb0+k4wVnkeNpwIT+p2WNfhgmmXFATdgES9XpUxS2jrmwCh9wBUyeyvittuVhcI7
ECVLpTavpHL7+QCQ61h3wjnNHWPingcO76Qg8vR22UZCbmhMBky99UfDgSCdd62XfLZE9F1V7N7H
IPwFuyukmfWnqOgJzhmKakuT5IuZOywWWzuEEBAVsuEzJbianA87JOPEjIw2CcwDJ6Yoym0i1O86
0Jdf45C/bS1Z1qlg+WjI7x2m8hSn1iYhsRwZML3DQh20KTLHgI6XbpuxWzym2sNmimffZHdg8w/p
taYJ6JR0udbWQr+bCvJRSMFyEv0V2bW9ySpMfNLRLq45yu25L3RfU/qSA8hWSARlj0PywjM09+d2
ImdExinzAQH1A4MzNY/DLb6hyMZSTd2lKj+jDK+Gm3SnCO5+JBZtO2otFrE5rW49bKhncdPi5w8t
kedxOqLb0pP/x9R5LbetZGv4iVCF0GgAtwTAKFISregblOSAnBoZTz8fPHVqzo3G3tt7LJFE91p/
HM+4rHB/MVZDAde3TseKSh3FCEK+2SBrbQ3pxQ5LPb4x6QMHwt8iEiAkta9J4ebgm1Zuwt4+YklZ
9k1Da65MOv4G8iVwylP7u+Cemp70BnQFlQoxtZX93C3zY+Lm59QmJafRKJNg3lwijW4XIl+bXFxp
rrhQ6GVzpOUdrTkN5L9I550E7qepYd1acpOQdfbFo18GPI27hI9S22oHGAoVtAQnk2CwdmfNqlku
cJ5w/MTyXBWIUnscKT4SkepCwHhFejJ+2yHmAFSTd0RvpY7TQBKIyIbAQFu+T8xoDrPadYNcV96+
iGfUBllxFn37SQJFcsVCTDB5ciI7oj6kGl0cc049BAUiZ0VtZmy0n/1Mz6PRa/mukSUPvV5uutYz
a+TyZilhB0gNsWuzXtIPP+06itWeWC/TY25Ttyg6IgNGJ3S02LiZFZ0j3oKJRW6+L6N4mslQWmd7
N3T931gSidHL5EaebjDY07dmqxvLQaATdICxjuy7PsDH9dXpWNaUa90YNMhZqfdef00G8dG1zZdD
JNNu3sspsndrF2aJ82te+EdWUR5duZzcge60hZNa1i9Da/9iGrvn7J5c7GMh/+DcTmAGPhs+4J0l
Qjce3zo7QkkROw9tSV87nhJ29rl6IcDTIJKFHttpaVFkkfhWRM5ntuTOThnsx3b2Zyiz+9KaD0ZG
T2p1w6ccjksBrOxl0EOENDRgkxL5ivjuRgMuKM6QFkQ1eG11X345M89TWczv6EYkrXr6S9+xttjL
iRY+grIYFwJTlkHGXLaTJT9m7hm/EzGDJxovQGB87jjHx7INqWyu/ElLypBUgc8sW2ib7biEelps
lmUw/NFpogDQpM31176mxdfWtwcjfRRPWOeacxTV2IGLaKTtu3jpnZ6mnWfqsJlsJ0X4jJcRPOqO
9ilq9R9FXr0VDlbpYm5uKidWXbkpPY4Za8WgKQuvQCeCOOp/kVzz5qQYZQCZtstPcK6MNJzk6mqb
9MUZg9xbSOG5SEY4FMPq9oNWYP+16/PUJTErnvHXS6WxAS4r2p7Ambp9Lrtjh1w1LGhT9TvhDKDf
MUfHGIe9J22SBsU3s868V8k3dFJoTa54dH519oa0yF6cEmD5YEnzsIZ+oUqIuVRztvs1uw1Msads
6qyw4nbBkLQZaQtG88Kbo1ta1n/6NToR8n6lB26fTfZbD37O99MotJaTxKwcuRzVkfITu/dxKZKa
mJh1qHOAPTdtZAfJ06LXw7XAXX9o+W/7xdzz09K5XhuBnrY/KVwOlsntHvVuC0QTxR905ycC2L9o
zuEGcOaPhv10U4yDYkB+hlEnSkRr9KF4hBJkfUq5OFg4xfIs5bVFLfJiLgTqRNp7ZOV7xyIGiEC/
9GzL6V1M48VzKPfQ6iTdJzkQcEsr84JmeL9p3P3MJomvh2d+6MZX7vKYKlV3j2E1d/pvotRe5Szy
OywwNvc4f2u7aTqs5lvlZvqjnqDKiUfFJdnxmhQJ1RvTMqd7Bw0Fp8TwlrSsr+Q5PIJmoxNKvoQC
Tx1UTtVRQtgZLIRTtexE0ZQGsOJ8yJCVPUBFk6xL/utIU0Y/feu4M61NAFfEmN0qlfyITB6crsnG
Ha+3+8Nxit+dC0HbFutHVkQXmjjQwVHNUp9NYMWd3jsPs5l9zIsFHKx+9IWtB0jI9nXaak+CsK1d
NzCGiyW6d+YwXlRd3WsTAsDr3MrPkbjylPrLWE7nZJ4PwuhZ/ztKZeO6LvdaUy8M6hObYE7B87pk
QWvzwbIcgYK2Ts6eJKa3NKbb6OiUR7w69db/k6/2TkiXwzP2QBZchqWxD3qFEI0TK9u3QCouTRPT
2HLBcPyKqPnaeMZIfFhxkx5NQX3fQqrjKrT31pmjHSa4bUwkmsvz/vb08aBW016xY92IIIwvKAum
zXj7UFeF9ai0qzUM53ageXR0sfKiyuuUEzaRuye8f9fA+e2kw+pROjHeWApynGSbmKO/MbDMRHb0
buxxNGqcLDaTqm48l6P9UYt1qyqip63rVaANdsMAkDGpA59Fnr1fDAKm3eeo9swwMziEeHPvSw34
zBz7KR1mf75jzx+jihfiXufEp6CH+RAduKW8Gil2c4lVi8AXUKy1OrotQk0MVzaQxLQ3e/c91/tf
RaveKKBDM9F1hw7oyJ9dsztMKe64IgvmtC+DNEJ4Vo5MJzNNs+OYvciouzOTUkqHnaLV7Wjfw9ft
sdpU2/5k5RgITHNkiqOfNJkmM6wIx2YccUmIUWg8TIvccjMj8rgUQ026MI58uxc0xTdIcWgunR7j
pgIdy1bergW/NdVRGRV/QHcZta5ddqsreoT0xaFedbR287z1Abpod4FWqcNssMLtxBSNfowAdF/o
BBN770niPDuRZxxrIAlgiSEDmK0ZMjM8p94UXXC5/CDZNqZvCaaSHukXYtzKgIBahflNhZ6A5DP6
hLzmmiSAwiIrCXUDz68g8qejdrCqikDnmL8aAHv0o9Bt2oE0Tm49PzVVd4jn6L46m4mxLfdYBJEe
AFd7Rrq+a1S/IqcB8zO6BMuvcu+d5vyUJvnfC1QwhyRZOEBaO2rEPmgdACjsqzzMsovhwCvPxhZj
DpSk0xpvHBINKEAuIsd6OXwW6/hgF230SGhAmS3eA0AoniqxRkHNdSUI7Imi9Zx+m01hHBqbtM3R
xJOo6VHYzvHzwJHYFfCrSJDJIui31UXqp8RleoURRR0MYSxJz1zM8mxQnFjY6d/Y4hbWUyC4yJj8
KeN0SlnF5qSXx7XpsBjPPPxtScq9Ra4ZWwdcSvQ0mdE3dlB959TAaJVEElDE63KIu+lnplfhMMH2
uXbbn4s1v3RLUYaSjwPtI/O5XoV5zgQNt1mUo1WUB8eJGVIWkiMS84vyPB40vXiLZGT4IH5TXGNK
7zB+8Z0s/S/0YyO4hGcD+w6vCU+GbTDlOeZi4ggkMzioc/tnATP9lpTtU9uVww4LgzhkAJchzaFe
MFijQqgpDzlx5kiHOGhyx7zFtbHNxp+2pVWn8Snq8+ywgHERHKNemPgFFzXRp3UnFRUDiFQa4VgQ
TDP/Z5V2i3XvMbfn7kCtIVVDMoxLDx0LPkKYJRzMQAaWhl2vF4RFtBfHQRG+/e+8UoPBRydQSr1r
VBIFtmh6vE8Qd7RZnvGeyANRDj/sJHvO89JhZIIdhWUJJ7chudfryeO7rEDybulCitUZWosMKp2s
2YC83o49qJZ+j7r93JXvTFDVZaC5Cw38HEhIVB7ebL9O2qlu1y+7HqddrDO0r7utHi3GbfCRd/DA
9LWz0bejdy1YHg0Z/0qajjtQm2nwQX6Qcu8FgzLSPSx2tPMSF7lXI/hEEg8wiz+s3EFngOADhdTa
cys/SIOUqO5QefTDaj/OcXGQghddT6O9p2xAM/kjIf/dl05Th5s4yuvpEtcHbvIFOUjnai89vrnQ
9eoRj/yU+GyoVdAU6k9TtEBpRNmlMayiByLNH/8werfGi6uthy0jL2xqRBBZSqwNfO9JvTR5gq+0
8U55oRROrM3GlNscJl9jgQlqFpNfjWRVoaYSBEXwtAFhhqhmacfpEtQa1SwPdtJeEb9pD5P70XZt
/GDmCuwjigs/b4fHYkLH4cnfZVc5Z0d1X7H3I6mRSSPKdM+FkvrV1su3VfG5TG13Qp+RjDfhxc+J
AuHo9EH/yMzyjeaPY9E09cHrYXybJ6IhwMjriQ6vqP6dV0HSyvdOQ5JCYI0lXIpwmvWi5zbme/b0
ZPiO7ZhBLkLllyb8qovS3yVh0J7KSK2RDYv5eOH+eSgq2Qd6zlmddsq3F/FXJW5ySoo1pvVY91uv
8TU7HW+VbR/nls7qeJielE4HgEO4/t6ZNePoqejSDJM6iWqGykQBYNmPVb9oX0sORObGzFN5acfP
JNKlLsc9BLF+zlU6nhMVR6E1z1QuOtSReedyMHb1aCKMEN27rMCOiZKmIKG/TbLeN2Vt7ashtajZ
aEkKSCqJgxFEGIH4utfFSOO9q1fPBhKdHbH3kjDwqQdx0vZKY+3I8SSFIvGuZH9xrWsxhWhUVXad
0+6GSktPlfvZQjFe+sXBs8h61VBoGlCbFcpV+1tk6ZOxJIeJD/Zep2ktW+HZ6qnl2ViLEPjM2vWz
kexW025P8PXI19eZF5GShbXeIiQuTT7/5Lhy/bEwnyuv5R7I83xf1DatuK1rXrsOw0bR8632e4xt
x8lOsbpJxgBLB+7FNsqlw0zb9UXiLzNK+dKc9yAJJLm+Lpl8WbziezFIGJWDfbVA8rDauKilwIj9
cUNltZymRl7Y2aG1N7GXV53cYwU1l8f0amgugWlu2FVksxSZ9l0ZGUUviYSJZaVLWo+pYHE78Kgz
aTkoIgqn4UGfnxO8bPDG5gEf+1dK0TthFlQDjzFoLaYOc6jvtRioysTHa+kt4pMC5FTq3/OcPS21
pgcTGx+yXNZB3WqoQ1nSINKH6yqYQ2NP3XRNv+jZcHYSAX3lmdjx7eiGUupuJfGhziVjl1w/Bt7o
OsHp73042y6rMCNrw05olnOt5JgGiDZUYGyrat/lb32/3sjzpIsRTMqc1Ku2nrsheeOYwDyszLCH
QjxXHeEXdj+IcNY5rFDp+5O6CuGdixnatssU19hy7Y3mkxLuh7QgVw7C7wXzX3UWrboMS+adZO78
bgX1pNRgTrsSrHw3lo7uIxDpUIYN79Jc2FRb7t8sdcl/VDOSPJLvzdgaT5UOLJ7mGj4R6R0cN0Kz
qYm7bT8UThRTrBUB/jbDse7KI/m4nEnIto7sv36E1gyji0XwhkTaoy8U0cCStDtBIoqt0+CivC+G
s3U3ycaDJSkRGzF0EVbFPUAce7MvBV1xibbXBLE7iqy53SDMP4VMtWOq0Bcq73NqN+3Zhpyim65C
wfaE3YQroYOlZEhAtTdwTznak5LGQc7IIJPVY27kHkNCcLaAkYAbtUsn1HscEzaqezFjquOelpXu
AWpcIBIXksHz6JSSE1/FsGwLlS3kDfcJWkv7aCVHt0CqSGbtrzpxqLwzm8Oc2RfAnYhNgButRZO+
m6b60QD2jNKKOKDappsZcOCSuukbbz4pV7THhOZIsYYtMXrMOgW8WJZtpA+sH0EUcfJmdYEDZi6S
A+RoFECG+9ncetDnKQ+pKC/ldLUH5ABy/VOmxpXzeAlaxJk8Az/zznnv7dWnPck6JQO7ZW9kYdxt
kdYT4YtjgmUkbgIiJH+5pf2UNkIEYwfp1C4IkXLr1mr4RLH1YgdNoR0FKGShrfkBiKfUtb+46OQT
iKyBGb6ELi00BukeRJiYNdgpf+0i++bqpb0rc7jmkpujT/BUaVmkDku12aMJgTGjkQfeMR/I2suC
nuA1NrgXo3S/1qH4AwWTEY5VDShIigCp+pk9Svj1ZFECF1e/WyVfqHKAQ7b4AEJ6HpLkyxNIEdKB
rNS1cHuOoXg4ZtIKXQNYbi2bR2DwcbHbgypKtD1WhNA1n/vwz2CZe6fqxKHHvgqdMgh/cMkew6nK
E7ICRni64qrxqjDbHldBd7uvA6nJiGqJGC3ghFm2d/ieRdq9ynjCqJ9werew69oUPWcmzZHmNpwK
91tZ8wPRev2OfP86dIb1WOvqkq/F37S1nH1HidTaX7okuiVNq3wkLr+roT7AZ34ymCFRmqZgFFXF
BElJqWyf54zong0r4DrCLhTpdhCpFubFu5kpe6vOysz+tZahN5O8o9bmPQdm1CNR7W0FPB7HQzhY
xO1XvUCjYNblUYzvkcLxO+UEOOb1xB3kVcfCqi9zylhaQiD1jj4G9IJuDbfmAxFY91p3hrDp1bKr
h/Zz8aCjmkWbd5bX09pdhp0G7qlZDD6jfGshyaHIPnI8n/0cH6eJK31MvpeOhN/cQbFuORFdBKl9
iFIMy0RakJqM0mWnLfnftnG0IKnloRQj1nAtQHZ70QqKwGZ7uHNlcNDl29sljEA21i9K+FC1UCGI
NEgyWc6oPU74IxmKqYsqMRjvqLRNdkRbfyxCNH6jeqYyI4Slf+7N5M9AY9KqlxpKFOdv5exsxQdh
6Ak2L0SNVsFknZ+5HAJoX28nNhBZr36J6lm9leIPYiaKDfQHidsVAtJGaOzGX1B6k5ego82Gn0tP
gpE3FxafrjzdS+V1WK+oCEGpt0u2KovMkmhq8wsQFM2CLg+Nsr+8hFETMw8hWzKhhCG9lhsg3lcU
ak/9oHiX5r/5iENNRPmHW8TyuHdWvmEbTy+LEsk5XvtNDvknUbbaobJmxovGC7MZyVot5XcOebQf
5fq+tugEZlAujeYmJCBEp46V8TXMPTkizd1QjjrZDaorYKBmy658iwa1N1A+BRrPZxdBvwzL/DaM
0Gjo9bvwjsT5ozIib1fY9EO1M9o9ZwZ2XXRxBotPb2mm3c05JbeR13P1huj9Hx/eacsPo59/UpZG
MExGy4U+qD+w/2+8akXQo7/xJQM0/y7LdrZe41xPSU7x57fG8h69zLglTu7sKZNSiB3sU22RhFFD
qpEzimd8lSy0ULw4YmfmiRiSi7nVZJipoQN0DrZ1TE5mnr1VOZ8IClPHIHUFfcJMJoeO74fhMPGL
RX54hZb78+YoHfWtEuP3yAUexLH7rEzW9MGb3rajdrdcXSvfyAgc5CvcDuU376agZd5w+yc923Vu
fTd78LWBckmtJq+DbIvfq2Lp2tJqDi1HzZX2xsu6OhrZsmIOGmvgYiVeLqpp4hyHW+ZS2hGrb9BC
YmjpoYo3bbGyVjoQSks7tlfdyjZoOMJBbcsZwjcLnRlZUt4TEtLX4ts2Xqaa1ijD6Z5htAa/HKZ7
6h5sIeMH15X7iJ0cKTbrXU4RQzRVr44zP5mdnRzcPvKVSilqQ3Fd5QmPil4EhbOGufZeVtUPtzYc
UOeVvWfh6Y/aS7YuaGTowHX4CdqSY7VtcfHGm9iyIJy+64+kYl48xVDcWObRbKhcqVt2ys5rPVKx
Kh8pwZO+IK2Bfj7rvPZrKc+6nOO9V6Wg7AaYr9W2r52yvlGBcbQmHne/quBfS1gjCRcReZxraVYG
UEFAp5o570g/0fwybR9G1HL9SI6D5k0bRQQFo4znOc8T3yuT7EDgTGhk6XCIGf8pmpH3pJrBLSJ2
CEpcnyq090KYWUAAJ1uF174CwIOZrjzWo/ym8JJ9YlbI8lrjBacAUwbh4SSf3/G53FM+RczvChRx
fYlMKxwbO+aCBT3BinUlBpfsn4j5Yq2BGto8/mjXRO6neb2lTfZW5yH8aHEaZHdYYd0uyjXPugHk
JvEpMKtwuUq3vZR9FizaWlIZYmCjLczU74aVdEanUBc6vmowpfGxQda/Nctw/BGq1TI92fryYvK+
6M6MmHem5JEq1/iWcf/XDspXatUfMQYzxHAPjmxQS4Kgn2u7Ezh9jRw6yGSh9Krh29gaQiY3r/x5
QRY/MoVytRc6uusl1knQcH+2MUlWmVYBe+c15XcOcoDMGE4uONNZ2vpVxAGANdx965V4YZNvik/z
sNkWK2X2T73B0uVCT1IKS+Fx2cFa9c2DY82fJkG+xwHz0Bj3y6my2482Km+SMLlwHSrm5j3DnrMY
10aMW+JShjsLpz75BrmPVGTGpKJ+NpuyH42vPySxIM+Zrug6G/zEHYLCW0KT3rvzWr0Jq5r2Y8YL
jdXgSSo5HnJn7AKr+t3h7iESqXy13fVHN1EWjC3eH1ZdYds2wYQG5zSSv8UG/dIL88e6qthfcwad
uu/f+8U7zKl6TFv8HFwJYTQZb4k9EvvbQtvpNIoQAnJqJfzSOMaBkzhvjln+pUnyE4w88dO8vxX1
9OhGxAqiI95jIYq2CHJSaGfehBblu01WUcTQRtAJg2yrzpEa3nHyj1dUEZ6/9uAerkMrkKiPdbla
oemJCWVUl/pJl95HtMP8+yV0C505FYelywixW8QQSE76XcN0wEg2vzNJnbyMi4zWeuYGHfF2hjvw
QPUoMknjL8Qbx1RKGlEn3meD3AFpkR6QT3cjBewELiIPxPKOk0cRJhyXHLAY6t8khD7LXMTgzKCM
Y5vv1KIWX4MyDKOaShRVaO8Sd9NeODWxaIzXlptdE7c9tbUlHjzAlKM9Q/2vItnNXMZASF7pU6jO
kC+u1AWOlIgNiARL6UtPMmlIPkANU6xDlPvYsaoONg/YWIsUnJS8Sungf+yREjGurs2xQkgQaxPs
ExoTmjWsX1ZPBsPAR1rS1SRgOypUoUgsEaIhPQ2clkG57mJJxiy3NtbJ3EcUCgbhTkzvExIIKwdz
XztvEx8/wd6k5BTmpIF63t7TiHUajRLsdfg1YwzcV1rzbZUjl/xf6ZCoq3c0CmCwFzgSU1LVnWQA
12d02sbnUmNXIumVkIwsPbsN/blDsYD7il/YWLRr2c3Xhf39iF7/FeIGYskJ+z5HnEiqzNTdkt5m
CtT9ppxvmFOK53xNnxeCMc5Wk/0YtdvszXdnWGo2oPSSUA0TLFV0YGdwTg2VUJSFuuTvqrBU+XXJ
Vz6mKqH6LbSdi15ndLKLTtvVm6RHs95zM6kOjJuHpurDasR8B6dcdKy8jX0rEDaGdp68jjL3OFfB
ZOw3G1fYoSg4r72UptF4inHOzY8p0k4Oo+Z7RKHZxzyOcg1UhLDSltkxJQYhEC5Zz6JsedDT8l4m
NlxwhpUtcX7S43sUebkABCH3Wtz1Om8Bb8M8fzvNIZLueImL+DwBpm+f/btI4/QZJIjnzz3Rd5DK
4VA4mdpHHoDNkL1RjNuF7rTLTNLp4sF9II0Y569bn8YRmQ2kZZgk4/Dglh3ZpGV2cHCyITR1fLdL
+YVRxD8ooGW5XwKdyCwXqB/wPSnPS/1KKK4G1ScDt0rahwURoDEkVqAR74nd+bGJjOog6OcTvX5B
31OFUmY0FsmcagDyLeoVOHZuylMiCOfaRo0yG4mOdixwmk1d3M4tOYsGl33muteWaX2TxYhzs9EC
zTg8ExjjV5CpG1vaUmk1U1+iYZSwOj9d8OIgrjCZXQ2LIP/oZ4X+xxea/MT04iEan72/jl1abz30
mkUpUDst9qEgZI1OrOWqDelTqQvQHUWgOY/h4zzYu5kKBzoMen3vOfGPssjlyWqYb2rrK09d4AZD
1/aGoE2XeMVTiVc0zNrQnCnbPChsBuFUtR7P3dDuNHaMXN+XcXbW+vSpWIlMrp1s4yt5w1zJC40d
zLjVzZc+2b8LC2d2BkSqRaK48D2hrbSJe5Mg+Cz5GFJcgIBZP3ZmM15QnhyoZ/vVYgE+zcqiCdH4
h2D+wjlx75nw9h1Xq68zYNva8NU4AfXRcOvKIbO3no1wpPHOL2YGZAOMZLeUL/BouNw3LpNGxW9V
1ohBPbQlVst0YpUFoTtZ4xvLt2uydKV4o2jBUARIRMun3VA6XhWqBcDLz9FABDs3M3XTACqE8DGE
G1rY2Z4iyAueMasZz+wijS4lkyY+ZyTAiRbURs8G5oHAIia0DtVk7LHrx2Q1NUgHDaHvtXrdrx03
Q9O32JU66p0kjYt+7fCXWYxUJnpTsmy++NsEIUI1Ycgss/NR9zocOgvRnQl/286w0ivelqJB02jm
5m8tbmu/i84kY935rK0H3XqqQfvAlwbyreZu2jdD8jooSUBO+4QAQ58zRPLaqG5rgiWbU0GbEJh6
86Wd2CFShRFJhEkHrSGTXIfX6a96Z342Ix8enT9GZPiDEQ0PZJ+qx0LTBQA0o1jeqw+jdq1QeekV
SNlBNzUs3OkoG+cXg1nPR85PHKbb3k3ohkMkHJQXBHHgzvuTWRTOCnxT7MLmgXKHcQ+Yivtwmly6
n62LB/x/xPHwqSEdQ07kmqSdAIP47mK0oZ4T/xMbULZznjwZWmyLo1ZhbVGba5R4XkkzIKhK3qmE
vDGuGqKGD/ZY877S4PU8jXhF+lH/Hlk0AY+SM2qThmIfkupy0T5PpJIxPeXPteiv0by0lybqOwL5
muVlEK0Guw8+AlV75optj1qk4SlBJ7QY/aUoki3HXINBis21Ipi192IW1tKmsyL7U+bUVNneOm8b
ZX60bOQFVT/e2XoUsoCp8okeTH+2+USC9STmRzlZ/S3vrZ8CWrwqHvgsFyc3V7/QBcYnSgAf7MjT
nuAwvhs5Y6nZfjfaJFvbpnep80a/dqkX70eQ7Qhi5dhH00NLE9YxthukWQoYJ0FwG4KAoFDMsyUc
V6069zXh+Sg54+KIJN7bw2JQT5e39c3avvz71Wjo8VmN0fV//1xpojyU0iuO2ZUtq/vRSiw+Kwp+
YgpookKEcxczSqJcnw//bf3uzfgAnkxSVeJFp6JXyaH1mB5QoWNRxWcflIY5PCEodLG+8udwHsG4
5NlX59lmyMhv0IGVIGArNReXYhod9Z6Ze3bnEzEQAc9z+Y3qn7MOAVyuETqzlCt6eWvbvzvHfjEr
76dK023+Mdc3q4Aw0I08vYmqWd8qTrcpLft7Ojny1XQP/6R80Jvps0XWwb//hFR492FaPCrlTLXc
E9IJzMauzs4WjWmoynr9f7/l2rtprfOmBnN8LtXJio3qbm9fEHTUJ8Q+3zpCCcJTxS3S3fpiLdOB
ZkJkaoZ3GTRaY4eyd26jZZE0MEf7ChXmJao8ccpN/aXMV0vuktI9U5GFFn91iqvXC5r1DPtCACqx
2kLwws6cu2nhOJf/fZnH3CV020XU5aRriGcCjNIV/QlTnrhX+SBvhiOPXluaNEOp6ZjKqnhtcLfn
0Wzd50kvXokjuYl8sh49t0hu0hzf2oU3XuqDcVS9Nt9tckyeq+g9X9b53i2EoIly7vYEWzhXzayx
9GLm6Eb33thl1DDpR78Nnl5XFOVZEM5yytec1hEaWPerdPpQ2m50tDcpk4NuJOyZTo5ZkbefTcZF
6KryHYPZuR49+5Bj9AjKJDU+U8ziu5p2K1y1DgJhyhLR13VwV2n3XFjur39BIQj0NpsvHWM1RlVC
CmhKwgftLx6SS7Llq2ObGNnxX/7Gvy89HyJKtonj+PfFgALYpWlzNADDjtrkeUihUCJ75fjqLUl8
delPRHHR28EgOtqkDD3fY43QEdPI6c1sVYomemhPUvRhMjTDpbTs9vq/L07Eh7pqt5+3OhkUs6MR
+b8v8SZPnTz9qtANn6p/FnmUsR2rEWkGUmzB6RunRE9WB8Xb9w9olsIBacktT4ftx20uMoZy3Ok1
RiLbQzGONKpIHmTZHbGkx0dhtfZZ6xKDzoXtl2NKniF+Wr/zCIwwaFBbOAS5IGwyLrqme14K5Hck
jpXnKfLUsyajbzJ4mgNd0cbFnVbjkmkfZkNyQuiNU/TKxU4t3Lr0zyxs6FiyLWoHSVXzYC+XJaqq
QNcAZ/XZ1P3arvJHxwI7W+EcDG6bf0xCm/bnErfyXi+aB4T1wx/Cgq9OKeRzra8ftbk0PpCOTp7K
4iNPd8NyXrWDad8c/ENv/HAUitjzRIw5edSZeDfyQcezWmCXoLvzzDZPD1blfc1Tkl6IjhSQCwtU
YWTuxypdTiMWAsaGhDWGQsvNxXIiPwW53WyIx6ap3KO5ta6U2Pp8ZwsN/Pc6/PsS60hwBhoWO6Ez
fgCtX0ZTXlHUmyexecDjCIw2TbHnGcba+QV+lX3ef/73sChwD6xzzgWfFW8wMOAEYlUPLYqCgHqv
0f/3zhNBPezGLJW8hRYCf6xE7QXuSnVHU5G3iDMJ8ssqnyAaRVjxSDIRyTbIZwuPeF5dMxqSQndO
5ouO78an2SnAmYb+B3LkgtY3uhgmrtc1q+YgM3UswvlwR0CeIDKz4zuKudO85btp3lpe60QzfPJM
04uGqmIaHOpo1KGRN6kM9fzfL1PdPKa0OhbEFiABaJ8mMJCnTK06eHbqHbp1/ZSNtI69HVUHk9EP
pMx5KqnoQJ4zbFG5a/OwTlnNSTafMiLp33ijknNsaskeT0B5LFrjPFmW/haIsrcvcdquJAVG2QPt
HRS0LOIzbyYAQmlN8E7yRcl4fG0c+sDkylzZC+vdSBVeQa5UUdnjgUiB+odhQxvBLKS9Nrw5BDda
01iieSnKD2umaLbrmuJk99lbaq1EQCzmD2VM6a3gQxST9/K9FuIpA649UQGBXyqf8nfBjBVqC404
yOT8eF2Li7W6BYso3ZhDOZGxuf3W3aqh1qk/ipmIRcJWTtPKDoTcnVO7xiMzVCMmqsUM/kPZme02
zmxZ+lUa57pZzeAQJIGqc6FZ1CxP6bwhMtM253nm0/dHZVX9J0+jurqBBGHJQ8oyGdyx91rfiqHf
X/PSoCfc1xXN27LatijBzwkizzMmEl5Lq37ABZrW2BAQurBFmDOOodQFBboki/C4B+MmTmwfCqyN
o5RG13YyR/O5CgdJhDO2rXRM42OppM62Ci1KpXQ4GOCr1lyODLWiZjzH9ivmxf6UqaayTHpkomlM
Si1XYe0Er3BrlROFaPesE0G0LItbN9ramoYRtYkMTEw9I9F/A/Tq5eO0F8nUMlxrfphKYz4Z0Uff
UvyaNKYLRBdXv8IrpyGEZJ0IsMkRkbf18uhUzkgHfKja4ffiE4NfaNGy32kcPtN0pZXo9TVqnCC/
wBslWlJXFyjAxu8SyYemO8m6mrcSQwsMa6K0czk1E48vaYnD7Pt9kMbqNVOaD5Egyyp8XRyrEJQq
Ii3zSSvjU4DzGmEW2AYD66o1Z2TVzhC7YAOy6xQFyVpBYYPSH6OBKZovq9DRYvFbnkY1S08txIhd
ler3TsN2VFcZfqG88w5Br+9DSbYFNmQaeR0wE2mr0GFykzI+czDRynDdh1j/czQmCyxk2urxh/Xs
7q6rPT74Mp0Onhz1LebJlCqN/DMWbA8DkcMWOGiVY6CP2bw40AZV6/E4GFRgkfSQTNTFr1rjJu+z
CXisUC1r4YYK+EsTobMKIhtcyWThNWhsby8CEhBxHIG57XsMEER6+osgfPchXDzlPg1sij9rb7E/
WaqdLmA+cFBSYFmoAR2TpD9ESRe7dthwsfQBQ05wigtzJUhPcIeEDnkBqmoIAFcIWoKPxX8MJoC1
NdcBTG/yx50WUPF8GLSR/beTZjRhHMrkWITM6SvF3AZG/w0NB+awKmANcUzoSEGDlpnoDhcStrMe
5TAd+/kwNHbtNrQ6TQ86A/toa3SjuaUX69FZ0ruTkIlPJPegtfdKYKCqrFwSl74lgNhOuEsyN0Pr
s6gJnOEihbYqrbLjJouCwsTtt03qejqP+VxG9/4V2I+zJW7E+L33qZPefsmAX8ymxlfgBuapE7K+
ZdOuklR/jyVnCGrXbJuSWM3k4o1eszd12FZZUA1ntY/QE7MUbZvGtrcKuteZrttvaIcxivHI5mlJ
5921fnEs0QPckYAry4Kv2voE9C6qLJNbwjEWSUDxUXdRc3QG2bMXS55SFp4Vhqb+lYKm3CSkG9Cd
krB0upFU9V7ZFl5tbjCAWPfOZoGY4nlPb4ZsNmWwklILt1oiVw2IeKMCRZ551A817uIc2PNUhtWx
roxgo8/0i9+vfAj778O8AiLfvU6mRo05ssEBHREA2plrOgV5cBlhcsuqYlip8yUjMHLskvmhDvB8
OyohEOrC8Q58UKJZJ2ilzCKwF6iahVm3VHw5yP/aQ7vZ0BQMVQ2Zhj9t5UzWx/kcHxl7Rnu/zN5y
g0YlIU66G6WSyICQcTySa+NMap23spKG/PcpfbVxyu1wCyZs/cHg2CPK+cKbfMJkAGxI8nr6954w
pIuZ078gTH3lY9S7PK45SyvEKrIa6+T1RuYGqvZSRZrbK4P61iOo2jSt8YSJtroYdKo1KcF8UZUu
eGnDVSZpsirLfFbx4hVJUSCL1P+eTuCnTSch9VotuVK5YGkIRsPx8VEdHAf5c/YCTdIPL7i+5FVQ
ll5ljKqvzA5D4glkPv/xNPI4wExmDlYoZRs/mOsorlK3Tbp40etmvhpVZauGUj/LhsEYOwV9F3WO
fhV1uRnZnJ3oom3rMiqO0cwtwYLgHayq3RlWRckD22KVdVUMQ9CPTwoaQZaz1aTPSN68sw+YfgiO
oo/9PnbkddtynTqZvNl0pbdtg1mgkoBLcb54x9Fsy4M2Vd3VjvJ0b1PLEwXvd9fHoRT6TAn/VJPp
ZqQWM2+KS0cM18SbvEM31nCoTJQ2zlgcQtkc8sjMDlXUOjdT9pvHzaCfCJ/4fa62uUFOanDRFE4H
0cRkkZGUAJlXs1dogY0t9Mx4rzumuRoAQKFrHqETVeQNFL150FqAz2iEy/WE9wmyr2Bk7tQUfxMe
AUhl2T3KJ+Wd7iczC1P6W5lN0dJLMVOVVTQ7qSr//DhIXfhnYnhHMlyrPUNXdZUXkOdpIELNDHVi
m1ItUm5cedQSsXd3BBI90aL1za2pZGCIZzoqxbRSfEdZK10Y33UDKDgUht6T3A+hBTVMSbdabtNM
KcqYEjo2xIGUJJX5GvfqiqbTGAW5RxaSIjcWi/YimM9pPLCAG0BgrCVlR+VXtTuFAylh80G2yTuL
wsAtJ4wPhZWXG6eYMHejw3geqRpas2VEOtj1puhbZ4ft5iZr4R1ajR2ggfTarfGeLsL5f9JnEV5p
ld8zQHMHU2+DpxC3+bLU0mDXdR0gG8RTWyRDKHNVCx87raaNBQII6asOhVwa585PiOAKnHFTeXVy
dYQ8P0BQcQfOn8jb8RC2iLby0LC2TcxMQCY1jLUqey3bsvf3plnY6Cq6fJk2SX5AJOavOmfqofgZ
+aJom25T0DnNci09p6nZ3bA9FdsZDYN0SDt5oXmjxVM/6RO9jDAiLi5t+vcYb1KvJAlAPIc7KzQl
RYzsvbSkdEXvfEWjXh2boLRwXDC3Yr477TMPpVlaiWAlRru8GrVqbVX8mW4lA2AXo6/TeVeIDMnS
S+aZ9orwEIBdlW0vHi+9paFNmzIJVo+HGGxY0bKAPm+DtAIBUrwyMzaGrcTWxGs64Tmm3a45q7w3
jUMsrBz/tI4UVipopz0dGKXl6eCSPdAPZesjUMZmGw1Kfe0aiGK6j9OjaJxXHfg+tRNzeDHZqBNm
Rf1S1yp5pFyTR1MnKHsI0idZ5rvYc8LrlAn/We8DbkB1pGxFgmQwF1N1UIOm3ASByTzelqtW1cJv
qEgBUyDQPI+D8iOStbJOTTO79lawfSyoSlNsYiF7GhC3wvfVg7Sm+KgE8oTUfe6nzr9liOnE5J6y
UgTCkKnV6+cHXalM9r0zGGdISQYkcEKhU8vwT4YWMtt3mBajSm3K8WrIWL/E9rtnKlQvVQ/SXJG7
JGzPQqR0rBr+DwyEDF3YvdBS0XV3rA9FGknQkWqLyeKmth1T0Lmrxa6FCPVaOYu2eXIKL2bBNL8R
uzLtzQDXMT+xY1C+Z1/rrX5vtLSsWk40CnC/OP62spNZs+mk/U4wt6SwsrmpsU7TTAbXqE/fxwms
xgMD1WrOtdBV/5B6ZuDKhFLdr+Ve85PPErK8b0bopOFy1msziWfSfO5cNC+MTk6oAuBg61tpHWAG
Y9rVDqochPH5qmfr4j64bVK33supYlKIG3tdl3ZzLOL6NcAAeY7mg6zlhSCNzC3hieh+v9WtxLxw
AfQghgwaE/j4UresJS3HUn7UWg5uIe6Dp/Fni51jk2R8paK200HIdm113GMKOJxjI5TXUqdHBvPJ
Zw5K6GeT+lcgSeHbUqfffCgrLdloiA42aQQ662FFJr8qOLWsa0n2w4Lu0Qi0lctahPblr4dpaXSE
BTTOb/JZrHbOtmCMi5Mn8baBXGZtU7wIDe2tqSjjugXSwh/UqJcGtOCt5nDzrWNkyQR7+qcOljYo
ggjXa1i8qP7kKkGEKix5mhWrZwz+4fVxiEcKAhkX+gFPsvKCOGiRqlelsYKfToQ3HM/fpxbjTeyU
mHzcfKDNZmyD3qd/BOMKigC2v5WX4c2UilOuc6Xz+LsUNNzJC+tc77Ps886tyqb5xoSaa9X+ZtUY
T4vES58cuyBaPWAfXmXTxosh93t2We1MtatuSbYaLDHvU0b1PVd1/l5OeLdThvxW3T3HcbfLJgWY
XYkkwA7M2m1tkomK0hxPbLv8jW/kLNqy9VxE4ZhxLKiGOpGpld92ew991SVkc7xMEgd62mBMhzj0
vuhUoRl3HEhrLJosxujPiIyx0Q612VkZXLNXS7As0GsVJWE2RDWsLBRDOxoKTI9UyB+ZVU53M9TP
YFaNi0DZL4wYK//8KMEgqwtSw1ToBN+m7E4L1XrPTJVm6pD0G32orfeW3hDsSfOFfho2VeMNDF63
zkdLf0rB0hNLXIQHKAZgYJl5tmHyritjua8w8awy1ndCBcYnBR/U6vFRGDEofHxEOi0Td7VfGw0y
5cgMtdvjYIQVikELFdP8VDvYyXmey1bSZkhZNgeKxfTepJN6ncPd26gGaModnGq5GgEOdCo6sfkw
OQAG6EU3S2qKWy9TldxM5v9w7HIkOljybTQDRyRG1iIyQDTIPnD2aTAJnDTsCJpeZ/6r9KfcHo5i
QtBpaJRDQ7tncxodjLmaKImKwPARP0uIR+8wSN7wGSsUAyAqQpE0p3ik+u6Zz+8SWL6EU6Fg16Gk
YIWwPkssNteOUrrwP2g9hrfHgbEt1P35BVmZ7lzVr8HC8hkqfnczdTyJAR37G6pldpdzVRYP8FVy
MRDeF6W/YrSw9Njr+FJiJlixr/3V57J47pR2jVqOLPrEc6CHSbnB23g1UZ5ZSdcias5Xk+p8DjU5
QLrlF28r4hK5/2Mvv8uGN7EYQDrk80WSx+WN7ZX/s+uoxyo4UOgT6q1lFukLoX1EgFu+QEYdIioE
V6FOzXoYFEwLtWUL+owGBJjJ5Dz1wRc0I/KPpAM32KEcJGs6MI9Dgf48tspvMe62pR58VqiZDxUV
gllXt0zF//uog7u8PjuoQzI4h46BeKuQ3CjZcKn2D2zLyHYtVKf03rx1N6jRoRycCDW9hdC4Z5Xu
ivRAzXFgJLSBEevsSb1Rf4opIApkbm7XIRIXj8p7nSi52yX9+M1Q57CD1GHcQXERK0p9ryd15N6P
Tm8yHITnGMtdLFga//+nWgIK6QenejZRS0I2SQ+aSBWA42vyjfsFwYKGO465eLYwJ62jphabx8NO
y2CoVeIJDBc8RJtpuhkM9s+y6C6h3uWvfV1U21ohCC4nI/45sMcfei3Mcx2b6QL/mXFOR9xNGZqa
XT4h2Vu1+ZCs41E9MQvGGTL3Rcu8rm8zSIZ9I88ppl/fBk0mLmyiOTXY4kv8Rtl1KX/OVGmJsxhG
wIL0QtOkMX+o0fiT+rS8kxAbEBh6YbkrdgA8U6TEBW+gxQKjTGGxTTV64zSicCzPJHWjZkMGDBkX
4kjnuZ/s10jRT6SJpr9qqFm+oW1AAql36nZxR0yBzF9FeW04TBQsGAO3Kp9lkKUT/xB5u+1KikZV
Z/pgV/F07AwL09H8tqbWcOhIlN/qSOiQw7baptDLn9hCcAbm/p6lx3YDxrwrf7K6J5W+TYWJ940h
LgIWgUXeryPtQIslXU+4ca9D8WkzAlvCCenfKAJgU1tWaWztgT9wmOftptXy8ATgKDzZXs6k9K/H
ehs9VTQtdo+n/nr+8VEeNMxUFLBKTur1G2A2Ju4mdTr/dbBqQNuW9D4ixW92j+cD2Q0MCcSnqjWx
shtpQh8G1MuHUdba3msNcYdB2r20PyoNhSAOApyaVTNeeaeZ1tnkUrGqVRcvA5nkNE74rQOPRHqq
Ee/FDCGvmnqH6WunDpQWEFHMu0eeFDeH8VvHIJQ6QwAfy52nPELKo+kfuY6vwldb40WLuMGHfb2T
AvTXY7+KJN/Yt4O1yZnbcrmhmqsdWoaPpkSpwv0Y8cTcS11pbrG3Fa/wqdtfxUj6ihbRTRAyTw5I
KTgdJFzIjl7d49CrA5wNBLa84S+0BfZO3jonaz4onVqoq6HWvjgvja3va7m6+v0ZHNLbulcxgv/n
V4P7msAFTJQhXV1cB2v6oOGh7R+PHofS88WO22HBnSYXBXYotFyVHA5SVPnK0HFddjh/kQ9Uukvb
/FbHnnF5PPU4JHkguPjB7fzTJyyveRGyvFQF6G27CYKTMuk+xJXkzZ5KcozUzljz7k4UWtpXH43l
O+4luv+TL/elmabv4yqZ55e5IcXeqoorxSqdYUsz7rXesfsmgf4VxQxnmKIWL6GV3afK3uRtMX7v
CVdbY9VmsA2vbw+bbjPi6H2a+px7tDfqm0d1HWUHVNLLPPR1t0lK9I5NoiySsfIETlGWdHpVH4Yd
sAPTsmbnj8gk4Mh9wbGajXdVDt1Gr95UVd0rPvCsWuRPEFnqpV7wCOQoQ29ATYzQJyxji6gyrjEp
sKWqfw3yjdY/W1PNirZJgwuQ+hJpshHpCOa7yNU1pNOKWrnW7D5mpOWgI0zmNRWNqkUboQre2Vao
WPJN2sFGS3gbZdEQe6sUHhpG0KnaKNFPnUnwTieISKDx3CNaWQUWJFUZ4T53KDdtNHMMtzF0FMAU
QbPkB1Wvr17fIGmqg2KZk4DVNFwgee/NxEAkwQSWEYhDkDVDZJ14QXaiSjvb0+jSIXtvbtIrGYbP
35iB/KRFEa8dxf6Vzd1Po0WUz4h/2YoKbgcbw3VJqJ4aBOyRe/9joP9tUmcSLQlkMAdSXHVZecZx
BdOY9p7nXEZdIbs6te29SqxVaIAsYQBauImpb22YKku7KkGUDEd6mN0lxbyWR0a5KIupwZhqaegI
02A9mWytW+RojqgBYmJ4kREFFHeyH75H28anH4sUYrZ+GuO7h/xtkamiOI0FUmXfaLpdgx056bGF
0oB0h9pIb1PDchEyzy0MWmGzBd4xon3npce6zY6lX/dLgukRveg6FIyQeyT9t9XYflYeMQ7U1AB2
c//aKrpzVEltKOwWoErHLj8scGpTzdCxVIdFSP4uzAVk522+j4S6zQfSJAy7Vja5SdSUDIeSBR9T
lwmNftmk5XdVBSCRdETn+hqZjZ5R8BW0NhVxDq24WAY+GlaJSnqQuvGdaGSCj+poWU8R8GBR71OU
HLs8xKHZ6deA2e2LHUh8F2NLrw3pOomQW8VsvCtaYZrfM1F08ki9VQfuaGyCNmrcO/uy0y70YJIt
w8iFApJ/7+VhuO9KZVWxp1nZ5Axg9AK/NiVAQEbPfg+qlKgkvVn3k2HtSEgLgk8P3/jdg3DZt0W4
n1pYAYbNr9xgD3SzBo+CH4lFMsu+8cqYhCvhEUlXXWbFxx4iY+U3tEsxHZVjC+7FtwbArYyfx0WV
DxXqifgO3YDJVdp9gLH7DoRjBKGoN5uiHC5DgUkOg2gycywFyqzVaA3vthFARozJnUbl7Npm/IJg
z1hDPGMt6ihce/OTTdRa08wPiSZi5ciJkmbYGFMsNnpXN/OQlARkNsELrS0MrGTpRtU7z/VKRJOE
aM68I3CLIAgZ9U0UcXr6EiuMjjPdf8ehSqsx/yR0xthYvdZedHSklgEtcSqaTxzn5mvBQpk7+naa
vLcoxSxajQwqTYyY7hBq74qFjS6X5tUPRYppDgO2EhifoWXxTgfKd4dG6SYb2p0VdLcCqjBlcbKJ
K3wWrrCc+OKwQyom5yjY9n/Xg2YbNZG1Fqy9oKI434zys7a7Ty9mCmmNeGM6n0yMYiy3oAV+BFb2
czCTGQQyg5Ggri8D1FynfL4UbFUXaxOeLKKXrtoDA36buC13hEysW+u5oH9w0SMI/L4GagGK/UYL
cuMYhh7C6WoAoEIsDzcAliqtgGyjw/sq0WnLEUeE2iWEi+dkRvQGSQbdspbFT/JvzqEuiytkdXrG
EYAjuhqAIqv4o57BPpI5Il1cUa5EZSHBNskRVVq37eVlzIxjIZDBMyO62hqccsOZwn2jyXCWd89+
ZUoOoKAoDbpTS7LTIo6QfqtdeicmCM+7V3zvSnQYY4kJ1Ju6chVo2nqqMsOFfojoOTpkoMdnNc95
sLKr0zbhupD+IS7Fl0LrZ531xS7uE8WtRttzJZceTZ1pWmHg7+nsVJQdeY/wu0WNDHj9SwH+CPrL
OZSNHaJJV984k97KEG4h2rmNLeGgGLWwuNT6DDwr71gtqlWuoeIzchRpiglPpE0/YK7BKgyXWelj
phYauN3XugAom6TtU1wqjtt4l7LCaY1PpFiiKkWFZDLBcGKQg0NvXZISIs3o92jgWHc2+lWpuXfQ
Y/JJ+UMrqTGQp97T9nqtJHtMhrj4g+pIDLpDYnoerj2bsAbj3vokQEBWP00a15qoxuikDMrXkDSX
AvfZtlCJjxh78VVk2RudF3RRHvmZbfeSVdO3atLOeoCXHYtOYSB/piKcSac63BuHTXYMybgq34cG
NE2r9t/KUVquqPGm9TyPsRaubULFOAmunSAf3Zsz5QziGzXbpRbXh9XsmLCvrT4UBy6tJ4A+7DIS
0iaHEUMBhDjE89toJCw0QhJmR5ncg58mdLw/S9T/LjoFuOBe6KbOQEKFj9OkUcrMbQm13aQZ51KM
G3UY2Wd4ZXqOe7nByPAx+eq16YoL8X/aya5jt6z8nSRo7s2e5SHIdBLk0uF3xwl5UaGyivjcU+/5
GU0rlnU0cxot3EWuhNFm0D31rI0voxgRlwZH01IRJ+aswZqORUkz0IvAT1fUOz48vOu4oXdDmP10
4PhESmutzSZdqqpGt1nLm62tUXmUSq8uvdFHX9aY6xZ388ko2L9n4KBkpSEXQTLS5eknLcLu3DVo
Ww0yFGhgLZ3Zjo/IcgWf9Ubgsr6ZrOjWYQLzhuPU/MwKQiRSaWzqVN0Wif/dU4uPzBxQM4FFoPUO
F0JE54zwvh0DhUWsbBWlpcGr+Mlaw3+xZdJyI7f4FUpdZOc/taj4Hg7dr2IwUdZgydnQrO0RM4+n
vgIRayXFF468r0jPbrihcCIwE9jZAxVh1ziM952wcMVQFS41EyPkU4n/ZVE4EH70inwBhIjmxmZW
8VwM2puALoyVO6tWdJcTD/B2FucelufpjrgWB3Wc7eIQMGnQ2bcoQRTt5A5IJmAUa83uEYGZKMhM
o102xbBPO7qzliAfxqMQvFcGswOhwrMcVnGErZzR1S0U4BBa2qdL0/QPTVUb+17ptrK2lrKyp2OV
xqirKkdezILu7XQJEMl+dL1ywwC+7omjeWlYuaoZQKnJZ07r+lwis58SKL+yszf9V+OLZq0ZQB0a
VCQ5SuGmI9a00DCrGENwjOqcQ+lvLeyxE36tk0NxtWjijnyLQm4qMwXQqKg/bL8QlyL11Av47sZW
/J0DQ9IVWbxBTUXpM06vwQRhtDLi71h+lCdD1A3JqEG4GDz51jC2W8WeuNNAkIjRzGSH0sTcjbUN
ToFIHIurZMegFrpxAZnE04f+kuJqTdNGd9ku/8+gZzBkxDNCpck2YC37fYkXNfJJ9RlVumAw5ghw
FQoNEbNHqE5MTOoXZ6x++rPMi0NnQcMa9BXqHk1HzjuIy5AF0S4LrT176U2eOAxXGGXu/JgUhXy6
y9hjI2/Qcxw3/01+1hz0lyejn2f7j3/7mznn2ZkorQ1p2JojdH1O1/qHIEBjQG/I7JmzKag+6EIy
5DbDBiOvj2FkFO5YmFcvE9m1qgJM03HuX5gWfKml119acIoJ7noo1rS7t17l3Au2cCdk0d/5Xrlt
x7E6ATb9mU9ZfRIDbERuc0CZ8LuTCmsopxwQ0vCfmXhIwDXsZgkc6nIIngYWCiza7dEwFHq//VEP
QiqXChoLg3JzMLB3e8/Yh8r3iVpjiYyKacsA3KVnq7OxMf5s0IuqOl0vS1a3jjCIS5WmTyGdw4Uc
wuIc1NkHHTnCrgbh+iYjs//7+6v9H+lktm6qljSFjqFTMkT+8/0FdsPubWyYSvvc+eKITFRwQ96t
NTfYIzkZaivcmKm6JrtzvAu9QZsRvpkiOHHjVDZ1AReQ/uER84MALsNamGn0xlNlR4CJ+jbhRMJN
Xfw3L5sT4I/zgr6hY6vS1ixL6qpq0Qj883VXtQRelLTAAx8jn1pt4jOOdRR0ziiPKM3SO8vrD8yw
2W6iRvyt6oH4A+FMMcg+wv/H6N3s6SRW40YZK+n2tlO71dCt0VPFz4YWP/vOmG58lM+M3doN96EW
xWaq3jFpqvcWa5pSQ9GbsJuTwwHbQS1tMJPJa6eaHbnMUY8butagV5jBymyAmmK3AmdpEMiQ5wAS
PDs8IllPD34+DasSHwilnr5uvTK/Nq2on3gDDNBjZFgoBaiyOiqY5gt6rImahYcQcuMSBaCJ+bMP
uekMXChNFLKuw5vb1YDFoODh3ioL2+ava8KVKzHSs1tsDl0GWykOxTyihhyaOy1nNUzgSYsd18fS
CDMXKC8/Q8OppSnbKNfr0yTzYGsEo78MEqPZ4AgoXbNQSBGYD4+HgOBfI5SYm7+eImo52ND9e4U2
wWSviWkEcpuL148veXz/41utQJLEQPKN4U3BRc6HMsPErGntcaoKTCRkwy8FoPGVPWYMaBmUsYpp
v8q+tq9YFhbl3A6t/N5+or9FPIkA166xf4u7ZgTzziGpIWe0po+jSEbnR/OuEPq4Fx1iGJ9WzHpQ
soRNREuYSqjRF8lxFz8OUsgXFNXGFrdXtMaPlMOKKa2dUyu/6qhLcVLDKiELMXcfD404vIwMlOxa
HdwpTe9tY5Y7us10gpXz1JDsNenaqXMQs8JA+yaoZvdjoMOcF0VEJgNBAUM9yptWFYhPbLIqAGd4
x8chKxMwG1YNmNUIlGOq5lT1akP2DZXireoL/SUECeko0fQ0ZZmGJHLSVj7VoAh867vvaD3OMyAu
uk/KkDYwLGvKfilDsncSevZMafEojPwtnMm4asUpth370mi5ca3HsxUbysZsG8e1ByQRfUWgtqnL
gaaAqbvk6cCpL6rxeB04K4+4rCt02qYPAaEmB5khjtcuJis0jg07S2Ue92JWS9yHkpRygR7SdBgU
PzsTiVYyAK0+waYScWmlDa6SYqmVvXAH3cENq43KnX4Pg136uUuarBGtdgIhslIMRCBznTTz1ZGt
HV8mO7II87euyOKFz4BOr9LibgBGhPQxEQYxoxCYiTlHEwvHugfFSiZYCduflDTQwOo3W4DuMDoN
gxkk7mvi43fIs9xaBXLehYUJvMHaQoo3pfXSsobK1TAML8iOqNMaPm5lYwWPUIgwUA7d0fY/asTF
6GvG4zQZc4j8Mte0kqgPme8bO6r2mlOwuaB/t1PGsD6HXo0bNkcL55UOM5/5uYj1hgQ2zDNVbbPZ
YhOAhtUuS/6uin6wFOdMVF7Mqy2CIyqQX54ZD4zjT5Q9xtEzTAS4SfaOksA8WF7vw2uqsDTGdbqu
DEydI7tnbw4K1QuDDZaa1euQHLHtkGZISBTxiR5k/BbMwHcnTw3oiD0jKCjHtTlglkbPniIGQ6lq
O8EXvmNtx+S12KdwMFc9y82yHhWopL1aXCN98neYfg9W4tQXPaxMyu0ifmkDLhGlcXMjTY7II6NN
V9vqWbFo1NiVk7i6hQ7ZyPuTjo99ZaBWpO6MYPOMbmxH0Xs7I6jHuLUIYhD0ZVBsYKhHjaJ57c+H
k4kc0GkRKW8EJgxQtlx7RNYEAddsX9ErH2gZOjsnHaxtqDZfXdCltzAZynMmVGvR6Hp7RoNprMdG
D49mH4+7Tuve847eTddjdx6sYZViLR09Wb/V2bfQQHTs6+ySqj7JqbBgeCbduTHbeT6k5FsMJ93F
lo7rBeIUEgJz8TxD2Y+ZXRGJEixUT0dVC/frTDXITHFi3yT6TMHBV3WbNG/nN3QetpJwzy0vWzHB
kB8FdKRj1MO9any/d6v5YNADXLadZq7hsXAHtUqxY1yYPk/wxXcWWybSjSh2dQ+4VKJBSQLuuQ9J
+FgpNDx+Kt0OSFB2oNtUblPTm5b+iN6KKQVa8TQ9GbwLb2nvgWT1vMFl1Kz9DoL9X0Rz+5/5v+ce
13//13+M6v6nh39/zlP+/ev8Pb/yYqxC2qN/fsff/8tw7z++Z/uZn3+kn/U//6g/fjL/+7+/utWP
5scfD/APhs14o2U63j/rNvn9Kvg95q/8f/3k//h8/JTnsfj8t7/9ytsMXtL90+eq+sdAb4cw2f86
AXxLWFrSfFbVHyHg8/f8DgFXzH/RgZDbjmWoSImE9UcKuC6lLhxporfRVEv9KwVcl/8iTNPWVd3G
eqEyY/7bf6SAz59SAbyoqjA5NYUh/r9SwIlU/aPMM6WlGzo/kVcoTUOT6j+Veahdgsgs8i8BbHg/
7Yvn9C6+0Ux1miX2aqYI64/YTd1gOR3Fri0XXDbbeGcdnMP4aR67j2ZfXOtz9pzsqdA/og+xMnfJ
MxZc61f/2jBO+FGv4ePtx2W5dnZgJPa4qdaMwvbdR4D6XFvQx3dRdN5KV/4IrsZXuMtP5lEDubRq
EwJXFtpr9Yxs2qUYXjuXZpVsAGguk338qt2KY7+G+7UnqfyOuH+dXMc192aaTe3Kfk7X4c6AMLrJ
LugpXvphyWfq23SEdnNsX7H73eko/tJcYxls+m1zhDt7pi7feqtmF69V19ogtPqKrrnLqzyz0O+8
1/SuMLf5ZX/R2fNt7AhLf0fzAKjRrPDGIeGWLuhSLJLVxdmYO/XFHy6lWzjXn+2JNg4/1j9zo3KZ
crzyFh75Hb6gPG+8PVhXVy7VtXnILtYCCscmefKetX2+/d/cndlyG0nSpV9lrO+zLDNyv+gbILED
IgiSoIibNIqSct/3fPr5gtUzI7E0kv1m/81Md1W3RIBAZCzuHu5+zmGAy2b5CMHFKluVR3Wvw6bb
L9V1+Ml5BCa9hpB+aXhwhG2Gb7m/ruEZ+Gxui722dtdISG67k39fIyKgHPybvU02xsOcepA+Eiua
C38dIbK1LNtlZKEIwRHbduGpgn39S6oddHIeB3PXLemiWo8HnXHR4zwss6Xz0j6gJKnD1W0tzM/z
MdtG9+Wh2iDCE++qLa5lGfNc7SJlWuJduLPX2bbYBAexzx+bm/IpOzlnvuHZXcPup67CHa0JDtOe
bKKN5dkXfQscIP4qhQ2f4c++GzbO9+kE0r1/di/ArJ/1Q/tQY8UXWgi2dmGoWxowqBYpW/VTtIYc
w6P1c4k+zquzn/bgE8jJr7KDdqc8sD+hTQ3zuyjb2mttUZz4fS9aikWwtg7kblQovBbRJvXKFxCp
i+q+P1PSQIJGx4sgf7JEYGkLo1mtetoj8NQwh7RrrUbL8tivaf6iJfgLfcletYGpEpHG0zlbLqD7
ukDpu0jX9jb9um4fg2BhXeHBCeARcpimG9wX4cJZ+ctuSSVwpZBXZxTVLTvNh3zd3sH+R5gHBzDn
jW2kLsfdSMik3VHXWiT5ESKsYAH1iWZ97mwIr1vSvshXu98hrqfXwjKXo74d9VO7OL81awhJyJxv
8ejIkXu0lulPICsezCeadBySVNmBn9Esh6QSylDNGwCcBdfllaMtt3Wxgh51AhvFVkyPWUWLecel
b5GbNHYtBsg1oXKAreZtpMknYuuqK39j0Af5Wu3nZ9qcY25CK8I6ROP2/hvSG2dwfCHMFT1Psa92
OQ2tr+k+ujMfq+9IxG0n+8H/RIP6ihh3nx/hElzr6jfzCUAVbFR33UPpcR3T9HVz15/A5pDMPZlX
Y60toyVEeHDiYY3WhbbObWqhCC8AAJNKp5B4xzaC3CSKlvAdmAmYq0cDmoZ+oz/We07wwnoCwwBI
EpVFpIFsSiNUFBxasU7F2fjqiIW1AsBIIw19k+tw3AFHTl+jB2UHR7RY0/JTbcbvsPou1Wr1XECK
gR7fIrlXVpxponpEGZF6fWV+1c9NjYLls+W5/jL7VsI9vaJFlVz2BBYgXsxb9KCFA5PxKv8yUDi0
trDZc1ta1Af60JuXcUnhdjVcYJxBqsWzwoMOy++8AnnBhmiZvn6RaJSnzWVS3OiphNA6gaPGf/Oj
dK2v9QfYErPwTDWg7fdilVyluvqLcbDFKX+qsl323D1HsLrS3OVsS3qTaRraAMB1rOXNhtAnWjTX
JFxb1rVN1q76DJVOAXSD2xO5jBXccSoSaJ87F8a5DfzXyW5yX5nr6YHkO3QID8ODfWVPQT26HD+1
FyqVkBIo1qLe02bhPdg7jRv5ggQgYhLT8DV0kKC9hyd5eG6e1Xuy85JmYYUeJfXpTacst3rn5U/K
2bk026+uB2tvpnrciMqTYrzaJ0o6y+5zddfBetisgViftOACRuuuo00VibSb3T11GYwPUHEKWBaK
XlmOb2T7NjKdvLB31FKWrRddhtW0IiBe2icUGtjIj3zOZ5QG70PbhPNhzeGAvzfcQ2lbnoR7sr4g
5bpAmwL6jxQHjNlAk36ZW896BF/aprL6FTQQqD+kIJBOAyJumDcA/kgAKNeU/OULTZ/w5orsFH1W
88/aXd3etGBnI0gTHJvveguhW/lm1k/unZkcOqoIR0PdeNUK9u07s/P6cfnUr1bDW9asUOBbcBIX
I4nQ54BGkhMNgYsSsGOAnVyVJ2iPse20fC5GG7sKTg5y+3UbiwWEbWgkReoZh0UryltDAdzJr0Zk
rK0ke+ZaDb6x85IHKK0UMBiUrjb04sb7bjd4FAO+OBfnE7TrkdeeKric0Ff+wv+0p3Q/Hf07NBS8
6gu9uzu+ikUtl9YqPTrQgUA4tS13Fs7FuIW77gsl7+HQfdHPw9Y4mAY9L1S7F8kZEUd4Qj8P5lnb
0qbuiTXPSkOrtrbHDX8I4ara1jRdQOGoFOucBqJ2WUbwnKLzsTWdFaWkqtzBreTPdKYBuX2GeCv4
CrtC7aGTZitAhuGdAC68LuzNPtyzydjN/clAnRoxgG3kvTrbEOROsUbKDd0Yvz0Dtk+5ubTeVxg/
VGPzHoz+dwft/y+F44SnvwnHuRHkzbfppwCe3/hPMC6Iqh1Xdx2aXVRKiD8E4+IvGLQcm6gaWh6V
oJgseU4fYvjvfxnuXzZRuGuTxAXXqmokcAEV/ecl3eU/tq1pmqPx8n8lGBfmz6G4YRvkGjWNsprg
1qCZ7s8Z1762C3JfVL/DAuZ75MZsATtD6kXueTYQI9QqmCKvyXDs9HMAHaLrn4VJSyuJJxemneg+
pn/SoFMu39ayzIt3qdVrNL21GP0f5vU/t8H/kXfZuYjytvn3v/5RNPh5qBY3nh+LBgEMsyEE1dTH
+1sDwnC+9SbulCZ/ei61IvrD1wnzl19owINmuYbpClXO3Q9VinTys3JCAQhMLSZ9qEG1Ke9/TmG2
mMUxP6rZtq+hsoY2OH+ry/uRZGOCtDH5mJSiz/1UvWXws1EhmhsNu3HMYm2hSJL9anEdoucBR+qK
ox9BZMGH5OIq2nrJ3CtVSDfwdVLgmAqf7eiYDW/0Q9Aj9TbUb1ZwD/uC50ez5wr0FMLjAAKMIsdS
fkpXXgVXp+xYpc8RvW1Oh4QpqPvxbUQkSzkgJAUnnxc+VO26jrzZeutH6AXFm+iujgmcS7yRPxzG
a0GjOJ9NXQvoYEIha1i3/hujS8a3ANWP+q0mHUb3MC2dFDNPzEGqX7PuqCfHmYYGvQmWfYgN79+0
MV4AGpCRD5V7uJ9QUoacOC2ulnMV0T0IYJghYi+J3pTg2PEzup+Go61+8r+b7bWwzsp85MVUEqoN
UB2U17AboZY++DSbx9GbQzTAD21LWZjRSs0QKaiW7EsDMfhpuAbQuwTBMWcxdADxjsW2DshSHmsH
jibooDXlqqDmla3JQJI2o1TufNHaeCPfmY0KxR8CzAPBbDy9DfAbcDbkPPbQF4RbvlEWp936WtOG
yG8Y/hVZSoWZ0dWJ5L0AWZ+gGDkdRiMiBLOuk3ZGNasvj2kCIRjxEw2HPE1OgljjtgJskxnTGUdZ
xPCOV0vNl3A0mM4yBEFou7X5t1KvjotjgtuzfTPDe3kC5fhV6wvtFhEnWqEznmHyhZV2bUdwGGQF
tfierzctoPTsP1N/o4FQHv+StxT3rH3dvcmvJm0PauYKvBTsLOfaOA/InioVa+bTCnZk9DwDO5ON
A5emar1hJKKUBik6FXqx4MeJfyChXwEtxFrw4XHzKLWf4bytj6waPxEDfznkEWU+Syx/bzHEh0TD
u3VzNF1oqmYLCyLun0+wrkROCnQF/4cwXQQSf4L05OiLm4KLNVqGAIksZZgoPraQkWlpDu8x1GfZ
rWL/itpHhiDzWIkYkgEzP/rOLUlvBsLBvx+otLI/1UMxba6pWoarkQ5xP9ZDQzqverrXYPKlj6do
bvwzthdp2lqq4f3NoGD7+2+0tF9ZftdxDIOsKVVY54M5bdsqGgZ2Ex1Qew1WWElaq070xA0bH70Z
M862rmBO5K2zzPECGRyXaNA4l9a8wGAEycT7TMAIDxcwPW6IrlF/g73vRsteTSdrMV3kb/G3qDmk
wdamIeP93REFDHo+3P4CDtFrYYEfZMFNXnLBB8vPrhpyqoAhbOj4igG0Hb0GMXjnvLlFEDCgbbVs
0oeZIDQVx4LmF7tEho6Pn28jECTZP2h6uX9pCUwRhuLXeEPq3yC1lcNSVJ7TUSHL4AEtY4Go4jIT
GWzPIMYClOr6dpE4UGIHr/KR5HwE+qUNGCC3zCB+4Hts7VKnr5StF71DXZRBm+bRZGsA4lloNH8h
8wbb9Q3kypKtNhfhzg9JGaj4rPHCCsvZref39WYqYx7LkR0rXQpI/ghjkPRzvBBCMad2N/kDOSzm
H03ARVbREHPh5VrhwdE9VeELvrF2LI6cMKe8FYjdyPGoEBnKYROKrP062PUUzszwKwwQKEIyQlIN
Ew/GuLTEpumRTjJu0+UEtGfTz+9LnRsXVlF2YzIbiCqUgScPAbUbEs7tguExqRXPwrtQzY0pzncg
yv8+cYVjAsswubjWKxu2+qjPlkHCLBQ5bNBcMXiqkJpWF2SenFFcgcIti2eT867rGmADxNM2OhGt
HDuDed+g3LhSVVsmJGbk3zPoUhqFE8OA5M/l38eKNBTsE/l0K0fnkbSZqby6BZiB+c0v93Ch5V/B
hq1YZ7lqtcbHwd+GXJiMeBR1LedPPgnrLb9HbsGBC60n/yDfPbNZQpfnYp/KLdBkPEvcSd/FCtcY
Qv7EJLJq4GcWBRMNgYAGIku+oEFkVtzk3MjwJcGnqJw26FWRCUEWcbywCKN1s1AamC3KjDe5OTLA
py1DSjTd81GLAelHCgFnvq0/+fEN19dXm7Lc6GBVsp73GO4iOI3sEfnB7yaORX02mpsccA+AwpQE
+SrgQPtiO+y+9DYbGRJJxoKWPjIrWMD2IkfIYKk5kN/g5p7eBGPlJ3LYgXvJhZAsKeBo/z4vqgOj
IxoO+VIaL7nTUs6w/BQ4l1YFjKGKZM8O4T/SLwil0PVImxc5WQyvfFeZRYi+M/sRy8qsOiWZFE6U
3Dk1NI4MNq11aY5quOt5amXgF1gO1MU410QfVbAeQLNxLBTnFsA4UWNU5FPldeZRQPE46yqWgnVR
UPVKnTtGksCeA++qDokSA5CfWUqlEz7PiG6+IE5j5c0IbwgvWkf8GUKVqUtdz4DUJtOWc/h67oC8
ncnhZMiHSOVBGTbS3SSa/34K5LN0bFX5MjChhVxKfgdsAXCFxWARe0u7J9h7TLmiYQenC4yJKAxg
nLFXPnlSFH9AaMrJlKNl+PKFWj054ruqpO8vSL/GNtJpkWBDzdkDowpRreuqHMb2o3R30kKxuRrl
UigEFbIVNb7JqVTEzUXaFR/U8Rba8z15djpawjAaTo/gGMOUXiq3VWqycEsxu74LMANmYjn3cmmw
RAITHJQP8lHlenEq0I58PzvS02bvW0iueQ2ZsjSojKuhBdqGsUjlKt8hAt0s6LAGnyDXUcdNw1cK
a/qGXcDDoXKycFBBdNzXWDlHOm3a0NzLQclf7IZNyhmR3x4jAsV9aBEaj6ayGoQmPYPLg8i5lg7M
CGgvN+k+SHVPPuSMQ6xgHWZqU4d7tsTD4i/kHpP+QxAZ8pK0irN1NnxP6nODK19bARqZ8yloPkPj
s3QKdS33sdy7copYAjmaiS+SRtDFAMqZpwjMHr1IG+kwzwVet4IE5P38JLrHzKC0gPvRL+/LwURJ
04mXqI2/7bB0XX87jY5wVTplEwyl9DPv9pWfSVc50gUmvbr0RmF949xJf40x41cV1GwHk0nXpOv0
y8wLORMcZYzf1MAigLFn9uVH80Iw3vhf9qXNgZCHQv68NHmtvk2c8kBniIEOd7VMvpFDHJLlle1j
8kUFdNocSeUmv1mGCbSCQqaAScFFyweRdi3p6LbFjkkfzpfJ1WHBoDAi8x7/ISL61XXPsYgThaOa
qqG/X5V/uO6NQTkPsCygX+C3C8PEAOMSZCDCM4JyWDRkmzjPcjplmCb3FM5W/pH544kzbsJT8DAb
R+m+5Hl+P9tTKp0z5+tvd+pqfBLrJX8dRuObPLjSdgAPcc1DpqAFMl6cAXg+D4tZk7tQmvsqq1fS
35rUGaSnTbEZNXZxyG8mgex4kbMif1hxvNhFQctWZZLQGPu7LPtTVfbHe7hOJfBjtOpYlua4pq3R
Ha/Ke/MPEyVCkRtqgKxUFgZr+fw4OPaOdLq0KW36+gXNRvyWOR8xvvhB6UWlHbJw2XL/yz9D4fD+
/yUTjLV1IwEztEN7KZ6HAymNngwxmFebwjKb5vfxr2b94nbPUzi2RZ+c7TrGh9u96EdK8RZkVHJj
sdoMNdJecgf9yfe4jVUPIdpmRgk45FMq0uTYtwn7K8MWQjvp9XkbkUr5VbEvXUCAwhuJDKW/s2uC
EOy3DGi4O/A1YuoWXD7kCTEbiHAwLnPwkDcwJfWoqMw3+fbBusl1HtBYkptP/istpoz/+CJq9J49
EYZz0oggZOAjX5Eekv0ljfbAKGScgWmUCCb5I+ln3m0wxjNNHmF0Hanv8wk5XrAgiygjAxkEwk+5
zn3sm3WRsej7U/M2GUwSzbDr+BPhDRcE1Dr4q3Q30jdKH/o+U38fThmmCDimFQUT+XeAo1ufBCzU
2CzpMOXGlU6yzTJPRhTSj0gHIP0GKSlayb7SzIwrumGI5LUBJxEx5zJeb3k+eQaVmGCYf2GzhBFo
YXFP7l0fZsuL/GTsiwxMfPUoLTyWRpptKuZyPJq8BCSLzD7LcwJ3Gz5Q2t8S98PLBDvguhaZfpRW
nF+He2Slqhe8knxGk9nnh0r0ID2xXEuUK7byqaTn5OsxnHL5pa3kV36/bX+1aVVIttizAsZI90Nj
J7ALcDsdKSlMDraIf6SHkx6Db5WR7++/7lcXaAAwlmk4Bv0C3KR/PurImAdOH/39fXKfBeRf2PFs
NbkEXGtkDNkiiqQDequavT6BtMZ2M/VOcUcgRUgjr3rMMis54f6/M3e/H+Sv5sRWZUsDqRus0ocx
hn6n0xitw6kOhJM4vQ3WMviREQTLz7y8f91/d4L7/7uulHc7/3/Pg0Nd+DpHP/WkvP/G33lwzf2L
Rg8XulHsu0lvMos4fGvaf/9L0/8yHIc9bdguSQjDIjfyv7Lg1l+m7lg6yXGaT3RT+yELLv7SHay2
C8sDS26Y+n8lCy4/6AePZgvNcDlPZOBJp9MtLT7kQnqAenMvpcYNmuMgM0Yt0ClQcJEa6lCq9EsX
5O0ur4RFaQ6ZjQQHvZ/9PtmiXf/ZLakV1iIst/Dz3Rehq/3h1H9omGF8Jv3cLokhl4mijCCPwA8e
F0NQq/VI1s0N3PTUdVl1UC6DNSNpGiJ3FtDkCbdaewC3Q4NalW7QoEPLo6NnuKUq9vvzptkfZ4vR
kFETrBU5K5W5/2k0cLKMhq9I5YjqC0WKrwCO9PtOT+90V6ReIIgo/SLABsPFvegjxCBVBeM94xXS
8qmp0I4vw5yKFjT4HrXsPwzvH4tp6nQ5kdiiWQmz4Mrh/zBZPeRsQa92CleqVW3C8jc35bSI1eAt
gVlm2cS5v4I5EVfc5gEgoPBLKigf6tWut9wBTlqxlTD93vpDNlL72VC9ryIzICjquILBiQ+1Ftg8
oBVSwFINnTCXRQuX8RieNDWe13Cd7YoutXc2eppIoI9f5rlrV46iUcROouPgA9504IimhTe5pU21
Qcq15A7Y3/1+9sTPwd37IDkEOsTQLgfBEh+2mkmTaDToMPa0WecuZnlRC0QfMj8oB0HnZ+knqlni
zoFSeaf6E1T45ZMwgLVlgXic26Le5XX7raCJW4b03YuTJVyuI6MH8uI+xEM57X4/ZE39OX36PmZD
w/6bIApwVeYHD+ALU53V3ApQigrQzigyEK0hRd9oVkYS/qqb7wpDeWq64CkEB7pRrDFctUZ8Vys2
YD46kneA1mleb5Kv4zAXz0Hif6Iw/RndGtjQWqtmm9KogpJ6SS6OCnYYAQnTI7QNxkibQNvSZ1Aa
Wr0tYHL1hAL7cdOhCRY1pno/et/mEYm5NGpm0jddtBr1PNg1Clzeqm03J0vtITej3XjWJV3diFYG
0sfrrLJHMJzKGUOIBImdOFuzK0vke+aFC8EYaS0bSZl69qFDyULw9tHB58Z3YPdtA3pU6fMO9EUv
yMNESYMSdaD4624sxd1EoQDEF4L24Pt0GJgXlVa0q6Tptj4qdAc4cCSdYbHPbLMnKFfqTyVv3UN2
g3iHAL40wH3RyB5zreqmdUuMliq6OFp969l+HR9qN87WtMP2CyUpa5pf672bqFcNMhdPQavQC1so
CjTa+He5NTWgc+jKMROo6F0n3gun/NJlsMhqxvSNHL6/SZMZxWIj6rypaldBquXIWxHkSYJHu0vN
9R82ldwz/ycl//eeEjRLYt5U55/noB67OMwsFUREtxSQWB5TszU2nWHv6VKdNz58OkxCKry+GCMU
EsavqEPRCkVD9OffD+X9yH0YioWbE1xVpMm1P2xvEAIaN6YevSW4oHZRR7JsngXyq13XrDO9aDzD
qLb+pFrr3g1eW6U8ZFWzyozcRaKueIVVglBZb/ptptp3794KQD4SSLolWFuavxXg7EA60ShqFLqA
+vAJyU/ifyc/tUZVH5n3P10ifzW/xLFEsVS5+UfaoR+stAMKKEP2V0HNt92pxA48nQuAvFsDFdQO
qa1TkRj1NdBiNFND/6pEueENLpSiGsg0+Ai5FiLVbnj6VI7w8L44vR2AQ2ystdbZ35VBBKugh9l/
KpkLmsarGa7nAXzfAM3zSp0qIIFD2HtmrD9Q4xL0htSHPyydKSOHD2vH7ZI2XFwSFsr5aPOLsHMS
paRdfni2ilrf6J3uLCxEn+wRIeA51g9xCaM6pJZbLp6I0pS6783QKQNxtMuXmIpv52fNnaGMi2lS
1H3bpdF2hp/ujj24bJqu3g5Z6i/HYqCaKpy3rlaafYlw2diTzFT8xl8mjXkOm75bSuW/QDlUxli8
fIUHAAPUB4c5NYMrwr33Ji8nRZF+duzwPhJgfOsBBq0gTL9PDnIDsBqsFVFO9KltzXqGHSpMNTr1
UVJDIrVpwbYCh6SwAImHjwZVUCn+voo7sYrn8gXEjbuC7sfdjOgoEWehDFuO/RdthFc+nR/4qmRf
TFVK75FJf2FEfiyFpXURT2W4N9S590Tg0OvWWtBSBeKkIt8Gw7x1jvv+LdbyYE/sY64KTDIyAQMB
nITrqXqE2I1oDk5XPdplXT/6YOMD292WdXZS89DeCoCKCEKNtEUF/R5g1jMyd1D2NGFPSqeGZs4+
G20MzzocM6u4NNXrICJa2lLjXCL5g4KbEE8J4Z9n6+4ysRxAPF3fALSw0T3QJ/hUihE97Ii2TT8F
+JpU+TqsBv8FbQjP7OsNSC0gR26xon17N+QQzbR22e6mcdi1yoNSmv1dW89f4Gpu1yl6j1HFnT2H
Iw+6/TenG5Qny45hyNUwRvCSDTKLQep0BCVebt85U7FWT22u3TlqC8Grb5ySsuV7hQG+o+Wpgt7a
lDYOM2vUZivmMt8k8LvMqzrW/RU20AUf6ls7vJXnzvGrAVXEokbbyxu6DDY4s7LxA3BWDuFXwobm
aSxIDuKuSag5wWFUJbY+q8YzoER/74737wSsTmU+G1r/HJhNsu6lAGBtf0t9tdkFyDtBitC0J61o
aAsciqWTzMVGlDNTWhHaUvelu2EIEHUYEWtMFOYVzO1SgwZ0oarDNz2DriyhjqPo6HuJWT3qKF7j
uMM95/LQIgCnEykvQLXQ12sP3wM6+LJJ5UsyivJwKH/TKxQWfZs2X2V0qkXQg/sFiLaAs7GDwXaZ
xrtp4IYQB2OxN2DL9pC1mjwKvaY3+5BTQFqYedjWemdX5EMgi1HJ+tT1Q8gDM7Xa5R2nkgehhdCK
ityFPnngLWzYgKvvSRPuaji90FPoL5oLdYWCsnmidOO5l5kacKvtDoZJcq9W1H8zjU+mD6AO885V
7X/f5s5/m6wfs37vtfKPlszhEmJyQQKnaX3wQr7lj/kkoIyBAYcUHYJskjcfOE50FpIDy+K5att6
TOLW96LJoeoUtTMsj+WffMevAmmLiwXdVDTtWMKQZf8ffAegcA2hVozq0Kg04Y+QHw3hKCtyIXCn
qPdqmZbRfXfAA+QFdC0lvHsEWVD+nbNypk/SGUh5xy20eYibqPoNlfV+8fsZ+2UoDbgBt22SVnbe
M5A/DBNImjlHhhMsCxUxxnL0x22XilPsw5XnDnazHlXiUFtARmlaYbNK4bIF3vatbHKPRHywooWa
hPfQ2Jsu0jsSVtVr0CdQlPr0GvsSwW5Y3Zffj/pX60zYo4PzEIBU+e/Pkwvfed2MlU4wXQ6QPxW+
2LpTezKqYyXsCTUraD0SM1G8RirIaqG+Y8dBLu4E6fn3Q7F/4Ty5LKkqaQOTa+/7RfSHCRzTXJns
lH5YOLVV8Gc1HDjOpu8n2OvRZ1v1E9cj+EnKwwCSeqnCTHKO6tDcclPS4QqiBcBN2we1cd4w1+1j
5I7Pc0orey7q+CE0K2DnJXwqg78pIjaEKaALaOFca8tiG0f+TCELTCvSaCT5quRQZO1EEcfdFp2W
ezWiSducsAzdy/Z1DAOaoqvA+JSjrrkbnPl7mgQQFSLEbmkQHHbBCK+UW6MsC92n256bSLLKdHSm
QmXk77uxh5itq/fBzDsHo5fKfJlYh216LOaUeja800FWvg0VtqRBBfe+GY9JpYItdMHS2VAzpvr4
WJN8OY4upMngX19LAcL498ui/9w58h4aOw5gId3gmg2+/MMOyYay0EVD+xbAcIhaYZXoRq05oL6O
8GNlTStO5zEoUVWq7YZ2tnz4bswFFNYNMEMxw0tAJXHuzOIw6GLV4Fiwd3ayMrOVsLDtvvFid+Nd
h0LvKrHgxWx1wJbO0LLzM/xRi1YZDcZTue7FYS4laTXt5X1S5qcuQUEHRNufolVpUT4YPxKL/APZ
n+GwI38+FH6dIlumogFq945BA4gBhxNkJ1Ak30P8ZdyFo1pALgHPVu+q9mo0QNEVoZWcEiKqAhu0
gLohX41C8/exIELpb0ES9w9JOG5pLRMQh+uflAwaJzCglB+mrNjHI/nTCbHgVT8W85ILv7EazDzc
NZVEP+Tqs4JI+0s1XJtAVKffL/IvzIAh06m0P8LSoGnmhywK7HRJWkV0jBF2RV6k4USDkvR7YFq0
TpHiURRwkYQ9CVeLnrYwVPNWYmge9InV+cNgZEbp5+lnMAJ3zmUM/mDrg8GHpFMVdUWz2lSghVo5
4dqGbg3yzGgJdzcBfwPDtRAgZEiJlUiYhnjSTYr4tBt0f0jGvT/5x8Eg1uLYXI/IRRgfQnrXLpUk
LhjMrAAmaxO9QQGmvswRAKm+jM519i13yn4Xy7qCM0N21RMc7AxlQigKLZW6Q3JZC91ziIzhIVKE
5UF9C3Il0sODG0aPSkAWI+1nfz80lrX0Z3M8Tz3hhj0FEDNBCbQxUwq5khIc2A7dFDCTnCe84kn0
RGrDbG+aSBeUVVpwyWWt3bVGAOmvA+ly1j0VjfD3k7tG9PQhgGRtWaDgO9T+4OVkwlYtNAK+Rl8p
1J/0uarOTqnTo6um5jGBq8+ac3ebhKLB2/fqHy9Mv1ppptbBwqjkfGVy7weT3ylzT8MOIONByhBO
DfLTOSdtnUo7kIeoc0ol4zAN6xUEUahH9Mai7KGbNVFReFA1GcIrPpSlEGZlI/lPMwybtRprIKsg
nd2XFZVcaD9f88YPNkqMCo8SI5KQcCv5/aYV/0yTvuemud/S5g3bifj5UVzVR4u2U+nwBX3u5tsW
7odjYOVAmF3aLweokE1/SXdWtrVC2mUUzT7GMq9B92cT+Ws6P9stjMTtyq3lwdNNZV+Foe858XQf
6I249pghpc3FGsY77jlKDQOVo7/owfYPj/LPlKohM+TQFbuASv9Z8TVGLelpluE6hhT1pLrDGvi1
eUj15AXfnyCBeVcH1dUtB4F8busFXdc/DlZOBow8IH2DysHww2te1+6+1JRpUYfxBg5PA/UVACDU
bMw1IZ0Ljbvq6W4+3CU2YLjWD+0/mHIaKv+5xcjwC8d2SPbr6kf3ZZVoIA8d+eFolPXAFFSUb/tX
2HbRfYmzs6A0vwb8D+chMvfcVKf1pIHaaqEWXqhaHtH//NVGE0nrqpsQ06aIAw0fBSWIpmblgrhv
1SYIOj4C9+qpHBYJYQLcVZPWnb8Bz6W/2G8+p2UoaDACqWFQZ0TITjUv0LjBswpD0qexhUetGM12
O039JiQXhqUR1pOpoI+hxXeow1gPvoLhpdO6p8PALTyrK51jXs0vfaIca78tT3Mjbg4c2A92qD1A
z7OqB7d6gAwg9ohwatXIP1nz2B/H2jY9e+ZyNRpTDbiOew+5SmdujoiOFJsuRFq7SVWY/CBY7/vo
KGy4BCrT5Pav7KC6AQqqqgiYbPyHMC7PrjvIRiZVXQ5FacN3TydYTDYhyKcNWAm0+FruhVYO0zCs
o/O6gfHAS2C2NQySfiiqwHApCwdGNTufokaMSyWgkcIYCZEFvIw3hWRVmhuQsLZFvGujr6TKXS9t
iwH2doE6M/0tojJulp2RtkiyYZ03JIyisFZXCuLc59yXmNMAJoI+LFs0WNTnqTPVlwbec3ooqqdO
bc1DRDY+g3X62GTVk2OSnxkhP/hDAhs0yMctCVAb8hsXK2EJgt0PVk/AyDpYwUA6p4a3SQs4IH7l
sxUM9Wk2Qa/5zrFOuyPME+pz28/XWhAnteP4DQ6ga+Gm7ktmh2+jKK1NFD7PSX6pWIAhyoudac4Q
WM4CnEIR64uITC2RjFRUzzVvRisvEsWrhb5hAlbEswcwuQYXkJkVWqXlvM2hQ14UcQ3OtHEPNXq6
qKqQWIpli3fefx8C+jqNEAijJcpNbmjEs+j9rOKu+YTIEeLJ8eylUNFBFbOqpmnY6b6+HjsgqxBv
lp5ZEZCbLuV+repXsUjzNfxiIJIn7SmNXiBrG6E15OKbxA6AN9d4dsA5Dgk/hmJtQeqQBnuKJQuz
UF4VvyBJQe2poxyAZC3RYBGot3oyltVsk54Nyj0x1yUgucb1HiDYrN51Nl0gmOCYmj/8b7G5rZHG
g0gW5lPI8f1CRR/bMfRVKZ5Ua1pOPADiUmTpuyx0yG6kuCbLXfW90nioiMis/mvVGPGqqeOKpuLh
c2cS3ZdhqxO3uisUlR41q6e/B0r/SFbpGhqckmYK1nREaOsATa+gio52E10yTZvg/CFD3iGoaTrx
g12NQAnpHyT5R89h20xbh7Cycwg1wxnyW2fe24mSrawR0xqjl7QU2ZdSqGdBDjERnYPyemxDaW2P
bIWesodi7WeRo/LoTIAFgZ7N1istX4hZweY3gFuAv/5qqBUEGmiPjYiS9XpZ7YNuALksk4ZC1Gia
deWd6Ff9bN/KBqME+yVNpSbd0qNG3URYX6pR+1Rl2bhslDBbQ2M4IkLBDWPa4AbKtUujQetwr0e3
eqZBBOpkxO7AYhBzXlBmBsachSgmIgqU0toHYlC0zl0RP5l1iS5yx91AcUD8tskMbQBjQw9svlBa
nS/o7Ba07YH4NVqvncLwMTd1e1uW4G5LRfUPlWA9xxJSTDJdBcVdOC1sX/TLFj2SOejdgyts5ZMQ
kBchbLUrLRe1HR9VzT6+j0th79n06qEtdDJFmg4NlJWwPduxnVY5tIleGibRUjGF2JmaCD65IC7o
kyg/xxoEJUMBlUcHceUQPbhSGyCeEBvT+scgLaqtURqYLp9+wDFs75QYBZ0wj927MjLdu7C3H6Df
sXb+BBVVOJb6Qk2s13duftfIephvUAnMdSM/RIHxqEsZDBFm3/spc3b/k7LzWI4babbwE1UEvNm2
N2ySTVJ0GwQpSgAKrgoeePr7QbP5RzMxirvRxEgKsRsok3nymCB30pu4Le9wcvwr4sWdrNusSxQe
ikwHsLgq96ZJxFI6SePIIIJEXLphLvy9i5PTISlpkImxuUy5Ue+y2NM7DFO8bWD3X5R55aovrfHE
HWCB1P3oi56Elc7p6o3TIEgMIF6bJZcclAHkwdY49eeSmBZTB91Gd2G7NVPpkGAhHpogmXdj4t1Y
VrPwhn34ioX1PnQu0V9B/A0lARa9KcrGEhs9qGlOfZRgcbgRMv5flgL9SdtP7ULmpZQeiQIkOOR9
9GqqwmY5Diwqy2KO0vuyBoOOUsIisV0O3M7b9EDbe68ofjadnR7TXKh1gJRS2rVzm5iWggk7PxlB
Up/LqWq28TD2b7iD+wo3+aif7lXk+ftMQjOz81ae06GdIDfq8WoEMUCvqB4dkIxaEiYdut/mJmru
Gz0/zH6w5kRsj0TeR+R3NZp70OUJBhHa2169YfkJJSF1841vxI9kHLzPJItvHPvdFmqrYo9M0zFB
ni7JGXMHiatCWlOK9ma+9SeMMFShThbJbxelGkAFWuxRV/3WxxeV87h6abXZXGMVnydss9alR1yJ
HMdxQ2mEaedY4pONudZK85uYUuEBOVdcKwZ28Pt5ArjqPdzfI18mSNHare+m+drA4OnQqD4nPQw/
bBLkX0qvsLdC+6xoRAqpVB2ImJVsS2swGMsw5yh1UDzpZQ6t2uYPg/l/FOrL7Ws7BiI/JqmwB/5e
qA9tMDFRwigvLhc9P5AjtTfBLlNQmwdHR1fcs/QfWtrgnyAKfbWPrQqdLQRE7zdEwS8Cb2hIqV77
5kj8bdOlG1F3ODVh1U6yIwr/EHSfw/HaNmwzZeVPKOaCU+TKiekBttE6MJ4cjAeR0NvpzoiNo+OD
/Pt4Sw+sRBiEqTpaNhw0Lp5ug1FkO4TTe1rae6KwrYc4M8DYq2kbjwaW/zlXX2YU6MaYwK7LkCGn
zkO6xHH8GZetvKJpQTzdYZqED2DtJ9HRGakGjYIAmH4gPb4npzAbNTayFklX+CzmINd3sZPx1qaO
w8EoPz27ZnaKF6iKenXfBom7thK/v0lbXqvohThEY3uCjPHSVWF9cT0Vb02/7LcqjZ/w0rIfdLc8
LyzXnaQRb1jvhXDGh3pfD1RNc6ack5WW4VbiPv46JW9zlGzrvJ9gEiK69CMP0nNLlHAUhfkZl8Tr
XxZYjJL//z2T58JHMwL0vbhF/VbT0arKsrEsJn9qgrNuMxkgCTukqYAh0KF0wJnXf9NQdIkoO6d9
Lu6mRtnrqIowC8mxlDMJ1NjVU3XMeyB3qyI7GLAUNyuMlhfbQqzI8kZhky4xc5TnbPhhjS7HRGd0
f+hl/2WM6UCVBQBDbuNi2vlbL1sXYuwLjmEKlTwlLUBeUq99KWX12jpRSMsn5+UtuNgB1ymDJQrs
uSEApUFzha1+cnWbFqdDgWF/VjRnK/SrO/y9lqjHY7O8nZ40nK1w84/Y7MPd1M7Z1hrVsK+6ZCPS
ESC6Lt/61v606J9Li5oI32vsZTv/FT+5/khWElIV6hsyuzGAg0XcFm6wz6IGZ5Nidp+SuN7p0srI
acOJBMbIDfOr4uqF3EWgEccar/VtRWzr9r/XwW86uwUthZKN+hAxIs5H3q+D4H8QjTRh1NdIWD8u
o/r1MDQX2bhvsZizTdZnT7ZjnUQsrX0v3EvkpteW+L7hyenG90zw4QsznP7Qzpv/hNP4SPCPgHB9
5uy/D6UTbM4GuycTbbST53rqnxPFULoesA7MUoFUAz8C3FIhv4YDdZhImLyFPRaKueKDDd4fzkL7
nx25C598IfQx0wH3+Q1Q7iMyddIsZ1BiMlvkAzdr6iFUu4zpstcywgVDRNrY8m26NaHMmyJgUNhI
PjQxzfogouR73gC7tgG3tEBxKxbfYoZr19r0jnMWgjvT86KmkEhDCnDkOgAGEjYzStx2SiLs+pJU
IW8EtrOo7pMAc2q3vLYWoWZWpC/DNDz+98L4jUb/18JYqFaex65yuX3+fu20nkEEbgCm7MLkSsnI
otQIjqGHeVwbYkICqN+spybRsD0cTNnKIr8rk/kBJ07YBEodK5JJCRTMb/MY1/gUxsZRZ+lE10jX
0c+ACp37bibOpg9a55kRcbTLEjKqMmyLEqdz1nU49dtfX88eX3sgkz80tv8yqOPFwh42A8ZrC1z6
96/I6LxMq1zHpIj674bPBHfyhrtxrsGFlrHsNLsXJ5J4bGha/HpWP0KiYf7a36IKce7UXFt1SFpF
781HIbduR77Wf78I61+2g4/lqmHRgnO+/SJB/88ObWrtxWHPmCl3+29MHfaJ4eL0Zc104RiFxosH
f5pCnGEnlqhHVt00UpjLZ3NhVgGS7kVFZmMm8foaMvqLcpDjtvOvsvL9Pboh2sxQvHKhnf77k//L
RsYfAqibwJxfa+g3KBoRxhwqj408zTP+KymJPDJNwn0zUWd59VDeFYl7CeaC9AE4g+x6Z+vZHqzH
6mQntf2HjfxPHi2FDOMRbyGk+bz0pdL6nydZpLlrGS6gVBfC4ifwiJZgcOQGMulmzkaTuE1odoPw
n0hhmKhHrPfUh/zwC5r9xf4KZyghPuEPC977h6e1XFJ/B+59Pp5lLCxah3bzN5avKZyhKAOkfuEQ
mTcJeSdh7iPvj8nrtD0Gi5MRbfpC4zebh9Wx2yEh/DYZ7tN/f45fdMTfPkdA+Qrrme/Nf36bZniT
Id2BCGB0L/otmglzXjXJcDsN9XwQJCDvrcZk2uuS+p72idx5DtltiQZ5HWbU/alBwmLjtg+DudAL
AGyJ6w523UxiBQ6gJXMJN9xnoSZTHYrF3jCffQoefyb+mSsVaRNCWlu7NaWuUWxplF+EEAyU3dHe
17l9o4KYtJ4GAUdbNPNuLpYkkMJ57K3sOi1onTnEt2UWgETbgVqLqGMuW6qnIEI5piq/3coI1UoY
uR4ok0oglNji1EeztfvvJ/kvvGg/YDJse/7CIA9+J6tCxcQTtgAw8MqyPAbPER6WJ2xm64YRKaNV
oqbQiKZY7xqD4azlQBQHKONWN0l0jgha+MMG+MU8+O3VMi/75c6CQbFh/74BqtQLBsPnZpU9/JZs
AztvhEVLGoxTQ6LzrUUpE2f4/RjLmZ1N1aHP0aNKwwY5trr0ndnag0q9L0LKhyN4bXy1Z3NbYxZ2
ljWh6yQwGxDIsKIYyX1dJ/1YHzKBaQNnadZlJ7OdrINX0Xr7dtvAw3wo3SG4TgmQliPFjR1wv03C
T76lGPrSj1YfTojLgdOo5lrAq17bVk+zmGCZYOQkhf73O/slx/j7I+JdWXgc+DRd/5zlyXQ0J4nr
83oqXf8oZic6t6Q6ng3XbCasBjgzqDWWNqR4nCcP0sbgcE0TKJlrQt0FCUBH5karxlcPcdmE+6pO
yVKa63Ftl806tD6CPnf2lC4E1E/BTyaX5pFAr0+7DKwTjDC8uiSXKhlTxqbOOsRqoyR91SfKVpvA
W82Cwacj9LIc6zHAmaR22svoN2eIwMUhyfriHKVFce6NCewxwLYkrQsLjRg/UTICvWvl/DwzUiJX
AISO1MGvxpn3ndXdN43t7eLaxL5wIghLTtHGM1uP7I72LWu3Kocb0HpWsVKQkM6m1T4Tj7RRKA/p
MzCfwdBjJBrVU1efxCIriJ9ny3VOmrEPVCwosSC+29DL0p1M3HGfU0TY8tFq8X9nGnVm6IQ+INAH
5Us8jLPXeP4E2eXuqupqF5aEzP31S2j/4bX/y9QlMFB4eGg2OPec3znalaNkqKwBR5j4wUhgcgTl
l12Ju7THYshFQTTkgzjjkoAquaUKS8ubtCJKNaBvCOSMdKybztCJsbOutl0zPqYjUqTOiq5FNRMY
PKnjr5FhUKTdIgZukHBkf6gUzOU+/W3tUs5bJlcu9Qzak7/fb5AxrUy7GG0i8qj2zFv6Y52jnx2t
8pIejBkXySh46CaxjVo53sKSKneDRa3qXuLUGW/4mOGG/FMwm7l6g6de3JQy+P7fO+xfRvdwMjy4
URSXIXqR3+65pOE0bDqWSzkuSc1i/BZPME91F7hbWRCoOaXQ9qOZ1NycQfm+ZCeNKhLrlrynPzyy
5Yn89sSwkTfwvUKJ4SLK+PsT87STT6HCLwkWLJZRGN0Bif3h+/6TkMJRYixX6kJYsJ3fFWA6yLMK
D+gE5Nsg84fGsj1QaYw3OiXDFtwC5zlyl8925ZI90nlsTEASoyepKM0JGjOj/GfYa1LS7TjCH57a
urDyE6zqXGEMqaxDa5v7kCIOrSpb9Sbe95Q5N940fqkUHkobd5qTVkHOtyOL6eEwfWd9pmfIx4zo
B02Co9Io1PIhPBvg5PgKqn5vtHBkUsmUHWy/e56mBvG4aZ+s/rGJsu5mGlty7MtmwKjHfh8cOhQ8
iZBSp/NahvmHZzNTC2s+QOq0mHkTQZGz2Jy8MY/eJDHW9J6JxJn/Qvlm1ApaR7jiMfeY9PBpa8Nk
vHNvwxbfOK50SKxstzZkb0wTimjrUqbbY5GcKJPis508JQCTbzkE3U0eWs8NOUSbJCIVK3VJ0MAu
48HNmU4WdXxpS3o2mbTZPpys4j4P56uunQvUO0yY6ukylbACu5aUL7Lp1lHuRnCLoRD3WXDpyU8h
CADDJMzhkaz3Ged3WiUPsUd8YaOOfXruVZje9gVUFMKrH8WIn4szyrsefu2xihpx8TO6B21EjKYy
EojTtAFewNckXZNi6O/cHDd4NoV3QKt9gfJjnv1hNs8DyemeletTIpRxtjQGm44dDxsANfdkUzSd
ag7gOHDEfrRc/LbFUPxp+/7zlFluRuzfTN413LdgmRb+TxU9EhgydH6MC7DnfNhTnN45c/9a+759
pMVSK/N766XTCdsqex8xy1vnfilu8qlhqJfNvC65CEsM+CO5JHacURc9oYVTeRNn+XaumhtIYfIw
QK48sWAavEfx0HSC8nuDt6ZJhxi0vaBY8ILVoGp/D8f0Fuu1hjgMefbm11D0oOfVmtH9u9kWOOzm
fnFwWhK5/NQ4WGN9O0RhfRUhVpsMU0rLNW8su72U07qTTnQy3Co+JcUP6A5YynqjgjRsSLhuyjXv
In30gyQ6OUPWnZOMI5RrmXijUlh3Umr7jnxiB1rcrawx7k0JAro1/bq6nS31GZfu7QhKCOF21EdM
/q+5PX8YDYlpsYONk8zZ2i6AdW66KK6deaUHjFMVyRckPjNQi4/SpXAuRxcmPGTbNgs2Dd8w6pkq
W80C22lyiXLYsJuMiO9DajL5HKpLJi3gx5qKz1UdeQVEjEwtY2+IvMZ2rp0Bcp/6Jd/vbwflP5hB
hVrHHstdQeUDSDhsXBVS1NVedBygjyXadM+K5vFcQDqE4n/OSeeG9hlj2qnj8g+9uh2YSzf+t7Pa
t5cTGmTIDhfc8rez2ifFeMrkYiWsu2hFSIHZuZu6Ml8a8gp3XYMV1Tx9T4hu3ASGYirrxRmRAfQq
TuE/owMiN7JJKVVCwr+HOGFz6J09J59k/Qp8Lc3vvo03bi7ijyrKYLQo1nhFvrEk4mFLFocFLURs
QrJn17LV92YWPVKGfpURntFR/E2VqKzm7p6LbC8AD5uhH7cqajAImuettJMXD/v4dfQGYJUdW3Kg
gMAAdUKWPswg5tZNvhcTbyEea7GenGqncrPdjYP4ahroAN7MoYGDHKVIDn+8hG8mDaIyGhKHfKxl
u6QnfcRzr9S3pFEwd22Kx8HHYxTXeoZlHqOrQWTrYniqovAHOejWKmOWs1CRFc6B7nd/SlZTy3wK
hSHVPz7hma3plGf701abjlW56g0eD/NcrWFJQlxyV2mDzlRVj2PRb0UOLcD0oyV4BWM30vQ+VMuk
vmuseCWS9hw8paj7dqULn7mbswd6ngnSud2vR5VQSZJuktUBelVgvMR23ppCbRpTj0eX59iaNvZZ
VUPMx2i8TyQe7WM9rwwtqq12H2sWB7Pj6RyQ8bCewmSLKgkOOoPiEv7fVrqVAd/d3XeTf6t9eUrL
GGPrOitXhozf4c/fEFl3EYHmklI8HPiy4QoGzhnuEvmGkKD6Cawxj+XaRnQ3lMwkyOPFr0SJV06g
t6lgHEzYjIMFEgxL8njxCfEpCqW/kZ53B7WNSNeq25LNi0uryG9lisNehifMuhIJGWLiA6LSOSrx
lEj4Z+jlCA1XWAmKKlqHPhKuvknmjShWU9kdiYj3uD27YNvH+VvMqHVW2cnR6adIrHtm/TaHavoj
C386TXZlkbyFAd82Mnc18UEbWZCl1fr2t6hhGk1qAsYNsf4amrBfNRx3HhnApPKSyOaFCEnyl4UQ
IIvKoz3sMVqulLXuvPuglR+mFBc98FUZiFu0+P0PT/YHInfwiI75HTO/2DKs1rBmMJK0gTzTOPs5
1BUP2Cm/SRyK/PhiSf60m3SwDm3CxhLyJ2JTfpAf+JhGxbTxe4YrDa/dJoNxzZPHMcu/jikxt9gS
qfUYsF+ykejQkXoR61O0TLP9ZRGmGIwE5LWWQpQFOcUfLJwMK3lOiLTEPuY9mUti8hgD+3l0n9nu
Q2wWND/BOTM0Mb0xk0BB+OZOAM+uZucQS8JBTQsIVBczPtXekgKTzwd/cD9nyKLUrx10HrJqi7Cj
RbqbOROXoRimPSGgYRm9zRohqMFAEvvKFnVAAauySt9HE1h5Sp9+bVfeYLLVjFn9xbYr8tybKGEn
lcGyldP+Z0iiDYbmPPE2QL7iO9QH0YOl2yc2zy2LMGZWqiDCON1OxEaMrzcvQ+T1XazbD4U2YVOP
PxBXQgA3qdaQpX6fB2gpCHVIAG2DL9cu8R7yEn8b40Xp2UVH6KSBDTEHUe1mb0KPvJbiwUNsC24d
fgg2Zcj3canU1gmSyVV2daeO9LYSa/DE+JkpUXLc5m9Fwo8d05n0qhbNRmZuyjjEoCWT26jMrraR
zlw8EECRQxCcM/9ouplktANE0QK+YXUcM4cvE40fVsNTNKzqxfeITi/qj5ERHbGwL6ZoPromsNdU
5RSM/VesOLEaa7otOa3yCrVClPGiUWXvg9754ar96IqeZPiCAzPOHg1lnvwyeQzz+FEHuPqT5IQT
/Uj/JsN6TR32ZeBuU/jNczlDLgkE6P1MTYuG5sYy0htd8m0Nn6cuZ/rEKOTHm+JZKxvjQh94XwXi
ain/MA0ct8WExchFVeSAekYw809BW9Im7ArJEgc8XXVw2h1EDrxSj3soK/P1DLqWQ4g1YfEJhl5r
9CXtOmo3VUHkg1Nwwu/8cIRyVsUM5TpeL2mheyeLr152L5Z0KylKCGtz/qgacT+7Rb9SOtIb4d6J
jnDe2kgcXAXKz0RO2FAjzt5Mtb+tgvG7yuoDSijUfz0Bg3PHYjOlvhdB/bMOWLKGXWxNsoswfjmV
TiE3grn1WvrDY5S1TzUH/qqPFPRLxYi2BWYHG8LE1T8jQt6NHvbasyvyfRq8qC4MV34Onz/pBA5+
LROJyX4kZeoVjTROckj7GMQPZ+VA3emq3RRCI/IS1kztVWtYGKSSK3vY9D3s4GAMt3a/U1ZMHuPA
10v82FtN8FeznpcV65gUT+dF1A14nZV9FeOIaCvlMCVqZjB6lLVWEyCbIMvm1y/8LKvJCfObKVEW
FYoVIoDC2nih7z5RSX/3Amy8PQrmdWxO2xEd34oq/XuvcJrDOgUnW7InkWJNsB8hkyAmXsGHPoat
2W0dYcAjq8KfwGCnwYiekoDF1MKgcgVnQW7wUss2uDXxtx1m7LfdBplVcudHxlttCIdzkvQB0btv
gHAgpxmIq2+GXFbqxXX9V3NCfYowkcQJESy0tX0nu4+KCMb1CIlvFU7NsOHqWsN9pMoBdsoMj9ln
CKALwe/OtTTr2cRLJQg2ZQ1g0rYzwzlHPpAC0kfpCzy9DcazQQHfbWQxmnEy8I9YbxG7O5iw988C
9eGAJ4mqRtyLQLAPm9cqghoO2e6UO6PCWgrDuYJTVbWoLzttv7S4DoUYHm2KKX4d6viJeMWASOlk
ob9FGwMDGu65kdcFhETKpzrUXlJgzRODzMFqmYka2tJLAIYVh6icUE3X67Kbf3oZKfYdRC9L0TR6
I1ZynoSn56FGny19HrOBIAcXBXuTdndCaQ8HO+QGlEMoT9jdcs6p0CgRJjv8qpV+M8Kx3UXRPama
45q0M5pnN76TXUU1hwMUVpAPRV9HW1qJr9xg8o5Ar187sP64ZM4+Xoh7Cr7HrLMRbtYf88A9mefV
q3Bq1kaDe5WVBt9Ui4aY7YcsdvgIhgTLItfFuJ858wA1I8vwk/XuujR+bFqGbdVUYL82JJvYYZzL
uHdntdRwlScfSSWd1kX3Q0EGvO3D5MuaboqG/ReZzt6wOM1YAi+koHG2uUgMBUs4Y+JvJka9iXxz
D/0QYUieE2pcQHlnnaZm+BKTINa5C71w4h3Szj4DuV7KPPzoQrgYRWEEED+pe0JVH9sQxae28o8h
hAoP8WrdF2QuZ5C4mYfgGjpxSViSYOKQz0aLriIJRJlZAA9RsoKug0ILGHrWkFVG/PFSYkshAchj
N9fzzpfywWzyN9/mDg0m8VSSOplocmZTqsqVG/sxY9lp2MfqKxYDgis7ezB7a9yG83dH6592lWJf
is90NnkoWt3SZSvHGZRom6QGxhmEfMJqGkfOdkz4JrUJHbxfhzahflF+fBwHu96VADg7P+VE40Bf
AaQAFlfOewGlPmFYdLKCullHaZ2uYVStizImvmUKQQDMa6YVxEBGJVvPdU8NmDr0rtzGmLnf905h
HF0mKqk+2CDqlpHs48y2VlgqqV0z/jSNJdBmiZJdXKtpGtttMbwr1eVQYugoxUSoVw/JGM2lhBXy
XccJBEOl4d4Gw4zEAi3LSA619hx33SKx1El9YObdnwmUOw1dMFym8ZNRcbxzShiRaCN32L3LgyAt
IYx8+L9ZfOnpUlfW5AIkaaSinlO/RjOJCggTK7xNp4M528lfKpTIujIXfwk9urkol9Bh4/jWlMYz
qNrJMwufE3kGyCHsAb7b6ySLk1EDRsBhXqV5mOytNPte4JmIcJHWgCe96ozvQ+Sr7WSXzs6q3Kdy
TL9amQD1kunuiB5wt7lRMPEWciGuYF65H2ZFMGxM7Ovi4FjgpQVjjxKxbl/5i/BfswySb/4U5bGx
ahBPrz3NiqgQUWOu/joWkaB/d69enMQruxaY1PuKZLwGxjiv2i9qcrTDR9GFA4xXDgjtnZMEU5hu
aKhHJpjfFkhiVyxerlCTwrhlJDdxYtFDLyQ8GNJG84WQP6JdJBm8BDHkNEsyJtVQTUs2+1Ph+MTO
Vv77KBEO4n0WFzAaXSu5RIx08Od1Nm5ZcEf03jEoYMzObtyzS9RR6GE6KPwHUSN+9OR5QXQo3msj
oyJaWrhkHPcwuY11jGdZ4Zo/ZQKamWepBuXiuO2nI6DWLjKZF1a9/tm0CX5xRrZBpXUwWG9mbu7m
MOBBFsVLSXYm3gLtzg88brnFUj3Vx1bjLhL18coP1WteJxYtIK7gmELcx1g27dggxa53nPe2ILir
HihcZtP87HwgKn+KbE6NNts4SLYZn0NKN8cvY8Q2Jcf9r+7ge/d6kaZzGKEKMJl4xD/aeGrXYx8c
inm2ee3yTWfy4LkZVN/ucdL1w+japO0SUdO5xJiDamHnYIziRhLgOGVMQeIa1wJihb/RTHopedlw
VnGtIaDVsMYjrGr66aq9+KWZbVI/utRDt1Ed92/WtEtDtoHZvMRWZnIXdy1izpU5uT9rf65XiZL4
zg72OXMnGCVm4O57Ne6nnmiAFCmaO9fXzORz9BEAk2CVZhECX10TVqOxotnLSz5LY92bYXkqrNh5
VmH4o2NprTy/7rlAbb5XscSAOEHKFHgAiJrhpte2u1fo3GAfwLU2uA70iEwjtXOUecGtUGZ4cZx+
hbGtAXL8gnsCb9uW/q1rCt7KL7iiqm67EUPQbtyNE3dpYoTFPsE5Sshs1U6m2Hag2BvbwqSzEuJb
bGlcpqzwCZOicR2506fMmvu4mZ+tXub7Fr0LmfVo/aKkJnTK8m99yi8gboZ0/TSz4dzo0hUWd3sA
Y7f2w8XR9jFsjA1l+dpb/nAeV3lZQyb3HsRAdZvKO8R/1bpKG/Osp/Y2fDJtOiNrQMgGEE7Irm52
Wnff4opJXWz753Sa132ORW1VA3MmbFqt8AhJkO0frKLdJB0hQ05aIN6dHwv0YZvJnD6ynHPPiGFv
JCHZMrr4lORcbhKUu8IEjRS9vUSElxQu6YNW/MsEEhNSk+2l3Q37JEQzY8ufnZN0G0+Tc+qLdhMO
FQnyjroMmkbcmUS9okCKFyWvOQVIbuL4+5yEE+WwW6xq0kHPtv/Rw/I/ZSJ6b+g+jxFjG0dwyo6V
Bn2tuysX5nu0QBKZW6U0Gxj4c37vgS2f2jL4VOXH3FAsl+H8PqjoSmW/WELGpxpiAK6zT8w5915a
DSt77iEP5B7XF6VWAE4cfZS2PjtuNhDMUJFe3jXUOd3eKVMQSd9b18K+0FR9K41p4H6pkNMnPDNK
HytFnkRzCR898cN0N1t0pLZ19lPiQmOXWYwvzUvTmleAs2cvhqXJMkH/m/gnDkjcSmLQQMwDEQV/
4XS46qHBwmpH/zun3q0yxNFRxZ2KzM8CH422jb8I/twYTnt1jJzyiyzfhPaq1RhmNoTxEpGVDO8V
Nmxr/n8CKyDxK522AXRCM3PubTFfwTw7MjTjDwwcpr1VRseyFHcjRpDKhOFbYIOPCq+6Gaq0BoZZ
41W1lNmbueRVz+M2iP1gSxDD55Aqb9PI+FL7MLoZL3FP37ejcy6G3rkwmbvMdBdox7KjCrPsFIsA
WWpMujaZWd28ceuo3ttGdFuGYt40AVIrO7oaSWWtqIdyPudedsup09zVRtkfuCUZ4/rBCOVSHgNn
IiAufmV95ShpZpMuHnvYk270t9IcFzsfbBo7N/8KQv2Vuimr1+TMR14BsabEoqFpiNEIcNA2g0+d
D6t+fIILn3OrGgC/fU3VXnZfMh8ufoFIotDvIFXWreNkn1HWf4JfE3lXMpzxECKhwyLh1igxZR7p
/d2a8lFFhsbA3MLcmEc/F28Q92hBxC6Yu+80nkTYOv07opEaz49YnavRrki/Bv0kjfSUKXfe9fbi
XWX8rJe/bbTdD915ctdom1daQywxFAbR1LdcJ+9drv2L2xHEruzaR1ZekltQjDdFjzv+Yupm+3jU
iLbVKJbRFslKPrsQyvyimDeezd4VFG0lVOW9GxjMyesAdt2LyOJ060ZOus3bzTguASFKf1hGjSXv
HFg77dkg3qgRQo3bnbDZlDhx1paWayu9MTU42Oh131orAxDD/g21qm9gf3JLp5UgP6wHOsww3nhu
M2xxE8vWUZeP2zzth5UarWvf+eIsq5zwr5HrzI5c+1DEE1EssjtkNYixTELMNRNmqyj8FCf4SBsV
thdryrlWE2pdYY07R4vF7nQG/zUewcG1WGTFdZM+WFJtHM//5oh4bSTrZAj6rQeLipGoVW1S5UMh
HNp9DAom4E7duG1zk8K9ngsOAxglGJ1IVD6rfJTXqYQabMQCwg2jprp4D6NR8yEEdyo5WLkv3nyM
0mBBy0+qbOPkDvVY0NMb7WYY2Wmma976jr4lirjdSwOGQkVqEtE5I7pYcAoaQx8/XOfClyZYMRb+
ybL01+jJfNeKAr8ENNAkPyiglKQC6FCdt8NI9dPNZ2eNIynlK76lxgNXxc08MXyEua4D70po8zVN
UNAGUJRKyBLgfBtksCVIB7PVVs2n2gyxbw+nh9BRRx+v2o09TsVWmyBlE2412ylLae4iQYY2cLWM
76bOyXfCcPUuqXNwyLKS707pyrXy82/ZQgZqs+ZVrCNRFCtbmNDfbUpAN9ylgXuBpX90R/9750U7
Epowpp3lJ1rMh7F1uu0CT3GJ1Dc2qm2q5weTxIV6jM8WN0faOtWPtid+Wm+zvH/HBYjE54mJHaNG
mwDwZBu49bju8LoQ71Zc4V08N8xPoNqDXjsLq7w+BJk8NzYNUTd4zjZpt42lUeylLm6O5JQUQJ1V
4jAraSHO+YVHyHdylyMKm6lGmIAUhLkH9clu++Uhg5C51Xibu+YPe+rewpRKTeeOtxbGdAB6f05Z
PLdWnb6o3HvngvA2DBDvCpurom7YYt7c83zAdQPX6dYQH0G+mhAtJwLhRAsTBqT3nOb9BYoJtku9
U25rfUmbZB9plIVVxlngAZx04l6X8bectGzHwDs48piHw3TzCwf1rUsFgWsHeDFm5joKb4zhLpDR
zGFair2UBsmueCKVNaSu2hdX1TfVum/4CcGUfK+m+ra3tdgHBgOMskGrCnVLYi9TMgvrip/CRuZs
CPkRGyDcJbZ4bIP73CvJjG2cYdsOxgux79POK4LPBudNahk6/Tnlp4y4AhL+nf1gYvvkWcI6w9T5
P8bObElS5VrTr3Js36Nmxjl2pIuIgBgzch5vsMyqLHDmGYen749qdbe01abTZjJZ1c6hMiMAX+sf
OZmyLug8G4/r/N7MkmEv45RtOMdHP2sIOFtbMXTA28oDr83PUes/Ov146cWptkdGYP5tUysUg3zF
SGgTmWIUgUBI1Q7e8xLHXBM2XqzsuXH7xypbhSORQw6kQQDdNEnBkxMZHQweVKhvf8RIq4Jq8kLu
01PrDNoLEmOylsgmwUTYNj1xbQbMAO57Sgf1wzSjXtWHoTk6Ne6eemRfljnuaqeUBH8wcm4qOwWv
xgHf2TSWJhYR+7WpPc8M7bFfOkSgVnkwlTQn6DXnWrbUga2AS3h6428aixhwpAHJ5VQbJ3cKyHXZ
GzxkBrGFCW2x+RAgpvR4Z7hwYc4aV2n16Wlu3RhZHlZ3NXRnH1tq1MXIeicy9xNuhTaZoiO4+K2d
GDe6Zb7JcqjPiYYvtSZ7W2ubu7yzx7DSvBxWJtXDdFo42rwinPSajhPXPY7GTRrzVDbimZwqTkx0
uzeav7wW7QxqP304mp9e5Ozs9dmPw8aGzUkn/asFFjwYSpC6r2G2GZLhxCPuM44zue+kQyrzRAsO
XEVUrSp+pT6EPd4NzfwZlbIhH49QVBRgG7ewoyv2CdAoqgeqnv71wX9VOgeAZX0MnUYVvZ/rZ1j6
g1vEdPuSV+I1y6EhsO809+JHL/MnWkEL/rvLuior4JPEY5My66Mc9T1y0CNy6CZAbHHue5RtWb83
4JyIkQJjBjUKIWOTwI70BzB2PKQ+Np+DvTB5lkqcXXdObrRpefKn5tIXnkaDunQ4pUsQZPnt9EaF
sQJnaerSpOot1yyK31Xb0vJjkADrccuSEhIzF4hfTUJ3lm7z00HegZuZHCcCnewBDaS+bxP3PnKT
MFfaFAJ0wTC4uoVwKGUBn29ZDwj7ArreUWufhR3dSUHeDXuDgFuSRvwlxFSLa90ZXnx8Pg9erl18
NR+7VneuwKK0rYPRYMZ+NUU+MxG6VK9zPncz0zMarZPUFNK9On+uqwyvYG4890tjnEfQWa3q2LuX
6qedWdR61QSIrdkBmfpYdOvLLwbGRmKsSAF8T3I1Hmxgp01JjpE7pA6cV/2ZzSQIMWjVcHrHgrAz
KLSDidtubbyAxyinp0xoFy1tA5+inNKHNBY9BUw22APRo1zTPmMQgn58Ik1y4f7ikZNC4ithZiGG
72cc+XiX3A80EoAQY/aoElaVnIuFFwb7DkOTUX0Ls3gh6Q63tqysY58NdxyekMoJbHoTias71IQF
YYTXmKG0VGyHgWLiWgzHqsiGbW4BqZoZ9KmbuDtH5YGsfgk0HhQwOJTZz8MPN82aS1TZ5Ef2vHZm
ulI67JzLs8p6+5DGgSUguO2c8AfL0vC4iLC3QRgISngYENlgrKeEte4/SCC4QwNDooWODb6cFVQY
a3KbiJ969dkb3kfugfhijgsxff6EHoPNJbHJaK03X8fDCPz4i5Spi48t48AMBPJoEmrgmAJbfH70
lOUE9ZqZrNZeZwItt6NdU3g9gwVAt3IQNyHpYM849fyQA+QmiYs8JE6Rcy9z7xi4zsrkzu2FSUYE
DxAYCnhA7M0D3wTc1jPYXjBEMWyKpYaajw9QZ4QwJnb6RE4R2SX9LdJJUKDf6aLufVmulDRMZRAX
yxzkzfScMjBImyTERZZvtY2U26gGta1NkK/WP+gM0XQPYq6zFWAUQQlBbtT2Mcey70H7b0Hwd+hX
QjFaP2WqmVxtJvWE0aOE8yN6otku1XrUJWonNFlTtzfjFrC0B9n5B0OcJEc/gWXZJkvgHNn8DqJw
3h1uaIL3Evhxil/AlhB7r1EJW0t89BYUStQQ7GflN8BZ73w1Cbet9qtbqAmgfvvgU59acbfPhrP3
xniAP6e3KInwqdvsoYQvBJZirJ5bpCBDzn8u3Wfuuv2gq3oLAYZhS2WhZb11SfekDwDRKXrRjV1B
GxW59x41Hfbj5FdZNeqd/IEjaTtPfTPb9LSbn30Xn/oMkiav1GdjkTTsZUfV3CzANatgKCUJElAI
piqNy488VSQhGpW1TTr7aM0Phda9IlD7WfH3bV7sO9ipg5uSx2ZbBlQUrjmebCCCM3EFvOvjQdX1
e44Q4GjJmvpgRrj1e1BGmO3jWNu75njxDA2jpv1l2DQVAft1rUMjxFLFu6jn85M0+9nYOA+HKOFs
7R5b/2zwp74lcqnC0aFjpfe7c2fo+3SRd45K9J1Gkc4m8eg6GT0Lw+9iDRvLyO9bLd4NoJxbosbL
rbewtSTCQlI0dj85xL5QjlHpk64YHmyDQ0cWtcPUMPRkCQeOqe2l0/bhNL0qdybd02AzG5Z83/Zf
1sR9bdTdWVKjigLJjgMw+0cofATxYqe3Y3chrbKSKX5B3U6wi/tH6S9Pc6H/iMrVgWGIrfQm/cEv
tDOPKuY9mb50i/aWiu4H5shy31U3ZEO+jsK/zwbgIh1JL8kK1nbBSL5NLF4Je73hihY3Pv2bMOxA
XRAR7Z5wo26nWz/gnyhKtKOVFWFNxkCdbt28AF2B5yR5Ld3BDxzZYll52jW5JKJ3bZrxJSVUlZPz
wH002aS5tsdMz8HCYTbdTg8G1Isbd6yzvW5tGxMkxKaAgRQv6y1NljOK/mlTaRkEpivuvYk5Gh8D
mOUEe+hT1+Sib4L3SwK+Dxy3xVtc22rAZ0AOQUEjyqLNP5B79E6G3i3K6pDcOz8Vw8HuaL3IZ/S9
mQCQihXG0GFm1+X5Qo1UMHqzyeMa6FGuGCEc9wkDHIkPToWbuZ2b01xkT7kxOlASJbxc5N7HVFc7
wwCAJqyOkcbaL8K9YJ1GMTvVW2tSvIHJ8sMtqE9WGZAACqCdZfTOrvEXPssiD0AH5ZxsQmdkN+55
I/SwS33UYH3+TlSu4Poi4rknLJmWPG6ZJoea7ThOdTS1fZcTBSjIPfTQubFCM0Wbiisne56gwsGx
jA/2I62XnFcuN+A05CcfaVGgWngjWeovhYyakNN/Myue1U0LFUM8Z7GJiuxWj6wXnr/73iA9NFtr
6iw/Q4+1eDsUgDWXJ8/zyUELa+qAvXkpHkarmvcRihE2024G9HURFgxVCpEISIcY3nkYEo89d+HS
qsWV0ayHL8j9sPPVjXIb8mlbJrbJf8bGRfCXbHYLrbOu9dJ0I8onSTfKTG0mJkrlnbt6Eqdmeitw
B225rriTQUdoRXNvtGjRg9jTqarVjPUfAxzv3q2caq26rPZV7tAfiomJ0NcSSRKCwtGg5xM/xLab
FtD7Dubabfnk+hVyNd63LczGDDueNy+GX1UhgxwGvKUEN2yRU7VudkCPykVvoqcsXc6SXgOAslHC
taRc7IkuuPqKeHSWLGOniNNDkk0Ghdnn9EdZIMUJh32Ei7UAJ4xcJD+uw5YU9YK7ifc2HspvS4tf
J0t8FxErkdFDTzVp9dQhltmh+H134ReUDqAihRa6qfVm55UbZDNtaIRDwcDrEQ3x6McKMicDCQ/O
mWXF+OSrTS6EsU1yXr/YrghCTEjDyLA7hE45okp0S9ZkNUVr4DjKF+S3WiMP0uQejASPmXHOmGqq
2zwZaEdTmQOWUD/kZgXew12bEJ2GPgNatR2ja182b16MYiPOTEiDGgUba2CK4INL8wjzNm8aBLKh
CSu5MazGDsjz5ad2PBnUk3VoJ5BEE943ghCmDI1rUciJ+96naKemJyNJnO8p7Q6jlcGsdx1ep+UV
qIUyufLTywHUprFcT1nJu1xndVBkXji2Blk5RO0sqWudFI/HyoK6IdSc2CBpOTtyeKCLpluT9Wuj
exZwAxs/j24mf8drjhb6DJa0YSujAeByNYEnnLxnLnMGPcD5jYvQCjVvWW+cvrorZHbpE2c+txpZ
PkWMxsFCk1VW2i4rOFazFmYMvYtGKMYAuOtUqFHMZQ/ghvRM9vmxNKp1nkWJ3e9RzCdbv0Ubx+YR
Qv6nF7TRFGifETNEBxz/j+7gm6SKIZCZKFAoRzJtxk62t5zy9B4XhLcjUCGlLmeVdgjIyRiqw9Ia
otCMgaDcKdvhdGMZt5pXDe0qrz/oRWV2Pwka+SCtYKRDYNZ3Mdo6h9iXcuAhoOjjhRwmNV1u3bi6
SVRq0BGKUKE3OxQmiAkCYzBv5+hmikhIlsmIYUhPNRQNLWmKaDpQKnQHnBPdriSVJUeEVWjYRY2B
HRa46s2kmzXIS6a0fAVSBJxUKmg9Mpp2F5NgQmgPQGtvmLAeSNUCrPccnDQvwUyMO9Gp9uRo+n3b
Ze2N7RP0nVDkFJtw/kjT30zynCtBkpQhuu6I4Zl72flYvAnYVgeZdmv11EiWDs/kN0s9dWePatgp
pE5EftOKKCw6WI0H00TOIDlI926XjZwJjOFkMJIiqKjB5tHzWggWw9noH/0p3vWt/7WWVAxZoE8I
DpVuTSEKVjzHS70bozzUJUhFUtLtxsPlpGn+yIw80GvX+kxXBiirGvl+5FawUzAtPE3Kv+Q8/81B
e1rgHp1hgpEgdCMjZ1BU40H3cY2R1p+zfrCToMN1YbEpU0WBhtL9Oeuy1554hS0mC32XlTGSIFFe
NfJ1Y8eH0QCHZtBN9poXkaYijkY8/HTmGpnVCvg6+So9MqqfbrHcx5EiITJrgqnCnLzYi79VeBd+
jzeRT6gbqd/9Ni2bJy7Hhaw6oJyK3gqOKxdRRfvldfO7iG57l72rLXAvlctt2cY+SCC8bpUTxF7H
ZCQlT/g7jH3eQAPkbBZJYgCoSK0nQJKXlb4CFkv+luPjyOd+3pcVcXS5r4N0S5WEmTcww0QQ0UXU
aMjcirOm1e9xgnDfZW0FLGcC5CCFmsr5HYBryulZ6+TBZgINFoXcIcrt/lS7SbRpobG1sUWR4Fvl
Th7RU9rEdsWPcwcSpC3Pnpunuw5ZbYNjjhPdDJ2+dghhpymmMqw+yBXnipsRnosI6L7zkHMUmkP2
XCGZdIt9PtKh2WAxPVgtHeuZVXwjtCY3hZJycLgngUB/QKx342n1baO8N9a8X2Tbo+SB+Nuaw4LJ
UNV6ILMhAADFHqA1z0ViPPUJws/BJpE9L5x7IVNo1rS7QS0mtwb5Siw7QL6mAnxyAGtNq9v7yMTX
5PqBYsZp3Kfu8CChhQ4UInzSuvrTo1k7KZ1zk01fZZ52OxOKmgUBew7RSDvE0Z/88O1JoUPfsNqj
iDAdQlWNX209JJdcFh9uBPzooWxDN6aWO93Pg/YM9iFu61zeJSPImZDEm+sie4tmlMRjUVBto31a
ER0/vc9ZluYrXZuVd0nqOE9uUl4xSfySJuiMgyX0cxQcgQ5xxiXi52DSptOi1f4+dlAi9a28NrJ4
VoveHAeG28nVfiadUWx/pwQTmgMiIOuPiSiqM2g08Ksubon7cM4lWTpEZrkH2z6SYD6ieYSqHM1x
PMddudeXhNhk4F7C8QigIQYUW/CDdKh05YZPaeVDFCLINwnr1L0l7gCz/eqBHglyv7WG/nZCgLTD
ifTcY2qA8Udhpa+FBmglAp5aadi37tPvb2A6wxVs3t8RjjOfk5YfA3Iw9OguO2IlroOlpxUpwXUW
aAy3i4gozSOEoMo7hHJ03+1MB3a2kBryph6UtxxG7Ez8aFXDadsp+5plnXnvR+ZxLIZsb0JChsqc
s3BxX4n3I0Pb0Agh87RV5Y+WQ4CyRai0XBLbpSrYY1cMiG652am8ALXGbuxK0JSagquYHakUencs
LJ6kRVu6tDwBE3nWazybToAlCQ0dOxssYhug9U/xSyzLrpbR/neydq0V6dbjWzFGc7YrUhkpaMvs
XSuZm6mvTA7gzSBi2aNT6HaQk5C6nUcLOUNfXWg2ufSW0p6qTw1RcIAKKDr9jpTOmmuW5OIwJ9Nj
AoqyNxfPC92WZA0pdfOISvQm1SOdMWwhc6Dp6Q+MENKQFk7T4O86waZlku8UQsZSMXlR5hLrONky
D3NSikaslvrRXKtqFmmhvOp5yEVlgvZf+T5R7s1O5nB++Bc2q3Rs4+DtOUaG0gNv6DkTSeRBBklg
eW0y/CcLJZlRRIVsZxtF2FQt6UbpeKl0bYBlAcyrOxcmodYOzuTyhKimJbDNtHxKfI2K3bu2n7i3
O/9DZgadA2n84pethSPYeB/nUQ9FU78MlJlccSmD/gjvLgOeR654M8lZPWL2Bjwl4zRmxHixPfH4
uwulccQv4hvKrQnLG4PIXwbTxNRIKsioBM+EmLfViDHU9C2AUhr/zNh/r0vFWGAOXC59W7tBNCHN
n42I05xx9o3ykWNutNdZUROAwJQRemHnyAwb+jBp0w+ZFzeltk7kSyPOIkYu4lv1IbcM93Xqki2Q
XfRtZ+pNS9kkXevetpCV6NioN3NrmLe+WX4XaysEqCnyf1UM1xZ7glxt2CD+zsErnIdeUrXVgOAb
TAYnb5U+coYZt+iZHFQbiR/U/XKh36N44SfTr2B9e9MkUnoR4q2FomVS38D3wWshwzlToptsx8x6
KQfP3qrMjLnJeBMZdvqr1+FdMO+ogeruCmypO3OIuiApRB+4RR9tQAyrcxnHISLVGmRwMuHz7Sd3
ssctWfsdMrHholkTJolJC0uRgPoNIg2s6gGHwvjCBEmCrtfiNnDLy2RCTDcIwu0aUGh4JuDEvtVH
ansl22Ks7LdmgDmtyZbe1IXn71i/i5elc7aeE1UPEglcl9T6vjFlvm/SUXtJCnPn06OzpGgIIh3O
ET8MLB8AjnbAUy8el4ytfujXGcgjoQ91jH02ECnMbII/yF8sNl5SwBp1+rX3C3mbVOhNxorDYZqq
+FAQtXqXD+QdRtAyQbxoDwSejjca/r19rGS+88tL5iECjzhjLxm5VwhG2T6myBmDKi5RuGtmsTOt
5sFbzNely65G2eThqBrCxNa71Mf+fGek6OCmXzkgduwPxjk2vgWR5ucONd8yoHv0JsvY5Q4OPB5d
7VGSRwA0+W75lXVyLT3Ix168FaiyawNGUy+LJowK+7suVXPn9cTXTZ6tBWoiENUeHfUwpEzS43ny
wU3rXE/vAGFwimcbo43SE2iUOjg0Z0W6mz4gBLkYfk+Fbgwc4aTj02zZ54xNZq9aGFOy4bZmrBkv
OL2GQ07Age0ShYdI+qD/zlGhyM6GVkHTUSxBNM+fDQL2G/zx1UEfpRMkKUT+2Orv0sbyv6KJjjNm
91nlmRszoVfY65ec1UL2ocji7GiSf8UcFJV7FjBiWFM53visYrXma3soIJZTG+Kq08fzKFCW9mw+
hqkdJu6Fg4lIvu3cnaiddE/9kBlYq5KdWy/E3ICQLhb15XeCd+ukQyhcAgRbYmN3lKFbzFR1ciEC
6kj45ns5vkzjLO/iYrwOBolGaGHQqTI+E50wvnIzZC25GQXMzCTX+N/14kplh/CqiozHTEtCYm9O
ad/UZ+6+g9sO7bGz4QacyNfuFAwg5YhzfOsPPEFKW71b2XhLBP+JvYh6nZ7eEq13BDfRDTqp7lAB
SZ4B4D/SLOUqkIWNNGG1nmUfbaRZ0N1cT/hWwH/96svTjWfC6Lhdi/ytnTvnRC0MEJx74xrNdINq
RJGGuKJvPYpwHi3WnZaV77rJST7Tx3VZOLMPzizjfdqPV9C/7FKKuQqlb55mu/EuZYUA3ANbHBLZ
nrWJYHPkm9WWLBCq7lz5mKX5fGwmkjpjVZa3+pe7kD4KhjdTQQxDBCQFzabh4KjNMXlsWxhmS073
tq1lJ48cplPhwHJZHXijXdJdnFoYp9KoAUgcRyaM4TIuyBgSNcU3A6kOe3/A8crwvSHIZqA2p0wn
P0wiYHtf/2iyAkajydRdGoljic3+pcywUeIAWI89XDVjnT4XFjGpv6uxuhy+x1qTaim0wek0j/0N
kEOyLZL6ksAFbFwAD2rA833WTQwIlVseFmupz2khfiiGph3VE5ha/NTfTT79XoTa1zuk9hTwuKxx
5Pf/6EdcjSTBBJ0+ZJ9T+kLicITtShpbQvu/Oosk0CGJ7GAGhEV3kjCdW+k9JYDYFNntuJUIIIm7
/gXX+WZQBN5yxd85fqeuwxrzVicVSjyGdY+9dljmFPJXKBQooK9iBqKnC3I8Fc9DXmnflSZPsk1/
+b45MJBoiEyLfnrXZi6zKD9lgqyUoXvtmlzRmgflQXbMt46tApbEY+yYi3in4dvjriBic56RpleP
nqY599JVYCQmrxAcKV6kkVtcfJg9ZRtGRp6qLVCD+y3InEyfHFuNtza/gduMt7x7T3ELUGT0A7JH
i/hvw7m2PNU3hMh8oYTbzRgyP2wO7C52v2C5jWdt7r4Szlq8Ya8J9oVXpbKnkcTjk4MADXfBAI/u
iTfI+t1coCmi22Z5m9Y/zbXB6hFFwynOI9p63EXH6scXIWnlcaoxtOkYOX5q7Dfjgnu3nER2jbvx
S+YLg/Gs+cEA3Hm2K/ozyDTZaZ40aaGHiNKqk8qn+Y3QtwAAdwEKSjMyGx4TmpZDPHbdsfKhb6v6
EFN5f9FNUHnDI5ZMxkTw16NzUwFc3i/QbxedaBkXoGYASIxLGMMVaHQ5cQdir1pysBGIMwcu6keu
ZQ6iTbhTrV7hQsc/1ZpMjsWIZUWeCMXnlOyI1VsY7jaJQSGQ2Q9vLOMJqliLkLe5qY+ES75FZZ6d
8PVU+6brqhDF24Utn996DYs26eDceF4N/g5Jo5Uv0qlj6h95yMAP4ARL+tc0XoyLQcOIZLKp8qpg
k7RZ9+smCxa6DXWgiUETx7SZ/LNFhQmmEirckvih6hz3aUDWhFiLBHCznAkQ8Jcz9+pnobneKUUy
TRi1xktY3RTR+NhHEcnwEXdsP0xUYNnlx2KUIsAf20YzaRgIbue20E4arYqoTT2PV6Grr/m8txlY
7guDt8OzybFMKY0pgWUOsgRgjVP9Ri2QDryV3s7KWrRthvNVmgMSlRk0jnqtjW5U2MmlwLTrZU9a
A2bO7ok+sH7zaaPdJxzWuiS1XiOANSwEJBcOXfSCyanMrB9cF/C5wP6pac+7visDJ0u8bTe8Cht3
KcFNoAz8JBuaKGgdG5JfgkFCbyPn6o4/TUImtqmRFQdStYkHklR4+h0SZEsge1HV00Aa4b5w52fW
NS10MG3tJhiULW0v+HwpuQnnaRW8dM06TBmXIU5IFkbvTp4L6nD7as2EfS+V+UHHAvYX07/jeAGG
Ee2wj3suN2UoD3l81py97t3DcXcV5gwwW8wniRxxnYLTbeNoSBqYk0gDDHVdl6hLyEz0kvl9zZ8W
86q26BUcGUBqYSPrKGI3sNwiP/Ucdnq7EO410TTy+0jPPQjRQScOpY8Oi/57ZWIsRCnwIiYuotgr
Uy4yCBfdBSlLDC7XCXhkPxfd1ySIlwDfPAmjerIimj/1kURb8HiQdD1+dQXrFHluxZNgQgHJW/Nd
utmMDrKwuvNQd+aDXqHeGHoczgl6B1ZqnlEVLIqcO/syOylQKQYBxbawUyk5OIQD/H7b2kGHOSF6
uam4Tbh1MzZjyljcVOOWRj51rtIptCjXeZh1XjtdUf0gEUbhfdta6VBuW974bSv05VGTM37CJASG
GhENXpU+25e0Rh+BNDW5oruDqtDp0p2WRAsSQ9zSNrjK6Lz2uXGsjZdFz0nbXnkO+Tbi7U6y5Cds
Mdva1RC0OpELWDwWCCqIatpgefdZm3zrXOcUUSFfTRXqKSutgrl3tF2EkGvvLJ176fLsONIIpzWj
dd/SH7mt59Pspt6PETWY037ADs4/C9zVa1IFcUyMusxOPS1bEfkhSVJcjEwbw6Z9lU3R30QUAB+m
JuKgcSH4cwsVVpW17kO1Vi7MZk+sFEayGRPjg5dhCKW9TV7IsPCNt7Hvyzu9TrJDrox2lWPeDRRD
PU4eiYSLQrPUgFLetPIsrCUg5xft9zrHmO6JLjLjS0yQTxr/IFo/7b5fHx+pbjTXJp26Vw9xFJGd
s3M3JlwoWk98rtk9ZDKGWiaQbBslRXynxcVJS/O3csrLLxmZpzYnDEdX8b1RAprUDu0LwB/Ruqj8
+5Sif21xRc5ueDo1cCY7s2Gt6YT/kOqCtlR6HgbOLUwe4A98f1z6DEtJQIBZdWIVzfb0OfEgQOBQ
Y9+IKkwJ7TwdesM9JFSMBqP/Oi86UyS6y9oU+3YgZzKWswH3Zl89oqE309owxfm165m8LzUijKDv
Ok7appj+m99I/Es9m4eQyLWESQ6N7+ven8PuyOY30gpYctbbR2V6t5qPkwSi0ybwY5spD/CU4/uo
0Veaa2XIo1ru+dUa30kJydKbq0/zV1QGpkrtGyNFExpJQAY5gOF3HT0b5WI9o2GxTojtSBnRlLaP
C9O5jcdxbR+uXun66DBR8H+aDf1uFTwF5tQuL3QHn8Sxd6zqvisofSgsrgNK44ozPNyHQFx5YjOB
gWmIUxl7H+CW5pl4dm/bAv+wheRsV3h2fJNoijhYnTiYptC/RjtX6FWRiOZEOB4kP+XJnM3z7091
rY8uF92xWwsaIEfv22xWV6TOsNaV794t+E0cRPyXIkZ9ZRA5TfdZ0LONnAunMm68bhEBeWdyS+GX
fuvAT4XCLuk/FeaxmUkVnAeUxP/+urT+JXyXd5EsPttc27Uo+flT6ksN5pMCUcotoWd3vdWKQ7w2
62IhuWgxroiIHvCLKco9EVp92Cfc+qVhramK+MdtnZQfzoxqRHuf0xBENqRQPEezw4Dv/xpRfBVL
uugBzmg+XRKSCaf3qbSf8HCNoRzaZKfs4bHhmdFa5JW6Vo/yvyPnr0OdZy9Ff6ub054cQvHfNZz9
vy5f4dFyqDs6qW7Ony5ft5vtlBzT9c3GI89oU+2Xuhlod5stTnAes0sCturlNgPo5IN8O6zHv1/9
//FD/Wf8Xd39r3Sd7m//xd9/VPUM5pj0f/rr356qgv/91/o1/+dz/vkr/rb/rq6fxXf3bz/pRv5o
q6761f/5s/7pO/Ov//2n2332n//0l6DsZT/fD9/t/EDUQ97//in4PdbP/P/94H98//4uT3P9/dc/
flRD2a/fLZZV+cffP3T8+dc/6CP6h8t0/f5//+D6a/71j2faTr9b+fkvX/L92fV//cM0/yLQHXo6
YbIu+anrk2f6Xj9iuH+hGJTyMOK+bYIGbT5SVm2f/PUPW/zFISOOuFDTo2qHDtM//qOrht8fcv7i
2ZZr6DzLdNIJPfHH//7V/+kt/L9v6T82pVrIYf85SQnHsE8EJc9E/mQ6lv2nBK84pbfMLsmWzceM
4IbaqhHeOG+2a94UdXNbTjawKM7/QcwcbzhVAloX6IcfzlqVqVDWyKPSiKCZVYzM2AAVORBd1whx
p1cRobqreFm/UgG8TxWi5BIb5OwMEMANCV4LZdboOqMR5XcTQDnixZsd5NFuT7Vyv2pj+ATUXi+G
nRW7zvPKHbWX0PU1Acs9IgQ/p6whXWXYzSrI7osZPRme/GNMkf22coyDoqdwg6yNJFk29J1DOIbI
oqMaMYki+q5Rf5eowNl3miBBFy5XgXjE1L4ZV9F4scrHCYhFSL5KyqU2Pkr1HKE011fJ+Wj5z3oM
MUkdHSlQNOk2yAMU7FniJei4fHmyc1hhtkZtn2WoyvWSCC8Zyw85eRcEj9OZNpYt+yiJlMbJjSB4
em06KGCuU9UUyUEN07vgEU1+3GUSVlDZPpMmBm7wmYJJBlQmX6aDSLLvvJ+erAkVUzUPCBvwtycu
FnOkbAjnv4VHOeXMywFW/UnhEAFWjv8Ltd6VyxAQppqPvu3TbmXqe4JHSdiIYxRO9Mvvakd/X9wf
uZVGQVQkeww+JZwG4TAEou/m8qxHbDKtQZhzQejZNk9OKNuCukHI4c8eQisXPY7eDfeQcKHl0xJg
ODQqVE0LndV7RyW8oyTGBiqrXbU4RB0OpD4uBchebDFaq8S7t4Y820zz+Gq5ZYQi26ekzkFiLMB9
Qe5YMykfwTtSkR7l0MA0QyK21i+b5Lqt0SbPfW6+GdH7sAYAaPmP1OoRhOlAEbUQwRyZdPORXqoV
J7/fm06tQnfAcDX6RD0YRb5Je8TKwHIvvjY9S82/6+vsKW0waM4K8KQYSGtU1kdO5TH+JM/YlDpF
ky6sHoI73FZ9awZDnl78AUlDkSTMCeZMjBpRbb16laWgHGD0r4jMv1HfZLvldkSSEqJqodfZ4rCC
eUJY6Vo7TP7PKDvzS7vCQ3jNsjtz+EpVC9MIbbwSXDsbTwE9vBTBcaTuiae9yex3U0eNZ+DAq/WK
Dh+lBZSi4k5wpinI+g78xG3DJTZe6Z6likdRijqL3kMojH1w7puDhLqt1fQlRH5nCmJkjbSE9PSd
bWGWMEYNebzaTz8Cu0g7ukCXFbQbKNwrHVWEhUHWg/IWLTQT1CuN0nfVKJEMrkoow5zLA5vg1iio
Sux6gnfhsAsiwcR3nmmHpo/y3ew3hJT5Gao9Z5mwahl1OMc+LL/vfrGwP0ZpLUJX11MYfqwVYqbq
oxP1dgRhI3ElGU+6DyJvvdgllTA9uS08ic0A0A3lV6Hf9wqQM0mDcmGG9wl5QEqP1dvpBDn3Inmx
CcpHB1Z+5lr+PsUCeNEb0OUo7zOjYHygP6aesZxVA8XOrWffRpTZINspQj/TGnyjREA5Eiy0TniV
18sb/ntFlpuQeIwGZyLEDB43a0bog/5nIdsyNNK9l5AXNa79rOXEslY2tEX/T+rOY0lyJMuyX4Qa
UIVia5w7pxuIe3gEOBRMwb6+D7KnZIqIdEsvejGrTMmqcLeAAYpH7j1X98tpBmaxJl68JO2SuxPR
Yk9ymZs0nw5wjrVD+ixSFRLtbILomDLRDA5MQNm/MnYxxIvhdOdM25jZEbInoYW8HH3c0lZIM3mf
Smzoc0KJ4RVyH9rRzLfJnDhEqSV8WZ27JZTPzEkY7zMfO/V954fTJetfskToXc2EGkXk95xR8aOS
RsmqMHpqpmWlf++Z4DZi4xhYCOFl7R7jfqJca3OuEyiBPVUg/BYkaQc3iV+0y56ngBQBrhA65INm
brf2RlZkDsviteopm7GHRpozQBMghJMC7eJkP9S5cRvTALhcAg2vMZIXOKL7qERvJxPsZXNpvFl5
uS95SCMGQdJ+7+2LY2lsFL6BwRkLlvRZj3fE3fsHoxPE1HkIUPwC7kuq5G8EnPQz3o822mvCyBbk
c3ub9cmwMRY4nlevUb7ig+hvVYd6pAgRYhh25+L7ZdRqyXNA9cfueXQ3s0geIO0lYI7WPC7vUmiy
wiKe6glZjbI5FxwvQpLh2e945jAVoYYBAkZdOPioJJR8GDtFEd6LrXZKtSkgfeSjeMJsiF1MRier
Hs+8J99d4ipWrf4Zw8LcDPIjJ9F0K3EPVjYyFlZ4zZpUy1PjcN+AB8D1OMZYdOBmrrP8PYytJ5mi
5e0HWLNtifFLE1HKcZJv4Ag82uh0CU2j0eERzk14UBlXjOOAO3YsXqXofiIP4VrgQ5iK/V+T1aQY
togp0GQGR1i3VrqNdsYA/1qigB70yGHNOz0fI8oFFiWryvAOdTUcTBdvNVsDBGW6vVoBP3AiZ9Ey
EcxWqDYxqy2WAGzjac7h6IXApGn8i+iUVNmDzVcJ4qpnX1G+9AmzeIJPAUuhMmm60DkYue+BSVM7
28J/XMueMbeOt5ESIQI2G/ZDcigL3rJEv+ERtRBhqWAoMFvMyBaGcCfj7iKd5MmYnd+Bn5KwhZQw
bK5R07y7EiS8aS9K5KB7BEH/aJuIU73mbqBO4CnId+TsAtcwcAsEJVj9Llzn7lV4LkYlk4QZKDsW
sLvPRrDTiBD74CePv5GU3/kRJROzGwfFRE9q54SfDEhwWqA6crEJDxUyrrFsPjgO1kNPGp0wj62u
QT6HXbOym+6xjeqJZhbNQ1QhA+6PIMd5aBz/lW2BC5RF7FXMYtchHmMTN4gFRdWsdfvYD1GPK8wK
saqPR2Xn05oQsZp5P3sDz7jH4Mz531gnhlPVyg7cE+q1dEvmBnOG5BH5Ftzg9lqXlBiBE/pIp7f5
YtL12ayWigPZF/BYuzx8qmfNz3UWC5kGnIzZKQuNYymVzSKxuUPo+xYseo65Abcmh4cJXwV03w31
sLmpuuZC//s4LUawLrYJgfV+KfBeNTZ9grChbYTyWstErYLi087TOxBBIyZ2j5ZTQXMsAySa/bhT
XsuB6Bl7cHHMkwVzQoZvbG4UPLNHAqBqvAN9Rf5GB1ec5bmxhJEZhQG23T6yrdl28/QOJojh42Qb
WJ25EmB1RncMLz54ECabCyl8ynGr2v56SFnXNkeFRI9qiegAgYETSwu+CusZMJXETaIODkqTu9n4
dDmp1jKKXqUujuCpZgoOQhowUK0BKl4WJYmjUVj20w+IRu7f9jEAoEb43gY2xm+Co9lKcoYEQJc8
Yzf24QcJFM12qowTO6FqDRcmpuz12chb1VM4JJsq/SoLNa1aYA6bpawBmXUrY5wPTKZTllDsNHMw
LB3UIY9dRDx0f5j0bsXCyzIytG/VePY68U0JRtUat6dosKKtrSyuJrvJwQ4uY/iMOm4hWWRfs5Pu
RtM+tP70ZkLtZZZt3TgkyRFtGsTsuc8I1SsR5QS583uKyQsNEp+RN+PppCjIX/JYHYonv2JMhI0k
3JRKHhJ2TyRRM0b2p/SQCuPStQ0zLlO9OyjMWqfM2Ary3Ecq/RWQrjfl8Sf8YWdNIbUg6spFjYEv
S7fPzLY/cjRGkPHzHf0OXE/H33pgOvezMyzKrHezR1PTsx41q34gU87/lZXLO7NC8w2vr2+tLyg1
T3GniASU80/6Afk/YcEZ7k2fs7HG2MfzleD7LDS7OLO9OmN4bsnCAiVVkGwR+VgtMlAoXbJpQ+/3
SMYlQQuNc2wHXossZoSg5s89yAg5R4OhfsnI/PGYH7Cpr5Dth0T94BwVU4gIOfGAQiT5DZRoslND
eVAmC7ihYPNoiW8hK5PLyMDeNfQ+c4mNhNDAW0hlw7anlrWnuAZQkAPXzjXvSHasEzKxDeJeBtfw
T1hzCqNIGHXGFxX4wwG4BXabkcukF3WobotzPJ6Bozl7ux3OEbwbLiuBAm5anQb7OVUeKHkrBM/X
9mqflz6gHzl/eZOiuq6pF2H1rhnObupBvjlUvjCX7wfD2xYV439bPFij96comicDoXxu4yUl9IB+
gGfUQ3a8atL8ruVbWDEs9VdDDk0864ddJYef0HArpDThFe1YuhlaLp6u/WMIHW2j2BEQGYyyPyGb
vkQgX48hd013mWQIz9PDYSeR0GZ2AgCM5jJOCO9U+VOfcxY4Cr4P2aJPkF/u47p4yYYA4vo8HOWS
81CZl3EOXIRQ7Eb6DCZwQW5dUF3sIjqnrndNK+O59cs7NSefNr9nFa6rEMSJFRfGrqjCQ5Fh62k1
z4aXsMLryaLzfooELCJYzZ92ARdIf36SjgMS2cfoxykohl80vpzTmXqeJRQzogq/m8H/HuUoVnbm
40OJMdUqqPQi32Bw9rFjMg/QYcSg3Y7B+qdnr24vg4dUI5A894lbpkcfuxCbZNXCbtN6M0XdQpOw
DzMs9nLGJRzw98PKLPpdakfwamx4CWhTtsw7JVpgj7eec5GV9newrsxtOyYghvv7LmpuTVN56zQR
3hb1LOdMgXWJTXVoSDafnmlvmN48WAuiPWgx2g7Fvux58RhxlSODmLmtSuuOrWi3Jlv7U9sYORA5
LMwDmLUtkXAYhz7sMviO3hxncKjb44Rdef3uaiqcVgwPVoOFwm+CTVBM/XFk8kyFj97ZBZe5xgKE
HIj5CEIGQKuZB/ar5I4o0/7Bnl0Y6fEjHqWVCRgw4V0926Bw0ndu+KuZRK+uMx4kSELcN4e8P4Ny
38dZfm0UqVs8HvGjHebEENOSlzgnWACOjbvnusOWCx+d6S6Qq9oBJE6L0Y5bE9qgyINDM3qH69HN
JPRZsURjhcfWglZg9NtZ9w+DtQlb8WSP87WO5TXy9B+ht8SHPaL3ZusFjHslrOQ4Dyhg1EmaDHSE
qo4VPsCNEO0V0fZzwUIrGOMNAgeg0yp+N0f1HdrwRVRmgnNlSGAsaSBkjq6lEXzXWjp7KyQTbbwb
StphVKZmvjXtGgTDErrSnYPR/uzqAhFOwGjRGc955LM4E38Calvmt9t61OdRFg8l2TRGlZ/6oT9m
vA6hFW/moLtvkNVN4WPlG2jVMN7m7W+qwJvnl2dwO/ciZPbUZMUrcO1rMlwDpz/aDmKNHgG8aTyg
82FhffMD/8IZh/ah8nj3mfOd57M57erwl0um1DhT2FXNOUujY82Lf5OP7Y4tvgvspS+Kx9qsz15U
g1DD+1Ao/81y4wcs5M8N9e+cDofKpcN0GXOvJmmQv0OPXACLmIGhltE5p0jImnNs7X0bcmeo5B6V
LBGcLuWRbUjoZrz/GlvgfjJMhOxRgUnHBO3hgsRDpim2nsWh3qLf1/wbJXV6tohpP6gxeyyuHPkN
fsDp4g6PzgypyKcB91V3CoT/Qvr84nVWNAa8ttjaJuEK4XoE8Nj4NhPjZ7B5nwqQp+uOI28WP7p1
LpEaLzE6HUhX/abRxWUAiV2bkQMUIfqoSCX0Qvtz5OKr0qfftaGO5NMuzv2dXXe//V4e57w8E4y7
S/mtdRx+90HxZzYZ4PjEJpsGH5kEZ+LtnZX3CG4NdodNVoPqzhXEci6L9SqyszkBYB4teRWtwbWi
gtqEItyTA7TtjeQhz/xfYPdQ+BlHGrddKJCi9sr9wGt19DRYCQDQAmE4VJQizzAKGc7WgR8zxfO9
JS2IYQmCWrDyafsWLXi92BwOEFjpfXooia5zzYzfc/4u48fMEdve9t+wxUGJKPuNMau/AsZhYiYJ
R5Apn+yKySSr1DhAhoq9covz8XUU0WUS90VPbHdMyY/KNDuBQR9ncHedRHAZEhjsKMIlGprCtCxY
e8l1bOF3c+iyTByAEm8zOIsHOzNekV95OBWn6l4WrFBb5diHjoFS4pp/0K1xFtfeW5MH/rZAK64Y
wtOjMAhqQqYwcnzXdMP4aOjK4fKsTARx22hqi3Uc0EZ5ZQWLgJSlaKb+pE/cZSnx6CxKX1uLBZ6k
vkYlugdI8kia5aZHQQozePaO82gdbYoDFEM+USvLq8CpF/ocF5h+bp0nb6L2DiMlwUa1wyPc9J2y
GBe1auo/s/BLCWAfZH8+tE5irmSNN6inP0FrApSPD9uhD2ceGTgK9ymsj7T/wiONEgxBAwfoArzT
RJ30jAeagIl3xN/JGe2Xtghupab5DL0/jFBY8eFE7druV4OVoolgukcu1WSlUE0GSIS3vMf8jW70
uEF3CP5gKmNizSd+k47Qy7WM1ZPFTs7XT74OH02pcl2W1Y+VNZ8po9sDb46tbiZOMI74+9xoCZaB
FJE67b0gOCvInOcKnQUpAsy4iwB9aZ36b4AOh6vJm6726IaSyLtrVVOe6fVcSO+McwAXJTeBWJcX
OmtAXQ1XTypsyxkfhdUn8VMNIhO+jlsxZjcvh3Bu5Ah4TbjKwFQnsjwWcZ0HUxrJ1XRn1R5hy+b4
kzCTi2ZE+U3Lm7jxFqc0M1REKoyS2or8TO3sE+SY6VyfWort+4qEcOQLJpiu5FsVfchakiGwnQY/
Re3tgGYjeIdb0HBmGIKmTjInGvKwuRmwzyiVkUTa1LVt2v5MpvXctpxc5O+eVCmzDWIQlqhYUFZW
As2fLDLmkjQYeco7xGvHcJULLqrXaAEQiwOsJHaJdPUaR5QTAOcJrW1abvFwXqnQ/qT90kJnswAm
ySAvDNnfpsC+Ia+QfeeQmoDwSPId0dZmDCj2NaKlVZUNlEBJg4GdocmQLVZWc2L4aDs5fqUZSpak
yHX6F5XF7oPBDV7NEPOm6Ib5qlr+7iPaDdNYM1hdl4LBkMFUBkYJ74iahB+jM3LsW4R0SygJMZv8
XR6Jr8iDwh6E0y6vqi8bEblj8rvmyUGgl7i/tQBBWc3RzGEes/jA/IePb956VfKs5jI/KI1Pqev7
fGXDglATo4YWHRZ704kQCWDWWfSrTmMSU0W3C2oaWUJv5k2SwlKW47eAUczwAedRqfHbJK6zDnro
qrVk9AGDWW9rN7ojSWtvotDc8Xhxc07MyLymlevMmBBJta1HMzL9BGXkU72JIzmiFo04XWGGtoHR
8i1mAcDAYyGvZTF+C6IYcC1uylj/WEJcszq+g2JY7wZdHgVv3wt+qVNbYYA08g5gGBI4+O3NDYoO
TxQjvq0W8lI78QWXyV0WUvgh37oV3sKaY1mMMWo9tDzUjH72XCDbmt2VfShUFu4EDSHCXi7AaETh
rqvze6cebqrC2NJkLCg44elkDUj1sXlhqgK2v0Lyok82kecT6dpLrR0cKushvDMTqe/ZmulVzhe4
8FGfITY5m7zy2JbM7kV52a8Ix85hCPZk0k8rETwkuKtXjpl8GBnVS6JXBC6wdK8bNEE++o9kPoVd
Xa+TXuhNhw3+VAszO2RAo+6sWYBqs1ATUWrjzhfWsfWThy5wBzwujPXJvYGD9JmE5U0Zw3RR1hma
vLxFRA6QRCFhgrBLYbBAhsEkN17QMwGy1c0QHlouRdaEvZSqEkplEiak8bDVXPsdNQRgxL3WZbD2
E9rjJrKxvgIKXfUQurr8CdcOm7BpOhFotqqYqpKrd4VaUK8d19uiIMuuaJ8OoGfFeeLZqwfaaJRE
cu8z/MdFqO88ozGX2dl9G2cXLOEDf2wno81shUAMysWa00zQiZFV7FNjjtd1z3OqY+PBc3hW+9J2
KHCNXR802drrWabGmfelydjAxdATEhF+RWRkw86ox0NhNiTgYWcKgWPjyOcjOQWBRtPKcCZ3089v
kMJJcIkam4mtj7vQYVHATbyqyTIvKnBa6CTqzWiD3dTd0hr8zjox4jjPF6Sf/2UKYOFToLG7EIie
D4rI4poJKdrFHxmPL1WynOQUgbiLgnXK+3dsMMqPQXNoUkpxjIgfnChkWpJKi6sq6FcWoje/rdjz
ZrUF7B4Xtuvraw/XzcL2PaJyjMZTV+EEIe3qPYMMuJ9n4POzj3a+mEyAgc0dhvoIxUr8kzmJse/o
wJoi/V2DwTyF6HxraCfzRPSq47L8mCeg7PgybilxXmuWq9WeDKyXyK8YAPYOgQh4F6fJfZxE1/M6
LgLacHuHW4HmLAW0YSv5mVktzR3UwjWeUhOwSUbqagi3YKDbrpsrKQOAMlyM8dAtUBmW5KDDBUC+
zQoCpWYakb8bW6y/ox4Vom1xKQe5rZh1RX31bqEzph1k7uvQROrObE9p0/0qO6YmIAcCBjftSxKS
WdNa0RIqMhLC0UOUiCm02Bizp+wFiqCIDQXY9e1UdhbeLe2tnJhWgHsWzonLvVDR3UQM5r3mwUFF
6Mr6Ixjy7rUx9LOMI1r6sEDLQvGE+tnYOOWyrebpPYQ6PHHXdYwkscsR/E4sCaeBrlhJmAQH9oLK
C8wIKW7CsHbspNkdmPSqWU6i61/yfMM4CWWJq1lhPYFcs67RmSG1iU5EJD7JqBXAuCT56UxmpdeX
BCJFW5C0kOcngdI28j9aIdeDVM99Ht55Fl3RIF/ACoErnF4CV99NZfboxwDem11hk1LAJdiaPfQO
4XPwG9BCVgS43YirCCrxGPnfk/RAFpKhBiIiecScpbGaIwRAStVYwz2euKSh0ouNwttOPhIaBXxF
+vqXakn8TNRLJuUrQRqL37mAp9+fSSo6W3n32BeIiFW6C4L4ULfl1bYBESXFr0r0f1Tb/ExW/cF4
ekV2y5PN1H4VGcy0XDHXm5qRK7Cs/Bo5jAYrz910FZE+6YA+uLYtGje6DGoC8Jc1p7nFCi2Gv7I2
msTcOzkegLB8yMzodZyrQyyz89CgacJjgNLfekxroiXaYiH2TMFvIj5O9kQPCmg0dkN6M6xM+76+
MVZ90vZk4nKiBgcZavN2Bl2EQXPe9h3ckpzN9LouKhpHaBaJj9mL0JrjOshKxUxmADkByuwYOwgK
bCAKaM9gpLRJnDy3NdAh1i4np+iDreOzPC+YTN1ZJcteZVRga8apO7exJNuEfLSwXcLVSGs4uFXP
vMsHUYk+6R0ni7gga3o2ocMdCl59aForY9dNSXCLTAGwmd4HvcxNYLAoum44ARmR+05Pz2DmvBsH
xJ74IBzOEVZCLwhD/CnLBk7qcQtStT2mcGEcWO4MainFfaeYLmnSzKTKAv+OBuAhvvkC6rywpr2Y
xjd/ok5qfbzCzHMf2RLNO3OGJRvO7kGwy6AobXdBQXExx81+1P05TzC8K998zGL6+MEfHv0En0sJ
Wpe7Ekd4SnoL9Bax03rfhiwCGd+zpxoYt0wBDD9GhZWmd8ATs0q0g6KyMb5SX7CldeIPm+LIJ8Wa
STtPD2gF+snF4LQYyxsCqfqRCtUpSqQIPJkgERAejghdtrbbvmEMQuPsMt5LsghBSZNnu0jq9yCj
CFx2U1aXlPe4epgglU/aTI41qM21ZYb5flywo5B6oUiNWOl4KFiD8ybBfE2qsyB0ht1p3+SY1uzo
OYq6t8CycQsNRMSHsn9QyRwxLBqfWcowhmGBIMtsB7gHpU6uvIPIk8tQm+VBlmIi4XCUTLWrfd9G
xauKfhtinE8aYoeu53pvwbjZ8qOREVRDTwuNC1oS+9UzH1jXg0tgm5nPHDcmhCGp64MEUDQ24EZ5
Yx9lZGNu1v4GSOE6lp23a4zqCBeoPoQBJWujnccqr3Z563eXwXUX0X6MbAEBF+N0VEUAsMJtlLHZ
a8b6LkzhNtXtNN8crcjuhvB97mbepqm2imMkrL2DCpo+LrrIaPhJB/Zpxmyi995rECiLRIg4Nstg
6tIwnFXFMJ5HVT2bGHnwr43eKQ/TdSAWOt5ETmCFQRoquYFIhhDufD5mjmMcq/LVC8cX8g1fHFz6
i5WY96QTPEYVannPRhE+wG6Ywk6vPeEaV03tgOeexsRPCQGhSj5kIrkxxu73Y1xCTZ7pndOIXVLV
xNXOm0OQFhQThZ2ebauIroXpeweXLesl7f35EvUotFzHNNg8ZvOph0X7V7hshUVvK0LNWKplY+7D
PVqZQyG3kLneC838MU27GUnaPbBLDsAWlaXjTC9DwwIirLsn2/ktGsINUx0r4DxRemjhEa9KKGS5
a7xmqDpXumGuOIJUy6ANbnmuNM6mCMA3VbIxJ+YF+F8IeWI1MK89BNxtB+vN8OUrJqH0wLTX4PFn
Qq3t5EikmkQIZTHCYOozsXs2ULruGh5/Cn+xrwi3AgWEf9UavHsvKnd4aAzI13jGGQSHIZSpydZE
PxR3HBAp/zc+uBF6/tqsGU/XHgUsEbzrIsGFTfN19rHMM03Nb6YIV3Xf+dvZFMdOL/YctKAoliYG
ygZiPVPd+7V5CYfya7TarTMJ8Gz+cXKNwyR9bIHy4lARIr5qv2YIFoxNnK/I4s1c98bWquVphHVJ
1N+4So30zffeQLkwpfIu+KiJcK7cVYS9dZdGVKDBIjuxPcj4gNO/yZDYD2Ue7c1CvyBqNyrm4I6K
7iUmr6018Lxa7YOJmQnk5ZQQLuC1ebsh2Mu1AP9Ng13vcq9PTxEvZ9JrISgzDYdqol7atFp1s53A
yHE0Uz9ipnK2+KYygj3bqUOvx2Puv6ecDHUS8RrhEnLXbNRsgtRP4+IY0EHNBto/O/GKNahwltNy
YoMcvwcFLy8bk/bK60a5yeAIbFg17sFE70Mkbus4MaDlKxJJG+ZcGEQhvS3ueOuDqr/C3+v8MSFc
7SM/u4tHBjzlNJPHadTT1mPuwiiutFICMEW2EZ29R7Ez7cKSO9RMGOvBHWacBJlkJI0JljQjvBnI
hk4n1qdZirEsuwzT5BGLNd0WWT2tF0VMeofwhgArBNeOiQTHcrxThnvz1HcE0IbtPWsiisXKI0Au
7fZGxiodCstmGo3vnAUG0h8+gJ4uE+Qn6jZZb1yr/NORcNeXIFBSFyEcwgmwodElzoNupzvIDGYN
ii9HveJyPMTizQIX8RqbzEgzxUNhji7lhH0SDXhCN6UQLQF6x/LWNnlyzdn0bnpzvmL6ACbWYryp
Ce8hFSOR2dFxc3AfOgBLp+ClNq7/hueRIaxjXUUJ8seLY++QdfEpS1gYixKGTldVxZ7j596MFOY1
ar8ZCwW1TncuhG2fgga0lWKMSnna1giemmSnsagUJqsR2ZfnolIn/lSm6M4tB0wVlNSHmIpiLfrx
JIPgtVjqVtJf6SSz/isIqJp0xm4OFd/KLuI32bHINxuARwNYF+QQPViFcaGQ3AF57o8DykGHU+9c
My+h8KiIs0hpOtbhmOUn8jq+ZA7Slhw3alNFkoYHtQ8yU3LwO6jjVDEbs3DNXSzFLcQwhiCOcYvt
NrzRRfRMXQx60mlZEhMmMdTdTL5pfK7t+Mes/AQNodon9mtOZIgVA0disQXur6kfIS7c5ZyoO3bT
J4ex1DoLjHbrm6dQi8X1E/QwcCRVFWu3DbfWTweuAmKWtaSgvjdAr7YUi1ggJaVS0vrWxnUo9IzA
3qYzErKALWzQ2Go7B4u9CZX5Pg8dwG301eg1bhWTQgQNzHIr/CRJwYSgNKMHUfjpvmxI50q65MWq
w+gtkeWjSbohf6m17ocRrL6j9gHMVQaMfO104ltv5GiScRmeZ8HWs3X+Aj4NH1mDLTEG0Y8JASib
E3vDZqIiXPeKp0xlBpFMQb8tAiJNgdBdQptzxUEFR095plTpVkVv6w2+MYxMVX9uQ2AKSNKqabqC
X+13ARsLD5Q6VTkDbkg3+3EItu1kIrdhTZDpboM9nbmYxZpahbG3dZVYMm9CHuOZN8VQebfC1/mm
dADImk7OKmMsbhTS1SbvcLDn6bu1CI1bJFPC0wegpVcDrfaKFexdUFQjUD2Kxmrx0WTp6G2gVHwB
p5jWuNq3hQUHrGgkqyaOP/gzj67f90hnnKdsRjHmkivJQLEXECQVZEygXgUnbViJMwbiD1KJqs0Y
Dp/YVTFbZohMYRcym08wBNUPbnQzI1Yb5Rg89ILSNocet08ApbkN8LjWD1KID92+Cl/LuKgvfsKE
xOnzu0yTlksGLyETgMIz977q5LfKFuSJhTDA9uSGkAYKkgw5VFoYe1bz2R4cMOqy2mb+4GxHWz03
zNhRMZWMSLmXVrle0vCm6FlPIY0xblGkMGBfhNUASbLuXY3FJQIicnYLnT5GonqoHNTDUZIBQ06h
RXRGdVNmZ7NdYCyRQDH1fAqJZEERBBBOJ0inFslUXXqcqunds/RXuwBRR4JJGKF9tQsqFWfUM/88
FgtEtYz/BAtUNYeu6igwq04ruVWDFkt1qZ9nVI8WkocFzdqZeBInaK0z1NYOeitRC2S0dJWxjha0
K35mzLMpdx/fUI/gDuKRh6833km4sDF82GYBxdIR/LEd0LEFBY+dX4MFKUvKD28/+TktsNlQgdoa
fzoYtOMCo3Wh0lK+ErmXI6Bj3u0t4Np4Zh8mTzE82wmubb4Abhd/F9RPMIb9wC4KCm684HCxRS+B
iwgFgRuiv/gx+mLnQtCFmceTtbT1C1y3gbLrLLhdQE71iplKQU8QHBRMXnOB84I/Nk7g4N/jBdxr
IPHxYv1i5KApMHXmaCPA/OZFIx5yNpHGuOw5QAHP/taPQQOzg8dODS2YfDmwwQtAWCwo4WKBCrcL
XrjoYNoQMIEoc4EPDzZoyxEecQiXONEMpaMFVRzCLHbLjgQWKMYCmrEWBgchfON5QAfK9MNG1lKu
1QJBFgsOeUH+NshknAWUrBdkslzgyREUZQVNWS5YZSwe74YB58aloCat+Ifsh13mg2JuLf9zBhBU
wbwyqcOKBdo8QG8mjprJb9zcF6InJMa76xbQsw/xuV3QzwUM6HRRiGCvWzc5hlXGm53K3YMuXjro
0RYU6WDBSQcLWNpbENPtpH9FC3QaGvW8r93f+Yi5GSo1ugbKkUXejLmRhVM9UGECNYCx7APZI9qY
48mDc52I8BaKajrY80h9AAvbXaDYEoocRNnqdZn4tEO+KXCmZnC0hxjdawhZGxZtxe7N+Qz5iQPs
7eEvCPeC4w7KdlqVFm/JrERmsEC7XRzoHnYaOLFoLou/0N4wvkNY38CvrhFd/aBQ5FsLDnzCmZbT
AZnukTu3QhoHOLwSzdek2PnMY3d0Frg468b+gJnxEwAFN+5os+hyyIYZP3s0AqkCUe7BKk/r5idU
wMs1l471j3Um8f0FsYGPDzB/wVunth7sczQAya5dcOhGKFhdAkh3IaXjJYx2Pez0pgGiLqGpC6jq
KO6SR+nBWV+A69mCXgd5UoGD0PtmwbJjc8122YJqzxZou4be3rGbcwzhoGJkRJ0tiPeAp72OxQPx
0+beXzDwjY3ljPhf9PUuysVqwcUrHmi1AOTRmJqHaGKlFygAvm364dvWDSYYiwf48+4Cojeq5Lcr
4Y0uiHpSNEmCgFrPKopMbhlf0Ygya6zca+8fBst4LhSrarj3oJriraPhpKQUMFWEqaalbR0ZsrEi
PDctQR5KMROCpx/B1e9QgU4kXKynCul2Nx3C4jaq8nmEx18BoT0JbhbFf/cWZD/rxqXdNs/dgvO3
nc8BP9NG6+DNMOd0hx+Ilxl7Jy8xbnwDSNKhqVOd1yxJpi/f7e9JZv0MliABgDf8zx7pLp64RLBJ
93HhfwGTO7lLDIE5EkhQL9EEyWB+V5DOaKSJLYjJL3CXIIMu/LRjon0gD74lS9RBROaBWsIP8M0R
SXmdmYQNIQ+udGK6PfISyFwzd+USoZCxBtqFTX2vSFf4X3Hh/X9lsLPwnP2fv7vY/s1gd+y+8n+x
1y1/4Pdf9joLp5wpJGkweOFMF3P63+114m/CcinWhUOz4AauhVn07/Y6/28mwk+Tu95Fe++K/2ev
c7y/YScIEM2aInAcL3D/J/a65XNV/2mkXJyDcA/47cL1TNdlec5y1PpnI7XyCnRHIFJXs2IRnHkf
k61QvEQDS5hoxqhRFpfGd56p9f2SpLmK2T7LZAJotfsmzQH44vDUuPN+HqLfLWvS/8ZR+68fEAth
YLvSxUsY2ALnyr84apmHLKIBBxe6YM2WomM7+KWsDlRk+Yl/sdcKTRCJUROx8mF7ilG5tmWun9iL
TUeVZDVjM9YKVB3uqXCZB0X8kKOq2j//8J3/X+fiPzoVPb7If7yUfECTEb5NvrDj892Jf/Ep5uZi
kPQwO82wKD8Uu4I5nsYraSAtgQpaH9OoeWBrOG9UJ8XbHJreuWXWDXtK5uzolH0gizZhpOIe+VrK
By/PD+4wM9FhQ/3ZRMPBrj7CdrQffOG1j51TPUcEc58tLfuU4rNN9l0wfddsYGJiZLFOxzZcQaCc
G8do9Z1s303mqM9jnXY738yuRN3IM42VsaudqEBa0TRr20dYmpQ4Ck2GHKd29P8YHRva/wQmlIt4
03Dn4clINUOhfIYAHTQPHUTN7X99PZfb/1+vZyBJKFyeHNvhDv3nW3M27Mrq2Busqsq4G3QqMQRV
ZGQpY9zB4aO9CwMgK+Gxm0rrkjTe8xSXKKAtmKYhU5cHnynxf/OZ/v07xo1NpyUF2sbl0fnnz1Rn
jYU2Yloy4pC1Do0xXsp5fq3GubsNnWkQs7KJchbMfVb9mevMpwDqp89CmW9KW+bqv/44/4ZBMDk1
LBn4ngk6wDJd758/TlMmrQYoTbXYwaT2uzi+guscdoNF32526qMb3fkejxFzqYQua1W5RbdPxhJ6
Jy3Uhy3/g7DzWo4cSbLoF8EMIgLilal1JkWRrBdYqYaWAf31e4Ca3W1h1vOSxhxONVMAEeHu957b
GScriY1jlshDIfVPt++9DxEXGJXa4odfChv7lE5YEidQYj9mq6uZhIeWhKONgSSEQlGlp9xKou2/
vzfjnx81XAfXYRH00IiZzt8+6ryqzQT3XfukIDAKF1NgaUAPpUnznQ7aarA4NOVg2t9c/5voNUZM
JhnAuUXDIStkvf73lzP71/+0TnJzu8AKHdfE1WyyHP3tYvRG3y4KZfD3vYzSLOwMhvwVc4dEz+7C
iO/4fsTh3//mP9Y+UAJsAbOrnjvA44v+69cLRDiOWWxm5Ub+psmExcSqGCB3AnZJM7YT36JoDrhv
/Lk12720E4nFGU7ObZR+yBTCUmqgEKvAHsE99w+hQZRoZrviv6zS5vxK/vzx8EpNbggTd7YlHJJO
/vpKiZyNcpglzOolBNMkYrYwGNbFMLpPlSNroBGkqV3VlxZN2GQ9BJ7/bPeNj7mm/dR0XHI5Ejkm
l+Y7sEf+/yCZpk3ickepzDq2ZVdc9ax+dmmqssSrY914yW0ohy/eoKsrZzMw+5wa38G6Df/lLrNn
n/tf3x33lrQdU0i2yXnT/uu7i+geQO1qQOnXiXfQTGfXw3a4pxwCT03kM34fnVcfd+mL0goGJpof
MCApf+ljhrWP3w1lVLwEuamdCodcG2bk2qbnNLZRdVPdAXyvCYcPX5LC/oW1LD47HZkFoeFP26zu
jlrUuY+WoICNpxUfvlfkeyRiX3u/V6/wA3dTgr0g1Yc3Dx3nNj7Xg6s2qFq9PTpb2tMmUea+p8tj
hczmJfOtq08kAfMIs9haJhqATiYJhpHqc9m5EgJG11ly0fAAnosg4O2JxDh0bW69ZhLzWmC9pSAV
O90KL0VG6bqscbVPaZRPTCuU0RMtoPruSLYEO9PsqPLMsDxUiDNe1Oi+ulrubVMdlbVXeRZmmGrT
JQhfMWNjMUPLcYv98jAYtrkvC6TNrATFtaSNcnVIdcdVzIrXAWedRuVsAkzF+1hSNqk+DC4BQPE5
acZjXtPFB1NYTLijW8vOfdBgJV1KE+dQY11anQUR9VrJCAuAdQlcGW+CjRrGFvG165h7upArtt18
8SHGL67YeTHYJuq1MR3ser6tn8cgs9XWEFp5bGA1InER44pZOhPp0fygSPJP9GM18uWQoVcCCQZ+
S++2PJCe4W00nwPNUOUEBXnDeihz/ReHsmMuiW4JvhZmUzwyT3fpHNOaq5KqJ2uDkV6HvOyLWaOb
bwP94JqsAKY0rUsIMGzuuq6TRvxipF59tu6cnzdBICl0DlCMJ05BmU6zQYjLcSQLPm+LRxN/qt7L
XpXZI2RbFhhpYBPDgFQ/8tGp9hJ62VMvGSm6lfERoL6h211Pj0ZgElUGIW40xcxjAyX84HRmv3WQ
Sa20Mf1Z56J+uOXKK/OUVE8u9LQQ2c3T6r3vWwdzqrpPITi1WB4qkoCe+Ak4a3muovF7WVj2z4zB
KRq4y3IjuNINcP3tQyrfEwJ60gW4hBujRNi5HISEEzk3LXDk1tR6UtY6A1W3hHE6BDRHbBfxImVQ
GPj3ia8weZoHJ8ek8OUpwVfxhLeA+xJTX1MB86Khb54d7JvbXGDGNmu3xvYBT5XDKqvafIZb/uks
JHloLmZMIwjtWZ9qnzS7/ILiKD63pbTBSvtYEfXpIwhrIjC1hoklw9pNhAviOAF62FgeiYZF5XyW
yKlONofUoCdqcX4YQ4tgsBqpQQA2RTVCvix/W29s+5yZXcU13EQ7LaV/FxU20hz8jltaCL8MVyCB
cgMUkZbTrJSb12/sKQTOS2VDS+JfkfYnT7FV2Mfea35FeObXfqAVmwgH37qANfvkFkxFlhODZaI+
UZMjXjo61ZnRTzsh7eQyOcOIJn8qt8KmhW6QFLEPDYVFqA6PjdVmr0lnZS9DdAtE4GGH7iRABj49
4MjEWLfbOnf7S6Z1xN7ZunNvEyATuGfCLzkYI5ogxrCxzPZHPDkwy7paQd+OwkuJib9FpnCeGCyt
MNl5q4BB6MEXI2gHgz68Fj4sp4x2RZ59Dwop3un5f1ZBdBDoO++tipMzDSAywkJGR4pxfFVM/dEN
p6vn6ylE5pysQb9Bykf/+DloOHu2XrFXMI32VoZzzWu8du//oIljH5CjObfJzo5+WemnNNa+xl2H
5M4ACtL18XBLRifa9rq19ofB3TpBH56Jm7Ke+gHvTBIY4HzmnzBJ9l/k2H3gQSEAAJfKHFogxtBf
/d4eyZS0902gjE3oINCyp6x7dQIPXbyVvJWM8J65+z4dOY7bymzkzoqMAGsBw0yBBHqPjhp9QNH5
p3p+IOBgBByulyST28TQQ6F5Mh02Jmv4Hkkx7IJSEy9Y+DaiEx6BEtwrUWXIk0Wf+gkxPRt2QgYX
Cv0jpRE0ulwSW5e2yaqMB+9iReGcAp9HO6Mpd2ZS9gc9Sv6osqk8AghqUC0b0RUYC02moHkGkfYF
rox5COLeZNKIjRehbfAsKhqESE7qL4jfvhMgeSmbmkwUWTKQtfLyELY9iV9M3l4MbSauD2ivi+4V
0K+9lcd6kvLkZb6xDYU1fo0Iq277q1+091pl3OSmChkPEs7VWdNwKsxwJxZIXEicLP5WKi7kDChN
QaEkZD7cVSo2Rmyoq0nEChq6xN13DWP6uk0Y6GvX3mYDji2osdQMu1KzrlLv6kfIjorlyim2Leqn
s5An9Nw+eTFeCcSlc7de2cuT3w/ERxkWYBcE79v4yA3R3iOZj/eJg9PW1eckpRwRiwFUpJIwF0uo
BNvG9Y+B06AFoU6CsWh0mzEu+l1LGnfboMVyBpqJXXJeHnpsiKu88fFJh2m4m8xs2FseBGHDKsmI
j4sTjN34kupATWQSge6WdX855nGozuX8IHUnwWY3MFrsXfUsA8+hCbaPmCVq0KiU31lvGbiLfWb5
NxQTXCheZeCzzAYE+V7wRiNsIjvkGuekkRiFdyMEp7vxAp2tIir4xQijG1iZfYde1ihM7zu9Z5I/
5o9IQTBnaj+hg6w8RkA0bAOLVK4qyJJnicAZh0f4IntmI3BYigMCHlrtoACQ3WSXXtL8TtjRX93K
n8PFcHjGBsCZaLRgeIZ2TIvXPAxy5Fnl1mf45z/CvM6uDZEnRK+JFwWBYl32Y/2YtOCtyh21Ymho
PDPzBFWSGQnCtRwhUY7QeDs6NRFl1cApD5VwbOG6Nuf/rO1IVKht0+z6QWlHJfkXJdkcvL2ItFlW
WaRQfovZyi1QPhBnW7TZsx/pr17VZLfaZ1JfWGpebeLgkUUW10FsvblJb2zS8nkY7OQBSPIF/GW2
XqqBLsXkagaIOMe+7O9QYyEBZBiu27KNN+1QTV8gCmHaoFK8YeybfnYup6nCOXK24cAbjLiEIFNg
+OWtW3nwPM4ND2hubAMuA76psq9u7OUL99aYPTyoHYK99Dx1Ny0kAkQ502a6YqRjv5MkP5ez15cJ
4sqgY0LWt99vqXZhZMDYep6Ur3H/9dEuFtOHG1c/XQcAnll7XE0dOasoP2tBDTphryEnok64dY3O
Nt8mjGmbJovehqH9YMLz7PZ5/qrm3UgxsimAritvfK71MDhFkds/YZDNniQ5cojx+Lr+vZwz/8FI
s6mQdOF4lLXStg3zr2WEh1OgtEAjstxFRx2Gxy5rB2SaE5OXVBu+WmqoyLwlIaxCANS5KiHJNVW3
5SFICQWQIniotv6+fOAQLa1jVTKLMPt6F6fTf2l2/KOmsx1B38WhRWiyav+9n2UibEM425uUcrAR
UtiWF3OK/D29eHUpIv+Kox6EtUvSdSHG4f7vn5b1j08Lu93c3vAkXDnGfH8rKQPw8MwzobpAouG8
m8ziH44EQ4FJ1LG70xQmz5WJxyaihf82JB7EbNN6nw8OMKvADjpdBiRhPpexCtER70GZmlkyHLxG
eDtXk4BbVD8e+7L72Ucqe8mUokQAJLsNlS4/a8dj30FjFTIiApGBHvHf36Lxj08YeJVNg1N6JDA4
7t/footCzzMdv8Fh2KAqRpGM9BN0CBPoelXqqOtFCDHMKdzgRF66ujrgalw0eOXW9Arv3DnGtG9d
poU0mcx1OIZUyU5dXH2ovbv/8mL/+X14FL/C0wWdadNw/9Yp7rUhHrKESfFyosTjrjPi12gsuV5f
bNoiR1c1X62ao6qNgKe6krofn/7Lq/h7U9DwPCH51FzJnwEBOneN/gT+DNuAYkLAxQ1rA72QFiM+
1ZkhR13sPmqXKSyaUDaHePKA2dDZXvtWXR3lgDPbtauf02iCqCyi/7AH/4Ie/HP39x/tqvmF2TZt
KkH4gGsuv//TCyMBztRyVlFcHVlKuLJBylhLKg9OC46kQB2N9EdrmBR8eZSs0zoWh7aBIZ7NXEzd
sYr/8knRxP9b18LUTWEbjnSRL/KtWX+/gcIit9EUsqrFeFYKhJtLj8EDadAAcEE+cayMVu0CofTP
xi1/6J7Tvag2ayHLk+8xEkxTBDTg8C0dGzNNjxp28QmsD2qPgdgcAtce4OkNRvndKk0lHl2FCIvu
nPclzGGttwW8F01N+I6LX5GCOIJC9kVVtbo1uHZvSwuchHq4y9e4IEMvWU4IUhP7yiXQp4kM+xqH
SbxfbuOl0HI7TVGGci9PQfj9d3Pp95k4cg1EHpFWP5zG++SzfU4b2rIF1l9qzZNLnC/itki8JrZ3
WzoNsJfTh+l+6Jvf3e0pB3de4sF8RVVNXm/Tc1CdixQEDd/rAdiCJRvrDQPdvSgRZvu5h6rRxTmG
8Uo3lLia80NhUlX/pxbtQuvAoU0+OVQa5Ow0NLDrocc0qFD0tUytMfo4ww+R/6Goyn71HYBBfWbZ
WsR9nIogaW4dGQ+YnnTsuW1xGGOZvfOhYwdHEa03z8tb0TVv37kweG2Txc2Q1BSYiSRxVLI8uY1X
Plud/0fqKyAyhJUccq1A9OTp1fMszzyqTtpsNg6J3cLwt9kQf1aURb8ay1jpiTOEYAfESsQIpwa3
zy61Vz8jQRi/iRGKFUdT790f5lzIOsO2SKbf2hjy5gHjDbiHhWKAk4UV1ONHMMboxAYjQZJuI5ya
r6FxCDi6zWdyw81fx4zWhzVV+zDR6RZxf5sc/DkxtPUmnQ9BrdM7q8Lpz9boNReh3JOVhtXJCZ7b
TBvuTpMOZ1I5GmY8Xn1usLqtueWQ7DNU9uYDQJI42SuDoN+XjYP4AUmn9Tb3wc+VnSKNtElPht/w
NSkiTmTGD680Sm5XAbSiwFUyZVZ/rNH2MJrAXiDQveQ+jnrdnrFmNRAZqepHRLOn9jr83iP+icop
uFRCa+uZDR5fKOPmSlT1j0p3zTeiHYPr/z1rMjBYxJTBD/A8746unQKxG5wvrmq5MUz3CUpxvF/+
iK6RFxL3RcOFOj4SpfebPi1+2ZqFPMKPghNJo89L5d5T9B5DMXHkpE28LqdW2yI4F1uBMIuAU6Ld
EJYgLu3AE4V6fwDuj4ytlRMUX/Lnfi+uU+FGyPGs98QS+Wl0wwNwrQBCsI18PexTbkADKpAUxiqV
2Hq73O/eZdlfh0TUdz/OiViIzZ8Zc78XBJztvmwIFaZu2KVNKl8wxrLVesbPKpavFP4C0x0PeoFZ
NJDDWUIPGo1Rf8YUoA6d0TK1Mupgg+M1Ok9wI7r5Eqj7xNs6yCynvWGHr67VqJOTNyOMCKq8E/4o
0oFQe+Nz18/IEwjlm3vOTuW010kC7S5CttkIcx2hZ+6pnL9bH3CCVUoQLz2Ma+JhmtjN7uw6GTOA
3loZCL2xo064B8wJtY2eNs8hkQq4eYnXm0T/GKDSXZYHVVfFJaBcZlSYmgfdzqIXG2U1epqXYYwd
CtQY+uS8k+N1oi+miNPL2+CPrHWGCyNE82C4W0nxuVoqc3di/LJsy3bDMtEP7g46fLcluFVtl1ef
TToYyCLbL8/wMiY+drl5z4SYFdeuvxOmM3yBKXAsSVBYL0vt1BO2xMQrOEz06Y6d06dkn81JZ/Y1
hRnEWVU3trWs1XEpjzOHTmuL9/f3ah3iEBC5Vd3DJrNh2+ABnD9IfJFzCA5QpcqyprNF/h/ysFM0
H16AcTx0GYujLcyem6eJ9+VYbWyNASThZhPLFkiS3KovLkbjVYM1cjcwXFt7ZHOTxTBu9EAkV6Fm
h04gv8mpMd/iBknHODnfJscJTzVaRoh7sXMxuUculqHZW1PH2TmOlX9K/ck/YZPGDj20eFDJsTiE
os73JDSrlUWPZG2qgOyURKp1Q1roPk3RNtY6UTkIbcc11zWBRIVDGbIcRpaT+tzNiVJLu8fNLAeZ
O3KlMyuAanJzvGHITxjfdokcuBOqZsSfzJma+YD1ohvW0ecQuKscaKbCsPB9FuPXXNCrwW+5B1VP
fH2Br3kOVdXpb28GlSPrL5MvsvfNjZt41jp3YjzaM9EmZ6p6ouV+Ww5JYR8b+8isQFL1uCDMaYKJ
IZKdYI/dBmXpgjNFFRNU/Q+Lav1RBEazqW0KbZEiCMXOrT9MWoDI4VFRemmcrpYK08oI9fEYfqaj
m/7QxjolRX0I9ktnAxEsytV55/TK9sO0++mJQMh6jZ24e+/0j6AaroMiEuKpy767STiiBXsdu+41
J+j5GzkW1zb/mZeMAJF91xttWSQsDAuxiHL12YwgcFND5fca9rzMse3JkoimdBpsKEWW94Fc/3nc
x8CMns0yI38+iMxpP1b2bXlVLe/7ZMQIDQOcRnWg1WcOt8UpNkvecq//cETqHpVFuIeicCMim25M
27VEVOjByengEmLT2ZA6F7yMDbp+9oDpM4/xF4VgMPPsIbCm75g5gP4E3bZ23JDUjm4PjTP6nqGl
17lXHtjQ522iVPgP5n3MJEFrhzMQgHn36ScyetctdRh1BpE50S4g2wOEUJQbqwQ00VMWi+5oFCLg
U+q/TSyFNFaNcGfmkqzUiamMItumqTA/LAMdSHCH1I2O+KoJVe0LokEsZB6rpibE0fAqBkK9+AMC
8wXvPPs848YtFCaUaEB0Vj3O3DPQqeKq7Dg7RKZOEAC3Q4aGm5KgDgX9A07CW0IX7HUUoFtc6pRA
B0wbtgw3OaxiTh3C25i69S1vxIlveNf3U/GOVTo899yYOLNNchnsMXlufe99SJPuk5RzhKI0hV9N
B3+dVQxvUqc/JiovfClKv3pA39C0PwKDyO+nnAMpw1IHQoTVHglT7fe4x0piFWmZxOkXx86xsY5O
CQVNwabNjfzYKAirGPEKumxjeM99MAdeDf9FY72boyHDfW6c+tSE0jmPxrJiAGPQpnKbzItJO7+0
1mto1KXv2iDSYyvJZQij4FI7WvFqSnXUYKJ+ZjSgl/mbYWGhsCe7uDhYX4iK7PpDHsYsLokTkHxb
0fwQevI5cWjYckoDvUgAwi6eTzVly5WlEzf472WXcMQ8bv/zhJdqgkpCMCWj+HLcvzcvTOjZZNKi
/O6IUJy9WWKYS2oOWGjJDtrS4+rqdtppxjiebOTSWFmsAyvZeLqoQbbfCSasvkzQ0WaDIYjXLBPX
Phz0c+986LHQAExnwbdGByQmYMwaE9A/4MHrnNxYJ7DtbTBmzcnNcPjRGnefatdu1svT1Oz+8wsK
eoOTePMFx11AAYKXjQhb8yzaCkuml4mbg8R6EzVmwtQhq54Klb6WhCvs+yrMX/vKi/f6nAmFvcKa
9wdjfqCtO24Gh6Anz2ZCRc1TXcfC6+4mTg28iX75YmcAA5z2ly+TWerBCVWkVvWwsGrP+p7tBCLw
8v8PURajsiK1AQ8qLS4LOuu2aT2tOXjoOPKDaEfnh9djghvGdmtB9jj4lOcr5bjirUI77iTpuMO8
5qyWqk5qrrfXR9CkyRQZRJAPJyuqIUfMXRu8a9C8Wb8nwqP3vg0qoHRa47UwXHeHIv9uhIXFBsJF
6PW6uYL2rDa5nX3LEuVflweM+2BjtR79bw0kO6V39f8fD1Osb27V1/tlBZBVeK44nh+yEeV/541f
pRvb8IYQItjBuLJCZKpNqV69kBwzEa+0H7LGROCYfvEoOjmczDwmN64Fvl6gV9kvrTymUnT6hwuY
u+hUNuARy3a6j2H8IwESinHITG8ONK7fYyH64VcmfXPhPXwpYHOt0Dz/7hFMg25fw7h9FNmMaPQA
InOX1WffqeujUxMraJ07HHpfVeeIjYMjYi1G9O54+l7x4ntQoqMPObjlQS8YDjPSnAEFHVjV2B9W
dly9t/XgXMLe4brBMfOk0/c5AAic9rGnmFEt88+fgWfnv7t7WdKOWz0khFwZZBCG9GQvAEZIDGpH
5J6FLl68GFAAbp7k6rb6bpmUUVGvMUSSZd9ifbVC3XzLJcFHU+y3B0YJ34ehSY6h2avbpM/E8Xza
FQIrTdy1yYPu+zTS39U6c3wvyTvy4qLaGFU3UIdXq9zI5I+OJRKp83/OxqOnt78LqrDHsYtmUWd3
ApF1i+e/EaWddmRBvMBN/4VRsX/XbWw+RYLVZxarJP3Uv5Su/THB0b71ofFHWlv62Q5q9BR6ttd0
D69Srjv6rhm8/pQEurav558Ycmn7ScGkpK8brAI9c08djOwta3Zy9fBjt9AWNqY2qZMuu3Er4Tm/
cJqFApGMLJoI1B8wjK132dRvGIBHtjf8CdBJXhLN1971wf9wEu1lDn/8WkvrNERJ9Ob3iXGM4Pms
60TfV4xaXgtBqTtxyrj5Ss/vGjxdLJhvE9KpXzrj7S4fMQiTWLXSmsj9Zdjayiz9i1nY0X0YlPeq
1WtQwmt9qtW0IRKk3fZazNyG/iJD2zh8bmPd3cs4F+tx8g5LUpNCsbcBYC83Zj1CFbBmAD+JAvvE
BVfSu77BRTeCt6XbubZ8lN9otYH8lCRyqbiC6aNwPxspYuy07SwERPtFhZF1FmfGXAv2QigoQo0D
y1pg/XPmXTytt0T6EJm94XsYP5JMgUGy+y8xAaKgeftBf+JIeW/dyN4s7fTWqYz9lDFI8mGiBzIZ
794khzttiWaHPe2kRfG3cqibZ1vP1XnK5XOdpO0OnT4+Nl2DbTNNZrv9vdmqSjVsahRJsBCLy/IT
seKXSgjj94nCIr7girw/YP8A9QTboxmz8N5OTnBPh4mxgpkx8JqfRhY667LIu4ORFC26iJEOat+8
ivk60bXZepMJf41+FHQbfuw9h9bqPpY0CBJ9PBAu1LwWlvw+VjCYbFf5D10R1Cq1aoPjK6cKKOtD
nSOVLRTSC51WhM+8WaLcpo8TX6O2RbVZJx8zsOvCSB8KqWytVaky40vTA46IynczrLZm0rqbmmDH
a5hFznpg8PrqMw8viXRcNvflwYXwF1QOqb1NiPZdda9hkBGeEGWMjEzvnYImPYzLAc62RLPya5QP
Ioh2Y4u8L0HR31ZM1fFXVZvGiXx6UJFxlrTV1o7odUBBBvA0X2M1NIllrT0vX5HxhlhBG9SjTQmq
ZyPPt4saJyheTKWVF46qK4z+4zNsk/gY4gBuAPceIfRTrouQDBsvCJ6NETO/KdA+9MHadBHl2DE5
1JE/bqDBpRt3SCCTRoO/hz2V3gw4c4bqyCuy8ShLG9YtoYSKo5FkOKhSgKB1kTw7muGQZFuR78jg
D1LvqF0xQ4P0E8jK4jI0r/TNmrPwIbUnRGF2bjN94/z+VHee+qxtm93Zdv8Y4AxtAqmTfYnUxUdy
YP80TEuy7TkgPKymeEXkhiv1oodlBF6RiGSD2uyo8iT+ENLcipgZAvl1p6XBNASLFHj0V7qOvawV
YXav+q5dxRSg2tAylrCz6tOk7bEJqueqICAcz6rLPdHIIzah1TL3aTMioaPY5q3gtRo1w31LyhT4
f6JNKztT3xU8I1DYtlZtLVpFIGK8+iES/Q8zjaojbs2jJ5P+yq7U3LCF7iovsC+a2X6Jcz6aJoKK
PvWEP2fShjswsLasyCof130qoxngxfAd4fL2d31OWigqqEatRe+Z6072wGbN8KVb7uCe8wwkgBYL
fRBhbSNK+rL8hMKGW7Bu5CkMGwx8iXgfMrWt2nDcOsrHq+Fn3gUmhN8cGimr7eBY1h0dz640g+5i
Gp599Sbc9jIwr6OXfJjzQZtD2XRw8vAdr9wDtBYE1npO1Y5E/Ijmw7CjNQnHZ/nW9Y22XoKylgcF
uM8SunFfnjWVLVjz1Uelh866IIRj049xQ2HOFAUDOBndv5/ncTHdlNl+LXqCwMgwemcz8GeqbuMx
IkYgT918Q6+k3ZafqsrX1gPpKQxW63AHN75fCWnJl97lWNBnBD/WsyBuTCe1znvto8DjjBcs0ggO
Ecl4sXGSJfgb9fndmnM+ZuCFv/d67iOGDAOWfMe112XZu1zf/zsqXHZkmwgXo2CHYsC5HA9IkQQr
O4zPRqqyuzmmiIqKe2/5FoQu0384vu/cjeqlBZ+/DwYPEd28utQ4sGheh9kxZdva64R4rhouEnLR
oAAun2De29nOKG1QwGSUGIX/q0mpSmLu5mHUxme4Y6RKawEpGLNYrpH205SO8YuavbIcSfW1IKxr
b+SGv7KUo2+DOpIP4rDlYzBpxzqDJ6iADO+QdGUAQY3KDM/qboiqaj8hULmKrCSaIvY2vV7BggVB
cLEaaT55U0zWeacezeDIlbQ5kepOLl9gXhyJg2EVA3hObT5+JaaqPi8PYY7VqmnpfE3ANEnQgd5I
GlrnOdWjFzoQmEDiOnrHwVp+MUjIhUjX3wKV7myrDV/6uSAkc5g8omnybpXw3FvlaZgoXCYvyo8g
2KHlkfM2m9B65ZjXkB6/hGrPD2ZZ1HvLHI/A8sdjO1wLCPechybYaCQFgqFc+kqtScskekPL2hyl
i7MVmyvLQNLkYlPzuycK/atwtHH/u209dzpBNDTn8I9BOe2JVLjuZFeai/RBfm9Rnp5qQ4pT1rpP
pUnISGek+0B7NqPR25FjyKiol6flQcXmN9m7JaulSRRmUaW0PDkDLheglSGrIEA2PoT2nOZZcDEh
7w43hpJiH7fsoaUmq+fMjTBcd5XcWIm9iuJmvE5GNF6Xn6BDbyPOTXTDsLsui8HyYNg05pibFGvD
6b7Fblhd+rbrr51qPz0Y3S8VmxXHm+bZSVheKtAHaW1vnTLxj2MQ/fyts0wGinx/Pp2gd8G+OmQA
whv8VQow+zYxS5oatd0+1bkZb4bO6+FHB90rs/vw1JrgqvX8G0YD8TEfrVYtJoCVxaQKigb9H9ON
491IlOWxy4cPq9FdcDbldCNguN+FVtYjWeSXEXTNFXA8zu+1Q8E7ld27r8GqxYprHpenSJ5OgSJZ
JS3pROJoGZ75KhlsMuQm/E6jyzIRtFEhdQ860Z6qtHkHXj++dqE/7PsQbJkjM+sLRo1zo6f9Nk5z
zh9wwZG2AgFm1YWn88vu47cSbvlXr2OO3AAxOHkRDJd5Hz01Mh6eqrk58p+naCSWp0kbOnuroqto
cd4VUet8AowzmGZGxnVI8+4x9d13vyFuI6PWA3qd5PeyzsItaCOLKCqeupb1EglZXiod4dfYUgwb
nIdfuzjgquoMshOSHD0hnvNNNgtnzDg60d6drnJu7pSVyHcJU6wubtXKj8CnDWkmnlELfGjjkJ+X
/0lNAdRVtJtgiUiiWl58LfvqlOYQU5enhSsrdNkaJCOsuSKSlMGiQZ80aSixIbO+hTrJkJlH17bO
qM3QiRU0S4AuD9mr3zT2g82VEFOeRdmUvNIA9yCSto5osPFP3Bl0k25BHoHfx7C9XKCqJJ25n8zr
NE7Ey5r2zxhusd1EvzQj755tl4F1Vin/VJCENFpF+FLpIGSgL2fD+GtM4HBOyyEvMnob6plesy42
xs7UWReWhTuAk7vOWWwIOGVnX7bMqJKSpHlEe8sgM506ECrxKyctlus2Gj8qMs82RR+KPS298WMQ
/W6UZX3tg+CVdKTgYlOAryjXtc/MBsU2tmN3AxRfU8iDwVQxJWvBQGgfVWG2SUd2jEY3o48gGG4p
TtK90ffNigOddzYwJ608L1HfbOJuK9zFb60CvitDUh87E5LjfJCh0Vc/OHnnt6zjc1UAtUt3bI7L
WouRgapVps0GnkHmZDQr/u/BYqixKo1vsm00NnBaety/u8nQs7c6bfszWPd6NchIe9gO/1HQIttF
axxwHGNnwy+ZG5/wv0kJt53+qDfKfhU9iASHYCAuLcZFXv6Evab8wwrrVz221YuZqLvdhsgouzKE
USm6PWECFl61yLpX0fBcM2HeqHgi5mW+A9L5QQVtdREMcFor2DWV1V1gRVh3O8zEHdUmSWg5RtoR
XIxgj/0oBq6uqTr83ksj/G+JPxaXtqcUwk1OsrxpqR8wY0hPbkM9WxUGzQnNCIfDDK2YlXJ2UyXn
ISRQrCgIPBnt1DhnYAkOleV/DJTJT3WUp3cZ9cW295tbM8/n7Si9pI1CjV7a1RrH2iPMSLZ1tKoG
iA9Ga2k1pWMXrEcWZYKR6Wc2se2fCLgEODnG1mEZDjiINtaWiRFlysvx4OA4xgOWP1XkJP26NARJ
rt2urrZ27Dhn/X+IOpPlSJVtiX4RZkAQNNPMJPtUW5JKmmBSSYe+CyBovv4tdAdvcsxu3WqzIXb4
dl9u3nujnT0ZcN7KwdJ/mL3Np0TVR8rU7Nvvg3n2ImML46c8Cgx+5JfM6++w2nQ0IUUjZUOSU2e2
U+Lz612L14vN60oksPrggY8iHJ1yzi//UyrMzs8fx/XpM3Eenep5HSPlMwlPdVQj+vOcATksvavj
zO2Nq3v0aMdW9SDGEbiTAexgMtLt705eeOQUo6Z/LIG9bHg51WeRpad6YOedDhmMW0e/gJIYHsWC
Y9sAT6LdkuLVYHEeinw60sWQ3zIdCLg53V7qZbrDzPu3GvzxAr6IYE9UeY8VEJJIRh1sN/JJgHa9
FXoR3VggnX5/1u8PZTP8ujxm586xNWBJnrj9Tpbz1Af3cRSwaXdQrOOivVPs1Q84k2lgX437v/NT
6pK/oEcNjz+VWfa6Lh9N5i14fEC5fxXyVX7/XcY4NHjdrY9F+gionlm8pdktcDPfPFu+L5TCbCXk
5zsZU/9RLWplFIouXDCbh79qK0BoWUeo33zNthaI7n1ElKhbQ35T27IDrvjEaRM8PctFGuKQPnaj
zndlwVT6a5lPdJ8cszH7iCDBneaZWtI+EdGpRe/aRpQU72VfMCe66T8YVNlTVBn+lVzfQ49J8zyp
drypEbskKvCeV/azKvAaZV2xQKjG6dg3zf2v99EwFXRXwCZ4GxmGSZDNdybWZ04jmpsYewhCuMMj
t6P/kpw9SoSJ82Dbzb8lt6z7OCm+lIEw4zVW8uVUM/s1zkZ2768Vsyd0S48cSE6iEFwRfA+pOE5S
JF6UO7j4bTIbN1TtyEV4+awHre8q3GTbUsfnUs5o5vILJCaVMbn15Iwpyl7Cfqd32f3NyRWFaB/N
kT5Ch0T+seDc+OZ0GDQe8SqmfMin0QAzZB449yZFQdsAf+UiTELu3LL2KPgPgeCtRIN3eWo38M/s
mnr5kts95a6NDBcQZmEQkLFxOCmiMZifqX0D62IQFZAUSh2WsoHvHvX83uVhkpQFUheMIpUUI8Uw
9kJWveCSln4mDQtwXOePylX0rueeu5k1Ow/bZP9PvdM7IynGGbqIZKIukZ4xwvtP/qkv4U71vfGX
fQY+B98+pmQhTzGYOYN7Klb0oN+ZXN3dwIDaw7ZMGNT8tcyU06jZ4Yr+HNFlG45pdu4KoEZgOb6t
hvlqyV+UiTgsEIBDjDcT66t/ydhif7Xto5zk+qFsoxD4d84qZAiH0d+1ZjM9IDdtwW2+sGr9q6bq
g66M0oAgWoiqI2dpIR/qf130UwXTY5TCxRBjuV4y4ORWNF9aVnmOu3vXjOp9ROM6CnBQnfplzRlE
RsD1Sv4kxhi6vIftnIB7aM/oJNVdmfoglv/24wSyOUUgiVNAz92US0RWUsaLMf+X0wdzob/O3iHa
I2nTMzAoc7oA6FlAkG20RaaH7rGc56zfbtTaWtUFlI71wBk3Tjw8+bY33LyEmyC+oXoLv5AJfgbO
HGC9v3QyqA/sKkbMFunLqrNf3TJvdgNbghgZyBfupYJQtRE+To8mQOfVgUlpSKoQ+celPNC/hLAR
hW4boBFCASXmZQcHwsiQsuwTvqTJL4OdEMmjTh3wlua/2vH/VQY0b2w7LlN3nYY5c9iywK1PWf97
pqI5zCNJLKACl4bL+hdoiv+koK3vjJVkaZYhvjhu55EHeL90duht9tanSsYcGLjGDnZ3R0MLqSuq
KlfczaTRq5IuowhmhUnSdHaIgTFi0vS9szsdFxlcVB/gKlnW9nJveimKqj9OLlNszdGAl6IJCJFU
NiSwBf0OpuHVWCzrUBTzT0SV7VygN5Kh2Ma2RNw0FjIEkUManMPYlc54q06xAVUvMADy87GpN47U
w0Mkh5OfrK7xkjyfJq7mJfHakpoGOzNjdRwbuGdQv55JtBTXIKsOvTG0jE5sZmziQsNCr1caVCao
+4yaLjzwLlWmbt7ccnvlWNHIwOSXn9pK8ujEWmG1Bt1+zXUM0lPaducu5vHUrFRB0u1PPf9g3K48
GexWUbWTpjRJDPdmHQzAWU/4URDRia1m5Oi7nlpWKZu9/w3qokSbm3gGmQB8lpZXbHSdeW+hTC2m
/JZ+0u1JT3WbGTmTJxUYeiACYmu6eRYaRnvMI++ZCZD6PrP5V7ug8IoRM4vtqgdreI1MK9kmlG5t
4M7fYRr88M1xjdKkD0NpgUysaIanEQiYe/Gw4DOkzoiuoIJ9EozypfymimzZO/5T1STUuC9JeRxG
uZsGTlYWJdTYXQaafQrXo6YnaU/lJIimldzItWPi6adREMX4GcI6Drsse507LJE6doqTctt0r1hx
0JrgveGM9+4l7/mCgWUcaKrnHa8ObpP910zAyGlowencTnumsuAU+ERlM5qIQ1wlREgzaqgAjjYT
DlQxeFc3F89JVCNVWagUOCd2bPQB78gu2/ZDKnbYN+g2mL4QfW5LUdd7L3HxmMZDDFcML8dIJYbh
456XETNolXSHaubrugRPSYJgZ46glEx1I+DbbhA/73lmmQeHN8i2F2tjLuO3TeiCO1tHDdZk/xQs
pXdZjjOzNmAYS4x9iNIwoROr38c1WFc3mtywb78ir6nXuw8q3kAMtWbvunH8ud1Yc1BsR8gpO66m
JXsRanvBKRxMCILbmm3QriSoCTAVdrStWfxHsdabwKIkvnXUEFKAkB4in1owm4aVkNpEsfOa/q7o
+RJEtLTSrbb3d8PC9oAuMM1RwqV+HjtrX8BFbIB/Kr/ydjqS7KPzcE5rvYtKzEs4aOjQTFP3Rsit
jf8zOrwBEZg26iU9MMyjrfaiYR+egLAuocM6LSjCOPtrppzGyrYOnIDQ7vCpPYOJfieed+8J96+U
8Ss26oZ6pBLIBB8c5uWdlUC+cKdH3ErvJovfDbvAL2HIdNvFjK+OzE9J7MpHqkI0Dys4juqztMB0
lZAREzKKYZPqf9VoYz4SE2fssK49LIg8MXJGRu289Kunch4Mrniw6bIo3YzgBx1KaDZTquyjq7pX
zyM+IyB4TNH9Qh/8zi3YKYOdtqm1xF+MBJ/usr6vwsz5FpoBgxk52iX0I1kiZcuVc8hykMDNG3C0
DLHxI5VPojOy7nAnVntA64pr8JGwEsDV+JV/9sWxzWkPYKjdLYiiqHbDwhVurGB5Fm1q75DtQLRb
7y5fUfxgFic0FgC7ZWXCzEHQc5KAQwDgmzlrBELDkr5jukbblvNt7lBCYnBONMjQC5RlX1iycPsa
Kf1/AfR8G9eeS4dbEKhzm3fXUvNA7YoY58qnTBnifNdTXNb/+Z5645P/zHafejo8JRhLE9Ioo+k8
UOmys2l5rErieTgESZPO/cfIhHXwuUmiS3KMYosSeozwN6YPtPuA5m+adtuDlg5ZxVPuNQPAS6LS
usMhjyWo/UM1BqKQUYUQwx6snK5vLPJ/KtpS94ypmMX9TyxOYdL5O2H231RQ8qnmFmOokidx8Ews
1qOFlejf1LiU9lbp1XILm0kc+m2Hfws/E3iypCv6rd9BZTTodeGD0qDn12uvyJRfjYolZZ+xxFYe
y8qmOfmz961V/W6OtKBDZDsaahhD28QzOfqDfRxRFkke9lci3tGMyBcF7ls/cJA7c0n/ZADRPwOj
XrTGm9SvIJiAugrzEdO6tXH42uOp3jceQ0FSM0OQdnwFqOCSgoTsp1vynrBJuKcmFOVNefKX4nSo
tvV5npm16PSomN5DO8+eGg25vZAgKxOCaU1k8Ik0wGCWZtHcGcCYOgtrXV0QLY94LjL7JWlLXsKu
OTJ7H/vp7B9TVqbrF8HhNIdsyWe8Cx6deE36FvaBLfHHqgkV0fiv8ShGJD86aTtGNV5YuMqMyP3I
LG4aRN1aqhnJa7U3VYJvjYoiD6ci+1eYeDBry7DIJ/r7EWj4jn0XdDE3eaSCLb4O9h0riXS/VEh+
lMoi5JfdmRtTwNwFGzhtvM+o6iRiBg9TObdMRiZ/2Uo9Kjt+LSq3PdnGv6QJDb1rdWGFZkcBSjL1
OzITx17rt6ZVlET76+gFt3/uCFVjOWhgqajnGWjdnsr5bao4vp0ggV4m1g+L757dcZ2oi6C7MAMb
jsXypOJUh/aLGtln87Y0W0L0UbNzsh7cHmQvy7OOxCKMPRZj2pH5OOCAgEM4TQesC3wDlNizbMtP
bn+QS/rdy9k7tpZ3cFpNpYGtSdgsfJes3KQSoO9PJE6hKmc8CurFBfVi0asRMCFlF12ds8iL+NpD
GeIMvuuws6NeyH3Q22I/VXO96x37wiYB4TNPd6VEiFJUxQxVXhwnoj5L1H+bSfBk1i4tNhTU7HI1
ngQVfIAEEMIEUQHP9qxtMB/EQgDcy7qzb3hANam/yxAjcnxWWPRV/9xLHqaiErSdi/6jCCrjiTbi
Wwo3w/W+qrIL3k0PE1OfljSgyJ67C3DtqISN69A2BzlZwT1wQeh4aGop6xeKjilZk3SpjimFDRGx
ZuiE0wjzknae3Li4fRaB+U2DbUV9OC3qPAMBrbvuApHNpaFksmJK6yN6F/HgUaGOwoxFySn1YeQt
pjU4CCvlJ3t3iBI6JbvzUANN9xV1ikBrHmoPm0k7uuc0cBZGtLqknvCIx/ctTpyc1ttkRaWqcwJu
hE7M6TPobNoQskAd0uCHQSs5lJP3gORPG69mbVLPtCmlJawM33roeCgffDbpqMFG2Eh95uW+JSAQ
4QpGj/6EA7GgaQzSCgXCfbjgPtn40ZhAn1owCLU7cidgAwbx3fhoF7OP952V13bCwoS4lqEnJgzq
UJo2MlbdXlPAHC5KukwdVDUTIMhz8xUU8ZFIAVjRCpBv78If0A0+x03RYULBBJjv6H/Zpg5e85H0
766H4iwSAk4sRKl3tPwD5tIWjzDuDeR72+f7iIM2brs3irKaPRcVHDZUL5BvLkHBwmOHpHx0omGr
afYLB+rRtkQvQ3J/0ydFNL2FgqMwshYUg9HX7UTQvabRuuMdXI56bvEpBC+Sye+kRLkbvejL64ZT
A4snZGMMuh0v9OrZZOVT1Bg3CzrpSDtAGEVPuPRsBfFlfGshnB0KeLy3h4NNcd5BQfq14fBv62Xi
sk94hhz/jPR767r40pZzH0Klrh7a+doa5Mw62nbxYuQxjzQABLFZiWvfVVVIBeNP3VePNWEgng8s
T7zqHW9fdmjS5b3m2cJr5lLS5K5mZt42u+PMoAaAQt4nQ9qUPHGd4yjkGeiYM9JncgDGxH3fE5QT
lPleeFAtsQffegC0+xXBtU1L6zIvkGhjOust/+gOxkxcxV92ykroZZgUOvZnbls0XvVIszwgelQT
9y5d+nHb0/V6iRdqQs3xObL94Jqk8ytI3jlUxqNlJB+zJx69Si+IkEm+j7pMbd2F1ygVpUXOwMZq
zUPN9vF8tc6/3JbjY2O4L9j7xIX69GdT/U0B5GJl8zYsPLF4KM0KHZK/zxy2a9OEI3YINpi0NJWO
9MlgzpQ8EhwW9vPdNBjlnaxMFNG5PQ9W5tFIR4VQ4Ag0suxNYfYNmXzXRndubS22kL1yGAQJYx+B
sN0VUzISyuX268U24INfvEAqD5bNWzkU1iWGfG6UZveAJw7DV0k5r7Tzc5RoLwzKbmGnPX2oqn4O
+JtvxhSnk8YKrSRU8eRvkZZzGB9r+tdTm71A/8eELnBHrvjItjLF3pe8pA0WDOn0Yl9ZsNiJsIFm
EeHQiH0Lo2du2mmL7+qpRo0O2/FrwRIbJiVx0rKqLl07HMdhWO7tjG90AMMZh9ET6x/Sbz7lB5iO
4cf68Gz98SVVjRt6xtRTy0imDtzMzrRKDhZPrHMtrgcyrDtUc7zipbgU/WfW5N7VUhuritR+iaZT
h6N/izW9pW05ulsSioAbGZ/dAfB0XIHPdBtq4qn0KZhpN2PWvjdD9+rQajFTBrxl5Br2fqfuvbg2
GA/mE8/U5tClw99IJ9aRRpovFrnxGY1ZbESMzVKPDrY52wgXOaTPg+eesdnCGAsoQVg80A/vlFj1
58HR/2SR/QyF4BsTDFwYpmETFeTW0+5PUNUyLDA8h/Ayf4rRfkLmpfbTsSfuUh4e7+zLxT5Nu1Dc
bw8FRUDoHO0EKrbjdpYs23ZEyVicTJ/lkL/QJ0x9ZlG3MGHR+TNFvVi6DHwFsFWZaXFo3LSnlGA+
ztYQ86S3JT2PwUOWjNthla1cjxJ0O5aULU+93BIGQUrIcC44o3dIpMh3NjOh4wzLjbKAo/Cl2IA7
RbbVSE1cQFn3mGuLcOPVBwoOFZtHhJ62gZSql/pk9/ZfbHXD2gxohpb4l+rUOIr0efZytkXZ9Iq9
77txEn6NxLPkoJOkPYFz134ClHRrPAz/7VJa27lfsH/OwXw3K2I7d6LjjR1wsoDz5j2SqY1KLQiS
i/FrWrq7ns0aFkvSCL3B+FdhqiVuBqGJWP3GLeZjz3J3o6z+McIewfhMaVm2lgSkdw15gIvpVZ+2
Kq5eA6TXta3boOV/XVLkuB7ye3doA0TNDZRjvadyCSryLJHr2MRBZ/iYymvb4ULkTqkV99ukQ/jy
uHTAM65Qg6I90lt/iBc2mjKtrtIrbqP+01QQ78fRaI46Yr8mS4mPvV7eXZUlN1li+LCGgoGC7ycs
AbKKYeNnggcHBrJBGT+zsF91YtCS5VSkvEgo+g0LXos4wkbwp2OvuXGHpL9m4DPCx/ojidQxLvjm
A3ru6hP1YN2ubY3hnDWrMLthL4Q25PfF1bTmz8FszPPgV5+IMSbgBtTiyprBd1R3WOpewCaLY62y
D5ui6x3T1ZeWFVDXFh+v6obXoTJcmvUOgq9hBj8mrKbBRz1eLkEHx7tZkjeURhtQI2iUKIV1oJDn
DwDv/kvm9mFhDdtaU36JTNwIQ+41vI/GxTNb/WYU6mg2lC2NBg1VrpPydSF/x0PyCZ+VsTWG+HM0
R+doVzEJRc7XbQVCg+2eiaBNExgFao+51NG+ywVbzLn4SKFs2FAh9MzNRdNjEEcABDOPz2JbWQ/Z
UBVht9Z9zKK7GX1yP1C67mDK5x7HFOlLPILl/D1GJsFC6sXjmZXWW+L12X27qVjGxLayD5Ek1tpM
2bjNicTuBqn3ijZ3obQ+lQLvGAHL57UKeG+M4g1y5wyyBLB+y6hMDcCBiw4iyTC+KaN7NwpqLMVC
68A8IwHSav4cU7KQa2u6Vda56eDsLJIgiAbjzQH/3S1g0MibPvoRriElUjjmAcgIYVPFCEwAsh/T
KWYLoNOKWlNVVVBXzPQNAPFlzgt9lHbKwJcZFs+4Ve3OdfrgUxiYeDiSerbjl0jJu94bTF61QXOf
VxSHRu3KHqD3zQcfuF3q6DPJaMsGRkU8LjJSyv7cp7HOaDV3POA7DSGazFqe7Dp9UKW54wOfPeb+
+Nx76HDD/DrroXkmd7qv5+GdJEN9xVP66pKgmujUnqroVqrpOa7xFrlt9Mx6g4uf/ZlO6O85NH6h
P9suQZ+KrOo6/NWWyWWeFGmRpNwG+tgMO3+eNl7a5ddat3g5Nd3wIGA4Xrnt8ryef9rIohgyE9cB
d7ac1IcVzGjnHT+xXBuMtRV9VyrtLmPGKxWANCVIyNYgNaviahVR/r//8BJvelY+NOpGy2Eo43+1
n60zX/ItyKAfnDQBd21TrOz4HvklZuSqZQep1uscq8xRquPSdLzzeXnIBXd+rIBAYb+UwLun6LxC
xdx4kfng2ials7X9kQ0/EyLAZoxN69YNM4epl1BH0tZfk9D/pSUXHjFjOq2+55j2B2tE+Cwc928G
fDnOrXYzCq4PuhAfVSJ8+HTRyWpZM8kqRlVEh21mpsA8O9QG1bfkFG2+TXDzsGyE6egkRxuzBYml
LMTWOlD96/5RFCXzLeI6HlfmTsdIwLHO9mKYOnTg0Tw2BaPUQgjXxBWwWUYkRL6ko8M5h5/G2BGJ
t33uxZiy/WOOXahZeifslPjp2TYElviauFpuFrMLGeCL+wGNlHWFZsanFEY3JlIXZiCuXCKht2FE
pad5RilBl+ck/2B3fxUifnUMHmpZ+wYflPiTrcnT6/IlMhYOfINONjGsPW7+Wg/XDGfPzH76JCrO
ZV19crN79ReqP7DMAj3Q3VMX+O1BIWSnpuXQPOyjTzoIQ/pzdjSxCZ7osqAbasajZP8ksv/mNbfo
Q0QOz9K4/WjwMttTFHHZ6tSOpNwhmDL5WFAMYiQLFYKQNJa1Cxovl+78OOQv+iE9lhdCBm8BjyuV
rtdtLFq28V824cHpaZwnUcNzYF0puJ06ob69+w0is6S2Euv0HOqJD57JJcxEDUzk4Ow9lxmJR2UB
5StvnZuQjAVOQdxyQRzac8f9iOh+yev+I63iKcQdiAQigY5FE/drxjvAenHm79n/ctIAAQJLEsI3
rXedrDk6dMQy0XCueTby0rZ2uqN5cudQLLLRMzerIHGel0AXZ9+a3gY/oZkur8/oacWupUdo32rU
c8/dd9Hs3hTLrQtSz05j1goty8Ip1x1Mc2xukLjYjg27JcFN7RU4yNpuUVtt8ayRSfGS0jKcgEs6
Y7agFa9g9zZVIIIkgawoOS5c4rcm8649DdxWMxgNgabUOF9gsxHLOBmKTz0F3FQcp4gEgXARwljk
br2xvrMEUgEz0bTt7eSWk/MJhf6yRbAWwlHJ4OV05sY1IjyUf25CVvLUuvaBzW601y3JhZ6RMTVL
i1t9d3Dqkv5nO2fzL9+aZASmh89b0J0H19g6sfcgN7GsSVT3uVLUJ0m/OMG1IhK5hexHB24sfwY8
8cH4HnG7CEyvPFml+2wndYAVw0JUZfjoIuLZLAuar5Yr/pz+7U01hq0/K7a4fBBp1uE7wnCqfewc
lMluwVyGJR10WzpKu01EDW0TEamPJPq85zOXDjXK+rhYQCXGeubyxfAJJIQ/jqcBmzS6NNnLbcEa
IQv0Cb+jz42tm8UjyghOOyrXtvXwVmKfrGWUP6m6OI6yH0JDRUw+jX+aEAC4yAeMasCweKTlh6H4
aBY+lVlkv8dSlOdg1QZXGcVVM8mOsaW9JvMFG1LiV41tIujVNwg+RCLgwe78tc3Moq7JgwO243U/
+ZWRErOkDjFZyqvupL1lE74ZFOTQnqvUlhJsiz0hCmFebH24LuFc8zt5Hq8BARLJ804+GWR9A8UZ
6093lRtjDTIRynucLWlGhWDaT//KqJiOQTk0Wxj5/a5z3jBe4Nn0hvyGeANpQ9R8ycq23vYs5soe
nXx0VbULZPUvI4Futr4JxWAGL4WndUh58/11a4RDoLrhI9+1gk4uTPQVqh1Zfi7SMf+nfByC9G1c
/cmO/7jYRk0I7oA76jGInejRLQSb7GK5ubl/7SZjW5uyvrjSWIFg7X9FMK61rBBQE28pLyVEmzKu
kIQD4zMGdHpogSttAmLBpCKRnnW6XGQc0TgEms8CWDbNrcH876WoQdGKSrQYIJoI8mnAEGF6Z/aa
lMPQ1LEE+XAaobnIBA1NxVQt6aVyaKv/muAFhBG0dy5CZgddl+5WI0LXJHJSYnU/zMzAkjkZ3oQi
awmvpte2fx2iht2Fx6dIqj8YcC6WG7u7ZQETBvDQO9Ygwvjc+Od5oK9iiedNkNWPDQ0RO6Ni1I57
+8OlkHObPfmDYewZceSep9xGaQi4A4Uy09Qs+9UC58/+C+dxfSImBYGhFazpAnVZeCKIniHYiuV0
SmnK0fP8w1Wu2Cwun1puJ4bRTdegmi/EeN2w1XPoKO4gWssuLDmDe1JR51lbd0HXtPtcV39E696E
8Jc7NYKcioMx36JBnsqMfqTUmMstgwm4IXSPuBdPQ9JCymgkhZADN1jpXVonmTc4DEO3Es6Z7CJf
hSmPQn+cjo4ev8yBhk8M3jUeJvceyZF5E81gV1KjG7LPXq4Li7YlL8WeMRjvBESV3s3EcXkpKvNj
JBH0HK0RkSn/ouCmvAd8dqfyf1MxPiBV6GvjIiEBuSckNRVEbBB1MN+ca8DZ+1Z6Dpp58jcDe8PG
8H0EiYnFlooTIkzoG7b7Hws1ieCR3Dtyig5uL2JoNdaLkQW3PCtvlogaHJymscPX/BgT/EkpIr04
JVppYVqvejS3/gxqper1z5B25R5riMEhwT+qe4c7gyNF4KfW6qPK2fR0PKMXl49wWnBJD8A3x3yX
ju3qanQXGssdxOqhq0O7nf90PjXPVc9cklfcA6Km2CaEGOxS4sbRHVIiAa44ljWsweVPFCfAeUEq
wp9NekprkgZF0iey48TIMzj29iNBeE6glOtzTIKg+HGqwNvi5Pow6rrfRYu1l2CsuBDHf0jO4iwv
CocTn7S4qUNSXgpI/ihduY+xp/oJiwbLo2uEOvrOjvwzi7d9sZr3ZxYdfTI+WrVBPtAUGEfiwDuL
+kmBiPH6Q+5hQsN78RHk2tj4S+uQXTQpM8KZbgprdQJn14yJynfFXkz/FTn6rz08m7FiIczHeWop
9s5NET/mron+cE9t1HxAiruaGF82VmA0uxRD7L7snhq/mlH/0nRjRe6ZKHO0JzSxiQarOtYWtaKT
co/OEocsaGiQLU0EAEFp4Hp2u0Opr77JbX9yjbDOwHN78PnxE47QZObSKEObYstdMnm0iqF5IXyM
i/6CcbgGZPs6DGZyLQycB1JwYwyPfk7PadGDqWGD7Oul2HtniDzdpZXmq4XMCNmSAp2RaVCTHbuS
ZHsNXCYjHiEUG5PnVxZ6s9L149Tr26hs7OyMDw0iFBbg5FZGSbCLubXDb0DGmGivAZhqrCESBH06
vifPOBra+tDL1kqfR8T3mF+M8o2mX5c07QDLtDqmrGIy9F2M5niezOZJxOVBkyTlgacCqk/7B8vq
uZ6KhiJn7b0zTre4T65tTmbDLXL4CCCKby3W1o2a9Z3RDPIcOw7JbLe/NWTf9l72YBsPFuVSl9xE
ZxOdfxTMTpulMWIujL5JxA0YsJyamd/DD/a/nIvaHLFqqSR+IORLpXJd4/ILIFCswT5IQbwduOKw
JsHXmfjAiWkB1ZuAIqtl3N//4riqXHN2Few+UfCClsw+FGT34hnCQIgxuACRIxet5x59UdIlKT19
4PKEy9LDylmy7Ed0+fPrC7UqHl2QhJwD+HN8KUlwSXDSb2niyVngI+n9/jSmw/yCC9jf/Oa7V+1q
5S332cjHcOlI1KVYn/GqvWBPAkAL3rUjPIUoCEOeV5HJLM1CQlUZz+cg/kMN7Tq56K8JxJBj+AeT
OfeRc6t7xINtI7IlnJelpba/L4SQI5LrghUQ6yucSAzrObZmd5hueeqHCwapk8Lx+tJVxOwWavwm
CbWijohZxgl0gwQr7wsAFe4Di/mkdfUU0KN4bxu0k61/qCVrUhaq09eoznxOjpxYpk6qPzr4xM3M
4DnV3eGXOsDcnFK9TsY34ZdY5H+YmlnPtIF4U3Ws8DraRK4zWk5+3zE3raczRP4HOY3z9deSCquE
bvUVJTdigaDEQ1ChaEyUplo9wjc+33tgEs79WvC3i6CyEBVa68daCz+ltjN7a7fy3//wa6XTO39c
RuZVymXSYZonWUy4DLF0AK0SeGTFWixloGrXFM3vf6oFkSfpxcEa1MPCLuV5Cg7dxNJ5zCrjCHX7
ZFJC8lSzBN5SVMEOk4rNi1t5t99fPxRYBALhvcqJzGKMD0kYxcFjxtFI7OEvOcabYRqN9QSrHWDR
779WU/AL06Tmj7Enwoezzl4Ic0IKS3JMpr/8XlMTxATFQR6Xg5qZtJC7DPnryDz1U9XMEDA9OMpq
PR9ig16L2JfZddTFn7FrRkKsQUfCjiBO7hHy48sjOMA6QnOq/cMz8t3pTPMkJ0xU2ECCP111UmvM
bgCe/duNUlLtEuZDHDEggWJHpGk2TenNmKfzm2V2084h/HBxag887TzRO9rzfBzxwxm6lt9TIUi6
oe8OoKzmklOpICi8s6zqZyWAXJpAZk8EcOBGLHOGRzSZboDFD0nXpHe4FHGfJvD43aXIn0bH38+Z
Bedo8Z6t3xBlV7b3Ff+rU7hy66iC6ENnl2dK9TVEaMS4FZLHypoENiveusxl3TKl/fJ3ypj4yvGh
SnTzMkOn4kWa4lte/UUWHm/jCswv7CrCBjs8TKP3bgqHG8wwNeV2+B9DpLPKaxPN80PWMmarJSZ0
U84X4u7do3IYFn/pSVbiDlj1apy1RRnvnQqzFY8e91Iu3wY/Hs6kJQno8unCwvFMTXW3S5KgfrXr
eu01rh9sO6/hypccSL32IMtka8SdnCoeO9bYTuMfDSPGMrtuum3ZCxKj4/wAi591Brn6XzxMqrFT
uUl2s4pMW9vyl8jC6ZtesKupq81mYZuCH9up3vxEbSrPcyImyleal1/AujenIB8L4dypqF04u7wH
Q1Y8B4RVXOZObaMK8WaeE+yPXeYQDBstJFNtooa/q2Hi/pgNcGlgAY04Ezcp2LF9UQBiJgd3zj1q
HeogKPaOBRA6dhK1deIgO8uKkbjnAfwg2BevGejfFxVrQtg0VKJifMXySa7hN5aoaK3EVoWjp+YL
ePTnUR9x4pZck1enoFPO1w6tKllhXTGkLEt49+Ma1gVNnuwjQdp59Aw7NIuEi/b6lkRJR2A9R5Xn
55ENYXF7ZxhJsK9WPCZREGtym1tFUnw/qIhN8jyea0dam19WL4NdsKnGsXoyMuXtqw5f3v//6tg0
v8AdePdqYO3B5bk4FiL5xGp+yom9p1OtDg4qZDjV1E5z/azv+IE99XSXX1x1u9ZNVCmCTVmdUlO+
/h9zZ9LdOJJl6b9SJ9eFaMzDImtBEJxEiRIl0eXa4Mg1GGbAMAO/vj/QIzPDozqrOjfdlSdSJxSa
OABmz96797tl1G6ueK7aRGF/JdKNeY4yop2XdSN6HAu9JrtQXV0XRAyVoC8K4uObDOlAxfGHWAoO
yaVLzwqD5zCKnyi1Mg9k3qvH62Zbxua71UU9JI9kOJKmNxw7FQ8UNG5tlzQnRiNHNullff/bh9wl
IY9U5WoozwO9BOolvmTa4Xs1gBS6fjYbSUHxPnSbbseJYHoxQrfGbd0iR6i4CKzJNM5K0QSyrfvX
oqXGRUxo3Ioyj49oGPhCT0PDQrRG3XNpNSQIxAS+WPqN3UfevnC60J9FnrxkncOo1iZrsKxtjabE
EtGS9e996BrfY0cee/VllGH8CdEGHYdGi/onNagpLXhq4adQI8wWNg4A0m0uigJDHCnKd3q8vSNx
1chRbLQUFYCJ1PDKkGkRCKw0OuuGLbsF76g/W5N2SfPcuK3jy3WhDUnmg6TWvDh1ovqsKd5prEIe
RCHuoSlaZx2MxZCaAThgNv1BFreIyh5g0iukBAue3ELvVLTwdcACcsAAGe6IDp+DKzqhF8P9uJjc
kmSq9pPiRM/F5J0nIOx3k9Ti5y7W6LI5CUD35YvG4oez2NHbUVKqzyzcraUkNy5q89tyTCt6b7j6
5wZ4s9KDG61CDUWtQ2xKm9XjdkiG9KGpWIwbk47uxE63Tybr/JONlgwQAIRY8CrZFokINO6QFkEs
+1NcY5VXNPQGi31nLtSbnxu+dHsPZTvDKox+SstDGQ0SiPG3/3xz8EsRU6vxXvspkImscHBtg4Zs
iu45oemIym1UbsYIxwra3+YoTFiScXp7XU8UUYzQ6BwTxwoIQoUqZJVzo+yugHaSC+c9fQoODh0j
RieV8Q9wBg8OK9ZRYhpcqW3t7lU1lcEwONBRsJ0HoqzHW5l9XSscQlYBQAu4T/rQOps009Kbn/s7
AZjTfelWl960PPq3rEaRiTEQwQe5rol2rkjfuXP1xDwnzF5nuyKKRDUnylKh06zp9rZXM61pibnG
Le/Qe5zCPRdlTdplmPkxBpM1w+ODiqLq1IYlc/HFBsQsyX34+RAQFSroffpqZzii+jYhDlzEdmBd
mqo6KMmSqYLK9WBH5iVUwmyrkd5+QBsAEw+uUIXSfuc1dbJji6XxBMyI13L5IaJW7kmOWUIWygdb
wYiWpyHCEpZ/fMRoqer83YRG0DZd+SRq9RYJoE0PyOYzCnhfwRn/VAycrZTExOZWNcfELuQJ1xtn
Bm4H1pLpBY83HLblOTm4qrpe4bCG3X1Dt0A7VqW9HnS1Pl65MZ1V/Y70+YkkM/REXZmDyP1sQMXM
hJ/xjSXp7FVE00Tme8NIgNsquEJ+UyZCRmuYD72owBbk1h6Zz12SRZV/xchofWLeiz5C9YrSD637
F0AR7g7+ZbCiLa5pMBW1dbo+FI0me7Xt8a2xrIZKEHUYc2knoT5r1Ol7FzG7zZvmhAvHevSGZ0gH
2zlLojeRlb2fmhr9ydj2NqnKPAV+zfaKSe36ON90qXFfdoTuOUvsgIY/UmLABoaaLHb5348s2Gd6
DKAlc3NndPZXgPF11bciamUpnL2GEgkvZQyKR8I8BhcI4LGhnLye2yrSXX3EEgjHl5MaYioRNFlc
bpfgCMwP8ZcK0q9E/78Zc0paNH7GDhcyyvYFvN+Hg7lPhh4/lGMjP5TtGPQ2w+j+yh0gmHg/pFAU
0ZzFQWN6pHhrlMj24jUGN8BAQ44/GhVRS5HqPqFJROEUIZSTn/+q4Ayh/1KvNbJqL4ZLKIyXxNYO
hYN16V2CkCe9eC0aJz0WIKxYjbpy1RW2sdYWBKaFYekmjOX7aOJ9utImpxodizq18H9L13mcmtZb
1/UXuYxYUvWMD5XOmBBErU/rcWCI06Olxei3cXMz2Sth+GRBHDrVrD1ySYtBjsq39vRdykH1fqZQ
8fpQoiMGiTGtJ45lbiYqRORaVDpDiJLoeiSoXEfdEzmizC0S02HUzkVo0klN5Y9KTgpjeLgcFjjN
Vc2Wc10rr6smq2dVdDoj4RswaqXPQZD0twHKlFvSOLg+qkyLbhD1inVbAcq2HFhJg2J4sK70naqJ
r5628Sabcoar12Sf4YgQJd95yHm2k2cf46qNn/L2SEVfvbRmTv1T2/ETQBDn57pjcgEsP0kOcnqM
Z9Fs3NIzfW5bZ1O7TXGolILbyTYeTXAosiUXy4nqd1yZR01lVh5j5D4NofuF6UynEWd/FZAK7xu7
/zbHZreBwkhrIDTDp5KYzz6ytzNCFh9ldHcqW2VHUrYJAJxJKLMjnJ5ZDPdacCDLoxCpdgdKbing
lZY4kuuiIlSX3cJq19y6853QZwaJrGSDw9XdR9OW6HTOuDamZyui41sU9r5HIHM0vfFVEHh341iz
e8MamUKAYeaVscY+VqxnYT4PT43OIdXNzAvLVvIRZ92Dmecu2hBxYLI2rSu6+rup0uo7l8t2ldaM
zsayc9bX3X4ZctNmm47Xxzy1j4U7VvdaLelNa9QF15QTA/b9fm7V/XUzsxb7dG2q3MaklunEtCwZ
JNf/OknxnbSYHryjN/CCOG4Qi/pcaoPOu+x6BysbHsxM38kl1kpW+kMzKJgA7P4Q63jB3fkIsqQL
UJ/mT1M4zYAiqKAyjn/WAheBcGQwWewhqkFcPGvQWQ/cMOii5o4a3SB3xVL7+uEfX0iz0NqRqEZb
Ukb34dJSmLLwC7mYtcFw/U571djUQ2ll5JrApLRw6vpO7roHjpRvPXIbRuOsXYqRElVVhaj9lqoi
KtyDHYNdGDTnwSiSR/xwLbwZ4S5mMZaTxo7WRQcrgHp/ooHc136hZvtobMiU67LwtvOQF0k3re5b
wUhWZ9No/bFqjDXuzxe0lSCmsWz7liG/ZgQI+wxtIPuWcDnJRetrHEruKUx/yarazwnWSPZHsbWI
B7itip4yh2kGlgRI6VUYIZcbN2o5TjtFEvG2sNpOUZ2ffiKJLdPbdFFKyBog2OUAnda0BuH8oGRa
gn+g7USLW4GDNagrpioJGUpSPtvplNCEoyOiaMmBFwYaRYeX9fqfprB7tqDT+Faukc/lcEJuvPhV
9sU2y7NvHSPOO6WxXlObviDp21uIA49oA4dnqwcQV3YLUfS6kNCyvstbusJqadlPaaLexhFc/7aw
oIDnQ77/d0pYXQwjEkxbe3TDczQyc7qzrR+zS7PGT5Hckf6OYVbWbD73aXjnuc+a8uzol9q4NOYT
CpVVrdsrB+e9aSCqpubRDWXNekuKjH8otB0hwQaIlXbbFju3XXeNxLP+OjUPTfewNHr/XdWjwqHV
ZFFZmKfSwuWuZAeNUAn6vOIyCou+x7yWVFwjPsYY/ijibfkFZSie4z3Cmh3N7lfVWwSzNRkAzQRs
U7qryKDNMRCyJI3mQtYkc9AI8yDi9PumNR/RbQa4s9h5Ev1xGL0flW4HRQlXaC4rxU+Fdd9U7VEH
JEIPn0dhJrsMr6goe9B4DsngTC7fUSg9k03Iu7vkIbmFtTecBFu+bqLXTYdz1LUrT2XLT8L6kUMl
7COmxrijW698anBcgCNL8Y+0NF2mQMGqjdx5CFNc7RE5RZBSNZfJpjSYYM3kIpi5FggNUTvKTcVQ
SRlzeftIEd0V9X+Tpar/OUtVVy1DUzWGo6Zma9qfY2uLWlZeOyaSrna5Hmh33U3Lh9S9TxvKfWlO
FcMrPjhaxQfb+f3T638TLcmXqocMpkYHf0v39mAICeRAKTISHQwV65FlGQ8/P1RUt+XAsecvS6L2
//olYKO5Rmy/l9VUxzQL//TpfzyVOf9cf+bv3/PrT/zHP00V5+/842f+6XctD+fv38af//3hLYnf
v3wSFFBZp4fus57On02XtX/MBv+//eK/fV5/y9NUff71L+9lVxCrdv4UcVmQHX790hLRrS1v5j/P
Hj981s3n9J9+4Gf2uKL/piIkNogmWTLDTcchI2T4bNq//oUv6axqRJU4tqrrTDUJp/lb+rj3m24T
8OJ4BjJ711NhATdl10Z//Yvp/abZrMWgDFztGj/+L6WP/xqsaoEZJlbXcXXH0+hX/6eIZ8euJdAj
h1oSWWI2X8ROqU4JkvOwRtpify4cyE7fN+YjQL68KA9ZoW1s9Wyogv7x79fYL5fYHzNcrD8F8vB4
CFK2lnhfS9cc1bGWwJ4/hLjooi5AVyFQEvb8WKtHQXk4FZ4f0f2t9IEW3bvFDgV2Az/CUfMWI0q6
C9Xhvm6LCzzo23T+EQPXW1W2u2d8tXKQksWJxak4fpCWfWcogKU8e+FS/ZhEQfeeEq2EyT56D1FP
zFF9SftpB+mk6b40ZPNyloE0SDkvOkzhFY4DBqqYWohno2oq+x8GER1RR5thpUKpyOIoEM1lwbZD
bkGuucoRcWkmNvRQoaHMiFTLGbTxcrt7vet8cjD9dtg2SbyySvyuLE0DJswCzQRQUH95DhE/Oand
OsNrZNMCRrOSlYihSKgDYejHKX8LT5BpfGAV9iuLY29NWPSEYarr1onW4rFjjQOJ5GpKoPOkPIso
6vFDjKu6LHydlZVa0BzW/aL1R10K3gBTG8Agjrk5GaQnl8OFU2t+Qyufto8FwYi3iogTpKoWwUMq
1mtknFgx+awGGBAxQEm9DzwVPlpFBOArC/g00YrL6yfKU4sWy0URR2Bkzp8y5myHMARIQ7buGGkm
GJ3dSQssXnE3vcSzgYFpoyedr7ivldusCoqLtrzwnMP0fljYwrnfOkz3xac57sfpkqFA0HjqyoAE
ewRxgRDCakhdXEbVCK1itF41rx7BlYyJjvHA5K7JAAxAiVOqQGw1jNA9tKjqdbI+KjdDWGeAIlZB
snYMQDAVchIcYhSEZL1UUPRVvfVzBkuL9FSbAV5BJvagGgk8240IXFPZQSd7WJ7uzPUyhyJAgIhO
S8fG166iHvOA8pHNx7J5HeKj159T+bCcq8i1Iy0DwzVZW7EMQnmqIH7YnOaK4qNHTKBN+tpRSMVz
i5U3nAzlTi9faZ8BaOFGCdP13FzQ3iHfXPUFV6IGtUl8arztNjBBQIADlwnvC5RB3zZ4O0nYU2Jr
hfjezygLEwMIJV8bsJwu37e8DzGeZmRfNKvPTXFSuCPt8MwlEYL1om2zGnXUDoYWKCIK4GwGBv23
5TJxaNKpIxecJQLwsEFBzG/opjfluJ3lTEQBcyHER+PC3MgZxvNCq955eYZa8hnxLmNbpPkfwnhS
sDiKbaVmO5PCU7d8sIcbs8QezD2LfQLvU7bGt+g3MNKmVhCGya2QfNZcxHmzVQYwdDzLuP/USsrz
D9wFCDyFH3Px4ThfXkrJcSfHJ9yDrCtUPMcKr8QcBqVT3bUpUw/GeYmZHaXlXljRAlBzz/BV3jUU
spjgQeeOz0ZpQu83b1thbiWDxFDX0Sjka3qkmkeeRQWLAp0Hj3f5qqpVQcWNXzvfhwrFL5dnZaEY
0j9T0o9TtOICQng1QtjApC8vGj29qoMXXH6Qt0NpzPaIDlELzKX8Hh8c81Hj7SrDJXKXBzV86m2L
4I9chJyks4xrincpaphtym2SMKeZaswpNvglDb8ANRe9JR5fZ6dEZ9IjlJq/rIt9rrK0LbtEvKJJ
SwPD5F7hWkR9DH0J6fNnWvM2mxTvr0n6FsHWrEoUGYX7A8HfwertOyJwrrVYWLmcWF7Rao4YiEri
GcEHLNfucqNyH6iG56tqy2yWqEZ2J4QcK5ODH6jctaWxgNkpbKhurQBpUMEIatzVaI+5FzMJdJBM
0vEix0vNTRSzlur558QN6NAz4sGaQ+c3UNeXdRx5L85eVjBULnLktBQGmUK8Hg0al/DixGYFLGAs
mGyLBEHr07xS6tZX5El2YuNJfTOMeHTyCG08LO2NWxibJhabOhvf64Z2hqPrG4Sph4EUdg7NzYtn
K+sOxeCiRRoZ3C+SI3Ib8A7g1eOxxvknB0pAEVzBvCkGL0zunEsQpZ1+rhNenuG0SItx6a1xXRDl
GSxrUMp7PLTA34S914dstzCqsgaCDWGXywZURGhyeedS1jAbuydrIv4PjzFd6UFBi+s9vrCdqhjB
qGBsrb3vFYEramseu5zxqZkul7b4byLulhj3f0Qc/KxGVNfFqeYA4jOdJQLhD7t/10Wt5dF2X5XF
JyLpGHGS260adsUw81bL9fyHSu3+52/+Y73xf/p7GnFxFFKOaRj2knX3h7+XjgvwfUT1FiXkF38M
6mnuL5P+MeY3kHX/fxbQ28/y7i3/bP5ci/+PrJ+pef+L+vmt+Lfbt+nzTzU3P/N7Ce38xrWgaZ7l
2lTRlquSe/h7Ce39pjrUyRTRFMMwITTK299LaEejTlYprl3LVFke1H+U0I76m0t5vVxfhuYanBD/
lRLaWEr4X65afr3pulTwGqGINmr2X6+iYmScl/XYSw22EEXBIT3HeITRL902cwl82NORBxPWWEtO
sos+jC4v3Yxp+GZkJWNY87Ze3Nz1GD7BZ3gNq3qbdXIjDe0k0xk4ARMwt8YyRhYtWFlAmRGLqkDd
3aCKIOlqupmnO+hrd/UcfaVedh+K4tWW2yxMHjgA30nbedLFeE4UaFpW+oVG6y5Hr8RE8lGzMV4n
uAX6MPoK8SLh9TVNGETtpmvQU5nGrNKhxTQM/uyllO/mFmrfkzDGs6s0h3nhA9dxScBHuZ09E+Fa
CFsMwo1yi0k1EJQHnIwzeBkWu02XMUfWUUG1t7lpGYSmNtSu45yS49KD2eZcAQHazvCLdzQFFDoD
mWPdYl0fgrKHbF+Iqbp147K6zSqRsS0jLisFiuU2BTAsSFPIHY/kaTsPHHd8cSqkf0sW32CO9oan
ets2fbgqKh41QUs/IvGpZ9ratmkL18O3dPHuW2VxHiDnQC3cKmPJs9dJspgZwpNmlF8KDQ6vl8Iu
i9xxPw/0FXJ3Qk9njM+I6KajDi/raNdnAqXp2dTl1pY1hezMS+hgNkUtkaoMdh3Fn1zGGdicbgac
QDurzQnMTSuyIOYXgPcfIMUtvzL0e9RrDjjwabEcpLukVVjXvZYRuOfL3vwAmIvPYMxf9bqT66x7
ZPaI75WarWTUAwYI1fB407RsjRE8fItpcMQgAULa05wqiGJU1ddV4DHJ+C1rkVpHJIh4Pb5m6aKW
7mh0xnH8Xk3lsUWwr1W3vbC/wdqWfuaK97oqaZqS7TZ7K0NQBaTexcVFkIsPAKk7Y+i/6amu+iKy
EN+UIw5WU0KoS0uyCYNeRx+nTSa4BHi/IHV6Sooxu4lxgq+nWJyBbBtromjhK6GQXGdOuGHXrphh
WDuX0OSUJEwOHOtomN6NniKwV9V7QwtVcPoHZwSfbuqcivrUQrOI2Nj2esSjBgt9ybWXl3rMeNm8
Lcxc3QwLD1pf6CGxK9EOTyAXIvyqISqh1bFNONQN0n4cG6wjCjlDq8QcQPGV+X5u1JTxdUJHfUw2
tlDP7LwO8S/jnr5vvZtU72Ja4TesvZhiKFsJsqguqr4MELwnpJE0gRIP43QoH5oF3VMV753anxwW
BN3Dj69EuBVyiOjbhFC4KtNewHO8JjMVOIBftKSmOFQLmwT5hcbPpxgIMFaXwYzjH5UxsAkl7s6C
eOOVhcp0+f8YG8qmm8N7I+bgkHVtstFZWsy+8oIKYX6Vg5EZyofenLUDqJbhxkzcHZRCA+UlwaWq
JW6MFNMa6tLXrhVfTlgEDpJGy8zu8Ua9ezPPKw+5ja3BfVQcwCUyN4Gr1VA1LMk7MsPVKQC/czQz
uPVs6UEo2NdqovhRMY9wkao8CG38SHilsc1ZxiY+gkf2ggSwT69jgTEM2KSeWT0NdMtpxKNUVRz1
vsU9tVIj9RnHBt5pi5VtMrsj9/G5IorNtyrlsxjMXSSmZy3UbqrJx72DZ2WCeolj9M0TI06Rhter
GGtAyc6bwAeBU5yWBA4CbGs5/FZck2ZuMACodA4qiZTrNOPkgz4wzUiICUMXdhheEnaIQ55X4B4Q
ZOnP5oRvZTZ5HjhCP8fiLa01dYXvmJVyudfU7NUruWH1gpZcVLwoOalqYWUgcqi+x9J1/x9XJ/8T
Cw/zv2zcPTJkfnt/j+K3X5p3yw/9rDx0/Te047bn2rphWxTmVBc/Cw/N/o3sY8e89vYMj/3w73UH
/TkbRbjpmRphzTq1wt8ad85vDhZAGsAWlindctx/qeowl9rmD2WHo+qmbahLGWNZLtWPrv9adkCN
cua+rnqUraiGaxp2aGlJY0wSG1IsaZNl4m07gIBElKP45FZeZMIsgQ7G8Na7M7QBOg+OEyyxab6z
M/OJRpJ9HLr+pZ5kHJQ29x82MVI/FM48UjTtXWMwDBjx0hUKRza1ANyVuXZ50vn9q7nXvGDOLfXg
zsZWBUHzpKUY6XPp6UFmMsGpxtjdG3IuFyNrud84JJzu5TgcM+DBGJ2GG4sOGaZjWF2FxNAILQvY
0IigLbPZWVp9UncE4T066t2cSzZdk/M3DmvaSoyAu/CQT95nm48QS6RM/VY7Z83AURZANkt6Chek
2mWquKRhwRgwuYgm5pdkSFB1aohaCuJF8nbFcNVdA3ebsJmqSAbSlh6daa3LVmcc54bZbVzJI14H
FMtiYolDNboaFe3RgoE4pe13kXQfmTp9CaN8Zx4VSPStIXC6okywI5a3OuGkXZ7fZNF4wxjj2emh
mGWue2Gw9Vw1zt5zunejpV02LbSvrLWCqR45QKdYi6Z7fRK40xAorpLxJYzjc51x8pYCe7dg4t+6
ZxBcFSQa7J18I+u8rxLzguEAlpem98E4bewIsVyRnl1Qj7o5PXeF2AzVheKCmUsWEnpcPtUUPmiB
vyfTkuIoOemWNK0cC9t7ByZpZRfKK6Nre9fnDIRjnAQGcLkyjgqMn+anRSkHIVc5aH30mEaZt2mm
kVPmSB3r2oqGroDhamdPpp92hCtaOo2ScLGkwYcN88Le1pJOkcf7yrarciaWWJdi/LZR56UrRIc5
8EOxhiHwZM1Te0GJ830GzuVYpP8K7TETFe4nhbkdCZhOj/Ih0yG1TC62gbDJIUAgR1rsX0B+6UoK
jzShHi/QZI5M4zQ6iLFnxehqm+dM0oZOLKIi0KG9h4TBH4RkfJVF+M8F+YzAhl5QQgHfdgPdbQmd
o03LUbtaGzH+QJsGuycJo5tqlKaIVrEPxHg0yK/LGzoOUoOlCceVbUNu6OweSfhEuKCGBqYZmotI
Gl/dxCFOXaEO7FTQKUXrbexy7Fexbp9DakytBlIIBg+/eZo+55OotnGO8R0WObQP+Hp4KqF9CQQ2
Vs5gDhKvTcbsAabEZ+TYD4kRMzZrog+3LMVuSMiBBBsNvp6tc9awltU4Uo3UfGkqhCzKwPsqcfHT
oeSCiBiL3xrVuEnMTvNtvgU0K/t67PXs6wREYVaha9NW3yXkB44/cpfFMHgoGTfEO3i+kuEvKqns
kGM8g/f9QO+rMuBrOryhE3eCO9zzjbwnafjmOhhCyNAdUcHYn1NDK3PQ3wrMsQifWqyOY3ZS9bpe
kZIXbUrd2WWixqxqmqDfc1T9LYlGNVa+/GUcOwapHQ2jOuOMoivNTkuh1QjM3DyPH51DW7BL8uHg
6c6bNjRj4CDopksIzl7HMdk6PJ8uic5TxmQ7VmYYWo0cSWSBu55CA/QLwtthBKJj3rRmBn0nSo+G
XtxrZK+seqU/GfOILtho3a3tgLOLQbe7XmvfNCknKi9Mbx3Hhg8oafDUt5L8aN4Q3FnTdNBjDFH5
VDwmImidpGMV0Hn5yexctR2XrERKsQVjCgeSSwm0nb1q3AgPZJyimYFOWhccJXg/77x0Rhc/eWCu
kgaVPMWU9AiuV1hCiF9z70jZLHDQHqOwuEuHV3VoLAbCzJZbbyBOlFQ7Ldb3OYJvqlCGqpXhnjE5
RCcJ0n1XuV5PkILSrUOjw7yrqoeySKtDzx+TSKT8AXi6yEj7U+PviWxIQiMwccaBK/DPNqm3w+n3
bszmMadVtY6pVNdF2jxFTcM1XdJvVfOivw8RFJ516rfdrLKaGxGWN6SDAFG/NfXSqwViTpt4TdIB
Ku20ZEQcDwjbpzvOffdwvsON6BKwHHOFHKtMw43BUHw2oZECHZNbktFpvbragFtiwQ5Kv67TuyQc
DAg1+mlqkiOe+COeFHJgTLTrdjnXd1VVcfdwtHIrjjucnA6S/x0Ht9yXDk3RNE9Okerecp74wLab
J3G2DlMk5Bq/fSUq6r1IRCf8UPt57mjWiVzfOqGzt9TC2Vqj9lFOkxWooBF8LeNaKmZguqoTsfBz
5tw0XbLF3XOKSSeE4wIX0O3p9UXgzvNO7TBxoiCzsMiwu40/Ip5/HTrzehQ0MtB8bmC1qcFgxe9t
1gXIFqd1vehLJkwvNGZQ9TeAPtHrrYq5oBtfxaiC5gAmBYOaOAINndF6be1qqW7NzyJi4pi0pu1z
1xGFWb/NczbDmIi3APLfBBrYjZODKmnRUobAf/2q6re9oag4YkDe5XZRruuWxL+yV3yrZowFAJCl
BB+h3bjyhqO8iQTiYXafWWo9+tH8rQy+CGUI96ppW+ThqHhGZ7tAYMflix4zXjXxkG6jguWAsela
z8j7wrWIYDefHN8Lh5lDH9nLKaXZGvYIXq12/iLI6ZZYRzbaJezZ8VZWyyIEx9kfsTStwNfaQWo3
yNFqDcTtEseKIBKyAJHpfoVujHAwWsEaGlxRRoztWvfgqhi/R1V7qpPmI9bDBgoXrMVFItdnYX0H
SOkptBNmajVMwxJ/i2/b9LqtjZZ4H93oluuCJHeunvhHm6mvOGtAY0BCv49neYhCY502QITVpnrv
iFj0nRqYZ9EOP0jBIg90kskG3OiqVscPVVrertO0CeGnxaXb9jWYcQcvSBSCIqxAB2e562djyg2E
uKxuBCu5nu/mlAmm6ZaoKzsSNfEexowTDKCFAu+d6Rt4TBnPgbgtbiJhnSqL+eTMZcJRBxZT4nzL
vKneA5KOeGZQ7KPGeprI+1O07p74n7dU4UW9TF6e8NJO6xnNSR/rBJZr7SsO5Y++Z0AWOhwre8ES
EcclmBmIIHmc/NBjyK6D10YbvVCwmmrc1LOnOmtraLqgJVqLWIOOBZA8+ZW0lcW6/a7iyl6xB9xg
lfxCihqksXI32+bzKBiSKjn8jrihWyZlw5Y2AVxP5TaN2aMM700vgVPonlEGNrERWZv4kMczz1pw
g2nQCGgfRqziFHUeTJtKzyVYjtvvlRUIQ1t0CVG6M3DXjNfR/QaPgZf2RJmbMFHTo1fZPbXmbTS9
V/mtZZ3K7P5HYv5Isjc3ehnwgwE8M1g24mSLGaFgR2orCroEJY6ENEzTv55Xif5eiQswFh+39pB9
SH0/aCfgHLnnG/lGw8jUp3QGXYYICIRJB+6GGzVbmIYcu2mcqZyqx9q5nyNSbQ0UV4I8aPgHuOMx
ABNeatxmWX0H3GbnDNY+SsFPei9KhescGq4dLMm26UBmVdRyZzPok/DAmSS1cN/FTQOup59wtvTu
xiIjoZUdLJI3+lWACoBpkBUVwyZXcRfb2isB3xioHfEj6Vi4tFeFQY/XPHhw0nWct2X5w1VvJe5+
SZP1PBgVtf14TweEmeZJnWDX2OXaDKdNW9G2y5+LHr89qr+M4wn+/ln91kO+rPFP20p05p3atEOy
LkR622UontLW38zerobpStsm6fZJys68bA9MefJnBxSVpplgDF/w1kD6I2Ii38jqC5cC5bp+jj2Q
WXYdEIi0c9joKW8yrEr8sptc6XellRyyRt8X7bxHubVhFONH9MLcljcGdnICWhpuZ4x8ypge5RkP
Q3tvfmHWlTBPmPW+V3QedaIZhi0mRNEde4yFURBCTBHrovDtCVHzpnKCFnq8tZ6hSoYYgAdWpufQ
CzQGSTT7tCMU25qOjb1m6zqaRJu8ImKOzwy+KVWu8aIHhlYVBqAmKKvST47uQ/GiEzQAOFAJvPAk
NAANO/Jh0Xlsyzkg7LVX3rSaKMY70NyufsCKJcFq7AcbelK/KpM95lPsRC5GOMXZ9zhYywtYpEbc
wpdj5wQXv10MoyH1mzqey+g0TLfGPKxi56lMDmD8Ja+TWRzItq61tSh48cGj3FIQoA9ox5vYvoFt
mr9xsdQbt3+2qieWVkBiUbYJ862kqVnvqmiNxpH9/SFMDxnzaEpF0XKSBXLiFylgJk5662LeuPNJ
zQ6z2IJxEMA12aYhvsgPWLuO+Ulr0oD00Qa8ZdWCsz+Rjq50OLb28Zn6sc19mMS69BkCzFFQ22dI
cIR7jC7MCGSwR/mmH1zkqI/ZfX9CI19/Z2Flqk2mLTNADC70w1gkxAQO8cYWIKN32AiFswHW5cG7
Q15drhDJsfKSBMRyHdlBSKAcr9bafIDqMUiGnST2jMHo3Tpy10S+42zthLibG+KlCmpcazMlJPUE
U3qwwgOBOezT68U9px1UyGkm5xdG+7l8H8qP5DvhLQtGak3rrL9f+rMwTH2jeOIegZGyI/bDMgMo
WhlRAsh2h5vce4QU7/PHBPOBVD80yN6aH6mGSXM9lR8VOzZrh/sQZ49GCIOswK2wqaflUc3NS4Y+
N9cPXHVpezQZxITzLs0eYbdnQPUgatwjkCSOo3tFIpJKzkYbrj9u0ah94TqDcZkn+3ETjkj512Z+
Exb3Od27ydwoPBq696RgusCzoCH6MeCa8TG/w9mBuHJKH5G9N+F9AxHbuumgwGvbdArQJ+YFaLq1
d7LeCZhM7ZV7gF5lUeDIlcWgft0qzDVQngcO4wmCcQ3gIHxkgf8uwkCFC2WhWvTLtxDNsAYaJCjV
vduelfcUIXIONR3VJoIImhprg0jeO3Ehyqp+97wDmfYIAoSzxngIbpZw7iaEqQ9QmX7+blQOk+vT
qbW7N+5z1CDEdEfNwQA0hGKj3jng7uO9DT0V4BhxOfNtPJGCeerTTbykiPvFe5ufXesAb0uPTrV2
nABSF/c1BlUPfRAqAb96oXUSf7F2lBcMEMSbqhSuGgeZQCR7Oax5gGiuFBjXBsoDcOJ+E+9Fc7QL
ElPX09ukb3WaqjDF3eQqORibB8vbpuB0xCb21NWcbygyPCvoYr+846nx3v5v9s5jOXIk3dJPhDI4
lAObWUQACMkIarWBUSShtcbT3w/VNt1Vde/UTG+uzZjNrqszk0EGA+6/OOc7ZF8qpgdCubbY01OX
nK3+PJa7sjpZ08oO3yXKk+7sGKpRuA7NsYs91fFm8y6WPqxXghY7/Tbnxw7dvDiCfp5UP//gF5dW
p0rbQGkCk5jehxNaIQKN/WLYLe0+oDxafHgNPP2h8gBGkQHyZWa5NoBvIMGE0IPcle0eaJZNboQG
y/m4OKQYPpNgxONuoZ0VN/awT3dl6jkl7tqNnZxG5V5wVkfxPZ+fOrFQA99m2Een6cHRnzXt0SbE
OJ69VbXRPpMZq2iw+8+GtlO5D6JdW3gZeTZEr2DoW0AebZhDpCoSBED5R0JTmjfVuqTvNTSU+TnN
kEG4A8EzO8bd7EOAxCjqQ177QYlLBFO7t8DlwUVWKx63rXwpyy3m9tbiLGPZ5uJENvd6e+K/sgcZ
XYkoswqfyVrLHRPDrRN+Xm5XTc54JB+EyOGodFdoHHefsefRmFHprVmCPHkMjdj4bTnXxnftx6J4
QvnVueVwk3fX6OqIbcNQi5J3iy+MR4pKolJd+gSTzlb6ufPdzW6WPDTJ1ilxk28ZJ6Xo+vRN95JK
KlzkZgUl4B4X3xrgdwOAHaONuniQyPjZFeUKUZaqqBUHbu659YX1vYJNoTK0Pm9vPrnC3vjcutFd
Et02Ktr3Xa7vxh7TVLnj4J2zQ3eLCNqetgDxrQv6DSfd6rWXe8R8FQ4iDAI3XmpSZYIrvCc5nRbl
GIWnxPgZ2kOvH/NsT7qUI9xW3BFrV4o7KnSKXbcKv2KkRtV2DWdRiiu/6CB32+CBu6flXu48BsH0
4MxuIteJXCJMVXWvllAv9grXnySBCEQo6xbe+gNkCHIY25cEw8zCn/tDQ4jJNX0J1Du363kIvX45
FAdHZx1yWdtKa7kx8dN1O+qAYTrxYyvKjSoOWO6ameNzpydPM4c3qhW6pC8exWpA9IHWLIfbflHI
2K286cWyTywKxSPvxdQcsBrJ5EnMPowtyLj8QKLzwuGzhEPE0wUhHW87MiBAGA4EwccyPQTMtxqf
I1cLPG5sbu9xeALThM3CyCk3/UHx+ZEQT00gfTiLeInGbQyeAC/CyRFwkOIU3TJAWXH0uw7OWgWy
D6HODYC1lkGO8QQd5pORH+sy7ALZF3eu6hDHQF2Py36bcTox/4IldM4emcJwOvHccNHyhFAhCPGl
W2Dbx0s431TaPVXsBsaZEp5N/heziD7bFeZeJP7Uv1jh4bOxaTa3wzWCvVcz+sMKwzj/mpU4dq6W
fa5Q7b+r4QNYT7abVv1kVL5oHyJePL0u+pNmXkLGDRxeTE6BGB5t68Q4hnLtS9Q3k9xbzoXyitqE
DTkXtDXueXDi4VpxD/yCMWXXvzROVHHob4gGfac8wTwshi2rNX69AXirU2OekwWb4T7UbwqaR+1g
KBewHQ1DzepUGsfIMDy6SkB1U3hG1Irttsy8RDxAyWGwSToDnxFzfkHsR/7XrHi55TNg7zP6Mbq2
7WJ6vKPS2U+0kWQ1/15CNbOz4cADEb4RrsEEbp8vMKPfIcYX/DXukxXc5nJzxh9obUlqgCMqkLI6
cFWgkG75HEO3WN3lXPzHvtjl6R4LXvxsQAAwaC44pT3ZvlLZ8rf4ZvJ7bmh2j2INbcfXzFKDrCeG
WevvuxIb3By08eNFeybXbDoPbjq6fNyaL4rOScw/dUz8cpwbnwXPzCiOlI4OY7OMmTjr5KuqNz3w
UV8YVxWrFQOn0TcJBvm9IrHb+/hjnnl/+N3dB4f+HthdXLjjc/TKFwNtBmth2FgfsnKpBFXS+cit
e1KfGTwf7fLEjI47MQmu9UV+LeyQ74N4OzH9NNEMu5k7P8G5BLg8XygZaTLKHbCC9QKZqr1VnhRA
g5Oc6ATvcavh5CKUjNCqcMhI3AtRPo5uXtZIXssD7hri+NoD2GS55oSyQ80a7TAptsc7Fpnbtnfu
dOZdhSD4cm6zmyKrOO5vtaQ9hHlAfM+AoHSdC7fLoTItD43N00r9gxcEkmaTgPe5wU9ZverjQ7Ac
UjKBi51jePfT5Ivv7LVwNjlcpBs15Jc5i+OS+hRPBUmAVLVQ6+BR8jcUjwKfNhxR9/CaxPfJWwDa
nxqdSphitlg/mQou2x622TZyTXDsIBkPMEI3Pc8iKrJSO+ita5MJ7HDWbAvdbUlSb/C/3jgPi71+
SzZ6Qs2dq9sxNIggxUcDRjQZHuTwUjJvRCSyl9oPsN2dZqxci8mt+ydMuT74zy8HFbNQOfQuMfz/
EbcOPuNNBO2+8kbjas/3S7yLlOBuad9I0QrVm4RPFGa74KowSBkY+kVbo/ix4dlVTK/qTjmWhLQW
9GxghDa9yS4jzPKDq6K+6eEvtcpwru3mgn0LV2i2CQlkUgmrsdGevyUqnvhNuZWz+OydC7bxx3oZ
TvgYCEihjLwCtK4pNCxvplBFZHqnDtEd+IDtqMbuQ3zBqrjt7PTY18vjBM9WwkUx4TPH+FXL4dDP
yTmsk6tobBg0PdSl5h5aft0nwF7YXUF2HIJ8w2iD1C5qAYJvLyFuYX4/0z1pBPIwOa4jZXfoQK63
OIGhPydeTUVpwm2hOAABoE+zQLjd/wSiRUM73cNY7/ysDu7jPEcLyCTMNJVXJ3rrsqCgyCFJXA0p
tim7G4v9AtsO5KqBysNUFD3U88E8Th2iS0INLqGS31QLVtHaoKLBxK1sLbQeO9IMf7SKcEunUj6s
b4eztkq0DtRVTNuEr1rGE5JzZIhNjw+6xYwePXWzVWxXDuC2mN9RfxVeClog0XGlcvCUfciJU6Oh
ZTXDWUgVq1WHmvklY/61/LFyJNYbAj6fEvBu+wUmFJ/7AU6rknkM+MzTYjGq1GciB8u5YscT/0Kk
w6FpJk+pRSqvnkTcJcBPkd4+AGW7DZWfJqmfZLKtIv1UVP1N17+aen7b99N2Lhd9qzGZBP+j7Xpo
K6JsxYUcKKATPGcgwRCfpGjbjSUhDCZk2wou/ljlFsPFQLBetsDrGgHtZyw55uuSIioFkYByOPNW
M+UAPFEOKPCRxCQAx6mFHW5reyr2Wvo1ku7hWrwTLMn6n6j8jtZU+zbCdq4Xq2HbZjzSpk8ZVBQs
vyUO7nFN+Uz3Sy1/pVGlb+c5JHMtC9mXAtgbUbYPcE+3KTKNbZlFa46O/ZRUTFBxHkOSpEQyJBWs
cBroW3DoAGaqjXMvAaKwRECkZOWHAWEiVVf04kQt6RMsj+gT55lOC2RKmg/HXktexIrJnRUVCHhe
4fy2WBtouZ6wwVEfzRbtn96bBtul5rKgzdXNr7xTJ6ypdGQe2eJnvKgO2mSqZadiBArjZGsE+rtI
zV9ZgToZiH7D0qZ6x3LMFeKEA7tdIpFqrd/X1XCnG5j1+sBgmMvSVTF1D4HVJtW1T5hlkHAM4iBn
6rtUkN+BfIIAZ+bZMAkQbvfE0QzMqlEz+nCgnoVePsUkOIy2oW2YpU/QRIkfDnHNuHPAgLV0mPaV
7bONJXNbltwYDEurLo+OtdVynyt8nEf7ebTpFpyGx6zuzbfRjg6Brn6qMdUEXoe6KpVD2o20QThg
FhY8fpEpixvZCTYgSzyFt5ZC+FQxEY8iBnYGGhPbKNG4HhP1ZJvIlKB8VuQZTI9mCk6HvIrvrMkS
LtP0mNhSg9UqZzeU+Tf4i8KXE5B2rY38gcBTH84rNUHPjKCwEe6xtH8KMLBSL5KdVopXpKo2AY8B
Bm/pzd10zvtOc9uOVIpxJFV3/dklJO8lDzwAKtzFRGZ1NtdcOuTPsgceB5cydLjsS5Tb2pjEbt/V
rhZJ7RLY809f0707wFwncvio3AqD4w/0Y8ibBc6BCwNxAgeKRYTYFp/xe6s8aSj0OOR+LBTfAt3f
Ri1rQtUcTnYx0IHB62fbkOzaOXycGsrkJrkauYZBC2G5YHXuGW3JZ2xC/MRU2s/G4dbO5us0MGRK
JYNeLu44k4D07kScPUPHuGaZE+2CmRFNMPMtDc3k6U5yABmanzoxf86I3EaTYFkoMxdzCBmlzOlF
ttOPIbk5OgNMQ9/em0tyaiTJTLOIicxV8lcrZlDASh/K8nOneUaMSiKdKPUr6F9ETpGClI6MmngK
N9aQ5eRMMS2WEi4xsZwZtJIoWudAMj4Z6xYzn+eXwFBulTp/DZKphZAVxVyAVNbODYaKgHoM8vUw
8RGyGoSEYxafCztlvgNusUvh5g8NlIKcTBwrajaBW6c+O08fAgi1jxm9mnI9tQVOXrVqnpa53AH2
xB6TPij6DN4gZrALDYqn3bQ5VQm3S2ruQM0ar0tgMY4di+elM6tjOBfPbVkyFmRM0xulnxAEphs4
qsaZwZEU6sUGHsnMFm+LUTJ5NxNPrXEpaYRDuHGkPSiO8t5RvGp03QElAVmTx7TGfmOmxnPZdNdR
F29R13+YxCInagt2nnooX2k+5la3jeS8OnEIDmhMJsANnlulhvNuT6Qw5MWbLnHnVsTt9ilDyTX2
YUza2wbkbpPWeJKq6ilKze8PWy3eRTOzpRJvRRSHtOYO12yVvkwpLX9BgMvK3EHVyTQ+ZDylpjTb
FuYVdR5Qtd6RIuG4ooa3gQrqd979GHevXCGLp+jlZz44T6EG5LtvbqIOvIxakuMCIJ5HRmXbbJg4
3G0nOgjbsrFHS37ZQ3Eu9Zj0m/m912TpwUFkBAf7vh9zqAp2fu0XxdVLkR4my/ksuszcs7wtAWB5
mNi/5mDsOLkHeujkgT3k3TiHXzINyTwmzt6tNQa7I6loSydBrOrLF4la9rrUdvMo6w9oO5/h8YiD
AMEJ77lQyOOcLtDDGgxn15QLw00jbtJw4Q6YbfPsmNXXNELzKhE+aTVzrDwcLjJv+13B42NAJztA
emVq2tS3ouhuFw27ucaLmrqm7Ej1ZJrUAxtg2xcSXwniXexj+qS8sQcAqSaKCDmRHBJhicojG581
aheer9m4JU9HpZO33kn1vht0fdc11UsYLr+QVGgsWFhYoKvC+wJJPa23td5gs18NQwLlT9ax9aiz
B9QzjEhSBE2DIz/yCRIqgDjGerPfmGiy7Y52g6X7OVPl92hiGK/4SZAVS9aBZHOmriWwcHRyrNbo
8YQsSsJiLXt6dELWUl2lfY4REDfZFx814iKo6Ayq23n07KWlZWqZ5cJ9ZoXO6TYFseVVxTywPime
M6nqew3uslEPoT8p5QVwN/dk/aVC8fS45kHp2saL0RinKCHwchJkIXSi6095Dm2JK21vEgiygao2
onqA/b/2roVK/m8CfmoboMyvleCpt0/wHH6CMLtfiF2XjY3oREbaduoq9MDtSUgDjOQCFUw03UKw
stwZTJozFi+6Gb5nxXdubfNsyg9h/RSBUD0oNchkJPsoA5VnmTKzVLVi4arl2ia/qduiprF3ac79
lbS7pGf0F06wcLKC+FZC1soRZiwoJMxIM1TQ7NPoLZLH4mIfxiBKVNG6mqp/2PS9miJib8Jeu9HT
VScV2iMrlHFl9YJ/il4dAVuynMLvShf88kNdZYG4Bjsy7FMUmpozJujQXVKqJb1zbgO7v5VOSEZY
/WrMxBuyGKWzNIIXu7IudQfVGvmt3DhPdsG4tem6T/PO6Xs6mbh9XiITkuV8tUFVZYmGLHoCcWzB
tkmWvW6afCKn7i01Cr6LQO71hPVfWwtSy8zamyvmTXrzNEztGb/sW0re72ihkW/771rpvDFg2E+g
WsE0tjaYlIQkXnZk6BFez74vrF91m2pySbWOtOHXyhzQ87A0rRnfoj+rGMMF0jMHrm4lCf051uhu
SXdZ/QIW7Di8qzx6SYNnrzP0G5zIxeq4RS89JDzvigab+21cXkUyVF4bIPaq0ueoOJVafhfOKgu+
lbEAFhHyOwj52lyv+FLNfCVNtzl6ym0XW+p2oHJNC0CIWugw4lyWx6WZzukE1F1UNM9JbLxPFpEz
sdazpK1OeJRZrusIl8t03qm9/kCYwC6HKL1pc2b9fVw/zFP7BGzzCO4WuYTBsijXWt/wMp1cErso
Vc9QqhcbK7OGtIoPBAY3QXxNEKrWobJ711RZrjS1farrLGDRAtqhZBgE6tLYjiPNhBPvyY3Sdzru
gCFJksvQOtxVEHdzhTWMqc/HQembsz1mgPgkqVWLYe1zgUCm42Zw22b66giv3iEDLtg7OWxp4HRB
ex9oy1aQryKXXwDXimMgAWYVGrziJvtYkMm7+lh7qRIcVGswfVUA9CbJsUGbx3tdN4GyMyKzOc2T
0vpLE5z7IYL9ZWGX7MDJMIaI+hMZBGFJf0aUpTrVh1SV8pR2xb1RLgdTaSvPIDsLFFKxt8Zs7cNv
WrEwYQ2HD4SH1RYN67SPeoDw+qh029YqMakj8CxGcsxCXLsKCgPk+ElxMzKls538ksZqe3SKGEEW
WSOVWZq7DhWuUsPsqXtWbbb1BSAhPGZjM+6T2T4JQRcSmU6yJ2mCkmBZHpx8dPwppOCOONIxqhAc
kU/tftCJqwonozuWPYM2zUize3wn3OFRrB6RpPXZU1j1IDIn7IuxifPbsgdvKBMItowyyrEy7i1j
HvfIjlOiSnS3kIVyo4ez49vYqvDY0/+YID98WzX3qo6us9SQTRFPlCEn1rzSkddAZ8PPInwn03G+
Vuvnu+ZYakqoOZzXtdcOlIpqQGSe0PTd7y9RkAnhg4zRtjSPug8iSgFcxfgVckeSitRvwatB+xPv
Y6Wll6qtf7oAI1RBLUtqnrpJzHzwBQFyq/kbfCosoa2oM/hf62GlWQQQGfxLNjqoydTGG9R2Psz5
dEwxiAB4bA6clfXJ6h037GdzW9hoDytZUepkEobsYH8AU8O6OSWQ5Su0gGPYbku4YJhPZMfNPA5n
qQ370CroT5SciSBRtCizgQmrZEjqQ/ph54xvU5GHHnhVYPLRVlHH+VCWwSU0F1aRaYMRpExQYWRI
oUAGnWUeHTBmZoR40I8NqwR37nSErPW7MiF8mIEMo08kdSPXArHPx8iFQaJ6aQsoPW6dyTcr8iCV
2UbAmxEUW0ys0SxMFY8m4wM8W0fo+N1H2xPBNUK+7xXrw9IZR2CP+9CRI+QNmrHWiserXSX5qQqb
jreo2A0iNU7DmsrW6D37a8ZLWT6zRXYoSiUj3oGvsM/aHO7KYvP/xfrjPKnDQwwvEZ0+VWuG5IXn
+EfObM9b+aOhSMdRDq14TLZ60n1aivMCc4u9lWavPCv9caj1L4IP/XQsdpWhypM5Yb/h/kJWHR95
E9EX1KW9qe3xsSmIg0SAde0RCagh9lbZja9NPReeJmOyRQzZbYOet51aBa0RQR8NTKwgnTdiYp2H
A+/HAnLpRd2UMm+kcCr78icKaBFnDj0/bA9GrLwYLbFzDUpCL5wAaHd8v7U0QERo6P8Hp993zRge
4uqoU/tvAe8fgY8uDAsYiMUTk4aCyISKZV42hvU+pnSPLDlAZ0B4RrLENTHQJ0nZfLURfzY4OnOO
ZKLAjwqAlQmEBw3engueypfEvqQqI5Cw1Y6OwqQ5HBVnpwTyRIPcbBb9JA2yf5w8n7CysSFJJhIX
AxGx22nhLMmFLa9GON9mRircpcg32FpbTjlc7XBihcJitTH4aDk40Ysi4ONoZi9tkO0BIyRrSGCW
j6WbKWwIyOW5XRSUZ3FjvljMKii1wKjP2M4ibm6LvVjQtcE+tj5MdX3TygqbfBicoVX/smI1O7Te
WOcp3/5MsxK0V2cM5isexbz1AzXfGZK56ZwRXmsxPES4okHvpU5j2G8jfgnS/pzV+Dl7/R4+MJXi
SABarVSHEGKubyiSTx/SsxSv+IrtOnSM9iTrQczP9d6sgU/WKsnzgJ81oBE2KBLaEw+pmQ9aEA3K
CJBOHYva62CVsDYkS8CalmMR/urbMH/mMtuJerI3srBW7aGK1ZA+Vcsw0GUR+0hZ0JUmFp9ZOd4N
YnosgNrdOfZwx5dGJQwikgVe+8K9Hz72TMkDSZMB58IBOodfAKhgxrIym9iN2tEKGuZzcFJVQERV
yyHRqfEB4n7xMJU+NoTiVlZwHSDH4tPqX50mS1muQ4kYDLZ4gCQHzGztyxgxL08ROdLGVYa7JF3j
JSPzgqAxUPhXSOAwDlAbaoh8FBvOWcg4HQkJcFkYuBaKrkb5iHo+pupQEeOrG08cB3O1QL0gBMKr
NYpJyH0oCcTOzFsLuQi3RACPAsYlH4w47t1BjkBLQ2NTSBXfGI16F08npWp3yMYRt2ZT68d8Kxl2
oT3sXpgk88Lhmd834E8ZPyJeNefphXiqecfqQCUHVrVujIg3LAYUu7NIRDpDDt4scY7dQ1kJCfnS
HjKbrUJEuBha1CDw/3thTv9Xur3+1mZ+jn99Rd2vou1+xX+2mhv/tJpj3dI17ORAiCwpdNv6p+HL
+Q27F7wlw9AgJqma/gfDl/wNjT8mc8OxVlu5xIf1L8sXQwCmehYaaEuFb/DvWL4cfO5/MnwBDrNU
1UZ6zOvghF8ZY3+gFfTq6FhqU3OiaDnyJGtuT73UfYN1rFMWdwMTGNrwrvfnSm89A6VUbkIPpP5k
LWHQ97VQuF1gM2tqNrBTgLMIgUYGXmolmU9XKBzIxI0TUaOPnFV/KVtjly4MIrvwM84KEJmDR0g1
DYIRn0OdszK3zKtjsddMgUIkHdfWgvvSNsx96Cw66hPrWOT5y/S7IxwL7qZZqHUoaDaLOd4oNQsM
eHtyH5pukaGciIUDDJ34qrsEybu1DkeI8bIR0gz2fZiXP3ZgsDRfncZDe2sU1CdTniEhWVbqbGCM
h35QPsnXpKzo0MVo8lAla1aaNImtMek8bYaqejrubIiV17lmlBel9HqiJEfhqCgl0401ziPFQ4uz
lElkqTBHIFs35BakmVXY9WwqMheV8kwJMd0QurLNwkls/3sf0T+C1P7H/0u4CJ6Sv8FFIJtsf+Wf
fROWf7Zt8q9+faxgNes3E4AYT4qGx5InU+f5/odt0/xN6oa5MtccTZfrE/lP26ap/iZ4sgxJYpqp
AZzgy/3Pp5iHH0OA5FxwDIfz4d8ybpomX+nPjzGPLg8vRw2MWwyh6p8f47kyI6AI3Cha23WbKUXc
p3VckqSPbaa6PsEhLfdJOYI2tRhBixKFnvMyVWO+Tyg+vJzo9K0RDYRpscFbSN/1U935UoLmJRJ5
gkaboXwboIfs22yN4Q0urCHQT6j4F0u0BcrCGeBoGcam9m5MO3dRGvx6Ai2lCa6sDaa3hh1lXanf
4RoW0kSrWA1PRedHNTtL24x/ChWwfb/s7ZRIIRGt5kMdhYNhf2Kl3sZQ7Uj4C+6IM3YJv6hdMxwb
T4/bp3Zddw1YE+Bkk/4c0N32mEmy4Fb2+SUYssTtS+1K+/fmSOIzMufAiG6X6ICPi4FwVeuoLE4B
BdzysF+CMi4GMEpB+Nav2adzvjLivKnQGeQuKFzzuCi9uED1VCoExHAKOCA5bAWpVUEgBRQjDUNM
UVB84vGYKowCVSm/xQTByg5RdsiFhL+gMz5DKi/aRdXZp0r52Y81Fi091SE6jgxezfI+TJHF6z9Z
3Pul2jw6s/oZ6ca4a7rxsJ5o+gQslQZwrAWAa8dCoyJjqsGoJCKuRT7SteF31qOU7qOR0PdxsvAW
rbLz+Ymx3jlLLvWaFOcUxmuGaCjOI6Q6oKzssE1cI/qRUv3Ew7iJUKcNTXlO4/pRmszCQFY8tpP1
rOYhI/glQFiJSsMLAWgkGj/o2FqLP/bdORXLdxMUV/rrfUOfETMlg6jmWbrkDcTZy6rP/sBpGHw7
fTlu2yri1pCPjF++mcqosEjG2heq/RIbzQe7ct4eWd32IQWcXfV4/hU+87m2jDdFg16Lot64t1UD
slPfGX7OGM5yWPUHHdKIrGsxe1ZYWkf5BLuWk5nanUIWXRx3nd/QfGH+gb2mqQl+02ZVMQ05AzXh
Wa1AiZreqQobT2C2TeEv3fIMDkbZR5ouiCWJ/MY4hKODJgPf6jyPbmtW9/0k0DRM6LQ6ZjIFi6J+
GXaaAzROV8fdUjaCuElUb43xVE/YPsyqedZnIjkGQM2b5KsgG1Nq4z526ic9mWlg0F+TQhZt1d58
tvryUSWlYZvrwbEenTOxU/dZNDxrGEPs0cBG2jyO1XmNEDXSL9woYjsMRugv0zkWqBKB99GSaxZB
u+2LPeBTy+tnR+tc8j7Ehoy8fRwggjACQqIiMbxwTeHNUwzP0OqHVtRsAKEjd6toIaIvAV5zTEX7
WYDoZxa++BVNiLl+24mdocLHT6f2yKuc+g374G7SGV9HlwzpXFCzLEgyHHnM+7y+Tii+7e49BMPL
2+MuZvyRaswTW/zipCJSSmPdDu382HcIscJw7jaFIz6bYYVH58y0iYUgw+AJcjX2wWA1qte7uU8+
ypRpZzaZX8Wa1J074LwzjRp9lta68HCuQLZfG63QvDZNb8xy0MgWaQ/dEoutgcLf6ubXcETKH04I
GMn5tohV205T9gFHkT1xEr1E7TThvk5az2n6t7RUgUHTz6A8SvLhlpgF31TqAV8C2pIBqldPDC9s
vOU8G9oxAsHBG0SGMrzZVetu3NCKRFehNLBaJOKlms/fZipPnYOSmQYQZfZk8hxn7Dtw0TXTYVxI
8QBC/qrcxDwO7MwgSSLPcYdo/OkIDIbrZYiNY9UPJNPPGFMCJGd0VVV4DAMF0avEBDJNh3xIbqem
BxZus/jF+q5dmrxDxVqiNm+PRVPe9ZZAj8fvoySpyu2qH1bRhCAUkrqQ6RsZvdt4sN9b1SRCLfzk
3jkHMr4rJ1Y33bg8tii2eDNnrpo2qKxNrBPoshjS0+mXNx0BhYqaYoFpcNouzC42ZStpmPCemDWq
iyQtkvNWaahSPasZ7ANY3wqLlfpQOBY2nrgCdliqL6JZVaMhad64O3MkMQqkSNHKlmBTMJ2Oemsl
Cb65mslJpAb3XcSBLJaPOZkehehBnsRC32JRwqaYZK+xCVgyiNBYpfRnnECBbwfDziLjfJ0nq0xZ
Kr807YX+j5mhIiAGghnqLxzKFHt1fDbSHgW1WBOJgdDPNcLgBc0HXG6K5N+Nzn2MhYdis0IxrEl2
z9pUHKNmHC86IPKjrlON5yoAldxGD2qXDWNWxGUtAmfcxdkVcQJWG6oTF7sd0T5ExQ1w6VQ9uWnU
fgQXVB97HZ8GtBiSbcHyDXdE196COk+OUVS9qY71kkRswesCLmIdZgetcn64Ci7srKn1y0eA7Yjg
CtRpUyZQkxkDwWPOR1gA/IzRkeqovp7LLDj1Sn9rBsE3+XB3Xap5JIjv4phps+iT17AeI64FnBZx
vzxJHIm01QcQS15G0YJDjJtUQgY1K/0rbg3hxmnhQZTCz27294tq5WgslhMyCUTf09WZ5K7m1PLI
J/gpSeoDjNcoGwePPQqW2NxpMvgCO4nbOB1WvdlH2UNUEcSU7ZPoxwzDV+zebjJYz6GiIy7RB2AL
KP6c7lzOyrQBmI9AymnfnKDHoqrK3kus8T7rtfP/L9r/TxjJ1t+SVlzyi4r460+clfVf/KNeVyzx
m2aoGig3qcF5E8a/AG/8ESU5eGLbVm0TSt+/KnZh/mYxWFVBvEmVf/Mvvht/sn4xnhMVjqCl2/9W
2y1Wjsq/oIQ2/5xX1/hqcAIJBLLXtvwPbbc1D/bMMgK7ynN4j8F2H+/ILUV76qU++sL9H7qZ2/+M
JPwL1uUfL+dACWcEYa5w6L92+SOQILJDkevcjUclOJJJF+9Tb9gDWBV3MecaNX2wCbd4uNzkH03n
/xLALP48Y/jPr/4XImIsejKQ2EC445a2ZMsO64ZJnq974VW6/5uf9L94Yx1V10yKLmHSEfyF9WzA
6FryDHJGdEDw50bbZW/dxtv6rHvVzrr/+1fjg/LX36KjGhqTE7Z4UtP/8rbaVuOM8YIKKkZONLdg
aMen0r77+xdZ352/fFT+9CJ/effUhkK8mHkRMHnAjWFXiM3fvwK0oP/iNTRhWBq9KLhBfW0v//Bx
TAxV0Wab39AQZkeobYe61jcDCRu9pW4also6WT7BnPoVvUmoMK+sn8TyUnONZuEBjD6oOewWbAXl
dxqRnlkmnhH90tTbAjVrZrUUH8G2UtA7Dv2xFd2XbtBcGfWrg/RaLY69OGkUizWFeSaCn6nvvLrt
blstR6HgPFksGwBnPRhE/7KgIl+HfR05vUlU3lSgBYqPRP/uuv7YsYkX1F0UNrdBPPoxwmOjQqGK
w8VcrsSJ+lGyonExD1UfpEiY1R1sFMCCj6aZu1n7buJ9xeC8Edrnwggn4qIxmysOarTdz4r1voji
whwAPWVzoBjwO7t81Xu5c1DIJriQYvlqDgayt4tp/JLNde7PKW0c1U0WwrGdiHcfVBRAyc0CYA8n
RgrZoweOWCbfff1rrW1SW2wqCpOACjbJ302VxX3zgJ8mTfixTfbNCqP+4nNKHPp5xOEmf1/QU9OM
AYy1UXwSPQnP1trW02ul3UZRu0WA4A7tY4REMlc1t9JTLvTUncmfSWzxkkXiuVcN1CYVFhjIsWHw
4hDB21ukCKOePbV1DZfYvgoAw1R8lDYDkbq4RqsHgGMg1W6S5DGrYPvkbb6bzeg+JL5bOpM7T6v9
BAQwupFgnD349NC+M5f2hXL02GYh8eF4JxRxJzFQDA6+beT+GbbxtN6ECfq6BjdqTLaEYriT1DdB
iYLEJAoxeZmRNxikvPdzC3eBUj4+Nf2xn28L9gbBgG6FwN/2J0HSvyg2d30EYiWmGITwKEjmIoYz
dj7T8ZHiv0M2FmfqYeYlJeS9TlO2IcbRarEwJDLSYMq3QCLoZgxRE4k21zbej83pP6g7jyXHkaxL
PxHaIBxqMwuCmhFBEWSoDSwktHbIp58P3dPWVVk1nTb/bjaVVpaCQQh3v/ee8x3kPPAQX0fKy9oE
K08tGXJC7EApFPFNiV6j6eQbj2Nc3oexuawxfyddSsnuLwmxXccJooZYbBTnFamaE2LOYFhe6Oa9
HtCJnaKVHJWjkgRe7HzUBY0JGD6d+qVl9roJ9csYQKZpu7VNXWID7ZVtzfuJSGqnR48cVfZaf6oI
K7VGc4/dLHOsmz1y41ANMyBeEGGGT6HxzPyFdI01Sk3w2I82CpY0IRQMu6jIV2QrSsNGWPYhy+aa
ZkT7cWF1tE5N/ZnqF+oG7MHXwv1JSJ6JDAxc1luaXhppM9a/uKz3iAArrHzUU+smLc61cZIcVP3+
jWMvrhl3a1LVqDbVNwObSeZrgdeD0n/GkvC84N6MY9Srj4bNjOyzQTHmUuIHA2L96FBMZ714MJvn
NENxcR3wTwTKc23xSx95Yx9udYENSP+xo3zdUlKkctpkdbs1lOBc4UIf8vsEpRl8yivsSPKQDY7q
ZNONyteIPWumNxZIUgT43ObI7InCfW815KR8Q+ZClTmD8+P1yCFd8JKWOY0eyjn0KIgIgFPWLdom
FUYjdkV9N6XHukbcbKYrTXL8DtEOl/jefX9Tp/p3YGj7SgSXSDjgX+cLy0vUMsUHw9xEoDQ6fZEw
6gmVl2q8r+lOuMOTMgxgZB7U5qnrnhzkPTPgwBow1IKTdgXG1D5AIvqude+BvE35yUcjrUQXnQa/
H/w4GN4DE3ey+2ypJYiAniryEA2X0GgZ+z6PI/Z6jbkxztGcSQBxs/dqly6N6gkbzUbPicZTT4DQ
gvI6crFqfka3Rxdt7mTrI4vgkG/jU5n6nTXgV/c3U3DvG0yBexsD1o/FWjZUocdGu9e5il3IxE/Z
xTycufI8TecJJaLk7W36cqVO2lIfJFKkaVkk3bbHa6nBLMnQ8vnTc4MJFEsku8almTZq8lZgVorw
VKHVQBoV4O4R+HHsbmtUG8Oh2m1gnpn3kcsi5T85HWWzCrJzJrz2/kNENZc4LAUy3YSYHHycqqJE
X6AAo+FC1/mu4RlQ6IKmdb0lkhr4rL3XeyAX2qNBOyVAwx0MhCOV3uRc0c97Sa96RFoD8PqGiB0m
52F8bt2niI8e+k8dnIsPPduFixbnLGyoc+vZ4EsITz4+qux+VrXrsxOtQLCzyror7KVTE0/n7ofc
n+ePRG6g+xfqSitBTvCA9SltCcIFE97Zjk0tZJXI8b74Hy6YpNKpUWrCIQ8+E4SCRNmu1OE5IceU
gFhdrc+ufHarrw5iltng56voG/RyU6vps8UnYR5hmdWdFTsMUgEFJdPC7P1wY9bUnU16HqHMd0jd
C5J0C3gf/QhPwn1K/YdwpBMU2Dg7KKNnZlkdVns17LjvnEilpW31rN0TGrXXAzyxhouTj/bGfP3M
mQhgrLmhxSJVSS13CQpwtI3VZz/hSN5WJ68mpM+4IrspVlXsddeEeAQjf7Zq+7MatWe9Yx9Q8r0Z
hxvVvifu7thDx6TJYW94ohCT6FxJ/6FEXZoTIt0hvRnrV4STFjSGuB33rNx8G39HkQjFz60PnXiE
qIbU7kN1281kFpsu/6hdiAjWbTSHlUYaZqRpOzXiGOw+KU6IVxTXt94Pi9DWMNI4q8zpN8i2bm5U
0LsJfmBu8Gii1gjy/lgxCFOltlSTAXGpHPlpE23RZ1/kU65iI4VkEbCmwFhq2bvRy94P0EWFVb4O
BnA/tEA0P1DzL9pS3Ekz3KpUazy+9Vl04trBQ3L1K7Ibr1XCc2KI17ajJxLTqxI4xFS1fOXIsq/R
I7gh/WUXYyzHK53nNLWBAwRwwDKhFNDSwFfU9qEnPnsy5rRLVexFFjxM04toucGWo5z9CZ3BBArP
6J2j0Ea8Ftk9d+iuM5mQjXYSLo2geYwm+7vT5NGvxrPSFw8ZgJOaWIFJE99Oa1/omsAuOBAiug+k
gsUk8qzefZNm/Zin8mxO0dLGQC8hn0k1PuoDhKju05eMDOnZkip4kXr8zGCcZuhU7v77+fqvJ3jH
gQRvMOc1dAtz2J9P12Pa0HUwYsAMtLdGWZF5c//fP0Gf5zt/LhL+/BEzlP4PB/iOB6sqq6Reik16
Mo9z4ROe0EM+4jb2xhcIKJ/2PVEnS3Xre+Pmv3/635SXjsOAyyRnR1U1Kog/f3pOlR2H9gxC26We
sRg9pPOecYj2QJYO054OzjZZBkfnd4XlXF/9+q3/+Lm/QNIV0U1Yj/hc6oodCQwrbYt8fNGvxRpU
4+8L2b+WSX/+nr/cSCZ8NAccPq9bD8tuV22ye/2EtWpprZO19WCtovXviudZBPDX72jNM0YbxaDx
a0GbhNJNpYN7GlX3KjmEm/xWfHQv5a7dOLv0yNJ7QORcPAgPCc0SzybEsTWNBE8+OMt+zbHlJD2S
kC+8TsXv+gp/rey5IP/54Yxfxo7AvxJ8c/xwnJzLnVgNh/CjfVHXmJ1X8W+esr+9EDa6XNoliBbm
YeofH3F0r7aV632Nj4SN6bWpX3/zFP+1dcCXcTUDqQbZAK76S+uAyFxHyUFvL5VtvxJe+YgFaxHt
wm11JKjkNzW39ueYiLkp8qdP0365dKLBKtmhbeS+qjRjamqht2IT3cPlIuDHa5bDE2RWr/+ApwLH
/zffdb5Yf3lz/vNd/9my+cN6gWy309T5YgbUCygqFsLL11BRFW/amBv7DdTFIt13m2jd/O6Z+fvL
TM+EwTh3cm7M/fE+BkVlMCxW55fI2U87TCZeu05OFCQ8pr97ffTffdr8+3/4otOQcTis+DQ63aFX
/GjBRl2BIfbKZ5q8Z/ZpDxvyg3Km4XBlFLv4ff/rbx9c+o3//sK/dImCaRSpynRriesOCNMNWfry
N7fz795Dh04m83+sFADf/vwtEQgamt3rvBt7ucv2TBo95j2Lfldvfvca/u2D66qqRWw9jSQEEX/+
LFIJCrw45vxZeOQ958xs7858DlbuCkr/znnhdMrN3Nin9Dfr/T//6V+fWnphqg3GjArs168ZObrZ
C/I4l+isf4AjMc5dDltq8HdaDydz3W6Kjb+WK9J77+qn8GCla6qVc/zmrP4HF9ylw2hy1Vn0f22Y
ZVGhuFkzH5rf5FLu+vv6OX7KHzCyb/8HLU3C+uZrzQFauOavn1W51ZCOftgsMQovqYeqPcwE7q+9
mSuO/f+5wbO6LvguTv+6nr+EMP7yv//rWH7nj7L+/pb37+WvcTB/EgH9fxW6aPL2/99DY8CBfL13
v5Db57/yr5GCgZqHzqhQNeJikNiYPPj/kgDp1j8sjfUcmQ9nH820+Dv/Dl10/oG0j93KpCUtLOGw
OPxbAmT+Q8ziPpegF21W3mn/L0I+hgbGvEH95/WwVZre/IMqKwAfpBrOLxvY1A9BaVUCJzqGqkMS
E/SqS4QswCgzECWke+VGXK0brQaG5rbpQqWrDXsDCBUudRRs0iU0rg2BJtRVj6W5M3Arm8hhCNzb
W6O2bvyYUbc7gxvt/sIqQcZXj0cKAO+9NWcO2k5DaIipwzSQQJF0+1QjjmCQjJMHKGpMYOl9/cIR
2cJcOlvnCnifIrPxCi10x8npZeIXarqBYPCGOtC0wfL4waYO4FkVtvOsPMIYgLg0B7MYQgWCjp3A
G/DnGXpJ0zAECM992rlSGbZDUu0kU16rm1rMzPJbmOABFFBQ9Ku/ilSbPePlNnfT+8TGuYNE/7WE
KReA07AmebWke7Y0SVnOYFALp20R+9papRycxheuZ+dJpbY9u4pulOkWXJ1HRRK4N6QEpinCwZpY
rrshJBIZV/gyrWk0Jdo4LlSFPrqoxSltg6PuED5pwLZGBohTDRttEecvTVi8kuRCsaB0HnUhnM+p
gamgdi9dWUuMOECCg3TaG661Dn0gUpQA4M46MWcM73P7WzirYArDlQjw67fDVnPqpwzDOelvmEJd
VEL/PE4hHb62ZZVuS2gdGS2SpZ2hRhzy+kvz/cdByX8Iw8hn9eZH5cj3sRm/RgykCIp2tq9q69of
oJ+rdD3rpkuWIf4A2j9wmHuGFRMCNPyimLmj9YwuxTAy0MuXFuBvFGJ0pZaqA3PXGMjdKfAFs2PD
GM4OYUUqh1p3JVcsor7PgmkDrW1Chk9qpnWfIoWDzjTDpNQu2yT6sGvjydiFo4QIqYl4NeBa2BZB
wM/lNzCqYKIueptYA9XS9S3Q6Gahx1PwYJc0/lxnK2WmL/s57s5x7JNV9TAfp+S1M6Zpj9ccknBR
b0x9FrvxtTw55VAuHDpj00duNojttBzxSj6Qda3wIgm9HNG9muXKDHFv1yaTfGmKgazDepulqrzV
dwE8ljLLwctYHTyaWD730/AZq71yzDJEr5kY/OUw6Zi4prS+CL99Ewi2pgFQLTanAqsZz4eLoz+n
o0uqn72OBgD3blu/ZDJ7mRE6lYpkAQgDkvEhe64z/3mqa3epjoRG52q4z84VE4m9wBoN0aeeLkTy
oKlR1LmvniP+UOMHInDOhdqvbD+7IOl70rHZxV1krCad4Ukq7WKd+Cqq1wFQmFUYd1rZ3dVV8aP3
7SMOULIiI1zjhkWgdGL1pKZDq+wt5Av47ddRZO4V08l3mP3IL7F3Si+iB0eWayQt1zCus1Xqb0I0
O147JTUQgkbCE2WJcuy025ep2/7rP1KWQANHhmS+qJ1FC8xJz4ubzMOntoC1DGVGG42fNitvWhB9
p36SbeLOrCBQ4MCJXQe1lBlgMjHJpa1hN5Mb8CaLYN/XyLD0xrRXEMNbwnkxowAxqfqNzzNPyBY8
bTGgl7KM41Raj64zd51bIKBxnq2syUSjkSvWMsTA3Ay0uB3tSCTeu0L8XaMOd5NWcPFS9b2tCPJR
RLmqvuKGWIge2cQyiGdUsN4/RAwfmtJ88tv6g07/Uwujn49J9rYjgz0niJ2AQeqzehhS+4C+ZxQq
yAA9HPZlmB7LkbxbYP1egTB1qSn+NmNr8hwno22KE83zoXCmKeVkmfoY8Bq+GsDyO9vpdjxymE7z
llxBWFuuS5+sMdlNfY9WqqlxFCujEMMSkjZpZtdQj94M3KmykD+9MQEdsJMdhTMxV3jRIwJKQ2M6
ANVnxhFA2HQgZkFTaC0GitAPPI2fvzUssTDizyl2QVblIc3+HLI1ESmYqeidCtnd4QMUC2U5pCq4
hUg5oADzN1nrvjqYFT07kcSFZnazGjExLkQXnPQpGb3GoAcHGwffXIDMJIg6jC0CdWxtxS8NI09m
yAECIUBdwNrR04IoB+t8VYqb6w7Fzg/o5wsnPqY9vpJ4AojZUQRHxjRnecIk0WX2M0T61TdAnw3B
xRFgS2m1ChWWE63xuyxgzZRZCovOBX1TVvg8bMh7WXtW9CC+Km16RwQ8VbVosELb/rTH1/NcdKEC
oEc3101pPzFwbTwagJGHLeyswbxGkq6QaaiASyyKU/sd9CWC/bTHbdoaBG92NqygCMPwqMtXxgiQ
v6sEwJL5iRuQCTMZsYPFOMaOoXxF2FjLariWJdTlrK+JLLXLTWgYL6NmntsGPkDUl2fGTTcLLkIx
nxZ8eSQzbK9EQ+w5oppVuXikylDdIdBjmNXzCjrUDpI5Q6ptEW6eer4w72Z3J0b1kxbW1uLLb7EP
RUvFLNC01h9BGx6S8IDKF66P8W4FDQ71TH1uKvFaShXJknuxMtmtMteVq6/Yd5Rd1JkfTi2gAiKQ
dUKyX2KBMJjNV9ThyZR6dMzcR5b+7AhwxaPoWOQ9A75/YuCrEsRcadQ8q4TmLXpHQfgZYjsmEyYM
7XOoT0fTYEKa0wwf5omHps+sGt9DgjuTd0C+u5KWpzGgAsN7izfRMXyvIzWkqkV2ZxR49Iysp1ve
m3tQCuuoOgHTDndWBAY+MLpVOEHGUaaT0pUPhFfTAn0gSI5Gbw/62upGusUa0FbIEWujFx5CK90L
ij5elQTPWEVT7Jqx3TphfZZy3mGD8LmoILe7GCY0HGyBTyiDrJWdYOvJQnfbB0a/7dIwWlj6dCYr
u1slGimusW4OxC5kcyKHDsmiftBGIlOhSHt9g3eJgCJmGtpVNB1oe2nzVUt6CeqHFilf9VTdJU53
0q3iy6ijfYAZfllBQHKj+qhM5QV5HFZcObUMxzZJlZtEXVlyFyTlKed2xD5CQyJH9TSsPL1r9a1p
Kwfmw7PaElxI7g/k9TmrSsD7DANSBwzN4nhbk43dw4nBkgipzcmWOhkKk32D94Cq1gl/3LqY1kz4
AedYwWvpd8tMjb/JbeFM6Cgxazu5ZiNOySIq4MDjugOHpoklFtzq5DCJZtTQ+1sRRyDJjfXoNGgV
QdD1rrm2/Iqn1eQkqPTx9Wg2MNYGTdyRm4IuOjiy6dVsaRGmzWAUG0JyQMroMfyfsF1E6ojZs27h
TEhAbLXSw0S2IRQU1chP9ZpHLj9dWdzIoUxAEM1nK73cKF1RLsdY+SpyppaNfWtHZz2PDYys+nDl
U6CjDzTixF8YjQ0XVSzbKg+ZhBU3zPjKou7tHytXL9MYhuvBBikuZ1U++bpTmBTo33lKSqPBnXZs
b+SFIdksXhv4KSkHHnMoH/s8oj2vvxa8JF6c9t8TOkWL+W/aqiXDnujLtIdwW6QubaaYF6SKE1Io
4vEFUUm9i4vPYRDpodbcdKny/HqY/O/SjBFiySEG8BKhceNBJwyBCQ4yQzcI16JDPd6ouYbp7+zr
dUn8MXHUg4Ydr/SfWx38WRlBOEB9dE3Jtluoed9tYII6855kFaPXUR9MSast3aFHf5u3mziwUET2
C72DrGaM7bvK4Lkqr6pAuAEwAsv8wPjQZ/xkitH3ege6ADikgwM0fUgIxcD0BQGGMR15y4wkCc8B
RdFHq6r1P2nyZofRQMVAlgFtKbKJRRQ/jq1YxhWLwoi3cF3rMTcxQcAxwnlQpob2MpxSv7HukDJj
6VDVT6AofZ0X3tCASQqa/jmmSmO9FSRD9NUus2r4KChJEiU52q6xM5ngYL5lUixvGvGNXhB39zVZ
MAvpUD4xXV8rFtJZmG8XOXBsQfjN8TKKCJcnmYjg+XKZ6eNnxBRogbR2jeUggWDB9e597hkZfGTS
uPZObUgZ7vvxGhrMHIm/uOsNN4EWaK0qo8tPZhkSCNUO+8lENFzmztq2K1IPcWGQkc7sFdLGbPlk
tNlxVGqjYU1U30/rnoQ7fow878WUXtGU4mm2kToHafGk6sjfbSVWlkC85IqDsFc3MdbItLzGWNuW
8MogITo1xJK28ThmQecVR9Kuc0/mA6lbxmPesDkkUwDSLy4Je4elErT3SoAWaUL7HdSJDh8txBlD
WlCUDsQTcNrpJhID1Zc4QRQia9Q7YxbBrGY+rOK+8RSTSk+H3NHBlustlKJOOj8OGWf2vke7gGvZ
jOV2yhqCNDXOv8XdP/+EVvffKqTpst+YorpMzvjkI85VXf1lnP+ZySixyOI4MQ1jWtqYf6CoQqVt
q6Few530hRvALrHx8akJqoPxu0WsBrcNjCitgUVWFuhuAG55TZgc4EK1myzQ7gO9QGadEXdl8bTR
10+OroImyKHLvyhHywSgxypoEAfRY2owCgp3AHufnaNdqhq0fM8NRVvFeR08ZEk2FEUFXALMgMBj
J8zBBcCZVCL4kUXHQBS/n3Dqe0mkhjfmwMxDWlx9OMI7lHvhwIyc6nWTjGKpc2JbuOEECr5jhO+n
gEqz4F0dgaC4OGKzotCg9gJLRTyFWUEQJT6IW4u2eMTeQrcD0rHEnjIHIbHxV3dW/ENEzbdjQhSR
cEKGDAZ2El6lZZ8Hs9+OfbuzYVW4qf816Fd7bB6SOn/PIQQlDINYc/E5JjQJF7GzH+2i3HBI0zl2
skLHSnzMhoVa6biAzOQ5FejnyUVZV4DFOKeNwa6S8TcNCRaX4smnuQOnmWoHLG+MTh7V2SvFKLCg
Pr0UABYSodQAQjf6VPPahZ1ARpNtsGTcBkf7HkOMPWEfFwTvSfjixWdi68sWwLefkUAgZopZV78Q
GZODxs6uiqogd7PdjU8vnlukXEs53TCyE4lSvs6WryxS/W2ZqP3O6axN4UDEhD22TOrUZrK+yBwF
HGsrT1Wc91C32q8sixTCJsNryBOAhHZBaA4PnOBmENmKzt5HX2qq2jIngGwZsEZVDYNpmbDWDWGG
M1MK/qif7sksrljIYQsmIX52VPWJ/0lHuPLGKcALPztC7WAdX7HjZ2s2R2XFqrS04vpFBhwkNUxV
ia6d4Wy8FnZAlke5kWoQ0ljBDQ1aCilABLExnvO+bFNFJ+M/GVIaCxigTIqH6pThxvb6roxXaXhQ
MobdoMYyWLUJAp5VbKshXlUDoBolk16ScmEcKNjxHIzxjz+Fj3HRraKkNyAXkYKDktIkQxEJUX6B
WEbdOu1a3k/Fb48kr91THaNLuQ+VZ7/HnwFHJYcgnAEr5cW9pxV25/ZAEfwGyoepymvYaUhJovuw
DmkKu9VR1PQwYvhFUYszyHGOtZKixlRzOj2Nje4Qw+zK0aI93MFJt7OtXflnownGTac0xLuBTRia
A3J/C1csrzRn/u8Wu0qucc4otGCdJnMCiGNw/r9KcDbLHm0zf8y4JT1U9xE4DyLjZd080qlB0Jxy
HXt/GDgiQrTE86B7sCc+AyDRo3hoUSxmU52ekky8xC7GtLGvxSrmYhKz+BU2UOLgl6L5jB8tko1X
aoiLSwvUdWlSS49jqYNbzdaMo4dVoaIatdABNlP+JGOD8CAx0juhiIc4iGLIztplRfpsRyQjgWkd
yNpgxgva5omDPiT5ziaoBphz0lk6oATrnuizn6EbqxUcu3tQYj8Q/OCqIPtIRkvzhtr9ybVPYvbe
XUN9L63pUytjou9kcu0FGqgJ1retwmAsIK0kLfFO7hjcldAzgHUaK7vAeFSBKFGi8cY8ZWkl7X5A
LSuRx8QcEIMSUVefuSbXkPFU0pSbxrc+I5/T6UgF3U5oVIqi15c1aztvEKjd4NL2Aody9hI7arzR
WBsi/xDE/kFW9lNoRv2qqmCPYHPb+L5FzJND7ZuZ9nkGjIEI5bGU9VnMaC7YbGM9+ggPcYPWujZ5
FGk/mY6Ad6JGSWLUlgRZTasgCc6qabk7q1A2Su3uZaJ9GRFumZSeaZD2L9FQHc3CQE6caE8WO/3C
an0ajUn3k5AclGTWrVfbR3gm4Xqks7mmi/dC4ymHmzZ1OzsjZ3HuKriZC+VFt495YVwx4Kzom+A+
GSqSNwYeRep3vlKav0QC7D4NaZR3lb+2W47Aam1g6XZ1HiGJi1HjmNWy/mYD7J96xL+dkLoHllhb
d4DD7aJIvKKuOPnWWDyEJu+m0dA3jUFHMNOLd1K/gZAJSpbG7Q22HNqGCVJDl74s3D6wEEZebC1f
vbQlDDnJy4paud1FXFaUINranE/EQ82SnGrtpbLZ/eE0JTK+dxge7BNTPxNXhEcRXxNYQCSfY1OQ
JpGBGTeCE7y+YafqdM9opDMuZiOH91Xt4sk8dgFtlRh5lp5RbjpUYuRdIQVKezDIiX+0WuU1K+kS
jUURbVJtuvSI4+TQqueaL78aM5UJtB28VL7qrGK6kKudkWWngr74DtvwNlANolpw/VMTgcyYWpIF
W8vID9rAYurjt9pMNiIkmm/JQlP4I3SGN27Dy5Ao/atlZcnRCq07B5HUnajHySsrYmRSMXKmHiK6
IgNS2IY9IatCcJuCSqBV6R7nUVot/ZJFxlSYidtBWW8C2IVEryYzb/IeTnh7UMIjcEV7vjOO10vt
rlbGeAfp+IRxp9/jPaV2GpV7AMC7OBP5Dl0NOYsTKeEQwxpJcZBV1UPh5g+FA8yzd9lYNFc5tlp4
Lce0Wzagt8IsvSiwWhR2LQ0aJ1pmMtuSUIUjyPVIS0S0TZYQPeimcMYaPFzK2O8iIVdRGVYbbSB7
p2/n7UHLzhGj1s3o9hx/i5faWldqfHVzIKxdqw1MbxQqH3BqdKnAXfHJScUGgXnkQGIdcL62+WTt
9Xw3dKHw0Wnu6/ISacWlM/WD2k0vLEdApnP16c6pEp3N1Iy2QuMwFYYZYx7Vydf63Hogslfxiond
ESF4J9R819biB87uuLXa6kAQeboalJr5zOw0T+xhvBvhD3Z+/tihqmd7IHaiyIAtkFgf7Rhg7TWC
sTW64yssdR6HqEowHyoUYsyEwaIfQogIVH1VBkDuEwWYVc1zngNRaoooxxPLUVNRuvc2dBgcBK/V
SAunhP1MEydeNZZoFz564JawYKt0g0MGF7YvFdr5RqAR8IGIN7CsU134dxi+BScYUvngPxwG/ezm
YJ0HAxogWya9QtrhpI5H+0TZlTq5GBb0wlaq+rqa3G8jigHAt0pMhpENoIe+rdKi1K5lhgE+2mbK
MLKmmPMhRODGjlxKCXfRmM740Bsth7bR2eUljZ/GHjbTIE5lyyJtuOPeiKBrUDWuIPNSlGgG8CPJ
OVTNjFlht07rKsRe6iuw7FCJ5ANbn0HeZVud4mmT2KO9JOWctxsQF5rjbKPGprKMBMFQk6A+lIKw
CdXGQqi1g7FVAwe+UGVQNhENAJU014/aqGN44y4RJ0dRMNgEE+T5Pc8/w5u8/VY1aLoppL41Z4NZ
Q28vWsZZ0RrYDS+sBsNc10uD9ES0e9mcyOdaK9AmiadnxA4EKfFmdJzbwMGyOt/vPoORNLbN02jR
JGsj9aQWZD8BjFwzSeWkOJ8eXWrwMnoxzIopv1V+y8n4HHi+/aRiROK/Z7q4kWp8GWPihyFIFhmb
Oo1nPBiTtZ8086WS+ho0z0mxKSYJQ3yRmfHUIFfzYFMC+SnQL44TQh8ovgDNJyJ1svch/CzqR5yY
pjw66sfk3MXQUJOjEHCsS/owzqurPwYt0XT+KdCvVrI3gk3S3fUg8OiU2oeWwBOyc6sHoN/dvrce
cxKjqVjJoTEfDe1ih3c2owErOPf6hr/LW9AxVdLMC8L7keQit30Oi5vGZYZfq80A6Ak9ErYFJiVU
slhtBmZfFZ3SD7e6FNb91K6M4pzb44LpAg2RV1wECx2vffKk9ta97+P/GKOV4d8mfweiFA8znQb/
IY8uDU3Q/nHMH9LqbU6hz8bPXKBCngg+uObi0RnvWnHzpx9fPJn2S1STgRJu3enN6hnmWRcFruB0
aJE0D4TT3Vny4BObUEdyEzp38Msq/0CAgJ8d3PqlFhc1DdAuE4ZduuskW43kEMbNTpXUYs8wHdau
8V0mtxixM1YFSb+nPKnWQQeDWjzZ2vccKwt4HmzVw9j8tPJWqOdJXILyJxZPuWmxgISIQh9k/hYG
H5L4M5UDBNmTGDhy0jTY9yx+5ZEOXs3sQ/Wvuv7h0wLyxU3XUEMXa51mZVwt+dIdmX4JUy0tIeLI
9CIWqSgj5cvhMUMqP+S04TUuLFMCVwFcNSxA3tGiAzhbvmmNi1v4lpHuaCe8ZRzHB+srV25FujOL
ne64C/wEkBqJSY+7jZCXSt6N7sknpyS5d/RbxOMm7sjPRnqe75MeKuK+M55lf2+xaicI9MEJO/Ha
jrZDtDWCXS4e+JsJJg/7ODnHjg4RjYAOxTzRMPU2qqpt0JXLEsCBQmOl799AaTLX7gl1cSFFUV9U
DLOVN5PVXaX577oalmy4ILSvqf0w51oH6UAwd/ylRgNpStkK6DnZ1B56vE3BknICRrP9jlqCEymP
dPU6kNsW6cVC4ygV2ulKKtA5aLa7ig2mnjMnkD1wEQD2vTmjxBnlpprjAp1NPJ1CzAk0/+fh2XrS
XqT+EnLYOKpk0ySntH4L1HAz2HdVsZOkZWCU4YQ2Gqu4PcbxoYseKjIatGsaXDKTl5Q0BeXT7eA0
EEpV3IXD2Ryu3GezYqj9uDVruPj6i1oXy4KuRBhjR9Yvgbuo6gZCG7+x95Njfg4A1fWwoqfsg1dE
iw9Z9aiV5Gg/DupPlv5o+lfCOM+O3+qRLhvNhtT4UZlMEmszGuexf0eryxbLNWFDxzdNEhzTg+jG
xqkRpDZ+OGDuQ6Y5yYRjAnmFZb2N/cmhoR7QtwFhzsM6/gycpdU0XArqFf3C/rbo1c+cGTaQxAWr
2dIFhhIZ4QblCvUPMesYkhLtZi8z5xrp70TwrbiMzImXXArk8YW9T+glTvETKaWcO8KFHHnk+2/0
JCuyI5yOAKLB35PEixkQOCXUJJ7ykps0v5d4kaCNcLlcNHUa81JgdwNHMwKKRPdFvL1d3+zqx3Re
HPW5aO7T6qmEoaldY4RTw7Pw32uuRUiHenCfy17H3pEtW/zgDf5KjlIFoJD8zONOs85rtQ8FDSge
BhOyqjstypvNzMmO5xaousDLu9Wp13OSSibQ/jWWn5661urixdDxFL/38p0Z/Ire1oIjgbiMNpAW
ut1liLIKy06bfzoZo4J6oyowIVDoXyvjAN5zEU7PDva6nKeeAHjIAwsOW2TVzRPD90j+pMxEUlwW
evXR1VtJF9jEGTavPQ6QTRxO0DvcTYjJpRovkkwyqhe/6T2DnzVncR/jntkmx9xYABN0liaCOipu
gKjfaLwXjJcLY9UBpOV1w5helCrpbQw32JoDmW3Nhsgs3ibBKUkh9CCFnRfjR5rB//5UIdEpOcng
0KFqnM0XxUQKBgkGKZevAvvJWcjKt2OISGFEGuoTdxNxKOiUVQvDOomzXUQYjrTRopEY3nuV2ZCI
R+Ccehv1cYbH8+gDaGDeL8hI6ZQ5a69cS+M5KdAFC95zug0Mi1aWqD2LXdUv6lXo04p36OiSEER/
YpkUr+hKboIMeKcDE/O/STqP5caxJIp+ESLgzZYAAXoriqI2CKkkwXuPr5+DnohezNRMs2jw8mXe
vCZY45axjnnBmplHELkgBKO8Zi2BfRlhHVY1EGlPdKGWeFE4wHR6BYg8Q2Nat3heFoAQafIOB7qb
b0LzmZhYumBpomP9F2hQX+4DfZfuC9jATrhF8vSOhwkDsYEdYNb9WNHeMA4oBwbtU+EcF/0PWek2
kxoWgfF6pmOa1Nad5tek7nEKdytlS2T7BjTP4eEPEGi0ZYfhAXxs6wXZGy9IPjAXrUgBLXEnIe4X
rOQb13gdx1ARoDXDEscKoDlJeFDgh7H0CGmcYvbR8P/REcISCUZmQ4nn72BivglC0y/2PhEHxTg1
fCOjRZrUhFbvQ4HEwUlZvt52gquZIYToDPg+QLM0xgVRaRYhV4J8DMaLWt8TuteYVsr6qbuXiY+Q
ielnwWpc7g32ofCDEh4t/CwsHimNdWCv/JQljpXGmy9+i+pXkx1wcKJxC3gk/L8MepNCafaBkTtu
B+A52lBSjXjAI6aYdDGZzGWbXTT7eGJra3Bw5IKJpLqF313FBF+WaL4KXBWsSAB1kMuzxSd+ZGln
DxCq7kMwnpJ02fZ9yAMeGNw4DCOAxO9atBMb4ahxpxIhjgh5CSCFSJICRpKmogbWLohLkmKHY6dr
l86K+SQZKSxFwh20nDnZbQ38jEsAMBn2m6Y72EPitd3tCggQYkBoWkZYe6nbOCxvij46Cgb+/l14
qktxJ2b+BjHqppc+GnTFeEq2oG5IEpENR3ufSIEkKnbFwFM0jR5cAj7rsCZyCCOnalfKIo5At2DA
7ocUQENy9aj0xqzYhtrs9WriTSC0wWICKqtHM7OuJlqqvB5+hm7aC6XIisp3ulZ3Z/h0YmviC3Zn
Uj+Zi/EtHK/CNEhVVQ/BOHtGn9ySvjzKoXAoguhClqeK9e8AR2irNv5NtyTP0JoTZkqntVxKxwGc
LsM5qW0mF6WQ07H+02bDjnxIVmK+VnFNUvPpIMWmO44LpBZDtCM3M4NnEBWP0h9urZjStedEp2fS
IxS7j0o22JZmx7xpiGsK9kaFFYzaemYI3msqz0oSX2JinepGvcOLPKm55hXpJ3Lvb23eWEZzqspt
g2hbCoW9FBd7OQR4pzFNxQwXoGx+Rwp/SXPxb0zYijAEHFVBugisRVOp2aS7tq4+ayH+qzTzlA/B
W6o7elnfKt34bUjJzALst+L4GPjTVpKgiFR69ZVaoMiUD6xl32Cp6VAWl9o+mK8qy5neviQg3wx6
paTwO28rLNmK6ltcjG575BvxaUSSWfS/dbz3m70/k5HtZnCsLABLc5ensCauk7VtQuKV71HHdsRL
21ssvxW0Es2hTu6R+i8yllCjcpU3SKg+ao5LRgZEGAAdEMZEFg+wj1l+qquMdQGJT6cmeifBCt06
9rbYXQ8AaoK9KCAT9qgPaq1dY51mHqXdSvIk+QU+42QkZPjhrc9/yxWENhbumT/Y8mStHnQr40Xs
d7l4jpUru1VbDxHsniOXfYNuL7BE+FeO13LglsI0cS2SHdV8cqopxEesvRy8kORjzKUttYDcysmK
LvoaZMoLmhNHyZvpmtSBRTmEUjif5KbCaCKXs6dVMOEtKXAxlODRyBvVeEspwJlE7ojykOudBECa
YLbuDR3utTb/RMpB1zCVGT9LSdyKLuNI8ackTzSRrbAuzA20gznehtU7d+VqSVjRz2Z1rFcYl9fo
Mwh7qnYDugET/Whqm6TFOoqN7U8Ns076lwKdQIbtvYrYsnar5Ot4XTjjsI0RXhhORBLBN5cXwQun
FgAP3+G0PCpQO6X+Xlo7fFwh32LBRW5BaNjIWrGMXfetI/zIYN6WkzeLwPdb6a8EVa0y4zOhXETX
BTLoeCrwBRrHxzDvdX9rSWcCQbgxLnT8pv5Wj7ssfI3yXe3fq5k58C0TXpH+znxUz+tW3EzWo6Sd
z6VjTcIhcoKWgGWb/qm48c7dULtkyVGGkhrvRhdDEX1vFqdWvZUlqXrYWzXTWbRbBxNiBpFpPFel
14v7oX/nX0uU7aSdc/Niio7WuNp07syt6EAG5SDQp5MFs8Z9XHZTJChZvo3Cw8iWskyBVv9l86+g
3avBTe3HBAnrN/TfG+kWRn8064PlKcgWW1JMb9iDxY9A/RnI97Qe9OF4ub106aTrnjC+UYxF82o4
As/9T+mQf2yc4m3rkm1qVMeA92IDuqV3XtNuLeJLfiPuP6l46QDjo9s6LIojYsLZ5xRc2V35b1A/
pva3FjyDcAP1pI07Id7PxAjZCAOUR5cdu24v+tfcfmR4hyndsG6bz1Kju9qW0a7t/vU0akZ7i3Bp
yuHCmf09Vo9ytUmsL75/YpthQl9Habv8FF7iDhCX47dw8tJk2Q7tzXXqCbmrrehL2cv7JDGoxbN3
NcfMLzMNq7GiHmGAXRkOdvRY1vurWv8lURi6TUCz2FlPqavsvr82TLkywqAZSpLADOnpiN776qBZ
LJQ37HFWRvne+uuMPpFcnwWkIB2OxDtcPFgckcK1ivqn33gZqATM5ZVxTdCFp+JZSjfaYugUenrW
05XpqxFZdgn6N9fvfnMcw2fefC1PWj6SnBKh9gWw13EiiG3+lKakrD7leh8pW7Cxlbb6gVXOYPKR
qxdkxlFKIsF5sQbLp6s1nJvgEsrdyhDWa9n/CuojIxFzU8H/7DTVtmxOYXvqYFgOh0LcT9atLccl
Zgn3QDbCBbbz20n4M+Bi1AJoe/QzCL+Rl3ip8ZroMDt8DIp/ywd8XUT5va7g2UKxHJtbmV+qamuw
bfckzTMtlpb7un5rqktN2/QBG7sn0rHaNsJ76FBwHbk/Mi/yiU89VTfpro2DRbX0KvyjXH9AuYHv
h7tDuqJzoRSdQozJO28wH/4KeEt5D5pjDHrA92WTosikf5swFltxITEWV/42FE58C+H09d9+mp2e
jEPWlykfFLbxcXoPlD9/cvtbV3swQtOPAqwVzKrdR5YrNuPKR99otDTS0cXXdtGylGGmpktewtns
YiLt803qryH1Refe6yCw0XDT7BX6LqrWs+bgMwHjaA8+TfCJAaO00Ldt9y2THNLtrODazftp9SVW
a6gNDCc7s9lnLN6m7KNPPH9NaYVujiQNRlaREbxOf9j8YdDh1CGRmzA2BI21a8PSUz7N0Hang6Cd
dG2rZ4w8u4opclB/mJXE8OZTDdruZgZeKcKDZXm4N9K95B8K7V1JALg2Y05870nDyU/aiXA++vWA
e/E+Ljw4/1J/xucSHOiZ1Mv6epePR4svvhD2YrMXmJvj+F8w/8txChPU58IcZ0DBXUlmFn9SnbHu
9DckMix0VD7AiHKX9s7WDlhSQmh2Neios0lkfcMNjlcfcgJ7+TaVBw16QCpYeVbY7vbjY8K23fK+
dDBxujbP2mJ0NDkT9Vz3fh78dmWwxeHMKm9WgVfmGpMimWoeDFCqvb68EDZmSLsg8E4XPjWhsnbc
uuS45LAwS3bf+Pdz7hYWgxfVnrlGwQ9jWdj0waYhO2h+r7StVZ8yIGVrRZ+zCq8AfBVj70orPlnQ
sC3G0NOR8reh2HFw8fYApeqS4xh5GK33/yBSrZBAuIi4x9W36agsXc+00U0arjTjPHbEfwCjbwXr
PbHcNL3EXDkB/jhuc0A4vxJdWB0+6yAHsI7ZCpU1sNFFMg4WhRgGFt9EQWhsClh7Hg1QkKIi/OzZ
ppeuPyk0PMZTV+iQsApsXbV6tS3tLFi7B+Hk/2hIQ5do9u/dYsfBRDUXuBIuo6yQM6d5ESZ35pqy
mL4ZdFQb8phRc6DhhEGh2SrLUkhUbg3j7CJRDZK93t5TLGQddowJdO5TOl6N8tFC7YJQxSjxTYAq
NOVNIX9JOOWaoHCdthOjN/JYKfDD5IgccmVbm+8wGEcqRn5oowsnE3Z9pgzM7O/yTQv3vogDI3cb
xyOr7KXV6IyXMO+JEMu2s3HQ4lPJW5tiqvOeQA3Hp2BN3B7HiOOLCG8hfNoJvjwRsvLxzQh3QroN
02f7Th+zrrEkcNDYmYecHCg2w6KrtncW06CA+HFM9DOgFyKEOh1LUPDzXR5uEqoTIoXsJHBgNA4I
i3hlcSMR96F8z+h35JzItw06EpperPR5GJPMhW/SF3tzPA3WjvhCQADinEHI7Yhv1iBZrzcr0th/
jHFnkVGTV1BcHQLQCDOHiO7zX/WFp4dIqKJVgoiMO/GqUhln02PxhIJu6Yemwo/pxt+t8CL+Ri89
ccQjVMRuBCjZ3xPEYkKXcIy4s6uWOOoz4Ts4pTBZM2JVax+fjl/F/zfKz5YgYDMyd3ABWUfdsvHc
usQ4ZlhjiDCr5GwPfaTmM6SvjHgOkjMqllzrEMPSH65yXfOawc0rVyXnJXL0PLbD/sscniLtqrIA
ZWxOVPXGkbGHwDPr7RyxXUk2hngc/0aqefjVjHdhPhq4JDlEHmX3pYmbP4PmaoasYNzEAc9bT9VO
RscuTZgWnfX8g3KpqbvlwOv+S+yAP/TP5UB1LfoDW4NmGzcmTics8nUOiw/Y1T+t8JAKW3G6qdpn
nyw9ZCWeJvGSyzstOOrmGfGUMm3IsyJRDC+qI2PCqilZ5rdQGJ6BjQc8cFbggXhiobPK53NMJk8o
HyEb0qanawKOa49u0EmBuSkjyjZWngUjo8YSp4tw6FpMmwaYkKcYoy3cgofpaJb3kR977I/meCDq
S4n3nboBoergn2Ruy8kiaWixZGglmG18NosB2v+bSKngCYv8jVxttWstXBLxVKab5QtUfRehRUBE
et+/rP6qbTmNcr4zeo55l26b7neBTgU8X+d/HRZF6fhiwWTr3YmxR5UfpXCDroBGiafSIXaRzyZv
lstBUW4jIUXaPtE/VPlNpk/r81dbf1TDZyxs546C2a6G+NwMJwouPa7CiCI7IZt53Dqmix+QiXS3
UNNNNkZaTESXnileOjAMNv5uhJ1ohE+RhakDggvQnp/nnWl6PZaWzRYM2i4U1BSZw6WxFKApOg/p
fx2y3JF3uwtS2P58A91fTL+3YZcqs8vW6CrepWDbpntRX8/CqbTxFhHeAjdcU150etJO+GDgZVae
bLas8CmEnWmdUnR91bVUflR2AAQY4vIExAfxWbbuanGSyU2Mh71ffpfqJZnpqJ9QnPNhLaVrLQfW
20b4YYk8uu9jvKv+6StcoOutaDDg7RuNVglVgqj8AiUO4ki7161iKApW8Ztpv0VwsmZcVW2GNZRA
XOVW8GuEP7q6GdGd9bu0BMi/RvW1Sg6PZUt6DNpNrVw1FDVJep7oh7rpEPUnK/yBCSB+q9wQs+Ra
JCQtK0guCbVhknA68zUrGp3kgVUiVjh1f9Ybb6QlndOninGK8N00XF2UzOJG+1BZJTgKBIfiINd3
Rfzgisp12tFxozZeupix8nQJt+WWgTPQZFsigU2WB49eRYUDJ1wEyhbGkyAehup70d7FIIMjS51S
vamjslXT38q6JMO/OrvpJm0CxqbkjXiAy5TyLyWDRb2e7YHBx+ltNr0IkUgmI5NG4U0mO79x0lWE
n41D0ZBn1wiPCLzWxeIsfB+Drax5gn4hloj9CRsdHiQRFBVtFxuJR2kgWXB17O+iPWhV2x2z8kkG
D0ofiiDeB7A6V4lKQrT8mh3IJErC2vQareF2Wm9++p1Uj679NFu309042CvK35D/wVXqWS7Sx2rK
zzKwZemOaD4n9wnWOg7ZTvVP9XRPmm+t+mi690F68IMoAbHtXlgfJGUX4bNuYKjNcM/uQBUxwN1i
bpV3iJamR9ReGYGCAthkENda9p6V27k8DMbOl78IAULUA2v0gMYfPu6/bs1zHD/wn+a2oGYoV5nc
40oSViyN7aEOVkPzK/cHtJ4s/P8GIrnFfafTnZIfhPX7uhp+otpcKx1RyMMP05U9E0eWrH4E/X10
YbnL7yMoSLDRPcvC5u2qwjopgjtCUztgPCFKXuRfIKocw+ZQPfecWO4T1mLJ1wgSu7wNfg4pxJAL
tM74notXIFwG6apJh2qiZtHmI8dd4cLDlsrLUMj4C+kmxXLKlTAiUb51M1w+N8Ss70TnPDxn7HLb
pFiHxY18XG8Z1hSZyhp2dtGqXrb6k4ZdQl3xOWKnDpcyno4CM3R/eDcxIsWnm8QdNT0wFECD41q+
TvqZMZ8meUl0Xi9PUsU2sIreMvVobeLyaAAu0gZDuNAhmbKUiYG1qiMdTOHvk/GHc5mPbwIAHfO1
ZlwmxRH+zNlNXlnkTeWm0bakeJHO4WAQX8mn1nTmvww35YLkryMnQZJ3tbg1/TM1gKowIdCQmFiZ
vgi4WynVP3nYG+a9C29meRz0TV16KVeioX7UQK0aHB5GOSFjltU+TDZZQ3H2xz0vRspnoG8mZrmK
FjT468Clscgm7QlamXEEsKnc2dhPDP3libD2VNqWwRXCMzRZHMOzV9lcdAUl0Mqwg+poXQXDgcMt
4K+YsfJa1/XhvxdH8IWTSPYWT8cw+1cNp6VJ1gKMPZIBXmZij8VDG7yEFXCY3ywuGI1g0aXLZ0ve
0awb3jBtWnqbmiKDWYhixCtSVu3Qp87yNQk7NfMi84QzetoTB/YpR9BZnqq8rnqvsR5fs51VZypK
uG7RGl6ZIp0y2AzJx8xSLqdWGun3sCHzhS1moa/hJSvJNnnDvGH5zllYROYNMYsdioSnINacNnlw
1/vflvfKvUGQDFPC6ifUuURLtO9PclxWAdozfXiIybZjLYMl+meHF3kLZeZDFr9p2XscN7sNd2iZ
bNnModneLk+zIO/rXf8ufFLNtXTTSmeloclUPNjTlGSvLeABHhZY05AhL7pmg5vfPZRe9ArStJGj
/VQc8u4Cb4nV7aO3GRXr7077ZyoAJexKlgUG7MVRWLfKdfmLRfYH8fzilxGKu2Ed2BdPrECV6yie
4ZjzjQC5LFW2dWEsQ7v6NCD0tO0n1+Bo7DNrG8wuceT2F97gyDfgGdCqOj3rOiee7IiLJRNvqnqO
yweAcmHALB0viA0j4TxN4HHelB1KDzqV72Beu0BIVfIBWKcrx5JEaukl5S//WIAc1Nc0NFwJZmQz
f8bsY6X6zUyegnU2Wk9erAj3IkoOOuQBjk802pkWLEclDY9x+TOppAEU7wpQSdp8V0g5LdBaqz7o
q97WubFwnWH2TJ/87Dp+rcx46YnMA3eqnsvkPIK30RuEYI1wyRATymSomZTVXc2ll42fDYG8QAkC
Jvz5ly/DnkGY0zEHG7tuRRZrsOnHK9c1L7bcnLWrr3vjwbCD/ldddT2TT0GwuXheyqPWbsLiWhJr
lASuYT2S+QzfB9u1RN7oyKx7ElXdEopkggMkkR/dYUFdtJAoApYB/jGLXk23Ymkm0usIXzV/nFQv
M/uEnMw6cl9U5yz81mFYjfExB6AxgjcCWSFb/BPEbSEQ6AmKxh6FTkVsjqJ8i5yvkZUl+jq7qZ4N
duq24ZDL2ifucifo8zYDG5o7jc3o96z8+tpH5D/17mHp20retHh3BnRHu7H8nrtP/N6Qz5Pw8B+W
PdKsiZ+afw8RnC/oQCI9l1FeUe9BtauDO1Czncd75sO1udBUv6CAEbfW0FDSV2CWWnHbZkPkjOMd
XJ7QdRJYpsrzA7xRiRMpeW4iSv+JeNotOlQSADM7rTFeR1nd0+n64B4EQtIy/C07hW6kHbQe4vQk
nmplxocasg1lrvoeQhziy8fW6i5tuZND2Dbpm8BxhbRrI3/sBK+tYWf+Juay0ZVXWs65wVXC9wk6
D3g8eXkhOA4auJIrp66OfzNC5/ceDn7lIo5i5Fiet0n9lMt71pyK/MfyC5uQOmjLd1F8aej5fO3K
gzZC+pED3nB+a5NLco/nqzFyhYNzbsapQL3jEJlL6rOzcNwC0Hz++lJmGwJMAm2dujf+g83MWhV4
E+JiGXuq9OgWoEiEM90/YXbRFpyN8BaJKAm3aCDWaX4Nne/URyBC5h2AR0+JT9e1eDJgPJFCsVaV
ADWvZWuqjNsj9pU2CoYxvAAMMeXq1j5l3q512vEBQSHGHNNRUqg1fK5xHxSv5SQW4km0gPCYNRsg
02R6krGIQ+RJ9bfLyL0MCVwTPIjc+QA5JLvAhERsROTiy6q2s+DGvmUvH0AGFdVZNw8LKXx6xNam
n+5QlVdKeZ4nigYUX5z/Dlnm5fFaMtaleciWlgBuQtmdyQLDRvVbSf4B2xvyvsqPGVnoCB1FuXeW
u6GXZ0C47STdRvAGc72E+zxzyU31g/hJ9o0tNzeou2uLprZEkZNx0OnQDH2jT9tSf/Q1+yO+/iS7
Ku27oiOSdNPyZMp/yzdhKG/K8MiDj/or0jEdGriihSMjIZVKkLbsfeRnIuwBJ9//xgiZ13Xyi5Uw
9LZkMHgEP4GyqdG8JunHnB/43mI2R528eOVhY5gfjOGjUt1wcuksyOARdE8aTmZ9QvcIi88grI+m
mH3clJxqRL4t+eC7aTcJsBkwwzYRoycIhdToys8rweFrGB/YxWOEDrv3I7Cufn1nyeDoMJdJHMG1
4GgerWbddIfW+Mmij/Gtqi4I8c1po60QKPJvSyAaV3U/PnIbIEwEgIWI03h0SpZMR0Zoev2Ztfdx
evNp4eIRzgHNa87s7FWbgcK+/O6QCxdsrzBE2J7fhoE0s70a2rto7tXor7C/84HBdwJeGFEpHytx
qy16vWPIIF+buS0xSKeMO0Zw9nXP3PcTNpjTez1/Ccqr0/9g5fv9Tva/lRJVyAr0T3vK803v35d9
ju9/AA8rOps3KCnr4k40cYwJZPVTojGC4s4NWquQBMxjSz5zRKlSl2UeGem1w93sE6YduR0NvL/3
4yuMu2XnYySu5u+mte7BdxOxVFHfxuxRRX8Kq2G4/xZPyJKyMbMFwbiarqo51OR2trl2g2Jm19IB
Q1zUSeThlNE6dVXuvLcC0wqD4FQd2Eyca1qrz7x8LcVVb7/IDVkNV7nlZJEpJSIe7hqZvjFAr3oz
NZBocdXG8GY7miUo0IlAWcBNzfB/Wpc7IvkzkLDOrYUFGVMyOaXjOZR/KmMld6x9jlbP4uBrDumm
KF0TqbY9fr6B/5LwT9DI1bTI9rAALJUJpfcj8K+0DLPJHgPFFHLcFrvz60TKnVD+1eGbNRx536z4
AJbBE++jWztjEu0WxUuPSDTjcHQ4tQS7pN0nsOkS80hNJDUZGZDGwuCfDL2n0Cld5akxGoA3j5Ba
gZWk4rQQPJFcs/kkugAdo6E8OzYR0cJXAXWHdME/LMWMGNAO2FRUIJvMN/wxfLZZPfbb4zbF7SPH
MGgnSVeVsVP1P4Xqu565Jg8DpolxdyBVxOH+jlwuFO2/WQb8i7hhJoxT0l8WgrbftrZYbiv9vZdm
cNvQVsdn6j+nnhn+zxI+hPSD/FQtgnaxGUXybDxa5g3C1wby0rTVvM4VoJ9DxkC+wRF4flF0tV9Y
gOzMUwKZALYWGdWE+gtXyw2UJLV+qqTBwt7Tpo9lLkSZaNXnZe6s6u/mL6GCaEBaM1yhujgr5KNh
1MNCorhJ1T6tfzUcd9lS4AqUn9Xl6l7uWnPgcmucyrixfpOqmwmJlyCKCPgBoMowUzDJfzKJRFJA
EPVYQUtH47nI+SAttQqUP7xUxS/T2oeKhMjtO9dPfDPMMBG1FgWws9B/QP3ieS1bjxFGWshtsDga
yDtMThwULPIzi1xVOZfd0Q94RaipfvGM0NDnfYENAO24yC0W0gES0xIXSGeng6rvFHlv1kDqHqQ4
Fb4sSneQRCW769FDGRjt9H9sqLCN+H3ARzU+rP4r0n6GCtqf9tPRY+EGY08+9xebe80WmJG9iSBf
ZxY8NWXdugahpLnCNqiHwq6Jq+N721VOCcZmsNPxe3J9qztyptY4TL3Lml5Cqgf/rJtPenjjNzVn
VnK0RrFFkHF7TCdlVb1yKtaI0XzV9241/eowYlJQ1qq71Ez9HdQ7yWQRm37V2dnPLoCZPU1eiBtF
CxVqGOGvEVlUz5dlFxa/tcKfUn3NwTbmQsScmXIPQpPQbkyYAoOyxhK3NP7ZOQ9fUHFUtdEOJEDS
fSOeijf6oARSiXhvehYr5WYQXlLIBpn5IcfBY7mo4oLC+CIToSsRDuTEEPTTOqZSpxUdSNrBflrj
XBMGG3B1vLhCaUM/tfwapXLtw4baHjB+MDstXFgTTiUL57g98EJe5Hs5dqXpZ0ohWflo0xRsvOxJ
2zRvIyOtSqrB1tL2Lc13dDHQ683aEZN8u0IrrpNpMq9ozmyj2gOu6LwXVDE2/FMaO3XxMmHC8KeT
VFyW5z3FpyOr3ip+/AIfYe5KzAJ4ljx+/OC+3MsL34TdlTxtlx+/858NLmhRwSQbDiAUmCCA7Fh7
GedOrtoxNgB16Ha4qnXrJc4HpbxVwluB3Uy38/MXRUFRPDl6Jz6MKERaj8IRLSDMEktK5LRtSYvr
F8hpX4sFJ0l2QODIqjhlKGiVEgfXydHS/dJ1hZ1mE04FwsAai9OJf/F/JOyhXqRJfPACo5uBJT28
S9R+Wp5s1ICMjcgCHhc2pTp7edJ4apOxkF2WehBa2QHlePkoCOsTR27xseYqWKYsvbPs/IAwCWCs
FPS9D4Zq0TONa0t0KPDA32xB2JmxhhQkmNE32TU8OdiX2psYw3v4qmqP4A+KBHV9Ya8A1hPvaLck
UozLYwOiKBjbTxM1kFz86NK1mo9YNqkaPQX28gspNZX5jWBBV2Znpx6wXR97UMNUjGsqlsZb/goU
0XV2qdXdDKZridx++j9GB9hKBge3N+9t8hdwLbA60C5BemlVMFc4qmiZQuOzQqKvIEixpu+FFjV0
RMpvmZ/dQtj5tLw8k2VwnrNNNN1H6z5BSwx7VmnMA5eEEoBcFWLe32xbVIT9JL3XNWEc9b/ipVQP
rYQaApKmjzT50AO1Od3Gy6kCFhNNPCESTnmcO+OlDtkO+fsezKwHIc4NA2JKB1Z2Sf1PDdhx0MDv
QU2NXapBSt3l/MoIi/Nfn0AI/pPk35diurxR50tsahY6oi1KpLFbFpAhzCjYVRk7bmopJ1stcDX6
kkHkheL8jQh6Bj2U7Rz3JqexzfgyJe+qdJ7YMi9yktD8a/FGEMILF84cjptA+ZQElK31Z+O7ymJ1
dW9geEQY4IjDPVr0BKz7TTgSIFu2BiV+AcDqqF61tuyWqUeTvp60Y8hmv5afHOJNZZ06/aOGnDER
Y7fEqZBKRkQZbzKeOHHRGq4BjIQ/QaeH/yb3hQVEo27oHgSflRLFhfyOZtw3vAnJ7uiJv6oFsjP2
SsDQVdsDo8RAvwD8pOrXavjHSRZTB1m1TOLuf6u1R2dcNT/3RKxZCKqza5VmdE6BgQcHNSEmPgi7
2NUZGXuHY2Ng5wJbBY4uRgEOgeP9Go5W7QB0tt5gPWuSFQTiRyxuu2ZjaHyTySdNZDRv5vBSaMcg
YxnF06HQ0ZCI5hhl8y+AkG3yCyZxiUXhj78O3Cjf+l/awqXct2DLfJ0xND9oL6IhgJe8BPjFRsAn
9J0N8gS7E7JtCfPfRI+iEHfSK9wwbAiGNWNQVqwAKaEmflADCW99x4pFBjC/4E03O6Pb44jEIWel
Pzv5grntk4n5nhFZIhYzpjscaQ2F7mh27y0flfg1qlEqSYzQ1lqbhLUEANhUgm1xiuPykM9wTf7J
4Ro+uVCfYhQhAjdnOt40xA5lUa/+/dbNhcUsr/VKUYD0xftkHROUack9hHhlwt7Qu91SreXY5Tpa
qZItICpBoW79KVgNYXVJsx5MuWv5P4X4WNAhqZ7orGrXKuR1p3IT8O7E0Ja4FGIkSsWBFIikvQ65
yFrTnWSQaMwhf3PjlfXrxg08Jb8spSAMj/g51jZUG8vtp52MiUV4lSNHDE8LxIbGYuHHwIzcSMqK
fmwdkYLDTpU/mpx+2lfGRwMErMcY16Q7C462mb9bOYwEfnwoTf4thIm8qD7yo2xe9WJbpDe5zu1O
uiWGweIa/gmk+UEp9xh62gxC4Vn1iDzEHKk98JGYVNadfMwogQ39pJz+KemXj63GT8WVtvwONOE2
Yrap/JAkvswM4xVHokUvzkvdaIu7VR2WL7YkuOfF87ZcAWl3zcRrK5/KenAMc96GZbE1ZnGdzLhU
oxIo5cIduLtWf3NirP0cE4BKpWmCEbiQTtWfaT26xCtkKEjn3xoWmaFtm+AjUN5qCM9J20FHfonK
J6Sz/746cCUYr5aIZ+m0ZW5Tiq8KcQoOFgLIdEQ0I7kL5AA9p/YaITIqsjdDt3OPo1c+uv5XgCA0
KbRLrVuU78O6WyeAb2hJ8M5iXXouS3E16jcVXKO0zgNARvWMg7+8o+7DI6FGZ+N7zmFP8cIca0Si
M1R3aVPn68p8FM1Oiq9h/6egii+CFk8JnHskXIA3MaNGb8NlUiIPhHYlTwQwiYSAsodU2kM1wF2Z
0XQQu0R0Zt4degIwmSO4HwUTFz2HdQ2QeLPG/ENadX9V4+riBkczk2Gus8P4UeU/evgWpB8TSoUZ
/Kgf3uIRW5/pSvtg/UripzidangK5QN/INiCGxNz1z818KKPzrz+IOlR7oFxxakHscepmW5FcsWY
Uu0IiGEbGsEv7xvRrXQwhdWPRneno0jJ37kAJGEH3EexcFnGIcvdE6eE0RiHmHEzmXcYahTip2We
/fieNmeFxTuyZcQuTGciRKy776OMlz0t/h9L57XbOJKF4SciwBxuFUhlyZIsW74hHJlz5tPvVz17
scBiMNNtS2TVOX/cqvVWg/JHJY9QNdG3Fr96hw3WGd8NFUcCFJh4vCbb2Olkm5l2wL+L4kJsvC0z
aS6kkAaaiXBpTDJiavKszmBwg3+vYaHLpy4dBWblmOigxLZwwcW2KOczVddIMYVcSFLdICQThtTQ
F3GCWf6HbK5QtS8SYfdApMGaYTFcmXjSa47ANP6pxxcxEI8ZAGLdAz0kuICfcLHOb7l8pSUK/rtk
YppRMpwcpA/mPoBfq/Sfar5Y+SPH/FjR+d7w0vecgDlTDxZvAFJm8qVNiCopWkcVN5ON7oKvhXZK
ZDJsJ2oGlLRHOUkTloU7Cmah+7GbJ6S/g/F9wZQH/N+U/fLT5sw5ElRFB9Rh+gKztXSG35oypKWu
U86AXM0M4QerjFIhPn3WDrP5C/mN5wYOSHLov92SQYUFDm0Ml2s3XrCFpletw9GBuhNtIGm3i4G7
PrAghI1nDX0rDsG+wlyGGNvccc8E8dZRH/NqdtXq4mM6EpFmU/Vdld9qtgm1m81PUgLf4m/062Ov
HbEGcrvxriAFRfijllsWwTjbtM33jI2yh7wlC1D7dnAjm/XHQK1atDGKjb2iF0lnC1rkiHZdWqtG
hEUTQM+/02wEFRmLZi1h1ot2UHHJiNqyYxhS7pVNLfUlWNMlZweuXH8qBLykzT8i1Sh2JkHbHUzB
Wl+VJBHV4NT8sWtyyMAPqLRYkpiHWWdBqBnSG4Yc3MngqiMzyZaiNzcrdjKW4OTYNJdE2Q3DgTBg
8pJeScY5+tHLyLFalUuLhcVmQHdwEc4QuQpy1w5DGCS6At59mBt3HF6x8S9S2PywxYsLDeFGiPP1
pZW5qZvx9/4669ANg6dYhNiC4nyjecZal1w/PjSSqxGSa7NNE1fihgB4QEYQonIH88ixBVtW2Osi
fD5U4Gf2E7a9NnpU5VuWvoMb5vTVsuwqay4+E78vqIxS86tUcE0mswtJez2EqNAvDwwXaf39Souv
mq/BTgf2sM9++My0P4dIt2mtnqeAoK6N1P02kHix8cFvsiZcanWAFr/ZwRXwZRVa76q9oTeKTNK1
/AaKYUj0JPyRdbMc1GRR3UK+jyry5JAc5b+4/5ER04MBZdqtMi8dgzefCJXG2/Ga6WsONUAjd5Q3
RbuR6xdi40jXvE+AH2JWdNQj+bzLpLkhGuFupMBE5ObKr4Z2AfyLmYHQ5JLLS3iyHKIgCj8/KZPC
32J+s72CTIXjOgUui07BXwtFO0sjXwpGMjQN6fSedW7vPML4EYZ/rXmThmvuHyaZ0fBMM7BbGftS
PXQZ9kvGLzKQaqB3k42zg9OR4Hf0NQ1hEdZU7rVhI01emVxM/azK16EhNehShn+acwDcKqqdCDr+
qiqP2C6MdRvG2BUcrRpv7YyTu9xaNoU5Da5yY+mnp6m/ki5i22+lddBI+YPwhFbCYjk/SvPuUE+F
kNO4G4BcRrk3hs8J4L5SL1a2E78489iQvwgpHwm+pX6qNUCFq8LxPIY/KlQqld6ps/ZLchLgJZY4
w21Urt3Dzu9S+9mv63UGZJr0E0pKTGJs2jrPaURgazITC6cf55HQ8RXxMC3PdrDoBs9JjnDUK7yI
6JBG0rVXYmJMWMyAW4YSkOI8phs0UjzlRnQRaPxMOADDnxae1G7CdlWvI2zy+l5Vz06EI2CnERED
wtleiY8F5L3FoBOzeudzWEnw0Uz4v3N7TqMflZinXvpz+g1CaaGJzgFs7OHHz0CYjY8RuB8toD6S
NsNF4RsfTv+kaFJfOKhmHOIFjzJprUhapI8kF2/JcuatZtpcAcshZViFxVpQ9x2eLiRUsfSXMh2A
zS4t56dYN1Q8dzrpzMdSlsTsgqJU5cAQsXjuFH4W0Kwo26mZJIUvedXsdyCSSHmLntPkDpIbFK8x
aejx90D8j6NtcCeuMcmRQPqLSqNxy02BVMx4B7tCF9Y4zKbhMYcbY9wh16ypjwhReWFGwjd0JFHc
4KZ84v+RqTFUTGTb2Hn65Wc8/8TzL+/fymn2AdCn2m2AepcKd7JbYgNjBMBHKkLb043APHmF0g/Z
OPZYy9mK4esSQnq9ivKzkOk6EGJSxV+Sv4Ikcaum96rmyCzQPafnqNsWxqEigMXxT7P2wo+nHC0k
8mgOIudFhlFXBucgmN8SggYkwqz2KswEF1oocKDqocNUGfGnY38NPWMz5pliTSZuZpNJsJj7I1LM
3njmLVe1/CAtahErGy0Kxd2lqN5QHwkRQKq4zz3k8/q22sQeNHt7tLT60iivPC4w+7G2EyJ+wzld
lPJSymc5/YBEQnwucWRbyX4Avq+lv0lm+qGvMuJiUdAZV/bdkrZke+KIxmy8HzQbZXSPwPhbN3YD
/XHFsk5WuobwGaPVWHymx5S52V+2xDqkV3EETPFb7x8b892pt4aDGXKlKzSNCUyc3y2vL9Xd1n8A
OBKOno6nCHULitKlke5YFYQDzYPidp78615ESmCPjrdIj5WqkYGzTfAbFDxGAALkdEspWOVMWq+R
edaWRb9wER1nf3pxUf98jlpnj1RyogEeiktT2JOclyT6bdK9Fq2DwoNhCYpHhsB/HjnQK6ZjEF+k
qfQLBCDa1rcP3ZDX2Jpx9urGmSSfkK6TGQ99i/QNcToikxUUQ6xCcqu9G9SAlvI1Z+jTRpRmg0sg
pAIGxycasNtfpf6BsIKb8I42cqVpH07HvaByTS4a42uI+IIz0GLJFRPGlBwgnFbdj4w0UMAY07fF
19T52LVhLxlnEz5ysH0abdj1mYG8Vv9tgQEE5sn1gQO9gRAnTBQWEwV6qG5s/7XuP52cBl2uEfDR
dUp1o+BcIVio310E5XYa/jqdfHRUAGS8JC/Ec4VMFAwWPWqGGXUwrh6dUHy5BYsMam9QtxHxlvZL
on4p9sXM8BUTp2/XIMB+z9QBeq2cAvnNqf86e9Ftps0wHgjXSWRvmI89LT2zcZXFV8tM1xNoIOcb
GQMyRYDoh+cVwH6oeNSpa3/RD6SaoG50/zwzLKa3CVtGAKxgu3a/Tts34XMJMhT+AfjAceSnBhma
JYRwp2EFZdRse2ufVvsqvsbBez/AEZhrjYgxPms/oIwQcUq4Bv/G5rJm8Gf6iIlh5KQa9rX5zxbi
czBBgAHf33LYZmRTXAN85mhHjs522CDUS0VD4SryLwnPunyMhzeWQLtYSyYBHKCCYC7FxKaRbi3T
RU2FqBrUQqNhV+EqlLoHyPrSrDZUBmFp3MPz9RiTE9YhooZbxA5BzQlW0LH4gjC+a/cp7KjxTLgR
Qnk/ThchcYy548JWWiXZHzR82O7IvSfxAly1yLcqAueOBBd23cjBYkMkZo4UHTUNfXqytWlGd4xz
oU8mVK2dt43tmcHnhKQiko5cKWn2pkZXAHhk8WyXuBUz5p1FVN3sFgEhGcuNxne/YcFOx/csOpfS
tQuffXqKeTea+QDC0WyGTaN7Yj8o0hVKr746qks07bmXa782q0zRfrYDfGS9T8kjYopvNmavrs3m
aHX8cpXrS3vObihyns3Uc2T3ndBjSkfB0scDOPsiDLYhofvKehgeA3DX0CPXCM4iy0IzT45JLNwu
IS+PIM3Jz1aW+kzhEA1OwJHsgYKLuly8tdOH2rzrruMhlBKiFbL5ATrRWAGRx8p+MnZ9jX7RzNYG
fz12WnhlsNGXmi17rgLMl5tg2AF/WNIJrzEgF48cSRVxQ5Q4cqqWMiE8WAQd1i1qYjfRTk1HJBYH
lzc/uIvE8GOCTheIFOWahuH+l8ELl3LxFm/5r+pV+FPmxtLwYVwRkGGpcZD+tKvMECbHH2FiIvI/
O079Jere0v6bzEDMAwEQIu8ZusqG5k6p/Yjb13HW+MSPfrtjjq9fyMseuOwG2BTGhhLyP1n8hRpq
PI5FT/UC0NuRHSzI3gLOGwY3JO6kVLzGVAQWSCP7CwXAS1vaRM2iAAFjJ4pvDI3knMb4F+1Hy54+
3MUGPPQXzbpgCBQlL6GnG79tukvBVhQ2CrFXZ1igINOIGvEnCFxkLbn/CBVOiHkXcsbhLWo/Kmy4
mjdikOfu5dcIgSezzdSvR5VfjoWrIKL+EpbreVwHguVe8AauxxEuFvZDv1HvITQeffpdVQzl4YnH
fFCYZvtxMTbj0mk/AvQxMgGyP7KxYXeiZE2MVZ2zYUwYm1eckxzPvACIyMivW0XSMizhyfkasVGW
XeWl9oE/Ee2QQiAlQJb9abdHh6bK0vJXk3Zhw5FhEPFcMWsIUDAIDw4PgRgNSXVc1TWXBPEjETBu
X1zJESSB5JR1t/GjTT1+fT2+MjSozZb3uSqeEstlX39V8UHwUzbCAhL0FwwGWbjn+RK7tdqdEtMC
LOLj8n+jL7pNhARLmrg+ypdRj2k5CZcSgvDuYg9/WBQkRBrx5IWJ9xpYnvBTzs2HSo4QQaQd872N
3puhqTH/ei1fpBaRB+xCwgXAsEvjZ51fVZsDiAjhJnoKAdenGWVLcrUz5xwmOzt7jkzdTRmjbcAL
mL4J1CGHLOaTMGLMqMFKq4jEGzo4xG+Zx4GLq6KQk7nRS6M36nUWg5Nwj2FV4K6JcFspz5rbq8lZ
Q4IX3SDMiaSqAHO5GDkFBYYEUi8pvUJB1QOrXOPqVVVfpeqg2PsZzaVGt7l8ztKPnIl75unPjGsJ
CVTk1HAz529kh8FZXqXcTgyiiAzKDxh+Y9ttlG5TOHtgsRyJFFhq/6NVQAcGRUJwY7MCkiLG7LA8
RSUrgKJjBq6xxrKWdw9z1TVURvPMVAmNySWPhvnM7M9y/MghzhZwEQ348bSycgtNCCyxxnfC6Zkd
TRMv0nAUpzxHnjALF1xD03SA32KGISaJXh/VjUfOlB1nTkPnqXoQnplR1Vf1SzT+dsgkeV2JPIrK
G2f0UmssvGwOc9UVmwbGv2z+E28JKtLE/jXsgeufy4qH2yb1B710zcQ+4DKnmngf1nvmhKlFptQD
3oFnibDXSeTqrf2VxOwGMJ4qL2JLT3TOO8KtItD4ABFBOSXrQMQio+bA/7HkHwuERHyp/YMfkYnR
/+JWFj3r7e6zwXvojYhOgFX8DgBlE5t7mQdi4kpDUqHhctIcyL/6hTc5uhiIwJUt8/KAcRB1FPHy
5qGI4HyuYs6JQXTuQuipv41k5zX5xtZ3OvsrKn5EnQTs0Z0GO+4BHlWIPBlWxsDrigth8q3iztF3
5ODs46CpTuhQZKxHCLXzwpvtPbTm0O9CTG5CXCTR8rMRSxmzFwgCZkRW430ekxB7BvqH5co9qIJO
Xind6tm8FwSSaMjJVSq236Ua4wSxDDIqR2NEDDmGPBfUBcg8/pfYunckzEU/ofLl26Snu7HbEFQP
278SiIYanbrxXQpAaZlBkDUP8OJPjlIhS+ZJxRopjjjJWj9MOgZa/pEIrYseMRURJqhbaNxM86y/
ybgDFG2fESIVkwZUlteQZzM+4uSuJGws27beO5VJmFS3zibP1ldVfDGjPXgi2cn0rFpL4CV+LtjX
25jfYn5rNZSXNHINVrbSYxFcuo2CkwlgtvxkeDSQb1huZ91jQnSACUwQSPIdGD9IxWld1bxK2d9s
sHlna1JeCKVYaBzdY+FBeYr4guifN3nGu3oYpq0za4ieiBl56WDcWC5Asdd9t4tF/YLJGX2xpYts
vvsQ/84ZUoDCFGfcDRxnk7yEom+zkynDyc97zrfAQOwmCzNjzOb9j4uwVpb16dCrFQzg3MTQlJ7f
nHRuVpY2kWq4UsqTFANTKNk60wkqAsrDwowyhEfjtXakTTpQFDQfYkTcERcc0W7hgj05CK9tgzWa
JgNVPejFmVWLWDsuUhUN71lGHZRvCSYQj5gOtw9VWfYcsEa3rK11DE5DcbEU4yOEBNjpnrkGcDW+
J8N3S9I5YrCQmHi1FGIiu8oC6OX8HeqbDMQXIqy8EvMVSMwwyQ+Pu1yeA+ec+K9N+FX0DcVs7knv
8QoAUBmXHJQlKSlD4GfpZv43fjeY3dS9gRq1oQOgYWetUICz3WPvq7SDwZeGm7b08BJNHrLtbvwS
B2tLrUNYnXMJ1wedFTkjYoF0jXaXA55bk1SBsvpJtEeF/fhhDm+VhW6b0A1tfvpQZkb+o1lw0/S+
n9RWWVjTh1hUS8twa/XFkXfgG5aXbOE72qXulo69ZC41xu04PkVsW5qwIyIpt112AERPvHCPIX/4
eCwzk9VN4a/VUjckKUFi1lU34bDOCfM2g2XF7Ja3H6plESzGr+hz+LqDvMIVODIFsduPZoashGDv
dpezmFD5wR/K3f3K4wa/JOK8tOFpKO+E8/DW+SyZaFGQonVXkOsFSx4HhEGKF79Kw4TRgq9avAo2
ITXjxz9ENLvFEmVcXxkR4NPRtHba9ERlWtlbnP6GdQuybDEFwH5iJ8w+g+hbE8hu8AiRQHaNgycf
+js7Z91LR3c4fQIFCRbij8bnguVAb+7JhHqMWXBqCWuJUK+8O/rNYnEyrbvQ+TrZWZefA/lHlldV
JJcSM6y4Wn+khk6ie10EgXynnGlTRDE6lpH8hJYl22o9o3f1Zv5gqNdJ628iGoLYrYdA5qFpVhSY
LQWWBIIiMa4p8jvvoZjJADDQfXA/EQxG7ViJCVW1oGHQds3xR6n+kS7i14emabjSNnP+mUE4GVrP
fwOMAXSIpJ2ymisYGcNiJ3yk257ewILunQ8VqUFkfJvxh1+9TBMqXsarjjlZ9miGZ0Ykl9Uq3yL2
xWogaXgB8UndM9pBEEWOBD08VSZfffk2FZ8lrW8xOkS1Lc9K/xgEP7IRp6MCvxMOyGGtP2AUWhlR
g1DT/JXg6/eJi/XTdj2pFBPgRuo5Wff9gJ6fWev0ZvnpSkPowb/FjYIY9kUp97W8LMFirGAj/fgV
Ewy9ZP4KOGb0inqbS8aiCr7z2GEmRiSFoL/bNCsHYPQoaDCHnIS2vBT6rzLSqEanmN57ITu6P8M6
VvfE9tSL3r+0+rnIpcV3QRhVtxU+JpVsb+cN0G7RFGfeckt9MeueyDwwlJtZ7kYJ3deqbXZZ91kR
15ZlBd8T4eHoJimVK4SZfC0LSeze6F4xfAgP8+4Nbl14+HU8zeMCCSBUcqB/wEwQt+sI89UO0lXn
+y/H7wpFsC99K/lGAMCA/2Fym1zNC5iw7tR4Cfo6Dn+j4ZI6+94bYvydZoXBhk1o0Vtr8KEm2Yyc
srHJqO9FyovqXPT8xMqjIW9BwEzEAqoPncc3sn0ubZAupI4I5qGCyKi2yQjk0PVnEQfGxB2dVYK9
aM9M0Hngi0JGk3z0C+JHvoD0/GpVTS5+HjKBLprJ4lr/5tp70YLvyp07SdE6wuGHoI2ICIYzBg6+
9w7nWS2iw8ubxNYhy3tNVXDsz1hjH3JLuv9e+gKFJ0Qmaq5B8U07JX8VH+HSwpVG5ieoWnuCJeLP
fJTZDwI4JAa0LklkSZ0DlAw8TMy+zY0VXBDQfnsR/GkAcDJGByf9Luf7//G+ENt1GNOP5xFWKCVf
prYN6I8quRSUJ6NyvJ08azqBmDqQP7MXml6TXnLdWWrGgWy5bgbjYrTyQrZTpWldpx9WZkqWhXrB
3gbonQGICW2QYI76jM/8gta+kHzmRvRX0c4W0C83czc0fHt3yT5I6Ym0C1hPYXbGe63vK+WmIj6d
gQrrsl3HCIJUnpBgHZMexLPLCtbxDvxjCAdX1EfZq5LgKgkxaok7s63EgrRkiWYGgjaIhfRc+iYs
F0E8GxBscIZMz7KZ9pNT+kIAf0pGSALROdyEjg88R01ILWHl4DwWBqwGDosJGDWFxgUYv2SLF0YI
jfab6JuUGK7wPrGQc6JOJwmKz1fMlWAt1K6tpGrFuLouir3ApWmpBF5K/S+14oX/Hec30nFhhUjS
SPlBquxdqV4V9rqGAoFZWMK4uFOitmBcc9yDB5U/2D61JFZrxUeBObM8wOiOxa/RYOT0YE0af3b9
7COR8TKy9MHSWbzR2iyyMykLM7EWEwbVjwQeoiZVCMNqC25ek4UV+YrKxfNPgAmaGb6xhHOWc0qQ
yDVa8lLVmcVo2kngdALnsyy+I4bIZt+ax8wjwCvfUo/n9hZBfJ7g4oBiFMBXsetlLAUT4T05TyhS
QcUVzhxD8jJtO7dHXO/4hOHXyiPxWXhAzGKdi6hnIhEOkonUxu0qQgx2KX4P2biGOIBIO0VQ6iz7
0WHRvVakZkCYAqU11pYcKkz562badzd8ozZrWGpdiG1f+N0edMnAhGRz1mxiZFvSbzM0m7BMlvSM
geugKMejgdWhuHKwdOo9Mt/z1N6qfIExRDkPJ3Ch15UHXQYmMDydJ8BC/aTajwirigPxfOXsTqJs
oVmcJ5vXeTn21zAkivnLJk07b9QVlV7rSuW0o+5ANjlg3qdmA+4U2WeNyy0hy6AuvmX7LA+epCDz
XiX2e80w3HU8Y9qB9Dm3ArtjPHRzylrXvJeu0z3i8kYlBUl47bIk0XOO4WHIutmU+XFwJPSjoJyE
c1UcjcQ5bx35df6n4hI3iu6coYomHxkRh6pgxhGWWiI5Vd0HOGLnCRi4eImISLVr3LhYp3GCyMc6
3miyxQP2k7ACSqTO1GdzfG9ykuXe4bWlGEG2/pdrVNsAQAJPRcH7UJ7Uz7DcELdBfDvXALtIQTSe
20ghQNgBI8/C7/dPZAJf0XyBMpwgzhuORieCrWtepvJsJ6+D/RP334M8bygHYFgrU2Re1tUIOAcU
YplOcuexZWc+gzn1ITqOACQr/10wPd+fz+0orXggSBiIG02kaq7aWFn7doiz6KVzmfb8C0rwVAOy
ZqaHeFD734x4lzD/KqKnRAhc/QlESnKcQX1xCZrwYi1+JvtEolqo/Bl0uDq3WJ5X0fhhkH3eHiXn
z+iOqrlT8QT4D0e7adIfD+qcX+ME0c/WxnV7VtU1RkINf7i6soZgq6UMAagQKdNdETgS5WfNegYK
bzgqInnaSevYrWKPRVJcqGKr4ydHD7aW/NuMcKPp8WSh1zcE3d6+y5IrTBKqtIPbV0FqlITw3rP0
gtm3VEYo9PdMPcgWQh8iNfblOHD8QgshUKJpApZ3i5wuWhZPFUqyC6kGXdgwJjWBDB9ydNAHTyMa
Mot+FA0junI16w7CDBfUdB9hiWZv3FQe4oxyw4Nobgd4/Sh+FcDZxDAaQXtarNfyjIxWJ6WsdUuk
wUT5tilgR8RwabYg769kPC8j5TTIgFCAjM5IwsHN4iYoeFRSvHPckohpGMsZt8B6nO204YwWO5CW
uzijRbBmA1LC9FruuBP6aANIn8xvTUOY5DHXXtLs1pElEB1w30iVa/C4Q+esHY+tXKxGhNkzSTTl
LWNjptwH49ynnido9TYl67bCQwkHtCKEArn6SP4mS10TvxLuMhZ/I6iIxZ4hnCqtCtqXrWz6cxTe
PwOtn7Zt9tm0qeljI/antTm74U389itrvnvzGi6DzTj/hCEdKrgPkrVjfGaoaOv7v5y7PfrATlxA
jJ2256fMHntEDBQ/AET+huxqNl2X3alhqbL1TVK+h+NVmQvevF3Fwxf3ByV4n8Oj/a47W3kOD6Za
r52JSqy3hoxbQVDDJHPQirhEuUFNaZ4kB2GtSHLjQx5E8JMQcMJp0SDFGEkyZ/CZ0V5WZ8w3ncl0
zrdDhV4MQRG6sLUGdZpg2QmjBVF7pArg/scL00+XHhV/ASNW1hsQI0N1dfidrKvpzC4oVgT5bDav
5IJ2a76ysroYGLRIS7cOHfpzlU80Y4mX+7tMLEKEwm9qj+hdlz3rqH8R2wvpyELebPeeYFtqSiFr
g+eQ+79WSmCiYZEgwm9Q6jpwsonEi0ncE3Dg7PJRkUWgN1udisLip9aJzZAQXnF9zTwSmsV7Geq0
pEubbxBuYOY1EZD/xeTo1pfQ0bUUcKAnAYdO2lvCsBQY2oItn4jVZaNhEA4wEZEL0o0IMFhDKEto
+6eGYmh80QgMDyj2GMZHTXx/iSN4qz0Kgsfim6GCw00XtXxR2MFLRoXkYyYyEI0vcyca7vox07PD
nANOrXGmO/FGr9dje9EFESEGRPt54S/TSFTc95C46tPhJcMxp2wEcZBwgRH/aBsPCiHhm/fweexV
x8qmbn5VkRcqkAtfZ6tlqdOme6rvIR9kmi3uQfn8d/jIE2rPQ8CT5IiEB9ZnviniBVPdVWNAUAIW
h61/rXHku7m8R3XbyS95t50s12/JltxUPn/cijwAUCYt3flW4hnlqWQXGTUZ9bML/DqTl5Ufej7P
EC8g9hCWbmUlf6ekCpLhRcL3UUg2FBFQHxpo+fy7k56s8biTB5fgXRH3gjgThUZY0hP5FjDB+C/1
RM3qJkOKUm3mV/AZ+pPGFeg75xGLXByeO169Jvmyhu8oXvUYtxpgh3sdHmXz2pTPvEIv5YmQw8Fl
WuvgnqpmIIqPSLLKK2yXvKqqRHTu+v4RMGRIPjThtY5gmjHfajKH3J8xXueBuA0JUu9Lg/xQMIZu
E2srOG2XCNR0XDVqzcgAeB0ep+ZuY9YgS53GU5/HhGCGlBSJXcCDqB8brsE1OZ3hJ+BQChFABQeW
IWT6HHo6dK6IuCl3mGSi9t4op0l/WKRV4O1DHZr4XsAL2wPlbYtyN4+7PHroU7ox9Y9CfeXpVBXs
VSg5xQY7IxWquNstXCmk1Izzhthb4krOcE/cpmLlmvHCDEtaQxaT+lUr+LrcrnxxaG2O1NuofKpo
TRre7ahbzWa0dOznxCCYUJq08f1dGx41/akEL8S/yv6u1I+puYvToxk9HOuOgK0jo+I5K1vEyGF4
S8DxFesS8AZoOx7r0rmFwCoBoKjxDVc01UepPRiMzuRJyP4WM3M106E1KW4eID3SJyBRVJfSu011
6og70QXo0sk8qim7XeksRClyGV17jNJlnreS/q4ihklBrmQJlDZ9jsWjZNsq9oSmJZ2YL/owWEM/
L+vXEbmwPPzwgUodLRL7HDmSTHh9TReEHZEEVtxD+Y++biIcG3PXhxu/Whf6kqTqHbGQKeq+AgWn
KV98Qm7brRB++eY5Gk4zQhPDy4vPSVlP9r3QmcRXXLIwXHa7s5WDfCMIU22eWnRXi9eZKC4IFsmL
9HVK9jB62TV/AcNuFxBS/gSHmlMK/DrfK/iuM5DkCXm+03/5IW/Cek4p6HjaxBKYKzlzBxNTAj9n
1ePtI8oBhCsermF9GfFOodTsUdKwRhI2bE6HkdLqmsgRgFWpw0iP4Sq+EG8QdCNe2rVjvSspI9cx
THBs4ZEoyNCwsS4Gn7r6F/OzDhjwZOsLqIWKHFe886VFht8lRaEE2Li2tW0mv1IUObUXgp8b4wiM
NZsXOhRBYPFSkXX/T7gd/qUDL/NMGOxnMf2kLHxmRlWGfEU+i5amO+Z+u1w10jtBSbhE8uIqk3OS
PTrrZ+YpkJjgMyFhHF7RJ0QRk46yoyg5UR9CUmcTrfrKX0kPJxnLkHJwApD0hLCU/ZqI9ZU/nAVt
kWnZMlZ/RU9IrDym8I6WWguQ55ICcOyVc50Cixz1die1TNoCqyt+MswtDPqmteFwEJRWFxHY+eqQ
icpHrczvWbtwmoGiIAgazu8w5DJwgHbtg9/u6aHh29I7Tyz16v0UZmQEkPbPn5hoB94cIlF8shrP
IueKSKxWMA1ptWgAyNLGWLZcK7FxAuEZCT1ShmcWG4tUBGMEf1x/5PyMMd0k2YPoz2CO6Gg4melL
Kr/rMyFf4z3eSfxyw66gwRYSu6ak/cB4FVaXCSyrZcktzB+H4WoITv8eHKC/dq8EAPm88tRd3lOk
6KP/m/NrDUTYC4K7lR4Q9xWaabtC2sJGDs7aq4tR6QEaCK+4ZW49HqucNimXLY7jqmO0+gfzdasO
3CMjDI8gXMJ29gnsBly9X24hPehGnctLPaDn5yZEe52kH3i/shQxtkfnjq+LL6sKDjoZEBHeb3He
BVBJfHqqeVaUjcrGhk8a00lNpgEHx1GVfwUQTDBcHb9r9omzrSFElIxf50PFStkU76EE/E5I+/id
6hgNCX4LNzVwtbPX+3ebn0x5F9SkJc5O4xxaS4O92txnTGvYn5vdoHLeCcflicdkTrawSxxshIgw
0dCWC5gzEaVJnw0iRTKGHxjaCPtUSHSyOXIc0Op8p8h7PvBifNCfhhQo5FN/j9HCM90f9eFzHvdK
TV3jmgHQlgHiqHuA6qsH/uzhrxpIM/UAefwK9SIE2S5hYBj3BqHah3lEp8D4DLQJUOIgMtxY25BX
rr8V6a+h3MZ+Te6J8wvyahW/VXFOouto7qfOa9sDSvsBzWCDBkw6jvrdAQalIK6567wWeHLjP0UG
ACyAnZrHnN/8b2NY2RFM+8EOLyAmfb5JmWk6QJOIpqDimxpbaOqUPQoeSNeRJJIrDbHRk2OFspHY
gWwbUzqYhq6aocncxbSXKC/tBFzkzrmH6aCTkOCQHIhkSnvNEYc3tz65RPFzQjrSJAAOc7+ojVMr
IQq658geCPQrIChvousFmEdqr9W0F2HtDD0jBUU7WD/LWtk1rPg5Cq6+/Girr0a7RuqPFJGVjtC+
3CdsXy5/ZRhfJPx6db+e+02gbyqL1zYhLf7o58S2vKYViklsmmDW/ZYXkswwGHAii4mvnZr3kYG+
JpSl83BnYI8Plq34Qcw+3NXEWNjytScmh8NoAp05+SWJyFuTrm6+n3HR4plwRbNv64+bnGJHICIo
SEAYzLvqwaflQT5GEdpRakqsjaXeY+nN4fgnalbIDbcKqF4z8tIM3kSZRvOnx6Vbw5eY0waeI8N1
OBAOtFH9+1isO5nOHS8ZJMJ6jlb0O6OH60t3nHgMlmW5ZP7DS1SmW05f0/nyYSbjVzt1KWoxqx21
9W7LXRyRIkAOI3JbxGBUb0TRZ0XaDcb9oTpGnaebbIsHzKhmdh2bDJeWkOq5eeiWbOcWc/L02mbf
g8pFbBlsTSIaCq6faSumghz0tTha/c3Ewd7UX5K2tkeh00TsUpN5YfYXU0VJE58qnUfLxu+JMeqg
EA6QkLiM9xFrNdFTvHQ+WvgeSb2+JUeT9UGn16FHIIkVhFgXwTpmZ0mK6WA8jDAkHV7hqH9t+fFn
Ax/nityq/jVOKEIFCmyI6JstrydBu/L6cUcYVxC7iXXtHCYf5gsFZwkuwJ4MsRAxJqYW40h8b2Z5
GskPfX+QtHvZfWUGgaGvQ7OTppTt/B3CMMYdw/2UnhDCttrRQF9jXakhgCAZODtJHs8iHjVmkj1F
Lvr0XZcHG4S55sPyhnGvzcdyPE/StyRavb9S2wW/p4N+ljd6/IlWx5IJNsHGTYbr2Zm8gvMxx2Sg
YeB2HtX/mDuz5biNbU2/ikPXDZ/EkACy4+x9QdZcnEUVKd4gyBKJeUzMT98ftL1Py7Lb7hN90xG2
QgoOhTFzrX/9g/48HePieQC0AKMWoO88UG77gSeki7Fms2YDhb8BYpThJD898aEgHxjhxoLWcfjw
y2fkpB0IWPQWKB70Q4ZBhgPTa1O5/CZ8NCgskxvyMz2mHclw6433Y/2lHE4Fb4yucDaa3gwPF0b0
91l8zqs1jrUe9yw6BO3OsIBmvLPvPkhgRXjktAzQZ4iXrWhkV1b0MHevEuMW03wk8aD1juV8VPbB
KfQlPFmhV5eQh4iSEZDvF8gXg3np32Jcw9NQQLkg6KWFJHFTYdQbAtdVNHiucxrE57k4E7e3VDmD
vTPYnBZbwQRZDvPrhrEop8T4vQgfp/SL670tryxYbPK06KiJf7ys6VcYFoG1y+ahkUfTuif4a17W
CDQyXrmJ468dVKucHb6j+88icNH461KFojqg+cXjLOxgXHwEtNm4XJg3ffiUT++Zm6yGGJBl9And
u5W8xOV6xFAryzEBv6skFsV+83maHkh2zQnwSN+4A/hpE+QwMKcZaaxQxcEKwTMU5qa7zTDa5qd4
saHrM67Fp6HyCdPdD8QaU5Cm4ZuCikc1Ct2dx5WGiJvSWPjDeAGw52cuOqFuVM9MOXLOqZPMneUS
KfGqg3uceXPNardP1Zcapy1cZKxvTXGqGFN40GnFI31jhQkkk/VyzwNeOU8cfRYfSUHnPa3HW3yk
W4SH4decCLAAF2Wm2I8qRPmOSuDeRm2O+e0yRUnOenjnMnbDnecf4/yLUFtAUapNP37IrTsulW9c
A5BGIcYe14XC1foaOaaxKev7Gqw3GI6dcQuqN4E++c266IONoR+w+O3orcoblmKCscGBIQs3ehm3
IHZeHpwQWSBrgP2NZZAOOyQmNV5piWlqfdFZ1bHPX2cgSSRJ4W4esFe4iuXJBE7pGDAMmPOgifPY
wXBNu4lSLAWeDfeQhyVgCA0Mpr42kwYGQ2vOCI9Wo/0y9Md5OycHPjobvyzVFyeIB8XidcJIr8Zo
f285dw1hyf27OV0Fxqnybid1pasrt79niIApajrdxda7TFvewPtGPyT6wRKnqrjLhlUKTlVAaVzx
joQjGREfZnBy88eB7S7aGvMOk/mmeirTnraLsVaIeS8ikpYZoP3FLx8m/64C8U/yewsMEh6v8xbh
/TSjoQaWx2f/pZ/36QxpaUf3g26nFJ+T+mbJ5JUkzc3galRVsJlxWTZhL/f4je4674uEx8tVZjnN
8oMY7yzzhoCfMPniBPNWVdXGShPCdG8HqOs2CFpCpcBn8D0RjmJDDfposRXFh1K+Zrl3GQz+jaVH
OsODiTm2vZf1i42FvXKMvdeBzHv3NbPvCrEcux+dF1wXonpZSZjyDh+98YBxlxPdTtBMkPmu6+Zz
NWQro/UZfHd7YFa3/4Z5H+SrtN90YOMt5l/bFMMlo2mhMH0bq2+VjS/EprWPGQq6aUKK9eFABCjC
d1j5RoD0/qWvvnYtODCnDiR7S+EumWrBlEu3KnoW+PNZoMMUk+u52DTJVYvjls+rjc2o59JY34d0
pdMlA4oRn2RnL0yaixQ0NrjHU9NOb5AB6OYq894cSVQKPMbsaq72g3tTA0UL6znFPgTvPRw77XUm
3wrNFAt0ETKUwuOWcj79OmYn08NFHa2bQ5U/kX3H2MRMgGSh0ZsP0fB1sHZqpBf6kr6WPiStllUn
wixKn2VH0WK8zoiOHTgl3mIINBzJJYbM5DeQdzYxhywb9vkG4s9Z47uaIB66YgGqKlh/cC5ZZPR8
E9b3JSZJhqQlMl7y9AWmGY1KBWIBZQ8URpE8wGwOgR2shDpZC+ZHos5Yug4DqV7DrrU3U3eohtd6
wW5auHjdAyaHtuoBma/Y+wKA64z6rbNfA2CwGdzmsh0YwNNGRelpQpMRHP1813Q70lXYFNlU2b+i
AoKGDcPD4jE0n+REoZg+dDjOsG8xWg7FzSJSLKCKMKvlJbOA2IlE3ywG3eyby/oawtlfePa53Eck
U1BA2Ad65IfBPS2qCLHDKwyfG+ahnFk43rvjoaqfSgoTo4fkM74t1JpEbwhTBP1nawjgtQ+A+C4E
8T5ahL5PxmKTYZyT4MMDzirhH12X/fOMSMoATe1YjoLxs2OdPO9zKUAzuHYmiAwLIMmjNUQ5RkrO
DVnFi01AwMd6qoWcAwl5cUkiFCB71ga5cPskf8rnJ4bVN3O+C2VFK/q1de6pqWBNa/beed44rPYR
7hXAP5EiKPR1bm5j98DDtJDNzRAVt8u2S+qZb5A5Dv20IV+ch9ZuFyONGsjtYwhfmhjoFoJ+Dq6s
NooAADKdvsBZS6bncTzQuPnOrTHcD9O3pn5V8XtAD1K7ZBd4h6JC3vG55Ovkh/QKg2fBnYO4uuxi
LgEV2zY+hu2NMF+BwRZMjOjpC3NfLl8P7JVyQmLOUkhuT0ZjQvuh14ww6TAAi5iJMLFKnj/98h//
/M//OI//M3wv78psCstC//M/+fe5rCYOPmp/+uc/r+NzU+ryo/3+Y//1bb//oX9u38ub1/xd/+U3
PeJJUOY/f8tyNP/1a/n0345u9dq+/u4f66KN2+m+e2+mh3fdZe33Q+A8lu/8v/3iL+/ff8vjVL3/
49O57Ip2+W1hXBaffvvS/ts/Ppmu/f1C/es6Lb//ty8u5/iPT9evWfv6h+9/f9UtP+r8Kj3Xt5Xj
eMJCpOZ8+mV4/+0rpm87Ulm+qSzT9r1PvxRl00b/+GS7vwrfsoXyLEsJYSvz0y+67L5/Sf7qC9eS
ypTS8mymO5/+fd6/u3//+37+UnQE02MGoPnFtvz0S/Wv+7ycGL9fKOIrXAdAwZOCASJfP78+xEXI
t5v/QwxhTsNKwRCVFJJ1T1Y1hBCgbndYy7m+cSALj/458a19lULsiZ6y6GwtBvBInyu1FmjxRAdp
I8YaBkHOQPFZi/qyEaesTI+zH+1LfE6dwxgwa8RtGFrC/Wzhgdy9VsMR2kDRvXr5h2gPwV1h3MkJ
mvYhewzhrQeEEXBkzN0xmciJMREPSX47B7dTCfi3AAibxLaQ1UIfPyIIcSeCfGnxfZcR4pcRHQ6c
poWih3pQjRsX5s/UG1QPNumQqA/wU3Bj1MCwjCygROAnO4GlTfw13POSvdC+q2jmR1gffg3pNklX
w4hqk8sTGdQwkJknWtipRxmV6kORE7ppcAqLkifcNdLGHDPfxAbMuPzZT98uawGZl+vswqgq0Z3i
30OfaSyDqstmQmdd4WfxvZNlspGsAsskvCpZ+YTZxejOxfDZz5KV5LjHYMBdGD+fMtrnGSRwdvo+
Trcm5mI5vrphHa1tOi8dQG9D/OXQ5gTzvsCcskf0UEH07iJIoNimpSE0x55o6Pjc1Vchi2LXbhkf
u1D/TFxUBmSCNu7oBk0FVnwTtE9IhrbiIELiiJg8LMdpyBO2vJB774fkSaaXVY0pBX0mBj7+l246
WTDab8L4pRTQ2F49eC0Oxm4xVjm2ZzFoPjXVuLKMi6HFJs86SdzFSvPEMRU2ypLSZnJ8Wo4ylkQ5
GTUWZIvV+9lwiKyiIwrKcVObOBHwczMcBqwmYXyb23yEG5y88FQ1oE/YBa1i6MmUZsiX8M1Rdw1A
sDNiBtFi+MCNqumHe8bALKKYU0tXYLgQoo8497UGwqUthxJbG285LEGGhXhZXBoJ5XbscPfoSmb8
MEFQOKyM26I7BEYpCkEXxxyyLEcF/UUBpSYA0d6wqvKdU0JJaF5KfdLt2cQQbLEuayh4Gh6vIbQR
c5Lcw8cIMa7QAlwUAneqEk5L9IA/llGKldF/HVvm24mxqbR/YYmvkA/NZUuYeXh4cmGyonIC7dY8
tSFoKmzElh01dE9VYl0KRWQUd6JDmlQQrSqqMzaPNVPuxTcs9dEOnlKspDxiBhuegSw3LjxCybCO
oynY9va4qil//cq+ZIKwantOki1/gnpmURakMUwYifzKHFdlPa6WazbwrCz/jpn0Ffa54mDdecLt
V1zVtMMjqWQZhvYWo98JEVU98vWB4c/yrHh3Lh1xZ9AHoK0liSeMqUKuo+T8wyL+22L54+LosTT/
cW2UwrIs2xOO8Ja184e10fZ8S0Ut2lBMhHTZrOZbVdFWZzbqEB65gJQ5ecqXQCGsNggbPraZxatm
4FlIf41GaB43E3e8F+Z+mLYJcd4sJtWmxyK3o9WsWnLAgM6lZqAKP87H/YxKayJFtVkefzIXoVKp
glTi6by8ZOP4/R3Q5b1g/gT4pRiTT5TBDnPjPDpnvEC+ODlgdRbOgdz5GvWc1Z2CSeNPiDRbnJ3k
a74J+DTE/jUep0Nzbup7PVK6JucAJUjJtY4nrPio8tFH6Oghh64ix+1fX13zT3eeH66u+/ur23lT
noLuLgEgX1JmgCkCEBsWLu+ol+B2SrXY1h+2g7DgZjLYehzoEs2VJEPtr4+ELfOP99mxLdeXnmM5
bLi/P5KiNwx/0Cn3GSETJhPmlc3TPuFkijpnkalv6hpQ9QB3kCStgJG8vtOYkQGpJRJyIhzBrQvL
tNtqcTSKVcaos7pPS2geF019ruSxNvZgxUbMOG2bApoLd1cJwObu9q9PZdmtf9rNlbAEz+tyNr61
nOmPT2xi+0L4iC9yZ9Oot67NVp2AQeERf9Nc/vVnqT/9LNv1bIurZqqf7l9jZiqKFqemwcE7jop0
ldGKdlsJAvemw4u/+TR7+X2/OzeTQki41ErCdaRpLW/rD+c2+GI0rABW5rLezIm19wJeK3R9acXo
Geua0sQ6ejxbRv0MUV2xZwyGgtl6GgYI3mG4LqFt0jTemD2KyXSRckVHy+yul1UeUiGQbHoiAPly
NKq3EF1QvlNx9CWxk23BSz7E7TeJz3UQPZLEuJ+huZvawoOUmOKcQS1HkWXJnfYHqIL1zinO3ihX
9rRpfBYLMo8gsIrXeg7XdQehFuI6/TKb61JGGB7QUAL6TvCWPvIf2+s1I4v1MEG3gGnMPH6kInDo
YTyyXJd+o+nCDbif3T8EmNpo42vumISPGWStU+fU52Qm0irbsYQi8OJJDcZV7mHFSSED83jZeWMO
e9keLI+9rOdUgsUy1bhYzjYcHq0UZepJgF+WaDVSh3aI/YQlb6kaBD9jLC9HAylcAnuz0DdBc8Df
Olml8I+SyMXw7amHeuSCrrQDY8Boa7H5OaDkLZNmx/hGcu+Tru9alLmMDpIEGwGvX1dsEiF1DxZ2
DcKNCRp3h41Wny72ge9OemdUQChA6FZLCQPT2ExflvNaNpS8fJqR6Hs1yToXtU8FiSFXh5XSaH71
XYInOOaaPW9iTrYUbH2NAcRtN+HhFXlrB+py6x/SkAK45JclsPSlceldGISqL9tkB7m/JkDAjvMn
WTe43A3XJRRGwF9hx/tI+1A5DFQiKObwpy1CBpwvdg8hrVyIbiZFSbQuQ4pFCE3EgpKs6SDjHcnm
1WQml0OGSUSP2B/is4fUvdvOeEx7IVRtEG02TcfitzOL9N14W6LuyAlXXcXu9fd9ee0vbnTpq45A
PShgA/dkQoqtyveOswioNl3UgbrcLdu1PcArpjyq0hQJUoPXrbFadiSZn8GUxJydZkaKJv6AE97A
AZBIdV8TVtlRCFlQNZ0kfEwLm1Lx2PvJKgnJvqqIiDYtAuF5IIzTBLZd6IfeHK+qNFr1sr9uQ2oD
ZLK9Pg/+m0V1bTLk0vLK868mH187ylr/zR46AncZz2GIwyegXpM8+CUHN/YHlW9KjdWZxziYapax
QRmSjBOylXn8sD4s60A/IPrGishwrG2XtDuXAB0bYQulCNWNgsOzvJWxxpUTp9+KLQ80kSfgoip3
hs3WjJwYfRjbYYXOqYssGgJrH6k7nCsvl/XCq4mPRxBPzsGyW3XSxJoW2rPaNUO9y/Pm0m7D7/Vt
w+MyLVX1+Ji3b0sT4dX29x6jqYe1Z51TaB7LURQJyEaPhbSxTpNwbef3nT4vRdTg7Bll+nyMQxUe
qWiFQ+1F5EXryIBfP7+kyKSXoth1cVLAEKLNGSI9uiP+4CTlRNW50E9VWu2sAe0s5D/4LolCZ9ea
excjGJ1QDXA+Pax5RNdarXsTsSQa7chMVxrX80YHu1p+9qE8xd0pr282CbDg8tWls9ARTP0MGS+k
CVhLmYt3EfdrBD/73ljwNCytg2IXVTxojksB61PMaYMpGiajVJaucVHG3/DiWJvPivFZi6nhiG0l
i7T3tlxzu6ppss5NwbpPnYkVOHp8iuy02S0dVWdmt55HP4fMROD049SSKT2ytHTbgV7XIdPdjo7F
7JgG6du0CYnCXB6Cl6B7KWN8lRaoire+ecGc4bJvSvQz+Y7bimPGqUuIw/iIC6b0wE3SzUgFmlYV
xyAgr2fBSoLQtTy+UTOjAt9VlPRkfZqXCVzy5f+RKZSBr9BoXzPcy8rokM3dpT3GlzXAeMVMDJ3H
OrAGyh55acHcMFtUrgh0QrHT5n1N3FgEBveoumMWvTkzhmLbIHhBtBWj0AkfWyri5V4PRbx1P2eM
7Drn498HWyIoVO2DSX4fIHKNoDn2jI1fLmwD9hJrW2dkag84M4zT1qlhzaKYAMlvbPxGYLbVEmeu
ZdMVUJE+RHoVmhhyIviq6+s+g9mHS12zDplmWd4TieWNmYC2gohp97qI3noubfzF7x5ZWUP4Op2V
bgAmthhbx++RxJw8PYrwcXAwZdFHg3UzqBj0wk22H8fk1WB5ZgcIeH1oVtur1MQMglTvRs54tV8V
2WONRUJLPAYBJrsAYbJ5wGW2LW9BzDiLpQhabtncnRhRlkCGXrZykJ/2MUGZPgzyy0lwKcgWGl6V
zDDowvXR2khcDFJMA9MQFgIwcmKYB3Qzymv2JnbyFrCwEdakgeJ/NltYg1D1mQKpVrdpa/cyhkKk
GOM0XbRe8I7aQNMgOYMaOysy3FKgc1P1UMV4omIDiQIvEsufiWmkwsLEzF4qCv8WbZWODkO0K0Gt
E+zMO4g0bAgeTj7m4mbIHalWqfkUBoDo5DU2ywNkMNjEHdVDh8giWeTH0dAsMIw1If2FqBtw8gzm
J2k9Fha8X86f98Dpv3rWlwmZWob4D2W9C7klRl/v9Lh4JpdpT0QFBh4uahRlEYxNcjcmeQDH5E9K
7G8ni/IA19dUr2fl3NsF5NMRXIZFMmd4kD81GLGMcMQsN1wHBrsDick19J4BPzcPm6OIutFBC+yB
ibuUkx7upFDRlg9uaEXrSF5Gud7npEXaUK/xMuzGjw4MRID9wg6JKF6Y1MQh66FOPxYSVrmz7UcD
JkrXocU2HocGLrP1YUPqLQBv7cUtYcLxzkLdJD+WB8VibTKDj3F4ZIp9mUN7mNAdenorSPMt3Y/Z
JlOOS1KxzjUjow/+7sLf2JFaAWvqwxUYlWsq7/ilQNnnKAdXkuHSnBAjmS/FhN1cyDPRYAlGcZRD
Yk6AGhyTbyPJErejlWA42MTA3cypxjkmIr2/kPgUFQFiUsw4G+ZdllWtcbD8/v0ZcI3BNUpgnMLn
dz3MUhkAh1O+ahmLpRWPXcTUP+t4AYh3SZCSpiSA9hxoijExBvwxq53B6hANkrbrZWKmBNWMBDh+
M7yKjEC8xewIV6FmWd6JZnZoCUeG7zm9+/JtClZa7EOyZ1onin6DapLQCF4zQRHmMKhuwgdHEzTk
Fi/TzEIP27EhDLb+mOQAYRZoDPAgyXG4diyWgGXmaF3hsp1lkITo9m1/3FCjjJjRGDpdZ+Bqs23s
Cj2sB9inBjm/eYpRHUxiE8VnlJz6cNrEyWZOUTI1IdGw4iUeyJuWwzqZEuhnQJ4SvhP1mCYvBdGq
z3bWhyBO4Huxc9J5gmMXlSiwoYbSIKjz2vI+ZOYYOOZ2qJBLetFmKTxTzVY8juQys7ul8SZnN7eh
IWTGjFsxdQbk2sF8bSSvfEc5Liqie+xly74YfEx9h0cMJXkcGAfLAb+4BYMc2wM0FAYZICBUaTGu
FwVhqWSb1zgopwnupuZqqI82z/Q0nJNlP92TQYCx/DeNUsLDJVYNuMiC+2hXMKM9zTMKkzyCyIoY
N50vvs3eWYcIT0EJlyKLVIBdSxyk0hlzi+ZmsIl2a+tFtXiysYXtIiQWRfzwvbv7bw0W/nwa8OMw
4P9x9vD/42DBo8tlAvN/GCzcveL8+cvFq9bx78YLy0/9a7zg/WpZnrKVK6RnWj798b/HC/avNmMC
KRY4wPR8JcFffhsvSPtXuXyFH3SkJ2zT+vTv8YIUv3rSVhZh0D7TCamc/854Qf6ERwjB2MP1PeVb
+Ef4DDR+37Ob/gyfLMWgsKNp35gCAMzMxIPRpcm6Vtl1YWJHVEwOgcwp67tbJihhXbyVBsFMOczf
+7yDndhrMmN9VKLkofDKiB4Zs1bbMOuiTRlWmKB5ZGbWzSbhLbzNqmCLszlkk6aG2eC0krIuuzNr
a2+aGFj1XXksopGmUiL3TjDMBfw0tkZivLuGju8cYY7XYVbCHaGNS4N4Ii/Jx/7KrqHCNeI4Z0G5
9UJ6ibm1mkcXaN5wFbaGMiNXLmGNHMhR3ZVAfKoSUIqZDc8ZS94Pz8Kf4JPmn1xdEkAkQxvftW1G
Ob+/usKZ/Nr2GxyTw+oug9CwLkoqjLGszYcKmqijbMzO6nXrG+gT2wSefNetJk2CksjKZqcT+1WZ
2bXFEHj0ivFvjs/lCfsRsVnuviTZ1XIZVdlAtz8hNpNTl3kzTFgrqKVZhmOFq1nQmM6xG8NDG6JF
J8wA/kqyEDyoSy/StHK2s0v8iF9dKUC5lQ774ECHVR7ls4EErHJC6yrzsxEreHGVqvp5ikPYdd5y
v+NObasqfXErFuMAbuX3JyDv56u5hsDQtWO/na3qq4gEYgWSAsi8zg9zR+hXvAmrRck8RPPGQFCG
TsdkYg+XQedWf2MlNns7fLywd7PP0o1MEFsIHBL39dmZxYWo4g+nb42bUjZkYST2deB51i05uUgT
aKpD1GxmgK0yYYbcMC+dN3IAU/z+gBT53P8NOufxDv988V1Gi0CB0rEB6Jab8wNcVoSe6L20ZnJE
x1mRaViRBLh3Q5OonHw89iYyM1u7amcKKt8gwhK1nh7zxDvZEvRQVbQsOslzqsAk3koHD36MXL29
nRRPyptdABLkuhNO+OVMGL2vcBKwfZKRQDbsta3RejUGljh9SpdkmDbhQe230CNGt+xmmID+AIAU
Y948ozTK2agi/ITvhPT3LujzXsW4IbZEvu2DgEHE1LFXTVmpkUvkdPtDR85LU5fXTUj2hWpQ42GH
dl1aTnydzuFXp6sJsinbc6gKva2COURIwB9uqJk8wb3ZZgXQTROaSHXJC1Id6eONNsONznNznWXe
l8idFRNEOB6BXCoQM0T/XIj4b24UN+QPd8r1XWW6ChiOVVwuwOcPd2qwnT4zW0gcuozQ5EeYWesy
2Ug0GR3t+kWjbIwo+icVQhabTCgIA2M5L/Ex0VEe8Y3RjKtJozdiwNvWad8shelx6VY3wTgiWLf6
Zl3OtAoGBNt1aNjtkdu84GpoCGaCf/cVq9MlLj3NvsdhYZOaJUIlJYznTNTHIRltGJC0e56EjO/H
ybAlZ6w7BqmBVaou+Is+uEOTXdY15CNDZfTkJuYD3Yz4aC4I5hQkoaaom5mZPsbC2jkwevZRsNYV
irWZcgwoDlxiYmXGagQMuNjmZXpTeikMobFb+aIjkYMw0tbxP4j4QDgamubejJncQcwlCa0wz5No
YDJ7/VspmR00wUw37ZfwBoMbnWPPVlXO2ZboOUWDW4xMNAjOFBIZYGF1JKZjzph1yBhUdcrX1EyS
nrbEdVD1nbk2lzyxaJjUOg6ZSaOwHHdaE5RcGdq41NYCmnS0bV7Wjndzes1DPm4AR3e+0TsPc2s/
lKX9FkbGYxrxldA1njzHxW1pyT6YpjzbpRp7CUc49VolRbLvRY1j4Jh+jbHwP0psDpV20nVqxAzX
S5MGM+QzC6vRBxlYX1MrCJj2jO91o9XCc+LFDdauTKjjl8NUNUzKNP86WwHs7tZ/FxUku67xUOIH
AMX17Fx4PUBtbz6bHihdYzHBzaPVsIQNt3IQUNQbrHY6vBoNFKLj8NnVxm1kx7uu94vPoRtucLcs
iu5rQ/oe3NBlBJqgF8+z41DhLqtLhdw3Qc3YVsWiblCXkdOGx1oQEtVKgjcH0o6z3iVvJe4Fjtxe
ehkGYj+g6alNOa2dRUuTZKSJQGdAiBUH37Iuu+rbSGz9uiTCxL5yWzwsqih9VsLEvIlIuljRg5Qa
Ne6eosf63Mma5ErlMaD2sXfEyNDPGNloiODtZGB65lrdkXhuyyHVpuofzS5qwbiC59ntz05gxXDq
iDrt3e04Sgx2+33Wmu4ay4G+9tD32D5CvIEoIH9Oj4EqI0R97V2ncI8O8RrujEnsq6oujvFHXprV
vleKkZ3cOJkPD7TIzp2jnlKy3EOFn6G0D8X0msSoNALlPxq6ucnsKfqb8Yr50zRHmGzT0ECk6bqe
64jvi9QPi1Dh90hsS4DqIGI5UZyMDUUNFjQvctSGNPgNS26XWONOwQmInB5FDULOkGcV3OIqGbu3
1pKvc1zeWAa9eexIohdz6/pvih6oL7/b15YDdaTtSzYo13R/LipG2yjZQhFPC/I8vXqdWoXxaFos
n1kJF7oD5LhyFn8bo1isVAYkq/3fXKzve+cPo6jlYtmea0PmceDuOO5PhVflhvFIpRXijwenWDYk
ryp7PlSQDnESIou+aNVjN9f5kSR4cdFMaNxST10bhUcSd+VShNSwe4PYPDiOuM+KSh8jKKkq6q8m
wEC2qi3FZH9Muw4nkKCyNtCx/WNmhy9S6fEmoVBlymyb13YC3dQKGUa5oQOnGSgAZl64jxtyxL18
rVov25SOgME5d+26X0ridqx3ii2OMKursWsZDgzd5q9v09Jd/HSbqEo9j8M3Wcwta7mNPzxPwnRD
y+hAaKOm3rdj2h+rwNmWakKPb8roxivvgzT9UvRNsT3+q3qoWWBWEsbNbeHDji9jQ67dQMqjYTnk
dSaYvPaNw7xxOYfJLWamL+FtEcBfCXM43GlaEhReYL+Dk41xKJY/vv+Nm6jx0k6vRS7FYVr+YCwl
DtU401L0Il6JfslpScbbPp4N0pRBpRyP8BYqSkwDITVia5E6zORc+M4ZzxjC1nhtKJhGYsTNfgj7
W5eplbS76PPcEmuLbfn2ry+p6Ys/XFSTap9y35XQtpRY2sAfL2ozeH4BnYiLMbtveYvV69zkm3kY
ccIuiwe7wAWnpxtpCS5pux6owEWlWONMUXfJyKuN9KTOr72BhDjQnDqnfDDG9MpMKx/2QXQ/Bvi4
Jf3JY0p+6VXRaz2CwM3+I1Qsz4zVFyeSS+TXBCye+dgFeQ+zr7C0mYYeQX0GZ2wVZemAk27l7Zt0
uE1nhlVuJ1/dxqLo6gFT29g6V55JkI1HY1T2yWEaVHxhZ2GD9QnxGhrUvXXVoTQQJbhbon3sixAW
jatr0uUG5EUMbnYgWzj0IXLSXQ9Kk0QnEv5uxzw+MDF9titsO4EJLaPc1AhXqrRwjjgq49gQM451
R7KkjOZMgh1EsBSqqdGYxGOigHItXFgIqYSoI7y167F9lIp129YW7FQbDYU8hIhYoc6yTfqO4JpX
dn/IjW3jCYxMFD7GLohd0gH5uFpf5aqWCHiIGwEZT/E5w5+vlTjPa0dPUGT6aNuJ6HkcFC0EyVfV
iFWnT4iXJRjuwRJEpYZ6tWQooS0baZnSuGsRubluCnKJQXLyvMpvSjyjIjcwd6mcycZNn9vZ/5aZ
+uxIdGBj7TmHEsXzCOM+MWAgOz2eB8GdRYpCTkjTtslUv+3It8jL8isHiZqRaeOtOmtZ7NxCijuP
citKQ8kRcPuCeIwZuLD/e156wMRIY2YHCijXDGyY8Hn3hgucHsVYgKgOxXqWqIMdGXsr1e4dAuzJ
fukwKNgZzngd2Zj7Sc0MvW1vWBgfuA1vLLTYPiq1ngMnufOaeSIEpcjXY+GCoS5z074mJTZwsMzN
GU86SPdLUeD9OHId5zwYAHLVa+AVWxbHbeiqC6ojvS9mbkjp5NW1wsMiMwR+Hjncu2YSKDzMedfn
JB12cu/pTNM+l9nVOLufhV89lpnTPHXN/JQG2HNKODL+5Ie4RWuSyoqOvDNIasJosIq0ZlIbSVU2
OoUPeKMXccElZkoIDruHPMlcxF1ZixMnyjKb1IYxuM6zm9pYD0q+98pjykwcztrp/ZcW/AE+ODN2
3K1mO18Myz26oqwlCKA6LRxTjF2Sp7Yd7bWUvJkFr8fl3BjeiocXOsFMVOiksWsiHKem2gk67JyS
AQfGYuibleXeVbPwH5wAZ37Ls9ZDYfgPoW8RI4GG2Yq/2XWQHYkbrrGjZg5NgdjAe7Mmet9ochft
U7a1Q2wp/L4eNyLGRbdAeWQaBC6a5h1Gc82ANiADAeqxQ+4GD8u82LsdBgQdmZM8FpVNMmYBr08A
nqS8hZeuQzhFZa50YuLplDAiy3GCGPLqA14o7CfmLjyKbXXvEh+apZIYYl3j42T1jxUlEkqM53Ea
ECsKddS+BWvQoi+trcOML99GGoxgHD8+zAMGcAmVcFYdjWGuNrYa3orKx7DBYZls5rd+9vEIon69
6BABR/lLNI3IKuE+NDNs0iTE0XzMXPKUnRKpLFtJqF/rLAu3Fb12Hg7PpjHVV35TpYeoK1djbV6I
1GYiNNDgOWxBuDq39RrVLoQ7TWx9V9aooetqPFp5jCajsDBl9SQIeIoHTNiUN5OlkY6PGKQMNIgR
LC9bWOscp415yoLrrpXXwRS21N7AxyB9BK/nKeJpN8Zm0iGkzfOAJhoCkiDVb9i46ksHUNkiaMSw
6mQ3NRjZuB2vvEaGmGt8whp8+lTr3xpeD/RMww7jfWL224cwbHnuwSnvWZKYGY/zq0NQLRsFP1YS
tDU0mBdwzzGwM1OSbfMmXosQcnAWzoeekNtxibopDIWvSZliltjQObjkqaRaHX1RXUvVvYz+wNkS
p+7OKMqiUJ3MKUL5EjZXj3Rl0w071f9i70x2I0e2bPtDxQv2NE7lfe/qpZgQCkWIxp40dkZ+fS3m
fUDh1aAKb/4GN3EDyFRILnejnX32Xjto5W3gGcR2yvY2SYVfNNHx49zRzeRpBpqAuFSojYs/1942
s82zhyoU8/pt4Fgja6RgUQdhHHXrvRRJSgkl7gDhTQ5BSGMjAsIGaQfgQJD86tqYOEyO96CoTXlM
5uzHH4P50hgYdOKhKnbjETNQ/CQsd9o7jcFkwE6HkdrG2AEKpugKawcymzCgqg5iKHbkC05xa37w
sMcYmLorw9LPVuM/D5YVsBmqmZ+MeOd5LEtavAYLaouJQFKOMdfPmT24zA08V1M/LvawON5MrChQ
ZmebaMgcsdvDtmJTsdENR7LmIY29MRl+KnTwlCJ6Xc2Y+q7UKMg8DftkRAfFPsO6rmMH4tTmt1ES
My56/8VyTDQxWwiCflsnKmllyj3STHC02UOzL5yT5tMqOHzD0X50dPg6bnysBzQLTQcppzN+UtC/
ik3VGMN6GVVFRc/Cpmh3AfjPqJwSUro0QsxDfgykcfONoOV2O7fHQfkCRwIcXRFMxNrJ6AdG/RhI
/cfCZ4vdIzpIPWgMBy60O1h3fQv2rpT1rwJ72cp32vto5OmuF/anQkqJs5w8NewRf0Kfy2JCNHLG
OuQocRkwDu27CncIlqyP8FsP4i8HADyuYfobiB97pqGrDxF6uxA3lchCOI++BoRYImvNRJyi4jvI
FxJMstUytdfjNKqdHpSC1A45q1P+72jADcAbQKw7X+B9n51yD+VumYCzryLpv4eo6S5iMSTP6h76
FW1gDZzBuigxKTL4BlwZcDnvEAf+VtFgbgy/Y6cnu2EderCX0iTmTTC5tExARikIUdWWGI9DBLvI
UuomK+8UgMWZuC4xZFvGo1DA17W7GQzMYYwXM0S09A2Dqe5z52IqzjpHAW31Qc7hNrNOFYr0yU/B
vUl9xmG1VWXX7Z1WVwQiWzjgMxZ2vZhL5ZTM27pKUOU5oMsOyVTE7bYKTIihqOim5cFmdMuEz0CZ
rwYBGG4KzPHVAIq/byZIVf4wRQ/B9NxgO1sG1sPM5Xzb+6itAulgJW19sdrikiICPEqnee+NNLwR
4xV9C/6h+I3Zem/PbQsNjyDUYBUEl6t77zSCQHgNBWmhttC7GPrEWVVjvslpy800jDFgtwT7sXfJ
VVtApZK2FRJP9QmTKVzsMbsFEXRcWHPaEIVNNTkZK5S5+M1BHnoISn/GPFf9pHaqjq6z41ynCDWY
3+cKdqw/Q4eoyRQHkrGxwrtXaEg+EjTPNhfkBB2a5xo+ORa7uIrd0SpV8V2OYw353t+n+eSt7Qbk
hiHCN0/JvZXM0ZnjJjvpBqbh8iczENFZG4TkMk0t2ayr4dS6mkJmo7ZXWzNS1ODpgteUdXXs6fGJ
R8lvy2fXW8UztSJ5neyreuEQ1OqXJoh/qnqyl2PbTkeH1QiX9/qcti2viRGbRw9kx9RYQHhZPb2E
Tmvs2dPSpSUA9saA+fw0RokKXELVmzoIDNrRwg+a7bxL1my1B8wznfJtBy13sOXw4sfxY6Yf48B5
tlrjgOAE+d8gYCub1ru7lA05XDcyYsMUFRd6Z3eCDbXrfvoZbaquUxOWbnG3We6LmZV/QLPNHH75
l+PLbh8vKxWm+yTlkVIRzuoDRz9h8k62Q1Z5j+UEAzPhRjaOFCSzbGCw0Y2xMj2vO4wb/gP72WLw
SiTjvi6vTS2oLmBHcgizmvoCfEpDGaar3kPsS+AKHqIFqZbaY3urNConz9G/bnpVwvAvsckNqst1
eynYZs+d926GqX1MTPFYx355F0Ef0XILe2/5FrzJe+tK6R9cZCp2MuBSqaO3RnnLFq6ldpLq1E3u
vgvRwXsXBI3Vv8UkTCc4pqcRiLS2rB8jrCBWezANl25Ov0vjMyELsNMYL34XgczOWVsowpGuv/Xw
hmpLtReey6SJPQcrYKf9myERkadk2ey0T27t29dyjJ58dyj2tgSO8e8vGM7A93Ub9KyE0AhKcJd9
34R7ZDZ18gcTb5LTPHYCzgV5vJdsHghDxE1wikvOzYAfeffP3mDqL5B4Ke7BOdRKORzifKrxNRnO
YUqrd6rBIdCa/Xdiyi8v/9u0068yor4mpDA8U1EM4Ts0ibdy8MY82ycrvrW80agmzHysf4BVyoLm
93/+kdlweCZCh9uJNeLF64zXvPah3C1WJDnBPAxKEuFM1wT2zGzbiHK6ynyRIlu0VK3rGDiGVT7J
vn6PpqI8WZrdJj+2Qc57+u1VY3lsvdS6m9LY8DwiGFmTV7VDv79HHV6oLopAxZauuvbm4O5GSUSi
TDlrAq5aO/RKtmNQWPdtju3S1d2Ba1zzYmPj5yp+c0NGbjPnt6tKByBWTcM7bgiX4MkmkYxullFY
JwnXNo8xLYmCjZntP5WZfMk8EyRewkNKeej9EwuwnjbBEZZ2PhvtjpPyx5ync4etet3bnb6NATfQ
ha9t85Rv8QUbM4SdNqvOXeb3LyoeQI61yclo6v60MBHjSiVrK5HJPkpddVIx1Aenq51NGRvZrsHk
TAsR0+fsVPqYpRhSs6Ttr3auAIGO+T1vm/YNCNo8OMX78kOUtqHvg2Wuu0EFL/MwJ4ep1k/Nsh/I
vRp3jTfzWA48cqw+rFMlKSkeEE9S5hysXdiuilT2mzbm0IrN4q/pvI0ywEi74lcA9mmm6/sfjd1u
O9YD1YiNxLfq9Sj540yzmp67a+qmFREriYzf4f12jCACCFsyv+Q9gEeY1o5FoCQY5oCgTLSvMxc0
tEt4tafBIhA1LXg9dSxQk9TYP/E5w1ddSfLM8UQML+sY/sfSurSIputsbvjgOxeFZeZYzbxhatM/
q2rEwDaUF8bZOnE5VkObbsEOcurUyr/KN8Ozm7eUkBaCD5BDf1RdhuOhx0wdeGSlShfESyhguqXc
ULpwojVMYNYMY4HnLWj6iwxt5ukeexKxcm6JowENKkwPaZSznENYnjoSfI5LVyGloFi66WlgDnKP
RYUwNLgDHrhqarfE/ST87rhPrnFK0FbiQfW7XqxxP/1IW/r7IbKvVh5yhMcRlSsB/dle2TCkqUGv
h8KtKQwZsa9NKbaf2nl1IBY5U9NAnuLr01RrfoTMB6lnga8fkuopXGrvAsdGRrMtoLsSZKlLs2et
ivh5Sjn8Fvab6brTVwdwQhYx72rfLK6ORAvKOlm+oasCF0sBDbOqOtSy6Q/EJsJdnjYm7FxX7c05
3dbdrN9zhdOtg5+0NogQQkzNs3s4tIxIAxnKuJp+tbW4JNmkX5yBWcTr3U3TpOJQR3Z7bjF/8Sg6
Ejg3XszGYWybzE9oNc4mUdnRLNnADbXJ5B2PUBmaNzZYZBJ5eTnMg99GMh4bv4IbW6PrFQGXj1p1
yS4cus94aRmqHT7htVnwVYKGZ2E4ttuBQ35p12KXPZWvgZt2B9PkrwhitnGmrciZt+GZPsLqNJuv
db/gN0dyApX1XsTmU8YPEErLQRSMAWt7wSFJaU/UGgZ1EOQV0QZ3a1RlfSi0wo1QVJs5Y3OokNQT
lLFNxVV6eR6rUO9KLX08Ts3R7PrjP+/4LozoWPMhLJe2tywFBmC85XDOGnom8XkgmRqieLACNqyq
CFIwZOhcydQ/RBP5KjGM3gbE2q7zYPKM+EHAgVT1tqtql71CM1y7vLmNjYAd4Dbfgq4UmYUA/ngK
moFS+38+hHrygTsqeyFZ8G1pUubsTYmaBB/j8nP4ZmkeZqCP6qn1+TNH23C3gup3P4Wvcc3Sc5TE
5vkKZ2nlxA7YFKS6GfdEC0ggsKhiYpxNynDkSDzAdBGQHFrc++p7CBbca5lI2rEBTo2EAxbdRqTe
2i0M7PczN33PMlecNPmD13ePdjVyfE+8bIZXCj4yHQEZ1mf+MLMvJ8ku8izbeE7cX+MOS/Q/60Yt
WNPGOIZRv6qTs3A1ZEkkNipgVC4onKJu673bosoiUee7olheMQgotoOdIBoU/2okmjWaj7sVRry3
EIoQHkmcTv5PWUkKo0uLWgFbqrMb8Nupy4+6N61bG8rHASbxdvLbg1GpGfq+IUhXoJU0mshc4V0M
qw4ulmN9osRFPNoxdOCvNjPoYTK+jCM5URaR2OQBNqXLu28OPkrfUbcuiJuNUwIMS+g+qCKaevgE
dWBGS0Sn07h3LLzHo8ekNC3703H8ZSxvdGWU16Qo1XZ2fPp3g/AeOwSRtMPCNfFC/cTdMtuWOB3P
RXzhicx8O9ssOUpbA0icAcaAWEv7fNibzQBl1MdtotxHw8nObPvVXtDCgYEd17onpnnnmiwte5QP
FT6lJt9A4swr06+sY9aQLZkVKYLBTtKj6JNLN5J9CKTzB4khOERdd5wUc/CcQHPLYMqy9hUIQYgL
jnFBeKr4rHoVl1bjV7PstLVbviUSJoTVYCmudZRt+zr31l3mgYpty3JbLTvRzgyP/ahC3l6YXKOQ
CUkW05++wohV4EPPXABEDPCk3SIOD0o+8APV4bfb9TO03EsnaqLlg/HdlT4ugu51qmL/yTejVyxK
zTVMTQNIekebb0qotlYYZ+wGmAhD1mrKATclXlo+dg3WspTygVZx4IJC2A6SZpoykK9tgqG5HbBG
9JP14ULODkWTHaLMEaeaSBiBiuaV64YfT4jCSDEbT3867QT4kb+nJXTUZ2a1q0xxL2ruWONIKsGb
MIo6RpZd/vlHbJrFGm0RMMOQ8sZJYQD6C46iAm5yQHI7pVF2s8K53yob39A4RR/WSEOsL2g4dVPv
e0a+eKhAdHS9zSWCrSb4vtzbh4YBa2JpSMDrwGVGLMQS+5dLH/vUt/PFoEI+iXxgZAnnMPzLFm5E
ybwKjddx2k1oVOT/+I7HgPcKHwysN3ZFSEIHF56QzxnnBO+ZXhys0Zmuntl8uW064Za3BFqFdSoi
yOVpBV3fZBz1aruDXi6LUzQEeud19jWIff6GmQB0LqnGKGeT5GsL/y1S80eU2Y8qCi51WaiT2fnd
PYjUX1e18lOZGCwcR4V7nEHfXuxMSxzpt21WNIB2zkbOXXjNsEnkDlgq1XxmRv7GTCrIxGOp7oNV
aBXlsRbhKcl8tQ5HwIPaxyjSpGG7HQsJyJ3n7IfjcLa7jvFeePPLhPH5wfL0dLYGBJGSvw0XnfXy
PNYxxRO6PTgqxkmtyXGW83IhToajQj29FCSZqSHfF9UgVmoge62jn0ilxetsz3/yKnFRu5EphGAN
HYvt3AKYFra7tyj1fuAo6bDQ4NZ0NtMoh2NZNsNx6CkuLEVIJVr4ZwoFRg9uQuuuhoEWu3ZNpWMD
HRe6o3B93jve+E6QLNgWrj7kc0qmKinatQGhnsYC++JYiOqVVt6z6xmAYXAlrpuG4yrzn2eZfHSx
Q5JMUD2Y8LqvT7xk5Zp5pN/CP5gjccgmCdcq4xmowCcox9RHLdtXVUZ041RihrLwrHzuC76A2dNM
NWVwVbXihOOzZrO0XdZlmyaBylBjnrw3nZiYNfV779m3fJje4lZvLMHVV3ZvvZ1cu9lDHgw0tJPs
KUmgbiqXJNGMHPcg9mmwoERDOa2G8ausuSo0Fs8Rf8SW2ZVPNUrWehhBuHRJSFeNBo+P5varSyy2
bC1Dm+sgxwR6qf1ovhH+QLh5t6jmNhMEpykCOMSbY7V8MymXuzB3efo6Bd8lCR7HCZ8LJ3pWnU+o
iupxTdRB9A780r58L/LgpmdX77CXagJiIemqfi4AIEQTwFzgt26inm2nv/Z4DulHyJz20ld9vcr8
morXJAAaYWTxxuV0xFqFcSrtm5+8GfJtIbWxVVF/6LU8M8NF11h1BgwLcvNjnIGUmr/rYuSd0yEw
tjIGuo/cI00LiG/7qxoRCuulPzD46hLvo5SHZszETmrMBF0zTJfGN6+Z6llc2AG1udN37LNtSIvq
1R0YqJpyeAxJ6B9yMVBWxnaIO8c2KR1sRDQDzMQJOnsZT4Y3xWvSe1z5Rkw5SgfPhYo+/NYWfFsh
e/Ux+Ta6+DlAHMLCLsptl8xcs+d7ZbosZ3t6IJyKvF2ObKRb8oaeyXMZBZkii7aq1tx7BdUynItV
VIIdg9KnhHM3Gp4F3CYJuiOdt0s9Qx1XYsWOljsIQ+9ko8TwA0aEsnpDvIBFaJYwTBWfJK63/+D/
VCNTDNmOovzEJHh3W2Brsc8Ks8LYT1nawEc3bK9tkVzap51wRrxO070s9VHGEgb1UZ9zA+SgzUg9
D9OXTQYnqdw3lx7BWvTEXWyQ/z+ubHeZkb44c/bSxOa4+g/TRSFtCp/RGj5brtGM69p/Dp3qOObp
S8qi0M69ax/N5b+9hv/fZv+/8XsWgM7/YLOv8qpMvv4vi/3yX/zbYm+7/7KwyeOxJteJ/9TDOvVf
BB/0ShH6nuu5Fp6W/7LYu/8SDo5O4DpC+IElSOL/H4KPG/5rMeVbQRi4wnNwXP2/WOzxhzr/zWqD
DckW1kLvcYWPReG/mewDy8D4IDgck6i7Gbo7ZYostTBPynoeajAfruGsbLJ8JQFZxsdjDhrMyiQZ
QsQiHna9+tOl/dpxskNm09FBJG9ih4lJYu/37nbIP1N0SP2YJ4dF9Uxba+VgljPBhGXMrpmznuZf
AaUdxjXyBxJsFpydbotvitwn6nQP8qr7qonupz2a2GR/0dTUIQYQAM34ZI7udwNjJy2izUC2iseE
nPH0ZO05Gw4tf4PDmEyadugb8kG/dEfIh1y9qJ9gkBEhe/pVxCx8QVZooJDPSYl0f3JI/wXoA4kV
rGrxWLZXMpr4IR9soCm0A1iw/H12TSE4+vrRq/ZBGK9ZlwceWTjjV5lfQkg8MS2n3GrWZYAhKfio
+aJ2fxv8p5AnkwO39gsV/sFNt1G/Z0paV157XBL1pCAjLDTC5HjkCmjs6HJglUTY7dCan1lwSjmk
LEUnL4V07PQRqwBzHgfrJ2j3HeVNda3/Dirkjuk89Zl3dOVFsi7CIUukmkIOj2LddeZREzCXG/xS
oNF6KpmYBl2awfmleRY+S78jEYQg22Cxdt5LRcuQ/WnH7Qr7bRRvp5H2RcGZ3J7s4DIQicvc96T4
DpkqwXl6GE+SkOhSNe8LY7xBsUjmhnslzjEC5GYIc1iHhzkKOO0RvQm4xaFEH+R0BA0zs46OFPEC
+5H7Cr8EotKESlkapq5Jy2PIq0sxkGzWFfnxgf6K5xHjnk9ZFIosmeP84k4+ud35SBXOyozYfj1P
lB7mxfxPmDzsjQcfjsOIthhFT2HvkwPugSgwIWV0rq15aDYpGkzCaPAShgxmryRi7oPsH2fnFjo1
Jn7W6pj5zf6m1Vmkw32O2U7VHbiHYjM3t5qyGc/NzsVMabgipSzmQ62qP4PcBsF2opzRfUujR55+
SbxV6mAAYxW/2KAVGAsG9nOKQtucjwj7Nx6Y4ROB+o02gebbYtemM4DkV4F/usE0lWq9MRcPI1WN
0UjNRWicTPAGZVk+JKzQZAo91FlKxWJYIntVy7uj+pXF7qL39dpkx2JSPprFX6SD/Z416hQRuUd7
Em9pA7K4LhD9tdx7sBKqt9kPNs25rP0H+1PE0VVqzfUF+0fJ57XqKVmh7QaGUm5/qfnHsV+bnK84
3UdwkBHtEE0DX4n0v1DFzmOlSp18gizyIB0EPNWsxLwpKRtnzGoJb3fj+DJ2f5wWF2yp90PyLhAC
XI3mCcOjCtS74aK0ou8PJjBeC2PaLSlxEZRns3npARanzDce70aE56Edf6XZsau/5fw7MGmvgXxJ
XU2ZhL9zihOm/GlYsuPuMpHKh5rX269eIxxDKp9W7DRPI7SFzAxAPTx7Av88Q3xt5Rvk731eshth
a9iujNtkXURKpWFZKtrTkl1S/AycRAHNB46CFIotq6BNrvYOWf27hdokub+J5VbtUjBghdSBvKK7
YSns1qb9mJoUz1Pt6Mutnq3N3M8b18uBC/cPsYKkNBMbaQPWb8RgM4VERtWmcYJORitAAq9BJ8xh
+FHSAnk9oFnIr2DGjmCFOvk1OBs/LRpacWmj6vLY3nQB3rzS8vm4dBmX/JkJKfAtlywjdIORCCPz
soTlRTUOys1xtgJ8FmNxdT3/ZWQzsLMiBCyvmu5KLZxziLDYkQbGvT/u0k6BbUzvQIaoS3U0aMYE
/WJ/mE3yPSR4CzxDbONQB0fbS94wFYW7NDa+QwD5eDC4P9GL1vrRa+FlalcGqlz7iom3ZANhDsVh
Mp6nLE1oOyAlLZB5Sjvd2gNY6rwWBvQAlo9+wkGu02Zriv6v1c4M8AX+x9rLNGxggT0tTJ6heSCC
AugoiPNG7eB/VGz3QxxfXKDlZ9BYmA9NdodelfzEKQgHjvZCrPqMRU3pNXcXaqYc5hUZHuwTke4P
DZxyovM94bShKYBD1owPw9wPW6Nm8e8+2qRTN9hZsaUdUchgPiwMJVVYa/DHP/Ce+tCtN6GJP07n
lXkgz/m3ZQnHK9gsm9WpRy+ZyCQ3E36Trtu13nsXfWqLyUoQre/ZdLjMD7jYMqQurf5Mm0AZxIoh
0M+LNyGfwuLQDeNBpibL9ab5tpMODiXEXDd2H0OPJ7jKjIUOnyQUVev+2NfmX23x1APUIOsIwLyJ
171r2T/ImI6ILfm2+srq+YfDrXnwLSWIg8ycb3IErtyAL6dmIrQ47BOsUnbe9TcrCoYdo09u5tMu
sUn+YIkbNtUUbd1kxsGILSTTZXPMaTFOh/G3TTppU8+CX+yASAVLTHTFC/XyORt2m+cXSGA+0V3x
1kb2K4AswBuNeJLqo9Mpn4CQYtwE74Q2OZO7QNKLxEnijS4fDle+NwUIa7ticp5nMHfpIF6NAe0o
jvl8hGo8BJBPpTT7U5rkqAjCfouDQF4w4Ef7aEg5ALvvBvH/aLMabXlxIAnjB+5RZGNiuFam3qAT
5BfZWO8j8TiK4iPuDFZxyAks7aGmTUj/JMBp2bTZMo0+PdpC59d/HChuLG/RTLFHal1Vh86Mfo36
oQt6hChVAMDxh/SCuUHb49DiPYofHtMHm9dSVmfHGWJMB1O56TLmFbNwn6c48zBvIoElDo+XJJ3x
LkzJIcz9Z1dGNEErU5Bsd68jo5VtLmCztGZZ1sIEGIX0jjifUFu6Llu59bjXURszl/I85l9D3lfJ
cI7S+M0PMrQrHG64Z1Tpd9uZZUMt0u6q+Jd5oophm3YOdqU55Q7YVEd+unSbBn/CGV/tyGzupkUH
kpluICJK2zYczyEsnMtQNQfTpqMqmV6yNPxSvbjadPUaCkg3/kenS6utRaKaWFF7FNGAu4Y+GrY5
wKGIyVfchU5ejpnmXOLasuOdTsXKXmo8DBgcCQyIdRO1EKLwfUms5PPB6r7mejNaJ7+/LZ5jB+9a
wYnp4ckCWn5zl6rrX9L69hHBrb9OeAvlTnFpyPkJZPssimcjCbZMFDdFQVga3Ir4EJcALImZYhFL
r1lXX4uB1Qb3JSA0OPzXvc+W8tjhNK9rechp9gNfPojnCEbUWJZ7E8xdZ7lfE2VHOtbHwfFAeMPU
RuuesA0W4SnvQA50xZeBqdCjE0gg2YbgQeiUtBCtIhaxtfWuKBzMsy2KtsmiTs2nFnQMdpXVwHSc
NU9coYNRvVfcXbuQNKT/CyDTJoLZbJGTf7DVva2zF79DXOfdbxZHp/E3/fDZDupJpqgihC+ivZ8X
5L5IeKasNjGqdPzaKZyeB9flSnzve3Pru1jYRnkORmdDt7E1P1Uljd24T13DPLnmybeqF3AQhGDC
8A7hZyPh3WXW1SOG1TafZBTXpoWKgSAdervZCI+mwkk3TNcUp11inSmC3aO52tx9ql0NS9D0PoY+
W2muEwV0KbBLWJlPQ3k8cNfWYu/W3Z1sx8riM1SGM/XDF4mdv5hvEWrc4NFTBVJd/pZUe7v8ZKqA
Gzqy02/Imq1srBzCfDQztrb0NkQYrJX/LTGj0Dmn+V3lmrVycREhAqv+Q8SMkgQGrpmuk/5vb+Jx
mhmSVL7RPMV8AJE+9IZwk6pTHH8Naquju1l7DwnXzhz0CnZil3oLAVPuvd0pFnSNfpzl05K76PtX
A/dsaXmccm8RpvmYG3+IpEnMiNDc8oHBbU2hmrBBdyS3BopHNQzXVmUwrNZJQZ12IPYte3GOJ9qf
gviGso/Z3d1FbkA2KJ3f+gHj0zJhuFCcWAVXEU7OWmyC6kCc455Ar05jvgvb45pKRgoJm6tLYh0G
X66Ec429u1Xda1IdgFNNfJLufRh9Ri0T2NKxGa1zSIOBLlZmQjjAoXcdDpefHkdNVx3oxJZCYDX+
8RO6EvxVoR5FwQBAi10a/cpktrZ5Petg3CZNy62XTkliwA7O58mIVrFZPw3ZRGX3dXD10cEma7P1
Ldt6kzrlwRRyY7R6XUOj6MSi3b0LA1cYFRnGKZCUhdKvoLsPnl4P/YTJ0L8vnSFTd5XgH0GLGKl/
zE3naNoXPozp0oiN07opWG4X6T4pPigltqwZle1QBY8L/KIhix7Gv/yYC8HokZj56tOQAO7T4N8c
BSfJNuOtFbw2lIt0Q7NNmL4aW0II510rYFvnH54aXl3KsrEsbavpZlsjgHaMm7a80dKBRxQbsHNU
kFl68xJjCVIj99x51/sgd8Q+GYYXO3hZLCrsteGgos/5e6dP9wbJuLkKWaG5h55dUl2+QMdY57BD
cmS0uaQ8OUg2WtXP2GheFodKMv/WjXe1meD1NiRDOwEsL/Up4Ft1rLeIU8KFr4lBiDcRzBLL32dI
EroG8oFr2uzX8fA0dXjzjG/U9A3eOT7VbbSWTLALY0+rfl0iQUTJvrbqXZoGW+VjzvFyeYup9CpF
cdcuT1u4rbK6lcXnKMTOj+vDYhVr4iWfndJCy9FuxSRpqbpsFlYOXbHF1kpvsf3ciHkfwMcPaECZ
AT1J8sKst/V0MCCKTJ53tg/KV7vQnY/Y1k6zD3KjMFY5M3xBQmNuqmeOha3RtM8lq1eTGp6iJbQz
5W8mreOuT6adB7MjGvq3Srh3bxOKgq5Ok1Wtm5g9ypMXvHgt3bwQ8KcEpX6aSDemMSQodethKVFg
2Pr1Lsp6Vuw8dSv7MTDPFmlLc4oWv3XykATur0Lw0rs3JQ3qeiyaSV0I8MECNZkuOCDWMc0qqRvu
mjDdEBRKPO9V005VFB23STShGLeuD41ds6MOen7F7RuuG6LtzUlGxp9JGPBticWU4jEJ5kfBCFmw
xjfEZ2o+xqHaeNUf7b+084dKnWMqaFs1X/3oJ1/6ulyX0z7k3GhXdTpsnSYpV1VfPQ6Je7Kmn2bw
2FEgWjAlYEf8rlN3I6bqUHc4Enuptj72fc5NW2jCuQo8EzWDEjL0YCnYXu229fT7JDRxLewV7S1P
wAcqzJoBPV4TUGkPkzJvvSUnAfFqKG+2F0P3Cg5+6K8d9ykp9uZorrAp4nS6ItyvO+4cg5NvIveY
l+b6DYf3I2u7rVV+pqFBn2999ZKau+9fHb5PuXmKoT8P7k+HclTWt8oZt0VEq4Q+ANOPyU91rk2B
LmWYodwq54ycsm5MPPy7THBdzQXZkt+EWza5kmfD9T4tGV6jmH6CgGrG5UmmsbI6T2aDKN2619nb
e6S8PfLFHuVnQc5gGpMVpPTTKy/mj+KKneB6H7lmxOSP0cyaioKmnm7HDH731vLovKI40cwgVVfl
ih030YrmGOAQYfl3rgKK+ugpQyQ3xKPPAeiu4KwTrP+okr1F2OefQJ6sz2blUiCYbOroRJiZn14+
RtPdkYoDlsPVudVecapK+xmHku3dnbl6ro1Tlx4rtlt8KvjIPWE2ZA/M40f9DmX/4pLmwHfGqszh
qvjTyz0ckIdKTr8HWES9jNYRFvyEiqAEBrdh289J88pzVKXvEWDU4LfsrkH4UoDEm2mwKErrWPSH
sCh2yGt+s7ZoHGzke4JqQw6CZ828dhq9j50K5kGOXaLdlg7RuiOMx31KCU74LPwtxA9B0RGvP476
MDq7dx9L57wMmt2qjJFHC9avLBSnZ/aQlB6PpIRHfzfxM1pshOqEPjo57gvvajHcBf1Ikyw2qYiJ
dEgvCQUlfmUfnS3GMBYPK5SJLuPwoBGmlsnbgFiVRPeitx8e50rt8mTpAnnpcnFJ62atZjoG4mfT
PgnZk9z9COme1LN9aPtxWwP6CZL+wqfhwZn+xIA6OxBHNR/OWfE/zkFbmDhCD1XKL4UyEzOOtmO/
3LzYdT5q20VQ5k7ok4POHrNIb22uKqUZfuNSwcZNpTR4qsnLcIG/WxE1buP03VAAmRmb/+TqvJYb
R7Ys+kWIgDevIkFPkZSXXhAqGXifyATw9bNQfWc65r4wVGpVVRdN5jF7r21aB9rKUHTHjKSKAcNJ
AaOFOJoRpbQ5PvXpj64PKz5ucOBYxenu2glq7F84gkyThO/r2HPysMHRKzQWPa4J9x1F35olFGaA
aj0xYRRFQzt9yeNuN+FiNPDONcwk4EvfHmbyftOqJ4W0ZkxGD4R9oXIAH8qBkEHmnPkls2CXpc4d
8kpCIum8k/o2iQ4IN7+FlrQs2dMB4foSYia1QvdAAfebQOEzoh7CzuJxHOV+u6p/ao4+rqV+ckLd
2jAbombt95IfH0ilkYQlBfBI6JUDJgBDwbDU6Q59QWA2ihyJ4pgaB3RmVF0cJCMzGPh0H5fJeTEJ
+cMFdcGhz+/tgB8OyPjZyIBpXstYxRYh+BUQawx17POUC5ZycpfxD+4V22BwjohOpF8hULhvyGlK
kCrW/rfPVm3CjygrxQS63drltO2WKqr5LcZXjBU7BJLYgMzNwIQ3W7QeQbrzBzRkOM34lA6aGXZi
oFx8n3kvd9MXUKAQ5fROmp+xAZounplMlTuv3Znu2uOuhnyNGQYVlGhfNWdrETKbsSRoeBrG5qxm
/Kk4W4DmoWhcZak4j9klnT69lKAsGGfL0DcwOC58zhtOdRnBXx1zuvYDjhACvHaGc1Y4KuPpoMRp
1khP9N6cMcc4o0jL2gXFRbh7jV0GGMVVNbZY4jDAv2RqWqWSd784lZQYbX1s3LNJPnlQcwX7F31q
OTkPPpV0I9Bx2i9Vf4kQdZugY0X11DgfjQzg75GSk96zQeTfDklRIMct8SRddOmEMapOWqeh+LLT
l1mhWLfUbloYKcRlyn54t4JbjPHOirOQVoZiZlu4kCaRh5neKUv3uX7f1k3IQmcmGHoE6zAwUiT+
IpwCbV+eF3W75c3rCVsRfnHGszGgi5akSe3D6GrA1xujOQiXSjz7AjaM+S7+tsRPETz1tFFDye59
IiL5M2kf5+6PCoatyimEDCu0GasBE9jp45sbgJkX6a5Nj21y0GO8AH29z4F8GwhVMk07QTcNezKv
TBbGTrPuOXuEx6TGfxSqveOiwwkhU9535TqeIe3xDDioHIg+rd1jMf8YcHstTDuT8QmW0UKOHuNs
RQijnHbdmnKbEjshgAtWXhNKQ3zU1KLLuFez0VCgmJpJ97bDwS/Y8HwhbIba6mN/YwygT9s5r85u
XiwvPpKR/DH1nENmtHv8uobLjmEJjgbDGwlYG2oTJJ/QBs7uxACHtMJ8Y6IBpmNc+dCW2QH5YzjA
JWyIsSGhDSDit5NNYeBXR6Gdm/ZppJKxpmE94h8w0g9wdqtiOFp+s8GaNFGiyunaW2ob6d0Wacwy
UuHOaF8laQuShF5pjMdeNucJOF0ZsL0pL5M/PXui3UQt+XwzOP842zFgHAJMtc3BIYomwNeYGO+A
vKnTHpP87BOiMJfpC2JpkN4wvatbY1yr5ske/8i23ves2q0UBDquBIPtTBcfF8+jJn6bJpxaJC8M
eU7sPvEK3CL29jgMQ5c4aw1aiTG9zfJ1wtjm7Yy3aPjySgKNAdEiApHxc13bj8UbQTw9Z9aoQ8W1
5TPsR97O+rVp5MpooXeO80HZr+hYw440xXnApjp/KiIJRO0f664/SSaYaIUwW4uQMe4kdZ5xLORN
+TQnhAGBqMAh1L2P+vxSJEzHXO50EiJU1e9ahkExZCRzep9rxLzIMiau2gbqso9EtB7/4DK6t7OX
SV0Ccz0ZLlKD8tAadYiyDcTtq5WxhXKLd8VgzkuClW7Jk48yRsj+sXAMYDnDAcEREypX35ikXZgF
cWXZIdbJ/svTvXBOmjgGfvwiqfkdzkU7eu1oCYaxIy2SrN8q49nvuLTh2XoVc27tyaH1zsjmymRY
jcGarhLmJ+llbOLqJqMZBLWJjEuYaMOqa5Y/+eRW9QGjOpS9cTShTIc0GUUUO/5TAuc20G2MFeXR
YOxt4JEQ7ps9JhSQyU55/lkZ+clxbzPIzrFmfEnzp3cRojyybf0nNwBp6b8XWK4y93nqxq8BfXtw
X4G4tAYyjF1yS8yQAetaykMjjuQqMaauiON69tIGMftzcBRNchkSktfaq6mPq8k9yhYCj856O3qs
zUtqJKB3rWdUEgZGvIRPJQUdw2D5m3v9pc+rbTIn2wxwUsTf7vTuTQFL8NiDgTTH4WGtZTKvm/a7
77MQGvSxo/eZu+yI3ichp9arsmNis05ejv9Lxn3SovRhxg+X8iRktHccHEBZsjJtZtktny5JGgpa
d+0wA6C2OpoRebCZ5sfGOxfhTn5xErj9Qzyc9HmbyssYPKX2Y7IxuHAN+c1NrOHTSV+8zoZMvJnb
16y4+dkVPNBKXMvaPLYErz00OJSSPfL6/tmw97k8m9Eu17YZQhhCpNoS5RTzDxf/8fyVl8YG9Ove
S2wCly2wwmS3SBitCdLzaWAWXpVbrYH6PP2Uhn1w03Zn1D1BZdlr1o53NbUTmztGut5N+VfBgKNE
S1YOGKXLbdxuFOe7mAmlXXQEzUQqLuyMPvuE3XnntPUGgdedXZprDwG6JDqlIZTLdAlHg7M7o+9W
VZixiW9ls88pNtgbHnQWDi03rIl1txwLXpvHijdGDGjWjg8pyp/lgq+6cVu0ECAQqvVjsbeid23+
dcFVFCiMLBpn3CRvmN7CuccE37IUJRqT2iqP3FOKMDVhJqdqVo7jwFDvOvraZ+w9akH1YJs3W5xs
hTeNFXdfM/l04W+7r37P5KAg12/euBZ4lWHBbU9bx/tjGruBaT3OgDWRO/r0RjUfQtl6tWpY+saH
jhGlHz5NJc+cBTbL5Gamc8vvRXapaARMziiPN94c1dgDcTb1DT07bWyjPpr800VcmBQD8T6c9WRQ
xIXYen+EmdAES/6x79L2mHYsegy45+0t9Z9rAw0W8oBQzkTk1PiuJz675jH98KL6kgK/Rp+QFQJs
BMCs9wrXiiiTH63lsiyjaxBL0MF/HO0QDDA9zBfYIWdRR1vBe1szf1Rwjz/2leobeUm/6rX02xuK
EPP/LmNJq2WMNEe236DBexv/ekI5oW11LnT2qUs4wEvlPcflb2Unqy4ik7Z8y63pkhnG3cQtaUON
U4WLlLinN3+oXUjUBGbM/b4bgemDpeuIxIT0vZrtL7/p730VbF2iGcDyHHw72AeWt9OHky+fpyxm
dMAshdoOEKFb/joVz8HBT4E/MgMGSRsRae9wu0K8EjYQK954nYW6g1obtQpJO9oTSgxOAI5IXhba
OdXcOe4A5Yum1jPWQ+HuVHHvNTWaejfbJWjAzGHEaagOMeruQUse+3oFlPcKI/DLxBiEHO0w64t8
W2xFUxzmpr4zdKZ9LFpFCXrMD23hbTRMZbLLfjy4hIrGvpzKjTP/FOgx2/cMsHLmy4veA49rfmCB
EcJDMiUrI2GPF3iJlFIvjs+WGx9xARgH0UUFtdsKotfJvGmejZq4PvIbSeIqWMnwr3gd5qelYWAl
/y6Aepn5RFZ0MPD+kgy9UCknYHZ+KaN2OMOey8DaZOC5H4aBUV5kN3sn+DYgTAdI1zuxeIUO/Wjt
VNM/L2p4D/FBNrwWub7Na+3H09Af+8EjRovVoGcrjPKXNNIvtQJ4Xe/tKIMoRwpQSTSGQCyvT+WJ
wfvRcLSHzJz2Pbb5GHdQbFI6MhOoG2OLNFXvFfS4YY/x0fquGfoqvfiEW7PmaXHB6HVU4KbxiLvh
iCLg1A7d71htihjhxexuG9/eJz0GZUdtY0S5tcu0B0NL0pwTCZABbooWY5/2GPyzl3SUu7eGCDnL
sZ5QF3cm6FD/EIwGLg1OGieQ63Tw7oyebWw5a6t6wVp34tEfhy8rEmsCy6FXgkVosgdE/BAFKiZ5
7c3jWpssRvLqT2T37DaNI/rPF3YLD0EOonuqIhJlYZ8gtCqHB/QiYWeWW8ivG8sSsLjdlcmQWjMN
WDDqkHFpGdr8BAH2rsYxdKfpnywE1mXkrak+9w3aIbaTqyK6KUVwZdpchdGdPA9dlm7sB9nTUbz7
Cu5ECRrc7yBrkacMgrreNSCBmH1ifqXhLurQyd2bHIaNZ45XDeVGdG0hj08UzEiU5GOeBO+dH1P3
wuNQz0ZhM3dDnzUo+HrfIDLCnjd/behhSuvY2sD5EGFo9skwxcdYaghQnjuKzTQjHOUOR04z7DSH
LTPMO7Zz8/Qzzt+Dpu2pmNbgMIiHR+xj2t1dLqsfGyt/pwSWlX7fU5KRA0NZorr+BZl6GJNcMvXD
fvZ+feRLVT1uO6DcNcqjCpK+282wqcqwwAE+S/MFkd/aivz1WBV8PAPvakhoKOSt5ltFaxLV4gMK
2C7JjLUrWLWSlderXYbTXlXvvuBu6hhGx7G2k5W2GmpseWlYUgmwKFG8OWDOCw0rbX8TIjnjCCMD
HQK3zd6X5ho3qERqEeE/TeMybNC7RkZLxCVLuFh74dBc1/nVNZa9s9rk3b1jz0cH1RnKiyNPyL0R
8eaGD064X5EOlzja9YbcRMo7mmkcOma8MwL0XT3YeEb0C3k8TlG8iWZjY9QpTZgDtXtozOoS4frp
/vi8IQeUgcuqiEk7sqD6rapfNIUAXCyXO2OFVN3ICwwV+i0oYg8VvXlEFG5JZ1ih5K9vLWGbgyuR
Rc9wvTWe9+YxG6ZVX1cMEN5t+z2dKUQ9WhF97SneUlDSK/PIkuEFxOi6kx6zuXPuQS4f5BMeRzT8
0Zdp8ymux2aX2vJBy613s6dUsip32zODKXU97CZxsAQ+00G7HyeqooWolc87PYXGRK10p2I8mBAc
bIMn3qQLZ37RmhuvIZGja9V9igfFGq29Bs1g8JNNThdJ0qpYEv9yZgjRdxoNm5KmrMjjZ61A0u7N
qF+a9bUNqm2TWCtfzIds/gZYtR57uRK19RbBg2S/NdmvtvbTMEgZUTAG1ZtvTNs4Y9Pdfk/W1sKb
YSQXwf1J4Ne6QS/emU/aaOwmIjNSJ8Uxbu+W7D1vJVKXoMVo32JjzFh7m+joRHk2JHzlJNvbOaGI
aOPs+NFyPuYKt5LcoHvfl6VEmfenCR7NTNs1DjD7KmGzfz/rD3HzYI6fqmIoZIdZQN9hg07nmVUG
gi+rvw2z/wOTbgmp6ChlxciHpPqsE4su33lMSnVMMBxTPp6Bv4XKaraTPzMPE3h0s9Mk+z+prt6N
0rgzsNrYGt4Nx91pLEoMKkEP4492HmtFO4BQhMOsmcVtHKhdXE59DzyeEsZJpfIOdTupRn7wozyM
KIzWaweDZ2oN5OhEt2EieaAdP+aIY6H/U5dAXvoqP7Ogzq3ungPVcR51rYQiSdjNPIrFQBi9FTZQ
YD6a5T3iUN4NMREBxXQd5vaxxQfkjNaqn0z0AfpxkTP6BAkLQrL1L8m8tmtgshWfgHOInIlsAgma
Zd7dcdPgItQRpZcnmZtlqM2ODSeiu7rOkB7zRIfqIWlecWW8qMD+jnN87EnyTmxh/erHI+hX76UK
8I83mtPu9CRheis6ttfutI26idkoeTyLkCp+wOTrgcKi8OVDTI1wV3da86grNqOQYy1PrSrkoNIS
zsegwIY5dinPBi92OfcdsLkB6hW7YqYKxXvlFxuvznC1Dulm6lLW9BxzM8mTd9XM9G5kLbVFqFEU
nAYRaeFjZEHjc8S3P2gRRaMfPEQp0qQgQMSaESiA9/tPnYPZyYYhWvuDAWsq9X65ht2dY8QoNxI6
H9s4evC8+qmCfQvtPt7mRfOa8PnNe+aADvE4JlKEICOXgnKSoMJQN+aDiF60k5Ew/rO/A/MeczML
67e4uI31eKTyAVZE3lTe7N2IGGTsTS2703Kp0NHw8AeihLRXenbxuS+DeGd68N9ifaXZWVgTa6+X
2b6PXgUBAW7S7HXq2cbdVzrvGCZ/bPLZxltHI54eI6mihRhVPNlYwwZT6S+wWuSlfJlsLpsuy+7b
UTRrO2NfJbwvKTjC3NFWr4XbVyGLLVJM8f0oDExtlFyV2dAbDns5LidCLQ4pHqY8ENZWyqxioTkO
mJ0zIA4oEXGgseSqiWmXWQ/hLWe9M1rwyeKJLnjsGT+iQbUoL9mpu0W3ia3HFklyi91fR21gjCgf
TVRJxjXRYZsY7fgnYyC1U3XHPG0B8iBYg9cJDaQmxwVrNpYdI9dp9irIZcQNGmgXmqR6GlG+TPF9
yurWipO1kF8zM7cy09n3o3aumARx/wXM16J5Cv0WPfJ4XgorhoUrmwiYSa4IN7rrJFtBla4jCiGP
c8GCwwAPM/QcbrKYqRAKBstcG/K3oA/tsM5J+9mKxU4JbmYbVd9Dz6wriP8QmkVuPa+r86mVpHSz
5ilq9BH62if8j4QnEow8i1WvS20YO6sl/mrhHS5i9jrHOKaNuz7Fy/1RVmJT18M+cr5gEnCcoMsJ
no0Mhb17Nzoe6zuggzEXP1Hi9s7khM+wAuM4NApAfrCr541h0XynzbogWG1mz6cxMPftt8r5zMB4
BeKeC7ZrnsrmFX4lmtp+v+hYF/hcZLO+u9XJSLIuux6/QGhMEYvaJZU0ktGqbHcWQLla70+pd+Lc
bljalYA9cv1D6ROTxteaoa2Vg34Ds6hFT67esbF5k0R2GlyOvcvUYKZdGrnQ8VSBqsSkE63T6mg2
v7QQGsVBOnG6K0QHoOTci8d1YYFL6RI2+jMkBhed+6FBhgNHaOUotVqw67eJHlic9AW6unaii8us
Xs+nTSKi7QgIg07fcz6k8dB45E9lzh3IHpfVdj2HCQD3NpK0n/sAkBxFPCgDeMRwzTRuR5vRc/LN
WHRVAgoglqYneIPZbJ5+J1nNkI7cQawA+UfZoAKoL1F7vyyQNBYcyI/b9rMuMR6wvcAm2OjE0wz9
iqwd9l7IEUCFjEua6XBawiPdYaV5b+CPqbDfGp6a0eFneFVqxM91uxlkuvYR2S5KTA/Xqv86M5R2
jPumh7KDw9CVKbJtJojNW9bvWyLAAclnGD0YQjXGMZY/ZnRtrhF7W8llp8zzqFNHskKaxpWGpcI5
KpwCgh69mR/IpeLKL9Zad/SiJxOxiMd5X+Xo5IqnMpOHnBY9IZZchXb3BeyCT/i1Tb7b9NAjckJn
lKvzFPxEktlq3BA9iQlVhT43rKUcwob0jYPKdtq5iCcJxCt/gr5bdsD7gg9xR2euOWLjBr8uwSXZ
zJCTTB3H/cFuyug8FLjjJC18Wx0ym8xp+1kftxHX2ZD0hygLk+iYZs8VWCWHNpTcprT5RQmKq5K2
aVfbCGsKBkYbw20wH48rsuzY2taM3BJsiA4KZVvbjxwlg37T2tADAZMaF4uWpfe3E8K07s2I3aMq
vmKq2QH3clS/jOqouxt/2uppHy5vnZkte0YLpEN6cJtPQEp1t7HGZRx3AOe9imMoqFdJomFpvnU5
hB3OPYc4AU5LmDy0J7wbsh7iH6WdsWrKvZU/ze5PL3dx8eEg+Gy/awIn6mCF/tQt7bUWPVsNQhKn
7fSdJyGCEtY7bRgX9OnYXP36wZv0fmf0dCVdK78mDK7r2jTcvTE5xd7zU4OIe7zFXkWzRSe0caIC
ckGfaetuUc9pBN3kLPoYsvxYOuSkWUPCjM2YtQRxAoFzUTRJnkFMjpYStaaYtYM1Hleqnb6J9fJf
ekknFcXtWzewpkxrkL9q0BnVsDWvfSbIXglC279nte08D+KDXDovrAoSyNXIaMrXbmQOxQ928RVE
kiTLkaNKwze+JvnEo3KUv2UzvbpLPhDyMF7BG0Yvnk73sYdftU0GdwPv/91gsfqnbBN4inQKNuss
GsuGmdvAga/hmgwTU8WbkgRlhWrmEhvtZRqedT72Nv8jlpeyCbkZKR8G5BMBfw/rCga3JhtpH0uU
/mfM9V1VQcg5gbZD7smCyf/1s62nX6c6f5owEYErPnTmb0T2Blui7ax+hUdU4FOrAVr4JhLzlvL0
oon2KOZfcoXU1cX4NIQDHJQUKY1y5dobxJ1rP/QISWJsSknRojc+V+NLIO37IPjQ8O1omI1ZLC6X
o1Uo5sh2mCfqBKxtbSflIR+Rn6DjVjgwZQXYswxFqr8XHaTPkv256OiZ5wjAldM2SGPJRM979G+9
u3JdQJ2ab3wzbt3awBBOEuRdlMzXNu2J3qLkgazB/eiSLxTXjnMs4Khtuflfhbbui1ZdnMEiJ3rm
xYl7SGW5FmyplGGO6Ke0yu9TyXmHjojLzwBeMmNbLgSll9c661rTIeo1zbgPYL6i/6ZfAQSAfkFl
mGt071po2SlizQnUor3ns2DcmcwaN60FNVaR+F1M8YvfyPpsDl0SwtOGmDEXJ98aGF2wGn+I7HsW
WA9pITx8ceAzrEWxBeMD75ciJk0T7qUrmZWXrapXaeqiKzxA5hzXSpEQuciOibtpzsWM/Bx59C5p
8z+BiUCBgtjYUtPtA6+feaXAe2pPkCsTP790cVmvHLqyMNNIvxnLD2OSMU3mn8nBfx0M+VrrnRlm
Uss6Oy9+GOEsehxkmXxsWajwP8SzgckHMhIx8byHrvzjUqo9nwhFkWIl5n7vOsQz7oCAL9XqQ8na
867l6aTpBntgZfCkEo/VTMVAIk12wEjEXdom0C07Dz92rwWrOIsZckiItx3j5MX5pYlm6U6oFGN9
7EGTAhzwyDcgTax4xIixQy9BHYHwc26RJpAG0xAOWL9XItvjDDzENjdfnMjrNLoADJdcRUVQYpwF
u6Eq0dHnOLuZbFTeEtQZs5nm7jNS5A4jfuVGRimMMH5tt7BQbCN/nMac7eDykBdaT7e+fPn3m38f
Cscjy8dUgrXk8uXfb4pWY5ViyUvQBsGB5kM5RGfz5YTcBkuwgYWRYKKOyDQAaKJmp9kDcjkMy8Po
RfM/D3+/9+8v//7X//re3/8qFvL4vz/XVHNy8LtDbfEWXLk8/YdJRohZjD4jbBdaFl49cQ1IH9nK
lILvrhmtGlyWnv3nS7300HYHeif2fhuthjlujigP6+M//8HgeNVxK/jFdNAahTfO0Yfp8M+DJEIs
UxJtsIlNp5tc7/D3q+b/vvrnl6lDoAOKPC2T5THJ//fBsjDam36s0Vva+dFBcsVg1jmyUZu3SKMh
eIqjqWnYC5cHJ2PXZy0P//W9qNWKvVaS/LtwPxWfv+Pfr+jjGUPlEzMJ5hk2fQ0AqcoyiXl26m2X
De8qsgywsQl0p4FUILSPEVwSs8l2DECvyeDYR3/MU0CrVuqwe1X2Ucus//frZIznY/L67w/8/V1/
f3RYwhEjw63CmfDpEzPc/zwMc9MdfwaPRVOkZ8e/D1B46YT+/bXFc8B+dGBwYONfgBahfwqzM4+O
U2Gr8ckuKOAbPs7Sf22EQM9AX2ICf4Fsd08eT6i0rLsnliGcjay/2ZZID6xtP0x8QajEUKgjbPG3
StCAON1YnGOFaXUwg8MsDBTKeHRCNaLIso0sObmZ+YlAx9n0QLzuMFgwaGWCefz7gMGzZwpEhpY2
NO1xBPDGl0TumUMViJDoYK+zjvHc/8nzmGAXEME+Wok+qrWwiePnOLJblnAA/DwWXAysqOMrX52j
rtPChAnjXZbi8dMbeSRFQt63mv4wS1ffleAHykohK+jHeu961GgBQtPGnXAi54zjYHSS7WJtHXdG
MKa3XTjGsJ4zJpVZZNf7lNi8xNeI7Y4+KklXYc4OKdMmHRta82jvBSlC30zbSvbLoTUHG4Nkv9pC
YQ1clN7MorcSmnmJc9x9ug7Qak605GDS9ZJJtjB5J7ERrb7sMtKHKmBs1s+iONVxSzVW9tf6PHtC
o2hXSZg6TOlTA02jXzAma7v+khR3f/9qp48wP0S6c6wavAgqnZ+qCdvgFLGZcgRESw07C9KUvz84
tYzRDZrNfWWidrFq4W6dglmrDJjoTJiSfPqZUML2YslXi81oQ+hIO6CSDbOmG8C0pZovgaxkcI2H
st0ALDPuMktzd6Vb6dcK7v/Ka+dyi/9nvgakb+KylYzoxfyuB7O6wZQpPDRtudlPRAb3m2TOfsE1
I6s2jPxaN/pZzo31ymthhnXZQFydWU3aRhNvKWmHtekKJGNF/pTXI6nMjIoZf8a/lT45RxOpcFTu
GQ4x/8/r/pxZk4YAe3yBDJ1velghHyn+GK+pumss8ofJL/0HgA93Tap57BIG70GYlgTsuR4bnmxo
P+7NDlr35qG8pTe0ys2/34OcRtlmOiiphnEgT1ZHCKmLq4ShssL3Xm8zRiPXvw8QXQGI8Vea1gKj
dbzkApH1FJmLa5TYqjUEWtpZI9a3ZRN0pzG18o0hOsbaS5pNSaD1kRF5uYWsM7KMZ2LjcRGK5AQl
Mj5RYevWWeauzWKabAG6VEZq5gTSOfCaM8qZ5tyCEzvXDVy/oeiYqlBob3oxmncemSv3QFUqHFBO
t3WXkVrftfU5ilrUvB7xbrODfSVmWL5uhmE8UfCnZHYVZ7G8G4nGYp8qEX8Yg49WUViE5bhD/MfK
mZvFUPqP2CYxoo4m+1kollIY/UnDGD7axK0NwubBHHTWhAOjGf/scqUcCyP1ronB1jRC7LfrkagH
GApveZHoq6Yz8OUuf1Zbmv7ase0rDBJGRuArb6YmvGvl4E7SdDKVbX0vJm988+id2KR6fFyend5H
lNpHWHgoAN1s8K7kY/QPuRe9QvLw2Eyx7uHv0H2SUxwt0Y5pm2EVguzMJJXMr2wgZ8V0WPO22f04
JPpR9g99R5AAOin/Psb5CprI64/5OM13WGrJE9R1ef+X+zYa8c2N8XPzUtvrckqieytv/dCkIlz7
hjTW4G29nQ+5Eouie4ut4KURU7Dk09fYVV3zuVcERdv+XpeczWjR1Z4dyYM1YDQlz/FcB8LcjUp1
AHKzAn3R9CSR4p8KOHuwwRYQUjl/NmQPKBMTeJTp7VFLy+wp6DDYMDLhZc+fqZXKMKKK2Jt6LteG
hRKl1cpzwwL1WrFC9eInP0hNrFljhyW1dLZDi3ru7yEVgRzF4JYhZUjMB7ftAcT6ihYY2R+RsSQZ
sImZILmVvNrD6KmjY6f5viAfIzJQDjkdRkJ7qhOD2AfeXH6Sz4yD2YHJWNjAyW6pkaX/vL88XDya
qYYDk0cUmGpMzkI79U5c81tSdIBj1Dbvas70i+Ug26zkox6xA9YFS3+39S7/IlaDnHGYXmfkrqRx
uqM83ysZ5EQ4+H3YNp77lqKlX4RTza7n4Lp0S85j5RMePSoCw/MkiS/uY1wb2iXmsNqADiflrmn5
5fI98nWQbZpYH4KIcbHhcn1Ky/LuxfKQOPDuknTW//lET9I++7U578WAiH4kvG75wM2KNWZW8sf6
UmAE0fpTo1HYxTJIkBAEjHrsxOwvhiqNXcebE7hVih9Ily9RlpsXGhjzAqCAaqAqGVm07tYtbLhJ
kUjRl6bZP1/1ZFw6CWg7i7F/GI8R21KHh3Wg5a/W1BsoxUxr7Tuuuc9BBcRJZ65GAZy2lJjUx1G+
jUNcn1WKmM1nipaDjctwz8BKddz8fhSSrOzG31qZCVqJM+YqJv+3T7xs6/pFdARlIfUs2kzN9APm
MV4bvQXqT/cgraflOp0LBj9eboe6lm5atMg7VmBXizUnKkIdd3tUoqKOIxagCov9WGOW8gP/2DoM
Vyx3eMsAXpIG/asTS4YBPLWeZelzoTDRnfDBOSLKdvi1s0PhIFaG2oZZi6ufzLRmHyHP3Xq23Eyl
uoymTS53v0e8S6EzOeRexA/tMO9I+Fopg/g7U6fra0TwMKfxUwHTYdwqpNKHNPqwAVE/OoaLFKkj
M70mq42kT2gkHZrGMokOSzR2MuFBq+xU51SZL3PXgeq0coZlkJKJZ7qRVLKb/YrOD+2WsncV4FJK
2KnelKywSmvxBYzQykZxpv8czvoiJml9jDoE+N25KrpUPNMeaasrSV7U6JvrNCMOLfP9i93Qk+t+
Kg5KThjoLpOVc8O1OljNnHO4A8mF9X0S+NCBC7jo/FaNV1wGCRTMyr/Az8THZq7TVT5UrMrKF6AX
DOGKsKEzdv0Kppbewxvt4k8zK6xV1aIjcKvoGEgSFDV/uXbIy4gz6KBMJHVtbk+DpV6NGPVZY8xn
o1Ufvke3JXrBYWSjX/cHdLd605CrYLf7Vmc1aCO5zUfMb5njPFSpG7BiUhqsUu+s86kJjdQ1D1Nt
e8tGiWEDvMTAf9TMeA1288dMGb0za0DslQzxKtPqdKMVr5MLqQSxQrfS9d4+xpMFI4ukdM7Im1Wr
+97u+xMRbfdxFXQvirAiXLT806fmFvizd8d551xigqhWcwXcukA5digQmnJbk4TCLoysOeAAbmpu
eqgAzBmTfWJ3A2kATGu9yE3WgxO8JybYFlJxT4GTtIQOQJuDZhuShcvAJdIQWXa3Liu0dx2wuOmL
xyIxL03XtYRC9wcN0x9ObKCKeuDwv6uyC+Vat8Ndru0HHcSvoUM+KcFKKGd+GgtVPXp4GU9UbS+D
ldz+ln9/i77IEPlB880/vtUgP1EuBWxdbVlAjKiErO2wGA10DyzxZEwpagE06U46oEit/4e9M9uN
XMmy7K808rmZoNFII1no7AefXa7BXbP0QmjkPNM4fX0vBgrVN7OBrB/oF+GGFDfk7iTNjp2z99ps
e17CACsvb0Zkg4ypunViTltL9XrHuBXMfPZpdvWzigAPBCQrFhxQt2N/CZK2P0O828ZWVR50Nk5c
Hx9TDafQ3gQliHTiw4wC+Crm+IlEAN+/8gn5qIIGpHK9NKtxp1UAhgZeN7paTQWPxQaYlzzAMhNT
04E0yu/5wDV9faZVtj9425YL29gJunBshHu7dT/d0nZO5vg9ew4SrOmqk1a1x7j9JsyQvJmycm5M
7WBHJz48Gd66wgg3Zp0gMJus/TSWfN6WjTF2aH4MWAybKTGIcGgRPUaX2UHPFaNExS9S95uMphUY
nv5hJPl1b2hay4k+YxS2iFbPX6PJ+hW2S4ZdUslNbtHcyk2E9wmS8KBAmT8zm9Ooiz1WXGLjBTpy
br8TFBDJiLmTyUvLIQKEbV2TxNOtvn1QZW32VZLhrl38XIXgohq5k6xzRxDLmjDogs9prJGQ70yr
MTdA1CSU2fE5gkekxrpYuyp9t1yw+3by5jNU3Q+6RRKg6xufjNSlQYwGQXP4b43HKiW0vEuyV+3o
5wiGYTTRrbUd66GdiRVX7ZZuqVlm3avZWD8iH7LrDrO3b7ENEgDAhcLhtnKqbO/UUp8mwAlagAax
g22UZg3pis7OAU63lahTOre4zLp4ixyG6L2DoHAIGVx79OTxUbIAQt9Yx2l8BW763qIsbcrf0DWC
fZHU9soUYAb88Eem+Ws8AaLwIsxRdPEPkbbDbeVD5SHT6dcerHHdw/5EaUCkBsReLvX4IVzjqRgK
xOAF85qJSkYBiieCfdX7g30LZYGyoCy/7fbVVsOItLz+rImRRZPBDm6I5n0KKHVEq7ZKl6jC0BVV
koq4703UGTTBgqxdK0JJO0bE5RQVWyTeeJHnYDcKgHxkIcz1qnw0FCd0bTJ/KdpXDjxYdSb2T1fe
g9gINhenSD6arMbpG2Z0+FngAzW8wq5juKXdn7AcJRHadJoS3Gcmp0h4IOJexF9pqB47V+0Jznie
UoZKdZtLOgsMCQVJabV9JGAh3XQKMnWaRE9G6jK27BIqmPLD0RHK/BLZ2+g5d4u1aIFDOvZoEsTa
XBLLoVWX1HvyF1hcPLqs/oKOaIuJCYowd02FkX7Qy+uK7aNbYbfxMtQHYySfbbCzK+WMm1R9NWnu
XvnL2Hcm25WJ9OgBM8jMZmu39XNCNbqFhkEeYHgiBpdUmmAzxKwMsURJCHAmlhWnOwbATiVJHbVj
5syKdq47YcOz8OiLFHtjO9TkeZQPyUjkAMLB3iMUieKL3lvvkxqLQJMNcJca01NVY5Jvooz9ZuAX
emqG9wBX3/U5t2RB82Uvak7roxN9jqnRfU8loh63ADdbu/RpaWZUvLQ8iF/Hvnuc2DoBv6iDF5lk
bml3X7JsqZxzEY584DXxyi7yc6rcGyJkSba5DCaBwR7EH6/kWicFp7a8Cr+zhodEuxXWDZM4l2EN
niO7igvUmnXgHgJxD5fGJCOIHY0skcKmYVAVD0ODYsMo1lq45kFE32E0fhFXingZdijUomZdFEjO
WebQsIr6g0w6arkqu8z5dFWY5j4pivgxRjM6cAjjk6zXcTFkRMjk7C7sSkuc9nMHJu8Y0V3iMWY4
a+ZoOGCLRduJTDHyWb0TvS+5TutkM6bZk100kPGzd9O8H7rqoSoKMAmysddwOdfoypcPBmViM01X
fcn6EwT2wayjfqcDYJJD0lzsJHrzUt9cOWxSq5b04qwZ8m0ef0xFquDRAmdxpvFixjgWrKBH3Qxo
jXq0IZMoO1BV0Qdm/25as951Ix9S7dp7c+y2pglnieSMH1KLH4rYxraUd3tT9yknVz875r6NFVDd
Vwsc10van4UUqhc3IZYxNIoVvcIlzsCRQiGTuww8AkHR4M1I668smdSusTV0iOCBKQvesPEmpS++
0ZpJSj3UN7ScLgmWh0OzfH49URAbMXIQjXzSHnzsrEI9Rp5znXYGOodR/9awOjdK9DBTiq90cf1J
m8D7EQPxypT2i2WRc1uQcQHRwfrWXXZGOtfRWFyg6UBHU0ljr5yTO1mB/I1CZ2eE6oUXOTMhTF6z
aUGc+2huJnu+AexHv8wTdA15APYzqW4uiYsprt+T6zMHhc01kAkWh0mEItQhSw1iUrVUeEB8ahQs
sKdiMYm1BhsxKche0qZ2gDJLEk5p0htBklAZGcqYAa1nivcUishL75O4wuiAG7mp3SOb+jGrZHMy
UmZXcA/mgjAEbidPquGQjvraZ5GyEMTZhfsqAn1iaT7p0P+dFAM5kIio3KBHTZb9QKcN0GEk2bnT
93nWzT7Mu9uscV9SIuB2fbFPys/QqG54Vt/rP4geepMFLhsMTTm3WWWevNC6yRJ9PYXDuQisehtR
7zHZdCgXMfPwzvEeuwxRHBRUuGU0yJ8aGlhLLMnsDqCBKnZXAArv2OBoj/SiuDOk+hra6qOfPMI7
qmknCwTUpX3nJuFwlefH0vEwwTQvE+NVLqD6SFwuuTWTpzlqcz0Z1NdrgpYKaoJM3i4RdfMg9imt
CQ6BbbjmndMQUSNOJ7t/nNvqCY1Pvilayv9I1CRCzF4HAV+vKcze0Z4B7QjtJakUR5vXjfOKD2Bh
svp54p9zGW3KARfb4FUwDS33HsEwQhKUFiTETy8+VmeHhT7r7gZLPhP9o5iO4LszGMzNGuBgyhPO
OWVCxWwgt0KCwTjtfmolromFn21W5rd7TSomKzDprZtkiVvJ4Ohs5syuTxRJL83IMB4ezLZ0q6eC
s2KVRNUhzWqfSIZm52YxjVyJ6SxtT7Nhfc4Yxjo7bJm1gpXvI4r/2YYiHy5V731uNKwFLiRjovQQ
YxdKrCH5E2LhJdkWEAuE2iLldAQMcbJhh4ENO8yDfy8iHAXKcOf10DoRv4yObtm1MMxqlKItwriG
rnVK73RtKf7ntvcPtQwAthgc6YhnBgXiveTiMrgBNSIIkpXpp2h3mxdvofhYffDctvpd10gMSNQY
kDDtUtkdRCYfWjnOF52lf4DOI53gHHE8iOOxXdI1yART1m0Tk2kdEFUWQAHfMIe5I4k9WI+DiZik
yb6giLOaeuF28LIX9gxu5NAXCDNHbsZGnWhR1lvbV3cWcSGyfXZSKSDrkVGWDOjivXwX9vE7Vi/K
flHeBzQcSKNzb/Si9i3jsdlBO33oSjBJfiaRegZ0xafWvG4BKAaIYPZ+aKFNy8V7MjOSl651zEn1
XelKHHkIWVYSiyRc9V1FJTmEsFaoQlisifLbh2TTbys6VpmHeTlQDQ6zwOATdnocDk4DZViyV3tz
ds/cDhuQjzXKyMpHXQacCCT9yLmCdiXDr5y2IDUlpBPmH4/1aN2Vkna1iVHZnlOxm+mj0+Wr9p5F
j9hMuglHU08oXNXtfMP3dwYKRFNj4jds5tNA2NObtshvWp/JpyLP/i4Zqa1ITM1XXlw5h4QOVRay
s0cNyP4GaBSxX8ZqktFOpoV5CGra8pqJ6mzrj6RMgVVdatxxa2oXTNYSB2NoJac8Hnec/dLNEH4U
JpnJgoyH0qL9Ws5g7MoBtIMfWJvMZSBZpHRnRM74Ayx7tAlmsjXC5wy1QrpM14NCX3I26TDbVMRw
kN4QMGCHKO+n27ZHgyqi7LHwOLUhSEWmhK0bUKM796dIYEAJXDiMpirOXWp8m+Sz4htxx3XoVZfZ
ID9oEO+aNtq6DOJplfji/OdPkALLTUFGPE1wmLcuo5RVS4zhIWTJDKTZEbSGcKudMDuGWciSrvig
g2FnKcg8VcZIXJrJb9cOIGjh2rUo6us4+gU9idTN8uaF/HhAb9M/aau6orgjHNdH8JM42NusCk1T
FNt6ZyqUs2Zx1jFyptBErzYlyW7Gjkm+KlTAXnjHcNmuYpMrp8Ml45NMgbLvbgXIeTSRx95Ix3M8
jb81J1PqArl2LZc9s8U7EJCMQedmPE0pljGnG/yNhE6LKBJJUMzGtNwesFsqsDYLZ6ek3CN87j3W
HRmi0AEaeyR4MO1/47l46QM730pj23FC4DEd5o3GDldZ1PWDDajSzhB7JIh5/OCGURHjBy9eNNo4
IFgW++7HNMPnHOLTdTsX71mVTtRN3cUbVXpSTXFN5gdSO4iDcdrkN0zJXmqzHNZOFEEQMlaBpJVK
/YJCp5HEXCg+jSQ3Xig1p+vCSxlqzJxCvYiI3oRHrpTTKRtUcqaoHDO6w9MYCKqxYtxX5ItRRp+M
DuKDMZvmelZdtOEfk4j7cIc6h05Eh5J2UAsjhmcfJNMcj/sk5h925LxJpIvvttCw9ZFZVrmdrqXP
bRZ1ebilx8Itkl/1pktrJnI2SsPpcCbeiwKQ0GiggwFurNwdbLR8YMwBr5JAM5tfFc9lZBoRyy7v
wyyah6Cr2eEKUjEEAr+omqOzSSp7A0wdZht8hTaNWVWxDuQDeXxFOu5mIxyOUwxnaB5/Jyaeq1G3
3k4xfziZwjhniRPeoLMFkpO8DH4sd2lMeIxp4x+vQ2hB+DvqliyTxqbGrqEFMlxDOQbxX2P3aHHG
bGIbDTqg9/GagEgwvn18Hw0oj2BxpLBueekDssmCskoi+miqZcFArZNWOf9/gtmwDs8cCeODrepH
VQrJTCza2yNLs57c2ywPz3mGoMVm3AfGg6NqDWZLh0lGh6Q8NvV7lbybdUfoCEc9f/Y95AXW51Q6
n3bA+2gLiC5DtBATnXQrbfE+Oul9Wzj4Owv91Cgc5XMBJbYCYoF+iJWbjkiaIZ/z/Q/PC1AZWrcq
Tb/Q3z//yQopk/eJs8V6tLy7ISghiow4Q6ei4JEzUS+0NXEbFuxE0SPIKvRjpitCMUjsTRGr76Z2
1k+j3YJzLqcjnpkbJPsI+jWJamlBZkhXIO+l87xKRcBOAm5wZwWwS7jvCQ9WBNPiBnLpscchtvq2
TEAOcrjqMS1sszlEsa77fcZoEMJ9knMEbhZx0vI3PDyWaXgvepOtFSWou7RsvebEuGpcYRxkVU+R
TVodtKdO/FZNjM41C97zOLqeazwGADi/sCsgLIXfauo3ZhDQ/fE41aYmMypVn1M2PiDowRtJelaL
pNWaHjLm+BvXuPjGVStpkWYBzd4iK9Bcl1W5VmSUbJoMVl7b98c8CJxTSJ1eBLF9FbGgoMzqcA0g
xZ5zzsuiKdZTCPfBaWFDMpnx4+ItN2ma9lNnsAT1V/PgUewbzrC19vFQReuAOIFDjSDfTIpk75vJ
O/3iChIEHNvO6b8JlwXwjanPHNp8DwU8WPUQNMYcDlteILavsRQhJ+ct0clH/17H5a+bBT4M72De
k0fxXCNCHvKGjboAnIQeZxv3EdJqoEKD59Po7c5piWVwdpgMLoGsgBTVSlU4Gy0uvOGLwyA8GG5I
4rhglsklSVWKjTXlgIH68CPGLsIZ9JxFLj2nxr4zC+ulbxBz1rXFR+H6zQqpdUgHed42rVD4pYoS
iSumgwllJXWXKKkgU+KZwCSqwKHUqzAS9g79oQC3cBShGrNCRDKGt9jiI/GdZeVTDUuMYLzkpC3Q
Ajh9uAp5i0JkPCnUjCvbHt+yIsUHY6evyq6bo92GH2aMs9LgJExkXWnCwmm6qj9YjnkbTO6hbJpH
YdGSZnQIQCG80Rx3MRkV31UTjgCxvDeZ+x8liTqEnt2ZXvKoI1TQqVETdRtna2rIfStBbw3QOhgr
MZV32FZ5/nk0iEYTmCsZeA67XjW4hzyCnUSVIGCgG2Qih6lSA+MuwF7PBYkICvlod/iX+8Gg6uOI
7TMlxqjWs941Em7CeDer0ln43xcjxYlFHDv6Yvu56YiAnR2XRLHs0wh+MmKU940rMBDQpQQSiPu3
McnpG3scKxGaLKKeT90kf2PVf3U9gsOoGjVpjMSMYnAXob9vIW4qw35nAvgRmn3AbQfpHJhx7iKL
DbHHFAGlaFuTzqavDFn6R/Q8dypsqhPZnFwt2V+MHhtfZ9CmDX8QgZySEcqcH8afWJieZys28CEZ
yNndN9RknDSn+pizctBbtZHmMmVpcIWs+5F07Lh/9t/6wf5RymJfIvCaigG08qg+Akr4NcEy63QG
xYu7QqJfDPYpIanrqmA0NCCbxvY17uyWB7dqenpULoGA0fhn3XrK84XAfsx4CIIeo/kswxs0PTsu
hLNHfIDlzpxYwHA8/ELNgFtI+OftmMuHJGCQlNPadz0a68Lx8JISL5vhlx8cU2wEZBbFW2hFifcx
Aebm22DOnN/Cn+SmC8TaafUp4/hIuGLwqD1PnDp9GOEdXrVk5oGCio5ON36FjUoYqvkujZdi7btR
/4CqHpXYkF5nrMyTnzT7ehB3qfax4FWoMxu0uWuVDlcG6LKue9BN17KchBvbdnzGJGso4KsEARFK
ljO9pCOhEID0asjf2mwXfyjMujgbnvwG72BnDM8Z3R94bP6drcxLasPdaQLvk1WZXrCcEcZMbF6t
oREsEXZGCOima7ltCPEWMGKrltIRA90dgNTpQ8LV3yS6ZiVo4doXBqmwzO27A2UHfQHLjjbSLz6L
in8gyp5r5qUMNJFoxXFDQkoHMieoD9ATU9Dl6VXcY/JM6YXJuEY40dc/HU3iYRA/wxJtXrCK8haY
W7fsJ+2E4sZquMeJvBtRl5Zq5lDmxGpbN7TkG6ySA1P0pbknamB8Ix2rktg4LwOT2ZIlb8JW3zKl
u648Vlitbgze40o2Ppa5kJipvCy3Qz6Sa0ylFfcI54u4A783mO+5GoH1g8CwEY0VdHbIUCF+Mqq9
TTJ6+2YGp1NywFii3J6HiUVrVnAwsN9AfqDn5iG1KDsQX8Ocv8zzPknLn25wr6yQ35Y5cj+BsuIX
0X4NbQZ/glGWMTMp64IjcfUnEWP+yhBn+6GpjmY4XYoR3ohAtLNyAZeWZvFC7WFuRw8HEoqOHKl9
188Rs3mPkaLD9L196uL6oUFOBLwCkFM30SHT8oHz1V5LAQS+JjW+1cWJ4wZNFQKtDE4/tDVwQo2I
rmCsXAfz/MhK065SwsXXCSt6GyuTIc9yME5xIlgq200Gq4DTOMeeInxtBx78Wjg4K9sqL9lwciew
2iq+MxPMHP38WkZvo2Ed7R6VnGVySi4KzdNny5uYrikFFgj/AjuLQ/SCIRnBjDHTd+b0O59ZD89N
6m2Xm6PCK8MkK0dJMY43UflmskOubSZO7Pv1q0V3p1L4BMtkeo5JA1yPmpVlsEs4/es4AqWfjN+8
iussdu8WE/AwtkTq6ae6C2E7Nds09vvDXBg4QelpZzbA5jkc3tzGn1ZI3qaCyEeDZm0VuCVYW/Pc
+Hd95AMNitvnyIMr6j8U0fCZQtffVa9zQrVSdQB53UqRLRu9UnRW69JqxFbbr6ygAk3kcJ4742yA
DkXsQtu5vuUhPLmjc0DCrhECKkw2PpP5oUi+K4HbGZ1FuLQRjHrcRYKj9iyRHAmfPpJlQU91AfkJ
U34wMtsYUcxENC4OcmGzpp8jPdd9W5TUWaRA0XKiY1r4S4tpOMS6lsC19hyaoGRZytvXjgPOtwNR
PFvFvFHLpLEznkVW+bhn6ASFbRkdjeopy4j5Jg5wtCiZKKKgjEiGMkxx9mYD4zmZWUlM16YHKLqT
YL449Xin5BCS/1uP5BRm92Hu/ObzqcKT4nOTx3Qm103kEy/oQVZXAx3aiPYOFTbevlq1hyz3r1vR
6RPW0uWgDnCRLv7J8+wX4oMBoxCOtk3Ul2GD8vOd+nYQAodGqB8jSb+g6otnBPBYmwLWmJlu66rJ
g42p6Jm4tCMZAAzMoFymNANsavhoHzaRUpij5k8vpGxyvPExo3W0iQby+qqJjrwj6OpTZqUb7cK1
5WI39ZmhBEICz/7Olbj2Rt/b0ePBY9HgeCasVUezvZlr50OFeBOx4FoYWDksMYSaUpoSEitUTGIU
nr0U5L9HNH00832DJXs1HAxj+olk85JEDlGs0f1IckhlBXhj7TNPdo+2ig5p5AFvixza4NgHvUBv
GOj0CFd58oR1CB0epCUoswBqHsa5WpF9aeyJK/Fgn8rNmPdnmVr12dD4HO2oOebMOFXe6n0W9rei
7uJtXXIQJsv86DnV18iIwJgYWSWRiyhYY3rM+rsSYxaH9xF8QGFsqF94pyIVR9Om3wOZ5kj1uLF8
Os5ua32hplN8SKwHRBhs25lpOjBFwuqL5Itss0tRZg+J3b/MAbIBesJfpW+V247CrOqcA7qLr6Tx
0yNS9i2hu3eWbLoNZqL24Cu1tUYgXlX0QSqQC2+muHbAqOKhCzykkDjXBTZHqPnTKu9wr7Q1oGkf
KT+DrJvQnI0rbRtPiHI+I2iV23DoX6d4ZAYQPZmAb0nXxJ0hHuaJRoGDyGNOcxDQHS2BgXbbPLq0
+LIM2B/y2bRKX4KUEr1BXEv6knizmomOUPHO/u6638XYPMmGUt0gZRVD7bky9FWXcgApx+I98eAt
5uLNG5OUR5IBf9pEcls78X0vX0ozO8x1nF4jyl/rYCuwQK9TDF1dCzrfGD56Kd6KpruzU/u5FRSS
fSyvkFpDCi03IxZUzu0fWKYfRIPap+0JlGRSvpUlmlnBLMFVmoOkMG8ZE/Qbi54LWYcVU3q7RFhR
3DVsucZYPE+dU125A/9Bb+hKqOEurtF/6xAu/uwE58TBPh4CVMLKByGTKPMHbXrMUmltjt1T4NM6
VS7aYz9LX+uS7IqkqinEdj6+vwj/d7XTDWwc7C04y6aFKQEZuM/iaxWjYMcDxALZjFAh4JDsnDuv
6Jm0L6YMq7aATdrlq2/T+Jiml9ABxWmV0QkgTLGk+dVbS5+VS8KRZojgYLPeJAGgGE8ITvJTiC1X
Lzsoza8hwtneWlt/Us+kpsDNjWka5a9IHutdb/Kb6IqgXkc5yvNjK36s2vG3mNJbP/frlZVPtz0S
sE3cJDRxxSeCxvxkkX2tG9ru3J6wOiS5pSm296BQd2acPbsES+N1AWsKATlBvEh0lFcOd9XYnedM
VTuPklyy31Fezlj/Decoc8a6dXI3NEtxM4WPvUz3Xd/LWwdOk7IwYXuaPd6M0Mk5cXMUdfIrSrLg
2+csrd7dqCPBr9HnMuAl5cPG9t23SrLc1Eg1N0R4Lo3jigss/UNgid9gYARk1c1GDAm9rRwKUohW
HGHdTmnnAQD9c6XhMIGJ3hSKwxUp3Ns+1u8qzWmoDON112XFrtCdtZk7BMnuViQgMDzP8Ta+kK+V
MDaaUm2DyPApMenSWsQ/bYwKsavuJwhwA+ot5J/YbtwCd3X+nTCl38Sea+1sFEzpIsUjoPebKBQK
j2581PHMZ0cTYYWE85RZzrwAXXEsL2gwF6TYZFZiBW1eiafYQwdHa9vcSJfuszUxsASbsGQHGccO
DjoyhC3Gus+QKKk4cN8cG5pi79FL6L1nk1b9vlKMHkvoWVf4notSVWsUDYRll+1zVfo5ilaQEWSZ
b9yF7pChcMYVizp58iG0GvWTU0MtwcqpbRgoOgmu8oh920wMdiXluCuPYiSQqFaDmMlv1+pDIq3P
cJjobEm4gzWmW0AcLthz+gbjJY6Hw5B0NMAWitdE1DsO8eq9rlwuSFETipE6P+Gg3mePrJxSxYz3
OD5HImeLcNLrm5KB/Drr2ARK6XxN/lsC9sLCTLMBq7UYyKxHcL3JekQhtJFo+DejYaKOcRfDlgU5
LifxqGMiOIJH2xDogOkvwo7lRdGLtl21Ybs8sutNGxkax7nx7w1JjxcDht/YezgTxipM0utqyTVj
toGVPvOe6Omjcexmbk1h0AUfagJKqBVanQFCBGjKwI5ysnZ/RpDw5PWQ1SOw1jESZ071NGYFJQxx
zpwoYN9BlXAunfx2Sv3rcCF2fa68jUi/Ko+GPqlF6wwlRRygdeRgqNdko/vsOme7VxmLUoH9rDR3
7CEBdS2aSk+MHJZs5eFyY6DQFkQ/hagl0GHLXYcObG2EhbGbJMNLaZl7s2wFlAn3PPe1tRchdIVy
lutOj4SW5mcnfHWH9gY0ykkB1EvqJyP4pbF4llb+wAE2hjlBb1llS4R98qQdZnxNFf/gKXm1iE2C
l6iJWxDCAakCAMHv590UMQ+K48o6mIZ8IpqsVPnJLfGxVFHF+mpVZDZwO6fdwjut3wvNqj2hz+oV
6jlXALdCkT6HH3WIhLKdVMHALXoqdHvQy4Li5Sej0d+hNcG/5kMvE3g0aHdWzrdXGR+iku6uj5Nf
J7GqfW+ZCMfsFDzGzJmbreMmb7S6pcl5dPAFXiEcxYQcmNT/Ns3nWmFopUVyw+CMRdpHMp4FwLOj
N6JuX0dOEDvVl8/IPR9a3+xwiN37oiWZ29K/1ogXtE5J5bALpCgVN1u2gDnQgyD/UUfPdUkL9Vme
0uWXj/cjyp9ckCcAr5HBVSjHIz2Yb6RN2yL8ZPkCI75gcBb35Me8ZP0N7rIx3y9ulyiZXmZB9nnw
1tkDQ1FIWWZ1jCEn2bnaRyGirso/IYxAvBhWV9T5vJzySmO2xNcChhQosb0mQ2DW6dlnIdHoGHOY
0nJZ4LF9zsGh0emh9/O3mqogHsPTNKdvYmZJMsZd6b01FsfyIYCCIaPP1GAf+qoLdariS/3mVOFZ
iJdQvvPEXQ3sghkMIPiMTAb9KyQ1txRGm6RqPhUwiZZkx+EFwywBfrp/8vvxhjE9AaeLoIKXCDdZ
D8VrXfMpaI4DTtucQDmkdrbOUR2wyVCdmvuxQz0syFj3d/4ds5Gt44CUyMSFwuO96e2tF5wDWpl+
aF8cSCWFpGBYVAlqZAShg1OQgTOO8wcc3KOrf0PJGLT3yYweSPAZfHFUSXLQVvTiVGAcKFQ1nwwn
0rcS1TVl/Epqax+542PYpldFio6zPmur/7bEkyDuiNVkVcTpNkl5PKGO2up+MkPOKNMqMrxbXdxO
E0egPymj/z+O9b+NYyXC9N/FsTZdGX7Qhv7nRFb+p5+PtvvH3wz1d+FxiKXaZwDimbb6r0hWQ4q/
MwOV0IEcadmu6f5XJKttLTmuavmJsnzPs/5vJKs0/24il7f4iWNbviKt9X//r6/xP8Kf8lxiCy+L
9l/+/D8KnZ9LRHLtP/4m+B0UI8tfO37/42+OkoKXZ3qW5fvSp4Q2+fnXx31chMvf/p8D8rvZNoEF
hD4sbl19MzFeDeVs37VWp7aZ7T+yHRpb2ugUj2V1CUrtHJne7HHPPBZopqizsUN6mNYrRanzl0/z
P1/vX1+f7fzr67NpPZqmrxzT5VWKJVD2r6+vCuMiQmW2NpjP7kKdNLvWHINVTa+UGVWBEnfH6f3Q
N2gZGCYnlyYUPLIGALGqs67cmSFmHi9ThHGNZoYY+5rdBkbkY+rh8za9vL5ziuMcjtFpbvO72ium
W+U3H3UpGSIn4Gtz+PHbPsRcaZbQLMyi1ldhHX+YkxhvC5mFz3WW4KZa1HxRCsFFio9QIT31AVmf
+0HKW5i02z4Y7mU85P/dR/TPmbpcQhvQpBTcYsJ1bLEk+/71I6rVVLqOVaJN52LvJvz0pz9fMtVh
Shlg9zgD3UzVLho2O8heTFoA0PKGeq9oxoGhjL1TmiR7ioDxFE3UuCLNwtPI2Mwn5/xSjcZr62TT
KdVWcHENfTeT6fdYKtwHmKn37RhCgqgq8qeKgiOQR9B240fTtYg7EpuivZs33svAq2B7kOTJZoP7
MiNIRhCF7ll6FFlSmrjTZHU/LYOYf38Tucsn8E83ue1ZvulLZfuWY0lneQj+chPV09TmYSSpv1gi
R2wPaUZHBMXEcI8vJLjtO0o67SQnhKWcKRhu09A2QdwaGrCyrYfk5Mvupuud24qO805oQOFBOoY3
GTgg9HXpjera7CbKrfcsGZHXLN/qYoTHbEIRxLbRvFjaTzeZbVQ7uDTmZVy+UAojqqYHc5h9JL6O
3acXn5LEYtD6O2Xt2Sn66tLM5vWwWOX/2On/fHFE9Z9/VEG1JezSPgVxat82syNvoYHEh6FrDmlU
lYAFvZIedQdwN5T+rgNcmHhl+u6AFdjZeQrrRzqCDMJqvJ7i6Nh7EDL65U9/vhVHIcN1HSdXkQsq
aEjBKS9W+a6qixPzaSdIYNqnoX1buUFzHZRM7P/95bOWUOh/unwgUqTF2VdY+Epd9S83uJH6ADms
cVzXHtZLCwncbRS5Zz6WaeXjZ9qHZgkAiyHd0yA7csq8GhpQy7g0Mttt4IzhjkO585ANYDS7zruv
Z9grdjzdkv+SXFeySm/blOamd5v1ff1cLRF1aalKQiroaMkQ53G9eMQre0j2//7Nefb/8+ak5bMx
SEYvy1v8lwUOV2+qaLENHD+HT9snyGosovEmsAk+BDZyE3Gy6cUIcnAAJjkVNFBEfDFU8BXFHoxK
I4guf7419y6ISqUlY0++9+dLrpZcNrLyNsFk7jNDxiRZkT/TJ6m98YI0eTbaUqHfireprW2Gb854
/+eL20/HysD/zihjutdlr65qixPhnx9GTTbdSzeivc8OsCfJRZFlec7hJ51VE5DG4g9q8+ePf764
DWlXpeuFcNEngrehsq4DJdUHqeTndPKiJ7wp/b6QRC4j3Nsavhe/eRNlYjDUF1Po8ixkBafk//B1
XsttK93WfaKuQmo0cMscJZKK1g1Ktizk1Mh4+n9Qf506Xzi1b1BbW7ZMikD36rXmHLOGgOQKgiS0
T5iiBTouDyvsVkX5kpVZsm5C29pjKmKglWV3UsqcH2ebk6Nmt9oYqru5YBIe0aeGryGurI7Ox7VL
6vAVhd2azr+8DU719c8fsfw/PmIWadfi9uXzVe79+/+y/HC4d2MjYMzUe5IBnVbXEKXOczmR+zg3
72Gh5K9wRsUaJciJS0WW3P3C4A7JD9pl/MCH0WG42hfJvBGEFtI5jq7S673Tz8VKc+9kZ065yzmf
oqoM61WfWR/Y6tqtnyjnlPe6OEyqPcaa5CV6avXebWzzPZofq863Tp2Ll4O4djxGDkkgoepew4wJ
AM6Y33kpna+03Lfa3rVVWZzR6zD5qqt1lDTkH4u9QBUBxcSnhTwZc3Cg4fs/F1W7q3/+dXLu+69H
Rln0EuhlG/fA+nte/b/+PkcBbUyXKLSGcR25TnfAtEqvE7BNDywmcDNm9n27j4gDTgopb9n94pnP
QOWNa9Kr8KHz6l3HTz7+76Ue2lU1BohzW2LRXIqaF3Kut2Ximm+ypsnm5YSbFGBdYoOk0Qkd6JbF
89DTR0PjtQ4lAEnPL+cbCiK1EnYA4Hic1dl0qtMPLIMICEJgaOcvMxTrvskjInwsIyhBMTvYX3BM
3B0lFKkXd795c79Iqx+WXYMarGbAXN/d9KY5hXtv1lfEsvWx64iZNMzAgPkOy6kSFaKQMX+1ovEo
8O1cQC+2AEW7Q1xzwP65EA4H70hEH3K8d4SCRpy71BbnZrbpyOKMbLMAkL8TX2EJ46drjbOk5es1
k7nzRW1d1P2CEApJeWszDS/ndjP2hXzMI7DXiV91V0zpxsqvBPnMGoxbwNyEhoHOsJRkj/I+D6rk
HU3RO8NxVtjGmqwoP4Z4fO+qUd/GsCrOkW/Uyzlwig+kUc9I8oZTE03J9edSzuC+4to65HqmPxAo
eRwmG5d2Iv54Rln8+ee7zv6vh1iZSvnsP5btWYoB4r/fdIoI6WLCnraM9GqUfXVDEVTtdAWcLuED
P8vOwp/hJyPJFeANo7zrKSrTfc/A5miPWYOLuPjWMsdcFOGj36WxegsKn61dR1/MBMU2Es61mK5l
GvokpZJa3tBvvDnTMHBgR0oUT/7p5wIgbNgEsQW2L3L7lwq1pYbS8fbPb5m7/z9PB4rCm8qL1UtK
y6fQ/Pc3Xfvt0HnOlKKjY6+fyuefSwZiESq+dRuAFJ/D0fvVZJLWQxu5S+16+d6MqTdlTzyERCV7
EoGPDrIf41cPeyxuX9pxP991A7ffZ46Sy2awo9cxAHOHzECSerKZiDh/8ZIIIUuz7lAE33oja2m+
GQQOtSWZsvcv8a4SyhZFPpukIb9Hx3ag6rLfTa130WRvo8BrOLEXExKTdlwWqDDNfhwIl8R41evn
OglDmsj1V4KVn5Kw/ijTh30TxV9einRGpBMdNP8jkPi+6nmBc/HXZPvvDRXtsvvbCu+7wNY9VwjR
R0HmU5ROH6PNhkYPdJnhOCFAZ7ibt6bPeojxz9jlVrkg7kcb59zsOlu/DK0lg2SC7LH3sAF4jx7k
1vnDb6GMTwV8NLrUbU4Wiu5/JVruUpV+enhe/Rq5pcmoAHM3GmnmXqzhNika/eA9aA9HjwwEPZ/6
Gg8zrrciis8ip+ORMO2KBCjgqkyfTMlUo/epomTwmsTJuxbPrls/9ZNy9okDsUsXYMHvyUq9O7yJ
grOD6LJlUrf43kbxmHiI6jsDuLyTjy+Jc+8L3eOThq3Vz0+A4BeJeIl8YLpR4ZMRWF1T1VbrMURi
bqLqoxqgycpQrUSAtKhRM25yXSOfNYOttoo3RKk2grSYbOPMwsQg64mp+ZztDL9JYUjZ3tJmzmDr
eFub9sZEzAYYBxWMqOWO7ElGMNhRN3YV/jGA6AnlfdWusY+njoz2mLARs82DfXgLfKfZOJlgcNij
x8tkZ6zN8pEzD6tTvvJUQmMXhHzuGwzWcad6XSH3GQz8ER3U1tR3hJ30JOxMQ+wsUnx6pKqyFycH
E8WhkBivuxKSMrhZztNLMyOFBcTLAs8xsuhqDE+iSo+8M7Um2oEWuoXuuwa4jKZNbLPJeGQU8B0J
vDi9FcabKEo1eajFTXfGM9wgcEV64XnVzrXQuMDbr8cexkYlD5FPazMZ3YtXTfR5G/s+28a2kDAQ
lJNlPljp/Drrvlg3wPIQl/H/2RDVxmXV20mLWdWIGcThsLvrRzmu0eKLuHj1W+8zL31Co3bwPM6u
zWikbY12O0KpfCZX7jvTwXGQTvQ40jaYNAXG4PBxIlc8M/kCaWtF4mLOT7UsftPs3iYR4u+ZJaRB
qhaEvrOb5mSDEQPZh3muRp9OGELRhg5ZC8KjmzGqMJR8FYbxKZyBvSh8y7ABTJGx691+kT7HkYlW
rMUcg4P1kXb042h6GKjfmLPxGFb+r1m7hPVO4q51XFX3jcr+SIg7iHBXi4YI4GGqliEkzn78i+6u
/JXzwocRaaUoe3XNDyGKpsd8wu0yYENYWDUP8yTLm5X6n2464zUdQJHSx0D2GCIpC4UXrjIP546K
hXnuDYZz5Vgu0OdPLzJOdvCwmVH6bISwWZFUDYZ1MDRJuqadflVp5BDlqIHy5DVaoMBV62Gqr35J
QqMLhTN2kt8NljyawgQAo+vGNEe669RzyguzecG04INcLNJPqux1rtxLfggOg8cTqIdxl9c8aTgd
rLVJx2LRg5cjago0bfqX1FQmbMwY57ZYB0VubCW9Ry/Qm1Yiy8AHOe0IHyAHFYznYNGgJf7omqfM
QUJnBkyeBx/MbOHpBcyVB4JqKP5eKT3E2R9McR4VCVc9PBD2/dgHONQYJJYiyH8PlPZOtGAe+MC/
k4zX1QBXWtSWIBiOJI1WdNdhRCLjyhpnpt5C4+3Pyp1Y062KD8HvdjDIgQuTvVpLfXCzLQDHetGl
/JhcBe8ootp9MtUbrFxMoyKjWhVGaQAWbF+aAD9dalUAAEn8M+zqbxefffMWT+43o6FwE8cQoUMN
bsCskV6aQX7W1TxvnGB6a6t7CI81oIMLhpQsgwFyq+bJNQWJiX3cEgoKat+087+eF2fvOewLGnhM
hOI5vxT2RTbFC86wm7bcehvihmi6a9xu6sF+LkqLOWcVP6nWOQ1Izaokmfe9NTdbCX2xbXS8ycdx
WAl3DB8DNd4DK52/AfjzO5GRjGnvqfOGaUeutocDNwMbhhIlQ5Cz7azxiOJCLfwEkW42oSAsILSR
PW5liALRet2ER7lXMu8ecTcatek91s6z6ZDDlPQiX81+dk0m0jgI7nZEmp4xOzA3T81irYodPAa1
pgFkbC3BKDr+wq9S76OMBXGY43zv1PWp7MjozsfSWPvIwzc8ChV4WL/kP7I+U9tqNH6TLacf2yBc
J9zlz2y2r3UPrN/vlX3WsThL5PeLygiuvaWGB0hq+bpL0r9VhBHPR2sxZLpZKocBXxJzADOm8cXj
yLXJ7fKP3YW4tZPixR5IiLtrPsmkdpmVSrtmJuOpVSWb+dxZYs1Hjf1foDDrGMYNNQSIGpCMLTHZ
SAfLb+QDTlclYhPKYnLsq/dhAI9RNP5vo+52OoEIF6QF+0PZ/GGMd+rpdIDCJKQhR7xLWgkNrCpG
l+ZFwaYq+FBmjFSroU8hqONe25WY9CxS6/Pp3HF6XlqZM+zcNkQm5AxoSUcTIElwm8fiOTUmBnmY
dl2N8HFAskPU6GM5gtWb4uR3MrsXnQi188kjIUULNrIsnKPf1DOa18/sHqUUJqS1laN1bFNv/v8X
c+rYmtj8qlxlJ5dEjEvEyN9PuvyEhJ0uZHEM0z4/FplDXltryPvM5FshWVj4NgHyII4VoUnIc5WB
UQStUCFc0qRp4K0qbIjaQYrudtvgE3MgrtSepk3RA93v7P49yaZ3ldl640Hv2cXBCKd3+Aic5N61
yPd9eT/iNgLtiJDFUicpoeRkQsfY2TJcLo0PawGlwntT3QU5BI+rzEWegUC8JwiDoYst23nXM2pc
+A7uxb6rjIMuZxLo6quLXmjdk5DI+Z6Nz2WvVzEZJK1Y57xkgNwoy0BN/qbb5yLDZc3Uk8JOkpIu
mxfkgqYpEYY4uDAcBICQ3rHeqZ3TmNnKUsa2dp0BsyXaDjBmMJ6q4VIlwD97faga1DGdNECPo4EM
p+aB+SGd6BnxeZWD5CE9TYcfEbKvBCBPoojvsqiHBv7ANFDHTFIh1oT/orCeNN1XHLo70Th0h8vn
YU6fGbISPu3bLz4jbNx9IZ5pbz244ttqZ+gZcC+UZQFENRXW5qpH4VjfO/CnYm5xNxM0RrjxAX3J
vDPH9k8weqeIumuJHfJ9NDy9n8g06GgehJxosgZtczTNe5n1LzOhdz6sjQT0W+XY7SarO3z8PTq3
npfEiGQ9z2igKrEWQUL/CsvV1sRklTjIPOoYIREERGeTVhz1lcUj2c7F2v32cBazQmEdQJcO7Qs1
OMgvWPJDJ9V+AooI+LjcYCsBclUBDqV8qhIIx3TAwXgBKYierVHjwi56sZ5H9GraFsTwFtbGNwmj
6OcgBiHiEgmRAcBAcoQGjb/aBOSrT54kaBm7+wyLaJjQz4zcg33ojGjisf2miblO5votDvrTkPn4
DchJzmNSCDtcgrLx463w8ZPCWntMhfU21+uy6fSOZMHHsuBz84Zm60HkJBmUVkGX9AeXXWrdGO6W
R0MC+iYDwRH1x+C55LcTOcO9jSysdpyO2f4+EXCdzJS7XQRMEicj+oNe4ZaVFbrq1kWMW5WfnE1Z
cOJ6XFk5BS2+DVAAaYFMVDSbOeGYkE36y47KdGXy6hYpYYX9cIJO9jDDacDGEgcrC7zWeb6rzArC
BVy2Bk5ByHJ7o+b4tip4kZTxJXh2nuOFYxJGAi/SXKXzeEXNNR/suXkcPYxmeDww3xJiiQiNulCS
4zrNn7k5EHIVdudaqnXjN3cgcNSu3QaRg0K+hsZxPrgGtDBIRL8mIk1zWBl+fg+EYkQdJJ7LfORO
0+tQuPqyh93qZPupb16qKFuLKZ43+J0R62qC8Jy4WzUED5hiyA5C5zZ21/qjKayYFjXq4NxC8gxb
4TGYfqE/eUxqDN/EH6ml4FzgmvNnhjlxrS0Lz+18iq0xxiDAVmRVPG9t9KBDYPLuPCNi8ZBvhDBJ
13l4BhL7FU/463LX3xg2OejVqJjQA4xk6BK/5saOuv4xlXYIoHJ8cVhUqrHI17rgb3mKLlpwHZHt
k1hyyyETJpN96+MKw7AbOdvcTafFpDkBq9QfbrIQ+96n1Z42J9O0Pq2w35syd9n9MOO3RbIznGKl
WF92GnsoZ1kCxbs6BvFQg+5QggdIXrWIflGBM513PgKGPktpy5fUcnZp38iVqJ3Hfnwj4JvQGtJX
0RLxWAhGjPhemP3TT5gwO0TWiTAoc1sG7kuXVxcUpvNXRhhF4YKFh5V6iVpeRhGF5wrvxwFd4G4y
zobVRfxSBYjNhSd5cyNYNmuONbxMV+3xXgEvIWsBadaabe61qZxPnrB41fmcZuG2TEtpICJFrvOZ
hSWl+bCcbSRPOEybKlWbrAsOMgsoNVFoAbMiuDbEQ9xF72mV7aqBHyA6zt+tQOFWDjwH+F3hpM9f
SVi9IzAh9mjoTjA2IA4FHIRck7DG2XnKkZdoYQx7L8ieU2ZmURIdnRSYiGc16SqSYCuDcH6bSvt5
fKZnVa4sNuSDcGEvMu9CBDHUG0jNfED9wO5q/DJr+cB0N1h6AcvV3OV/Q0pSnW1kGOTbduj/lM5I
knqjcfkYmzgt2gfr4nUIzukgNxsGG+BHuo5FkpHpXgimEPiKtqKMLCghJT2PnoNlKC/1bKw9NM28
4BGvFWueTpDrdARG1j1HrDKEfJrayO+tnAyoXru7tlcnipqnoGQGM1n9usF6uO5o9aAnTmIGNrJO
N+iBn4L5IZqQlhpTXB+rAXt7CoWMiWjymOrhqx/ABsORJenOi5Zpz56Ct+VIbY25vPtuvOGlHmuY
v16M40F/RzgjtgUerT4wfjVlfBQ5yE48ny3dJ4OYAhMuRYhzYFFJsMOjuwaqe+R+pSMgkA9b8TkJ
qPmz2P60p+JTVAWDBiixvuI5wyvSz8yiGXaAdBodViXn4o7kpDn3+BBYS0vewqbFnLLKvdlCKRre
8Dgmq15nL0C2se9i21qnuDMpXnqX6iEf7gwv4rNimOYzt6MwGnatC3UwMyxHSSJ2mGu1VrFxLKKE
+YP8c3160yJdt525GSwYvM5BqRwfdiDnVUD2SOyh9wfkq9au+/JDLO0mOtRGCes5JnHH7UiBg8D+
lAeYD90OXlDMz5lL2t/uYFKRUr/qgWAAzrX3+wQqNZTqPc8QNka0Byfy4nxRORywUwBjIemODNyW
dY/8saAYWA9MmZVAjRqPl7CID4BlRpKojJVMaRHAcZiWOs6/R2rp3n0XbnZMoQGBpkS+XD8SGfM+
kOVIPRJe2kAmG6nNv5nlX1CJc7dN3ZPRRDU1NWajIM8+GlRJfg5KyaZVx2edfkTRYztUPeEtqNtx
1279yVnxKLymTnjntfSozjL7NLYOUp2YYpTUZlAFps8RDyC+nIPfTG80YchRdKqjACWpfEKGGl9u
VW8Uh6qrblXcnIVVpMcxbM/Zbzg2WTD6PGy4X6AALiMXAqGrE+zT8I+K8LnU5jO4ubizNne5VU5P
gy+Kz9iv9+hXd5WDGD4eUna/kmyaGih9n+ePc+pggTYdziWcZn++SkcmyI0S56Jzt5bdhDvk6wq8
pF/B54Oti1Z6dR8dWXlKjy6MXytth5zckudQEYiJ8dricHKPcojA5hGhZpc1LW/CV93e+ju2sTiA
VSJ0PSAULqi3QiIx6T2UTBTJ9ojcXqe70iOqKiVaEaKStXDb0V6Mmr9UfsYDbSFeV73MRpIWsGNw
Iq3xWrqfdsQEuCJVYGGBssrr0LqGAwkQmt4GM7EeaSPTwYTKZhysF8fVbzi5aAD7EIxByN69IFRy
hfG3yfHejA4B1tZsAbjqCeGcjXpF+/ulIPgdgbr7mNpy6/flBpbqvAvDTdtctWFMR53W/rqNgIKK
hNZF7/7axk35nhrhbxcF+MIW2QUYhOJ2j6ZlHlhXI2pJcCJBlLzX9wCxZpLlF7PFuO0PKfrsoQ92
eeieuqb5Ss3vWoU5FTSLiA1MW+Hq8rIIMHrPEpGgvEiLae0YHIWqOl7rrs2vbRxtRz/GaLZIuvBg
jJO3lw3SlR4qdTpaiO9m/QHPMFqdDMOhh393/li5RuRf8JtvSBqKnJciR7c6doqMBdP1HpwRI5pv
upyEJiNYpIea6aJXXhwGIcC6t5YUTxiFKCHj7FwNnL2QHq7LDli2P9PR8VwwAuUJ3GO5DDz/lY2U
VSpKX9WQwNS3KxqBBjV2QItfjfWjmFjFipFuEs0DSfcX7Z1BxFmOwWBhYBVnPabEMYd56VbNZzIY
xnG4HwaTVm5dEk1DOi4LxXhBddF5nNtsMztkjOigkZtCA4wcBxuVAN0J2+YoPyBQIS38QSRBCTUU
zoPP3GGn4vpPmTW0iBt4fdTEoflk3y0mrjb36LkBaGb+qs0yTTmb7kw2r0VpAd/CdvDX8BAbokvZ
0QggLXxw9D4xpbvIRdXz3sZPHGP7hEb5ElgbWp/wMYNN2mElP8VO+pbBau76LHwynHE/IMnexw4C
wciofw0iGPftE16k+hytRvplS9cR/dYbkKyS7fIQmSZZDDhmuRP/1ivX58NIDdxv7Lrqrtj6yxAD
fXUOJhvugzCynufIa7a+z76fY3839CdrGf8wg/lZATHNvcfJjA9JED/FVCSjxw0kA1bOoeUBzDTS
IW12jFv8EodbPy5ytL5mH5Pa69n7epS/CKGykbDPaidnsfUa/ZvtQGBEF2RKmWLZNN5Jl52/ZVj4
3Yr5b0UPEM5F92ma1Mh5nBBU11wm9DKHBu105lMrFXdoAqdXuA+Oh/4h9s4ZQNENQIV31c6LsEzO
8G8QVc77OeHglYRndHevtK5pcZQg3hN6dINWn3hm4lWMTXllZiXYYcYfB5/2ZYtOGQ1n2GxDIlIs
Lyo3cMuTdR2ZySYFhFrCD360WoxFJkEc5D1XDCyeAr+D2cuZJhjzGwpSoFbZRcV7rSiFwB/gP9Rh
gYoKgFHzN20kv7uMVha/yG3vNVc8cXeCEtBtBi0vufhhYuM2trv6mwlEuAgIwwrlaF0Gbyb901Hf
eYp12jMfZeqhctUVplWXcpnRJrqfOgL9TUvrTvNhLwveKPgDVPm4GgKZnVUV//HSydl2aUD/5n5Y
Ec204V2Qi6nR4LW2+Tx4tflsJuXWomIGlToyXvI4o0MBKdGuGNNFkdmBvSK8sX20e6b13ANO5JOD
O4olasTgQVK4PHjGjKmpmIdlAoc7Dyef2AajfSCglrNZWJ4AIegH4ZEdmA6csMQrUdbfJLvEr2Yp
2xMLN8nPOiCbjcoN97//V0bJEfywPiWA+zQQ44fRRAgP7rCgT1lRttNUX4d2/1sM5bFwp2JvRWSF
DKmpgVWacmkSb/EnwVFW1nDH7MLYIvCWG6yR5llLegIx2vyV9ozhPOBSv8E4WNVUhbeq3IKJbm4M
CnGjEgld5YXLWDop7+btht/Fo0ssw74N3f4RQM/w6LWu3rUeNWuXfHZ5Ky9JopNbbM/yOMvo3SOo
/PZzSXoCKiOHQzt0l33kxtlDQMF843yA7IE4BQiCARPpWDb0gAocLHFE8JhZTVcE0PalyzhKmL96
VA0HSFLxNYVDeRUUsouxDbrd/ZtDljsHIRqmMT3pcX2NA9yrcCvR6xrWskshC9794WJomo3y0+bm
3y+6cXgGo+HBSKW++eUUHHnz73lL8GmYGvYhhqT/FKg/YcWZmSE5QnK2sxOZ2M5K2059Qmot3KFj
9hAUZ0uNZ2O2+qc8e5m8qr5xph6eIsMGSVTNMWRsvjRmKGSWE+ebyVdfZceDvzQIF/QKjJKOfnbS
8jv1C+Pk1Y1+9gpLoWPM/c3PN8O2ZtUO5+fJTm7wFv23wTJbGtJ1vvPn3n6WgB8ZYRibwKMEBXg0
AnpwAdLGTvFkhXyEnEVYlcMGWLHViSUeeuchd7hdUiKE38vRK7+tmAAehI35OZKggvDyuSs3CccH
PwJdEzXRZQ6ThgG6+rT7u6ycCdey1t5Op453LRyGHGPvfgWcqO+bjsND8zlm0UeYGP2LtmMTbYC6
Jp6AMwDaBf0Uxha8acX23j89RTDoDs5dq5fX1qlK8gqBLO4CTcauEq5x89DZE7ooeozHFTHtNlPi
k2PTKXfEcJgT7zkKbQiwQqId6nisR/2gEsbKLUPXJa942g7tmg6QftFtWD/daRamee7iqX8rzaBE
SfkAgTpjO8iHwxQS72vWVnhsqZvcArV6jHJslclnL7FJGCw5IEOL2UGTu4GBLx+kCBDWR+SUpCK1
ziLr92HGr55fCp72IW9fc2kuazVL7q0wXvcuYymHiBczqII3Sbl1MGTpLWP5XSUOFMCkFLc00c/T
IKyDTYo1TTewQK1dRSfaK1cMY9YqMEbiUOLROiO3NVeE9jiseSb5fXVWIsEqtlpCqSulrrdDLeR1
crPikQb0ZqxbTNndPVetUscec4KEUr7xaCIt/LvIw+pC2OJ5vc6n9qann0GKxdjDK+uTPefyUHcs
+3D6EZACcTEc75j7zD0go/YbOxYRKk2nQKk8f7D+BjuVKpDOMRFmLnkrofDzm4nvY6fvM8zSfccX
7e5lhUS6akeHJwEEv+m8J5QLD6WGn+kXubedOfNvm6a+pC0ClVBH30Njeg8/lwLygapzsZuQCK4D
7y9R6mym2E7nWv3GhEAhDAddFh6jWHhBJ7g7cAI6/UAsx3qy/PAwubFca9/d+Wx4AAKHbuu53KiV
UArzO0n0YTiQRLtA/uJeUoDOe/Y6zC2cEqsIFcwUinxHDl1/mgHmrIQTVzCequmohIIf5sacBeq7
lDeA7kT8TLuPc7UNq9r+kxf2qsJ2nZuN8ZaZ03RiPogIIsH0KUt3ZdoJwNb7pYzRSYvwTfd5cVV5
6NwKKxSE9r6HCFkATmfOIQY9s7PK5sMoFeS0PPlycN9hvpvcq4eiclH698bOTKO2Ue2pIBdwnBuk
jpBE3dQyyFGjFVNXQBExZBUX10DXpSS0LyNjwM9hS39afvvlP5rzUN1SdmVnyO7YeIhYjompZppU
hoZFe9Cqc3Iawg4JH2CuPP9bhMVuSufp0Urd6iUYxJeo0aqLZHogfGw4eGm6r2LAzxngytCSydkQ
JHL2tsQxW8hT7TXeA4BRHtGpOs9R/GK3TPiGNDSvaYv9DQpSuhC2BxNiDM1tAfzhjLUVF13a0Yvu
bBogSHdRRoC7q9L5GqJFvvXeeNQlSAbrfkBJzTg6F8oJzwplopd1a9fq5Tq1wwDznFXQwyMqSkbG
sEpZobb4ZabrPDr7aK7UQzg28OaarD0lcHYIVxw2yf3/j3ah0UEsnCZ1LlnJINFv7JnePDSSKiYE
3sQVvm4mDKYmh8qXsLr31hNnOE2Fo46jtogBqXoGFI0jdh6069fMISUjsuLPZSvN4WwGE2GzYW0t
TUNBscoED2U3pfuhzApCdrhkQUKzobAYqQ4IYP0O5b+X/PaCl87MSaTLFeNy1nP4WPAviQggsnAg
9W5j+ummz0P/uXEb/7msf1lM2R6d2bvNJkt8MXfZph8rB80zWsbJA8CR2OEDp3nOhnUdX5vdzDw/
zGwTiGYvzqYxbLrOtA+iDGxG+vp1Zsq9jTw+c1t5d3ZwR9epLvKTZ2A8RN6znOb8mbyl4ljQIoPn
3SFCdBxSY9OuIgQxqQiZzHdW8xzloz42aYB+1gjfhlaCLIvCa48Z5NvjIFo34aooGjjks5Sr/61z
4KXumaL/7AnE2FofRtcdCkbqKzfIsYndHXSVFyIwNrotPw1Ukys4xcGCflGD0a9nCBWQDHMHLggJ
ocwWxoUDUOTCPtSyvhXjsz9SpGhF8oYr3AMBUfLCcwX3G4/pJja6YJtnalqXztRs+AvhkaxmtUza
Vj27fbBF1EACHE/GazhDQ2zcg126fzN/2uZjVEI6BeDCSa5aDaOCCtzA7sg60oW1cnOGbFl/Dsa1
23tPPsNGXLXyyfbpR+kw/oQ4QBcwLPSpBt947gxyL8xwN2njKTfJWBookJb6XatYbirVmc/QZFgQ
A0EPdo79A0PPZYtrAgoSjmLHoJe9TAN/HYa0jlBVkOGd5fTqgiRZzrhPSDRg9JSbKOL8OmEu4gVg
QLO5sh79kdDMuY3snZOH/S6o8E7WgBsvyN6Y9ev24ecrK6hNSMyGB8GjSA5lHHw6su+Qn40uvYmo
2w3RXG4RB9pL+qvVrfar6ub0X2hDi0efuuFMmNKa9Eh5Cq2KC2Om5UzWFoqSsL9YCI0uXuq1R8+W
l9DpbobS5oMfZMPzkDxbkWG9/HxR2E+VT95ZFlrPkvr4XMl7MnEy+78Atew5xMDLy+Ns28g6uDbE
r1z/WQHJjAeB479aD5S0lWPZ9Ag8aWHVulsT/kW6XUPrhfmDgAgqp416pjGusJX9hSLWce0kIKb9
uxkiNgs41F0IV3jCERhE0971c29Fwl63YUspF2kNhZ/lZaCNhmYlsl/zJMxoSphqOWlCixoiHOi8
lAHtRW0faUjfBRsbdPeKOMSbStsz55PyUo0Et+d1f/65iJFhWDEip/n50kh+VzGD+txS/TEIvVXT
N82u7D33iCgn2us4io++cuz9RLzAIW8+ZM921QFXHnj9sHCcpH3P8XL9JOr091idiBQm8InmiHnT
ow7mJss2tk1n0yawAc1y8ZL1rTxCmEQtU/YIWwP3dew0iMNyhpAwp7uZkgOWEfpVDs0EdBXU8/wc
55et/J1Q1X0EZxyR8JmL0ku8LXjN9q0YQUYSRl48VMNMxHRfkggNQfTW0SFekVukNj93nh0DUWvJ
7ArHdysYk1dGMvg3xiwkJeNtRFhz+7l4DsUYzhprUx7LKMseyqCtTwQrrVolyqeqxbr+z/fPf4mG
lYvq2lHKtTxLupZr/sftU8SKeKR7f4QUzWWgCaavY7tc/+7TWfzqXLiRPTIcoFv8mSRpQV77LG6W
RZeqwmbDB5ZsVDpCiWEOeI48MIMsKvFlUjCH7AifLiyuAIy287sEs87RBOFEFCCAq8x3vyHZrmjZ
v5q8uft9qw2+VVrTNRNy07QvEb6B/T+/Zef+lv7ticGR6AOlQKth+tL5z7ds1B60+7qFBdiVPV1U
t1ylPub5vgSObBKoUIyIHBuL4zVhC8ZJFfL/8XYmy41z6XZ9lRt3jgr0zcATAiDBvhcpTRCSUkLf
93h6L6btCFeFXbYnHtWflY0kEDg4Z397r+2IjR8dyRfHx0jE+FYA89lE+OFKS28eY1QIm6ISEydg
f/HeBa+RR3/IOnhN1USk2Cz4e0GoH8L6sxf9jzkv4dLKNXPIqsFGWoxHhY3jI1Q7cQP78WEm4kbK
KF8jg0IdVIaDk6lVvEUTeHAiyq7//pL8a3zJMEWASKalGlwVYnr/kvAJSlkO4557WYArv0BI+tEz
4ZeWMUrQhZdAL+EO6LUAPV6BovPvv/jf/NA/fR58dcXkg8DerUiK+C+3oJpbzRBFEA/8Sf1Mhehj
1NV1D8sclCyYiUQSNpRlzNSWMIQdSHOPn2pq0mHTkpX/99/L/+pCIFDIoi5ZJk+F/M9PA8ugEBcB
E2dfzv+MTc3OHrx8D1EIBNxWDwF7GOrceUUl/39OL79i0t9FOdXcRy352v8em3Y+289/+oVLE0U7
nbuferr8AHNo/0cU9/Un/29/8z9+/v4r/4dgsvyK6v7vg8mXIvvMo8//OZX892/8t1SybP2DuLGs
MGki8isSqvvP/xh+XnllWfwHsSkCaUQdFE3UTMJ2eVG34X/5T9XktzRNN145CFUSX0FTVpC/v6X8
QycUYcIo5J0NWEP7fwolM5X+54yPIasyeTiRrJSuqXyP/xqLCxsmNj4sGzvhAOc0nRl7JBePPN/a
uqqyXZZIrhXgp6Qvmh4Kf9ialb7354TWjqmvVpQVEAcmbtWYScVZLCQpw1lWYzYpx0jDgzDhtdeq
hsZper2yhN65isF5lfnGW2Qis+XjA7si0yKTQqYs8VRVxeIgvymGRIVJromM/r4nmeDDPKYQVOR0
Y6WvwApHQWb1jauLOnSnpIHfL4V7/MMpw9++wBZj3eSBYpxMoyLWxwQ6YM7I5PSSGZW6F6TCQQET
nZEdncCe2+mzgbokvUflMAxkAZ/ZOAfCBPRlXTftMqeUlGUu2vhiCO+wl680PWAMBHTpIlPhp268
cmx0vHUt1u1GvARKjNM6wAmkg0bqEBMYDl+tUXpQqwIMfeR1Ta7DcpWkl2ylJuQSvPiuHVQOfVaY
U4kMYZVYI9rLH5iTAsOlmcJ5GdtzKRReDp/Kof/pIuWkyothxi5G0x79W66ikNUI9dqVqTfYz8so
t+DTNQlp4Qp3T0SvjoB7gkOZ0zXmoyStvMx0GnUpwCQ1iCE09KedaDLgHTYhwtduKtKTFJl0zE5M
jvT8MIb1lxRx8xBxDZZ+o167WhUR8Q3mwFP/3sq/WmEVJMS6c1KwU4rUyYsYA7TYNepWYqw9MDWb
R2jXxjQz4PkakzYA2JvOrmX9JDWjYW0o8V0Z72OpwI2QU4WZardT6woPG/6yxVSKzwrgoRflyOST
WhJChKXcyiZ116OyhjWn2oNIvYKc4ZsZBWUt6rB2W8UKlgXMGVUNvSiZ9zEeuZVZl5+BanIKZJTr
wSQArZ58TkHQeBz62QZToWL6iCJi90fuEli0apvbVYdmg5lup0hkCyRrb6rsw7LcJwY8qg4RIgxy
KL24Mlv6qX3Ok715GTIKmn1C9nLaG07Tis8uMkJ4KJTMCUR1HUsTfRjjTjDKtHqJBu4TdXBCXZMc
gGNcp7JdpBC1bfB7m6CHYqUAS6ZDJnf6EtBKF0orWn7gZIKt5k2D4zOEje5IYUI4uqshR/vZkqMb
HHriACLoRjpGXpWE1B3Hgyy7U9c/5a4jPNeptNlXXzTZ4ncXTWjzWvrZ52AyBIpuXi8/8hgqfC9J
X1rJ/DS7RrJrgwBDUysPsVFYR4x7MocyJ/r2XnJlQwF6+ljiufXT6DQO1YdfPgVpfB9E3CpBcYRW
i/o00cGY5rRYRUxJ9TSSHHCaED6EW4raaKfPioHodsBz1iWlSqYyjbwgO1cUyNW58uZTvIkDsCHt
yo09oW/RNTEc6oxyT4ZCi74QpF1tfjax3q6yCKMecBkY1WQPMPffm9LadlSXkkKb1wn2DUFS/GWB
tlJiM91xlNDbYjPLUMmhuW4jSg7j2PwbQUVfm4ArFaXNMO42CBCqU4oAgaGrT3ZoFIEGJ1prdC8W
aBopcdQzQmfNQ8Gw6+pl3TGkJUdFFO4ePxVTIEPBt9wY2jesKD5oGgdtLRjOA4gXQDjhsoxeCQrS
Dbbfw3C2WuiEo9JfpGTuYejhrmxT8S1iTmJLZKBtSK5UGCbTXmyrz1KNRuDU0y1LxNEZWg4VYYgF
Y5AiatrpQ+S8hOEPU1xiNgwoKBYugS0u6YqAvW4S6wxCuEGc+BGuqf2zuKVUA4N1JX5j91I3mYJv
K4ssR6U3wyEXn3hZdpsZBpzyLn2mSrIfuxml3Qz/6HUJWdci+uwH2qKzUpREBq2unJOO901g+X0G
+5ZWx3NTSvKBwm+nbqDamUNmuSp2yXNBz+USIlbkqITUWROzwo177FnA8cMA82M4ESA1lSxzp4wL
GFtZtCqMYMKFIV5DYoOxX1IiUgbirhWMMzo7uUx5FFZC1XxpdaEfEtOHgdN3z5kxgx1Aw6NOAqJj
NUtPpU3UlREWD18K6l3f3RDWY6axs2O2YuAknYpLL+J7ajXyKtIQThu1Zy+o6xQaAQtt9rRwcN/l
FNFpUt6dCNBR6T1sCajcw0rJblUuGADgyhVDfhnFtS6XdLF37N9llDHu6jbj1aMEibmbsvkmmgCV
pBkhrvaBE7OPPihV/UgUsNy0tw48l/PV0MLes9QB1GvzEPM42KQSmGBjDA+6SXVAnZ4letMI+kyz
R70QU1w9ftc0zLd4pISTHGB9M5V91Osq7eDq+xAFiLlTucH1b60CF8CUAv4xae4K80MxGaMDnmon
FQ8cjstPVSGvndLUTlpqiUyvOE0JLH+sZvpASXB6JLPlqjKXqtJnd3XOdiKBPIB3C7gLXaquc9wt
m1H/9sMRXDFbFG9qExpi6hGeUy1CTaPF59LynHtCjWTZdtMatV1b1kaVX0Q5LEC66uOHQciwGynO
reb+MzBG1dZAL+7lzqcUVXq5kxqzduI67J5FrZ3RGbVtIaqSy77k0OdB/MhpU4DN6eakVnaqqsT7
UKHVSxofVooF1Uw2jMeqZzPBtGJ+4ZUhclerKOGpEsN9CZf6iGUYxF2rIXm/ftlk2LFSAWdnU4jF
vn21fGNvwa1WxKEzlBmOHl8pXVNn0bL6wNoOsJxWvPXfrZe4D+Ng2P39L7VQXFFT+PhE4n/kPrlW
pi+rqzwPkn1ofI0vFELSArjFr+Amr3FfJAMxyYVQXKKTkcWOq57MKG8KiDdLinf4JQU3TFcqE69q
uKENGwfbDLRr4ReDuqR/Rd0j64mRrJF0wpYjZNk7+0r/TLy4aaLIVsrmODetusbcMiVCcOjVovCo
f6cGDsFyiQ3e01GfGcxbBcBNLIy9gI8p7arXsANXItu8dTVbK9kCXawr1qOqXzUdxipWMZaok4Rk
C/jLL67tmNPdLS9zIb1nrFqLSKGMtZJl0ZYxaqvSy4rORF82tCfYk6MfqJQdqv17pT8lUz/JFcF4
BvYKMqD/yhSoDefLRNNvXTAy7Ulb/BKmjgp+tLSPUagYDlVuLuVAAiaHITgcOCB06mKu2cxSmyKx
mhtszUo4/DHYTD+geQojDwYkiQGy1OL1Jany4sAvrZakS25WD4bzPIya9CNiiF7G1exZmdwuM8WH
RBOBUDFuQ/4Z4lEYzGDfkQsg4Nfv+irZTGa6YSO38ykyKMHJZIzx027wsgpUcNV4Gms7vlCP9Ouq
Fp5dqHsNULx8xvOUCAxGNYBkFWxhUkB92O4NAVrrBBefpYifTO9PPIoYeVLCc9M8w9YucmvVsRme
w2+9QjsiGKUx8ahfnWlt6kiMmQbG9KAO7ZCCzBdAFYh2aZ0w75OX6cmX5LY+Fo4InjQagMls6FTy
JKFzZGL7r4VTzWUXtjIXB3Il1CS7jQpH1UdPeDFDEXATKGKsRw6+30WJ46+hprmDkKp3pghRDdk+
RneLLDVcyK2Cptd8a+N3TFmCRtdRz659ZqchWsGC5DktQiednE5cLRr2Y3XMHTgQkxsZ+5Cvykgq
viKultzvwYEvCon+rXK2qVr/GOVzZnHe8KH4uAOKvKS3+B8JKjfF3YDuwMY28cTiPuWk8Wkvm1uA
j7Lba6DlBNpIJkZgzFN2gQY3OCnoAedKEjFTZSRS0mMxY5sKW1xVI5Qa1ps+QnKOlXOcRoILdAfD
CsE/vZtXaZYVtE9S4sX4wG40a8OHSLqZJhyVPaD4XfElajE8qMzCOvlPq4g8CM9cnpyErgZN7rBM
SazRykIn7CHU4JuZWHYFE30ezGmm6DjonZG9zUwrUyWtwq5Y6RqcoFEO3V7W7LqFfUl5bajGvqfI
9Gm+dtwYJ7jMybiRODQIVkszbUezWkZmV6MymCxsCHg5xG1tTZh0TfZWVTLtjBYWevioO+sqq/PZ
wCoFihNLIMyarjL3EWn08KgZDDQrHVg/6+saz8Z9xom9UGkdXlSNfA05KGITNBaxNl3Q9b8sHw3Y
T0yQkaPPj2lm6GFEK0ugluE8YhfFdsQMoTyLw/QxkL1alGp6Ftrsgt0DO1hYvekTG66O3THG6KwH
Q4/+T1iyIf0h0DsfmPT7Jd0xFRlHkoqaOvkz1uo9kNBnXNgB7xPseUrodpX8pDnEfAIUea0IM1ZB
fOnShBdMkNOPshKfspAxrMVUTEVxC2N3ZEDPPW2SLy6gV/KVjxlZpbyUBxt/QmSrBIcirAXAn0Fc
5Nkvhz1uNh7DeGzlVeor335d6Sv6U//Ujb7SX7cZPgiQFRavL3LC1BAnIcVy/j2ILCJsevnVZk27
HsPsN6zIyEPyIuNTSZzMRDdGMl6rgqbb9EmzmOjFTm4zdmhT/jY2grKhp9FJpNILW004T4nFaFhg
Qh8zt0QQ53vU5bBejJMme2SHeRRZ4eX+RP0RSYMyd5BsE7fKkhwWu0H+LteWI+MSnnA7S2nJSUbA
+mwhUT/05EKvhmO0IxMCXz0nUXLODJaZyiiWeQ4v2M9lDhxwRUOGJWwRDyDCTPptWlIQNDL6unqU
BkS3TMuEJZjI1sbmTPgqHCeHYCGnYg1aTFVtxiI/hjyUbfykAsvOyasRiQaFFTA3r3m2EuVhUdvj
M8M1fabrIVG1Nc3q/KSUdPA0SJ9he+iirTkw53dnft8qryNn8sFi8EzNWakek+BalJfR2NQ6gNyE
o2v001Sf4/QnGM9EY+ruNI2bZHr2+bq6F+PZN3eStWxoctD1a0MJwxh81POvbBAJb6nlzQyyKQG8
Ws4VwjbgtFLqtU0+3il4XUbDe0wuqT4K7Wc6HfsmXTD5o4XzFncTp2APqz0/YphctOyj0HkRdhDx
D0s5ePbzI+zWLW799ClEN+QJzvxgein4FnA7V/5lYs0GusVXxlVMyYqc/YQvdyan0L8VQsUtSB6Z
f+0wXNc4ZJSBQhXrGZt7rfDM6C3xf33hO4BQMMiPAe3GIJc78vbhUYFxvK6HVTW7yrRMcbU24xem
r0XO9S6qhzZuhOFcxm5JDFx1rXajmczlnmr+SI3LHswmhspI3UIoUHxKU3ILNz3Ah+HttU0JscHD
/MEb64WGZzAW1MyEJPlhml0t2GYg38XhkpL4CeJnJIuLHnYsGedFOyxFiQbifSOwhvJO9wCMzvEt
om2LAEI3qIulCMlMoBasVz4zwPtgjWxr+O3FXT3SRWutR/0iVQ1mCDQj/7NSNp2y5PU+Vqte2zRa
gquCqEaJlblcBRJ+fWavmrUQutMrWIP+gvNw000fQfdZNxUvL6zL0tm0Dkn1Nik8xybzFnMbRHu0
bLPbNe2fSD7SMk95EzgOEnq1Tai0ZonJtz15InXkJFGaVH5+tho8CusLZ/VCJvY36HTlPqv4PiIq
vR7m91C6NCaoWQn8QxQtoumsqV7OzghdBPQvHZHvabDz0y8/OmXskQrQCWX1ZYxunq98ZUdUdpaf
5GMh1R6mcp1jQmFaw9i5bL7EjNCsqyYHwASSf/aTieEAA2+VcZ2NA5rVEblIEU5Bo61L8J+0g4zy
RtC20KCbgYULngJB7C3kJj9ZsX7qcNHihbL3WW+zVcfZYTaeVKXHbHvVVRH8aMg8ovArgIXI9FOn
bMt8CfvPUv9I6p+YMTznWcyjq5iJAE3g/TISPH/YGP2fLDnIZbcOOvMMSsKp62vSAUvBLKuFeOUf
g3Aph1/d9Df+gC2+OzbBlaN5lUSkbKMFB1eTjYqvCtQ1AVyqPnplLbdHxvcKZlwBr1mWsQHUPsVo
M0JlDgSRyh/TLq2VGTPBoMQUu30QUTBbnPBZ2loHHqyQVmp/589kwVEaT1q3wX7Om90ilt8Vb120
5pXtD0iRvMm0CG8VP6NVEallY9WLhyG4WdkdGxpfQ7QOhkGc58OgLUdgmychIZj5t1xdpXgVZeeC
Lftonozi0ih4ZlTKD3wHl4xVJV6e9F5VPuBj8pAFBQd4BsE3mUpT4Tccf6x2K8iO0BBoQgFw2unk
hw9BueTq5e8xsHP09LexThP7zOik9ee63I3WDoKFJbyJE3v1n8o4S+qp7dbT5I2KbdFZD5MmPKdw
oEP/nlb7vNkI6NZbQ78n0zFJSfW6FEhTtaCB5VUIU8By9vVNOT+D5DzLBz87DPEGBXXItzLnvzJr
CIuyhO3E4V0PeM15RD2H7LOXqXqiAASjvZw7A0D0dMlVZgGkonHBlzaxaI74CxQzXOTqTqKLsebv
rjGNUA0jJNh1L7UsEH5ydSoiy+izq04Z2F8unyqdi2xF5LzdW+EOZoz16iU+JdWh7cidnMXuglvN
pOWX+fNESmHXDychem8ZccTfcVWzhTmrymkqzw8NbShgHZaWo2/TaF4G711/ZqGZsmNqHvr4mUXb
ebpU6qMpd0KxHlrwjvYww/y+68Ou4CXWI01lP0Zwmawra0yWbTJ5L4Xb1j+r5WehEeYC4/haXgOL
TR7xFGQnWg+vpRBcc652U/2BoPFakC0nLDgSig+z+8K+RgHajz6vUx5qAPACXXW5zY7U1w7AwEud
UKrzqkWEgUFnV7BCo7DnljnFeopBtnzlEgxah+/eqq+BS45PTQgKv0H/XHKlYPL73TEbTZpuUjej
RCqffobg0QVHnKyZtCZUhpoP6lleIVtSfcPBj8uYwVzqkTpy4EU9P1QMi69YqqwOKzEg1LwqIzim
O0m5WOT2FeEjwpLKplmIUb7HR5dsiKTq1Xc13ufmlkZUrx6bmFNP8hKXFoOmwVliuRkoR5n+4CsW
8281uEXZow27BRw1imhGx68OPCPI8AW9p40zkcoaj6DVwNgkZJP3vJSVYcn9A4vfHQIgC8GWqw4S
Xqlxu90lzvi59dm1F1xN2AaTEBbshfcXV6alhD278qnAkrdlyVPDjdnj9Nq+4kLR9yCx50G3s6av
tgQ9zvuZ9+ZU3c3x/PJtsxvnR+IjmAt36q8p4AaBaLq6z4KNOm188sHDV8Yrh/uXxofhN8biOMOY
8TmNeZPw0JQfKSD1tqFzqaxdg5ictDTaX40Tq9Qe2uQ2KmTY8+e8rZtrZ72phlsQVykHMmoTxu4j
D12QeYrp+eK6mD5700vlHZjqxFx28xcT8lH4Ts2jYe1VfcsXpQiPHnnucG36JhHJlQUR4udEdo9B
yWsMUp7AP3ols4qixo4dxib3q4LsV1OY++5PmKKlDeZjltPU+pqTe6zt4tfDbaxyfYU5hwwPegf/
R78cAfRT0hXhZOD1muRX9huK+DWMmxTjLDeEuDJpR0tC0e6pYqiie+lSkqzOpI0mj1/KdBlQ0MVB
dRcEyP4mEUAe9YSqqIhuCmodPfzWU7+vVcIpVyHTbR1Jtk51l+I9G4u+yw4cROHOIv5JUpo/x+dl
wAw0+lNDgiKmQbJfJwQjRlc0P/VaYJx1NfwdR/MkXs1snAc7NShqXFQG3xYs8y777oX7QJJOKs9Z
SIxuaRGIGmBDadllGN1a2qmoPNJqEPfVSGOJ8JgoP+FjgY8blx5vv7g/dSWzoVFcGtUGwDJm+mG4
09uiN99i6rXtGuqUHtgMQZDTsEAOcCtFXjvRj2aQaiEnra8YDnIXK/4tLTyqaTnfpuIqqtmH8EIU
8uXY/M4hPfX4cilU5GAYsq4VLiXdoeYqzbOP7yzFSU4uy6fHbd8ZDo+sTMGGhPWGeCElbuvOH72O
/RsiWocnn/Msyc6VP6/9eW+aB2aLRuPV3OLipaEW2uhBXIlOt3oJzoTKV/xbebW3WkaL+rMiACzv
QyhW+tFISemtyRkmiZsBzvcpDMj33bgfk/faMBah6ok9IUQX2X4RxadYuceAH5x62oobcxXDi0hZ
6K+l9pVFD72+FMVJBMwBZ1d0FXNTjGu+EWoQJ2NraJeZnYKMpI2XbGnQ99aljtnfOsFrtAPjh0XL
GWRGrIrj9yE5xc21kJd8SU5m2N+3vUCE11G6lcpzAFc6uCjGZwO8JMM5tATs6crZOqdOhFohBXmB
zoyBZgpO9MN8HMdHll7l7lNTACh8tEwFE8gKHUgt2rrCU63vmmaXyo78q8zXWH8TaSyUReSb+LcS
bSo2fPWmV6cxuqTp3S8PZrsravpeFhV+eZIToFV2ZnuJ5mOv/lB5AoQ+rDZT7+rSVZX+xPE16vbm
GqdFvMLT51DxbS0qjhfOFO7bna+TlX0vBQz/O1/cpxAU5lVNVdjwi5OVeRMrNW2jlmijfI2ZO7Lv
wjsVfbrkNiFFrtI3qaRZY9FGy3J84+gmw38h0UrJRB6hTAv8szD7SYa+jfzPoDzg+NscmmxVfJJ8
5084iD2MB2Hi4/Q9RNah4HgWSZuAcaz1aOOdVTuUGcba0Rz6BcMRIopPq6QD4TlmO9ym4GzT9Jyp
Eo/yt8EKGQlvbfFUhJl960elrLjPwRfW+bGKn4Gwa2kr7JJfxdrjIKXYr+82aBU+/aSE9PRj8FLn
A3y+5LBDAsYaPxdxBYXzlJeOy3RYyd3ORxeePzqDa8TqSWGuIp5MaQ8sSSjXr/1Xo6ywF3NUQdef
jzCv+Dd7p6fZ0ydN8ILJMZ9Y6u2yGfds3bXrxCxEgiTXg/zhIIVv36rcWkVx7R6d8BZJ5WLEAkU3
2WLyf7DxIurduODZcJMDHkMKzRxQCQu1wi3Hybj8GSGRUQFpp9JJlnFV7gv1NhSrAOizinF0m2z8
8aa9AIUi2JxzA1SZSV6gH8TszdLp4Is2aXs1g9+MAU8ek7Ed3ifE43g4JdqhI2CfNRqwS/hrKTio
GP2owLgeLtL0mOQbxu3BFmkX0gHMnvc29O0PLbpPHI3lVWDZFZVN7bYyd9DIFi/wksK7gygtyzvC
Bcng+cn6j4K9+ipsplGT29hF8rpNeGXT4wB25o9PZ2BMoc4gb+ZqL7AcBaew2PNhqYE3U+YZ3oSc
QWvPa+ano/6B+w6x4Bg6HK97lxpH0qkOwcOUPXHqsv5O9leDINovGfrHj9LwFH+jv3a09MBZ94zu
J0qrgaWQvKuwcb2xHymKS6ntxWjbCs8FujhD9/1LuN7E4sUgrIwWTRDhDwdVrNbnbGALHv6KvATG
onbTId9ZPbqtTifJjrcoMM0ZIExzyMW7BU3BteyMkaqYnHDxIscQFFxKS9EVq+8AjYnBho2Zd5H0
n31HeVWKGI/E2Y6P3N9r41Ur3zUy2R3qEaev+JR170E/uZnwp4nwopERN6Ydg7zXrVNHzmBsUwOF
Tz69TkBk6EISQZH1fKGGCgBGCWUllmNVGyV+F9OTObjy8KX5X5EpIgLnDhaqBUb6Va8z+4gvRv4h
V4fe+QKnVWsuJ+TxWflE8VeGvpvGnVTcZYSVBvDK2ryLwg7MHQhQttDsREt1PZs3Ct2L4rPWKKEh
4HsQ9CPYnEUjwZDzooCgAco1WUa+gOZTYwO0o+L6eq2+kftz2f7Gza9iEPG3kCMywofMqmuOG/l2
Dh8FQcLhz8RH0fAGFiHLBG5SfzbyumSyMHIpPEl6M+f3GQGMXYQjaSjG2btgrCE+Bemj5D4oZHgX
1EUBOPi7gWY8iBRm5ZtX1Qu6mKrSBR0ULlx9DN0EHqcbTwdoyzbBjK3w1POIvCZRf1L0aMvfSOWt
nZc8PCGbGOOU6jTRh9fJeAjWulh8AY7K4LUZNy16I2ad6JtC3bO+pcpb2BBf+ShrTvtbTffMijOP
Z5rvxHDssHNq1k/JR9RAppOvpsDhWzyLJKEtb6aynKLdF3tCRb2hKoF1lE2kfwT/RmDPY8nKeY9G
NMzk7cBSdGKyK/MOgHoDw0W+G+qHNqUel1QcN2W50dhx9A7kUx6qiIBvbnqkRPT0gbg2aTdp3tXl
Bg7aq3i1ZXjRU19XOBABUSR5XqVvtJNx2UDexBHVuUOxCURqWmi/Tpc6Q3y2laz02k2p94OP3l/y
3coOC4QiLKtfMd7UUP4Zy1crI/3qhZ8JjJc6XgJieQYzAYUiLZkKLxAK6vSh8VIpD0qwqkuP7StS
UFxBEKxXdYMEzaAOhzInh0o++vLK0H4a5V3Mrnm9T+N7McG84f3o6MN3nXy1fupG4ZHzo86jUNua
7ADSDxfiPa48tqWC5TXUrvrnIfOa8EmpQqAvw/jTIg5ehitpWB5N6O8pdvhbRGQ3wgz8fD33FkNH
lqo9B+3mV9edZLIt3Q38bQcTKc93Y+32cC+CVSqTN2Cgw+RajrNV3W2kfoUuJ6JB+gQ0wDsvZ3Ds
3dovzqZ+L8QtXZ2qI1wqRu3NhxIbTpiqS4llSVjwc3EPWpvC2FbhXgtELzPo7Vbe8/QuugkSsrpV
p9vLKvUXGvVaxEFBUgRSmxtx2CM4MSLa5qwjSf7gxm6I4pSc81rL69N7OF+t5APOm15tG+X4+yaa
7zGvFuWlibYndXTH2qs5KGcV0jzSF6Vd6ls1KUsh9W3BR5WcP1LjSzMSkl5n3Tq1FSJjfx18N+Yk
u+bubKzdOL6FL35pRsZvPKvBT4cJbAAgp+BC7vgiPKjEnZhyHw0uZ7Q4hRqb6omlsL3K7FNq8zLO
13k5O2r1TWSN1rQlyJflYDnDgh0S4SEjJKdj4OanSqhmrCJL5kJgEjYqf4DxBNI6K1eKuqv0Ja5E
oi0puzC/8u0WbH9KIce4QONlqBC52PY5IzcxFhY2awmBdpt+Xj53d3Ti6mzIfyBH2COgELtDD8BF
1N/S18PNaKGl11ogHQQiF36MdCqnayC6g/tViR6AWwR5lP2uxgbH2V9eKtRPxN6gAKizYTvmp45z
v/glDG99tk9fIoCeYoa7SdDxQ+5Tm1mxo4YmLxyNtzSww5CO3vEjGvEblowd4odlQ/GXj68fJ+EE
Ai8HV0emHyRgvSiIjmhsG2nfvF7oEHVk0poW2MjGxca9K7JN89nX+7J7cqn0Hh1f3ciQESzzkpaU
J3rMxADv8XTYUdsuFRDM4Piy6amGW0xbAscgvnwvcqxe6AOs2T+zcO3qo6l9aokbTT8BzVXD/Edd
wvToLpn1lQmfRl3z5zlr2Hxi0xoYY7tV13oPeY8raqFfc9p2NX89uNJC8JGte5Qv9Vcar8lwD5Bv
LXPNHmuSz1yGKnUtoqkc03tPe2n50qfALZGnld2WV4VBTOKSGV+9eB1rZRlzAqH+g5RSbBcNOe01
H5kRXYLq0Mh7MXgyBBgiD7W1ffFYgJtsA84Gfb1V82Vm0zbGadXz1+wYObDzYhR5m8AdH2P/FWO2
6VHFEXsdg6/AZ1BdMb8VDirM6Ki9h8SnrIjwf9rZDZJ0lZ16zGfUVdEJyOkH6hcicxQIdss2Xe/v
lQsbgCaQVeGpxaZcDdheVoN1VqYb3YwLrSaPIF1ExIsUnieNPMqwghKGulfKB2yxKCB0vmDveseL
DnJrxftesU2aNwoH0h4DamamNK7EnME9X9iZ2tPqaKiD1X1Ty1M4PV6rT5/c5WKrrgZXzFaR8QS4
tBgTE3hewh1QYYq9jUvU8OpcOipq1Qq2B1zfVbT0oeBudF8AdsE7xHjXiQYYNBmxLdcgQrFHxa22
HgzO6Yu4txlr10dLdvNynSRo7JdivKnCLyBQ339Tpp2ib/QOq+Tv1O6l4luPPhRpQjhARnmk6S8B
VzpGfnJyDCckBwQ4S9tzpmSPEYxoVO8RJecKi13/gw10EdoRduAV4wy+88IF+B6fLRQWWmXcsguJ
Q6vQzH9RjtjrC+pxEPHcLV5l4JvZYeIe7TsXlm15EpnPSatWhJ3gwceyO3SdHHqkHTAEHTkq5/53
0PyI470Sj5NyHjPBhbqI0ttwtCyYbJ00/SvhvzJti8BhD8OuZr7ZcODF3eIgjyLd2RZ8FS97L4Q9
faZqukyB99Xgr+Pyt4bn1AfLLn/W+UUbn3N99NuliQ1Bkf7ImJ2EykMSzlnY43bdqLeKVsqwOIvY
BEPGPqBxt4JRr1gZHZgakx3iKUUI2KnFiTcyxZUch44mW+R1uCrBtnQifefMY3qLLX2+jwqPHrax
2IOtZUHGOxGARyqvJrUWy3AVEMN2ouXwx/oZXZgPJKAAmShEu5vuSReBj1tqWIn5qVe+RRB9M/1A
UX6SM5dVtPs0eYX1SP+1DASnhonUyE6DQDYLX9J/Zem8dhtHsjD8RASYw61I5WAFW7Z1Q8iJOWc+
/XzVGGAXWMzudtsSWXXOH7uP1roy8dYsI+GS/hGWUBCNqyR5obJS7LvJVq/1jFLGWuMLbMtDYq41
V4bXJi7N4wUhHatqPvzylQTn4mwyqNAnoBRkOw8CME7cemgIZvyNjGMQbRHG80QoyE67PZrfRWad
HVTMPKn9jaOW2m5PcV5sXlp/AzUD0n6O82uHO9F23FRfkmah8NentxIWvoGM0z+hgJDeEEfOOUZa
NS3kGmdVtC0l0vaosluwr7THXNuadBZ4DpbilYRB0pZytojc5yxhbBglio7l2+g1C3zzMZqzdbjN
8i14yrrBB9nssaK12rdefwmlmYxqqeu4jai7lUdKS2E8bY6d4N3EECV+cAX0ZBDYL5xfSHJjKebn
rPMs+j9bdt2Aq0ZCVxiLyKW63lX5vFRJCGmC10x5NImyAmlEh7FRrK+UDOThmpSHUl/rxaPENKWP
p05f+tGhco7DgCboKgATOXO2bcZqja9Trd7q7CPLBYCzqutVz7KUvXfWT2d9l/2XrHq9ekTl6OJX
ajzapVOPTxEUx6M+jTDGdezZXpcQpYJ4w+QR4LGNvvXwnnWX63sfX3QcCcla8aIlow4+1KWZ7FLK
dTKMdQOjNC2phX1rNVoGrA1LT0a09skG3su57ejVWGha5GIIZOX8TmB5UWdx4JJO1/MlGPh+uQrq
jH+ILxqsR7dddNFrhK3QRsgROH87NxLfkIWdlE6Cl6pslxN0igLPXSq3PAJb3xlw7fWGOJQgO8F3
AFb3LAv8paK6egFZh1MaCkciLOAjulpUFAzAH81SdtF/LwJAR6IAoovFcOH3g6diYIiY9uRo7bQr
lasQHcRwyHTss+mZ6K9+XocWBiVeuZO/0iBBDupnxYwYon200NGnXyKIh+M99rgO1orzCVIAcf7q
p9/yGB1GzPxTfpXaM8iXGwWEJk1Q3wy3XJP2ZZzI+sfS0S0mV1F+zPYerzl921Ndkb6MrGWhEx2f
rMoUHNf4qgLswC7Tlv9VSfu5fVGce56xM6kcGvLeJwyxKW+Vr4OriGgYNwR9kFdlvU4RhsQDAwlx
FdhCyxaPnPaRWr9WAxoon1u2cEzA9ByDGGdfAM6L+EH4B+KLhcWrUeeeMmxwyjUItp3ZWBcI62vK
gDLO1ZAfqubfJjj6NPGr6TqXvUtob+H/6YGG+n4zOMduEqwYB0vWEVuMythek/lAACiGyXmtmxVq
HM0d1kBrAucJf/+/YNQ7mqB4a67T4fbvQoVszCmD+S55zorxWytJtVd2dr4vnW3AQ9z9hfojWEB1
vLCii/qcNT90dcwWLw4yqTp4KtYbUkg0a0SCBHzBxSaocj4g6pk74pnZ41XpYcQ7y3H5fdjA+hvB
VF6UcgFEV8IEkvmFigWI548s/QXH9iTkGvDk0PqkOesvWn9RzjJzBOgX+kRyeVeBts5EKCqfalD8
scWOEA3iQhnAtF2KkZA08Dbg585iZ0FhhCWb3K9bcqYQuJLWjK4Zc1rwa5OS5xJlB8Y57Uf2bp6m
ggeXoau3Mi9bPKZ/XB3KmgSulrS67QxSJqXtUiJjN8UL1H5Z0OChGywdeyckminCrNGCc1uNXgDS
SvRnf1fa8iVKHPIlSKMqnkP5jrqF2k9CylC5cg0aXkdFNMFesEObkGvGLEFNcdkgTvcki/UXNHIm
EjL46NRLND2q4kfFvtKND1N+rbEpgehbnlmfmNr8/BrBk/aIAgT4ZhLbmLPZyfkzkOigQXkcHUzM
wdlfr3xOKI6zwHcRmgFa/zU8AplLAWr1CFhhgLNU+YNYx6Ux71GwIk/U+IQR8APakZXjyiRPD2Ay
af9u/EzVu0ruc5NtB9K+T0N5NzVkag0htuUPFqXaWRshzP5xQH3Cd111KyiPQPH07LO0T9Fa9yzr
ddzYW1+/SfmHGu3m1kTS25CVB4VnIJG6jpzLrEIFHhhgeDfive8uuEMFIqxGyFW5c4zgrlLaLoXf
ffa0ICBoIvKkNFukxSufFCeyQNyI77V20XRUjVfSHbXyJZ1u4o92pIcNwpAjBxptOto5+KTw6pSx
N7HUKcTN4l01r2wJOl5mEfu6Rx1pKh869DoUaRL8jdHnF0wtDWYrpHksGxkVR4a8bZGAGCBEaUef
OW19HhLhWvOXGkcUCoOifdQ+AB3UURHeomE5qxtSZh2Bd0zQwWOyykGwSFDBifVm5Xd2gUUWL0mU
HDcJTVZrRO3wUozERLi6FZYUJM3IVtfyLt8O0PEO7b9XJ7QoSCDjIHx2qBofDQw1mV1uqv10KMSs
8DGziU/9zBD5Pn9AHjbJu8L3i9EIgXYasuDsJYlgzWKFQWBGRh6lxUtBuUDdnPrxa2KdpquH/Ujj
J11yGYZH+gWQgcJE5XCWUAsTUZE9Ycp7/l/9+N0jORGLUFpKILngy+ZZXN1Gf3ogj9NhyJPhK6nv
QXFu5BeWbz35CYkHluN7OF/Z9ZXwc6xpB+TGBL4g1AtOkiaWBTagRes3sHBkR6G139CzAVu3Y4eD
y5bCVcIl3nAkcLdWPZGsw7dR9574WQBY0a8pwJbdi5jryWPBoSM4oS44Foh56dwktOQaqPR8RQuF
k7l/g2Gr5wNmPxSw0uYLuNJgIuBNHHRKYga6XkRzAsxLKKM5W9oU4tgIXtdSc1JKTvSLbhOHQU9i
3j5trycxaMHPuOZNVACfQ+MNLl6mHLRk0MxO1PxUk0xW46c/7nK6iLRjO734zIrNhyyfZeklZ/nL
CYRNd52Hgtl56V3KUMqL2m38WXOLatsC8cDmLuJ63fBbwn8IrGlJYAosaYbbCHcToc+W+qdmt5pI
rc9KuqKMIo8RpveatBnH5Std2ybyZSgH4A66SKvqRD+PDu1UECSN5F4lLlyTmUNmWolu4nzUs7XY
7ULyfzwsO9G+jM+W7qXT2irI0KuY5Ou9VG2rbK0mGzwrDEIVuTqk+NHNLt47ZQT+ebdMsthuFpLV
JFFdP7pr9mcXaQsLSPIc2MvUg0YMXAgiMUOhOxuTR4JKxRtXVbRNxYv1oUQn4giW1ex1OMvcaNVr
K8c+BMqXFP606i2yWG/IdntIGOVIEQZRsJER+WC+qBkCoL3qM0TAwxERkE/+INusA8LwDGdVrLsS
PmvV5C/0m5HRAsYtOAzsEuIpQ4sF5rFMS96SbQFSUu6l9FD3aytbJTDISf3DFsgTHzs87tE3LrEw
XHXOi2IggqOMhtGkuNrGmhYEGseAP2TGbA/rrKMTaLOZnHA16O8DBBOBYPFrPB7a8VqYm8w8gBzB
M5GXxRM1O1vMOHSHzCtTvcT885k0VLOjDz3ZJDobe3xom003u+NqWvKzoLdvlnzbfJ72dnS20lcJ
lD3u2v7OFI/iZkG6lxiEExzzOmeHM6VgwAzwk+qadkaAMzgP5wN8rLSClcZWwlcwYkmzxVOfswD1
jC5tjAXUDYitMfYOB4iBa+qJrwwj7q7LUNNJwBr2QPwy+sTVqIBuz3+Ef8L9R8615vWqaYF1GMFi
6iuiEz9ivOo38fjbXKiuYUjXXbZt8uZiR+g5knFJdvtkTUCIvMzVboZdYRuDYkJndZupJgQTtYD0
lezIxIDVcB3lFk8DIlYIroH1cgkXEx8U6eFXX5P5OZUmq063tHx10TaAbYho7gkTXxn+i7BHnsAW
OYMOYcJcyMp+4vGdjHGjV/qi738sGWvTgcMV6w0vbr8xt72xrphPFuZ6Iij+5kxsAPnJjLYT7Kvy
Sdk1UvabxuZBKS6q8EcqvYSqxjW4CrMDpjFNfUtYhuar1v8Qf7k2yOIUSHG6HwEiBjSYWoS0vWK7
b4CY+f4R2YXJo9ZA3ZzjRF1XQBlHhF9r7N9JlKJVEQXTKNxmiyL6JigMnJUgC89ZmvG+YYiAohN7
RTkz/zCQpET79PDZxJc3u6w4O/WHGLjKH464NvqMLZZsm90v55UXMPzocQpDa4wD6UIl6whMeRAj
LKswQvDqsd6hJpKbRyO+FGv9FSVr7iEUXUvD2CLhafG5jbvGJ26WYbb2z7EEabEgqhwLz5fu/yKQ
wEVpQWOeUIKLC1xA1u6XBUsiV/HiH4LWHGrzqyZntVI/tQRyfAvdNfRXHoMuXU+PvLs12UlGmjoU
VBOTNY+Gv+HghJgi7gO8x/W9MDyoLmU88VUQR/R9EZUEynwuqBMh44S9C/XVl0rYZeqqplDi0A5a
ddW6SbgcGc2icoX8RUYI4fgauiWQbnHMNXRkQ6uBcgr/s8fLrBgbx/6J5F2YX/z2McG2i1BX8Z5Q
uc3IWFfEhKXfVMZA/iI3vhHJu5r4HlegFdMC/YBGL1K5NKJz7mKXnb1BfaMzSM1g1sRxOoMAtY0Q
hrCxT+0jgvEgaGbeCcK78O8lD4Q0oZ4q4VX53XltUNEtR1AfOISw25EIWhV8VR79Jbp1HlH3GPxM
w2uHfsS588I2hGL7m0q7RuUrKBU2IEviAEuxop7z8VXl6AvbN1t/Pieg6tDV9Tt2bDfQ/rrVACpL
4ad2ChbfFUtqQ0vsNDQuDFJheM0lDYUWWVZA/3TI0bege7RIScyRDxTxucOvkxKMX/rf0Phzf66z
I813afOX5z+dT55Vidy++7IdYkjXOvOb0uhu+8w5g7cab8V7hOQec+ivAglVEgxr2aArvA48XtIH
Z05FuHq3oVKDdqSq/Y2H3VCcWCq1A7MCd+uPRkMVOdXi9qN892WUb4L9jzZyFcAygBoOFwhM2alc
YqOoe8iWQ43I0NglnCQ6//2Sh4p3SIg1AJlIXdp05ocRPDOIQSK9+R0BFHD/QqGQzvOoyEMVaZmp
tpT6HWeebp7oyQPjfhHaBlI/uLzujkJ4/JJVvIfI41aZe0xJ/P28EatsTdeRuopYJsBKI9oKImGo
AGTUwHM2DKeAPkq9NxxkDv7DVv7mnH1sjYZjMQdHVGggLpn73errcdNuBqre5kOC13pIT30oBpA8
QhX50VTbRFonHEmmh1Gctb+6iUDU7CJYFykH4LSRbMH7vKMKqMpThUew6p8AbnTENNE7gNoQs2/q
K8RUvM12Cfc1rMUhHxPGLGT3Gtl+GkB5vs0nT8rP+bxtic3mO1R/09bnH03QJOaizc+RvCePe2F+
ioLQvt0ztdG/WiheWFNySPVkjYQ/SG1W1Qsf2hgfqiW36bQRqI3f3SmlRbIuCJMVYoWQeuQQOxNk
QoBdEIUTt1BgHRwielkYovcEie5wMye4PY81oOlZnnx0ixB2wul34lKekXFJ9SvhwBOrmM9e5vXT
pkZKo140ZW12yKaYPpi6xOyHunxYSsEBOlSc+uhd64zeATCg/lrOeys5NDLLHcPhdOrLI/oVD1hZ
ht0FbpLSLxImcG29i3YHe4UjyzRKJIA3tMMA/yo2obT7MP9UcrbSbWuvZfjGmWhFj3tPwTWeb2Ik
4BYeZ0r0XI2MzeXsDuWROOuGvmgeMa4+zE2G9SdcEhKtyvz8bBsNPHgeoc8Joezsc6p+hfaFR3JU
t2Q2rG2oMZ2MDyoaQDHerSWRHQNRl/h6IUeTizhPubh6xArDX1huVY4pFr3ek3iS5MVRgRxu4GZK
7UdynnZ9p02P3Y/m5z7ftErkGu1TZAMBH4dsvEbx260I+vA570cX6AOVvg+MiC2g922Odxur2jf+
yzXsIuvJtORe6w5CF9dlaw15Qx/Vx4bmMmQRyoLuHyL2HwKy7+JXk7/V71GPXzn6RWtbuyzApwew
T4wKgoGQryHFH5narxKapiht4ieYLRcELj/JDopN8DUj3xrGC70+eIOQ9thCXfcDx8gZbBlbkz8x
BzKUxxKlAJes9eYg5grXBA7V6T6OfgPnoirT4kk6BcnEzsac935z9L/ZL7rvQN4TYVesias3APNm
zjrs9EQRAqPShUmlakmhybZmyGNiHBLZE1ELmPYAuf/BfmAp7Fptt2OFWxBIIJbVBiWpU742xe90
r9VzUa0GyEueBWVpEvQ9Hw20/s1HjWpTvVsuO156BcWofXRHz+w4Fc/cC1eGBqGfeFgzx+RiICD3
vx1yCQfIUDgxXB6c2r+2tGVUVvma4hShimSzHUOISqz1zGfJPkbezsDMXGD/G6sM+YxY7aXmCZMI
YkLe2/NUvNlafbbb43RO1qg69W2zLtbAKFz7WF2OzAy+gjU+dCF4+qrne7uTg0CYxIPfTSaMkNh8
e2WAFxZEWLBsh8+w+2qVxz902nlrEa2RLrLw0cxhFuHhrqJzuHJcdXAO5Fpwfl1M3ulcOYlWRo9R
YyxfKgSvzEwMCUb6MvrAkjVKx/SVuygBGspogQ1BgAnPWdRaKgBvCZubkHQNqE4U45g9IodVHt8F
AAbSmd4jt5ATcWWuyQbEwMH+vWEZWNnNnrQvL5pxE/w4JaUWn1O8Y1emn3BQNpV0EoAS/8mpCZNj
5GwPUMpFB/SnU/3B1HRkusGsfCBst80/i3xfbGREDuvwV42gfjlznra26X0UN/F31J2k/A2MozJW
03OKPgzG1OqzGN8GNmDBVAtdZzQ8kWpw3GiI0wDzq3dF911SfUX4Xl+5umc7P/92fxD5hICvJZEp
JhQWDx8KdYYqsO9mOa96OBRs5BAVbxMvv3RJ5ItUHqdkw4BnIlAjNfZTMh5qNkKtT4vQ9gnC/YmN
h5QVN2cg8RqKcCUt+1pwzIP0JybDLPqR25fml2EXSo26T761tx4gShpuxLkvZuOKZlgnSMXc+dFJ
U1/kfh9ln8SboKYZ13p4Uk3qFSBVfHa36Ax7wD2QtgR8vAzapyBPmpwzgrHbtDxSNRiMsi0mZddO
jrQ4/qGSbj+DlYFWH1mGfiT1dVFB7QS8fjWiIdqe4HmBd1nxhMButp+N/Mo2YxFBK68HECc0gaVH
TkaAY0jr71P4oypCE46/5r3ST06+FcPPmF+ECAy5Ud/vpvBiok5upacz7dNKXrTZW2QQYYQ57a2f
7xLjvd5Mng5WU1mHpn9vpJ0ZX530lM4G0Chv3nAFXsQhACW80aWVOAIYGR1Ym7paj19FgoVr14xA
EvS3/EnDeWzeNdR9+kuVnIOZm29T9qu4YCw5pNMSbihzkBP0k5sjiOugkJYa/VIAGM0hGpDb+Kug
fZllJtyDZV878xaFf1F8H6ASOuRdwJc8IrUBC8aKq/O/g1smYhyT5ZJXiF88qH76dgljz4HxbBAo
dhmnc3WeJdL96CG5mNpZkin60lwLcbxQ3KbNzWQ6D8OT4OTEMuQkbw2KxkS7BApB9BtrWlVLLhJY
8lsCscJG3Za4Dsxzqt3aiSEi+Yr6n6RDXX6GBUDrxNo2Yn4zagV2+M+UNn2zVxA9g/NWrppsneJT
rOlyc/Wt28/HaBqevwSuMB51BNzc/aJlm9BZXLAxjuoh43qPpWcyPosTLL+ISmT2Ks1vQSFZYDgz
tJeVIw+oI9Rp00LYFjvCDiJnrwmpBZ1D0G8bq6Zi8qMu3ztMlsVbz1ejKW/nMqR2jSY1MHaVWbv7
6wxLPOcK6VLh2mLvFNvTumGWaQ9ATPWKvg3E2mhaOZyCgKfbXjrBL8ETK+jtGl00ymQMhZhb2j/C
Vxc6A0jrvLE7kcIuKV+4ZqwOSFtBaCGM8uVD1NqSfryosNhO6kmKLk4Fc89ZIMBmGu6bXducy+TY
EONf7MIV0ykXwLgG2zCT5YR9ruRqERgJ7Z54HQRBjm5TICsaX4iS4OdHmUSWpA9YIGQaLp9Xc5OJ
w53rp2wuu8aDjdbPVY6y/C2NmW1SXO4ZIPguGF+ngiMPo46gfrqKgQ5sUPXEiAFViCKZNjwxs+nF
Rgo34EdG/bDrkVHiR2G5tb56E+bX+tZaSOqFVm7B8GKoqIB+RANH2ByeuL0cMOYQJQ3IW6ShitlU
5tdkfWmABWpSuqr00vPOGOUd2JXLETlt5TL7Vm9iue7hRsb8EQwa3Bwl7fwPTJOvUXSV6weY3WbR
j+dWZ1BfiCo1faVXWyWmIAqDRBRhVmj+2BCQoiyUKvMsIkBnfhCDTbih5aJ+t/We9Jb9/MXvL2AH
hwuFXVuOBp4DjtCatWJhvKjOmQiTrvsp5Le+/silXdluQpIrgDGR98GPmiQzrJzOXGjM32N+NINX
6ANXgebpOBrqkpcKEkeuwd4RZ9S4FCX5PvlnM/8Nasad5GBIu67CuoKkBm8h6cQsI66AL4JbwD1B
wHjQ9OuJyyL2CGAZL4STix2YQGGiU/gNIYZ9fue0+xmBjRLF64eHxHQJ46xoWwTbgbYKU9deYwoH
Wfdf/iks5nPEWErQjA0+jRhJ1j4b8B3/FSqVkGrU1Sa0k1WErs0RHeftkpx2tyYibECcbtkAJ+Sb
zbaxS2fU3jX6E1XhWP7o227FTumRiVPzGzdEwP0bAxyacWjMgzgOzFssk/jO154MsJg5SvMXX7uG
00uQPQzHjeddIkkMyxxOLmQ1MlI3XNYk4S0wR6g7muUmQXJ4pjwsfr9r4tOHhhQSmV4xF2yxo0AM
x0JyaacryFgBohpal067RYvfnukfFzWyIXCjVbUJtyPJ4uVb5e8T54RSk4+ePByMv8nYC6BBSLln
nwKD9MMKXyP9u1VfZ2R7ugtYELUbM12p3ymbnYeQJcPu4pkEgNCvDhldogwdrpZ20Po1sbroxGlp
I8ar1g6o/dHIY99pLegyrlstWqcsTRHAa4OkFssJhFEetGtVmTENonnlGN9V5Z2vInS4tTlf6pFW
LGSxE3DOeK9QAPFFQz8sIZoYYFgFgfwHgD6luzrcokP9MngITkIvsSD7vAEaD28WuxTkwCZY9/3v
UL5FrB+26ZbZa2whDzcuiJPx/noxG28gziem6lpe6AW78pI1m7QJQCyQNkSGDO4DvKz2GPWPBOKo
b7XlUL3a07tJsKMckcjym4VUs6yQHnha8TO1FcI8nlYatiVGbDkBHli8E7ZSqcWqDeuNeL5sVtGo
LLa2PW951rxOPak0j3cXCH8Gra39ibJCHGh+xSd7G1ib1PmlJOQjFNxMWOImLj+S/kWcrz7KP+Ic
3V8JPYWePn3lN4k5k0KUH82RTw+UFxXfgfoWA0aIfjhEUK07aiVUcI/avl+mlrXolatGSm8wXq1i
q9kXjAk1VodAJ2vxmo/wfpAg1g0JLuliHP3xjsgkItk+pparCw+3lzokPQr831n+++RybcM7Toci
kiLedrs+4QOEfebqA+aALxC4oM6tWx3V9byyprO0knF0LTPrU03/YOfN+J04gQC5vqxfbKrii4OU
oqCi14uKDgZAn+ujzJTl1FSrcGJGQE5Zym++/xNO+arHQ4i4Upd+dOcvKt4CIhG4+flctXhF8Nti
0nZUTPE4cWYOt4QNFTPxrNzF1KhFj9RlZGnOP2jLipoVJHKT8UpJGJnptI6PJ8CLDoFI+1PMa9Q5
4otoK5x6ukqIDukwFK1lAIffko8hm4fCQc/VHyec10mOY5/ophzVcoppet4XnIEhJwtca70k+kXM
YHmyGV44YTA1kfT/SW8Aeq/FM0S5xiXqldzeJIAB9tuewwlf2Y7XSxknQOpuR2Htrin1AosPPhVU
u8lIKmCB8YGNRn3V/R1vufTkaQsZzp3xJwV3cQC8QoBcu2y+/RlYuyFeiLc+JGdJ2EYI1arZQ5CM
flJ0ggZgM5anGSSgb61FMLyj4JZcLiOoR2FYgTIeNoI4aKOv1hIOUzu7N4HIJ3KAMrDG8Ko3s5DN
Qx0ijMMOuTb9fN1bFz0n3RB/GknU3wS9obYRhKV5GZOPUZAlnLUCvq3xx6SHiW+xGJ8867y6gB3m
HqbGhNWrucLTUFyuWgV38cy/AgtMr/3jsuIhipZNPDHaqy7NKm6CeXMawTqYUNXmw5xO8zrYNuq7
tIzWs3EUQEaVrv01ty78nhAJKWT6dCgy6F8jzwNhC1eXbd8i8UNw1+dEwYGZ+iu/fqgSLIuG5pLE
nRrj1rkL0LnYf0lLQIP2R6H5mNyt+MyX5hHo53NZIPywF2+1f+pdn3vgqRtfwPY0buPi2vsekmVK
KEiT8hRlXkYDPw7fH/mH+Ps24tAIkZZCZDFstNov/wnPHV4weE/N2tnRfjSAKgdQMfUxaedMIsuY
ppPBbNaDWiGN2zch8pwzsKHHXuwqNkdpiDrRS2j1TbdaiXKeh6O3cxrRMGZXb/qzN7+Fs9qM3nPM
fnwyMpx+Kk4KXs879dhIExAJsZqBcZDiyk/qAPQ2lx49UVHsxUlQWyQhLVOkLvb0pQ58Egm2eOuR
1+RjNyiW9C9qABzjHOsnKTuU8p9VvGoizgi6M/hIqp+xDsiU4dkN9012btjrWT5JKKl2RvKaZ7h/
1xPVfusagDqSWUf5HDO06AmvMFAO7/tbVR6r6tIZ3zZ/8Gmmig0FQaoI0KtmF2kRLjABLxy30xiy
uB35K4RrioY1J8USvM+3/jpIb3N4JcgnRqjc7v3+kmoCXCVPNpzJJ4A9rAh4QNYTbOed1WEI4gZo
Qo21XYU+SrwBfqyCE4hP1MCTLEJLdpMuLavioJzWtixtRN6XgSLf5LjgV6CKwTMGh72C2Z6UqxGO
v2WYlxmuCvfbFig5d1tEgph4f2DBJrS2CLqqdNFBIXLjubS6IK+DaOk+Lb8gOxDRXkojNe/I7ORL
ZLU1ffZTpLCL3EmFM+oPX/nstF1RnyHq9fKKY8ZyPpPU4u+XVlPM4tGHC012HbjPdhWwXfp5j/ls
cm0IJn94x00IcAwi92CTJc0KhJGJ8QX/cIXNmZ85wNwcQQOr6qthSv803sYMJHeibMstIOkStV84
B62jVYyNhTXIrPZiE/JnrEK7kuoROGPq448m0jY4nkbdlPEhkbeGtCLpV77Pxoa8XtNm+0UayjOp
zw8LKWi6ybe4OdQDwYNiOcJkPBGVgrizDVdW326d6Ko3iMZamPQNnR88TVGAaxauezmIn0XmyGe4
s3sQUFTxdHBg7vV6+5N1T1gPCr5lMQ9T77YYpU+p3CRZyNj82kg34qeGu+2fcGgOERGZkzs46L2d
eOGYaP3VcqmlnYd2d2mBBAHx+wbjF5YHjzp1vXp2EqVSr8DheXHu0XIEAOUGUkEFJhbIgKbuo28h
LD8N6VO1mTiJ/2zAbLBrClWVxWBbT7/MpnyN7LsQu+azzFm4tKNk8Es0XO19BMRS4fa7+nwf6SOM
UcqAxParzjqk/V9Z3VTUHuRj8WyR9UlFwJnLm5Am1OsEOzJqwcKaXoHkQ6JSwptR+fDt4w1iTiO8
ZKP6pZvx7RNBodsUEBY4Rp8jfsHF15DTOQogUv3U/ElT/2ZNN/F11OZ9iI4lPEyyduq1rmIz2+XT
IQH01YT+FK7RlG36SVjECPuNey7E4r0mOUnijsIYiRwwj1baO3kT4jglfB7O2SHHhehscOQ7JRl2
cep8mM4ATzy51hVmuXJLpmmpfEUaY4Wzl+Rn3X93Gugj5Sg6nSAi0qmEMCgtJKQoIoPw2yZPjGsS
acotFdcx/bXV1VePVU6ZdIvEe/z3wAdctQN7Rb4kJBCtnWH+ArQG5RUgQ+emT5eacyIFFtmWyHo0
FvL3ZD/ZJGlzeMl8AL9vc/qI1acht55Rv2swBwTkAEtOh96JSCoACEK8KmDPoPwT32kkvZM96Y7Y
PAgewkS95Xjmi2jpLAP+xFGRscwbGz1a0Rfmpx+29FE6f6a+51QopHcfXYVVyospf+eTkUS5Oktc
2p+L+GSWfPMtG01CJsk6WcarmCAGKBkN7TzKnCigB2hrGV9F+9SZXcrwOksADsTheABc4OISokQq
Y9P5qrBpaBPgZoz2MaZH78C/EmCgGD1iz8Rga+9qTNcpI43mkShlheAwnmVvlGZLNWcDLmPNp6LX
WGISlPI/UYZyHEUH80NKRSeCs5TulGBH8k8O6BhLPYKR2G1l/hHzmtrfhIyJA54KWH84au2rZfxF
MA5he4Fk8QNiwZAS2udoOIT+JWjesKIBeC+pxaQSVuLvZbPzP8m8E4oUkEWICa6CpHj6/TE0j1p3
rgGCsp+ETNNp09SMla3taY1o0Pm1PSJL/R8Emm7KuhlHJcocQn5iAQkgdzZe0EuKjbdvVGxUmPty
pJktguezSnRWJT20RlvU1ge9p/Ncb6l3RVI5L3MbfUj6SoQ3hgAPyDyr8K+j5GOjQBOeG9cmVDEc
NIe0Bqsm374kIifkZUhmukub3zL6c4xXtX6V/Tfnb1pNVErvGCLpP8WmK+A/x98zq9c4yDg2Ftee
SNgvAI5qF9NF0zkG/MBRxGDQ1b2EWBPxYcZPr3qmtsMlEbNLL3TzAFEt+R9CvW71d22+qsa78PPN
nFhq+401Syzs7MNx9pDCr3C6DxNWrT1VwD0vBw+lijq4seno4KjOsd47t6jBmXQcx4s1xW42DO4b
bF3016ARbe5pdMnriNyMp54R9rQoGbFvxIUjBsHUtyHe2v9DzUg6KfGKJqTZ9Jq3N7l+ACwwh61m
DTBsPSCxL+SPiMt5ejP2rX2puKI1VHuiE36jczFLL+1Vld/D5sdO6BFdotE9DMM66gVyGCxNT6pv
oXPhT5GJtqj0BWKThYoAAF+jQe1WidoIZ4k/QJvXXE1bRd0NJJaj0SUVC7sG95mrcFc/ydgOT/Jw
omePRZ7npK0RSKzs4aPBs8lFJe5l0AIkWis5P6QpubucZwR8Bj+qNQKeY8zj3RjNC0GCweKsI4CV
9to7SUG1j9nrizpVuTyVJe8OwLr0bbUfs/MGetrCtdhsYON8qsFYfJD/e5pdBoDEocbWMb9N1Vaa
Nr36mmFmi+uFQWEBTb8kvF6ZmbzmE50XgZuEeRVrZylUHrNynTBVArOrreMqau85kP25AS18tNU9
5mY9+S7VL4tlokL6yN+akz2GzV8lwiZeEkEox4es2aJk6st9LJ0Ix17UmGmVTZGiVee0NKhjQAwo
vnctclxNXxnR1s8/m85ZTE6wsUCxhOC39fmqpCUfnBi7CiIHhNccMYP0LjAr3A4LG+pB90/ikwjU
z8zaFzMBk7D+07GIaq8ZPhuT/E1GL8uhDebA1zuFZ7wPaJVrlGoxWu8WXsKWiLBLlhpyC6k8Scmy
G+8W6hYy2qnq+nyDus4vk1e6SrKtypdcZdl6Eb9AHL1Ty4IWDKJXeYMSIzwYZoMjA2GLNX6Pmwj4
iGUeaewZONlNSGqspHODZwN1PB3LylwuQxt+YUGhIdV6KWzOGQxOC7izHR6Q7EkRpaM3rpx9Zvo1
IzPWID0q0L/z5qSVt1l/hEjYVDRx3RsDFVoQ6YO4t2jwGISidqXzglfH1qNYmcJTn6IEjWhNmsxI
CVNx+gBvKb+ldm3x9cfLHDTZx4iUpK8KAG5T7uzuDHP1RtTuwjC+GvmY4yduKdj7j6Tz2o0cyYLo
FxGgN68qw/LeSHohVDL03vPr52QPsA3M7G7PqKvIzGsiTnBe+e9j+VDROgr5k8rDmGkobA2k64yq
O3braBNQxnGYlki9o2Jt5UcDTXjoEkxB0cCSGSwg25tgG6VkbF9TmVnt7MuxI+BEnOQjUfKosGrv
04n2Em8uY1u0dnNwB0G50fWrEK7I4bv4bJ0e81F1a8IvJ8UfyMiuAjszh+jKzf45Fi/F2rSAb5JX
pa6GcR2G97F/pvW7lP1GzSszuIXYN4zV2uJ2ijzkDkfUVLiPtk35zJlPk8fwr1tUVIjdBATDLaY+
5m7PyxPkQ7/6sfG0Zs1tYpZE8z7qGQucl68c83Jr6CPT2U9SsTq0TXL7kvMtAwcu8Cz8qExv3yEV
CTYy8/iItE3MH3H8W9qLKcREurSAI6qrQHT/pzo/Sv3dNha5DXAgPyfpyn6jWSmOsf7XyubMxkr4
bSLvu1sLYwHPTyx/veCnH86IPSfxkVqbzrmVGFtIfGC68sVzVpZIki3XC+kb+RjqjRgOGegkSOyg
ydKCJXqKUTztqAbKZ4SyfEwOdbYxC7Hx7saneBGxfozMMTEwK9Co6EDIIAysV8QDISmPkk1rp//w
zUzyoUVR49uo9lQ8EkulFDfYVs33WupG01HWHoVEEvvEs/gZIMdgu7RUgCMai3RnGO959pFMe0vb
Yyis4veUI6ywz6huYK+6VAy66poWAqNT16yG4VRYKBecZVzciUDIUELQltcwt/+3YrEg4bBPk42Y
/zccT7qxFIkvMekji7b5tAknAxclZJAoSVtziViqJ7gEpJN0xHswYnWmYiIATblWPeChj7risRM6
UbGL5PhaTAbtCm1EHTVEjf4M5ovYr3nM8G1BPHZ7GnIiUraDuRJOvuhTw32M2xeUrucKcXIc7IfO
lTrX6Vg0QtFAWVz4pwYJFNXPt/Ueb31tKxz9xKSKf3FTr2155aurXn/LKleTX8RjOM0phISNagfA
7lK2SSC55+xVEJa/VehfGJVH6uqXWr/BpCQOafZ4Vveb+1e4+4zcQpkNDndDmF9tC0Eq24p6WT+s
eh0xYvNJab1YxhGnRvLKQZDITMQZQJX+v8mmY/+vO2AOKR9h3KLTfIyqa6gUKfQMy7b6TJHfguUe
DixqO3VDAgEbjjUCXaQM7J1mBaXpncSfmV6uNI1CZDu0v5RwCEmZ7PLDhtkliZD99gws7lHORcNd
ZfrhklkTjIxDmH5zPQTpzYL8I/1jrsT9jm0rmqqIea/iTnC0br68L3iITZbD1oBL82NkmmHBuFaq
M+KpVF5lssCpSvHOWdLENNbeAtEYdTat+DTT/b+qOwhxAEQI5Np8Tv+up6OYgUXZh0X2gvA0TcB5
DWxv6YfRM4nCco3lc9qnzSUrbp4B4Oq7qQTA6lAgUjeZ2tU67J2XXZw0pNXSxiI/KDgw1EzjNQ6b
IIQudmz0HbVSWnMIYUzCxVu48pdMQBDyDUcQH4D/EAvBBPAGDSAZfgpva1OJE8hQMUWSuXYalj4D
XA+201R2GSqVfRVCJBIzEV5/tIr4aPk8l5N5HMALoTwtzHXe7awA0BsBj/AO+0dBFeeoXAUs+zUC
+VaYe9R+w4C/QL/XMhvTGZyJdiYZdDck+y/OcUcm86l+ghLz0pd4oEsSPRKNwdYCWqKdnNoaSlyQ
MeJ3BW3QYZwmWKzViEmk3vklY4iTZpKP9+KlnwWYldh1c0A2iEM15bNqMQW4bfvnY7KmWCKQuEGx
jNIB163Ypmb+VePTCZzToKzHpb50fOzyOdqhZuFbj99vmf8/nWHS/+hCq1HZpJv/eOzAUEnOO5Rz
vbztnQ306YgkpxRRtfPTW3/iZzBhWnilP6vrc50zZlx4lIi3co7mMf8WfWcLNKy7RcwqJfULjrJc
7PCnwyJSR1g5Dq+c5o76eZDuEzBnS3uMycb3z2gUbXmvacJJzUjE34Yi5cLVSWnOd4Nyb9pH4jxr
B/HpNZcPvrcuwr3F8HBWgZBbo2B7a/KfmOt7qi+lvtC1Xyv7yzTwDGT2LJvmMyrvTvJSnZv8Fiz8
9kxiw2xcarM4/5DZKgido4muwRoyqq0c0+qzbfca8Jpwa4l42iXuOi+7d8wGlIqUbR4jEibZdEsz
3zppBkaMdR8A1ZwjWp4DfuGUxcoy+YuWmRQz/6DZ6NQEWuMa36xcYdagMYQGJAzj5oIXwfpmBMQ0
F1UOeQHm3rJvdXpJ+u9wPOXqTx+q66a+NJXGShkcECE8uvWV9LspO9RsahNuvYkVQaHc5KuJ/iFd
/7s62Yz5V0G+Ss2ngd5wWAGS5pE+ADnTqqud7zrah8oplgBvgGQxRhZ9itp+6xg2xqdgvzS9W3fH
JjnLgMDyncwIlGGWPTewfkQ+Mz3OSi8T8GWD4ouXMnW5r6Pu0I27qUZvm0A45pVibiaDwTpwBJjU
YAgrwktg/HEowEyx9BURNp7/y2mAoO53QqQxMNSlUPGwQ+q/HTXzxPSwZ/EYqx/QBgzWkHVNZddv
43jTTmvMBbPwL6kRET07j5XW91CvFZZ1+OD7RYE8T38m/IP10xi+pHSrclj0IAaHa8cEpZSpZkEt
6MhunexH8k6Fsawn5Egsv3bC66pi2inXncR9bXFmH/7JqKQb06NZVsLeXLbJVvXXtvRQDXJiXKwa
6xjXl4Gao+UFSs5A/rQWxbyA0p6n8JgzAqZJEAwPfKbCCdDLwPp25Ghlu3AEKuoij1xAnMi6Z4/V
vc62lrIDFVcVe6s4t28wCdEigIcpbmp9YetfYDm30JvPo3TJHYpOqukPBLOO3C9yS0AOtSOLamh3
7y0VY17e6vp9pJ6vL1Z1cbhENXUFOzBlSBej0RGDqlK6GOqdfCCrPYRBNUuHj07nwJq+WfMLaHeD
WgZ5vt3VOOE20NvNNePvvvsgYWGGSyFj1MdgAncgLaFWnp2rN+IvWJHYDlfubHl/tr6f0EcXPeI+
Tiw5GN6C4qgSiawhTqDuWunR1mlPzrCDrTmyeIffzjQz7p6xz3lXH2waeZWMiS48mkzri6xBPvTU
tLWUb1L9IBzYU+Wqi3SB7VloFvyDhNYhEqIC+ot4mWYudHThm9GGp8WYNQZBMUMSkzN1hnXcbydz
RWK8mZ2Uch8h1ZJOJh1cgdj8YRifynhJpXXmbA34XTUDUqVeSkEJDcoGsIHmD0tgc6AknGXmp8Ip
YHkfYl8Grhd1qpW9h/0RSMeblu6nchNjKknQ7tB6L3rtbH/9+wDHK5baBfl/kbeXnWvffUF64YqR
vD3S6kxB3oeUOXNFy6THV+FnjnhxZKyctfdUnK8QqUsNFplXgpOxX1oGHr2tH/wI4lwFGSDfZHgg
He3dr2UXPbezqRuUUbDPHWtWLNr0GNSXohZuIXPTYuUY1afufdf2L7KZeYMg0ELuLU4VvTmyBrEj
2to5NTL0KjC22sA0HceyAhCRFCYPxfFm0FiUXxpeGHOX2o/iOSTQUy0cQ/QXMog9vu0Alk5AHkmL
gMXjsRx0aBkYTjL+1trZwyYYfnq7ZDqNg4aeFYsZS5UKJqewUKeEFh8mMt8RC9XLmKfKc9H+4Eri
361RIbDdCNWrr2x1Gm7bOJmEWwk9H0IZ6Lj8vHkA1oBgpxmpx4q5SRk4ZIzHWuZmRU8+GThCc+mn
6xy3m70Tx2jtLJQl65n3ZnxG7dqmPRpusCITCaS9wVpJYw0wjRyPe+qXlPkbWv+kAll/ZtEw43yR
rV1B2sMc5XFnfXiiUYcAxfpp4UBDluHKbrWLGj4y/EEWtju2jOEJat8YHop2WdsPNDTI7nkdsbQ6
40UJb9ClHeamauAdCvVLhLVwArWUKrAEWoalwJ/S4Sy1Bzl+oFedB8yZwUzFW2SloXmqZ8ESy7iB
wZx0dm/lN3MmdcGyWdn6IaDtXun2IoqP1OwpyI0WsbGMEkbcEh10TQcPHVeE3gJPxOGKONqwAyTC
YB8/WJppIUgHqjH7iQydO6pNTrrxTHJeJQs5cHxMkhtCCpi+KghQDyiBtQvE4iJmDQ+ViiIZmPA/
vVDAKx0f2mbJxIouL00wEyx97zFoQHkPY7sCAxWjaOqrlbXX8701v9Mf2m/Tgvh06gkLswzxOW4X
MwveANXQKNbzTRfcbCTvkjPvPVKVPhEZRjMGkuFZ9PJoylQGs+qhMhiVPxqkD/6KpV0x7ESVjxNV
4m3jjefhnLqNNG7B1PIwajD14KcZ1urxSVQgXEe5R5x9Sjo3F4QtqETOPUmXwv1XXHqCmv01t8br
l09icm5Mhnh1QGbDtf0H7EOuC9SWRaSFfCYn1R2Y8nCCt4CV1TfsWYbFPwdsLxPlbHIzGlpDlMEb
dfQbreQSbh7NM89k5xA7t+riMyuTpwYfnOYZESO8CN945rwhwfQdRwTrCZ8DlE/ccN48H/ZjsEkq
umcxkoWk1B3Js886VxsAI8EOIaoG9DzeetzVSuvyx4ZI06fPMdrbyRYJugfmwF7ZCJ3MC86RWd2w
cdv5aOQhgqfaJgRAbBBSeWCRwTxeVg9RzaSXnQiJ8hRvkJT5AzAhTlD59xT347xBDiPGk0hU+tid
0vcM4J1Tb8NxIwzISrkQZmbV3hb1OdSIYoblj7gThA2Pa3Wv8ecSXU6RLhNfWdIubByLPg31wEhn
xWqfo0rtzmRxFOMlb8m799lFCjAFywjJ4LxANP+/NFqhJOLbGyCMAlIvFtIDl3JXudMNUqSPyjQb
rpUOrsTfh81rcNxOOGbZP/qvLF0qxdFMN4TDYJHEb4pE/TYVczF48dK5RI2v7uPk2bPUBFSgKq5C
bibNHr2iAYpKiPlH5dYa78KLFX3mqL7t6Sy6OSs8SPNopnR7H5mVTyjIwy/Xk7KyvfvwyBi6SkfJ
u1bl1nJ2suFGETZn4JjNiODikgg1d8AMJno+AAuw+R+079A5mSyaY+sjcgMX0uEU/pQSR1tuzgbp
L4Hpl6/KFpwjwuC6wL3nXDJ5q/dkB9LFgds9yOPakecyUIhRaP2Ufdu89nwMDXVpXZ3AHubjuSTL
Z9CPUbKXkdjqJ8QvSdm8MQkQ12+krXl5y/KTfBq+6piFgU8IlcCLBTyt/UL4KvP6KyV2UKXo59QE
h5YjMGDaW1IY+rnb0MAK/aR0rBF6SFfxB2whCaSyO9pPnyjTEOulmiJhgYoYrxCgtxXaxnFlxEtJ
feiMAghBEYOXcmchJaMRsvA5Bmvy5N4amkCUZ13IXdY99QAivHeMcleD4zo4WCCw7SnI3QAMMk/s
Em4o+2jOIeURCh7HM5tDlMGkABeISRL3eYqdMhxdVmNcpUxw3DZckRusVWfszQMdvV294PAJJbx9
nUSt0rEmNS5Cxzw436LF7tcl/I76U2/7RYZd88Vb4p27dtule0W7C9swE1s/3prDRtXBP8/JXZma
X718b82Xj9ohR2yr1BCYGX0Y5XLUF4b5PrJMBX0XqK5o20LjItxLejmX/H3lHFhvuzXKY9Y6YApE
nazY5155Z3hvoQ3wofGxBOYILR+5seyz37K/UxAlVyrdqIF7KnS9YfjXKJfQe6S/U3R8kUTcL9Ft
ZtNv3tHWCDnrNiK8IVtHfF4ycVSM3bR2U6Sz2sEFJrOs3gCmggjJJCK3TxOXNmtAoja7B90xMzsz
PcIaiQFootmRsyMZJcuEh3SoL7K3h+4nNF0w1qij+W0h4pUlE1iyOHjU+CpEKaepvGJ7QYdiDF1g
ljFQtLNSfmbSR+PccDAbDB7UaxZ81EBbzRs6g1bcwCHOcvTRG90m5eEux+tWjAZM1LTNOSk3GdIZ
sMU6VfX4ymtEqM6c/ZL/25O3YoFyRM8jpOEg4ih6LP4nYkaHiCOHHTUULfbj8LT88CDqDTl+sfCH
/YFqtV8z5F+Q8TAy02p3qeaWTJhVis7vOtjoBVJZtF3Jiu2PY+yBS7415Ub4Fdlei4k2Lb55rkBw
KBHQYu2hVeumFdxkI1l2KT8QGSN/1dyGPquuE//LFPgRf0+xzn8gthst+ZHrAjBnz1b2nikCq8ki
wLo1KlDdm+Wr7NBYxnEf+wyRozyfqXTkJgzh3hEALlRcy3hNq+ChWqShD0+ydlAbXrcMyufOBgLB
6CIw9sIwHdef4jGPF/z2sl/Q/MBGVnOWGCAXmR9XRzDuYriphRcCCuhiG+3kAMHNqQI0BA6QrMRm
IdJ+1eaS9jQ6rLARLQXrebELs4NhHTEuEhV799nKUc/MupKWS8Lza9GsQL+uwoekHRoPbWLPWv1T
T9zMZzkVYoQi8BpEg6QjRWIip+xGk50LQ68y++ngIKk7RnJaeA+MSx6vTHVTStc6R1uxMVC6QI60
N3aK0EdbMFfGrciZUUfbovsdqX/T6JB0KMEz2lHrq4o5pMv1QEwQaWWiw9KUryrNwMh8JFx9FiFa
HQtTaFt6OGIv8R6VWX6pCrtO4rDX6MFYu/Q4I6NtZYKUKio+xHne+7fKsA+1FP21VflJcgl3lZ/p
c0NSTtMkXEfUimkm/2m6cwrS6ZHKAKgqBUgD83w1Qj8WSNuGi7gq1sQ9HxRrNer5q58+e9Ikbb5c
bSCXy5cOJiz5KTefdQoeLehcm3lOUPrbHMZ9lKb7ikoylFtWqsodvfisxcUPJqa/2ChJwa4iLcT/
lsXkbmCyLKFfeNOuD1QuU2wgpb5yWKa0HQ9cFXNojkta6yX6/5kaavt9MLSHTm4PlqO4fmFfejWV
Wbi0nL+LAm2gFkjoZjCEdvElGCZXUnRwo44rx5Sb0nBU2UUiybBzBzKRtewacznQZwnWZs9ZU8nN
j61HrBqss+WI3Q69REL+OcI3B93YmOZrK8QvCuQPmXnA1MksLqUKKXaERWcOwBeHRZRDk7FGN5/Q
uZA969lIr0BLen7lFhMbYFZRjfriMJa6fqWkZA5q46aXpX0SZLuiCwkOm1YJMsEW4YPic2+yRRjT
nuw1h5cK6Y+aLttCc1t6zhLAa6jTG+fxaUrte+dg9ehM41RM/T6ICtfwAfuiR7YSZT6UIjanoKGb
0BomCB+lvRlu9JQnggorxfdGC+ak7wnuk8EfDj6mIGibOwOGgByXi8aCKQr3Uawx8kg51w4YNjLK
iCdexrxGYVDueh4NChMAeiqZlqUb5RbGM7BEoO3hFi87G5AW64tJIbleiIAqsmgUbkoFz7fd7RT9
S5JfE0CVQpw9P4oFwMYigqCGp1Wz9GRi6lFR6FyAMZUSS1uQjh/ejyhLEmQrBnv94RQFTMtZLUWo
DQODNgllYGyzKDdY+0FtZG+hMzfWo4OTvBf0VaND50zQxnCQGvQPBENOJnQa0FoNRmeDgarJmnic
0Ik1MJ/TeB61dDgDeFfW6kWqz1SyKWxwYSN3tkq54Xw5aJdK0sEUpIQ9AgXx79HpsArnw6PYb4t2
EcTKm4HhihPYl+mN6TTDaelN2zH5KKd6yQ+6IGZzkRjI6yYK3e5Hb5gpMSaJjra188JthuuDYSqV
8hxpklazW+f8sPArDKIbDW6BsbIUMsDYXBJbT0X42U0Xiu40fhR4fFsyyEILkR2zCWRoodTP/SB1
a9IdbD6RBK9HQgbAm8egzJPtCI+dhRBhXOsA3Px0UaPt1BmESKl8Z6LYciyKj3cSXBuiECQY+Bbq
akvnY0M7L364kIY2yTkftGdHhlEv5Jf8AwuTUiWiDxWSloS0QRZjJJqMPpJ37B4jNVULb2/Efs11
3eVzv5cWaoje1huWGRK8Ca+Ala2KgPVjzXiNphJhdoFEIRypSkADqejZMwVgKibKFAhUJyo1HqUK
uRZ6AQgCaB46PnM9W2lAvQov3umVskirkW6DBo7B4KI0r1XBHiz8zQEfm8wwVJ5wQfcymnQ+sc7N
RQSkQx9d8wFyuIMvrMZL2NAZ04koFmM3ZKY5yRkOUocC7boFxc6CYBxQL6O/av709MvGSizoFLXK
PJhlpahY2d8rybPqQM5qWxheN8j1NZ0wQCBKxOxbCpkUMyJXei4xJtpFTWlooQMbxnrhg9trvpp0
awFAG5h31ezmZG7tnJ9VA0Siydaq7+Q3O2pQVkQzzFi4mnLelKZCRfvZKa/AhyWa8jGfe5sUU1rJ
eqEO2EImwgF6dZtU742JK4w1Qt+8eu/ZDQcnuCfOsdAeubqvw3el/ABaYVd3Kdnz8Gu0l8pAlWLQ
sDDmR5pQqNSDNZgB+o+GlmDg7/Nh2dY6VwYSisHbOJ3HeupH78EA978tojUxQRUzETl6JNwzhcUD
hJ/ynPGlpPFpKNnoq1+ZzewhUe5FBN4V5ghWi3kEScHLMBvkhBIg28ihiA/yt6BasMw0zL0CUWq0
gB2P3KL3rEDUF/Ldvab+ZJmfKWroZPIWwvzh6CG6kpcBUeUvUG9tq0C2YOYWMIyFmNTgcgzDr7Bm
ak8kFNEG2V/fIp40UTsoHzVGgwJwiPKrxH82U6niM0MGGtHM3eT0hUuBK4B0yLMUH5UKptdHiKpa
mPDUSxiBXce8p1T5PFYBs6Vv6wlHaPnV6XdzuPFJ9HhBWBmDloslArnCWWZsBvnsF7eUIF3gR9GW
CFjFJEeIN5CtN4lH+XpkPCQHbspmNj4p8bGDqPXWqu+yQvsvLQMWggnfEfALiz5Ow6FW1q6Bnm3U
ZmnozWw2AQ1VaFDCj5YJEZEKOGIYSGU+CxyVDdsCw37nv0Loh/XJ/Eo5ZYacqsV2NR76f1LsBK0f
JnONG7u1g6Xmm9uMftewinnAKM6DZBsnNXsliJHDp9cJNGDy1rAHVhkq0BQiGCYUkYU2v/yRJAIv
Xw15uYqrucgPoRGx2LgjqzgyqpJiwlQOOjFstBnpirw3qNEglt+slP6h35NzMyKh7Jf5Bp/jlC5h
M4uKXb3zO6V8UY4nM9r54UUCr4emvd3KuBdx9ej5Onfg9t2T6mcC9yqB/WwZUxjKTTzkafFZYUvx
+ZFzZ+CXRLIuBBH24UTIhkydErrcKJ1WEeogdBUq3VMig9IPUajrdy0q51p30r18qSkXSb9LpEtq
6kvxbmb6UvwPVuWTmf07euoAJ7hJ2Y4UqkD31AxfhfGRVYfW8uEfGQRt0B7+apwg+TnMiHr7U4OD
TiKpeC2z9Fe27qr1qoet6h0L4DPWNkMIo2hMF3+TqliO6iOOd1K0Lvl8a3+hhfbS1NBEKH8dw2/v
CesMKGzlbfksQ3vHNIG1HcuYZis7O6J48N3X9rbCbpleS3HNhl86fd+o3ZTiI00R2f7xZ3bGXa5f
eUPG6T3nms3G7x4hX1p+AvpN4isKwwkupnzQ7ZqAbtKS1bU13GvqgJT0w1rT9zaLFGb+jcKJ+CFz
/UQ42yvnJLfMqPZeeTHb76xclYONwZe+JcTER2h8NnHts5kqi7saWLwx9yx/jiM4qP5qNBdRISgy
Wtxljn1TOWVxOjeDnapcOuPaMENJ4BZfOpN0s429VP1D1F1UivdxG5X0cgcS0vm9pb3uQVtMp4D5
iKdeNfujKpSZwZ2axEcMbewTHZld4LHi9KquY/Cdpl9KumKn2eqXFH03zboxHdVmjQNPU7cyaSFK
tPXkEVOtW7bPUEbsuEvik51vLO8SMHiDatd724pVZXcoyqVeA1/YtMZFaxFZyvfJvPXoF5TsAAW9
omW0FYY39THHsMMH7ynPJtvUxT5RPsLpIA9XnYOgDe88MgrHAP7n0vlVHWOnTIjZuDHFH0ejF62z
V8da14pvDE3AsIf+n9Q9GMsr4z6MWJy+FWARKMl8bWeyrMO8yBLFx3DI7LLPb4VyI14IAezRjLAg
4TucThJYSLG0uJn2umEYpO8SvL7RsnBYVxg7dttj+56yke9x/NDZCr0rdWPsesaRv6jik+zcTEax
tsGIMuNER5qQnIzqbpmHoII5dA7KbRqg4l8PE5LIFXA9OzgFyBeJjHC0Y2TYc0+mCne55FiLW6h+
B2j5fX82kxdgh4RvNG/R5ZHlMhTUWpye3ZUg7CL7TeBrlj8x11+6D/xw0aJYsANrrngPT191FRqU
ZYllyfmSqtfof03R07Txpko7Jz3RHcxdKpAAtnHFWZprPwV3jY0Ha0BNU+doefpoEbLdyv0vYyAf
mlKPNBy0nXlyGANy6ulAY9YPgfIVB4+8e5rmvRhZwCyqbIEZyBu3TbdTk0+d7Xx29IOLwT+DlG0G
Cmq717ubzL0SfXM41sZc9fEkzELWUmD0mmOh7xmw1EyKMRAiM0WQ8JWioLS9i8MCrfYukUL9BHdD
varej8wXkN95Isr0ord8oX8FszJEjHz1GiJdMLftRkdY7vPUnuxh63tfer0pFOZj+efofzeya/SM
v4t9Pxwi4mK6dRQd4RnTwNv9iow6zNUc8PGveJvaU93ufXWnVu/02DJEzyh6SvA3KaN07btrH5Hs
lqgmWWs42yRnQ7wO1QfPalJ819UaWd5gkzmavuVIkAiWwElCqjHDk0eI2UYBa6ecS5yTKWdxBxsS
nC2k9pkJ5zmFHsYodE5ZWNj+LLJtZlW/4gUTw4OiYVa4j4xtprgcba3+KMgAQL9opH8Va/yQjEk6
wBlKFNA6/GSFsiEM2ZfWssm0C0Uqp4ndb+ruAx9EMzHj2njKjuGhg6s68t9VZtxUwG91j1WYX9Og
z9sondFRk6m6tlsCR7VfXQQqUNP0aPti+LWyLVT2nKiWdbazi8FgodgE0U20afywXfWiS/XhuduM
YUVh1KEYtSryMjzUV7ss+dVwJHWMf0OMhUZ468d32ruc8ic6RemZoLbMW5alMD2kPlvtnR1f9eS3
VVjvyx+D/l0Y32X+VyLoz2ZKT6rgJuh/zHiYYXAV/WEr/YjMw5Q+rKuuuvqEC1ZThUgM84MLhlXG
6J+ajHATLylZUsnaszdps/ZqUGauQqCPBbzKHSay4S9NfLVtht3vgXNIHhW5C1AVZRh3SOyo5LO/
xLm2KH2Lb25R/vC9f8nh4ACqEYxZSMangqlIyDJxx49rmkugBoRQmrxxFHZvvDRB+eQdSLSjhDEr
f4zM9ZKVaqzGjHDUW+jvLJjQ1CjVpuIvSrJ0F3cda2y95zqm/qjAjSPCJRsdMhnfTokjgQ0N+6g3
NnjQN1RSgkKXv4isW8SAiHNitFCurA3yJVGnNQWwD2mtjbgoOBgTv2CNUnMh8MqMSOFD632lF+NC
HyP0IM5nl05Px1QfhVwxZGJZqU5fttcJ1uHZ5hJQUTi3aXYY+ZUcmkfM1C209H2nYRvtbbBB0abW
NF7ZHDHHt1cZVBDj2ohhxDlDuk7tcmsO1AZFvvNQ0ac2W2IbmJ6E6BspwACqMk+qk2l5p13RprvW
sIQbaxHImYF+xzxFlo5yjnwrfin0exGkgCZU1VUSr7S03g69tuulGA/d22R7y2kslhJDSseKQBii
ogwghATvg0eLYmEGRFuAo9U1jMZNO0IoqoL4akOZF90FAtlqsoKD4vnn2m7PzQCBwxlpuXdNevWB
SndfjTMdOoqjJgAkEMuLltK0LYZNGX7KKAbSkboWvlOrulmY7FMi2csMbYqBcJhQN7M7epz1Cs26
3F0xCBTWcfSHVcporwmAiCC1GlnqaDCAouZLzs9CvhvigolJjcti9a1kiSipt7ga4YCNzzjKcO5M
uxYNhzJgmmx2znQPE38+ZUQj5STykOcV6+NMLhpUyeO6jl8drjBGNjGZElj9VnyVyzzBqOIJa1z+
7QNDph0tsK/EfwbDEDJBoVqpyOt8N+ZflOaE1NLojkDUMRLPdRVhF+B6qRuXDvllJpFfBq2hQTFW
IHS0VFzLyCpq8ma6Eii/tSCbmfOIL5pZrErd6A2gJ7xyYodLAFHTd1dZwv7XJpw7tdlfMLl16UWq
JjcPSSpr/Z2mjBu7bq/4E6d82CHP3MnJyAulHLOsOdMAuzopdThrcI1CihjIqYefkEcXmWy/0pae
ydhfpeZ3sMNVbxl38LqGPV5UP9l2hb/SydFqMPY2ibYr9eomldGvlBB3ZQp5b93vnLs1FF9lT0yv
2b+iOrsWCs8OdSk2/95uT700HHpFOWTmdAhiJMackk1AzB6bMMcUNmFt/K7hO7UkGwkNvrxA+JCR
gpSUyVddFRwirC0GIhkoaOyrAxlsoEVHMtc5FwWaWGmwJIe1bGXhe1OyOtoDOvtiQrBQpPSTpFfM
/fM+jG9jIP8lmgb4K+4OtfM3KP21s/VzrhuQaLu5qU+rnuTvzOjnjjwccZihipChjWk6QjzKi44f
Ou0MdgqooHMkoEYYzz2e6d6UwM9aHygecPKkX5q3Ay7DdssQEhgdMmbtEN2kwCuRnmpYXgm1gQmt
7VK/vLYO5rNUV9/zMe626hHqPrdpmb/7/VRho/4epPFn6AlGQaC4LsHO7bgyHabyDuPDpG3fqlKU
G4h0kpxwtjK2w53nTXcrTMluGMMzAYgImyT9LSfVN2hwxPWcoFlJwK7GvlXBlkMkjQuH5qpXq4jq
ZTYVrGp0o9oU0btGSJWDsB7wAHkt4cpWg5U+eRvNrtbVCLkX2gqSz6aItiotbZug+kJ/ktqs2+10
MwUG6UY9tD59ZUKncOR9R9qUp+G+g0FSsB5BXcUn5Np1uM77aD4VOO2b6iyPGMejAPCJP8NZsra0
fmf6sPJlae4F5kcIlCvx0lnY856RfSv3tVuZLZGZOITrji4s2oU0bGOYb8DqXBQC3Hn4F5OFJVlX
kKHeSr1djS3Wp1beKNFz6Hi4lUq5TO3wIQc1OR+02lFwlBXlu0Skm21tz0NZCES4HBZl0q6FFICx
fMuHxtyR7DUA8kP8Zfos13X2HVF18otq04XT90RCAu/4ydHN9dByVwoEm8kNrRfzrOuwK+GNRw2j
pNO+lvi+jWmnB/LW8NVta0H3CKHrUyBYbPf16LOHdpXAWEqRqQQjNbYJ6afftUV0KKNw04OcHBQk
t6ARsA56xbgfGDYGRrPSxnYp+dCajNyNIASkjXOgq8Gftfal8iD+tgOU2hURKcL/cXRm3XHiahT9
RayFADG8pkbb5XmI7RdWbCcCxIwAwa/vTT/cvquHxJWqQvqGc/aZWXHkd3JM7w07+d6uhzJ2GPLZ
q6EY0AiZ65UVYMzUswOFT2T8EagSUaQi3BlQ+6USD14PWOc+a67L7Jj6d8Qn89csuIL/MI0PXkMb
zZzF3JEF2oM9yvPv1qLPA3e+JD+D/7vf2sjqT+OcovS9dV8j+Yi3RmQvNhcMgQFapJee+XfffeWM
o5SeGLIz2Ao/TB/uS4YHy0PGOZbBmuyEs4sgdSSZgLPKAhNSFjZgV+CgSB7wz47J9czBrvLP0X/Y
4PUyZYbiXge4vKb6bZtsquQpoV/wQWvY4WEy2wsKmIx2JK8OPfiz6I/isDXMztmw02BnIzmHsEz8
/NHgHqMqMgv69lvSs/DkUwddMoInVMd4vwNBrI+D88kPIXshe4vrl5aLp8VvGxGza3YJl2QwJIjJ
L9XyGHWH0T2vtLNUvoaE7aB/0+LMxzGU1056L9SfPvjn+cjLX6LgTxc8hz69K/ReF+Wu/+zlP3zf
KwXx+rMCa6mi3zDd8B2tA5qxyzHfSHK3DVDCLsv3IPpHy7SM2Xx4RDaOCcZlRaz1nUXlJTPo4wwK
agwMTkQay9iS+8cDnji/whEuIX4UA4XDRNDWsWbPpOqu5XsRMkH6xx+EEVDiMI699l4n0JEe11h8
65QvDbPjeMIQkuOLm0E2D5s/+n0gbNSjQOKy7rZZG1NhuX75gDBbJmpE9gTE+DjxZ6QRo7EvqhQS
p7TffRWZ5VjW+6wJDyVBPD3rudApyahODumD9VnI6eScLyNmPDThvLnoSklc4Clin2NNfZJpeSzM
5pztjyHz63iiX1iukH6QiMaCmGwOjYPXT99BLZP6ABK2BlKsrsEmWybsaeGjRTI7FRKgge09eZrj
v1nFpeiyDYO8EzBKlsqydHrl7S+OOeK2kfis5izKR8d7TYuKHcWfqvjreu9ipKF4SO0V2brJseCo
iMO7Iv5sJXAg9R0sD3F1j++EFSKF/NpCJc6/NrSbh6VtvLXjQ80OZmF99X+/TScXVx8q/zWLtxrY
30q3NMFBKLu3WuH6fqeMquIf5f4OPXgir5qjWjyPE1sYg6c/rGiRkJrPb2F0ifgYsnS4CZ2f0hAn
/Jbpx5W2maCM1X/l6Yjjm8x5zNcXBZuaAUrp/dEsHdT6rhrsr3Cq2epz0uyKUO64UJmZs3l23gmD
Qoz+nFW4mxwoIe+WpWyMsI/HMfkzNu5x1QIP10uPTqYv/1rSWSbBoZv/k5Vk8cfqe3Ewcu6cgKAq
ZqRt+YIO3qB4keFnUfLSVgVEkzwrhrLjXx1BuEfawToTuwti+n1uyj07vGMTJk+LKU/bV2nMusPG
IDPioKg1ttHbELdnqdAwWghfYiIPFhKqRn2KMNY7rF52YKqEWSbDxoP9z6sPSetdJQ6pg+h5bciV
Ksb9ItPrjGlTOgc3VreHkH1q6wA0Iwc1TBhJBvOx4AqeIeIGhSUJhH82bDb8a9G5t7OaHy3buFLy
sGB+rkjwtJm+omcmvYgspylmZf2sCs7LNbjLg/YskG84Kap5SoxIZMfYrY68ajLH62PTUyvP3aku
wsMalwhfxEebwzrpLMHhkO/i0zLLO9Xj1WoyNiCbAIKVjHpVUC1ijVCPse+M+oPyYN+q4mC6Z5lp
UhlJtcvQ3OTHbGXLh105lSjsEPiWNNCu60Ab1EePP0JhecL99Kar7/O4vmCBBjnSOcdwTd74pTN0
T0JF8ZyGu9VFFeDBBfEgYnUa9jUxV5BCZAAVDhBCBZBp9dADWw5g5JElC6NmZtWGBactD3CLdgNc
MLmNnk23byhxqM0yc7EkwBT1fGfy9VCh8qgLyHeK7f8k9rNZDvOcXjtMgNDmCuBSPT/PztE5B+Ep
y/EULxFQT1bsvns/Mktb0+qQ7HryS4I0ODjxclgS8tXpskMglTQ4B9nO52XG9oIiwyT5cQId6SJ1
zSMP8dKKC+c2DFGus/tuQL0pE586JkGMLJb4tRDFddXFZ/qS0W320Uj0mxO9D0OydxlMUqfzP4Iq
+JoUZ7sO11lM/ududS4hDV1IWaVZPi7MQBLAPy61pCI4/e/MJChAcTJvFuV/jv7ttkydtN3P+GJ1
xH4Io2KSY4ebvjqYNO09ZNqYHZwf7pptRa1HhMXsd4loy/R71BFQ/Jmz3F9wikbjfTD+DtkSNenV
ED5p+R04nxM9v3apZsRjr58LvLuY82+k0Ef/MVO3qtFsCdeJ1zTctdJ5yYv+ivlMc9AkUddDfru1
hm277hP8OpaQlObJBygzHcvifgKpUOYfnn3pxVdU3vrTX1mfbf7bdY6F/xKT4FmftPvQ999VfLWN
3ZdmvnLp5HznUsx7EOapeEshBnePctSHimQV0X1rdma5QXAX/xnFZTMdKXDpKEDd+KueUYQ/JWw0
JCrDNNgkJ2pnxuaQRISuf2S+3M2M8jS7uVl+u5s3EwPTMajG69zBN5dTUL4l7uvgiB3/B/AeVoQ8
BQmaJWwJ8rGr8SBWN6EgewF1HG1gCH2SkiQUOATdgfAiksJ7IozZgm0/pqowT0QL68mEBmObeJ/z
HP25P5Gz/uwnD0sBY5/i0gD7xoHIBgIplhtWPyO7ceEPV4Yj1NGS1Xx+LNlGTniNnLtBoPGbzbXq
SWEpYBsoxQAX7j6syAYyRu+ZfY9/L7Csw8LXmvtwSEb278NJ1OvJJv5hti7aVHts2+HZ8T9TjumI
wSuY8jyZd35SoP4aTknnH6cw3ftpfhQm2E86Pk5thyb7019oS+DiJMndkL+mXvZrTR7KJkKqH0H5
tMce74EbpxyqPr6H8tuMGN40L59Vnh2oA0GrBzNhPsRSl/eNDh4YDbtLyRu+lRrYPcjYmxOCU1AR
d8hI2eSCm4RVTzYJjXWNzqXKllOVMrRXHzVypwJZhQp+e2iFUVl1pJ+tXXNeTAIeRR6shs+E2iJf
yXdcLIHtiO8xu7Yd2WYkapDTW3mItmoM62yuGtbwCcfj5DKZNqhQ/lkq0JnUo+08KeBWW3a/+N+2
NXs/LdzCb4YNUR2zZpHrYVjSnW0HYv8wUvLiDGaLkYzJkq1zjqLFu/FKHmXKa2eXefwDrjpa0ZPO
39oC9RtGDso749xMEzihn5YNWeNhvKn+eYbSW3ys40h4ktqjNNsGqu1x6qNfAR34aomuc/JzG60H
7ixygS4GbndI0mirxks/xzfxgMXCG085wRlLBTo0aAXLDfYw5WXSGUlQ48QlsN6DnPtAClIxdZaL
d92I+taLhvucF05H3Bf0epEcHsog+LNU3W0LFGwV94GADRPxaPzyOnwR20UvS+e4jlwzA6OS3t6V
83hqR3KVSnGnkuy5m8Tb5jzyc0SOXpHfxCUPhdtiCyGi3rvbngBReOdpcX/I775NGwXOLD737sKD
ZmB8hWDW8rtQQL1ruut5DR/W4DZNsq9VN88pg6nKGX4zr2Py3EDiNyAl0vEHZGNmhueyCVBQAJzj
pzpi+d4Gg6MZ73QCX6nYeAH9nSK+unxNRiBbCbrl8rVKikOELUoX9m1sBjAnVCvzewm0ZXCCq3Jh
R44iClkV5kK9HBs13HtZi0i9HG54gC6TCNGZBJxpSJKl+BAIMTabgdN/uBG7KzlDul1vRKuvGKSi
wEK0nvQPeUivKbnBlr6/7WlE84Isu7B8n4IecYbyf4a4O0qlfgdKvqVifkrZxSXuCwEATyVv0uKA
2kqYp/3KT17IuRLTPBLw+j2jaTABU7IyvJELPrBCn9yeV930d1Js3wPKzlq8NAliGLG8Jg5xLtaj
bWrz8ne0Fqc4oDIOg3+zaq7csjuKOT/2c/pkm+iNH/usA3Xno4hSHWLBGe2mU8Kqqyj2w3C+TxJs
eiOlPBuvxz4fOHVQ/SoMh30LeREpd+Z/ZwPJYT25QZFzacv4GLePMPz3MXkQmoetYM85dMMlgopF
p75tzdonhXp8YYvmjx1e4id/tQ9rgVUMO5/ToyLf8KYZYfIIiBjGFyWwE1aUEzec8PLbZlrfkcJR
ny+3fPPRJr672J1LxpusLQ8LKfKjpJlbo2eNgML1CnCu+hYf9TEGqBjWz5WqTjjLHbW8G0QKRRYc
0biy6CVXPu1fVsb4oyL60vMui05upWESNzIlbm7SlcDwGYYpdMUQrGhoEf74HIud/7XSzAnMWens
/uvd8iBmeS4m/2bR/mup3KMc5VXbsvUkoxXQP8qDY5WrF2HMHTqIf6oJ9n5mrgzc+Gg+TnzdJiLU
YbSXJrvqUIpkaLMK0sW0Vx5Xab4yEx/n6AmJ337qyrue2iZvLktSsyBi4cFUFmb5VYSVa5GKcWj1
0ExkE3Tp62JrZ09Bcj+HF5EIIuNzwD+Cpo3plRuOlMxkSaOL9m11FxfDo23OxMjCkbSpc1fVQEJ9
BClfcWzPPs/vWuE0BL6RszWOicbVXPb1isRlFZduxhY3ugh55Q0+7N9yjP7ZfxHBpl7MPCq4ZTMq
oF8w4dsF8X0/h0/LZt808u82XfN0euOxX+iy7qFbo4ubuneNu2DFXE7GAuIKScZupodNPNDRVc3O
ChO6fohr6Ho1SKogdo5+OJxFOzyoGSgD5myRlOZIM/JrABggVAqkMILK6B8NaAKxTDfghMdo3U9B
/LvpsYKm7G8aPeyYSaB8Ww/xXV0ju46pVxXmBHwrOkAXZdrnBKVaXqE2QFvov8upP1oyD7itWPcV
4U7H4/XEDhqGvVg02JqE0HNcHDphIz6mT2NHF1GM876rlotlJUTi+5/OkBM33MR1dZbJcPHtdFX6
0JmZWU6yuPQZ0syRMPf4trN49C4iQ59Us7+aJQE57ZVxoPpy6Tg5qp+QOb7xduSpV/j6Gi5BMg9a
1gVmNHfpW4lgsVi+x7Y6tkuyAyXnW3Ou1uao0U4teUDUVQxbwAcz4e2mPjy67nRswa83kg++YteV
Dic3QPzS2H0Fgb+yJ5rJq4HUXcOMPyTme6Ajx4d56QimcunKOgwLjf6IQCcOGIDAmMafXQzF/d0p
GjoptBECRbLK9nzEx7wMmf5V+3QzTqL46wYDbuHDks2Q7omeT/DrGSi1C5jxrepuGWySHDXTiEqm
CnIjLuCqy5mT+JtkDRF298f0qLKQb+U0tT7prHWOY6OF7bgyBmMzn2OwFTRHFfnVa4aDeiqOvyMf
ro7LhW0SmDcd1kHkq4gkqRmITPme+kvNojvOPpfia1jfp21EVIExDDH6wPPjj/mndsZ9Q5HL1YVL
r2Hf2BxjH1tneOOyhsr7mPkMA3dXos5+8fLs7IhHLySpr88NNG0KxMwXpOyMHrnP1RY2SERDM674
EBI6MBHA+mqddrqqBxx9SY4MSI5ArENY+7Z5j/o42wc+9Xr2u1rDL78wHyVImL1w8320Yvg1XsfP
L9Sn7xWUXrW4z3syfqJYoyiN4Z/MDq8W8JGnEXMMgfcYdkDOqphhTQNoruOP0GhJGRghyK5dDYmm
au9EZx4GSJCqyxHtjnV0NObipFxhXmDjXVSh8nQIVJ3WbatS8iXLAngpax63x5r4Eb8U3jkHd5J0
LaeaQPQda3SYRVAX7IspO60U2Tnk8iENlWISwm+qNHGLSKtsOEeMtvV+iNLh0mAu9KKA5E6szE4U
fHVzBKrVEuSYli8iIrPC0eM30L79VIZHLbxD7GFWZsC0i2kQ6hzZQPgTThscJM8vPEkbBTkEaNum
Zy+Dx0X9i7WZTPo4QQybf5qovtet86IDCWhH0fM3l2w2l0J253JuqaJDhATDulxi/FtZOV3xxopj
UVHzBPYhNtFzUacQOrx0AkVXPCdZ9hiJ6qArvPpr6NOqG5d1CeIAPP+AJhECzg5yBhETFmc39CjB
A3kIP0Tl0ZXC0+wJHBudiW8rDQ7LgLJ3CdyYPcbWnsxQBW5/qeuClWkEoEBZ7hAXUa8s4ut+ZK2a
tc+elf/88JFEDuCMjiT6Rz2sLtzxIvw9EWPrhdD9eeXFs/EqeEz2j62ITGCT3JzqADKan/ElUd2L
X7TYUKQ9BSUPlz/MN040+aekvslNUd1UY3qKI8bIVUSPpUp3PttKXboW9Eqep8jG9zH35s4qOJ+F
CxS/LgkEW8vyKJYM0EfuA35Pp4Pp8SnGTKp3/hKMp56nqNsSj2T/pcZIH1S2bhr06qzlRq+B/mi9
dd0vKx7NcFM5kcslxnw+mtqxh7i1P3NXfRuPSI5QDLToTPE9xvRu8dqT+n1VrjGBXKX/NwVL2YUs
q8eUna0/VNduh0gsYn7Yxd2t0B1L9REabq4BdOnIQAvDSRGzENj5b5TQP8o0OFj0irxB/KlnJNpz
uy9qZm+9kt9D286HHiSkK3mbRvhaM6QSsZK5WBFPMVSlB/dGox1N2L+HxQfu5Jc1Gj2M6hX9E0Fo
7sqaexHph0QI0Kzqu69QtGqfpLoC8XZSVe/tVIRnP08vdcMiLQSe1S2AF/soPKesWPZTTUPnB8Gz
C2GOXd9JkC3aRoD1GaOt59a4f1FurOVLtyIcWhT4RZuvPvXwehfPzHSGacZdK6iFiBSq8j+yhNE6
py+TBzM3Y70pGkSWk1AHmxHq4fDcByb8KrzppuhJIqhXSZQixgmv+zen6b9FMA+w1AV5i3iu07Sl
KAdqlcNKju4GWq195CLHT9zPlGmPtUh6Cs/bB8umpvYwLud+ct354M6FE30kcPMmiDRD8Kxjmglf
pn85ayouLAYVw5PEayKm5Uf4nQPahHhBqFleBCqCC6xM3ZWNSElNkrzOA09GbT+LEJtxsZILK4Lo
tmlfNOOpsJgEkm8+jiBi/OecGqriX3EU7vxGAeJ3iRZ2ekLWhFOnF4VNzYcoF28strWpWPmU8/uU
dAcJzCqtHBo2tNOj8qhsGoP3dmrRVAwd1cJTopubKAB0PRDDXegclM2EejZtIrRI89HWAQvNpQA8
sfoXG0O38NrsXgYfuQ8OIE1BjqabrjsmNgJCQgGKWgS8Gx0EjCiyT8ZvL37guftuJcyU7dYQQbHx
WAHHNP1l2f1mTXtfxQ1Q4NS58kBqJ2Nw0/COc3IycxrK9HniywPzEyqr4+PgkEO3X6O9TangQ4f9
WZ3fek6wEqny2P3/TnRBcfB6/1qPzI2GnrC00SDykM5Dh6yupOxifopnYaywd1l6myiWI3rQp44Z
Q4l4BgvbSNCLxHs4d3jft0pIG/mWDIg7k+lKqBbfKfL3XjH1Er15KgVmn8GjWKn6FSYTuB5EVyJo
PoJMsUWzClOdzmmjeqhfhA4tq7ny88Hf1w4ne4erTi4pidiMXpwa6c0cfxYDIkXr1qzqZdChAbmd
VgJBvDhhLO9AnEOCrCZciC607u19JIR+H6ICG8L+aUDvA2eJzVKQNO912rMF8xnQZQ995P5lOfAc
9z0Bi8mRaF/E+8lcoQfFRReGnO6RQDmYRuqcs8lpBnLIdEW0Q96P1zyXmBUzDGnDRtSxHhQMuIBL
UaNunpJ4jwLgtXTNRRgJtohIEM7q6wDxL83ae81jynZM77KcrI92cPuD6xIzbPIfOZFasHgdPR84
XrZv3a5nXtw58swTx6bM8lVPLRjyib1/WSjWDhiavMY5NDri3wcCDR+6t24hzijpv5HVMlkd4Dhq
SLlZo98mjymtE+IxlPRPkUqR9DIbmnh8mNE8BWVd7ifMrxTgzW6eMRYlxajYRohnMKJNlLs72Scl
AcXMFWuyaVEsoqQuGNR3Xku8pUgASKzTAY/hklbu3ow/sk4pAoPpXXJKdQMcm5E9j+yD5xqR/+TX
gMqXKTwspoGFED8qG20B4yu0gYltdYlkIxvc98KnMgrErBFCo8wbUdRSd68HrzbvGOd0UEB9CNWj
3w4BBxnyJZ1FN+HI9jdlNTauut/xJcWUPd0VLiNtT0p8254Es1VeE8OA2ZCF1uQMt9aTP+nK/mGS
f51lcNm3Wqb/JWOyIJTntryqZgjyZvhuHQQqa7Ix9ulURvcd8evKHlAm5ckJ498UDFDjcr6JQUVY
rpO/Cr0kDPeQMy1tcpf3j6XbbRkggKGyEd/QPNmXFvZAoNl04yIndsgr1t3TanSJ5zPFRhggo5V5
9ipjX51Dn5llPiXhqRhKlloTHoikC65SrtSLAzWurIoPv5YPS+8Sd939ZANXpqM9fg/zlTet5Ju2
Qh3JX9taLJe+flBNyqfhMqcZLWy1KIYoRcs6qQZzlaeIyMQm4eYsRNY6Zx4ICtM2ilhfuAJi6TgO
iM2MVwZseriZveB1SCtAPAHe3rx2661W5HvDBr4Yhxb/osWTvjSfUbGFMFbsGTw8FBB3Gae76sn3
2t/sXZaQcs4p4PBMvWSgmD6WsZ/iGhAvXsq8s9P2LptiYmVSPzhMs77VvWFsFef3nrZ4sai7VM7e
oewH4BnjSBAM8+nW/SSLIt81odfyXFpcVXP/g3kRdeyK1chN/YOOMnOdluFja8yfZtJM2lDvnQZk
DdMY0pXZ8CGKkBDPTYMtijYkKWNxSkcqOJdpW8uhHjRk+JpCbbMNh/BVE2/XKOA7m+Rvcsx+It8s
R7e/rBqL0Eih/CtkwUyHA2jKSJ5IhgHVSDPZm1tnbe+tE+Fu9XW89woC2VLoIgMdYpFWzIhmTE3+
wIRBJ2hwl+vQNyT2iIR5S+zea5cC3lfwVmsa6L5EHYk5MM1rVntqPJOGs9e+A8lF0PeOHrHKc7Fr
kWnvhPW/rD+yJsVokKy0mU7hH9phugbX/sfLEozWPSsoXcNZc7lQsA4FPu2n2aRwPdkDgWpd4IHh
Sxqg786z+Fc8xFgC27Xae86hjpb3KftyuuqjdroPUzAsSBOcLE0+vMeZwtxm+PjVELwK+VLU0L2h
vRIXGHEezeYgtPdvpXTlMeZGKJx+l5F2aiwMQ238BClNdSrz5lwNA6RDXAZYPxsHD5ybiONCljSW
x19DBn0jvW3nHm4rbM7t388NZSIyQ0I7LvMWjGcCJuUaYd4etHSaQPMdWueq2JQW2aZNzlLcOnKr
r1emyu1mcB+H4ZPI9e8IDZO7xjdiKvfzKHv0ahQjjFf240SEZdxQIS+zeLaKBTkp7swOvgMZC+Ba
vLoq+QorSyzhQihlliMBYiAJF4No23wreZkjsmQidyAS90Psf6Kk/GrX7jl0x2PBfGlXzo+OP23q
yAE0YPO7tiAMMvZag1qRDZRbH2gxSPuCvG4DMyU3pxFwA+qSYQY3WRU4ScL5mChYHkvuEBs+soCN
QC2N3oUktxlEZVfQ+mUTLbSXsS4eCgNtTSA1Ca68oo1wotTVoXZ4e6MCX7OOg7NwuEXm2bOkz6pz
PMYIrl0fn1QcH9cWZxyir3db1V9Zw7xp7VmSIJn8HTcDlrPg5NiCsM84YeXBzDGv0/P//53J1YGY
56emcl985b2wwfjGoH4zSiprz6ctrOr/u6RzltW8zewipy3f3YNR6Rb/1BjeD91zwaAAQA1fsmWd
3jtn/Vv7qGJcLIqpfrUzvU/Qm9fGx9FdU5YNK7sg/eh1AemA5WdDsmPcNftkhQlQMyEYK4mmJJEn
A1G24nf/FW4/2XegQ7ncJgvbEMIxVoZFG2lF630rHPpbbz7FDjEDvo8Fr0jQHLgupxW/innV15AF
3xVq1jzP3rMqgVz7LGd8nEFYhvtEIrtrctyTLTJDLi6Wvyw7OQr6MVb7Lhs+Q+xldYZ/uPORZWbh
9D23zuuQFNmp+T2mhSV77YIX4E+YrbSYA5CWjrVB1jCCUtkMUzHRf0nx8DbVjJfT+zBDf6NnPWsE
kEicdED5txtHrJ0ANG6CaVIHAK9ggaKAgHi3Ibn3gp3w72Syxzxwr40eMXdTwDQSWoE3DgFOZERD
2ibqUIVcLdnBhKReRpgR2jQ5dwmNSzvH1UFKLu5o+0oZ+YJv995L52FfTXxmSWxe/QkB2Rp9u470
2G5BHOesksunUXhJJXa9nTL8SG6fEhRUdedrmstlFNVNN5v3KnmtVHCt63pXolNbwoLbzpaMATGF
N+xAy7pZDmtHJ17a9t/YR+9CnfvUf+AV3WiFQdGGCNsgFDO/zo/NYik9RkY0sxZ/fdJIU8N+b02a
6zxZtikkODRnis5+hDhKz1DTV4rB0Vd2H6UUyf5EsZ2plH2U3XdwTYMofO/nAJqqHzR7biTLet9j
j8nVxV6PM3eYlp3PS2I+rNSBKPoX6TLEZNf5qqD5EIWysOfYlHyyfDcxw5HeNjP76T7ZVVPON94s
zr6jZ19bkSJfmH88h7OuVzRDdl3OYQvysY/4to0tnX8QsuIcsxtZUnvYPO5+Kbds+dNvFZg4tpnz
5ibUgXXW0soI/2zkvFE6UHWkxNOwmil2TJZxLovm39oj5qgqQTMvh5dQIydCMHBurH+bcKjjmOSd
6VLeudAvsfpVh5X4FhCiM4TONmZwXoLxqZiIdl0en1oYmLbFOVXKo4Xm4GfuQx0gFG9TB16SJaxy
NHBSWliyrcvuxcjlYHvSYqkFRV4foqxNERZ+lsPrKin7tfZxzHlAD3wsq7hBedYkO9S6Aqo/QNGo
+wbBAs90GzTXwhLybBTaI2eIrmit96ri61gGzELmAl5RppgYzYZtEaM4PBEb8k3FCBjrZX6LvSi6
bmn2o4L5NCPyYkXpGmKlH8a6uB0m58lwjp207f74Hes2EfH7ynBsbizr/KHw+bzchopVLM8qapqr
xEY33dhsAuv7unGj65wF5k424mbJOKvaTPVn6sOz05MJrWqGvG7q0CqQAlUq6LRyCaLjOnB8+aX9
SFy0rWHUZb+SJo4Z4GNDQ/h7kAWPR+5BO25G2B0z30xWXu49vINib2sMZ31ChEUz/6wtpZ5Ju4fR
wdSkWWs2MVmPDXEztUaPl49muA5G+RgvU/NcI0ZjiT+ywrqj14Gs74JDTjNcHubEib8c3JpQsbX9
YLZFmeXHzGwo0ZcVm6db4mfkwie6sP+F4oZPtH1mDBXTz8YfMhV3cuFXZVLQKPfRrkGksMM+c2Yk
iaP1OGWEZli3G5GVMCxaW4uOS5JqqWnQbZadPRkC6BPux5D5DsqC8XpN+7/1pl0orqKCTrMuQf1G
+QbqnKmS/F9p41HNLClUgnY6pDyVvr7SIX8fe7DEYXL0B/T8nF9kiXY6+C1Qao4Oj5mby4V97fiP
ec6KhgvsI0dtjSg6qS6GbN14Fseqbc6m8n/WZiUWsOKET5yD0tGTW5HiEtgN1Zi537MBlNTM/u0s
kPuK+m+q2nlnLXxkH9OhB+hRipzFz4IYNqMj7kRTknXbnloZI43VA0vPOr8pwYCAUcZR00bRi5RN
d9KB3cMpUeeBChnBSPJP86QdVvXhF319VpPeXjJtMq3WY6t8VqNzUJwa45MPTsAD0i7H2w9ZRU6t
71RnP0Ts1hlb7loAbDFjY5J9KZWX+BtjVT0JqDlx+c23CkTYOnH21+tuUQHweYkJTtHtiXlGcT9U
PPQDh0s/oODnySYKaMLvYWmYHWlR2tKswLBG45ZWoDs005RfcU8N49cLgQCZHrB9t8dUm093pDfK
p+xtzab+nBPLJZmdDBFD2jxtbyt8dFmHTFatyAqWZZl3c0dijnZeSsv0Jh46/8zdwz5Q1AdFdHhf
FettHghc82q9hvdywE1BLmqdfBfxm+0gUIcu2o1W6QeVTy/VEkOxajzWL6h564hzaa03eWZZ/WlF
fzvlbGRExdem8wpwKPVjVqJp95LNSp/5ryYsTtZf3sY6/K4E/VKqUWQGlp09LKaRsJq54IvJDqRa
wdZJlrkZkgHUT//cFFJ65ZPAEiHpSBK7We3GfF+wqDup5IMj0+wErRdWGoZTY613Sdx/SMv97UuO
+kGE75lxxU0XocfzBhTzufeHu+poAwCeMoAhoLMWLRWSudLJPjpF5aWnox8Pzb5J9rNEPhnSxjY9
hTbhuDE3WTITf5NB31LAFZ2efUEWA2/f7hYcMceANT5JqDd5OS7nlS5sx399JWtEmBXnCWwP+Q8Z
YjkBYplrlODWoF9eXrswHU8Fz+qveOyutEyZBSZ0v7glH+oofBVlaA5y1ewcs+CQKbgxo0P4aoRw
3ai1OCTwOWyWgn8MA7Z7anzSJSpULBi2WaBiRj/WZwQ7JM2xl5g2FpW+2EyStFRy0QRj9rf1Bsm8
0rmeVUoMfYFBhljDrE+5rReGH9oSvelRWUOrp5XrR8aOyZNX0ZampuTdz1D6TOHSnTp7SZNo5kZ3
QeAHMUFsVXwYu22L15fpaVkZnC01nopYV905dQ9Ts9wuCZ6+pg6uQm+crwCd3E/um1lrUtCnGiF+
wwWCGYsRQNQcQQXJlieqJ6hzIJwK5MG3BWDbld0/FozFwVfOWc4eDOCE2Sr9UHCmd8CZzbA4z+Xj
f8yd2XLcSJZtfyVNzxfZ7oDDAW/rqgcyBgZnUpRI8QVGShTmecbX3wVmdZVEqaWu+3Qt0zJTySEQ
CPh0zt5rey3khQoTAP569JTzVaRqfYqKcjgsc/OSoPqAZZpZm3nkbBfJD1RgGxSWHTMCe+Ghc8ky
FJtgjkm80NG2Gjv06+QQO5YX8D3Z9VJ2wy5G2e0BbuoM9xPxGJEWY7F1InmfR1WxpetoedoQ5Nfe
TkSstRBmSMUgGdtDhbpk3UvMrudUesONRUrHpsnMQxoEz2HbJOdOR1ZE6EXBIbYqCCgI5TJFIBp+
OlR8JTN8ZFP71DLcLVlJaWjggN5mn9EugCe1bfANaqpPtG++pKM+JAxH5qX2aiSrphcZOE8LHT0t
Dm/Tm7Nc8Rq2755FPlQTd44dOowe0CNLgH9bGmsb5emdP9vA6meQ1GX0uRmQ9RXpAHaM0Z4J1wAR
nw66OYvUGF5PC+7shd0sQryMdYqcoDCl3xzihMnL4kqNIt9MEYXLAD/AaTN1+AdZwWwqWVj5ZqAJ
qNdGGAl7bwDq3VXqxPOHfOOi4MoU/AfbDoAOFRSpqU1oD0qrrhpMpTREcUSln7RkE6F6e9xor512
Tl4+NJ/jxexDBw9Li0t3GKptPt8uJo63PsLyjc3d9FOYCmFMXlxYxJulQr7EgvzEuH8iOCxlVz29
zEqR32ThD1roLxtpVeeRxSbVggiR0gBK7eWyaLxN97nJXGfn6vZOJcX5gr9z6WmtY2eiP0iymHqW
2ES3fptC5bam23m58FvOi2W9AL/LEDNN6K0lAMYylM57w6leRYQ6uIl7nvYcMGM1XnQWRFxnlWTP
LjJqjpUdGc/sFXskbZQwPft45YZY9pd8rWxj1AOzkz0nuMERO4CjY+FflccoRSO0maajClMkyK9a
7egTThqRwd1l2no5ZZY/STxaqtRHqYi5xU1rOxf14rD9HFFirGeYDAUmFjmO8mVtL5sIlqqS0zXe
q0/K9UrmwAhvuVtBvmvQDI6w3Q03pmyHQx7ImTF9nfVI3hcLA00XKLipATL1DpjpKhMTSRMAC5x2
dao7BKTRKRpXcM5BSUFd+rgGxgbcOwpuExLWo5C89wH3LZdpgVO+gRmaSNCLkARTl+kBxRxhNHHZ
7pKG6WNcWioTfs50EdD/xGe3cxr0U3VNxbOL2IjCpkX4yTG6mkbyA1GJebIJ93PVfUhrCE3YPYdN
3vBfY2t/aOibRG1bbAevuLQAxm2aZFsjUdsgq44RW7AcxSZvz0W0I384PB+gSzNzNSgaeyhpDaUd
K95XIbOP0fl4kkTdlRo8pqlCo5zU/l0Q5ojYO0ojfQ22ZW6m89T2lhMtaO7iRLaO3v3xH3//r//4
PP1n+FJelxmNxqL9+3/x58+YCZs4RHb4/R//vn8pL5/yl/b1p/75XW++6a7M+fuX33IRf27Ktvza
vf2u9Wr++Xt59X9c3eape/ruD1tWkm6+6V/AV720fda9XgPvY/3O/+0X/3h5/S13c/Xyt3ef19PF
+tvCuCze/eNLhy9/e+f7r/fpr9u0/vp/fG29EX97xx1pwvjp7Q+8PLXd394p/afnaNf3XFspqYS2
3/0xvrx+RfwphCd5MG1XGE+7+t0frHZdxA85f7IRNtJXNopLR3v8UFv2r1+SfwrXlcoIz3e0kUq+
++/3/d3n96/P84+iR+EWF137t3fGdd79Uf31Oa9vzBNaeC6NV2PbtlSusF2+/vnpNi5Cvl3+H7QY
uqAnyHZLMdpObEQEDzLQVHWb3AdlNcveO45Igj9vR1lvFLqRm7xGR+qZKqAMJUmXqeHMAuqiHDHl
+taqKPxm+DfPE41iS6i82cduEKKBKOwdzQts5OxtjtDMFrQ5KdNFdbHiDZyFQgD9xU3SxMlNK2Za
SR51+DRQ3YlowxbTREoKe45iThdNceoKEtD9hf3F7HfxsR9yxLLa2bodKjV/zWes4dIBLabYTuHJ
IVRptrP4rEMKs1HWYjZTBeIzSVGLWmo0XzjostN3fGxStU6heXWe2CGOYaLPG/fKzMW9cLx+Q9F/
Ok76MqLFuGLkqxx5eraU5SZKZLbJLafYVYknD1bM5n62o/a9k2A8Lpi4tz4vQJWnQDeZRru+MPNW
RjiLyvXokA0CIGmNQM1njeNmRaSueHTBXAM5hTnaXDt0EzhiDeE+8Si56xay0ahpTlDJJdBMU7Bx
60BQ3CvbK0mb76hyJoMmEIURTAECDbxZ3HBYdWgrcyPikFJhk5Cw2enqWo7UZ0JB8y+25oqKku9h
3+NQ5oXFo2Oll4TeNYeqBSfShpE5WrppTbEL7edZLcUupyONzayizcsnuxEZFqOhntVJnY1M+HGK
WT9aXwE66HDkOr7N/pL2M81PKh0CbUlWC0hMWZ+fyKEgfpO+/1Z3ofOpoUH1qagt1sG4Vndh0JgL
f1Tkw9JMZskELQaiQM8atEkz7hPLcz/2bqmqUycY2VZaw3RWrsJMr5f+g+uZ8SQNyWQzo68+TUkR
XvT2AB2jcstPE+Vah9UiHzglRLQT2VDMt1Zq+J/NFDz0c0MrerYiGIaD9uR2MFmyowksH8umzW7K
NHavGpvaZ0bxBYm0HHJS2otSnY7BaHZenAHhGCHFlBUwhCOZGv9CTJxX574n6LCKxO2Y19GFyDqB
VXyorsnLSHZjmYdfFwdxPGrtoLmEvZkR0ymKO/brKyBmLD/VgR+eJ7ODcKjwlr0J5jzCDxCGl6Jc
pismi1fiCHiIytBnbaFhQvFyEv9YZShj08J2D65Tzxe+woRc+9o51RoDd58l7b5LZHE6WmP8fnC0
tZdLMyPvcqOSkNCgKC9MXuurtEM3jqIhQgYoBip33eiML04qvIuxUCsIJquvqwE6/Fw5uHCbpOsf
vCDFD6mj7D5YyoRiZRT7FxNiq0Mp44mNWD1QsEZN9tUnvPfGGhcLNZhLOoR2mSeGht1imPUvVR5R
JrGc6EYsCbTRllo9TOmptU97b8hoq7aJdYGRIfwMVyD54A9jtyP1JCHqz6aAx1l8mOkncJeL4yWr
0Lakrts/Vl4U3pDgPO5nz8XsU8RecW6SfLq1J99FPG43S7yZ0jQigL3U16TGFLjutHPjZS0bviLx
bpIEy45wu4CuTtTxisEwjw9Jbsy+40l+yKCXUhdPfEm4YDi2Xyylu8/DGFsnMbROwtInHiYKdy29
ptSnxpbkOt/ShxtxfyxFtXJl2ANpYtIqTCjx8FQRJYWoY/Gbp1j32LBsZNxEQ7G5r7GfPdq5nW2p
oAF58iZS25sY2V1ZtfnBmETehlkzfMkSnziNwAS7cXDYFNYMFFQLJY2UQxYFBMgtJXOS1JGPJCck
4To2FHYyi25BM4vyQqdWvRrjoTEycgC5u8TwWLhzh2Em+d3rbIQnAXf0Kg8jD4LVgErN9/P8Qzy7
0U0vl+VmXiZqEnGgpvNiqZB35/PsH5CI1QyNCsup5lRO3geKWznL+lDk4UCEMzUubFGlpd/zUiAM
kwK/5SYvx+jj1HjyqV8Bs+VAxIOpFIqWKcZanw+Z2OnBy0+r0key66HlPvB5lqeRku7FnPvYrJZM
7FMQDRaxFgpsvNV3ZNAIN8B3Z6FYb9oi3MXGZz7vFFNe7AwtYd++6TjHT7W8qMsBnJCeJcaYRtwi
FgiPB3icV+VUAOxn5QJhQB3noVVqOFuGVn8lFB3nfrnM9/bolyDQ9byvhSVB5wzs2vGDTs8oh4f3
gUkXAI8ZxjNybICPIopc2KBbKjldmPUfGUPNJ76SfWkRFx214Wyu6xAKoJE1ZeU0JnIn8Qd5XY+Y
wLmDwUheapupYwOuGaec0vEhkyEh92M8WfcJ55KT1KqiczyuayRMGb+XtGW2gXHU584Kvfue4iQW
zKQ05yb1k4u4zryHunPSM4mi8xMbX/+BOlbXHMU1jVFZO/UuyqP2lppM9tLZ7rJnTLgnhd+REBNU
K9+y7YgGwQxKUmBWEyHXZ+UJFdoFT5Ept0uCUIr2HvG9Yyj946pKgNU4OdVYK8eQWqjWvRV6JurR
BckQt5pbQReqJpowIF6FrdF4XLVUCI6HZgAbTgLnKgpNXUD4PGU70S2Atk0D8q+VMrwSEIQ+IocY
vkQspjZlfVRqGKhtGLE5we5d6g/XXQM8N0xyThRjI+TFSPoWj4Bg/5QoZa0rzgygxKoKj37H6vnt
YBLsVDb5u6rV5ho7UIjvvZ5pDyLpwm3imiInjst3zhV6bmdj7JDqZipY4Pc0qvJ4w0AhYT6l/HBg
hq/xPfJ4cg5zZkiiskFgXFNcu+rrMjotu4Bzd5VlklZsYjv5Zj2DAz2wTU/i0LxGGrotUuMjq7b6
+EoXE/IrugD6i8+T/8j4ZTFtwzThuJum+dnCvWoJmVy4T3IuZ2wH5Xg/JhEWnDYSq+Sg0W6N0qQU
gNubCEe1P2J9lH6Xlpe2J0EvHvW+HPeBE+JczYKpcwgvz1DBL2LFUi6WS0Zk9VwE1OFmqstg2XDt
2C5MOqDeKsHzGntuRwR4/bmfUC+CewmwiEu6K2IpL1svoebwvqk+JrCsw/feQBWKvWIeUYUvMRue
zt5LC3vEpjkfkmda4hmnw7gMF0hBV/kO3QEcScRLIbeye5SIqAy68WCpLfMFSu7yZBTvZ2JCqCEe
ATC+Zkwd5jq7d/r6Q+72Z14nT92kot7qfqCgtp9hOAchJr7lc+3vU/ypyC+A11nFYynahwaFkdt3
+OJH8EDJbA5WrqZPMGXZ2h5ldFREHrwXceqc6arC7detetXO7t9nKbldzdpjomAiE3b5So4v9jTC
SClm7wPW6Pqly3B7Mm/7gT098fAgrI48nGMWsr+qTU+7dhbnQQ1WYkSOSgvZiYZdwiaSNnriTJvY
JkzRxYsfk5z1HEPH3Y2xK/cd0oajJQeZmGfBox/02aaKvS9OPl5j+KIs7SEVGLsK+/l075Oh3uWw
SilVmts+1YgNgy5fKDiS17AQX2BQGl9QaQpvOhFipcZydxwtLY2AMoMqM8B8mCtP7VqvIg2lhLde
genxLJcUkbiPToJZgV/urOE2bIPuetDAeFIkTQghMzaehF8Am4J5V9QYsQuHBHU1P3ecjIgAa1te
DxVxIOhWMGzrD2iDLqZS3ZTRZE6NU9xWiji0AZ7qphhRcPXj8MBO9bFbDJEVZbi3EhBcxgIC4nCo
oet6FC9AV2t6oZu+YbVPY/VsDWwbsGzedxVzQGNY0eMYTl1vafy1HM4QVXrM9E5/v4SMare0cIv0
FKhqOvbbYAKoAVbAQTS6pvxO6DmWMc1oqsH+7vPqoZdpgEHSKe8wNkRbp5vYUHs9uPDce15YiI/S
aoJvTecF929QbqrCtfdiBLgbG/GEXwfbPb1mWqNg7twswJVjZdWhziFmuYJyylB37oOJJvdqmmqI
IkE6tV99CLQ3bjRHZ5Y/OBfaDtz7uHSWbmOx3Tqf2XDfTviLn0Uh9HG4jOqpVXlF3xgePZu5EEWw
bvJzeLTZh9RS8tKgxgQ/hYtQ71stSDnVFkBfYbGP5IyO7H0R8gpYUopVJEISG3SB/jCWWF+9Jtcn
WsXrXbPdYNtTk9ziogyI1uljs9YMktvK5p2OTpAe8tL4zz31/Yuq0d3dmKUUEPMqu0+BmxwJgQBG
zA6JN2M2NxTi84T9pkTkOtozrh+vww8fkUt9P5Tt8t5yW3tXTHnjHRy1qA+lIemylZk4y5k80Bvp
xLTHFeN7Fw4lqTomc8aHZrFBE5jCsiVbmiKZ4V6F+lM9BTQVUEgA1vZj96yPPIxQNSoI7Ir+gFBv
FEVD6rkclnsOv9ShUESs7LMlL9Cf2iRSuJ716Kdx9aUIRLaP0pyTTqPFcvBBE0FB88ri/WKZ3NkI
b+RYXEn3tO6K6qTwHPd07klnk/iQiFvu65YqgqEWDHukcy8mf2GUg1KCgYFOtd7jYSfjdJyhe9R9
f+IgiIK8keHSCKMAFcocnvstPrTZE3jiFwdwxNw7J601PdUFNeWmRFXs+Cb+4Jdy2QdymcAHdwtA
lagCVLzY+VnWNuK8cQVmlDIKq7OGPTvsRIzXPgfFrRtPrCHz2NERt/30yoaq8SnRCy07lKlfA20K
TkIjz0fjF5eyBwjpyWk55aesM6aS+XIc+/mzhJN0Xs0LzZuIRRZzc56dlXE5XXUu7fV6VNP7OCVn
ZPEotCrPrk+X2YVsqIrC+VAv7vS4pL6GqhushcnZPcPFAWeuzeLjOUmg1efjsvOzaUmvuirA4LGs
NujWb8xR3Sr2j/WA7CAuZ303pBwloWeGgrs/ldXXyrTVVeW37YcgRySy9bQTEjYb1B4Go1YcdF1b
27y2V4N26kb0SedOPi3d2hHIslXrWVjeSbU0aQ+vMQSGFg6N4an1aCZu8YFHd6oJJjDDTQzy1M2c
VcFUkLpCP7MEuWqLvTdygZg1kdKn2fChyv2rKYHKqlzYHaS9HLpktjkJSE4i7vqr8PAfV9Sojict
NOclu6GTKVcBnrCqS765/WipMH8vs76rzgC/U1+R/gRzMCy2JVbG8/W49YktBT3xpJ/G+3+/IPq/
qHX+TzXT/w9LndJQa6Qm/D/UOq+fiqf8u1Ln6w/8VetE4vyn9GzjA66XWkj3X8VOy3eoWwrHkVK6
nk1Z81/VTvOnVp6rhDC20r6tpffPaie/Dwe4b4yi1ukK7at/p9qpKNt+U+x0Xeqlnues/9DGpirL
W/222Ikez7QKyfUWHVyMkwt5Esp8qLZUiWpamyeI4L4qa43NXGg2te4coTFHzebAKa97/8p4INf1
qF+G3iELh7jtLHHDnTEBIWSOOrXc6hMeNJRULE/b1ArsHV4/WsAzoqA5YOehw/KeFs9FH0FvepWx
JV1cY1M96lCqH9SzPwGkiykhohCitjioEi+LT54STUB0lEgkS0VTJ4gimzMlDEDJoQH1j76zymLc
fPPh/qNe/G19WAr14y3zsSErhZTEXW/a97dMZpbLu6MHGTplheS0up3jhOTMzv3UQ7/2gbwap7u0
4mTrq1zv7JlLIxYvXLDDMkcHR4Y92clkr05LioBE6imsAyR3FZDlJwdPiVxQj6DQ2hLPmXNcOZrb
iiRI38ejkpCe7byEAre/n0/g1+VHWdovYIOo6rr7VF+X1lCe9XRXEiz4ZVMQWJg75bHlr5unmSku
mAi6qymk1Np7LxN343vLbga8Eq62VN0/KtcixSoEhmXTl4Gm+dCSxbLARSYiz5xQBVR0hn2B1VW/
GLk8t0Sw7mM22uDPCb57tKvBQnDWnzk+4Ypd7IgNapB79jhY8MMQf4xJ7jvDNgiVQWCYDD30KbNF
DqL17H4kZVOAl/K6Fj+MURdp6+96Yd2JmpJxaCGjHepbMeTxSZBF7rau71xKZrsWExLJoN2LFteJ
ji7BnoRtRrvW1bQAo6dUIs9z5ftfPxGvDYF/NQzWMWQ7UhhN5dUYjpRvHgi3IUuiz1IeCHr5GyvW
hLOG0Q2S7LUxVRNCAzQcWeh7et1nxtxMxQgZyILvIC1csdWIdqihmK0QEtJSS9H9+cz5Ux8BWsKb
XINjcOk3bIfkGutDfx7wP37zHtZx/v170MxPGl+H1tozYp0nvml6FEiOGfut3PrULnncEpg6Wp00
fv1kSuc2wN4f54TadJwlN8kY3lTjvJvQIMSE1m6m+QaRAh/lnFDlohU3s+UZpqLlgPASjMP9WLS7
X1+x/PGKmbjwtfmO4q5LZ23jfHPFZVShAp38jr1Pugu0eOTg8JUzDQo7KEe5KJ61Na0wvuLIEWRA
lDNsjYi97K+vY+0GfX/j8H/Re1r7Ulq460z97WUMVRT0XU3TBI+iRhlDxabGYOWzz/31C73+ph9e
CRWOj9xZ4lwx379SUQ1h4S6oY5ISd6hFAfu46MocV/Vj5MYXY4bRa0HJAw6svmRHwdVIekCtHR2o
fTNtBMGGKhPAjjHBrNIU+vg3V/jjzOj5hhXDdlxuB8SC768w4AEKq4qOzgLCam4/RTiLj/OqrrZp
3JCAnpLR2IbeNhMNA3b5GnXY0eRC1u/8YsVnv7ka8ZNPxvDhOMbxXZqGbz6Z1gqRvg4NRIAZTH9d
HURQoorSD0uHC2nWULezbYd0rUpK1vd/7gB+skj8uKoyEwjbl9pRnue+HU2kNnGe6GNMEA6Fh5jg
TcjbcgH1arONNRgHlsA95Nq5+PXrSvnDe/alWZug6FMMbdI3vUvKOLTXPdPQLGtPVoodh42PYVFe
eRKhXVReYT3U4ynimCtIGHe/efV1ovv+CeXVtWLfoqFBMSd+//kj/xnTunXxwyblVT/2d4jNz2tw
2rPxr31FQma83Aam+Ihe/2K0z2kSkg1WfawTeeFVDaTn+jeXZK+P3JtLsm1lXJ8Nlc9NeTOvtWrx
PR5XAu4kNgNsU21LX1ARezI1j57oHh1cPVGHsDOerrTVX1gk9vb2jVkANvEUg+TsE+gWQ3XnAJyZ
oRdmHT/QP8/teFuojOSF6Xkpm13HHcdiDAW0/s1U9+MUQ0P8m/fwZlh1bY5uNuQ9eK45tQsDZZcM
XdWe/ObjWwfED/fKE7awHebT1778t1OZRrvG2WNpEIs0H/1yvvWz5RSkKb3mURYf3RresCO/0BVn
E+ZthINlheowYqNSDs/ZYk5TWDr/LxfFeiQZTArS9PrEfzPNxxSsk7Kfmi3OLfI3+/1iOWBesmNa
nFi5p9sk7fGYFg9z6l0rGD5t1N/Nw0rqavYUwAHcXFtD9fDry/rJk27bKBQMdGRb8Lx/f1UC0zUA
sQFHXSJuu6V86B2JmLy8IlNx++uX+tmYZpNpfMXabLve24UuUZkRtds3UM3oIsumvavcwqcaDeRr
8ehrj7F3Qq2f0jiMKawEK2fYZ9f5m+v4cT71bcdzmNVcRysp1gX5m08CnI3UU9I2W8cE13Imd+Ek
nO6MvgDmeKuj5rlTHmHizpdfv67989elZ+y5vKjy3swqtaXRKIPUggznfsHL8phb9XTsRTS3+/qB
OI8rQlquxqDeYEcnN1wBkGZWRnFBRNWRrl/NYZjEpyn5CnqG+N7mI3CK4Xf352dTDUkF3B3lK+E7
b4ZpPwbEM3Z1sw1Ccy3V8BzK6oFo93RZrSe0JY4jYX/ppb4OBSXJYBQfGspweOTC7YJfdp7sTeGk
e8d4BHv1z/Hw32qlv06mP1mXfrJp8m31uhwKlkVh3myaUkN30I6ICZ8D4pGajeOI21naF7AQ7ipZ
fbQVz01vlY9NPm+C2NvQ3/3NNOP8bDpTymfeZcvsM3q+f46YPfIePTsjWpSfYZBVR2M1Q3+t8RvU
7c04IKrxaeki0GjPOrcgeCq/Cm0sgyaPj9Uy3BSIypG0UjUfErmrAT9mikTKyZJfffJPjofkho0Q
zSmO30eqCq6IPRR4I/aLqPY29XS0hMJAH2pwEzYJP2kv5Xag8bn59bP744xKbIVwXPaGvE/pvBky
wi88ICZCIpol9U26tO5Xta3x954/I/wYIOH++hXl+gl+P4mz8ur1TO8pxox6c3fb0dZ9B5Vu25U6
O44qexu7y1PozDurgI6NfgzCzTLe5LY7bWzATzug9+dLBZTCA93666txf/ysmbe4IKFRe7nSfjNP
JglW6ylVYptFuKXLgCo3wXZos4+grM7h5Vy0nNQwfA0jKaILouFpukwvc7Qmto34MMY/PYfmJp/8
K8DeAAOQIyXguqbMvdf05vFQ9eepcHZTEu4xDT9ntUs1FzwGVQby4jG/59HnfKBMG3cPUY/20vhk
1VUb6bVbNQ3Yf5gbxBLEx9qYD1F4VbXcorSBFTCNPhbLOv0I/xWfKgRoK20uljA96j3SKtPmkOTE
G9bh9a9v2w8foidYg9nEsWtdz5VvFz1kGtAaonrZRsh+yPOrcBeLj2GvaeJgZM4t9Kk1atwjnYZf
cl272PCyG/wcmtaq+XcXoL+uxpeORxKv7b8WRL6Z+KMcq7GomgUYz4KtxjdPVQUVJC47QIVxcjpK
KGILzkm0ZW5JI6Wfjga/e/n1TVl3at8+2OtVKLSBvjCMJ45B308bmYplHoscvUawQDuqomdPAe+b
6r1xyo+lAr5QL78Zv/InLwqSxtYem1mHg/GbM8RE/qTvgiXYyqygAznwkGAKcYiRanP/Y9CNey3j
k1l7ny3E03xmDCKK3v4dAjM6qZk7HxvYTl7o3KQSDfevb4n9drBzT9ajlrOeMxSygTf3BNxSl3Sg
95D2z1d+CvjUhLfZ9N5rgn0Fdep4JCKWUkND9iptGjRVx/nc7QJL7RsBDqqHLzOTNJvVz3rJnyzR
3XclXAxbYnRJVHveVM7h19f8dpXkkjnBMu17SrhK6zf7uYk6xtpnn7dtajnHEz03qB3qgGbxQYLv
BEmQtrQG58j8Zhf9wz6CV/Zd8XpQRyTqrArSb/cv6YweBfnwtO1cYkgQBxExZ8Mt+pI4+c2cMx9P
ftrgspVPnan3PrzvvIuf82J8UNASQVZACXSDAjAcFPHSv4wkikNaTL++QT+c81+vE/0p1+izD399
Jr8Zbj2MOXekUgaQmHNIi81mESRsxTdhzwG6RP4di9MlbDdODSJiSai44uxsQZ9llj5w7ifut8J+
XLDO/maPY6sfBqFci9j8xcK2nmy/v4dUpJuymJJxO7fp12kmQoZ0G3+DHOPjNGdo+foExWqQ7rQM
nlgPwZoHTbzHKwaOvwa0XCHAHwvclY2zJ2iJgZXDsbGirLpRVD8xFYZnq+wiIJASqEz2u5vr/Dii
2UQiI2YqEixMb58CRDHOEPbWsG23fTvIXdAiVRtMUeyUR+qI7aRfs4ixkQUN1NR5Fpt4aS5kUxNl
mAW7wQY1sjgO60tcNScixIhoYZnH379RdjKvoi7osAaLdpFu2wa77tAQpk2PtWBVOwwODURa4Ye6
y+51ilB3yXOANalF3AcBMNVYQ9KZ5J502elcZWXDGKHb09CdpBeOODWnbi7qeQWvcxuTrPQ3ohbX
M5YhnDEjZqUYw54XGrGPVy1hQingOFAlupeox3k5xqC5IaGqNCJvF/Yq/NYTiqun2YJTXzfof9wl
OfJmXEsk2H4SnbzI4McR6PvVtcqPNCcJU8uKL657XXp+cyyJQPfs5FlKstSmbFcRxxEF5Y3nDQ+r
o9dJHARdco3eSXDl0gkHPDMetQ7PBJEh1wSi4GukQ0+LgPjUWa7JGZAlp2jMtyEgGBNYGfoHhUlz
KDZU/cw2n2oQeiPUE0eQPuxMCTta8eyI6XZSOT9LSDZL5XTWG9s6aCc6zW3/shp4VnVqCyLXyubK
xUZRsZHAq0aVFXojKBIr4vJSPWxL1dU7vHSHsA5XsJ0NVJS23Y7iB4oMXcZbac9P/cLtRzBRnr0+
PV0/I7kaCF0ZiB/e9RHpNAOwctO6ZNuERf/wm7nibb3HEzzIHDqobCjj/bAAWHNNSldPkEVYOHdu
qD4g4XsuverRFRMdQvWlbZZbD40CR4lwtj7/5uXXKfP7NZk9JqR1n5e2tVFvjjwLJAuVIojcIk/G
w0gTlbYL3EIv3OTedZ4IAAqRW54hOgEQ0OEkr6BQwnv3rn59Ja91nB+uxBeaZppYm2lvJvc8XnAJ
g/HfumaO9/m8FaQqIdqyAVMys7eh8EFgwx8ZioSUz/FRzNvC8Ul4J/tkn+Y8VtbBDZr0Fm8OXAIe
r36EsFx28a6u2hI5UwrRwSArrSe82DTWeXiMpTeeSwYqWGFy7YX1QoOfVtDrL/an7tLuP0Vqsvev
Y3XMARQuDgktsomIsJu2PdL/8zFyjyFf6Z0zRtfF4PSXut8jq4M9FQ77eBTTHvYnM7+f6S2ZM4dl
Es6NsUISFSEElrXZVqaq96G3kjYg7/xmE/+TBUkxsdsKSwZVTa3fTPpsYmbTjCPualkHW1geuDHd
y1KXPP5uvk1s/yuiGuL6AMglo/0VS4W3Vb32z9NVj4QpPvPVdLBGNDRQUMffFHodCv4/PocUedmJ
cZXGYZP6/bIUyaALg4CCUG3Vzp7IWbkHnGavu7DiZHHG48aCUJSN0aVDSpcX2qed0eN+wEj8wSXm
JO56AQODwGmPzZSCVnExLY6Hxz3d28g1AK0t+VkIS4YDNFsE9oByqs3d2Fn5sXGadp+EfnM0UXM6
Kd1up01foZhMG3yEyjkB5f4UL8uwp/gYHy19CWKSf8t8PtitAxouncEADcm26qSB8dAxpxj4wpxp
nufllFPObKL+sq2o+IxYUHeFRQstWdDl9gW9snUJHtY40DDpzTbB+nGUo3Nve6KhxB6gZn1hT2zr
8iibdxSPAjzXCw9NakE4rMZLrUHuR050rRewtbZVWbQxFYEiMZ7UbP0MpQW30i697WKshHAh9kfg
4/buGAeXmOpPQs8hodFAQHHgdM3ZyJBPtnkDOb5MJqhtCIrxiJ3ZncAaPeQe2AsCc8gX2qYz3ryg
zaE9YDY9Q3b6BZWJ0Jk8L4jimYOJsAMISHAbeL92QtHkc92Y/M61s+K9IaJtSs0GJ6wk+g4xTRWr
K7ev4m2Yl+gpWHNzzp9eA+yxR5aH5a9xDy2huFhAs2wbrihbiDJQi5FNHOYgGHbpCF5kfbmk4bxZ
GPElchtrv3qs99DKPy3Rpy515xvLdj8XbTtvvGnNiexIhyz5mI8hXfpbVpf2hOYYZ+4Q94paD0ll
jbgtVMm9jOtnCnXFB/j4O5G115GYu8e0Sv8vTee1JDfONdsnYgS9uS1v2/sbRrdaIuhBAjTg0/+r
5jvnZmKkmJG6DIFtMlc+jIeZYuBYVxV5fcJW18IszRrkIC4awIuZDwhWmF9ppPqdsoxvEZZJ0B1n
nPx/orHwd0Jk5wX+8EPtosnziVB30e2w4IfBF0d5e8z9rHnUdCNxFK/DwK7enHPg1dWFhUIPRCtZ
Npyn3+ZWbqrJC74rFzvvhApx65UyQlcv3IvToVIpdHpWKksuUNcVqsbTUpltxo50DXVTn2ma+AYK
cV6C5G1iKbsEvnUUNmGQ6CgxUREQ81avlAE+DobnqWh9yHQp6adJ34CJxpDTsa7Y1lrP+5qMZc8n
B6skiLae4uHcN/ZT0UWPbWD0Z7N0/H3JXYzUH0dyPD0xzKa+kNiSQu/FKjP/sWwrMpvRUdlenV4s
t/HOqSuzddqlJKLIYqMhpYFKiEgZH+BI9bezNc4CydcHnLKuqwnfCNHTLBPqc3nDu0AOMaX1iY3o
YcxLPqhQofhaHOiTg/l0Fo8I0gEQuUDtcR92FiSOJTzZhqVk4YlL17pPU5L7nzzj2IMYZqVlfRSe
6Ta0b+LYhONnbUlzgJbVnGel9gslSeqFNbDjZVfD6k2yMnjszLxzbp0bn5J4tGLo/5Gw7oKJPb9V
Puc3r6VJRuIOWuDT1BNPww3J7/sv3dyOxymt78dF5VtrcolD5oijnb0IYokOwnYuPkS/leJlbMLW
JLf+qb853f/3K0fV76owzslTTF5QxlspKLImYrySTOz/dMr9yAMCH8BUD5NDXgan8ROSAHxr9MtO
PJ0LOgkgEUF4tF1OqJpMZoHjOpIcqvmtwpWK7CckpKSHRw9N3bV79HD9QXt8AtKYu8qEayx0AOXi
9vBfKWZofKeCUjAmrhJCNgopzx+dg4vHxnfpRgS2BhS6X70lGLHoUzSn6RV1GcrO1IY1sMz9RsCa
v4+8+tVv9AE0KrR7DOYHLaZul9sY+IbhOzHGvWjbDFzFcLLpyS7B7R9krF/GZG7IAXaCsxclZNe2
c7YdY4xcTRaiyOYfbuEG118KDYyIyzWL9HyXhvwjYyVwSkv7qjT406xxnGPHgfEclo53MfXy1qe1
ePATBBSjXT1lMm43GeEdGFL45WAj0DUd4SNz1AybpswkbjHgYZY6TmTO3FFP1msiC8jZ4X7bYQWA
y6XPGgN1RoFWUFYSpkaJgQuHGJ9k5lop4WZb/CFTilwIACdzxMEKNkXaJTs+Ha9iuAo176FewEO2
mDMYqMnHLsreYqhz+6ov/KNlAanJQB2sqHzgYsQFWrsF7Yhvg1MZ3d6+c6X1zT22n+kw0UWSvxPr
NfqK9DoX5yikF4rzhPidaWx39OWfaQxjwS+GS+cy1pAzadpdkdmrONjbbj/urCJdzk0NMYglEiPO
z0BLzI5dQ2rKa03AwBrREhK8W5lvguSZG8rfEEP7BHlsBrPCDsHxmvk4k+5K8m/3G4fO8b8GxR1H
CJW3lqZPxvvaqV5boGW39qQqutfBNA5uZmYbUjOVrMe9DnkHdS4wadghYA2zR8yd73NF5t8sM9pg
C2mLEYpa3cHBXIZdfwAkuMnTEki8Ss+ztqaNz0x1rxYKmgGuZtCWl2TMAdN0TzpSzm4KiG+vnN8O
lrjTI+idA+sQxsZ5zgMfmeAykMoyuR4dFTyWtIhDNDg5AJsn0loPZuTH7yVwKE7odZBGzj7JhxHO
VUnMkQCxG5dQq8X0z1XKBcXkr/0uOMs0DDACRmJfsPD2XHXULUznPPyVnuZiljXpMQmkqqkD3W/n
dG4gkDD7RIhcI42MsZJXWTdvOjPfUVUvN4VmBOLYY8xKvkLQSOJafCfdF0FCJCoWto1MR6yksZ9u
lNNqzuTlUt0IexbZqfZi55d57ICZQOcdR7sDvte/V2l2Fg4ytBp5joNWxbeZ5zjkFDACWMACKeKt
W/oBDBQ72ZKf2QO2DVtwaD01UV9G28J/D+Ja3f/XS8a7vNQURXWPqs1fUKL6vwO+Rqro5JhG3V93
GTB0hDV8ME2tYYZvMWbi7GJmYAPtcGhq0AKBMucoIANMaP+GGa83qsYo2aB2Qmh2yx4ikXcwXnEs
iuUyVtE6SKLiScTue29Ht/henCFd18aHGoE4WubsI1PKeZBAjfZYl+dt78znSZVwYMo+upvSz7bs
/INLV74fvNew8ZrzM6bn8AUfM8SoknJUmppv7tLf+165SWptbX33B3wsp0x2oPzg+obZurJAYz6m
rGl3RWVfB9Kqnk3svAiLVDfSo3g9ZW0OrfH/Kjevj27ZE723QBUNpsFbi9Fw+N66rQjbwsoJ3WQ9
98nMv2HAiW/FNtbqZW3P/kUUKTuj5rEC4pfYb1Ngya0Jp3YrKQdx6KXWPml9gtZA6ll5d/nvSXRN
AOTnyZSqPZsx34vpNin2iAC2pqLgBd6kIbiRW/+9wMfBgAMU1m0WEWn+m7YG8txPA5r75bkVfrkj
2/O+AwfKye/uXPeG9pYLmTYd4uy4t44zBrRz3BPvgfjk1AzVXo9GMmllKSvjG3NHJx9hCvU3HVRx
wa/gHd3Kj1d2H4oL6zc2nMN0jzyZfgnea+uJ8ME1Azc3uu/VNBmzZ/aXXCERJ5eOFGkort7Ziay/
ste8vhq9WZ+jE5A+4FqDOyZOhCL/j0KENJ1DgaAhLe8z4K0H7l/sIoXpD03wKYEtwUIOeshMNql7
U/JpTaWLUMivH+Lwq/MHjFiYLpCnZ6ehHM4uXgq8E8Jw6LVvs+1nl8Uy8K+yBR1iPAA0Gs3J8EBu
RXSzZrroEqvOSsHh9p9NPmARhJ7ygBdni6XMv2+t6tAhuOe9Cy/oQ+MrTO3PuRMYvTF/Y+8OngQb
rqM1sumgleQasBgU9wzJSUgI8b8s2Msp1ri4yuHpv29A5zdYWvRbaOkfJxu/GvyMhPzcEob98NnL
n4aRI6LVJSFtETRh7N4GUlvgXrzwgd6vZ6RKuG9S/2ReFj4aP4YHQ9/iSCTpei7fvLxoz7U8CJhJ
z8IvQCZOw32IZmO3KPfozOlrh5Ibpu7or/77kRJJnCaL2N9y4R1scsyZUeAd3mSugqvwQNmgdG/P
k+bhsAqZIbPk7oxJVT96S51uBiwCvZUdTQh+bOr67Jwvw6eFT2Q3Nowz7KZ+zyzWZyE0bZKIlmwX
ibwm+pAQmraP9hKujKKcQ7cRIBEqni2H91Jk3nxo7eYUmRGvNM7iQ7bRwutPcqiHcyIYx9k+sWcw
ZC688S7OCHuXYpr9uNmR0v4ysaHZBDO8XSRsb1UdnUURJ49mqo9dgXE/yBt0+53Yc2lH14JRzSPU
guti0TZMXcdJrXLK9JBMX9Ug86hMc/OW0Ha34sBTZT9mdhacYiv9MGRgbQZB/sFtfEjEVX/sbl7h
EbS8H5wsmf1JLfojt8ehhDo1Y/VK+gvo+zOare+0Lss9EMVv3ybNfO5VuYviiFcfMJC0CjI+je2B
JbwbA10Q4tzzQDvNi+Uu55e4iPudTPDBLWCB+zq7+middAVxCsfx19j3NnxsW+3d+FYyJ/kzg5+f
AmLKOuE7XSv3K/TuAXRjzK2dblVjJGfaVP4JUQefZslXr8nn16o1WJOyKXpUkzjyHSR/FE8U7+8c
Pc2vTFXdUyOoV6PwlmwZ/mOXqE+sKtVu1A15kNm8szhoI9dfrlFQTxtL693gfauCT6nwzMM4uP46
ze27NNFPPdjIE9m75FfKvx1Lv7WffQylUxyTXD3FPSEUAJ2jXUfY7RLK/SSL8eRgoCffNUZnoXt8
XL7aauUl21K9NYQBEBbAjtBfHjkbTlwNsB8zV64KGz4N/kPytpRLRvqzRxbvyotQaJrWJvHIYNa2
cU+jRUfK1imz93DnOylSZs3yH/6Xe4wsMiGGMP+Vtf72sUztXdYma8fRz3SuwDGdANRokHHZ2l9x
U8IiH4I73Mc2aOAEVe04flUOVVQYOifHLhFaE54r+xbw3+A/jkkQwhelEBpkezfb83TM5p+6UM9q
LIlf+cxNC7gvmaj5Q3I900o/Av5sz47Br9t2zj4qrAMf0k+lMUfruj4UzA8onIvPUJAHMEc1NHIH
fz2aeNIOeTVco2R8mQemvsBmfQaRiU8abKOTN9PZZuVWMRijjlQDb8E81Kt2x84MnJG0hmM8BuvW
JVe5i0imWarhozHFTCEO97+wq1eXZJ2VRkYzhJ96mD9i0C8Pxc6TRIck2TDsoa9+KzjE25KGGlv2
QCDVmL3W87STVg32jKD3TTw7p0XaOXCsW+QcsVRszRWW0+grY+AJ37VjzhL0zqbQ/WeUQoLytE1G
NjCDMwCfY1moT93S4GQqP3gStOvUY3ElKiBauQztYEFBXgFLsCZPYOX1sdxa7aZyivCCrclej8Sl
Or1HvOq0LXIGOKN/4M4lcYCB5A6L8YYL8QmCLTjLjDFWEUSnVJiXavmLVjx/1LDOoWlteD7bHWJU
zqKUixpXGJr02OZ7jHx5qhRxecSWoC8nyKEqkk2j9bXMPblPGztYQwx5WgYoLsJ/oh3+amDzBrR/
sGzuOjI87ZtWIKRvsVv4qeV90MdX+vz7yo0vlZe/uiN+ZTokCJCI+8m02bUzQzzSkjnPiZcmWuMp
c1nbIqHlKeo0A+c8e2Bx+mlpApSiXEIk9uCPJ3unndj3lFW2GQNOBSLdbV8DStBnsXASdtSEK/qc
tx7bK28jtDPEGAwgJ8a3zDfSW+hwn3cPkyCRs50QGyirmNlUhX9T3+AMOwe4Dx7b2v+oyOosVDqf
0niJHlIKc8yh6AU7EW/bOUx3s+7Iy9IUqmzMVjqze+IQgnTNOuTSCs9euzpEgkGIeqPqjYfq5F3P
YbcPpxfTLc6h76garA63Xs4Vf6xntECtb+aHktUOV9dysWzIzjVj9kPnuHeWLLMtnu61aywK7UGS
4xRmkB7mU+SkZ7uOIIeybHb2KuzEsXaBO0KBYoC6nIIU72vp9+5+TPLNFNnD3resjT82rEsc69fP
0r++04ybYbGTta6iX9kAhCiiEs+y2czZqx1nH1VFp1YptoKwmf/5wvlS5KyTvjt2ySWLSnvrzZos
qjb8YjQDEHEoXwF5HfxEMyuuu+18Y1e2tak2sdeavWvKg99zKwg91i9u5v2JVHJ2AuU+giYjz/lW
yIal/XMsZn6/He7LjomsUMUhZJuMh2LaLxPVTVRKItw4Q3mdV8gAdHMlWgVI98nOK4sd4CX84u30
tqSCGNSke2fGldwLSaB4OIxQDbiMNKAb0omJDuBmjPdZCfpI+wUxG3Zd3vtzfTNESwIrEvGKv46Y
oW76G9ACn6PINtjocOIuIfPjnCUIK5r3opQjqaYDY3grx0aY7wdpruA2CWSJ2n/4enmwSA2l09I+
8ZxW5eLKzYcJ+llwZlgn7orA2fpRJt9pUwk6wAvRWIZ1ChG6bRfCg8OP0wCoMfbP4JWkyhDtuYlI
Ej2P0y+T+fackSDnk1ysuIFHtyYOTM98kwegIgOW5I7tH1wlYI/Q+vo+iresKJdV3Vr72Jf6hOv+
87+NtpUwg0oEOfBZZ92yQZILnkJOUsmhnJbpXUKjeqrHwt7Z4fTl+US3JOI9hUWwErXJ11Wk5Drj
AVyJPnhMzELSK6hASC8Y21uYgPVAmPb4M1vyWDecfGOnaHwZRISCHrlFrIvPkx2EeEqiXcgyWrbQ
1Hw51Zu8tOE+B8QlZmyd0EGzze347YlwKCZRW0RwfLRfRBX1myV3T1HPJkLCu0Wrlb06oDYany61
NVxTZCncFHOkQ1bzrh+ei16T+NUzvhtzUBut/5sxs3aRcwNH96ijfRRa0TryyPwcO15NVnZyHRvG
I2nwjUehpjGfPt3kwDMIT7YipMJu5pjKudoXZXZf46GpBDJty/bhoWscyyKUrz7byRNcCFYZQ/nC
bfHQFza5vj1mbYMNlhN73qLEo5PUGeu8OdyP2FwV7a2ubuFe+l+jOt7BvmaUnrfnkvSSbT2x6kGG
tYMl324d5n0s2Mmycml4nBoASHyDrLt+ikOnQ4GFTddk5jbYZZRc5S4dlf6yem1vhA2v22sHi4sr
+nE8FW2z7KVMm3oXJOO0wtpx9sGP7KqAgsceMKp4vSe2lWSukutLaO+7bV8jrAY9qnaNgr/OHXdQ
C748MbhbVbm3NU6NWJEfwAVoQybTuB/F/BHmat6SCvdU37jkS1pUO8UxQtilOapIvIaI54Bh+tV5
aF9U37VXZFSR/jaBa13aHOL8NI4n138A8z0Wx6zX6rWfKRmGXJw6Uu6nNOkfRyBjFdkzu7GCWj9G
fDr0t/K4eD3PmGb611Csxpxrg0vWHfvhzeg557myvpzcDg5IPb+LJSOkumK17onnKC/sowc1VnsZ
JJfhf0ks2wHTupbeJc5vQaVT/FtPmMiDLBWEvbXBtxt45WFasOZH7UdXwiOuDYMdK68omtoUuv7k
EKqgRoQ+2Vv6H8YJfNhMwUs+09m2phjhQ9GzlU68Y7g8WBHatqytKlAhBLaQL/A6Q9a4oMx3biFA
x3wi7iNrE4y62Ok23OC/1dRTmXLEAaEImJ2T29joO9HW7fY2NCAmIr4szsfAQH1XViFHCOi4i5uC
FSaV8Dz+syeuDTSQz3XLs5RIoMml67nXQCGj6fzs1wc/VfTtOQTH43KD7cuxc1c6rz3k1/w5hPxk
5J55L+CbWJ1MaKA93qJu8MWuj1LoyeoLGtg5C8ieyoltnUkJGLLq2dFTt1bzDKg2GnDYV+cYTUZv
UK1ZmmmWDItX6HTEsOMlor5cL6Sf4wmnGEUXdcnsRB4W3d6R7nQwVvTr1+2/2cYCpul4a9Lnh7mF
is6UGlLOMeYc3hjAOTtPtE9tVdCpZ7fpefqjb673sQSmk5FKRQBZZY7JY13ctjR5O15dN3epIWxW
UQ7aetKsBi6FhrEwyTlg2ym9mUDgvyeh525g38fkMCcdIx+a40xqET/QzEXr8MGC7ZEb2YKn8LH0
rWUUTYSSaPwfcmrWZfLtL1P6KNxyN0g7ISs1olwV4r61wci5ufaYJTOaSuIWRGjdEIQBlZCgOYeU
sTanfGzvHMumJrvluCAnGdaCxLYHfFmrSHnxObTSrRxz64xU5QotfTta5r3q+AH6GVttUODtgpTa
bUWMmrkbQF2O840eMmBKb+cHoBJvMhHWaUYdsBJROmzrokQEbYUHe3HtF9cd3+jwVQbtfeDbntYO
X8CWcXxKkuE2EcSiwA6Hx64Hf2vXBVBn2+thlFAicn5BDmUeBSwXiLzKSQTTorEpFjCnEw3JVZTn
/rYg+o3hWHuWVMvxNIu7aqRsh/S4a52hJZKbYRyoJ3A8LWdNXj2zjweSagi1wx4pfFs8dwEE6ttp
UZECeUPqlWuwOQc7wu+a1Z9KRf0zlP+L5ZDR1Mv5IRfo4OYYEldYim4NucqsYGfvpki47C4zluOs
ghhl5ds6QwqhICfbTv2d+6TESguvIi/5O5ExeQdqOATF5N8PPWGeDWSvVYJdc7+EfCP/02lUA7EM
C1+dprtlr3uR3tmmeCRxfvR30gQeU8SMhWs0A6xvkr1o4ZAUy5tI8OtTun3DjiEHr3eO0hAixsCZ
x8fOrw2g1GPUF9DNSYW7zR6hO+fRgzH1K59oeM2CgY7b5Y62y0/ITLfPvcOI6wIlcfFQb8Ol1Rtl
wAg0RVWc0/+N0BbSYkbh3yNI09z4wKm5mKqjFX5JrsB7L8tosoMuuLOyHDok5zY9jiGuvf5XGjoe
r7Pv9SzjKzk6PFYwr90hSTf/9QOin9bRrMXZbvzvGOSRRTDV2mkofJRCpzBlI1E4KmKZTh1FCrq1
vi/dqTv44fKhZu78yF3BmnPucIfl+0ZHj5oAF8jBjQU8yuxTw4uzO2AaRe9fSklyVgJvqGEqt+8H
yq5UMf7zUg9eMvfdagh1xBE1rfERUIbODQClwkBJhDaSewMqQ0PCzcC1lLXLRu/tsNE7p4/3bCea
e0sWfHsbeTeksJ2B0W0gOP5tOnRa8ZS/p3n/FInx2WhocGzOPyuVP5QN4KMytVDp9QyP06F472T5
rv3gbJrY3cxuvsvHGQt3aNahAWEpSFEn75T97GSIqS1f8CVBJgrDf7MMrdU0NCevL14zv/vqAkVR
lb/bTAG5QPGt1xkL15CXC5Ds2Wl9Kpvs5m3J/O9R+h9+F13nzvvRVXUGyMwMZZgETRnrjsKht5Pi
aM8hXE94KKTQec+SrF2oYeoP9zSyEECJaCDtfRP07E4rSkM7OqdJ9FTXwb8+yuHSBwSNBuKC+Plu
GFnMVohFND3J1pL9fRtRGTLLdqr8wL2bbIhcBKA1QBFjYray3ONUO09g9Z8b8MFUddGvZu1NXJy1
cqM6WVclMgKA4WRWzysvpHuSiMuBJbGo9F1x6OCte1FH0GlKWIXjb/UcQToX73bPfzt6hKX6rhxO
1Y3F2vD9tvmsplDtvZRYk0XV96IOJ6Bl1U8s1QVsDOwRdbZdPZzUxKXEAIqtV3XFFfZ0i9tbL8AE
9mH/4Q2wikg1PtDFO4ALEUaHSTXsbJnYG2RR+5nSBtINOVM3QAG2+GnFFOveQpIDEhpEPhm3iMvM
PgNP4kl3pokr7pWbPJFFFSKpcVa1x2dZF0ODKnvsV81y8HLdbRwfZQowtnsf/9PmP/e8TZIZYyFP
A+okXThg3c/o634OXsHPLzAOUCQEnn3OLfZFFUa8zuMhDahvfHTgi8kPSUMAuLOJu+I4VA0qEGfm
oqpJFcf66/WoeQQwAmfsTnLE6m+1DK4yRtwO6/x1bVGM2FMN59RhO3qdbhSCmnAdUqTxDSn2P5KR
VJWBZONx6LZgq96Hnjo1gcd++/togEFgDnCDBp5UkEf86UZ9TFReKowIQRBYLLIRADa0O3uTxbzK
hbyCwWbx6/CoU8U48Kr5qdk0BCvyE1ZzuTbeC7OkiFEW+58CdDqncXLJadgtwlNi+D4bf16G9Zwx
hhZLT+yIrpgyjRZjG1LfHbd56glUBXyYjTwBlr2JcjJfMBxFd6AvzbZqHOQob4HncNJBsSrDf3lv
PXVYNZB0GubHRCs0ffU38YDweE+zbkA0xtWHhSl3RX+B1CDTd1lIrQUI1ttBZKXt2ll9+9kQUCUC
79kK11VT7Mts2Kp8cXd2gilXnh226rKy/+YuBgs02MUKrQM+73p8ypfwbzQPzB3ICHCifhXG6s8t
NmiCPksnzpSKI3UOODkWREV+1TE9CgtoEOHal+y7xhq1y/SKMes5EB1MdsZymY3MDKDNtQ9DyjDy
E5amdbdB2T/kAylNGQyycbhNapblIaItX8VMxR3/y+hijYSWePO7foA7gwFrE9a0SCltmLOUuEPF
QdTy2qQ0LCMfVWxaEnZbcY2DZTjODCOLzqG1DljlRA2HWfzRDiiz2qAk6Zm2y2XkMZCrlrPGaO8h
O4LtaUTHST+dClNdi4WAMnip36Uas+NAFFHpIciXGORDlmBOAZN0sd1yLQPDMlAdrMrnkWn4qlfN
+Kvka1yz34Jkkh+i3PZRDBgfYCIpjO4izFGUuMORyCUW2bkQBu9InUwJK0aNN9Izc/0gg5dqC1cB
ytZUHiwgGTzEZIkBSH52qfK2ioBlUkRxYoHS3JUuRTr+wYgRK+g6Ui9Mz2sAbu6v2aCuqcWI1BmJ
a0j4IeKp/6i78fu/+kGyriXM5b6zUW0nFSYfgFg+D28V7T0duge4cv2qdKLl6Gp2cHlkpt+Yu9uM
5SN6NEoJr/sbWo73ESkoGYEW4wvmPiJcIrM8SCyBnqI86WeSpFTUYapqO+DCkbwpweWuL/VdIIKH
IF+ujaJtSVFJrdGmoFoIKPvdyUIE7P+JQ/2F+v6Htp6MhWBck+0KU8TQDUeEH3GOX3Ra/FRttuxC
OAWF3W2jjL2NHNBVsxc+cJY82dNMhLR60WVBserwto7hJl70NlN8vBFb6GmS97r0v5quOOh5OcNh
PLjxfMrSiATPJHiIfBCF6MJvHbzaJYNN9SkZjeXfuRv/ER4XTIKUylYOwoWIpE+kvfs0s/XZ9OC8
XIWoUdYkkXeMVtKQbsHAeBj0uwv9RkbOJi3VKePJRYzDorj4Gsvkceqat26WYOs+CGV56W/b/8xX
T16CNAqcDBHcbs2tgF4cD3+6Vq25hKyWBwIEmOaj26jDx0n1134IuCsyVsky/fGzchtFJM6TLaJA
4K2l4RThXtv4U/9a2PSKS2cD1C/Dw8wCFKk+ehxWvydLVah33OG19puHzjIfaiQzTuwK3sdVbMnf
1rdp88Jvi2HhZJJdMMagvekNV5Z0r2mdknNKBjq+a+p5OcOoXQudfs+1PuTkTxj57BAoaHn6Syjn
Nc+SN2msa7OwtTXeZSlUeYiT7FArrAE0LnT06q7T/nDh3VoXsVdsqsq+kE6ybzyFTnB2/8HFVltv
Alm69msH6NaU4KpgCqhB2hxGDY2M8Xdan8Km+v//Sqnf/L9fM/ZrYXEQZuqautjNKEtIKyF0OnUQ
n9UnQ37NUjn1i51BgSjD9q+3YHfoodBuvMR9d8XobfwmjTbCu1Wm0y+S7O5znAV6idyiOROHBOnG
E53xiuqdPt2pR5LAFCBE0HqnmF1LkKNdCRCME7pan6wRpMpIYb/uRVifvaTbRMSlrpeMsNrMGQC2
2e2PB6uDsIrqmpiBwEzG3XG3PCYpt2/fd9RNPkrFiE4mdgJyz0c17oObCyiHxs0uPHDZplWPtZ+x
gPfQwTgC0QgZ01Qrt9/jf/QCl2NL6pEQtG0DxWqFc8Mw/Zz5uLTUe1S+hBqXzT3QRqIyEFFQe1ot
HxRT8zwqEWBq7n6o+GuCaQcUPelD2yZ32moXNvTBmcAn5DS63rMy7gfvYc7+mRlYn9Cus21MKa/V
vvW91aLHFDxQ+SeqUY4GvIAlHi8p4QhrFQONdgfxjp6ZLFiSoDdZQQMTRPaWtrjcpCHstBxB+bqg
8bFBVJGSTA2BfgTG0PzSOTNfujzfA4XY2y0JaJOCKO9VzoMn/7qoTDGRkJWlMCuFZ2Jril2VmB36
LxDTO3QzLwJt20XXA8IaMZLUihB60SQJRf2CFLn/EX24D8AxnhuVnXDJfZYZ1YpEjIYd0t5ICzNM
g/EHs/zRI6Dxgw+H5Z07//UCJ73vE490eIlDNy27F3bWr8CqrS2aFIx4c/rEwII2a2j/iLL/V8zm
JxohX+mh3Ns8nes66ZeNisnukmiqR4W5XGmhHzECsshz/b/AVxnFBuey5enzA0kInYnvmuUjVOmy
hQr4IUp8A/McbMqA/Vy+kBm5uB1emfwfvfh4Y7ekW6f0XJ7A5BT4E8tbzKagFFELqOqjyye+lLEc
D1ZjxyTTc6shYDhNk/vQjUlyUGICfx4iwUzY2Wz6sp2IZnZ++QbGm/+ZKxid7302E0y2Tu5ikHgm
AqFjymrKyloulBF4QxRAu7NBimxgJq3YE2LXxm6EACI7GbY9YBh39IMsq+YipK+qhu0yEvnkVs7J
duBbzuNWsJfYg1BkcKPneo9yl/lEdq3bkNiaPriDwOoeQKv/NW6zrDiF8k3NANznhy8c5w+lwMQb
v7HdKLgPkmveqvRuJFzpvm7ObkU5Deudbx6l1Vl5bCw8cFBUQdUj8xnQ10wl3aMp/BfJgk5OY/Nc
YHh8JCRtncI53lCVh7tCFf9c2ZTHYCAkzhepOYG6b6V+QxFoNrJA218H1b+K6Whg7GVng74KVlXL
F9dv5Vb25k8ayR9XxeG6cQRyAODOgupj0wSoxsnUoT5MBqrijviICnOhHINvhWCEiCizQdNM7GOK
AW+xzTUkY3Y1otJd1XH+7RFzUMn0yXVwrSUWwWhl2hfP/5FSIWN+OxEFvel8xHK+qdZFJP6i2SaO
ivAwEgMF0NYWMJo6jEui2TZqzSKfRVae9WLnW/0uwNSDPmW80H9sIkhKzZwdWH5fIWE369rh8F5I
n4t092MCXpZVEt6Kjmx7k9p74ZOc+l/AwRXjZIrZnIlbz/pjHs8Zdei6KHH1tyyXpyB+K8dab/ve
jtFpD5fBQ3Xd5AwcNYVnPnPDFrLbeLZu9jYoTccwlW4pLI3DMKgI/0y8yw45x2YKnD0rEJCwOTb0
chhQuS1wZTJx06+/oJwtt22kSXMjx0gEO9yQdDrLhnDIbFMY0e8jl08kqNqC0Tu2mUmF3DM+KbZ6
ANUdFjiK0MdKAo72RojpZCBG78XI/p9xCI6/qfI2c2QzlEILu9z6oTxwl93cvaOEQL3n7RQGCgjn
d0Em/0S3zEXfP+twKraDsyT4mftruTQ8NBhIpjmyOOama8Voe9OSVMWAmleQZK/s+QhREGQu8YHM
WXdsm9vArI7+xorv2U1rqbnQmaiWGtVpdze2brnKu4IxedZ/p4M4YaKrtn7F38Pwl3oTRMPW/j/y
zmw5cuTM0q8i0z3KsDkcbjbdF7FvDO5JMm9gTDIT++bY8fTzIVPdUpV6qkdzNWMjs0oVpSKLEQE4
3M9/zncatR/ZNFVQ4XfmbMTbrDVupw7zQFhSuJpTyhWL5o7XSWJRnPOUPaAJnY7teIdWNLqoEAxA
t+kYfppKcewCK++Z8Q/Pqo6Ct1WydSZYQ3XU0AwMZVz13qKvoZETTkCvqqlows7LJM700u+d71Wb
IldUdA0zFsL6bkoF0+o8zLbDMN7S7vFRlcI41qq0eJZjREmE6e500jfrPvJXEvOSZEa6DoPp2ciy
miaOOt4h92ZnPUieveFwGsR4Rwt2T3mevnTzJ82l/cosRcgzH3ByJ9LLkE64COgIpOPFMonWcwS0
irW7TOCDUIItKCgCnFFLjypn3Zs4liP1znsaTvpdHsUNmx/9Q/Ty3I69dcKJvKVRwHw0qCaXI5xy
H5YqGo8aH7RHIW+bm+q+a0jqhrMTnoqJ8qcGJOBPo1ocBMNjXRb9CQNEzqoRV7SCDKygs2DyPGny
4wFgOjduaIAT7ltCBn/nBPimp+yzx1a+piAe8LiOyFB27b0NZFpp3D0g3znWm1j7KWS59qF/P9MZ
yeeKBTgoPuP+kVEN4ELQOi3C3SqacXl1o6IzhM1kM2XfnIYGAsYgxqWB8W3LR3xoL6h6/SbKrRfD
XVRzr8EJ5tKjvcQWFo/kT9+2O/X4Lcez5QOLQ1nU4OoY4mF2gdFIdmGy3fRolEt6qG5Anq+xG1SU
UDj3Q7HYhbPm0neILpxf1k1IoW7ZCKwy3PdJ+qMx6oPQjJ2pKKzW0Rh+dAw3JaXtuRWeZnaswfCp
pHk7nCwvv0k9um67ur8fVXmpYzY6sRF/ixPqz1R0Ji35xfONl5Q4Dmil0PRIAfTnNBc7I7SetKG/
b6qaYNFQz58lT8t1cwaxqHdGXqP+jc03CNSDm/4I/blZMUEKvxk0Sa7EgMUFp1xjPHXqLY7qb9Jq
P6ZQf5ijeXIpeHCdkWvDKsG3wQzoS9br3t4Lm5jWT1ZGjjVuntF++pgP0iuN5xR+aOFbKzxle9oi
zn00AZsOqGenYTTouu9wLigYI09Bv4YVZqdwmJ9st30FgspIh/kRzTQ733ZpGVriv+wjONJN0bQR
4s4Xn5R5bmRePZt21a6IJdxboeSNMb+BE2FtqPTrGIsHF+mhnX2q1ngWbiKLDFCDHHhViOocd2Iv
39PSS998Xid7yWWPTjTOazH2D3MGo255942eB0vIJ00qBR5wmYh9QXV9DdoHEka7sTVyMYm3eFd4
PI7YsxzYS4Sa/XmIK3EfF9MXmBHXOon1wfEw93m4/jn74iwfsuR2Njv3LPTwkAKNvY70NfQ2/odY
Gsde25+57qOdGCpmaU7JRn0Y7VUtGGIJvEo52GFn5Gr1fe+BBw/5pMJ/rKciP0SUT7DTbm5t8PmM
WircynOz/xneMJIFmlmKx6bwvSMBLrQ/TXl02s9yY+Qg+QCcP7qhsz4krh8jMLUVCvaDBeqeeRAG
nNFQ363a6PcMpgNiWVgvyMptx6EIeV4hsiyjjqTnJfoMIEursQ5FCqGb2bcBxsWM9s9WHPkHiNiK
K5Py52SS2cbG5rdTfuhuDRV/s9Hr1k0SJCwmGX1/MxKKS0XRegwYfPh2/DBVUX8oyhkZ0lRbo08M
CkF59yvMppuakPzPpWaofCrf+CxXneCgH3NsOrNftNnZ0Wpxov3LZtzQyJ3sDJIrxtBwLfi72pC0
IXAemuqPtM92fpK/BwbIEcq50rW51Dg2yOpr3+KR3bnxcLQy/G2DHteuVtQH1ym6TBrygIwUzXaF
a2/bwXnKGNqt/C4uOY6CPK2MkZkVMTdbds5eGgXAchRmOQKidtDwYqahW2t0z3OIdebPg9LuPxMc
FoQY9hZPeuYCgfp9VHYwHII8pl1vBy/pkeftkzOUj1S5UFsiw69BD9hFyEtg+Y95XkSb3Iu/j7lL
LFWTYkQhfE6y9Ipsslv+CgxWk2x+qQzt3egBwyZ9xOsuDh6QnI46QjfH8E4Bs7nolPG3TlfEfMrU
IH3CMa71Qm+L/uEtsyGXdh7u/zs8FGIFOumZbofy1DDhBvlfRPuOxZufJNYwGNL/Bg7yE871+/y4
kC65NxRbh6iV9Ye3xcWlHQzO4mXrfeOQUUGOb55irbzcN9ge8sr8MYsh3AjcAGrOr4jeqAN5m+96
mb1UXsmVUSL1l2B6vXRhhETULA7HKIvvtbS/DkYJqxjTHRomjC+sFwD9wGvh63YKWSLHez/Syv1w
hYmjJ8k4n336C/egIGZplE1xDqgHW7oy/vx6WAA2f3zdEFRxIiiXl239IcHvgCMPZ+IL2871rtZc
MvP1w/cu8wlX4WBa1Q2/w5//K0nk//O/FJoQCOslr+/53sLo+AfCiRSzYVNPV1M5/5Dr6ntvEpqc
6mdW9WGdkz2AtLAymv5BB3aBMGyfs4xNy1jk9m7MCRkgChhAiFcu9Ty1oMzFENStiPzUm5TTmuam
1PZ3o/aajaTkHYITyQZQ7Jwg+wu7xRmN3bmNs3CbBbLftdIZH8popu6aJdis8RCG6bcwrfaC9oQt
u2M6iqdXMlNvds40cWJntzKlXXAlcKI225bmzJL2FCMm6x5oiwDRaI0bOOtfgqyialjll7B+Bmom
aSRyHuEJEqZSO2hW80r0UccIv3pg1qRWaXpJC+e+9uW5g1O21i/4Yxo6g/A0TSOiB1uQiAviM2GG
SxqF2DVpK3akbbiJRuMrakBiVwwoS7QRL7itc+esEpAhyCn9lvDXrRyM62K1AtWaHkt7pFc09uTl
GsxSffE0nRNRR66mCXdNmRzy2OIEUxZvhiCVXXSmfzbclzFrOF8jXip/pFwk4413J5guU/uOgbR5
1vry59fMPzGWJe2PmDJcZTEmJZ34h0tGTSUQyKEueUxgox8L94b6nhd/aEomfFG78m3CYLGkB9Cd
7tFy0iO7ZRsGTv080QrgOZg6gpFAN26dvCFflDXtm0ydjz7Ot/MwUsbMBHlNc222nuZxa1ZR+d9w
tP6JPAM0x7aVDUjKZr60NGj+41Xf8/9UMSr3VizHFBMnY+3W56Fie0RA+1EYNfSOqDz+fOf+pYLS
/2WxKODAj/Jvrab//r/3T/3XbP//C7H99gI//E9o7z9VlD5mZf+9+H1H6c9v+QXut7wFwe95PgND
YUK+YOH8VVJqOb+B7yDAB3Xa9ITLkwKr7M8iUu83X8JtYlVzTbLyC4ai+VtHqfjNtVnqTNZv11Gu
cP4Vaj/9AL8nXkgeVDbLNRRFYZL18//4GFejsJKmWFrXpYUmarmEKqxgl7CHZ/SHWJ9Bopn6bCBA
1DOxapg9g0jXt9pISX22k1rl2ChjLO2Y0BscnUFwyHCKMeeRQ5RQm2XtfN1YCCoiWkPZ28uoeNdL
lV1mZUdFT+6arpF5P1KMtun6bht3Bk9OjdszA8+DkxVMP86hIhzxMhg9QlAkpnNBtZfXlnc5x6OV
7NhgQzwhLhONbDwS0z0PM3vlJOB/8zjCLQffzSgk9XVFdEgL5stseJs1LaHhyjRg9kpzTSGH2MQW
x8oSCuzKwrlUBLF7QpMEY4ZtMqj9naQ1A98wjp6+B5C0uOcJk7zTD4uya1ovUTM2G2Cr27BnuBGJ
70PV0CQoaGwhMb2bTJd1F9PJxmGZbgac4PXgsD7a8bbG0LqyndrdOh6mBp2KmpYWb1phhF/OIduB
kmGcmFv8YIhxocRRWNQMY4LrXGEWxW2SrbsmIH7S1TdK6QeDak9WOQxx9nyrKx7LOVM+rDp8FrOV
wDAJfHoDQOu3jJGGFC9HBmlylRpzv7PZjqxLr2PfimLEAAUQImkjTMBeuPJEzgpI3mFbhoj1g4c7
f3C8YmPCiHCy0tt6o3glrbVXFsXxNYNlq9dvrUn4Y6rqJ7ITnJ5SvySLaHy3jfDFaIvvmD4BjgUY
goSoN7AKqB0vPcaMafOkS7UbEsY5UvIyLfBvKwvIld9UeBNGg4dx2V/Z1xV7Bz2iIWK1kSXyVhhi
CsyoWMHGkh94idSL1ZoNSksVL1OMclc5XyzMEVBASVhOeLjUpF9Iu1bsyZB1HE5BFJAPVoynzUn0
MdK0Ivq0y7sde7u6KBk0C3qxh+ZNUSpj4bYlxUA0KfbMrdX6N9Li/ZtaRtBBR2KaIuC2GvxTmIzy
PGPe5pZCh6pdc97E2UuRA4qJgZfiBeDgYTybaXCTWb1a04F+k7WwNrnMGd9W/jWwZ3vVR3LPWUY8
FN007PKuZKbu0SjfTPBHvGrHLnmJBKBtP+QwqrgPXHqjzFWMLrhmIGZxeKsdtUSFp6+dNdLGOFUE
fp0v5HVuGXnm3EMuDvyR2XmPz7KbU72DM0vMugWmXBRc7UZ+okIOTtiYo54yvBfO17GoubR82ibr
aeXPfLZtSY6295Aww7Y8oAWjMSaNiZ6c7e2ClcRqccI1+HihYvhb2ijefDhrFOqO5g7z3r53HS7d
CjN5MAAiaNnpJfksNoYN9jbxymo96QqOmPWhJ/QHWwGKYQi2dmYSMxlZft9pYHZOxNJ6G9uZol8B
d29KgnE95ulTatMdNKbdhIiL1t/0ximG3LblHEL/LazN7YixIRSYNQP/GvYxYxMSJLi3uB5d4B+r
Sib9IYzWU5BWO46Ni7llD3jhg01GR3hfHzLyI2tbcA92U9eu7TreTgl3LVgyXrZ2Nu2Er4RoIzk2
z79HBdYbK4tY3SzzbEbeqxtxNJiKnqiKv46hpe+7oKxXqZpMLDObtKlIos6UVviS+5k3JpXEYfsp
O0Y0Lq1hcNobs8W7Pkr7aLseqysBX5GRrsfNnzDtZ1OauuTJ6HpbpLLP0cybjSsnWNjYUP28wo6g
KxKsPu6i0Bna9dRMZGS4uhu4jaumZJnRgXEvwxgWJJZAgBkpTpN2Nl7LOPnSy5aVJzfOmbDNB8AU
KCC4mObc/EjU/FSG6vhzqaziRPC6eW1gJPuYiS7FmJQ9PhJgDbexFWFFVe05SRVmRnrDei/bu167
G6D1H8LgxWMzucsYtnLgJ6iSh7sWs00jvopkC9DMXweK0K+RxN+cvvkMfXwUDq1zq9ZAxCVjHpxq
2Mq2ld13s8MUWzoZmg3dvLR3AQUeOZrGc3ynLXPvI5qZvBPcqU/SH5wNJYi1OjPgf2zZbFcu8LYw
ST/V4goE9h1utBYtghhPIBcCaPHBwDteCbsnFRuwiql0nxnNS84lpJlp4ul2i+NQVW9dFsL3wSYo
075ftRnPPIaQmD8ibkCInNWBKay7cO2CyvxcfoY9PYSNe1R4vPFbtfYO5FR1zY2kXUVxyua/QMz1
qnuRdwABwik+E4EoeGutO2kxZnCYEy5mqrWt03zbTeFTzhaUm51cT2shkTUUo64mu3xKc2fbFjUk
V5qnqNpMoaIZe6gYFMlSLrmubUHxuGkJ6qdcZjP+N4oU3Tu8h1aXnuhVNbkzs1s/9sNNGeX1pQ6+
sEnYt1IluxImATsU7EwD7JUZyxv4KuOeu7SnYffaWc39rIcYgxb3ftBeKlivELHmrx6y3aYekzej
8s5lDs/QJr5No8G5TnvvIEaGENncU2GDqYpylH4zesYDkfdoVWj/So6k3FL6tS8N+rltt3zPEuae
xBmISGDpW5MMGEmshbdhlGAnrEASZ8PBs8jCjOn0CALnNW+XSkG8ZWrMr5aD/kNRGIFdfznEZ/Iq
l/hrBeuPm87rsYvBLGk1rV1OQIgBkne7MdNzO5n4JfDtNFbo7eOMpRmDEDHLcNW5cAHqabopqqze
kP72sqo/U5uyLnq721AHhq13kucGdMe5A/Ljj8F06TgoZ7Lbuomb7pOMtb72K64sZx42FNgh2GaM
IzJyuysE0LcW7hxULY/ndgbNCW/J1vUYY4wsxwC4Zb4mGpjfxVJQ/d6WyJ4zVm+fVBkNdLbiZm5i
5wN6Bdsxgo422v6+t9t76tVXpWyeMP3jWJNsMytMUIK5jdFSfqwFnTLkNFaZOaqVAnNCD7xed07l
Y4LI8DV7NU8aVexGrP9r382nlZOWxkNLkSlYRpJzQ6beKFi07DkEeboKcG3gqNpwSsMOqlqHGtKw
BycyrA3LzY4Th6gdjuN6M874SsVMShESTxBb21g2BFvn5GXoWuu5yASrn6++ipQo8mgTcbIcwq6u
q+/6uRQ7alIjAsGhuxsbHOEJHU56jBqWQ+ls6bWut3ZrTUfF/Khy/AiqSMHFS8td6jlq4xtoSC28
7VXlOMtAE04l5Q07Gbj3Dj27zOotkkiuLQhauysbmpHrdwdzcBkbEFyN8Dljl36YAvUgZPg0RfN4
1QIshkG0ZpOmyODAKPGAYUqdiIFbs8FlJCh6IvSPVeAgQewe4PtO+2boKKFkQrgm18ZWFXWU72Qk
mGO6rbzxWWbdfNQJmrc7nnKjoWJVR2zNY2JwbQtu38ARO6fsfpM48chjFB9lyxyyj5j10AdmscSj
BLbwIzb2iAFyjhHlvdb4gRgF8U190OVnbTB8XwYztzZaDveGZi/O7I/io4Q9ZeXTXI6afOlsYr6p
kjM9QylWkLg4QENb4Y8JieZxQIahftGhhbgzAJvzBg8TMq72NSYlva1CUAtzy65yIeLOk4O5tgdI
RhzjYhNw3BRB8C0LEWuGtNjTAT1vrPIxVktaQ4gd23HmD5LlPCsCtdE2iktA0WkSvgpM1lxO0asN
2mmv+vQLy/Y1N6ebtpofYubTNzT20kK2cCI9Nh0mgxg93YYU7WYUxD80m5qBqtU5q8jiWmBewow4
OjDcZk+CMR1VCmFbpR4Ghc4/IopjYtLKvGpuA6Guzuw2xwaLKtl19SPNZ0oEfP1Se/MuYf4BiPCp
wS+wb+MMDVYz20qIqNt69Fb014q7fdqyxVNGBV2nT786A+PffKgWI9LwnsXdhQQ3xVTzxIzaTe+J
VdyT0OHUYzD+jdtduThbUc/MLdZmgr1Yi3DPPLmd+aXrYrIAg/sQJv4t0Dx0T9xVAO/pCu7g+ylY
Hy6T31PJz5s5ly0Qk6+dciiBBd/P8lrv404c8oib2irPxoguz9B1OgI+xwbyko3xdiBtf56MvCHU
zg6PGNyOvQTrXtoQCTHLQ1e5bGXCGgxZOfWbiVTqxRlBF7LIUTDqqv2UBefAYZNo+w9z4+0D+OW0
xNKIruP8JmMLfufJaNvVkvvJ4fQL+7Ne0xp1hzHyuevmG0X7tN2zvOW0n+PvYqAfFll/MwQaCntb
X31wP7xVPBMAQBlbqmXpR5kHzLg1GxgakT6DKIluIm4jZwo+oi7xDzaf8CUT6aHie4kWcdKF+8Vu
B1KlbSQ7T4X1GcAPHkvdTdsG4w8FuiY0U8IcxogQx2CK7X0ykC4Yk+Kgo5lrdsRRTSppmwZMllOD
5uUUe4gTGTA5xT1kky4o7CfHetM1Vq/eUdmhU/1dD2FvhaHSPoxM3IHWFA9gU4EkGC6XrPE5FYU6
5dhcu2m0DpR5dptoxsyKiUSd47p/C+o2R0c24AYh3jJxLgYGTOGp8VJ9iu1yl9Wkz4K6JFJgmpck
U2qfZ1PNlRsfLHgmcGaYJYxocBjNkgcV49nXS+QyqpsTae3jWFXg6dSjTEIMAqb9jpc8PWLEznlc
Ls+/4sbCLrAmhBrhptkkqsArNUOnc2woOSY4JCGLeh/5GQLGmF2c2H0Mk8Df+fnERKhRrG2SQ66t
5gk/pfmUtmyoO2I7oZ12d5Q/0zNmRtEuVJxG5X4S3XAjJsm+vbbcc4XjDMGyP7K7hrMG+MJeVuCm
/x7MMJeMbLgAktxrgmjUlETmWaK1M+sH9N89CDhUh2Hqn41hTo/FQIYbMNlZjAfeAkydjG82QEwZ
NLopqbmk3cBC8w+EoBPs2QQ2xtwUTEqmz7mr9CbVMcRqNnZuhXE2HwPgJxNDBbPYBtp4r5tkWUkf
OAit9FDKMw83Jevg6JmaTUrmE/W0JD+Fuz0Ce5w5A1lCQ2PKdP2PwfzoYlfDzcbt0zdqI5wH00nt
Y6xX82ArjHIsPzUJLY7QZbC1wa8Pc76fYp2sOkWCwKpkRxqQXAopXs4eE648iwFYnrL5Q1pKAA9e
iiR8RvEmM2vb5X6clIJVF5P8TTC/pj5lxZQyym3jjN1NGOgHUUThChQuRy8/5gFTCDachOWwUjIb
xRrLZo09hsYFYIc0Iip+m3GwOV35Pa2p2fBjLAB2aUIgZyPijNXEiylmGAOCnK85vKa6TItrrclO
TNEBYDZx5WlbTf73TObBLkrwGwdTVh7tjg+VwucS+/+tX+Bb5XeGcML+xLDxKdmt/sjVeK+D70Hb
f/g5Z2qdIHBZKiCfsa7HgpXafe20fh60g6YXDHfBAAh86ZxLISmUOeB/q8SjVtTWQQUZnmPrI+04
BSctw0UnNNSG1MazUP1hKLJPzQmQR3uy7EcoxnNajHt9Q9c8XEADPWZOyXkJECmzsHdWijE2yOHU
GeS/cSWZx9JMnYO0QJ61FEPmLe7kIxeQImC0HkSkzx1HcHTD9yKy3/DbRZixZLq30gVV5uEHnAJx
H2KU31cqfs+N7G4Efkg0FAhrFsbhYWBHdvEdRvUBO7QcliuJn4I9PBRJlBKSsniCQS3hVvWVAfJg
huIlKrHNNIUq8DAA+dBTJMgYcKQkMcFMd8ruQk/VO6PucAXjeUstPPYKMNntS+oHL3PY0fwd9PVu
NqGNlhhhVoI1y6Cj9JBX+U7xQV90692mZRSfIN9e09R64LiKF6P+Bl3FX+VGcEzG8Dja1Sm1xhdd
bkTF4DPjQWF37+yjFOMt4IkZBvBYDTdscO7csWZT2zWbzjYXtP+XynMOXcEu0CsxVrVQNdpF64yL
r9IyWZvgstOojanWf61qaltqd2I90MFhDLkEo77nRh3kbWRA3xaARDAoQpmvQmByY3KiYOWLOSY3
kgIDZuXm2qq+uHLGHc4DJEjwkhj0L2QNGx8KNhlk1hhBcklUx6Rsa466eeX796E73E4yP0z+c2SD
fJqPM5LRkXdjPWN6oKf7kieQgg0dvhK65YR0wv6PH9lffpqGBu4yQqdFS690h/coZgk0kFMLK9yO
Ljt/Z3jwtPPqT8nVzp0fvi1YWQyQ3dzWIr66dfhoY40a0+heZ6GFfzh9lTHByLDPq02ZxXcmzpTb
+jyrbNvJcb7zgAIBNCyoWJ3KrwUL1kXk7g8O/WKXkWBA7oeprzx9qqvu3XTJpaYtVy03HM961kje
Z0IM3pn5FNtT8dnJ8D0aZ56AXveguIX2Udh3a99MCHg6DUGPFF+cPQZHabFwhWBOuDc548r2xnRz
NJpC3nfO3G3pkMRrSYp7KNrnCP7bJqJS2h8rc5tPNsxG3YZrBmBggobyhx7lK959gK1ddaPC4qin
+KlM448hdvBb9dX32W40F9pkHIiL5xzasb3OefxEcy07bxzBfe3fi7TyVynNRxumiJguub5B53FT
Rjbx7ygmkdAm7x72lU0wP1Oegc4u40cIFO56OkXKKTa0K0I6aFAH3QyPjwy701ibwDV9hLfZSQ6J
ekZVhb5RIKlkQb2LRs3xUlQVthmyn0b1NnV0kQfkCtpgGDaJ7FDAGJ7v0IVIcZchu5epnfZVTdU8
2VPYFbO9dXKA1QNfgZOgfdQhRjRqNDjLsMBdJ09WzxtGygAaOKGSLCNrENw6glNZVaAg+tVd4Ztv
ZdZ961oUMaJ60bpZDsOmNW/7tnniBNSu85Fe3p8yl4oj7KuuWocCSVJBW0c9n7dxad33jf7MMtjB
arFQKI93Y3SGzzQ7Sdhc64wqDnCS3S6ELbfVRn7n2Xl5JRTBNcSdA+QYaHqTvlSW99zwsYJrgVQx
pANdyM4zwiBoNcWpXZb9IUnAJjaFs3c7XGpWu7E64ynFXdmP6uLQSfSE62Q0DrBRWRZaiV6DzMkZ
D8Cmofp7hPZTWPCo83OJHOOlO8MlYYV3kVPBMOzmQeLJSLdgCt5wqn6IhrJnr38kU0P4tbRe8hE5
Sc5kbvOxAsXcIFxA3efysrmvI8N5yCpxqDhYYxbXa6dnaxjLkdfMPRGb07RiO/AUmOgi0JFQTUrx
dZpdxN2mORZ+RnNkjZ+xMl9dG/41T2ZOHh3T5brTN1nkoPlyf2omV1zHuERSngC5TTy1s+hnmDgf
kFpOuDbKBktAF2NgdkAR4qKBnjgSXyBDnWj3FQNWD7nGcbcpT5N8DN+RsJn+lM3BmyYqLWI0hNpM
fi6uqIUGq7hXXs3Ovh1MO9k2dpMQ66K7OSR1C5aivBndmQ8nbs01ly01ENS1a+9IqymwA3Oj/Lzf
hJbNutN8KgwwF/RcECRO/eKze1n96zPf/3pO+38w8P1/qKmdgeifjnzfi7/cvOu4KP/6l+/FIr0c
P//trz+/6W9DX/s3DOQWVhiHAatH4+R/Dn3t39xldst/JAxS8lp/n/o6v+FkURRTMZNlyLvM9f9j
6uv8xmTWtHk6KVvSkfEvdbXLpSzt714dRh8ute+44T1XAL6VavHy/INtpk1EYXsDdlZVFufMmiLU
c3GU3rdZqNMgEdpy31zRujGvVUrIh1JdtyVbyfyXqZa5y9twRxZpH/IwJ8HPcJZg35MOnVtMEMRx
kkuuv8uaUYTCQaLQbCSuQ9x31KsfaGvBRyvYu5paEccoP/LwffDqj0jVCOIwsRofFctmYWtmTd7S
44kAHHTlW5th5CBcEzlcFxWO0o7hHkbSrTQ4LjlggvFss/TKH7KKUdUVfOwqPnOE5teedhxGiUpo
Oa113n9FajqoJy/MMaO3PwAkw3VuoOaoeDc1VzV0Z1t7RArIH+QOjnBR3XuBTcLX/GWk+5d8Ff9/
3mNcdn9iq6jew+L99/cX3/Dr/nJ/o1jWpw+QywCWHofb/7i/DMv/zZIUMnGTYcW3cKL94w0moYUJ
iSGD/zKX5re/3WC2/M0zcZH5qNIUtAlu2H//H6xx4ffy7ted0/zh678UXX5XxkXb/NtfcYctNr+/
32KCnjfXsaTrcnqx5WIH/P0tVk1mE6MG/4hryPqWHQX0rwiNuJS1D4V67+B+gNHeTW1RPNtckSCy
7pu4BXXs0D6CsZOUsHBntNI4/2g8cjzsb4ojaU5i31NUXiPTvE3YlJNIHRz4aI8OTrkTmlLv8bjq
YqT+jg3ejejj+tnC+S94TL10hmWvcKmlSMvkd1Kk/Xeb3HSjh+It6w0DrxYJk7Z2ttr07WfXorOg
T0hS9zS431idh1EbLiSPKzd9mgzX2s7ux6jr6S5ohHUblteOwP9d3+ZfUt9vTu08q9saSDA+8WrY
2Ikdn7Ka4LxjphdEtPSSVzq9+ObJL9tw2wwyvZu1zwRJJmRvXM7AxBLQ5tsOCKRI73uasG+CkYYd
dk7BZ7/8fM8q4c3Fw4fZyeHYLDbuIu7bc14PsGAw8G9bMNfHQqJ44iCtNkZp9Yco6cHF0+y5/vn9
flEiqFXd8eevjP363ER6PDB88A/UPFTHjp74q5naJaPu+LaCUHyNCBQeFPblVTx16hjGY5nukgpB
XEtpnHI1Gaeff1ctX46Qv6hraNpgGSnRMWsYGLIbAxnUL6art/QPtI4/Xc2W1N0YQqPHxMAgHJmo
9XZkwfEOzjFgs3x29t1Aa4Ub3jgELwh/IFDfhYwyH6eYifLY1e1BOF30mNOWc5MDo82SFnhhV3FN
uVaoD8bsBueffwCoFhyl3VM23JtMIBH4U/fFT4aWvrXJYAb/lBi5d+Hx5O7jSrwO8RuwdHvS+Udr
4QD89Ws6qrvUmCIQhLzyYrqkgAkexlsRKNZrVXvEn5Lm3o69gP2NrWACpPbWM2IfQY1P0VGFf/vr
1eBzjI6Z1RR3rZYQ9Za6SK+JzW4lcRcpiEaHNJiD888/Kjh+u1+/gkupwqbGon5KRsTnqe67h8Gl
/ALRBDBOuIqNale4hvWNKc2RvEx7G43uTZq4xilwPfOQCsaAoT00t/Hyh3QVelvGNei7Nee9OJlO
XE4MmxSJvBLJ+U7UN9kUuZ+YwBnEjkzb6uTZq4don1PSg6CWrSLypR9uwYECqJSpyXvOaVHcKWlR
Qta7mMsFvJItNgReoPUpzDq+hE6Xr3XjdYDdl8/XKLptv3DTqDaXOxDfCZy69G0Qmf/F6DFrGr3/
UZCxuP76yk2sg89Ug1HW4p4KvPCmKGEuyth6Bs3NRCla2iSaSdHG2VPIIm0dbyhsMx+HYViA+b++
gMFBms20cMbmnXWJm5VfK+vJKsVTRzRhVRLKumOprt78zvuKblre+3H2g7wk1d7LVyIlAGYk6XD4
9VL9LPzSjF1z+/MPVck7qadHy5HmqQAnch9k3adK8M/nFZsFFUt9n1VMeWcqUw2H3UNd3JVN4pLP
pGzL0CrZj3MJZXL5J5ma498KQ2T5tC6vfYAJKeOUSRjwu1/8iELR4AF3o2sEG/XrNMwgCojUPbDT
I/9J++FlsCr4MDLbL8ARxpxV+Y2lRRT9tywqBSccuo5LD+OvrQvn2WjlZ5TggY+rqWTs79nP9Et8
ejlHqmoJO0iMmbRJqGtcM4yYGKRucyWGl64drsEAsTy22PFbo3hMw+HHlDC9H+y+P5cZAYAeWw5U
duVjb45RdcJqO3L6uDErkHS/3s0WDfvS8HyAraQjMgseJI6ouJODvvKuzWcWyi8wq5NHI+QQUQLd
1c0CCM7mCG+b9h7LIHtlBJludUTgHg6RceN1EURys/JzvOUeZ28N4sTt1pgAp9duZhDJsEORIrGb
27map/NcmOeqDfX/pOo8lhtXgiz6RYiAR2FL70m5ltkg1GoJ3hVs4evngHoRM7NhyHRTEglUZWXe
e+4BJM8PVpfmQTqC9e6+ejOJa3b2qHb2wFgYRn7xHCehQ5P2Sk8i3qpOxYxK4+qV40y9NCzSjkwH
23ktJOFAPICDFFtffwWnOovLVRMO0dJyguQAk3jLAgLTumquqEYaYtNZU+H6yU3nduM5rZjy1jOA
B05ueQGY1C1GLLbLoQndJyTjL07e9gfC+4yF16qa6R6/fdjSHqvR4CzR2cRwi6wBsPo4PXDY15ei
REAkChmdW5zvVm+X1/vFJ4r1VLIkG2HzF0PNa1jTvbN9aDHTYMtTMcmG2zrCnI+Sys+09tEa9KNI
pcXKyNJIpE6ZfyRZcXbt0v7pMLH67lfuafNMmalY1XhE2kgmKalNy9ZC8raph8p6qYTkDxL6ssMn
dGsthHwOE/w37DbPAQCfRZ8xU4iGeNyha5j58c6z7ZneoannvBgrVXvNCN/H6qHUje5ize/r2GeA
dQJX4ljyeAXKcXxA09ghV5flRc0PiO+zk7IUavfW+jNG8adRTfWbjq+s8nz6ixpdwrTyDJxkqCBo
2CWrcKrV0xDpF5RKU89cUcl/unnQoxJxF6X8tkkd55JPyaEB5O5Z0asjyuSYBzSwNYFUUQNXcBLY
iJk0+OBupwIov5vX72PXmyf4jl9lXOWf/++DMAxH3l1T4uTXkLmo2XmFydEHsIhgiXU+mh96LpGT
YYablCCelYtQaptYUXeSY4IgazSHz8j96EqorygS3/x5HNibjfVoJvzLOBuSvSV7m0i7HvmBaUYU
cGg7ZTonxfj8JA3NkG4FWD/jxHrBN8tZxVV7QnXNramL5PH+MH8pUaLew8h6IL1qwuPpvgnmiRVt
T4wf/XOX9/2zFC47ZuBfMALBg8i86lDo5NpgJn6ys6m9jjmaVXqoMf0jRHh6VE030MisynH7aAJh
497yXcgjZYN6H1gV9alPzWPrO5tm1jqlpIATP5hLMA32Kho87+zHPbpap3oOzTJiHM56F8mwpMsY
bu8rszEvz+1+arpzEuXFq6anHUR/E/6EqWIiLBa2YL4Wccp9idvmaGvB7O0tADtz/D3hghhOgdms
x5AOCkWTRHthTbdY1z6mnnilHtLaP4mhX7eIprKGEeOjU7jnsmWwR3FTvZLG8t7b3BDOYBmbMVH1
ezICtxKVc3RzWshhDpXe663XuMudrTGAT0Q6Yr8alqGhPB2yI/FT69KVgujHyHjURAOGrE3IDxDp
zYrDngEzlMVRDVTLNQVHPJMIp6EzzpGWwg+qLl6aOH8EcQ+LuvMSnPxB+4hGJl3aqZl+BkTJVZG+
Gxqv+RzHemMxoKdVZ6K4RvczMiD81/PlsuujhyFAXBtMMj2QyBDRqMqbh5icsW0bwiQYyiMqMeRQ
fKDHkTrbQSU2fOLcv4p28b6deJ1JvOI4ueu88yAaFYAywko6pxqZ2okLH6F00UzM+4r+PDayPMB8
sDBW8xLWYnzPYGCzI7hpfCjC8nTfKrTedU85h+RtYGpUTl3bX9kW6lXTm8XKTWpzzzgWPU1B6hi+
r2lb+D72P7/2oKum9sVWnQ3MD1Vjf5f05YazU77ozq1DKlbZTMmDx44A5gEYJLYUB7Og7I4tU8tl
a9jOISIA7V403x9Ui2IbfWLLUKZnSjzN0wuUfV7p6xunLWwgyla1aQ3BwlOGdCzCoTlN7Ab/5g/G
LmneXEd7kjZREAzV93aQNVcrSUoskDqTzaxoKTqSlAhaGNNGmxAv2P6kUdU+u+xtaA8acLv56J6F
CfAH7fp/H81v7DCJ6Hj/+v/+C2bHthRiLy1mtQyhIirKsbpQ9FWrAXtHyWLJvEZhCjIi7IGWjqrn
XkKbgDxQUhX0ZKxoVVbR7MtREJd7ow9XBjNxoPjNCaDE4bdOqIEYflBnoOuu1VcDmum3rHQmn+Ct
RL4g7mfXnk+hyVj8GBOJLnBrqBQ8xMaEDcJ4gjP3bOoKEGJm3hCLMVEC+Ht/KwuSLNZDAX2TdX8g
3+p0f2h7k0nX/PB/vta61S5O87eoMuQSLDqx75qk+TRzhOdzZGy7p74x0lOmaAFhVyUFc+50/7a7
wyRa6wMMY4Kwlvf963cTm/esOA8t7FxsYisWwKWyR6gqQ2Cdg0a3zmjrbeZkfBpxg61rDHY6Jput
X9nUJ5EfPhMi+AUx29u7/NQNnduP0uCUK6t2LoJScl4YZL/S8zuAeDH+0msmaWAIPqs0iq+9TzhD
E2XeGi1E/6SyZLo6aLEoQ7s2Np5JJskf87DY/BaO82deWm4EIYFb+BwOrvauvXVjGJ8kkXlSNS6E
MpTGKqr2MmOYnPSah5IKBm0/lg9p0Me7QMwSYhMWUjo669/Ka34PC9n+funeTcjzoNxqROEc2zAz
VlZnhY9hmH/AhP3gjRtOWhvLp8Dy2x1WFHTRYyefJsOVTwLyRAJ5dUEZVD7qeoUUuKm1zehDXRI2
v0brZZy9POOZ4bvBkUBHF9BDZXL5T+44NNs60/JHBhghnMLQZQQxVhBbU3WtydnZDKGlbTsPEXBP
mKiO6P09t6x9oJnuE/07NmsnLcObBk55nXi08Tno9vKSYbVAw+p8BRmWfj/12peiKFjbtZ/E99Vb
X0/bju7rJoqjcS+C4k856eGxMzouayA36cLvyeMiyqZ4s7XygqNxVVgWA6cCDfO9grYyxP5+ZQyb
e80d1Vgewq7R2SJ6UnM0Vz8oU/tWYZhtdXTbG2U0HJo7GADekFyxd4uDHKEWF5OpVgBSxk04EqOJ
Z5wDXxP57aEe0Lx3Vt1t4LDHbtg8GKnWXzEkLtIcjAR5C6tKPRLd+Mnc44Fong6KCYUqpo2lXmHO
EcaTICerCY0X3YTK2VJGL5wfD35lEoWvZAg95UnyAr31byiYdrlYH6YJRa2PRDLOOe7DFEMzSChA
ujRt75hEAvShnrJ7y0cAIRaqOLXu4SNq6aWNJ2tB7ElEJu8attGhafWtksmLYWCzj3Ge7vJJfCQ9
2jPIq/AoHoXUsSFTkgeBfC772CQNaDoFHhxFOcA082qcEpUvaQABrtBhX3KGTraaMbIX88ocUcet
cWgE7xnOEreYfjhJkKo3e/ekof4GuYsXuwFgl8a+d54GTrMtEPauxapiIc4/Z/WXEef5WZco0mz1
4TEdBo8+MV4hNSuCSjJVF5x/+JJFQ2i4Y24DY2oWMABtJFDmgzV6l9hlpBtl6H+qblPktKOKHF4d
Is8r8brNyg9R0AsXgWGJcMtNEIlgCIPzVatsF3eViw/JeKStwtURuK8R+SELx2javVcM2lNjpx/x
FKU09qY/oYhZVYp0E3ga6VhCC3fIC+o80K9+WBnXXtM/GwdDsF8BkQQ1sSc3iV2iTLqzCLVtWodb
Msqik8+GQpRhzCQVksnADQibr1nlQNgimmNr+yvTSgExCMWWy24HTfdiuQDdRXHsTBPsjF684PdY
T53/4OeN/68pr9mk4bVS7rXIuYkcKcjRmHWnZrcdNSzIuGwOgQyZRBodeBRrfMgSODdJO644tOoL
dEMa+bKPwph11X2JDAMYHGOKDiNTAB5SDMiyagRFJaDOlDgM+vjiISO7E7tWWpCA7GxABz4ijmYg
GQQoYOTe8SK5MrVsWtSj+eoDoH1OBbBaYgdQevo2ctsI1U2tcv/cLhw/Bg4NRIH8GcsA3o6EGsZy
tKN3hbPAKh40Nf5wxvhJEsSCE9F9oF5hUBCFO3ulUPcO3cYnruLIbPNYJyC74gB1DJpiy0C37NcV
JxFVXphWH3r4XEkWcKatgi3lcPyQpYem8Iu9rqOCbGg9LCNaIExqLcRAOJe3siJtvCXx5awg7/S8
HzUgdNIiZrxWR75paWa7DF6ZxEKySLsxXjaMXVEjqXLfB5IpqPdjhXQO48QATmHoNnKp6K0S7Y/5
EkzljRTT8hFJBEPpHK0s+ocypd2R0OjzrD/dIMlCkSiCWMoPI8lJrjsV68aj1YcpFVGGfcyG9uiT
3ZDptQKqTJXPukA/uTCe8PGROh03T4UZf5RRhMevIVbQ43uvUoY7v0kPZlia566vrgDZb55n/tOr
Wf2SX5SCyGylYJ2KIn/s47jbdBoRm1MoQ8RizJFputFCJo7Fs/L+AHr9ErbZKbUCZ6/5Yotndjhg
KtxOCQKtUPRfbFEM5Afz6ozNkxhi41gkGPgir90V3geDVk6QE2yox7hUB92ItI98aHh9U0rxSNYL
s9HpVpBVhil8eKNjn83ooXdN9+pj5WBq87ONRe4T+pka7ttQpjz5oZnMC8iyNz9rX4I0/plfA8R2
6asy1U+tW4yFI7RMKmuv6Ct+rFwk58IacA/R2Dr3ofngcPSgD6IBCoWyVPiXikX5lKa4zvDS7+nG
AoWrwVz4NpEo1sCmjuX+0b6phslCHKMXqBjdL3zlXNFekmJbCm1rV+CK4E6gCpoUjqfpKhrTPyBH
f5JVNW0i/09kmBc5cU6AqbccDe857fJ/CZlzVjlbG0wuA/yccpVViKnFgJ6KILGFyLg0vSamXMTB
4UbmazSpV9mCJvMK/wiWGThikv9MHYkpsqQr3dZydt5PA/H1HV69ujcXjRIBfehMO5QDwQBwI5ms
q5/SDY/0A7FJecUts7RLogJjO45DcsSAqFO4Igc115gWa/K9p2oz1DrmsaD6gGCI3avPH1He0MwN
MPqjoqAQRJNZlrV6U9j/I5sYdcuf0IOSYEUuhryh1CEgsbBP/eDigNO6g+HsTemxT3ZkCXkNpM22
xvyiyfQf/Xpk+HCFN9UEWSux3OpGnOWFWvdvDgOGCo1cQf+azrVUrGXIgUHNHnVnGDdT0FcbaypW
bOtYK3XkCq4k+jQq7ZMiUp62iLeSxtDPSlrt2nvPw1RlOCzNF57utcgKuQeIQmlPCMO6AtWBrc+l
50/lTEoSAmPlZFBrvAKWavlZo46l6ipXQlkdCDQAx63ovye7/h5gUJpWGS3TNvG4htst5Nzyo578
U8ChzfT89HrNJJmeRZptshQulhZi3MgYNeSy4dIXH0zZSmBm9jdAdQz9sZFjC3BuoSDvV8XmOwLk
it5OA8s9FLCEc5J8Sh/4QPVSI+L4o1ftt0VvbCODemvZsruWVWFveM2+a3SIXhm86YPh77lJXlyj
Lg/VhCzTcmtw3LLAzMV8K3VzTFtlvrHQcbNMEGHsFE5KIFPTLp2J0DW/3YC6ShZYntOVZTr/BLE7
tmV+u47x1ZnEQ4y0chAMxS+Bax1aOYE5IM2ZaU3/HpWkMuRhiqV2kGfF8a+ux6uPr5bQ7UytCI37
YGn6JzzkZJ2bPjYlgcFI5StoD0XoEXyjOosko256acJ2C8odHpTHgScnCjvE07wI+jDeEMaDJKRs
wXR1IhMHR4w1US85HUxS6ffADeHTlvCco++kWnFyEOSXjQReQR+aAvHeR3QOqpGGH8sy0p6KwKSp
DlZB4UZ7Yh/1fTGLtds+23JGuxrp4O8FVBsho272noHuK/DwIefCtea2wc32GoKtAKQz7Fr5kUtl
F+jpy2Dd8Oh1h6JyyKg2GgZoSbBpotlG6HVL5Vr2h+3mI6A+64vQK2h0qX6J8w1a+prZURKsc2aK
2Bygn4NT+nBnUP8EtIVpO39y5SDgckSjbapxtDfILZEtET4feROHE5re9uymy4srEmltmfctPmi/
7NbMeekXWT4A4vDmlNiXmkBo+6n7Tj3pYi0rcUR2zilSbLxuP8D1TauTW9WnMc9IcqGzw2n6nLjB
XyuhgZmFbf6gx9khcjAPV6biPsr7ndvQlmF6Up0DZIDce8P7NCH5LQ18NSE0C5Bu4aeXeCwlU8kF
2mSnnnwt3QFpmFU5oT1wXZaymtpDldi4n6X/PgJ3u/JunnxZz5TmjImZsxVTXh/cEaNoU+Z7X0+x
SHpokYPyFoRghrAuIE4b68vMfifUyJoNUQoSdYnRLfknkqa+xWMFLkQJWgWAlfH/galwVLQs2ToC
TXzhmUnXmMrJIqPk8QJiI0atfdAiQS8zxw+eNBJOgCT3RDmA1kxH4xuej0OXZFbmGuptrpVywrJm
SjphTTDwCgJ4j55PDOVkGiV/uoGWfbQxBfpr36QpVwm1ok619x5natkrsQvTv5E7EbAWQolSabDK
Y+uC1chbaiPU+qLAvty5yTsBhimuFO5Yjog5QTvY4i0NmZouD7ZJ1jPw3oMZhZxczAwfOdgCfgmd
VPI8ZULovkrd+sngyqfSvvVgOCnVk0sUa8zQ6U9UFQaEHn6769QANykV9WzaG7J6BcKOCSDAXbZ3
De0nUrglzQbLvyOI6DWd5p+h6mYd50F80CWOfjTqJ+bING1gCR9HNG2nwdQgls0b4+RY7Lk8FIpE
kBDU8WSnOJS0/PX+5TFJ7X069S/IWqybNXtanUBwBimY+96/VoqtW7nIJyPyA7FDtA7KYBfxrZo5
pol3ZtZPvTJFnFv5rNKjdMWTpivYzuX5/jCl3bte2tBuQ7PalqLmAu5s/TF37ebg1nAW7p96JipY
ixFXGQ+3KRPmqzt5xZr+BR0sBOpUXV6/TpHYLTKzZKBexEyfcdtUVJkk/nHOzquePp3GimMnyA9I
j8uPpL0zaI3Iwjvm84SnJ4L9NBVBtycjguOXjRqochLCUAyx6RLc94YTkUHWZoDqAQ6tg3miLcs+
OFbgIH+fzm9RFaRjLNezze/VA6WAs2jZw0xH1yDym50WeJE0ELViEOGZYF/QsBg5FnHwnc8T6Gie
p9n29GGSfYi411EkvHG4GIO6eqfdrXHosYazBeOhCO3wvcCgleZ+f6wH1JbkDSSPtDcfXCmtkzdl
6SP4cdYrD5re2e4Tdctk947q1Hny8cc/msH3LM9wWw+NwaDkQ6jt3MQ1NuzpwcYbqvpd4mZySkAa
YXQf/HRkDTOT2o0KZClF9TpC9gQfSvOPLkabvuK8dn+IOkFkHbqquUcUAvE76GTSLImHfSMON/87
QAPQM9N+IWwVIawIZg0HBKrC3v+2TRGAsl014Zri2Tsn84PQehhTYbWrx8o7msTTYPRx7Cdt1moM
cbDrtU6e1DwBI8J+JnuCwx2AG9yvwvtTmFmob2BDqAXmaPsylGQZEKWBYa6npnN8iTM9cJwjlooc
caYDjR5ABKnIRNUbh7LB0nR/SMOpqvAdYoBv6sikMU0rYGXToj6N+Dnw7yF3XxhIGei6MEAvUwxO
OQqTS9GOwUXVpstpsmLlm7UFStXoI9zunxVrw0bMXE3g4afMC6yL4U72JR63uaNYxCNn5CjRwNtM
vMpf3Z/x/oBXjzlwICm0aiMLGBr6+skHqcAlkxxH3ES56Zzt1uw2pYtrOiRWCAeiIZ+SuJ2Wv8/e
+pxcMb9uSkCeT2EQ0BvQvckGosF15FZ+gOyZ39fXA8zx9+5SRuzB8v66YwKVp2ZD5Dtcbbs6ljqo
BXfWhUDu24I8GQ+Fh4iEgw5bVxZsBlXU16rBU2Z7xdyaTvm7TYwTkbOLlQLiiX+r8of6GvhGvyBi
z960CkAkoASi5vNh+PITptxKd7lbw8Y/2iM94U7U/QGN3VfYyWrnzP3cMZ/bxbVyN4XTSGKmwl3Q
Fs65yaCu/P7pWVwFy4hz/7HS3bf73ZC2TryG+GUs8UsZRyu1DVZLPqqiUW06H+CwRkjdObW/7j+F
hI3hHHr7YlYZ1bPoiENNeip7+fi7Wrb4xnKVp/yyw38PoWkQm2ckR01NfDNNKVVCIk3GDnnuPfDu
96MktA6dl63v78H9crm/EeQp4GlMXGVg1+YcV9OYK9L5cnTpTIGFgxlTxGJzvwtbx5nYj43WvII2
RYdY2RcxP/Q1RRTga7y5wnrAlDTscpesdKZjdLdNC2QVmszR6mxyoO1vU3fGLROCeAefy2Ogl2pn
6vVoYVs0lqbY1bY0ctUbKdkYYrTsqYfwDA+6dNE94HfKdOZnKGe294uDbh7T/UPC8aUjwfaatTQC
WyY6vEaEE7a6i7KS+LYiybesVMVn4YHSGRFukSdJ+5K87XSDtK08CFA+v41bytFTOzCjuS+7HOjS
w+83YEZ/p1qUbwHKELTcZmiYcDUTgmXfGjYa7LIPfT9VO0Rx0OvJbCFeL++w9hMxhtpG3wHtN9eC
C3Lhe7lL1cblWyF3I5MzjvYQBopLN4//4wJEfgPctG2baosJUbwgu3hEHpF/VVO5/l3k+qB+G4gr
XbuWPmKTnQU6v5tJg1vkYNT+uISwbLPVYKTwAeBiPQnaf0nwFDVkog1AnjeYBsu9XnLCbvsopNia
O89qbn6PTgUn23ajh3Jfu3p31hCKn/w6Vr86trsWqurhrfayXvUDajEXGu/pLiKoPH2m9LA8M438
DvGkvv7e8mIs1lGS/AMQpD6IqmLuBvlh9Tvl8U187XdVExHoDLot65aCydZ5Q5Ms1V7Nu8TIjYp/
mgexxNOzR+S3yFv4LBwozZPeQXrD4O0lAAsVuSQhGfo00kofz46rueSgFOKIOHHV2735Mrje9b5b
ImPBjcV/q/Jk3OoobQk2RMFy3zGH+aM6pxObamYLypMEbHu0zA/f9daTwNl7LwgGi0rvvkTcbxgD
sDGJE2CoMx2r6H2Vuz9MocpXfce24cY4Wha1Xm0nIzJeRjN/hMHXf4VO+RiOdOLMqWA2Rn6h0aaI
mX1++LwETT6cCovk3YXRDOk2sKHH34sv1dAER4istryIf+2GqQbs2qWRJc6+k7b8Q3rcNk4ZFs69
fVMmN5eAyW8L88wExe+J9uXvnxwBNN+Znfr8XcsMR+3ZLPEDzhtym3XtrsOqndgBcBtRZe9l3D9M
qhu+ODZvLLsbX+6qIqyPojq0TNG+ZIyqQKQ0jXhHerVnKfP3Q0NE5FAGP9Bx2z+Op1Go5AydHUlu
X9FzChA+uOlk6KM1+hQ0nMBOyFtqcsWS06uDYXE4Hmstfo6tYdtycF4b4lAwsD51LXD7IJNPmmkg
V1M6LxehZWrT2qA1h+mcsCklWkS0nyUPmkEaDWwNhNUyYwF2BoROYb0x5ssrHpESJZ6/N3L8Rl1k
+QdoPoSnpChioElq69ByUFE6orimAwEDZR5MG1Hr+rbBPNjW5d/7OKkbYDU7IRbpuORsBf6KDQQL
7E70qfckreRvo8n6Kc0q4BDS2gyz3gou7mcau9bJMvonLPTMiPVePqSkzCyRA8pNrrVvdQvDo6B3
zWTqLR8I9424ZHbF/Ck4nidF9+V8/x1S131LiVM+gsV9vw+6bajQZ6tXzNfL+LO0bYVbpBghFwef
90mdS42+6ivBKYI+0m2QeDF9lyZDXHukKolAghawmDeEhnPpkRog1hH0zBeGhxLCKZ3/NHQGg0ha
WeZOy9VfTuIWGrSu3VvWwDopx7Popx4Voe5vJsfFKjh2f10tnHaAGOO9rGfPkwWtrLJClqggJNH3
XhLEgoheG2Phsq2JPeM8Rz68f/ldLCMkvkP2TEeCLtpcpZYQgpnes76JIY82Q9WXl+Avv7VBvkLU
X++KxySxUTkx6dkmdKzOfpIj1LMBP2heFF7d0v4y6Hy80jOx93IQRMQI/9CRJLmPTf3PYItHY+qS
f1oevlQBwVo5eLCNJ2b6g+FhvSYGWE+K6r8qyDZbedPVazAk8RtCfso/hrGg+7C2K3PvAZKiATbA
Xp/vPlYTf+XBhQbTbmiIKbLLffB3f4jn15GnP8ggDlZGmd1c0mwPdhuw5sfqJZry6VNHe7PoNEAa
CpHDhuZj8eh2w3Mz6dW7UWWXJqGwFwPdeGMWD2KBYmZO7KaI4vjJDibml1Ebgu2Jp2Mi3GYJJLC6
yeH9ftRA/NzdCtPWbyKcMG2iTTmlRm2cck3/Gu5SOx/IbKtCcUYO553N1vTOtUch6Xamt1Rd1x9G
r8PFOF4JHUNCF8wei5rWYZfPusgwAXQvjGsAw8VTwU8YEmBsa5B0uyBDkQDvTZYtkxGkN4GO7zDy
oj/wAEm9CGmhSL97sOZxFfHk60ZqHdrL/psxu6bXBWR2PBl94Ohrrd5boZfdnPDRNXwas8x2AjHc
DEBzT2O2cTQNlXTbrEp8HdcmY2lFRAPPaUrIay/pZdB+SeKy2TYK1Ar0nCVeFg7ZTMuRembxitAZ
ctgD/xPlLMwG3z3meSZ2LiNRrTpjJia40tsrfzDpZ6XnItYXjju+UX/om1T4Z640axt6LZ4wJMIL
9HWshm65swv6L350y+ALLkeBgIsz6mcbusEqss1vIpV+6rLzt3oSnMIxXGko7ZZRgK6IycFfd9K2
fe95u6Tp6dFG4r2jfN2PJCabVr8o0IviQE+rXWERNhJ6dCRbSOBt1TUghtB5MDhbxUH8VGfRgeoZ
36x56NEi6lM80tD7bHJQhUint0Ymmi14KgTJdJ4hB+WnjNIM8d+3HdQChfzkAqaq+nW95m/7Fgbg
9NAwbq2vgDZy9ndsAN1D7IMnRytn1+fmyTZNOPlZ+V6TPbOwe5nsRTXsux7/e6WFsz77NXcS7eRU
OGuKNrwifdYSOS2Z6ezJMPnMR1rtPbYkKk2y5iRqe1rdYl6m6YJU03eYSbXUsekuaFftmL3Ilazp
XWMi3ahUN/aZVwN7s57UjgUdqlHWBHvNar5kn4QgWQGhBAn9Bwh1l3KA1GHNM30slcNg4VqSFVUB
NoXN6GmkQUZ6tkFqzX3tYsfkLlCDCX9Sd7Y2AhMgFqDnu/FzIpeKGIpo7g9AIefqXuhCHaUkUTIR
vMHJnBXMOkq3EVlzwuuOB4kkD5JGwf/IjLcGM4Q+X7QTLxFptkszqU8q8p9cUsHgmmhrTkVolqLp
owXlPw4wZOARPpmau7UofMkmvil9Sx9L6dDOWgaNYYYW02eKceHMEe3yHFZJaL8MmB9IGeBnlUKi
VLYYKYjWPb9VPRdQknYfiFaIC8OUsPCls9I1V+wBAR9wu4s62DlVzATNzh84pq/twkQumBZ4wX1a
0kO2SQfyS3RIjwgLnT+xqj7jYFYrMGZtm+ZfFronBhUByvOUVnVbDwf4VDcfcPcI9yal7QYcrv9B
Ef3QFgwOw5BkdAa3N7Z41p4i+Vs79duR2MH3hO9EIoY94yX+2ixideyaBxsiVuOqXSWLTYIjU/Uu
KmIwdYCJXvpJr1c6UgxjYr3z63SiY+krsFgwOKmYMMRkEJCccDt4JC4MeffaOvZLl9TcZfO2keZI
bbFX71CZ4srk7NaJcFlbncMBgCz12HE/RQKWidwKwMzDAnc2UJcBDldffg5ywqBLZ1fUpBekKZGo
hVDYRKd0FxhqxftP0NKKTjBNDCyq2zDUAEoY21ZK7aBK53uapo1ZMldm0ZlgTK7tCaer78TWuvxl
lWbPPr3BtV2lfzoupHWNVtxzsMFxRf+xiZlAuJd7zNJ17gfb2yIcu2A+r9caAb5k4yCklzqsxPkz
5NjXumbCbpYNOqmUnEzbpOfudESn4qJVzaeuM+srYCMxsMTXAhXVep4aXHMMsApQqHSm8QW2UDPU
5JKSbfsbCSH77xC2Z4jb6dFw27M/yMey14sDFS6gPMbYT/jUqanq6EQ5IxcQrf7qHd1Iwyf4fIC5
h6wB7mdLc1IK+2QVnKABeo2g5s0/kXJWICnIUnIFs4EOO2x01Zr0g9E0F3s+1CupjRs/zz4QvrJ0
NhHIDtU9xZMk2ND0b7Y0vqFxpRvfj2HUFGAnqvItilD7IdU6CNA/XcHp7n0As1DH+Q/Xjlq2kj5j
gnvG6TriYYvswP16K43c3Uz1tSRucR1zIFswFSUGYmqPWpWCrJkjVxll8UX7NEmFuTkw3L0ARWLH
hBLXHG+WYgynRUwvT5WBtmbg986fRRZrwCSn9Isn+G4lIjhn2QywSfKEKAWa99rRLf4g0fTWdc5t
aSbhxq01XPhJ662L6NjzPE2HgJMMIatPH8eKwEHLpJHTmMWmwjy9QPKDpyFgutVeEtSzCxdhLJCV
QPGA/zqHqsdJ0QVZFjSEmFXzoRiKHTfSC0qEhFIofMzYl9gjQZeWLBEu4MiyhqFWgxFbejTVvRGB
hE+7DhFYtyTOrCoabZX7CPgYZMKHzD5HIrGtQZKFaJ+cOtRWOpLjvecT9KevS4e4J00AGyTmk2Dg
BrlrXJdY0UnPZZIco4xT70wGYXHX+bbp2YUFiTlj3R+lGJiS/rQOs9DRYPSf9AIlOrmVwZgSomI1
SyJR/nnEDF+bUrKV4gM1VFwfWz/GQRdcyIp+BsObMlAXF93ctbrz0wwRiZ32sPZLCDQw6J+a3jvN
gja4UzbjX3QkRSjkorqTTJCPW5JJhyg571jpuPSAPR0r8FeafZuACJMGwtQ1KAm4ES2WhjkimlrV
4jLpZl0WcHc0orDjO7o0xg32Z4vNR98UkJcKeyz2zdB/2SEx9ra9BgixsczkOyXlAmMV0mrW/ovH
S1SQyDaNPvRADYFtERfDEjLDnmOARvFklqv2UUUGrvrhtc1xB+rcwSuYIPTMB/6FPdG2SJ4Lqxn2
OdybtDOfmPcYq4YMSCZrRKoPkBJM4EGayt8ww5FAAtzZQxzWaQi2aCfhJOCUsmyCBM3Fa2aUnJBn
rVduMdMxPLHNu+DQVqm30WLokUzwDGIqxz4/tOgyWtiIK6aa3Iw+zZ5Qzgl/pvFZOvkfWaBZV4i8
ZOJvhTN6+7xDjPw/lJ3XbuTIlrXf5dxzQDIiaIA5N+mtMuVVuiFUjt57Pv18TPWPruqD6f4HaCQq
5VrKJCNi773Wt9wmWep5MC4QUddi3KNtDjZjebYGteN9RkBSeCe0whNnWOM6EYe3KMJu1dfZ9N3D
pIUC9BkKH4t0fSK/hZywfMbToSxaWCWcbG3Wd2cvtYfeLIpf/UpeHC9VK7roOyDLz9pIuwlX3HsH
GLjWgi+Go+7tQBD9qYpl24LvTxKYmEbYsQ/zazg2tkdHC2FoI7IjuANyR7MPIv2Dhb2iC/SMqRxz
wADXBDomYiD+OIvQMI5rVGgGbuUHxijxqN0TRcE42bu3yWghsGxhQNNaCyNh4jM814D5r44lLm1N
7qkKXrDVLEFZO0s9dND1MPXfjDDRojr/3pqnPgJo0ZB4ylkIrEjWAQeSk3bGDOewIqkNi1J41P3p
VEP9SHWd7K1o+LBBElS2Y/FdGjKzPL6445fElZfEdGsU7zqZSMgCt3ZYvrPaMRXV+uRQxfo7k4uW
9AVjxrDRDRkJQc8BVNRZ+UycyN5RXXNKWlY0Ortyhd7Q4tWkKeMQfJp07mlgRm3q8ovQC2frTxPz
K2BkCsk9i1JAeJtbW4vQtNZFXp89B32GpfUfZhocaUkbC7NwnFkIuhb4WfYYGi/Qj8ZDPHb3vc50
FX01R1HaGwvoY9QJkkDPkim8Xl6LBLioig2Y2GHH6MKflsZQmmcQ6d5qNMCM55q8K7K0P5FuGbEp
TUEUE8KWf9cc3m9wkvUm9mk6x7V1SLsWTISMh5VRz/EeRf4hlVfzsjFJ9AvxMOjBN8+T1UKPm2kX
kldF64cgZyR1kwp5T7HbLkhrYTbX5e9k4LZYVGJFGqLasmThuZW4DGWq7RzTrxYhcK+tnHXRE/EO
lDTkaaD+NF+HYuDS7glEr92QkkyMK9B85joMPeam7i7wulM4la9eHBlru7M3rS85U889HiZ3VzE6
R2nALgs1cYFIA4sOlNIytH8ObleiHmK1mnorXAY4uxZRYGy6CblzppectVyAdaaK+p17X5cFYke+
M48ENwiQj2SIGWmgaoJsnYM/ZTQQcPtLCjYXXAEIQB56zkmw5HCC7cPv4dQwrjSGalXr1hG5iCTl
fmTNTpHZI5tBDhiB40W5sAxSD1URDLeJoQYGsWHVsPKVLc5HieAD/iw7dMJBpF0ltOcQDe2p18KF
xsi4bmVG9NCh151qTzYVSyK7Q8qCE2T9N8ON5kXnEDXAjdOJSTmN5pODyc+iFiCYG6y3MSQrYWtg
56WPr9H9OZBU1w/cqc7YLy1XPOvCHFZjEz6pMX/yagk6yNolNR7KjDNk5u/L1j0OvYoQq0z9RmP6
L1BChL138a10MVT++0TF3BbpuQz4gjCfjS4lyiXvjY0gXiYF8LZAKw5GLpeD5XVXUpw5CQ81wh62
QK7nLa2rhGhEx9pVLy01jpORZUZeogdPfCZaI0teZ57BakSnhbFva2ES6b9GLcN+IjuJPi8Aus0C
ei8T8Ii1R9vARzwOwUyhuWrUmDN7WD9YDSfrpobrZyoudsvgPGt/GJRnC0zp1rFtDw6gc9I6rDdy
JWk9llizUSkwnVmI0S02o8AKT+Xgr6OMldAPk31q+REk0+Y9a5pncmTn/l5fbTrRvXlFAwzKIsvW
AVclOo/p0kdnWi3KMAZmhP+NzAWj0WQF73B9F/QmN1nXIgiRytkQGOno0PAQTv40OTgs8kSmx3kt
Pg5pwBGzeAzm4rzBiF6a/nQFG5vANdWIK2v1Y4uI9fOhGMwjgiNkFalpghr+8Gq8nVSPx8zq1QI+
nLfugsyBsWFd8Xp89YGSgEAjpaEP1CLVEwueF5d/NWy7ir6d4Ty4cjrTbg32wMkI5E0kDl1njOHC
peOZM806I4+QXbIjYZk8XA4xeQZb0A68TR6m6UILaDAmANnWZeVwRKjRdFU1iO68/kb0b7Eoae8t
arPbodv/1s1n6Uor3jy30I6hnWNUdekuyVYsTZU1zGv8VVfS82TeuTTquqU9NXrrxtQ4ANbTuXMY
5QqqUpXXL6E3+VBKH6NR3tdR9myDM1ykkBLs2AS3Ow7PXYTxs2v0cSVVWgM8nwMDrBb3RfBDAD1b
0xLr71ArkD4WJ3RTXfqktjgzeBlpBEz8L7L2qYYwnvhZfcnc4StBXvbWyYGa5WX3jbno4DjZBmCp
vpaGoodg5Ch8wnTv41gCUDaV+yD8bmjBqglCfZumub22sh2wt2yd1+hqhBbH4DtXIfFwdKOS+7BD
AKbLEqV79VQ3pXNxxcAuREXjVt0aZ+eDwQAdUcEmZaALz4oeIfcZLQFE440Ji9LzuTa5K7D9hygN
QiSPhqReLp7ioWLemlgtb5X84dpwljxr8C8JKkqOcBUm3Dj50ZokveVRNO071W2sRp7cInysCjJN
y8J4CppN1kDcje4YloMh08oHN06eo/oKYjO9Fi3vKVfJWjOy+E1ptJakzek6xYnhQiwDplghCkyg
XnmsLWzdBtPzfFjIsX/VxnraqDThPcD2xIRnQqieiTURGv4mGK2fKnhswrOupT8kFDdEqWSDBI6i
r1c9Tz4B5dylbMGRRdgV9i5O283eq503LNnsKEhD4Y9vWqOvDpG+bSKtxglqtCiNsg8xkflhjG57
LsBC1oh9Fr4NCMOb2nvqlLAksKAu+TGZwfHPU9nPKcHBHYXOyezyN9AXCFB9DZUgXzzRDHVbuXOb
HNdc7xsvBYXrxhvVtGxkvq9S710jjmCZxPQuM3rn3mPXE6DWkyG5EMtSjeNuCAJraZWsl2774Hne
tK1Ulq2NqCw37Ai4k36E1nqqDIzYc3YaUA9z3UrkXh1e+z4YwJXvk8NYWNewSF5socpd7JLA2wbT
QhP4PWM/bNd267NgdUe9pXqgPf81DNodaviM9FbGrh6juDEtcbqy3pFIF0gkI/H3qSLeIOtx7pot
9wMT0eoBHyiotDDaTcSNPKf5gP9OH36C3jTOsQMmSwNRzpgml5x3KOGGqAfyGYO9gwz5MTCb42hC
R1X3SK8eQ6y+ZqVfkoOXd/Z9N4A4SFABRS0dyHb4oRXGIejhROpa3a58+0s4tN9q8Z4z+u3CfjWk
tPnZRLd94X5pXOjTwXNvOONhaPCdp+5lYGNchLVEuPAStWTENMZuYPhmsH/Z03g3ZeIjgWLSTGVC
VC7GJyG2wMqw5Q3uFTzNmVHo4hYH5caUyhPdgTFFlQhVsaIhhBjy65A9GrVJtHkZzA1fpB5FJlZE
e6vjPJ1miB1cCtM5ekr+5Hosn4K8abZKUHtFYjozVs0BkQW2+qhU/ALtvOpJlBKZSHZ9lKwTfhtM
DW22K/rGRiAEuqwu6R3qFTUlL+0LxZuB1XqOnEQHLGuEcbHk7MJ0+dqYeIWIsSPuPpv2JKKS6ILd
zykANXT8IHtbtvrTNCQPrMElTh1iwggcJ3+iG38OCEZNG7kA0EXeKNbaYKJX19eatY5ESPU887cl
WuDUmzf0idwO1PggM9dGmxf01Ru0c35wkJ12ovjdmpa5MJBZ73L43ssi9PuVq+xmGxCdrHOo3TeS
M0ziAjKE/Fp7pv2MF8BDRLkKPJzWLZ/wuGtnMeidiXtu418DzXX3ZmGJDfzUaFNW0z4aagcfy4JW
09e6pgp2mGcRUwEwsszZW1Kbi6IzN6XE7lfVi1aNzrJWWCFUUic73Y/GnW2NNfB4YgDGnLdTKwls
qdwt5Qv5lBG6VumSBOJrfc4oKVjpLo1AVzRbXaPHqI3FfZi5MOg4S7TJsw7e3+imxzLqtnLaaNjo
liIdns0R8D6GdKz8oFH6gI5CZ3ElIt7FkNO+ouKflcvle8joA++nLffKKh9L7Qk2w5smvRfQEDhB
YDTmefyYlKXBkurTM3ExC+NyhAcwWZCly3vpaR+Z0GqIMs6dKVIDWQeJBFlJEDPONszsJZl5dim2
dRF+dLxWml2jgk6uQQYvtgzunIZQdeVN7/a+6J1LkVQ9biluZif3aWpZctuLpF6S1Tfz5LNtyUGK
GO7uo/Xhq6u8n4H5eU5ITfDsx+N7j8iYa5SPNJRiteb8bH5UKbX9INw35qBfcEmngrN/NlnvaITX
jksLgsCo70SF3mk+rwriPEin5XfLhfqi8uIJM+0L0yBaF7RsuSiHJcXM1qtHSd3m8M4VyCVu9lC4
+mCCXbm/OUbZhjS6Ye0ASjuyX2paBbQBvSjeBb11MBq7PvoVMN5PJJHGHpzmAeRD3MI4M0YmcLeH
immEi61tx5ZAdd6P1rEEz/xC+5xYQRndI4ujMkAxjpZExy4cIhifKQsicNVhxIegUTU+KhWxXQzx
HQxKxabR6+vO8gQXGv3TvOd44QdkDjdd6SyhQZvPt6eSgRB9kViDTK0WQP+xTNRaejZyfTjWqYw3
tjJ91mwupQq9956JJLceqvJUFPI9J/dkFZpGd2YG7G+J1Dq6k1k/TA1ruZUVtJAc0GgKRzidFxu9
pSejeci0yap2vB/q8CuyuvDaEhu2dLPUPg0ekGHlLDXiLQ4OSIfL5+hYFtGdxxnqGAq2lWjqSSMy
m7taZJuYvLSHQOI2mdctONAMqxvF/zEuQrQ81YizcR4/+2H3ApYJmfcUXESATYX1qFizlsGD8ctF
mKlNjY6vTLrxnaBguRIh4GsoxiA/ppSnIv5Jby99up1N86I2gVgFDqWE6nb6mEUrK50kgkDaRlb6
zfQYB+gE/nludi5bR+3nF4mru9rfAEkBmGZSdcbZXp555Yr9D7f9/C8tn072UNPsTcMvOFb7AyMn
BMPxdPEcb3z3EHitrP6nslJ1AhGe7YN2SPfl4Ntn25Y4HWs6VWaJpnVyItYksnLb/Sd0hfPsnJjK
MMgI3PBSzgasLqKynTQvfxg7booKIdpHonMelJEzXif/0M2Tdprlqovas+FoTPlmuWlrcCnbBeLX
z5+tUU3SSzyFhvnedqN1dfXOOnhBY9DZ5Q/4hfr2B1vtV5baXwJVbVQkwtFxbdkgSQzlOHMG6C+w
QkyKdkII0XfCpnphd7sbdWI0ZLESbCu7MAmqSzqFb3kbBy+2GewwS4/vRociuYmu5o3e1IdMZaOm
07+CHalhOYNi70T5pfTyeJcmFdPl0S6+0FSEynRfpXbyQeX6bbKc+FFLuhhAjBJr1OUk/5j6V98n
eSoWg3fqeYWWXbbSiDw/3x6cJgjO4Hr+/lUw1cxk/BMoN78MDlApQ9CSN3Cb3piOv7wMqZSh7Rgc
jPsqpd9kcBaMOnP6UAkcI89/zzJ92qRR8kr6VXlCRiHJwEI7BmGl2NFnzFH9tuNFF/RTQk6RH2W2
xcR6Fk5dfVFBjBchkdj5g+KtCFCkj2k4Xm8PDj3UgwwmLG3em5HmyGn4h14Xm7qx/Lf5yfT/Pjpo
fFVovfZZRcBYgEEM3VFJLrkIHsOwp0UstacbigeRP0nu00S7g+INbru/rSSb7Q0jktGIpE7GhhZE
Lb0+eBz5x5hSmqEeqs7wtxdyXgCbLnxrBxUzMi2+9WVGKKnQHjjmxqds8N66CaBewvt7lqHWbpOG
Qz5yKyLuZpFhmLr5sY7Fd0EgDPpGJI/0IbmKo3yHcE2+lp7AY2ox66+qCj6U16rnLpBYZiN4Qmiz
yEF/1ePp+01AUoim2E80MGj7VbiR6MsxnWesChuLkLgRY9Vj1wi5NeePyLExd8mAM5cj8+cXKZSU
B7+d5RRRdm3GP8AigNko+XG874yBsmvovR9Dk+5qUrMXVYVQHT1hfRTzA2iT+sjsWvXkBEnbMXef
GlfTy+1tmlnjc2ilKy/qNp9KNb+K+4ebGmoa1MUdxJ0Xxtm5q3zvDH8vXkYJx7vPnxEP9kVPowqa
1GvBlOiVSvNMo03b0JotiL6og69oxQu3Xkd4zOgl+NmlStsns7PM5zQIEKW2zq6QqPxAPnfgbNDT
jVx0h8Ky2r1JjtunMlSfkm3WBgQLVPZTlo/5vRDJHBpCrZbm5mM65tq9amzK9LI5z6s73IzYPWiC
vF5rEM1dbtPMmwg5WmPilys1QjbAH0PQXdXaTE3C/ACS0ViSkUdG8Cx905Smn4us1F8Qdvc71dnJ
Nytj+HLbUzyyCbCl4y6Om11aTjtTqPHsTaN35/c456XyxTar5XSQuraY/C7/1rBsMdIbXxAgO3c1
rsAdheI280fG9qUrXhMoQOuyLjkRWGjNx/ECSu91HL0KbzKuJ9FpEWZet7ovRfXzFt6sZcjqfWzp
oAo3dGa/+lNESkjQnGqlN9sYtdvGa/1+V6uo2XWjTsVc1nvfiodzH+LqaIzkQeCNxdhmP1TS7lc3
1EGk0vEPTgjJ1iwMTn/OPJ0IltD9gxNigt1GiJU/5R5O7bgn7q93p5e6p3yqJhzBBhxoZsFeMuC2
w7r7qHeyuf+HRfB3bu0nVFNJpZQldRNC+l+4tWUuwREJ4uNdyWF5tA55YKDgydSxj6S176bkSwS3
EQi3eIpQb64Vylo4Uz4V6qcA8yY8TcGi4EIfThFBylhWRbQnEiW459C3GIFmrRzvHutbv3asjHiE
VqWfUbq/8UJ/3dNMGKS/LObzH2I5UODJ8TUsnWV7/kN/Wcwdq6NOyydk0yWMWdIjtmZaPgSNti6g
l66ZZpT72bml5/6TU7b+TIT8SdZAiIcS/he9AfqNaN8yxYbgdfR7gNVQ4VjmRQu14xD42icJ+n/9
le2/xL1bvNpSKN3RXYnszNb/AjTtIVv4QQnMXSWzC0OmMt3GZZpt64TRbowb9EvVmHtn1ARwkdjf
Z5MRn/OeaEUkLCa4BTr329wqhjMGDe/g27S+M2U81nZ0YHcb31B/L62MjG53NuLcHooiWFkeGUup
43kHqqDuDgMZAzLQy4vYpj0MZqgif2+yVo4dPwY6THdXWgDBZ1GijBjD6y7UuUbqp3p+uP3LasS7
gHcEhk0yf4AieWYq2S6Jyhm2owfnMKOHMjGqvCKuwSDn2HLrk1u90FhV37KWy17Tgktpa9XrfBwN
6iJ/bGrt6CUh0n0rwl+qk+46wQS5i4N+2A0DbY2iQBqM3YJDmfnCgFM7sutHDyyQzTWnIo6FqP7h
+OT+xz3j2A6Z7KYkaxhVufzLPUPzIGAAonF3Uu2FebknY8p/HBurOofFeMFztzADzUq3plaEpMfT
7Sr0EafXzBIdZqWs73iMNiWZByz0234G+DUqQxaKOmR/e9paYM2HYub66M1D2SbxXgs0PJKMxh7K
kNyiyDadrXQqqgRp9OsOEDaHUpzW5RA8soI8WqMdn6tQYXKYaGXOav103h2Fi54jdDN1sqwMHQc6
0dvJfbQHoMyTkRwlNDR40m14VFL6a1LOGP45dXpEn7eLE91+cYCo7ion4bJNOyyiQaIx4EvA4YG7
6oLP56oUp6hsGQ7PG3VlheVu6pzXIXXvb6eF2wNOk3tInAg4pUcYXErXwRuD9plcH/zjlj48N5Vx
9UoiDawhRcAnTdrz5IDCysiYe8cY605+RFppkKnincH+qshc9c2ZBdsdGVhLq8OR3Fka1QGQEvxz
iXuewuwr3ZV498fHct86//3Kav3HguTOUGTlkm6GAAqE0e8LkhZY9MYIvVuAKXA3NXYb4LxWvdEU
A79OBvqumdBv+rZOx7mv3bMr4vZRjCxGI1cYZHvDgdbbFYAYHLTfdmisDE08d23Y3LfaGFwm9WZb
qn4oI+YzvhdSiFd0wCLjXq+bFIaalvws+uSnW0xnRPraUbV0NYeK4Xgx9dq+iES9LgLsNjcu11Qj
6u8NsY3CLln3fjJeHFylYeWQwTY/5G0LPQoh7JNZUL6Ow+BgKCDIkEwexPzzWjCICgntFKX7Xhk/
wiSsv2h5gFknb159WK/geFKiRyM9eYEQPC6BOsvt37/wkiTv33cCl+Xf1ZVwXbY0XvvfX3ghxlZh
siX5yXExHlpFQRJTmqc7wpP0tH+POF+CVSVeJcpy6+QVHjSlrP6oZFzdVTri3gitNVrenAk+sjvG
XbZ/rpV99eNoeIgiwnplSotTVvj+5+MEi6t9sL3hy+20dXsgUImOsuF/dUYTA6nVueYzULgNWix9
qdftsPQABdPTTiuEqeiOKXumE6x19Lc2rfkgv/MFqZR//9oY+l9fHIjVilGzoxCgSst15j3pl22y
BlJaeGUMLskOgq02+vouwMK1C4Liswx0sI5bdF+Z+thLlenimfe2jtlzPkvVwiAdjDHsYyrCHrWa
qo5TS9km7P5VWT5zdo7MxtGcheFtY/2gl2YAsK4PZmrUz1qmN4cBvyrQS38f1d64NuJcwBXqCWZD
1c4gkbozZIbWRuRrMm1Kz2bvMEqVeXoOW4+R18Ro1B3dYF8Hmc881EnXGueTF1pQ0O9HbzXocX/u
EtHQHnWt+6l2EFbyirKKmienJCMbKxglfudNK0XVsbrBKhMFqBjXGA6eDEJdXBgMwTpDX86HBKEq
9xJOMD4IuOw3xvz09jEHCcBOI23Ynh14fhmBBVcWqReNu6AOkF9Bra9pXOb+YjDUGhGCj3htMMZj
aZHnlDlBfxgjOoSqseRTJaq7sKgBKrf2O7LEn5kXFfe6RoMrj3GF3HjVGiwUhE1MRK3piqk+fihm
Sywy+O9wesPj7ZlftOE/3FmGmHe2PytmZXHRsJApjlmm0qWp/6VxABZ6StygjBeY2eX2RrouZ3Mw
8n1CpYraQVxg90fyqJlwy5wI97iT3/w8eO+Uqu6Z/HtAeRpgl+nkrkSDbJ6NY9hWld4eh6azDxMc
ZoJ28Z4ZjbzvLYJI8qr0TwT0pQzjZ2NN6+QILL7cPmKzyh9VCpjw9nQMo+qi5R5Nibhd9XFEQS2L
/hQOhnFwuBK3YlT1fHZhJG/A13Asiy5G3+zbIMi+1b31IAv7jh17IqsAQ0Gn2+xrkQuQt+wnArw6
KO4aUF6CppDNtQf0CMXXUDLzCBiovADFyBehPl2ohr2TJLT4s9TTkK9/XnS9gZrahU8DjzWLx1XP
tPOgZ2X2qFvG16C1g68TALdwHLZoR8Y3pvbEhNWGtUPuQfaTjQgn0HtznfCJZdA2hNDoI6zdoY4g
fZWUmAmASxQimnP3uUOHOcL+0jbKi4tpYHZo94iDl2MJeet25d+W/75u6yO9s5ngNVwZWdek87Ry
c3vazQR6NHv3wklPN9OHmG9wfZWDiz2LrHB5BSWO5dBtLmldjyvoBvkL3RdEHUCbgUrQ4rVqbX3r
QNaltRwTbYSAmKy6iBZHYmpI0NjmXyPmmysk6t4WcDJLZxvp9RYpxjTHyE5fkmS4WKKXP8EvLg32
uH84lRtyvoh/v8ilzd4sddfmrGrd2ka/LJGTPxipXRpUAVEcg50tk1XELfUywHQmSGn0v8Mvg3XR
Up/ZUIORVdVgO8zy3rSMy2Aa0TNdoQae66XQo102BfCo0OswhfQtsY1zJHsNGB5yAeBRoe1BJ68A
dTO8noK1nejmsYmiZTnpOMVtuwMoFoacNJlbR2atrp2y2+eCgM8aeSmCP1edm57LTiAUjbKnApXO
gz0Yn3dEQ6j99bNaqFxt6c8NIyoRebj1jywDF8CQVQejb7qGfk2UnrIv9txvuz3ckMyq4ZTELaUz
QMHWpruLIGuL15Hx6ia1uYak7RevcWM9WS7O4ECCbu3Q6C20kHTErkd7dPOL8nsVK4LCcCLOpqnb
Q+8rknbsWHx+zDeGGNcUKmwFyvTAAD9Z6aVwzzXuBQSbRJXRkCbLePaVuUmNyLbqQLIp5DczEd5u
QI6MWWffaeGIdACSJNKc+89ONWlh51T7GKQad0qPHcxdpkc/xbKXiVMGwJCQxuWGkWwdaMUgb6KZ
fY3/wM4ew7bXIfGJfNtz2uYsS9urntVPLMjVgcO6fIBXRdZaYz7TafTvKgKc3Lj6hACgon5zhiE5
eh6YTH3Uv4RQRe+6WfofjgYA7Kx3252T0jJkQbLusdYg81AlEfTmZGxN5rgdZifk1nd4g7Td358K
TEI6frniaa9aJvIUS85Luy5hl/H5X674oDfGUcYeIlPMgImpdiReXrt8egjYcwqo3buCMSGDLmgJ
g7M3ZB7tGv8qBEIYL3gJMNFEoDVHIzvafSuevCS7c31n/blVGkhvjRpQzwBtAGINpNSCM2fLOG9v
Ndnm7/8Y9/eYEP4Y7lpLsT8J11K8WPMf+8sfMyGwYaJQRws31HAPIEN8lQUaiZsj0CxYLv2ZCxmK
ctq4TbuVfYm3cS6a9KJE3173BwP1D2YzKmyf+MdVc+PbgmwIaUaas/tofO1sGkoJEdS5sL5jXEOI
FJXvn19pdY2G1kMrYOq2m8TwKmBUpQnktpvWN+PZOHDntGwlt2DmMDROokxQB98c7jbC92OljK3S
3ehUh8DYCw9BrxmCE/YRvjzRUbHXzRDLkzM8JkSvalHGlaM16hFnY382bh36MvmJgR9rb5+S8juU
mPG41Tk6jNMBQWV+p/XbLiBUsM/BGBn+qjbd+DzWyMSoN0md65W5DiQT0sb7HsQeGqGi73aaq/ZT
SZjeEBXi1YVKusTYkx36NFvezifRs6+8fjc4iGxueRllon+DwOke8ZGGAK/j680zXZkMT6PKV7vb
0wKU5j9c2M7vlfpt0CEIfTLQCgkksWI+Df9yLajAIibFar7nMyZ5nGYYyuf0ohBz6ADLy6LQfe0a
zaBAzzHPNsSNB4njZBl1RDPdAhW0kYHeDODM7AFHENnuMAI0bwkAID4T2Gsv+7bZloyGNlHGUQK/
mrdMoqrDHiXHBfim7jq2s18BgYLB4WrPcQ/SmteKQx4jL79dEuiI/3RkV1nib7sRC9utsz1rthVr
nNnr/ZobbDqYLmnR0J0RUNqwvXXbQjNnmgRkKuuEryaj1Ce/uRjqbTKk9X00wdWPpxLk/Y2dYRUX
C5URKOuSfICQmHlOKDWBMvfkOi9zT+iLW68G29Z4Cs30qccIedC6HPnL/C+/t+TKatv8YXLYcrKT
adUOpD8fCJg/HRtvWjohQ5PE+BnUquVYFzGXRfDreh9hUj3d7vn/U97TOfxW5XX+s/nv+du+5cVY
hXg7bxFDfz57ylP++9sv+V9/0G8/l+yiP3691Ufz8duT9S2+7L79UY0PGBSTz9+B2KP5K/9/P/lH
CNrTWPz497++5W3G2PbhB2rb7Lf8JpPDy98EPnUfydeP6vt/fMtn5JPQ/0txW4hbi8K0xNz87X/U
zb//Zej/JdkNbDKfwLMxDPozUs2ZP6U7rKxCKFfM1XWdt03w73/ZREjZSlgWg7XbJ/4S7/R3cU/O
790Tfvjck+Y3o8HmMq68HdJ+uXN1Txm5hyhw0yNnmFKlH24PhhomeFF+mq1HJ2gPISMc9GEQo4gd
JuUg7fNLnMbG3mIiMHee5TYRbQ2rInk103hXqNw4t57zRr2b71LhEe40jvq4SFoL8MCoUyxyzuqy
YcEG4R1AMtBX7QKxcWwrXw1W/0RSBFmYhIRcVa+562SiHZU6DtJxK6xIItDeb5WgAfb4qGGN1w3l
3nt4hLUWE6+R+vami63sCZvyocmvYD6aXS6bs99mxTZMO0RYfiwQdpJCDAuLxVLHWRi42G1IYHf3
CAHACYZihc7L3Ad5mR1nG8OyMtHCdUGM+oj+++dD7hsrmmvB3vDc6Gh6pBm0JujOKqKgDEVhLwg8
9Tc4mqsjsfLV0e5iTlyR8Fb0EPyHXy6+6+cR+tcevZivzl8OGpYrCfxxFCAPtBQGM9e/1I9Olaqp
UxiQQmfwWF0Beji2vrZbx3ge2NskGfSW8zZBMtsqNyuXg6sDLxjyoweNoRy64LmmdXWuHSTAD1Ge
6ve5GnQScdBfjA0SLScwjrO0+xFQ1wyFGeaJoUG1gaRJdmp4gNgGsC6DLGbVLiAeMB6h7gxXfVim
QnRfPWSOFWp46m2cv0XQy6US0yJKW2fvRw6Grqrt7U2ji5d4GPHseETF7At6S1qGF6xjyzZmkUlq
d1T7mkeXPmvFvYeNtW3lFZnK2sSRc+0GACtuShYUxhg0eiLMrsponx0Lv4s7kK9c2LT4OEPusjHx
i2VuyveyTi5tFvUzWh+zTifMRxzvhuEVFEvw+UiIoutcK4LLSQM7GSNqeevWlOntpD2WejpsrP65
CWygYY1A5SYMXBKtXCWysXGoJsWSU1X2WPrh1yKR0VZPwbhaY84sjNzDQwtzHxFE71EeoyJqwrsG
7ukm7BUylJTswrEf9IPIghKljlIroxASGzMv9I35VZc2seUyjv7gwgjPs87dMARX8hEwvrWn1iFp
1hLFG/RWFE9D/EU4PUJ9j4SoXgeqF6k+uDszrY+QzzK33JQVeoverfvtNL/uxFOAG4+wZFV2+QVN
4wAr108RtrBBBUEIHKAyU45Ctd0eYc3C1anv7DbSFpYfmOvBfrrhqEr4KSd8WkvdjXGuoRTYJKr7
qNquuxuYv/PHa8WqGjoYcLZNRDx9cAcYnNn9nFLN2aLTJGd1IBLFMxJa1W7IRGd+d/TG+THFCcAr
eyb+BA+33X+is8Cwj3AnPXPWLH7R+nZEoywjrUGb6nVMUXIJ4great49JZWH+SVoSdt1p1OhrZ2G
bDegLxBrEVbtzF6Iz9OYTf1NceTdl7GLcXs+95k6TorOdBH6GE2718PRXPKbEvttF6cewNjVE8Yb
E9UX6EjD7gYWwXXkrzwP5VmJ6URPPCKWUryWHSr5IdcvtwfQDLgrDYY6w+ThpG1VhGwM3zApb/ZE
37j4H8LOY0luHNq2X8QIEvTT9JlMV17qCUNqteg9QPf1b5Hqdzvu6E4QWa1QqSuLCRycs/facY4H
R4vVKaPxtY3a3Dj2tZ/cIfRohzh0ybSJ233JU/C9k8Awaz+A4yZf7QKEueMlyT129COz4fAqhuEf
dFrOZnBbUNnA6652uaS+9k1yyUasbnBD7C8uKW9pilpuJo1a0ww2+FA//iFVJCmQQlOL88CrnXKb
VerDhmFf1QWiDQtS5LJkFS0VA1nkzl9YY07vAtNTCMSp8S1bvejo/F7bnndT2GJbzIgQwwX/58Lr
uAGWpI0yuul+benqyxPKcBzWQLQbLNN5tI1VvEKafp3z/jRkQhEa4BgnkdgaDfwED0idG4e1QC5r
ctt85BRbyWBGa200wAhgGZjZt+bUR/2AKwXjC4o8541S3t6YSVbddHmWrfZbi10Oqqqj52gRzXTk
vZ53loPWSjAkWW574uIV8i4Xh0S7LGGrTwery3/EDbFmnsIRkquMLJ8OSqNquuawviEjAEdVmEMg
zaH/Py5zlrcOoP/rxnBk2M6SOsmtjjJkGfD+7xLeLABdTjNmFgbVgOZM99bHYb3kBdZb220ZNIza
RyqK9AVpVvoCWvSLo7LgXh1B9eKaeIMdPt1oFgvgV1k+2/hmOOQSNGlNmSKfECK8IwIcMCSRILjC
SUJp7VzHJJq6KtGZLAlea0CLU2PfN5WjY5uW6lDTF78om/S+1NIOnkr7i9A82pkYj/d2TGMztOqr
awpxC+ucp7JHgF6bng05pP3mwY2TWWW/nGP0NKc84hPRmkn8xucpO2qQDTa6Be8nCz0s6MCCxtw9
C3IcHinDiyvzMTIRi1QdKBLIVVpi1My/cUiXRI6FfsDDv3W42B8sDwaYibBhJ4sC+oR0I+zmTvea
kLCS23+rugvvjWYmT46dj9a0jfOQmt9BDCTfRh3NBddQe9syjtjoDVQbDpXsIIhkehfTo8vi9BFC
vN/AbLUO5Mekz4jLUWgPv9cWktGNZGHTbcN7jIZXlQLMElOVLc9uerOL4VOjaRkgDBIHvaEhUha5
OnWh8yG8ThImb3VncjaZlzqLB0cP93OWJoEWqXsm4jQotXK8VhZAeRKBNlqViMBxvOfavU0U1zat
GgCkTVl8wMOIOd0xC3ockAYc4Hs721efIiWJ0m3sa8hNnJjcaeRIJcFkDKv8oFHTMZ1OL0nBx3u2
qvxmtzi6u9Ljwu4m2VG/6Lo03yNvMI4x6d/kATghCUDDrz7s43tO/kRR0sceUEY+raLwduGUYtgp
Jv0CDwbYEcO6qKvKDy6UL42ncZo0yc+Q0I4x0zeOGO1bSTvl1XBh4mcTGQ+e7u7dDE4mQ90QVWn2
vhpffJkSeDDJgMygQyaG6dxAobny18QZkBLlgWfQoZmNAEj0keeNgSz9vMsULfZ3KOwMJ43kEUFa
WwItiWQDJXZs/LTYmNac3exlwYOTytk/RqmO5YNB5fvSRGGYsVGzO16IZqDpZw/dHpDB/JiYvl3Y
a3LsiG9tFY5vXV0Mm9DSxl3RSmNvd9yzcw3VENZ4+z6NprvNQMc8hTcsNs5pJE+LDoo2GV8IpP2z
Cwp5bxUlQ7gc4VO26M70uX6N2xTmQu7ffdOb39uKzHmy26KjExIRksR+9ChoTlPr+hvXqqtzDlrv
nV5Uodrx7oImLFyLSBxi3IE7fTmTGP5S/gwTrQTjYFF5PRsAq0ljH1wkByN5Nr9yjMrtdXCle4PP
5d8mLgOb2qEH4OgQyMMe1LpmcGEpy6wI6OuYx8ouvftEGBBGdej+zkjkFlE/90SUHO/I2E9hOMbb
wWqY6xuN2Etk3rsoG3H0QN//ThCDdqxpzt+yLs8Iua1ADi4MxjX9tWAH0WFsmiX/QOeAlygjlVyj
OUuuM3iJTW2NiN0H4oMABncTVoIa9qrhgYrVZyx0viRVFvUgTx3TLBH2hF1q9RWw4Qf9CnEpRBTh
BW7OKLA1YLWYzfUlPqnXcXCQxzrLgp6Y2bo/CXb/QrBlBth2Ycq1Nf+f1TzfKmDsa+KWSJNbM+Hm
6SKFgLGgwgXJ9u5AW6L/1CRbuuHdQyvaT5zp09YePEh3ejseEFMB/WbAiE9Y7z6I47t3ff1bQF48
tcyEt4gaF0skeorQp5mlwuy3KnKaeUORB6QEvaC4il9qGR5tA3VfNJ/bVkLbwV0n0OIk/jErcmCv
VNxXn+cAEfP0dyrRVpQ1JmrHvTB9rKjIyHLRtYmJ5BACf3dmfFPzDGvS93kj+FwN5aeoaO4JepI3
MeGnNuTgwOZL2Lfy7iceNvewjswVO8+1BxbVZ5gUEIKqXYNx+UJc2nDI0u6vSNQv+K+10yolS+XI
g+ZhNkKGLIN16bgVcJA8w5AkK8kF/WgAyd3PBmI2AK2fBix5wLPCxGWTOYghaOmzhyCct+KH9H9C
v13KH33fEGr7R5HU2CP0keXpkoc6tmx4/YN3mYbcwam/vFl1XpzCxcDiU18FU+Hc0tAKL4VSfdD0
9mOslXut/P4NQy5BeN2I6ICf0c+nS21H4tIuC/YHuWlss9pbUwktPErkyfTKa6h86+LPunUpWqjP
FSEHPbeKCiPgzLRuU+QhkXErpSuN+czR3/CvpZbi9O65/JOEIB6qMFDzt//gbJAnAmzphq4ANwzp
UFgMKDBYHIattjRHe13VAdfPHWNz4zZ3FnPiybF3HGn7rELblixLi1mQtKf6XjaWhTrYFTjlh7+Y
q+Cy42Jx6wv/m78zZh8Tb6zFAcPGbc/Fi4uCkhsBMu8wLhzcTjeeEOOxrA2xcas891WDfrLPC9k9
Eb9AZR9ruc03fHLYwon6o9lbknXlWzn+oKGbznFuesG6wL7hnhcPjxJiQD80hA2V3gXRvFPiFKf3
ODoRN1fQqeeceAzCTbICrhs40Y10OuoED0FCnXriui5D6XsHy2me2gJDVg4oWqOoAbegNcOfOgla
MElbsq8fwUv5/W4E7YaC1TiWSzwzzsnPib7TKWrtjd7n/U3vjeJRTtMx7G3ujZjoN35cazA8MNSU
k9PdhPp05NDdCIl+n2BgnhA6HzXPs86mxuihqYnw7ssKbGVsaXt0EmGPg9W2KvemedpX3cXVSZkW
sBjgUuhbGEEuUE8yyZZUDAtLsWH0cIUXGcBahSMyOpZML7f6XDFb1cziray7a6s1h1TKEsFrCsUB
qwJ8S47YmAjiohoeqJa1oGmHerfeOCab/RKN2XkGsA7moL4zno7Bb/2tZ4W6x5hbE+d7E38n6Ag/
9hCN+z5Kow9nuttlfndrt3xBg9fc8Op8zzX9sGqiTDyfb3Laww9DsluoEs0scMeYQJltOk0/MuHV
W243uIqmmEc24zEAuwBYw/ukJ/p0CKJ46se1lDUqY7yJJREnae2LU8+KHGnwBQalw6k1jOSFjgmU
puE8rFEpQ1++VZrRnHT6a1ucFQcdUcGZyIcu8DzTOlm4uS1E0jc9zcmAmuTPrG6mYzZiBrXFbO1x
tuuB2Za4gFpArklla9YmR8C8lSnUMV+0X14mw8O6wbUkOKDJrXYIeryrXWnOyY45rCJs+h1VIKL0
yr1gCYLhmdBfaLkWboy0Vfc8RVenoGbsnSUIgJwzMqrGavqzca7fvCpz+Bsx51wtqAQ9GRMpMlCl
/xm65S3MY/RL5j1GVB+hg9OEg8q9tIqtpNrNkii7LUbHG2X5L7NTw0EK2VN7LuQrwQZPQIQiO/tn
1xK1txKMSyo63MfLTK9zCu7ghWM8dR3o9iRNgjtkbp4IIo6gukOCoK2EYwUAWhcAftg4bdyftZRP
LmbsW9m4w9VOUU5TFq6LRd6RHXnzDR9XQfu9bA9UehBttUwS+j7Yu7YkS8KqEwSQgxZYkiCtZMzs
P1uaEM4Apzdr96HDj2iyCaA00uN7B+JZMSh/y7URzc3UxkdUZD/6ce7YVe3+zh2tv2thye2B7bU2
Zq4aTMIRsgMgg5uTVHiEQUvR6mQGlmKsjYl5wDJYMZUKDYhCJlvLsqyver9P9wksQn67oXXI0eVg
HwRfWboRjtuOP7A9J3uQ7eSevXKIafck2Cr4jHr9mDygr2Qjvvi2St17k03jvXSSh/4tT/Pmm5x1
PYh6H+27eI8a3n7ZR/oL9yZ9o8kJ4z1milWRGNYieWS9TS4AypVab/qzKuYaHjXjdtOv7ilV2UMn
luZBWRp07XhpLXO4rXMayAUDLnS0xpOrP30vJQl+Kn4qBLX/CG6oF89p/k6a4iS83D+SsvQOEd14
Rkb41AqcNpogiq4Jdf9m1dSL3GAvq5K6zaV3bHP0/RH1VqNr4lISwXWO7J9TH3KDQtWKHCnnU1qQ
5NkuvoE8gwdlcyptejy7W8B79g06pgNzwB0OpNpNXAva4TqlmHeruX3pWyN7gvViDjgaiAmT6cST
SMajV2iP0QRGlckbAwM6XJXPCeUP+sGr+P7EskBL0DNCKxzXhnuumoKEnSyLgyaeelSINcC/JZGa
wVqCgBOL+EHoU3SMrP63NZju1RyYVdG+A9Q2kVYKlsG6Oy6xaRknE/oKf5+Qw3Kh4OFCJuopqDG3
jmnq0NpjyfFanEY3BguJhbZsaBcVq96Fo92p+MTETDCva+2GfIVMlMI4zaLUkZjkBB8tWPdcfEFv
55xCLnTUh+ozD+sK4jsLUHAXszORQhx9x5UPvS4kAj/duG35RarK2Zq6umZ52f3xM64WRz4TJ13M
DFWlfkhIObjFs7W0MMV8GDR3viqUwsfUiNxNU5ka4DgukZ7ea9POqUjBizBcII8g229M5LdRwpwM
fVFcl4J/sfHiFA6T9EnoYnHImGJs3F5DOh53GJJIjG4AoJKRqA/eb+J39YvqRLvPzXnaK0gOr9AJ
z8Sh1EE5p+MlnEWgGHTKcYpeaJr1dH5yEHZVnHz3zB/LbxtCu/fp6+ovh8/Uzo2gSHhd1oNVgcJU
wluZG8MkXcv+R6C1/pjK1ryJ+ek13WhvjTbZAqqXd0eP5T1vwLPTzPcO9QIf4uCmBMVDtUvSvD+u
v6nYEd+W4u9keGN1IP6VMPha5Lewp80tfFoXYW6PW1ubxXlENjTpIAVWoYm9REAwbjyrgYyWxBdL
lRef8wJ8GTTYv5S8RDZkeB0p05EbUBZU9VcI1AxB4a0KO+0GTN8/YgP8qgUhtOWypKo1DsIS76vC
TZs8bw8BDhw0BdOFC9EtibX+rtNBvhnQgmBwXLlMNdfEq5prKdosgFK/kRjngzlzWkACfb93lryF
nBI/hpN3wwSa3MPynhHq8AyzJUUQxTgDA76UnSQf0f/iMtZfw6garrk0LKR1qKH6qjzWUmUfmPSi
l/Fgzynhq+3wSwP9TF03yqNGRYtxMWveZeINr2KB77B9uXjRzkky+VfcpgvbBDBChAniniyLRiFA
hCXWyrY5TBVv4XpbGnufH2ZcuJdJXR1o6MZ7UaVgiVr/BU/FEAwz4SqeVp07zYgfSOW2A4/2pRyd
nKOUBedCcW1Gk0p2iCskF/xQA3bkQ9gQG+T7P4zMzI7CiKerHdYk0I51c2hVZb7gX4JlNjObzouC
uTMRYl4BfYZdcP6wo+EB5+5N0uCFHQAfHqkM7ps49U+9aP62CCXBTVC55znVP8hqjJ52G83YJSRQ
FU1HeWOyLdF2Ubeq5Ddpl6O6zca1CTG/xLG2X+nQWRwzfWgHEmWVJQ403bwDognzU1PDprOjS5M5
4y+STX/APHJeJ6IJ48gquA065qeJi6QQ+pmaZSSqsqbJZ/Asc2I9MFKnry6l/8YcsQTpS32Xktx7
7kzzx1x44gNXNzz0zOLRnoQNTMH/6SZFc+tq5JcDXQaQEw105okM7LF+eEYHpG0C7Sps6x+3Gcur
7scHu+SaC4sv/sbs8o1MgG3mGDWeYj/D6EE+iInN7JzapIMtQs65SuZ94/GgYXgyns2y5O50yQv1
VZGfcuYhrt5mywj3fIL7bVWm5nGym2fDZTNYl1JxtXLAgAHwJV4mqS0ornQW90hxG6i7jKm61Gww
kTBY+bOgQynwe6+H3XrslY7gXqhfZFmrYM2ZGMueGaAi4TvUfmpdBXK86KOtKEY0iEuPY7Syge2d
1LzKcYrH2OflY2jS6Gr54zEyyg8Oc/fH2WGUdvVotpD04uysSmnfLHem5ieqDjUo9+uayDQjG+/M
9bKXyWmJAfHz3zBs+6ulEEKR92ryiBPL7OcBXV1wbAS4Jseqdd8qz1PXwazV1bZivAqCG6s2aN09
SVpA5KiEHJUBA0EmQgUeRhh0hviCESF+tULJdGV2WoTAafSwPbfb2SLXdj3dFBBsaPjxAZ08C9/V
uuQ9GW6JGweFlbY37P/y1cJlsjX9eNi1NfuEFtnDvVC8QzGJG8ziMjdoNJ9nwvNeUgBtCLT7I58a
jzBSGBuxVHjuluwShNjRzQ3z3ykQ9E1kExq8vqFxPhQPmp0qYGBzaRB0HtvKobp3cwMvM8P8bUe/
aCeQDXlADux003U6tmoEg4HB1Tfo2CMDIrbJYea5WzKL4KNF7Ewi7ZfRI2jP1pNf9lToBx9TcADp
aAjCSuIzN6CVKs7M1gpiV2drXLaS9ZW/bJJZAkR0qCEp60vzpR9a/wJjiiaiDVtyDTSYnJFxGhlS
2/VL4bQ/iMyrjuutV3d8F6NnT5smbJguAnL0r4DivauVy39fxYnTnBuY9Em6Q7oKeSC65ZYf3Xjr
/pJg1oISze1ZEU2NXp60hKzRTsx3STYcLNqoKW2kKyrNAXkMlo84Mf8BGzDu6P/4b5pRPSKtz/4y
qzEIO46KcXT0h8KxcZIhMmGMLfmt1GTQTuYrwqNrrLVjIOkBU4hxbVgTNTEMIemx6zejDXNScfz3
NF9EQRGVBwe4s88QF7060ze3q21afJj7sly+tVbi0HZUDgxdu3sjHw6kJw7mubJ/DiTYdRN9fsuT
O5EBN0r5aO3XkW7pwLWq8hJ9WgQ3VKt89wzHf5Mvs6m59K197tFypSeb3GxxpubTA34gPVhfxY7J
K6P63QmABMYc2mRWsSTLyAkE9cOAgXRM6tG8jCmxgWE8w5t5rTypkcTmwPibkfjDO56Y+kKQaY7W
6AJTNYCkpjHt/dmnpWK4FdRNg9JijF2NQAhqQn9w7A1XTf+FGnk6NT40VroA7q3q7X/yWNrH9SuX
nivZeaCdaynPSU5eri8mZPflfPXdJj3D4SkWGE9x8906PllJ/I3TuruVyyI7AEnQnrYaXvi9bk/2
u4TxeUitjmiUxEtvdWvrV9rdb3Zss2v0vFPgdL4LSGyoJ79VGfQn7Nafke1kZHRT+cd6ew3x493X
/0RB/o6OAlZWJcKQjF89JI6n1K6lnxxcp2svcRKiRAcDAWoFlSqtK4bXdYSobVlQ6ic0lg3wV4or
1bFMk6ejqfpUn6J0rK9kiTXYq3glgQLUIGlOzP/iq5e78XV9haMkP06O+DlqTntWlvHOLHoEGcLm
Qx8aYXxMyhb5uv5Na0knm1Prun5l0IvYutJe4PJs91IX0PPiltOjikgia5lNB3oqLDK4l5dWFhPm
u+z3/+UCreFAzpLXVBjqZoFoGSZiYEkbIIZjaAdObuND4EoMDLDVb2Ls4bdwb9ihW862KiH5wVUS
lDuJxig57MI5i4nJhSM9MHAs9gzpLkvSn2kBQV+ViRWYoWUGg99v6bPBdtAwGGzcFhZrLgEnpzKi
c7kU7lru27uwZrCxjknXJZxm/ZpNPyekzMG6b6xL7Q/qnKn2LfYVtV4J4GPs8k9o6NypGuwhEmSV
mznDonIibqHZyDKrjn8yqjwHzDbT7e3soPHd1KWh9lPcanTuIwlZ3HGPqRi6h13X7hWv/2gcEiKC
914f+X+6h2sLkR3T7XoBOMmu6S2MaDMTjyIhHOFXG3UdrAvVHnt4DRsv7rPf/+WEra+6Hkhb6PSv
jc4UrCpwwq+L6Wnviog6aLSD8WJr+36y+pe8GxL8CqBj/MGvf5bheEowNu66vDYPNp/Jd9cmaJE+
4KtnJVtPw1ESO0O5Aw/b70NNdoBSsPebbYb5ytfMAyipbzr/4t2zsPWvSzsWR2Vof+lt/Jelhe0P
2TIGJcz9o7TzYS9Eyuxf5GAYQS2in5hBwtUQ8BqXC48T99pLz3EWOYg5ZmXrcEXQSrhdFF8Rc+7/
6HUj2HcbJCH2haspmditW+xrVdvnadEkrAvKsOqqMSLrTPvMDqkztUY0IfN2KWgI/eLHLfaJjlyk
U2H9DqCgu1iJ9ZIAoWLobVxyDL+X9dW6DM3CtiSbL/QvmFu6W2R06b0VzAb9niDDTmPmPU/xPY6H
4RULMqhojylu7UpxrAamHX7jJi+5YSXHsWoBLMjp3+ZvCTEHRqdXoHfQy/NUE9z5P4dLg8LulA9z
kHyshVKUl9ARs4rkibaGFWljAF1GRFbxT+k1zlGDvnGMpiFmyCSjC9+nDaxYndd0OEiufwxWg9eS
XopX/JG1WPTDVGB4ryNxcAunPK4DpspeDHwpo1y9J7LXoLJIFqMB+QyMQ+OSoVjZhqdGw9Qzp5hK
SID6laif0sYY7ecM/Ev6cdsCzVRgwhkNqib7SnB876d+Sp7raLiuw3MEuC4Kyzc8s/TX7TeiUHQ4
sEt3Vyjvl93M3j0rCIyduUq9CB9lk9L9F4U15ZLa0aIqo2oazVvvuF7QQiFvN+1U4jWkLN/9mfI5
6Zvh9N2FnjEXgbAVNANxfkyJai6E6aQXQAydBzd644XLDYIPKj4QerariW1VOWWZwwRd1vWfYJm1
aDMJ0aqpluiAQ1f1YjFJNtGQbu0UQuYgJ30XDnFBjnQMAXwiwa0X8ufqB7L6ZWzta8lFY+Jpaw0+
bmU0gJ26/KUtwp9OJ82bMTCLIoyD05/7ZN0sTScm2T/SvqHLVToPJfnbYulDZApDrWd8/ffk8MZP
F5jrLcEgQ1p8o+tARToG+Mup7PKp/1KFT4OeSMY74Pf6iHLmFTJmvbHNsOAgdMBn/lonhxaksA09
H97sCFNyWdiMNuKqO49QPHZSTP0ZF5nYWrLrbm5D1zh3tfCY0ODZc9Me3vW6wl7jEFhR81aMiyO7
m6qfE1S0k8fI7RhnoLfX818YU3haXHG7Qq++t8PY7xH2M1qO3e5q5gUJnFE1PsZ4hPaushfDUn8T
P4J3JUmzF181tKdKw9hnCq5eonmvwDTKDx/FNMW9Qc8LRzJyiOjhC1e7F2TkBCN6to58h4yCFBLO
CHXWKvTfhkF+S90QiMkwXgAD8Pt/BiW+zIR0T7U08m3yFYLCYQI+hOZlTfBeXyHdybGcaf7WF+dw
ETGtC8GjRZAmiPQiQJkdUOeNxbzri1YHWZHZEFiU9YD/IYxFtsTVp9w+6F3ub1afDkCHRX2bvaiB
a8TiqvJArmB5brJoDIxQDAHa2U+/Hxzwgez1+3A5adfFaVsS1zWqsj0K4JBY1LZ96r1O0LJVw7QT
1qu0wukC0FXhTF00ew3y30tIs/GaZsOhhxN1d5bMxU6VMTKZrCHyQa9fag19pZFX3anJ+sXgGy7i
JHzIu8HhBkHgD9eZTNO3DU3nDxJ7+mBm69vMBO32iBjOawm9PrU1NmmAEVg5y4znYlaIeYlhhQlG
i+ESGdnZtsPwTJBwHRDLsf2jBqWO73Zdtji+aCKyl8+Bs9we2lD4JNLxGaEDc5xkYTIBznFSlAgV
F5GGY+hMJ/A6DhtUjZACNZ/9RUP6ZWSgw6GXR9LsPsvPnt2hTIzppTMABnOpS/7Iw+awy47pVNO9
xTSwTaT09nnYT08kT8YhalDKibY6mfWkqCZj+mKuOe5BVtXb2DUgcxfMwvVWACrwU7R3VaYN27rR
zasUvbadwpobXZa1F1FzUdp7kNUvshigVzLquaQzk+MuBIqQCrZYsRRJzZAIBj/xq4IlsMOUrd7Q
Qtavan5qFagRrM4EDUCnQwLgeTeTbfphIooitHuzwsvSytOujTFfVNjWb6Uo5t2Yh8U2JzT1NTRc
CNBwwWVrxTfyrfRjO+FDnJGqEDxKErGR/u0ry3+CDCBNhBLhrM8U33LmeIG9DrdBpfYxV556bQkE
4Rs5J12rJPtYIl8xHW+Q2OS4U0KYbHop3+q+Q0VkCpjpUEJvRke7V0DULCs7PaAzUouqskeXsuA8
sBQlDzvU3lRke4+8itnmBKfnOoJ0JbYZzibzjy7QV+/DNBjfQov2hWB39KTZ4xD3v5jVyWeRahkJ
8kb1NuQhpMVxm/dt9CvkTMTfrutPIGvDvkbl8wdQ10Yn4qqNlwGbzivzyKNN7jJO0eE9nok0Fq1x
Ur306GaFzrNVRbGDPd2AGoOANi+XlIyxgcVl+M9PwhW8ua9OHlSRL3bcy5uvuZi2MTvjcxYNj7Aq
/7GF/EV75E/wXwda69khvlD2vxGg/yWCdp0Gq5TZznHIQUWpquQkCo3HumSQXrZAJMh31eNf81QZ
7wnWoNfakMtvmujoubPfHGFJ3ofaA79Epaa3xqWVjTghMO++DOCqChXqh6zYhNzZvmtmHWhN1SFz
U+5rLulMN+O4Azru7bhQiY8EfelWqu6vydGLE87/+kM3/NchzOefg689K937NRaktq//j62p+Caw
ifVQIIyeeWYjfjGvNEZPpk/fESWo2HPFaPbOkEJ/ytrH6rFVOppQQnC2NSHT27kgHWkVqiFdAia3
WAkJTProSxEfMt1Sdxfv5TihBlyDRkNDvSEThac3omiv6DFwgy1z6umTiSePxFEobRozHje2EnTR
nP91W6DX0dCuk1v9dEbEPlMhv8zaLs+GH/e7xkwdWupVxQZJZQ4V29/JPHP2TW67hOUN7ovQoTn3
aXPQSYL5bLzylg9ieJXM0C6eBimeQL2Zj82zXP6xqt9zwYKaVHs4/WWKNjWKY3QqY/NSi/pXT3O6
tZz4DQg7KWNhw3QDQmYAXJ2iBUnauaETe1ZO8d1A2bu1Cy08IJHyXsD1FUEutR91YgHHK7g++ENZ
vmtF8Vt05sA+hTG+pOLZOhpuiaR3rIsDWeOTHsFnjsHxkbbo7W2CHPZpR3J1yNwY02L1FnIFAaiC
dDfRyffupzh+H40medE88gWUWz1K3ziNOW88UM7WOtaDR+yeSySDi6Fs6ycJ0+/K+5+UWp5KBO0q
pysRG8O3uMTpgOBaPW1yXHDmkkA1Kfmmm1I7rnsl6ARIP1p8Jjy7uekG+T9NDIjODBMAi1mqHezI
5YBGLE2iyPxCq6R+6zR1+G/07FNFb0qMZ/SwUJOvU8pK2M5RB064QUQ3bAvP/pqQruErq2LvWk4Z
XUKR/CIKqtiVoYNkKQN6RHbvGcdrt/vzPWrtkY62e44XoVscq6/lw3OypzCh2J9+l1IPH02rhQ/G
UpgBVW4e1v9WMyBEuCFuovacR20BsEddwDgh999dZk8UtVXxwQCIsG0Sc7+nzafXvEzqyaE0/4hN
Ve50GKJXQstfjUn7y1e+g9aqEJ9okXfEOZMX1INli1LtATc8O4l0mK76svRxV5ymxHzjH5v0zZR5
CqYkdz9IMeTZpD07+lI+OJnrHhVn73YcXftpk8I6LBaadbEXHw3kaMhYbXst6aowoGZh0qlBm80+
fY75apzq45q5PRa1tkiPcIXnaMT9ZdH98eKje7qY9NkPkQBYT5dIv1exmb0XUVUcTEYCRDvzQAzz
3G0t7ELPXs+/MzjSL3iA7Oe6gGW/lbmuTmRAG9CE5Ya8UYT1efKlTByJUwatx1G1OKpExIEPrg3Y
Zwxdm22A8ngx96hiPHZZ0i4B8c01LV2oh7jYT3neOhimRuDqnrwS34fqgRF8E07d2V1KyWYdimVN
eSIx6pjnvggQWopgfaUNZG52Od00kovtVm8Vs3N9uq4Lp2a0HXPkMuu1lYHJv7dYc6Q/HnlQiT46
j4ZuT9FyG/tyBu660ecIHVVovZi0WEDk0qeaSVtf2sBvgOfEucNJcVVTcsb96DxikDlmQ9lFRX1b
pOCbwTP/zn05BuuSpea/r4rlVUmuwTknENDVUPgRibC3FIop2CAHVRf+U/JBe0rDRMI2e29+xodF
Mj3qUXK8uKTLH9uZHjPiETjFkX3lD9PHOm2i2WVRX+nfgWEyyKm0S++M8zVbNB7rsn6pV3AmIAvW
2I7kJq/a/mpa04s+cj2nbf7Laach6Ed3CAwVjye3r09NHs08C1ygpk50xWb9ujbekBh0l9rTYSuM
UZ8y1803cVV2C4XdTK7OWBbLwIMjxMU5nIxVRvIpKT8yl27QLwsqJzdITa6gxUxAA9Z77QK78eGn
mXiEKD4fEc1jTOkIEufIEMfcJyZ4nYwBLTfvpnOSpjcxZu8EAo2HU0/TPcbq3ZTW55zCY+E9lifb
7j8xGtonR7j2i2bR5YGgbTvJTtYy+1YQwXwkh/JH3hopKengBEqfya+siSorLTwqyRAhbYYCcbQ6
hsPrHGKd83RW+8L90zw6qmHkABeMNzEbLh2aG3jYc0jiTVJwdYbxPg1We9WXZe3+E0fgHqcxwZxH
dHzU//+l7UNEdBPJh9aoc6lZRg0DwADUCFTKfCHe0IRowbQK45yy+paVMbSKVYUgRVSTJRfB9ivH
C9ASZstUaJd1qRAFXpQojyilmSqSmJJHA0MYwEnr8v8IO48tt5GtS79Lz7EWAh6DntD7ZDqppAlW
lQy893j6/iKorqyr/rvuJBYBpqhMEkREnLP3tyer1y+dlIIaE8Ucs7k+wAlCRGvDIRVIHWYE0RAf
hTAUBLZlrKzQxvPF5eoPBFESXiDzC4OzKouqR1hGoHzCPNn+9tXtUW2u6dGiopY9DKU6UkMypz/D
KiQvTNJloGRIPiNfsGX02at7/Z9jhlKAovIr+qtPIREol7jIV1XaOC9aqw2HClL2yq47ELqRzi7J
8M2NWgB+rAcjslrYtYujmooyE7tjEFfLtmmsv4LIjm9KWEBe41+ebl2H0U9PfeEum8YvjM0oLRJe
T1dLrUsHdmEr8mqqoz021SYWeb7tcuCjk55EmJV985AGrok8iuwq0+msXTgWKNi8gI3SZOsbqzGW
IyWRZ2pK3Y00lWSHCAFSDxjwmwOAeaV5OPHAsoj+e0btuMJU8aIlZG7kXoP5izfwjlvcvxDyWgJM
XyG9id6N0J74jlDhZwZWE05cYUZC7xFuItd8X/Te+Es9SGMdklFQsMhS3OEOk+kEcXZtkP7FLi+E
ajSO+M+z6ULJ2Zno0VkgWwPCxy1aktAQ0pWWOmREFXOId8dtDpMzn+gWp4TsgKHHj08UPHEkD0WI
FzbRZm6DbL94uffS5e6WMmx5mN053jhpFe4fW3ewFlD0ZMm/CJbiBAfUQGHUj5dEygbUgBeSajZ5
1SbdFFE4wzEPgINsOpa3+FalLgeAnE+0FAF+fIdSNHTYqNhTyv8mm2qdblGiXUWhjW9m1OxmCBHS
9aWsVVaHUbKiFNzhO157tkYzss1N9/xMpEZ6VF8c9Z0pGnrXThMTDlNW4RlCeYjmnmGsyYYLszrb
tQsaeH9swrWeu/FhqX0d/1ZSXUXi4sYzo/lUlt+UgHHi5pwI3rHBn7+mFArWCpbrW+WIm8Dx0YAw
TKEZboiO9DflVLS70htKtq+zdwPz4715U/p+PdYSzqQGHOtojd2UfXkDZrqk50xNe6lP5mIdGqnk
VgN58905JRj64dVPITKcR10fbvPfQwalbwz7DRlw39BX5Gwb+X2eAgjha8+bNG5Bjf1klbl28geq
FymV1EtKGemIOecQdSmJ3Cgx0BpRpVKDARds3QvUyVnWUVLRE0qAESSgvhb+tS7T79SvnUNL/M8z
PjztGW/14bmuK9SZ+GGuY2+b1zS08mOOBu2o6tHxJRB+cDVq8jVrL0X0HkN/m2IrXTlL61GorTG+
AePdm+M0SRk99W9VvJANi7T25kOo18XOxihCbysq/FNrrjKWTGgBKH7HgttfX7e8+7pPQhYG4Ef5
AaMBuxj+bksK1tWgU6OcvrNQ01+bpa7Inm+s21wNGfj4YuWNnnvhvH5tOupjWvEOSn48Bn19oY8Q
XYhs+zUE8jBmJ4S9MB6QENs64WDaeBiLJduyrpO3AfubGdr3yvLZorRZ/VZp5a02x+rFJXl1NSJf
QL5LQLsZOWLbUJXTgDWeSnZDq0RV/UB8MS1H5qHSzT/HWrOfPYTn19RPLuoo5Tc7g1v4WYjG2fQZ
CYeG3ZnvdZpz6Prm3jWxy9B/yGU/X4krOxneGvU78pVK3sR5+muqbjP/RdXIvaD3SrtHHN2eewXE
rp01g4JdxSPTmd7sJ5pDb4UenAoyUJ/UUV230ivTYJ4j0kR9lh3KtHu3QHGjbro3C1wKBMi3UPiS
MD7hJ0ZCJdeu49LOR26hBBJTDQsaUufTllzWCb/rzqtQDZtjNIvV7GTcmtEPBfIcVB5vp1YYas1R
xgQwl+jNIfBPZ4955pC5Pnebmdvw0mgEHlqDQzwj6aM8QVl9tMkp8GJ3i6+H/gmVjFWfWcEzuwCM
rXP3NIkRvHQJDKQthvg7zNQpkN+DfIgPdgbSR7Mqc62F+E/YMxBJxqO5j9Dji9B+1Qhccfsg+EKi
HG2gqFsJXJl3NVCW9bEihe+9FwPOlMV9zX+pNc/CKGo1t0QWPeqfJBLkB6Uu67SvudFpLyhKolVL
HMKr6Rt/FC4SqmnAGGA1WK7xyI/bxVvoDFaamRBHB/VD9+pQYZKuC+KmbVT+WJLeOZedGb6M5RCu
rHQg2bokAiZLP9lRZh3SeZleCrazbJLkNCmlQIZpNITOs8rNuGZt9v3P7KWJeNTiJ2ClBUjtgLSZ
ypz/0EFgl+ZP/BPOlwHv446UcnFIzPxktWJ5xtZMlGZXHNnJLGet19O7Ll14ea6g8Vp6V+dcLz1P
LDoOZeHT9ohsMztNLdp/LdQ3fQq8m+C04DUrg+ZSxu4Pfenoh5JP0NP0pquUDVTU2JEbTe1cDfot
1w5kF6pvg5jeuq2IQWVYFkDWkT9MOzOiW1CSG8oOv2mvufea1ngveqkWjk1qWdVssroOi60dxEAb
/zbP1YYVr2CqVemW67eGhgO52kpnwjsMliEDlyWS1/RUQ2hFTb1oByMlsPyj6e5FngVVaBjXvmjx
vcfzA7omnCC9YM+7IDonHqLtmq26Baf9GluNfu1TUxpRc43wRtYHLI+DNUx5Df9GFpyRZWfY2olh
Vp+fyPEf2jbdNNmULFLBzNDPP9DzXh+CiKyVXYQCeAHV126jORQyUpIBiJ37bKYOcm68UGJLaBb3
OnkXSR8SbR7pFkAC383Qssmtodok5vr4Qg9b7LTRv9N+LPfOUPpEQIENXj8QBh7g/J1qDcSyoRDB
uaeNkEtrfZDuwdsmeMTabj9RXjwA70DpykZoB6w1A2LLxFtL+71uwsW05oaQJHnYDxLD2ZP5GCXd
jLcunnGGZrRwYWQUCWXXjm5bhMSO38Oo6SxFdZbv84i0ORxF3oXtj3Pp14ZrUP+Wg/I6lB1dnsVI
nsOcH6QOTLHNjJG+ZDIchPr5m9Dq4QqpXexceG0baCC1u461FNR61X3KeyovPtijVbPgMBhG3WbB
yu0JrFJa8oaU0UZLDOuIs+aYl9TIVq3/Tv4EaVcdqcuO62TvoDFZ3+clqlWqXFuEDslm8NL5bMX9
fHajblybJrySWWpjIqmSyQIC65s2++KnZJ6oPR7QMURWpUVulrcf0TlMk4BoNlTFK5pxbW3kGWs1
uJevc2oOGy/R423b1z/ICLReBj3RD1NMdXTG8PIy6/S4DPMrQRXxMRqCU2l28R6G73fMUU68F0wt
dYXrqSaq/JLMgMUFl4QtCw5qyJ3nDJ7KydMN1MvYgsRmdIlE7uQaLet77WTkxZOtKugFqKV9khW7
qZn1T4TQ3lG2ZMdScqhdy//RoGPe6ZLQ4vElk5nrOJw0uk05c+KjzC7Y06OT0+a4vRlqSkEogCBr
ZIqqMlwLC17wtaZdmkEYGxNzwa7WsuxT3gYIVbr5Oeeedw+n4Thl7afeo2trjh6CUzlYmTWcalxz
lcGqOhAGRigUtffYpxjqGPWf3LiSU9EG75qFi3iWkkR2rgyuceyIez2PAfkBvjHs/aRC3xhoPfjq
rlgXCa4O5dUZpJgwD5JvTtS/luw+zkPhXmyW12vDrG4K9YmwiRt3pVk7FLbfcpDUl6Srm7PANY3b
zfqDhje6xmHamAV+s7EVwRmIp4uQoS33YkH+WEYOwnMsT0cDnsa1waPT1b3jwm0f1oYx+FuQGsj5
c6A8ADzI8u7H0tySRPozKOfA3lpxHqyZ8Nl+LyqE2xJ7h/iRUyx1YFmaoEmz2nyTO0h9Gh1XQyWH
oq7YQVGEhvDRmujjpOkBG3FGY4oNTRfZ1skmRgq1pD4gOPZJxa3pBFLqtk/ss0gQqVKorWrT5CY2
sj/vB3Je45QhaDipR4IN8nFW1JvJeRlas9nR7NQ3XZMOG3q+OtUWFPcL3D2Qnz9Eg4W11oL5WDpg
rKIODk6FKsBuzbsBImQVwKTZKYmPGuiN1ms7IdeWUhvxDjN5vXE1GAj+NG/twvLYYAM0rt0uX9zu
Ytp/KRs1K9b0OuDNOxmadWeng44VpR/XcxveAidhv2P22YGd3iGxOvc5GGf7SBW5YZWxG6raBCnt
vPs9DjGzjmsH5ZSen2vUlQ2h5q39lyFC0OJhXg+wdud3nWS0vQQ34v1meDwKdp0JpFuXDdxZDr6f
YDFDErqG/FE5WzOb9lUo+D34TVkmo+AhawEzQow+A9VIye1EG7xP1AkOoqPlBBZFPFPcS7eOY/+k
y1qvBtm8860xfao9++hV4b3Wxv6Wy8lcj3DgWY3ONzT3t3ThuP31Xrt3GyrnD3mNWTXTkQJpDuZo
2rtZab37Lty9VV7ZyUXryz9c1x1ffDm0iX2KF7guoXOuDTd+GsbFwvtCHzJne3X5GCKnxw3bDEi0
3Nw6fwzE9zirOkSOo/lLflXDgGn/EsX1BBDbeQtHLcQZmJjPlscloeHDaydkaY2sRQ4Uw09ooO5T
hEDcN3TtBeUgVZCAXh0ulKvCZCu7bysLPVqbfdcQtR/RHxUvjTPQh3adaRviwjqbLM3puFvzsUcj
rn75Kkh7mskMyTIvOz0XP6LFx5xEo/ZcThFARmmJA7PtXWrEDBQtcOS/dEOKML/NC656rGo+pqrt
WLek9aZu+9x35iXt7HQ1QZ88PJbeOnT9S1fra+YsgG4SCBJFtKPmLDrR9mL2llM40ProXBoOX5YY
6GGZm84GyjouJXmI47g7LaJ3uXG09qE04uVJUQGENbxgwNHGpCVtxPrkzIs4fQxd64lTnshWoltc
NeT/aB4EMd2IM4joGT7hrp9R8Oh/IMUdEbx7GTnJSXBrRDvQG61+0AryzqioGnp5XrAbaP59mdks
6n7vnvBbZhsuP+qz5Ecj73Pqd0E2FBZmNTj97B2xdK+nKF4K5JdIFJDlr3SQu7dsGOpPdV1cIp8P
PotLuuxWH28dRO2vI3tUFinJ/Ac1SHJ44Q5lHUp4u/VTSWms4tsI159K6D6KXXKSoe2QH5QhmJGP
6B2Sp9nAwbdioe1TaabNtEo7CbLjkR+Gfb4WCX0ZpRoUpU8vLZ2L6Go5mzz2WpSCrANAGb+YKAx3
UC+ROwrvboP8Z8FZYkDk8m5ZPC3zxqf7ixnHJmtODuqRKN/aNsRM4PtX7p9sGmabHAV+jwOLRdg6
BbyK3hgQrVFjVUdFahhXeki4miLt5Cifshxw46NiYmG/rtPg+yPTQOYcQDxyQpRDWhSZJ1Prireh
I/bP6+1PWdzcYRLzzS7K2+zEIdYve9nEuqiejL0qOpOv2dzK4q6o01SijnRA0oNj1lS1ihHrY0lP
U0ktXQXrSSlPWLRlGnpB5JQN/TPm7nhDyQdym4PAMx2S6sA+iMA93MdqmNL6NR2g2hgluEW3tnq0
lSMaOT6EGefdYgIe8M3PfouS1osX7fqrUUZoasSditBiqt/NcxsRhuiTPIj1038naq580a28utWx
i70Mu6ev69SywiA8DC3XYROi8bfboj51EiITGBYlEeJIDnlS/OkkRBRbzXEeq3Q/GmTOseGLmZBc
/9A4Fl5mSvaIr/ikD1Anb9ms2WRUmbcybV0yF/Gu4rGQmUx5nR0mo8zZ4gLIX9Gp/GuYcUuzdkBS
Jis7SW+Ai6JPxhcexVeIGAy5ARL2WXO7YyZY68reWQ2Udjc73d2rq2+PLS2dmOG4COOuBNGDFRfg
ifr82jWTsZopVK0SzV5wjRJk5Mmh1HXz2ubflw79aVHmaPUqrO8gl/LnxhXlGRSBbCnkkQ2poMC/
wz50vtEJnG5T04YsS/AVI15gHoLDFW1qFye7105UH+b0czGFxrxJ42heswSzNhUIX1QfMch6dnwJ
dxkt9UjcSOtf1W87FNZ59r8LuQ8w5eBJ4/Pk15IBUoXbThsrcGPcCS7/V90wfqngszPnjOlF1biV
vuFRKG0ddNddObcTRqCgvmpQX3ChLm9Qv/gOdLZ11uT8owaaVR0lD/a3Wy/uKBNTmr8AA8wvkGzf
837o92YFx6K0adg8GZ09SIFS+9ovRnzmNl0w3whSHqbqDbDRLzmnsjYsAwZEwIJIuSwRxm9LTHUy
Gf6EUjCR9MQHnLl5cMs7xHfdwmJ2SBzkuvkigfiR+Kvviq8/F2e55BKopAaSqP2L65/J882vH0PT
GsvGYW+UIl1T0pBoZCPlRXgzcmS0l8aSeeSeL14pDKC64YrOHYhGk4NGBrsIEfKneCheetmFUwPX
aXZpm+TGMsW527JBSrhGep+snZnBznYCyyfWtR5uxdwEgmK1yyyX1UfVHJ4s7ZPJOhGmmHjqWa3f
BoTsnlI5u0lB0Tosvz/8AxjMxTFk925JJFijWenZ0QrY8n6UfXJCVh+RNKWWmmZdnMRBzuo6O6rT
YNDQVm902s8YvsuRqLZEf+xz+Xz6PRfdPTZ60h7mcsLoPr2TTGjsrHHIzolkkqBTifEuFQ2d04DM
1yHztuHkeAdAcb98MyMVhSMgKsiPuAdJOUmvYROPGFBZ9mMS68klaMJXdtPH2bPQ1ZkTRvNhmK95
rX0nuKI4CQeqRcXKywnJFuX2W51IaxisAa8xKCk/ym+lNtA7RI3O2kiM4T3ddy7hK2ZG7RkJGsLJ
Cbvq4LewGqG/9XRQX2176qAdhgTC1VuMcsk11fJRxmyPTwsG7V2n4f9Q5yZ0MA85H4UgtP5/8yuU
Fh0FDRHR0mfJ1d+s1J4N6jDmKTk0y5WwOeyXZsZCNC2HL6K1e1g8dEtrvO/kVWFdHsRTKmAPRdgj
b0GTVns9j+trvzhPpeWnb8z61DSXmJZGwjJ/8av81ptNsGYlEu40okEgh/U5UPd+7tZNbdSvQ758
t/Q+W1FNQmonm5PeFBMBTO+gZ3e2JfIv2y4urnfDhq6e+pNGkAcGUSVrNKuEha1H8lVl8pnFQ3oW
IXTpGE2m7br0F9Bvsy7JIf+M/ufRmMiOYFu6+tj+gS3CupNgUBt8jHMVE/w6Q0vGrgPokC8dYRBS
dnVZO5tF74YbjnUTlq/lrZd4grio9kL1gGktJ5x3m7qBebPybNdEuNtM6oLr3sjrbSj9emrIKr+5
OHrwDfaUua+7OLnZmTSsknOxLCFgSxtIkY/x/1kNWWIfk6GfzrCvgIlxqxqurheSsIFuuqHreGYv
6Z1LlmbbxMB7mUxI/+qxRf8nH6nBkxSqxRyXjZBielMOPtcJ8e6pizCtyPbYy5lzbUTox8fJwZwe
iyG1DIrDbDoPslwlu+qziPCIQWJ6PKLhE201Pn7HxeqTyIbnhwNj8Vsy4BI3Wz55Ba1s9Wfobb+e
B3IcFCIOB1a48lAeHNTMlXlZDZA5wBiaTgkfinnuimC8qcGqBv2IguAl9otmPYvQov02hhc16BPF
7yHlwpGdOvQi4Rkyfni25NB4TX9KjUMom8Z+2OonzwVZtHKRjmyoH+F/GwAsTx3c/BiJ14YQcoql
xjCjmkCr6VReApah4cbGnQ/3EWAmDDQU4o5J7W78eYrOrhxAk+Hcb7WWtJkgfjM76JUkjy+8vfIh
Sh4hG8rG2kHfts7kvhwJtgGxjMZz2XivsaMbG5BZaBj+flI9cjsnJ9lRLmOjyTjwrzokOhg5J0wb
Z79Nn9Ku6fZUPChzjZOVnalouitrDPKNiUPgZMthLFPYXDUlaatCLdFV05ULcjkOcEtu4LopGzQR
OJywBvNqRrAdaoywDvWzd9oO7tpBUvSqNaGxWRp6/4vr99tH2z8PCAljdymFAJFp/YkcqdkZWJv5
+xlEH2PvG0LSKYvoW0KGS4AJGTk0CcUtBoK6pHOHeMqBkowpKkdMtUzp53GI2SVLD3HBgthOgAN0
yluchNH5MalPcXSfpVlcDRmGmgshGfWlhne2L+f4edkj78MyplX9ci6TbIFWFT67pIjtlZvRlWQp
9Ug5HLXRSQ+Ylg40ipyTB8L4MVhYlrFMBWgB+FNNU/81oE0ApruIN2kyfMxvapJT0522NGus9c5J
uDE0laRpTyXfVnUUS6TCEhrki7MATGVlRSl5CmlKcVAW2VU9HpQ6W7cd+e3SyNYDuHEYNMPeCcDk
EA+L8Q4KYKBK3s1Pof+EUKxeG9BrtpZIostg99RobHhZJ4geq98EEfVsconQ2Np89EnrEmioHzlf
B6CHR9+eP0eqKtFQd9zhNrb2Bjzkbe2Ahx5d07wTS2zdIQFHtFBKKpou9Gg6gMeOZRs1d7HsKj5y
S7qdysksH8MgLU9oAaozFyx3UNayG/jG80UNTbMsh6lrbty3EmpaHVNg6Z7zMqZnQnVmow7Hute2
OjvvlWfhgzSPqWCSKAl/Qu1dZ5DVUYJJ8GdFcnDVnVGH8k0BtHQyEpBaIcAl5OWMcG3/Yj2vmTZK
mHFMKWoyCGl6KkUkq5Vt+NLGrYSkjdfQiyc4WHO1W2YEjrVfp7uEVvDbYDUO66QoPw02BX9E9CaR
anw7M7YpZO/Jbyv36n7jLSxbPmr86pHeIChbZjxFX/LMoRVmptOZyW06j1K15NiFOGKOxn6hZ8z7
7VMC7ACZRY7NHzPic4tBZG9DU6GTVkt2FHihBo4gbhnsZ7xfB3UUuubzFFYmbdvEuvayxxxVZnuG
ULhRNrTSmn+50pKieOJu26GRNr+G4UsYV4CZfeqBh7RGuODCLds0qWfsh3bAfeyd0N47L3VCPTDL
ym9M2fWmrpKvackbvylremCmx82VhVz/UpeIMuZXmAHDlfDT6bUcyK8tKBkd9J7aqSaQt2Hlr+9C
uB2dlqWFXhXkV5JFNqrRoVoeREeMZz/BKIHrxYiDEtwkupnZ/UTqZEZNUGyCbo2EdSSwQYzlHlyh
dQT+dCxlTX+RW3u5iSG/IdTXPpEDSR6AHpdk60zOuoEbkvozx/VOaXg6K5ovXrMNXXZci1ETzNUa
3a3t4EHBHtR2RT+LCzqY6DB/7rup27psep98OQgqdZi27WTbusGd+TL5XDQyV9WDqlPF0Y4E9eVp
DNoGfCLNN8jB0RMVGoYKFFll5GSh+O1TKfdEDTxsJjcQES5T1M2nsbtZ8va9sjXBa/fkwyzZtC6h
gGZOhYkegvG2qqzlEludfRbG5zGlF0xUr/VQGSi9wdT2P6M4ro+a7ggUuwtgwA6eM0xI55qOCHNc
sRtUBHXavbWzW7z4UQzoM9LxZrTdqU0E/HjWggD7vJhulmY/eiuqwTKUZHUXDr5hugBwD+WdTtHq
1LIqZ9fPbhhfXqSA7XLoTLMn9IJa+uLAA6loXgWFxQKdo1q07rHQfKwwghSVGxts8WRrdDT15L0c
GusLWnp3NbJbvKFr7Q7dgDw2zrKBPiMBI338BTj62yKkDx0d9J1Aa5LISuQ+s7RLc7lpmGwQPUc1
xulkNr6h/dT3VR2W8OkW/clvrBISYtuuVaUJ2V/8qDlldlgRcGd7u3Bq9klkZadl8WMUMQ43Jws/
K9hniYhTYi5XtwuUesubLv949YZUUtNZABQ6zfOxXTx4QVYKra00BKZ3xZ0DV1qf+7TapW739Fi4
AbBIdnBRqE67IRIlenJIYyWaVA1WP7PhDqeChlZdH4h7cXa0Hp7Bb0wEYYJlZq1XHZETfo3omz9R
yK23rNz0g7AoazXpwjoRwolYT3Te16rPF5Y1Spva24tO+xnHqNdVFrA9R+5myPVpY0PVDR3Rfw5Y
jiiSXSYrcOpRLstwtQvisqInym51OChIhRH52moMRiBJcnXEl2NXx2N2VhsXtYWh9WkfGyN9zkaX
SmREUOZiekR5RhoF4lRny0m1qVgBDyDtvaONMscdwqBpIL45sl1U8YKCdBs+57AV7q7Dwp86q8uK
MrJP0bLYJwq5rpSmAR1bAjzNsFbM3J7fuLedPRAoa/bL3uscWcmz1o4bIAbea0j5AO+jS8if9E8r
MJIaYvdLHMZ09tLhMxxg7wDleqQDysV4c/JjWcpCfmp9qT1cBapxH7LDJ46hzVahkwC+baJtry3x
NgZM96lynC921i7bxBX8HaTAPmhidK68i+wmmQ1SsdZbELNRPT5MrNcda9Ce1GBVrb/ymzrZ4d50
N6NpcYlb0PzgLiKtHw2oGPTcrupRmdYw/0Z7rWuC2WRxlyPWJ+hvvV6MFNNbPNHw+Pa9DY22pc2l
d3n1pOv+vUtKTJ40lh/zZlMVGGTDZdk5lmdsdRcLlk9l7f5pHAM0OuVYnSYFnqzM5otsedyWUYjb
0A3+phpXNnSytSsLkPiwW+6riFcVnkkN3tQThz3R8NX66Dv5M87uMd9HTn7698QFFXZUsijEMvP9
f/+vBz3bNizsH7Yh2DL8luyUmOh9x1n427lgQxwXYfaES/8tJ2i7x9aMtE/BEFWzlFQN9CfoS9i0
eCeW0/bWN+rv5IwjItOzjtkuejEQg9wmATNztByuYQfFvM8t/Nq2xm3uPRs1WFGd+h4DXgZS3R/F
WhnE5gaXGN0RmkYuRGiEmOVZDRoQ9o1bNtFahV8sbS5gLXNDFbexCIjskiEddIdIp2EmA0DHpNmy
bKEZNWubogRdYJb6H61sJy5gg04u7Mn9tKD6zxr3rlvHztH0E1RnnJZTrNH+5xZpjPWfBrteKmqO
c6nx3574qLr1UpJrY3nZttCH/Ki+EEK8/vunYvm/xWA4FN1N3ZY4c4K3CBL+T6Z50um4JWxaazom
eMg+1oZw9Pqqhtwefj1Sh3WzmkHDnNpuBIejF78GB1X12g6H56SjAaK3UfVkDwjy6CMecJYTat2j
RDQQj5+0wSxItB+s6mQGXrGByIxFMKGQQNT0dGzpNIcFjM5cGxvEDbG3biQOadZLWaGuvG1ks+gg
uck6XRKhJV86YgQG7dS2hIm0mv2G1YACEJNkpdn+mjw7jb4tHgo2dcH63985kgj+n7cOwakt3zyD
m7vx+wVtNa5n2Ek+7C3Ct9gZzjclCKtkVRhHr7FiZtN36onSdb+gvut3jua2JzV0Iu0ej9QhFtRf
T2TeUqxBPOQbQbXxgbakiMCsjkFYnbL+Rl5+HKpHjtnam6kkLlEdqmGRL9JC3CCu5mRj2XXWcQia
VQ2ZtVgbdMYWUQWUZSfpEfgYPs6Jp9aggqGeEknG3CSK5WDq7cvgpNoTzRR3I2TjUR3GyCBdvo/Z
KTdRCapzavC73DtOovpKA3jlJAubylbTYRljOLz0bRJVm6Fl8sUwV9PzjEOwHpegpS5vN6xfTTbf
Nd+KqzqlUHdqkJGd5MSJz7+djzCMXNVPwKmgcJB1gGL+PqeeUP9iSRp/R/Uau5hUxSt9vOVniFR6
bu+TvAt8aOY/DtkRUDlUx4+H6l9/PK8O1UDCqH76eO2yHmF+k/42pZQoPTBUI1pLMhB0pqQ1a/Lk
qobZiOJuox6GRgbPIoOSOch/8/EzoBvTfxxSGDgONiu8sJGGaVmi7wcQ22hL4i0JMGhU5aEbOkVL
SHYG31rGSWQSJ0xZbLoI7sRrJFUYfeW5jyc+DhP5RGQbA7JFIzslmhfdjKy5GWVxTtsmeiqWkS6p
m8E5Fd2Y7m1rcNdlSwabwmORDU+zPF4OEJzi4yLtIQ9slnykDu2EWdxoPMAvzncHnsV9Rt640UWe
bgqfwvXSFC38vzmhAyeHucu0VRV00Q6t5BlXk3UIZRZKKzfAth/1iI7K1oo2wcG51ShctkGYmJsM
BM89l1ZBQEU0OW0gr+pc6OXD07/fLxyZ9fzP+c8R0N5N27WFa1u+7f4WACeQEAgbcf5eZM09Rzvw
U3vCWWW9BhNtN91J7QvVtQBuOF96eaQG5KFoF3MqntjvSciAa/LrmWogKp2bqZ/sDC1xVglJTofK
qxZICPCcx7YSd1xhy5NuvKoDgxLxdSwJfpJTkxrUTBVKsdb/93CkeLWKTb7gdfo2eU72IzLZV1Ec
rle89eEu6nznBiPi11BF6QrY3HBVp7Dd/DpvtmB0uyXCjVw5T44UjandTZpYBuuPxPPCfeqAJaQx
mJc2ZZelBcbs1xkPsRZM/2U9Yv4Pn4dl6YbjuZaJxMv/7fOYIdIinbLtfYwS75Z7nvEcjuxdU1p5
GWzRZ3Uqoj99Luzm88eppAzEIYaOsUrlP2p1l95HALrLjcvqOsgkVfCIxKlyxR3h1p6MIk8ncIk8
UecWWNsE68UKu1C4/8dTzNCk9g0WcVP5mGxrFAObVMHMIokj8Rt/++9XpCXn9t+uSIfuoSFMnwAR
T/z2DvgpE5fuYSEt0Is22XclZVAD2RqppPbM8/njpJtG+BVLkay81AXnByoOH5OevdsUxIhwCJAw
qcO41I44ciBT2Na7HiRnR8JxShrmkNLV6KkTzjRSLwx3uOR5RsFz1BP/+Bl18h/PB7kfoL8imIjI
qHhfYzrZW3k3fsnylLVXZL5nlmGf3ft/eavkW/HbW4VkRljCdVzdsH5P8gzsORX+4Nh7ZsjkmOR2
9ko3A0ihnn0Po0aUuDh4Y3qbKkpSNFs7KwCz0OKbLiE1aKY4V5sPtovUmCXdn248Re220EBQZ6Qj
aU4FyW8KN9OEP4/vhn3z5GDOic2iIrkZ5JSTUaa7yIpL0jnVs+I5ir3lHz8pX8EH6qiAxbhv36MI
R3WUjxkMPxjGahCzO63+/d3x/jPbEsQCdhdLmIbr64DNIHzx7v0jIa/q8BMNYeDsyFBNth8Ts5ps
Z47XkWYTvaLTNQeZyXyufiaKonxXLMMXPbGfucNQcwrnr/BLktc6WYY3uGiIm+OkvahDO8XEY0VV
vleHlWg8+jEwd9ShqOblJl+IffLwpk514Z/qxewl/59fLKPl+Y8XQ8X068UgUyy3InOf1etMYOq2
ldYH3dGguR/Dy3uL8WvtRx94yFQP7Zuu9+Ia1OJzWpO5sUb1UNpO86p+tG+9dJU2NWBI+aNYBJLt
bISgeeUL5ewajmw5NYyKPGsRX3GvR2P/eKHC8DEq+sVd/Sx9O6yHcJKP6nCZZtCleh9s1CGkMboI
KT4A9UqkGxuvdGTVc3rVFv8lgt3+zwR2NnTYQlwmNNcStuWytfvPT33xBkszyJfZmhU+18wdtpiF
O2S6DEU92rswQEwJy+3XOUGoALvuMTipH/HbqH+S/yrLYFzn/N7rTq7hs64lCmGYst0gDzsqFIdk
0MTjWdMdvUuYZ+FKl3QIa9b0K7FYL7GJdHOjTIlhkCDSx+rAilGedA3yQ9RJ3LZ/n4RqsTLkhG8G
DXt1Vtj4Oav2WUl6P86pukwX+M2zOmc2QwO0CtWv+uGPn1Pn1A+rc5HuVP/lW2awl//tLmT7ti9M
gbDBF7pnqPDkf3zPLCPuKS2b4V7TNTD3NjRUNXg19fj/w9h57citZNv2Vxr7nX1pgmTw4pzzkN5n
WZWkF0KW3nt+/R1B6Wxt7Qa6LyAQlSqbmWQw1lpzjhnaWrBdeoDxOKK1h7UbSnBCFnXdQnbQ/beo
GYYn9R+hFYBmkyYxgb5ZQ86N8OpETbLBaDA/GLgNjLKBf9/p+DtVQehMsIjyLPzC1gtVNwLn4yDH
n0NdWtzf5pl+4y/08MCIc1U7aAsaJlJjDZvV4To85iL9goxlejJ1osoloJIL73e4ad3+yQv8Fr69
0J5CjOWA6KmdyETRyAqrzOK0tBdzHU2kFWVwH0Md6Gmd4MUEQ2ui/B1XZbko3a33RSaY4DQduQEd
QdPQMcErg8fzNvrELHrw2/FGdizTWziXE9o4NPaSOLjpLQrC9F53LmEDkPq3NBhnhBRFBa0XjWRC
Ls+CCdeDHHIVmIWVrnZTdMPzY+SY66WLm2utu5VD1POXmvPJUAfujy1gZZvmAsmD+UEORbevPVBy
TjY7p9gBsxgkTrdhuS3BQW/7meVeRIA7DM0Rd0Maya2nD8qdo78zr4ywe6bmgV/a32fHtY5SN77P
wF324DI03I7RdDdpyy3W6Qj4JMBbfdxnFaNtlAjDvoTlgEYzIgM+w6ZS2lwcXkb5Xami280jbQcK
l92cCjPp5hTQdqd7R5JT9rh4gnPbhhuSepubpYyqUWLsJfTH/Vj5427O+/pqePWW28V0q9wq2+fh
51yryB8s7OYOuTBe+Uwh7014JaBzbcVN9w0A+hcrL6NVRPDB0bKj7g7VFLUoVrFGGIRYWEb14Ds+
qAPrbSLSfi8FkgP4u6gXSqPy1n1ifiqKoqVyRGRbVoRilAkJd12NatESBXVY2dpPQTEvElMfILt2
DXm/sJNWxR2q8d12YGlSSmuXDjPIJfaGlNkgnfJwxAMbZwNpgUNI5TTgJ53aBgEH3lwkVD7TjUHP
5/1g1HCNE+Q7TRChjLO7Yxu0w3MXKjGz775DOryr3Dy4MMOdyYbiAvCYPSzpbponpg3tVYN6hzij
uvG7fVcWX+cM+YH8X8Jn8v1H1w8aOkk04UTmXD7WeGAi1GzeuJJ4rs/IZ8fDNDanWqFul8OiuAZg
9cGbBffrMY0vleVxRZvOylf0DOtu8N48DCzrZKK+qyv/O0rLB6d2ZqRKJYNMh5chHKMXxwPUo+XS
XNttYO0lT33Fup8RrpN+SJQ0PqPS2s+GV31hKjysFw5r65D9F1FzbfEzFWeGSpgqFcIE6Z64Ocz8
dsTPamyYUJk2VnVZmm7LwXX68VgghYKi659+HSrIhGFRTAdTDc1TN+n3Bn5CU0mWSTeENqFaTJrz
QUGwOyZ+bWpWd1ht4yaI6mlvoLVY+7h115h5w12v9CF+R0SLGyo2jt2QUWlmERFWApP8KRy+Dklh
Pon+pejxKsIkNq9GaDwL8j5X2B0qzh5EiVDk0403EJzYCv3mFn7/1BuAL3HxXLmLcShAWwyZ1ZLx
Fguy87TvbU006K9DFRqvhW5NO6c3YGr8ecAxakEOp4U2o0OxtrOUH2IdJtTBE5q3kSasQNAMpDsm
9WAddASaM/pI/KujTDE9Ev3wLg6bbmdiRDkth9nmZjDEah9SgiiKlDw/km7IcEpHD9rAKapZVhh/
gUVWD/uZ3FwBqWUD0CsvIBSMwGuKCS9OJO9TZR2wWVeXoim8VcN47tA5vnyaE1U2EsCeZ/GZVQmp
ipKLo1e1zgoJnhOEcWxABzK/sPpTpz6qJJ4D0FcHHZ01S/C0HkwojWEcvmXC6/a9YqEKhfnqEDDu
XMv8MHTeO5FBaS1DlB2YmLJLjGJhD+FPf+mi8tGKp609aZ/DSa+2/vQSeEG3D0i/RXsbnW1KmqPJ
+l0rc4em0p+ccDVwnp89g4QyOlWCQebsbwxAF3RmxjbiRpcWK1qaEVKKOdrVKpvScA2i45ChO5A9
UpJaynq6uKwRxAs011984ZSOxZQa+X4O96U/vNSRwODecFvvda0+yto0LsQL4kFKQAHkg/E+Nfwv
EyI4XLVElWo5O8NaDZG1VF5lkk1rvx0AtdWiPRcFKG+dBZyKo5GrFuT+TIvGB2fIlL+uSTnI3Xtb
x+2D03Xtg3QOaRQS00N8yS5C6PVAmAq2WswaGyjoA4o+ahCtiuzHToCfcYRxFlXGqNCAEBTkH/CT
TMmaRMJ3i8i0FkO8WzSndle9lSHNoTnJ60vLi7VBp/BTvWW2EYswmsOyuBP2bnwICuNjlROkhZbn
0mbM5r1k3gMK2hD2FR6XodNYtkToBFyweuA9+DNdr9khsjasMaK3RoaDf2ARIal2vaw3y6FP2ne+
5ZX+piheFhSHRt23KwrjCyYO9+hkzR5a0HSv8sy6RKlgf2okYKUHXMkyAu41+SOw8IHYvApu8xoa
0bhxUeqs0dI5NLfNaGNrTrofGnOC5menZ0H4k0cc+H2IBElPiO52gQKlDoZSk+h4lNsGQnFsWvEP
8Hmp0meDOD3ayuM0IwdeD+oWvUSzMCofUVDKtyjH9bmgF1LX7FawFwR7rFbuZ5aTdR/QtCcSJz36
6L7soMkepgluBW2RDOdz+rlqQXksRbaHyKQaMe9YU2g/yMH9Sp+f9dycPlL13WKYRhAv+xNRflwI
ffLQE6x7yPuAFIZ03jHdLQ/0BkhFNuL5scjC+ZS0+T0b5/E4m2ZwHtUhZGRl6nN+wf3uXvVKPjme
Y+wNmtPHyMCTpfRbyzSz6asvhMlA9nFxHtcJiTyjCuru9Jr9CzdLVzO5RlWYeAHsbFcM8qPjJOPF
VyPZyswR6hobFxKN11KaoYK/zRhuN0WK1XbxQWYwrA9IgVTm0154MATLLonhomNv7HL2lVY8aBRT
IPeWaZJMgeUmcbFa5FCWHn2tEVDsghbBbVcBGqntmIBw237sCanf2PSQdhjjwrWmQfSQcxFcpD7t
M5K83jTLxX4ZFclrE+ZfwduTJ0rDhHGHj8++ybegK5ALKV196QBbwWnxliGtWMkuOGn2NBxN1MF4
j4FlsW13N85o6Y+Tb2gbFCj7qAkV4Jco3JXE05y5bfaopfBFs2DEhFAkhwVxi34ZrLppruCYRLhS
B/0m9A94ltEQmYWNueYWQ2NTvr8GGTwu6ZGQiBllFpMckpzQWa5L30D+h4LmQHk+72wiA8jnjnom
2jTuGptUUvBwtCwkMtS0DL5oKP7XNTtzdkjI7hOH8CFR6bjrSQxMY2m/iwz/Kcz8Y6PUmlE+zzUi
Tevq5UFy8IL8PXY8axeTJb8vrfkZmCCRWXFor0eUX2mFpKVR3M/csXaTR7GyEL71QuqK8El3lD0t
UEjOG0HSCqgte1faSH7Q+5H/lGufLNCY+KSmHz3ZzKkf7Mw2D7qSIgzYMk8uvA5hGv24GrX3Flfs
zqvtz0sYut5iQorA5WsqijBR8WOY4QKqjiZe6UafAsOtH2cG05c2zmKsQoQgj9Vo7/tJ33v2KK9x
YZEewchyO/bAEALrtQGBOJgJFGVyUTcpyZRdn3+HnJwQK/EYun30vqm6E1o7evyJ6A/MwsZ1ns1g
CkdH55aWR2RDmZvC7QxKZqxIdtNt/dIw9lmXnVnB3Ksoqm9okyhZ0CqvsxrTeNaL73FuiUvVJ5Tp
Zv9Mz5IZNkKVbTWU1qvEyjFRHV5E5unb2Oq+RKMWrA2IzdytQOybBYIDEBO7RjU/A5sbJr3qfBsF
3qFQ2NNCD/DIjvIiPDiueGeidYbK7cxEKN5YaZdfLCKn8FHBVlsOsDs2XWgILgK0kWlC7uhECiZY
TwgBfdesYHjMUDOLu+Uw/PBtcsyR4+1bRiZPxEjteqvudhV6960mmTJ1Jb/Im41pnYH4RNaa9ZdS
RWfEFiZP3Q+OJK9GUPBegf1A+UVswi8jxmgG42vE/Xyo1SQUPcV8Imo37T9ZuJAOgwPFuCpUJ8vt
+m/I/uJVSaTpAec3UaeK6GV742uPQ+45G7AAg7zIcvt9KF5AijxIU/V+kUaTEI7b34qRbCPg6/Py
k414GiNjNF81VBQb0UtSivx+Pptuh0U0sF4iKI1XYksnOJtJf2gzh7lj7qc0JZmfZXibM6d/tifG
2AX8ZfJhus81NMi1rOG8DVGYPscVUAV9yvv1GkEe8yZ1SBpytuO4aTDS6sGKm5d2SL0egulY2Z/j
WfB3oe+59I3Z7Zc13O1J63E0kgSEcl23KuwvjK1o50vmjq1ezNtkFvatV2la7ujQDiUmd0f9wOjK
aS6NzYqrTpNF0kZIM63kUt4t90PFFIvziegBWzEI8G7jtQ4AkbTqEICr2DO4/YwaFmnPCLVn7pOG
7mKUuCsaoFvE5yZaoyRIuEuh+0lQyW4kNlyA/xl6rdjOT3pD0K2dVdWzcKMvJrHZh6zvrYvd9a+J
RvAof2PLN3keAlbn81B45mMU5Ls6VXNw0ioefUzLhu89MH6Pd4OFzlO3yaFjhS5erDmQm6g0nzRF
vI1bwpObVlzxrxvnNoxdFfm870I1vFaqL/bu73iBvd0y0kKTFG/mdh7XP2g6rkLqhJhwxrRiYsg3
XOhz1BdyagVwkE1hVCyP5kFz2AhrMmsuPV4kBZJZDqQWTrsqDHAhKDPScggs5oSBteYU1voW8dls
Dg9BC5to2XtwtwpQDWIQmauMCBYOJaoh7p7E2knvtExAPDUQqSTa796NvC1tJSI3o8T0j5kKF1N1
BhgttsWOqD+NTqtg6ZoxrtB1jyddlSbLR6n3wBMsH5iJw0jChRxozElpz2poPeF2ZGzoV1jarV1n
Iu8lY5p2pIzsC6GLjzoBWweKO7BlNXHQEMu+Vkqfsew0NBXdUTGHFiKsTl2mn20AZfe088j08syX
2YXnMKIkXTSlhiAwOC4tEG7KcNpH4Kk0S77oEh9ahQqf8TdxoW4S60eydTCpgTWaHcVicpMPiVt+
DIsxuRRWHb0JGZ2+4d1sb6WsKBZqknKkYKNlMRSYMx9gm928LfeUXCOYhJ2VfBJoCmfZnAHhJydh
GOUTbggXfgtZ8Pm5r5P2Kt13ONPtY1jPdcblOD5MMiTiLQWQwA3OPxlmn68HAz7Er8gEs0harEHO
QyhsikN7Hn7ooJMYO4qmYoWXTScgehR5SzkvYn/VKR2sH4vxCBD+vhRobVF+SNSMr67Hbk/e6rVl
Y5EpC4euqk9pio8T05CFQ213YOiZumN7NfqeDWvwusS41Ald657ImJVTERA5NFQItKXyba1RZRld
Ih+KgvB3J+2SDermdIMpglaZBxMs4obgq5R623A6smAoMfaA65vtrPqJgI89nl4zHj356oBc3rHF
yGnusBmA7I4QvS6vHd4AjMeyINSl1jemF9DzxwEM86LJ7UgNAjICxTn9I8tRqnEI2b0l6quv0U5r
y4EXux0fJLT3bcgfxrv1MRrGz5XRThSFkLUw4n9qG8I5OYVjArn53sYx9dsoYYMEMtG2YduA5SBE
pdTG906UHctwdI/Rd5o2/tkG9Q9YH8Q+AN4vsUf+ppQ0trpB5wnBOUSdPV9dr/9SWd0xVIL53HBW
UMHKU5xY6S4Q3wGm1ZexyHNtW2Va+Njqyed6YBEduCOtZtcIbnZy7Su4s4l0orOYY9Y2qyc1bLrn
FgID5D0GrM984lqrofbpdvjY5ArfgYZ0l6TJ0fE1IgdJm6hKDxtc1heb1uFlq4h0r/O53lP595tZ
i0/dZJNdH42f+VPMHbXp1hMj8YlD2Fz1upCnDgeoloA1bqcWPpLeEmkXtWIVHh11vQrda/ZE4LHF
WpqxdAdPCZxgXAsNsfHnuKJLESUTkTU6rL24uUtIyuyOuvQysue56DVticjPIkphvncIgY4PAkEi
1XZ/zgtBSXdYHOCCcvjI5nleVzbwa1zZ/Vb+sDGhcLsSy/JqN8F0tczhve+FdGmq2dxKrbavRdc9
a2abHsy5i45V4J+XIqgV0VevGLSjUesIaBrN39BFWaVTon0IcY+QRsUrJTBV6fy4OcSLEjX0y5oW
sEPOvB9XWyP3hPo+VMS876sEq1ktnNfGpDcCCOb7JLXmzS66NzqqNENse97NqrXoW/O9QG9+NBP2
ApbK/YDRMJ+8wgB1FCL7RU3p7SNkx7flkPMOzoABCZzL1mFcWfex0U1Im9BsUx0x6mBM38Bjxict
rawbdfkaqEBxhYBpbIuRSy1Dd7wKyqGn9c2WQq/03aRCLwYNO72HoHRdh8qW6oBwt5WzITGDq9T0
8UC2T3FJQ2Fth0lgbVMU2RoB8V7q3rvEaoerNueHyGRnRXZkeyjqPgPNZiRPWSYoFIOQtEsdPFKK
+X5Hp9Whkn5yGzjHmjURHzfW9vOBcPCnwIezwstPkmtGh3sieQW7fKY4W4qyFWMz4KPcPI9uN9zM
bo4fEMkewYYZ+Gx6fU+hwOzB5I1O+uwFWsi6TiCsxHHurN0QaY2dIp6ujPJoRckLgOhgW+9op4W4
fpThJ7/5XoZ1Jc/Kh9QprpIoS+VGqNOV6YKG1Q1r4ycmFV4RD49oVV4lLC0mqbyxY4MrrG67T4tp
BQvF3tcZzKi8TvKWCCHViDqh5dGeTExXay8GqKY8wVtpei96H4p9BOAOfzl+Xxx7wAx8xIEFSUnt
ZcLzdVryR9qlRUqy7l6fqECUKm8ioQH3SrF2PSHEOtBcjGYObDqMjNyxBoT3ywExfX1IoCX+ascs
H+lOTXqrjz0WXV1+GRhiHdJ6JiQ9fko93X4/cebElJebfvhpZSGLJ9yiP8alqTp0SEgYPJATqpOz
d/KEfeyQ4q2Hgm2s14LzXQ5VXMFw7PEtLpJo00uJqgxc5JZ6zB691hIQAvWwS8fT0smwZ2M8wLhq
V6CVRkigPUWuk2NQZkqzRBLgoyQ9ron3U84IioX1OkZZc6crae+FMB6AiBAtIuWttEbv5spI4x39
oEuSUWxaSDh5hbjamvlZS/C451nmQ6rVxDPJxOucbJgNim1sypVi26vCNlElbj/6L1avT/ZapLLc
TfoQ3DwSynZ5TjhNFzzjU2RjZWuPqJrscxbM7xSEfG8FCU9EeYzi+BW3MqA7T0suDft/JHB+fpH+
AMdN9I8Ic+g+Zlwas6fiERN2/2lWfCyVNV6o/cTy0dif9UXZrEYkgINH1naIA2Drjw07knvhIgEf
6bue51jvn2nK8yrnjOlwEQzrGkT2ZvQjbKodWJAmBSNmteZwGbj2TmXsbm28c73w9H3nmn69Cgrf
ZTKnv6+nMDu3fx5m8DBcw2kJwCEBq/CDNmPlqKe1SfNo2FnvCKi1HiYdMGwdp6sGW9RsFfVNNn51
Wz5qDXvVFYCVPNDt1SodRLhCR23vfEeUQP/Q621rjwa4gIhLJe83e1IqfS4qBih/0lBmyFOouLIH
jwSRg0n28WgKwI4EL3XHwiK2XhoOHoSJ3lwUoo8bo+FlgBxyWg7NQFhgIsZ3OYzDXaCMycshdOjb
VmmKtF39n6cys2K2pmEc09dWC8eyehhqBuLZ2U3m9JSRY9tYJ0QQ74RPWBeAKwoBNnjrxVW5+Csn
0K5UtPB8QE3ZiMV7iXFAPGsAyXmFdcRzfYfyLqEcJxnTj6PDgnipVOMeN0u4HqykQMzLdn5h+bRt
KvdsUW9sOAW/Payya5i2n+p0aOAVVDbpHLl3mzysNJ09oCW2bE5oKAQI3cM1J8KwXgj1gSiMnTOA
GFwedpyBdTP3pxyZW79aSp9+DaDLPiXGRfRJdopK3xJI65m1thGicFNt+34djDFpz4Q7Q55kRjWq
17xfwCoGoJLBNt29Jtyp402n8y48dpF2ehi8NnwSuMkZ4s2S8q79JIhn249KnwarHA2yxi9dmFq0
qLJb3X3grd4acqjvcd5WTwzPv+cN0r+a+8iJgcG2CFoIBiPPNiX8chN7aQ4ZspXkLFLkIMntppPX
QNnuqoEwsEhjiLDke9ZGBJQqBfmQhONmpKO55e7Vn4ywSfeLAz0EhsVmOzmO7IjoMjAxLiL9GFKG
n8ZlcJYiiyabrUHRJ9FeqoPTlVsHCPwR6SUWWUV97QztWLK9x+pPr1mPBZYQC5hpqOgrfoClpyA5
vUQW3xAUdqVLvdbjbjj/gEtklkEHPOG+qhIAKfL53U13HHXMhl0u0duyZSZMepwf3CGyzpGp3xsZ
yQ3JByRQ6+Sv1MreMQ9dvcFnJ9cLZnWhC6aayyQlxc4Qmpktyep0yzPseu04mkOfHdQYZ6lIO7U8
UNxy30YCuqHfN5yWQ5w5w8mZh6cKQuxfhmBsHL01NAkMAGp/oSmzUGzRmTOK8P2Q1S2xeKa9RgUy
QwHSxK33snHn4xTdlog+eT4gg0POvF1QwjFoVNIOUguGyOqQIoLfoKNiqxmWe1ftCeeccCrHole3
Kq3hHbwefwd8/+QYafAg1QHENdy+YNYP+UwLLwWdsyGAU97RezZrZtuAXUbLvXcEgVgu7QKSl8Jt
1KJ8WEhJknQKpp4LOSlwBzSW05Nj5uISZ7O94y8KV64SoGaa+RRQkZ29ZODgji4z4bclJXCB2NhK
hbdiiLa18cCh7KeVo4S85NZa+zS0nieiqfrVpN7gQR2QtapGCnUToW50jJmYLYZ+Q3VZ6sEcGBeR
FIVI4JTMsXb0UxJSVJxGz+Dh3lS+x0TdzXe5xbXI9CN/wicUHvJsyNd+6Lz1Zv1IEFZNvNnFZF52
XqBUlaOB3ut8qunCfx9p0tjNFR4qN6gdurItOjrUe1gC1Sx1ORiCvzUvJOOVGesZSv+f7MXIQkLy
45ZSm8QPlhXAEFZQ2W6noMpWeh+ByRhm39j7xvCwoJp91fb1FL5JyOkrgnO5pWHWwYomkccOuAyW
A4IZ1q9xAOrTcafYMlrAdJ+mROu42FWxY6crR7MsPM+Wdx6YZp4tAmqZYW/HqaIE/NMnFciYFps/
R2t/8eyyx3I2fkEfN+QC4QbuzBDSRPoe/igTGRvJEDWQsmi1BO/4yKoSv/7oc2/YlQpdAYN0oClT
HMbGIi2aVYPumASWQsag1qXO1jRxYLlV2V4DHPsE++Vi6/SCVDvJUoOUli6gK0l1p6v8Sti8u8tK
gH1r0eHhbUGd5oSyp+GXFBkL1L7IuQ1FZP5wwoQVdpikgXdUDVZwMJRHWtP2kRU9pe7c3wdh05Aa
zFeTkhJfASdG4ZvBndP2tfWr93UgjCfHNnNgm7pDagkmjBZtxFoGkbW35/zrNHG29jGStpVRYUOc
KoWBQIhraKwNC3Mp7XQCvHWu0mUjEoUBGs5QokoeTLGZvQ4qFKPp7VwCMpjtli8M3RK2VD8CUdVz
2kOiqOeD70a7UuALXg6OWqPsOn9ndCgcsiZUTzLjy+ao2TKF8y4N7MujH4XH5RFv0mMsIBVbaJ/v
kakg1HRK2hm3dJty0adaVz4YiBLvkrRYDE64MWmXl6S2r9lAjbR1cbObMX0B1bwlSSE7pNb8uEAq
W3Ny8pVebF2od7eqw2MXlDG5RAQU1T3ZWIDYQziOTC5mtZ8QqCbObmWdA/r/h4WeaamO7miM53+v
JRV/l2XbnmUi6ceNBLTBs4y/aUmRgPHn1lW6L+GIDMwCDi7ppesOpWU3lc1DKvSveVC/sM/uV+WA
kYFhspluQpmGBzbJZ9RP06kpiL3qejrKFc6TXaonXNgYscNErIeRfjsVjL+jwuQlFZRlfojTnVPd
McajNbDvcrlEVw72RzhWpBghSNpokvgWejegrYI+PSXxobBwmiceDhY9dFqyROkdjMhrF4t+MSLx
9Zj5QHlnWf73L5P3d+02sm3XNSyhuxZWOt3628uktJ7uOAYVcUw5XGRJ13g5xEoB0WjRhxZfFjca
hANMXBMm9KTDP5XMsm9Fg/bJ0y34Sk5bvPahz/VRx+8l4WInzK/OOtfmgwcX2DEBu6NAIG986UQu
H/VOQ2uGhAozZqSW+OkzTc/+vhxg/gx3ehJinRspBHz1CTw//b1Wh7Ypv0RutYlwpR4rFX9Vo+m9
DZU4edzDQVDzX6VZRBsjF/HeVf9HTFJ+jTQPook7XBKdtpBQU95fDytmf5suLks6Mth/f/j1NCzB
y0NDfaQ3H9q52vOKxZxIVflu6m00DkZTbtpyfiawpbj0RSVuDA+wcrV+/ca7WjMB4caejkR+VaJ/
QxmwVyj2D6zYctdR4+2bmjSzPmf26Kq0Y08dZB5yp5EVkONoICcxohG/ikxS52cvb7nqweqcSPf5
ecgjVCrLyfF/voz/N/hWPPzQpTf/8188/lKUE6h++oG/P/yfa/SlRlrzvf0v9W1/ftnfvuqlyPj3
9y/57Tv4wT9/8eZT++m3B9ucJtv02H2rp6dvTZe2y0/nT1Rf+f/7yX98W37Ky1R+++8/vhRd3qqf
FkRF/sfPTyn7KCaFv1wg6uf//OTtU8b3Pfff5ujTv3zDt09Ny/eKf+I3hWBnIFNhnfUQMg/f1GcM
45+6dLFh69JCVutJ+cc/EPq2ofKr/lN3TBanpmBY/99/2PY/LcsWhiSsDtGOdO0//vfZ/vaG/HqD
/gET+KGI8rbhp/2umHd1HbO0rS/mS/WHOWoV/IuS10HXPY5tNW6aHJI15iSNaB2PvCYuuOkmQqm9
mycGhSN5wK0gpsWwtOaJNQnGA9vjrPZ3Sdw4j1OdwUrpK3sPyDBEwQLpCFva+DFOyD9U3bltaKDQ
k1UWXv3BUZE22bghog2D/ey3e6bhDIhp416E2xYrbFUWXFjw/XM4/nwY2/S+fPdN75yzaE33aqpD
YiCcCnHSrw1DkzNQKELnvKp6sXWb1hhqSvSE5vyCgLBmRm1ul0d+3+svYLa3ZpJWjxDG9Je+wfAM
ygS7vXoYUqlvwhnXsjeSp5nMpgWJirU+nK35ujxs3lJRtYe/nDA/36K/viXW7xYP3hLHMZDJuo5t
6HQa9b+9JU2TjL0wtGZDg2DaD5GOiMhApTQ3jQU10Ks2tCzdnRXCSmjJXCXfxadmU4KFwC2rXaQR
O4KdPXuYWUmPRZh2bOr7JDjYpXtLkuhkzy1bl7pOH8n9PPoTyAoCkv2bbQLPGHHkPQ+iIHo+8Sq0
ISZKjTjXTkzkZqAAo/cfDKziX56w6dhC2pZjS2nB/P/7LWSsCuFIM9y2gZ5fukwbH7wx7S55Ja+5
/gDaK/8C2NZkcGi1N/7H8CIPpYsVPgdpkD9hjJrx1kE8LkxoQVK/sBdFxGowxVgUSX0z+UetSJ+I
awmuYUN7Mug1Il0CzSBC1BOHqIwYMBX5sKGdqg0DfVp8wntWeA+VIL3DuOXqCAhGs6Y5Xjd88l3B
qYBwedMHmU0ia9X/B0u0Zf2mslcngm0KUximut51bA6/X5twGmM38ax6UzO8XRlsM1/ZL/V4t0NT
GcitV8dLi0NlBeyRQpFtOkRnfJKNnKx92Kb6qlHqiM5zxQjPos6how3iniC32w/E1IHI6iJKEkki
VGvImSekomlwbJ7Lce7fQR8KDr4uhr0uvg6iN656k3WHeUrFcQaMeIWlo23+/elv/suK5Lgm/kSH
4aDtcS3ovz/ruNRdJptNS/7mAGmEPNALnTsaJTKm/Ir96jgE5WsUTvJj447HpJfytTIs/eAl7M6H
BBDebLaXPGxbPPExdEX2HiBo1OPlQJxhxOzYkW+VZ3zLQa88RVFjIp0nAsUss+Q/nN/LX/zLs6Xe
R7bxWFNMBzqmNJb3+S9rbF7LcRQ2LjqSjA+W29JxaiPzGBelu58sGnh+F8L1ylN/LUSmSlr33jOk
0tSQ7deh7OXHuNS0M0Br0hYFoWM2cZGyidj3BSFUmHgKr+HY9E9McjdsmYKHeoaFjWGsW4X0469F
i1zDrqNb7dL8TufuSeAr3C+JWJqPXsvpy/e/Ig28/PTjtCjawbqV5bSCGyU/goXxcX619mEoipM1
Bf41s+GG00bLIbrUxbsm9VZ5m/ebrqiM6xTZ0UUOXbNNxkp7KyPzOmtW85Vw7jeDiPv/dAL9jhJQ
rzdWSt20LNfwPG6Rf7tutHJM3TxExMc+bloXYDy3bNfacj33bLibSA5HPS/Gp2iU58rtrbeU296x
ykwUPZ3lvXQCeGFbpMU+YUoGkINsU7IQ9fEYZN3bNPf6BX569Fx6DSCFOYWeiHX9WWrmC1iQ1xJX
4tmJwP/WapQzgAbEYQmjGf2q6ymUEXYUakq4/Cs7jGgZotwXdYlsXF3TXkLZGGIqW+P7RLCgkriN
MB6OjT6iuI1WOjA1B+ZrHePbDqOtx5X9WKAIgL/pHSM7ZSbqNeRQTrJ6GOJu7WCEOictye3ggMdt
U3yN5yY5Bp4wCSuNreNop18Id5uPPxjKNqHwkhErClBiNIzCuy+HHgbOXeXK0uUXefexMHxyMToP
0tAQfNbszHuuBq9adzpJXjIpWU50FMG9rkm5wjj83mqyaxXF1iscaRPRXunhH4Jr1EQOs8O5J6/a
IAhqWdkyy6zIUDAI6mIMtC4hOq4tArC+a03zHGaDToPSr8oPke2H+7i2XztmmMfBG8WNOyGS0VA7
Cq3Obh5A3swJ3/tl42/NWIVNhTm9hzbjR5QK8sBGvb6UfrOT2XPTleWbiQbzZuLtWnVdP931CXPE
aradD8zzUe+OLJxxQb56FkJXtoQFT6otnQe2Fo4kUN7sUiTNnec1pzSZH9OOBlJBeudmirz6qXDK
98Uos4+kQ+ebAKn8GbeNeKnpeVTq/3MK9G3vkKs7BpCg9iHOonWkQ+djO9CdJJFJ7+ijs63R7ZoQ
8ACxCw6o6b1jv41OOQBycrqDRi3xlITkNwzo5CaKa6w13vrn5Wx0EYgbZnmY7j/OkVusI4ZyT3Vx
1tvZ3tR9Nb/ZYfhINDX8wNJJfcT4EXohBbiPBwvuYVwIhG5J/0CnRbzOfUiQkp/FL1HYgOqGy2kn
VnmMPBngc7fTDRa34ZNFXKunk6WeEd57QqiC2iIRxNOoe9vy0Jwf/CBhY6guhfzPLwDG1t1tfUII
42rboEnbfamu3C43jzUFnpym/KP4f3ydx3LjSLRtvwgR8GZKEDSiaOSlmiBUVWp4mwn79XcB7Bt9
4w3ehAGpqqslEsg8ec7eaxOeyOJfJD59IB7ZvI2zEzmE+QPtr5eU0frRZixLCaviIFkOfCuvxomS
/DM3Sb6oEyO9SlMBX4nthIEKy5Yq5E6wv06mk51qOCobQh4QSwx00VegnGbAQetqUGUMeZjYIHq4
kQOvbgW2RFS7avqnsmXEVNiIztDRnaOMHQJGF9jm6EWN76qNTmeMFWSMax+CG5oNjmKN6bnXbnnm
ZqT7fsuKuaOZ4G7XvxHXuQ7UmXCZH2XqQqZnaNX+AxavVzRnqy26hCVQWTv+/1dZBgzLRvx/tzXN
hiJAwJJla/qCEvh/NmpcqLBuY13znfXdjjPbeNSZGe3VhoVhNazms92cQfNN/dvcNtPNVVe6N4sY
8mSQzlJ+qg0y7qjL/vEgsVdTE+iIUs/I8stbndcv94ROdZDGdgXPrF1HqXrGCf3znFjmRUky86JZ
IXLJkGJscUhqg1qcAew9TJQ6h8pMoBFLxaIBVr61+KQSUmeXqPFW0tb/uP8oWYPer+gUf8nGesmb
GuFFn1l+i8xoN4+sv9Bp5E4ve/tzHvJgmPX+d5z0t8aTf8tQkppskeNOPNUvF+kNuSEwCNOhfDVD
xrlR1mXQHEldmYGHIeUx3nSDBnqj6RdhG2YQtcP0KeaaVr1HMLtXQEEPZb4tUdduVxdPkYJEodGy
Sz1PHiv0I4f7OihT1eW2gyUnE+aEmIcB9ymeR5+4ks9FU9i7NiUc2MwZcyZF8py5k45xt+gCNe8g
IPTd4/p+h6oD42tGLN2TwDCxV53vyyQ0G78uiKFghD7/snpcth4aNjqPlblTQTgGFS6lp6iH2F5o
te0LQrc2lRXJq+noDvr19F2PxuLqKuGflRbM8RsoT+k+1RN5pkdkQ0+NAKa3bsdpUX5kE2qioeYz
TFm4t73U9QuOTPtQ2m17tB1SRTw1OTS6mb5M7vgnti3jJuz5r9FoLoRA8l4HVg9ArAp8zPtdpEXG
5/qc9bmoN55A78kRAgcFAL/ltlndtVI3Qhquy+5Qkh/sqzohI0wTso9Yl82hWEKfIqF5PkGX6Idm
O+tP92d5oFHXRC7yQrnkubXt9CtvGVuVA7NHbAmTv/IT6sTyrqlNE70Ej1WWPacUO5/TAKIvEiYj
/q7AIFkoVbHtTQnemYyFYqkC2jmaD+RzMM1YLGrW8tKi3gjuDrypRr+X6xQUS9Tp+oLa1oF5CyAA
52pfHct0EbZQmuwI1BRBqBMoWyZdfIjU/kNJ3RFKsCw/sUQhfenJxUn7tjk0pP4ElJkRvhGp7hGA
X7XJNYJIl/GXTXQMsaXFn4IKsMUTvXqq7y/6RHJJVdOi6haQutH4cz3CaNFNosNqGLUm8JHIMi4y
ZVPDEbUxHKQ0ZGPuHYekd3twT+tNPFLyPsojMS/ohqpOf4b64rwhNNUC+inbWMbyqApH3oQcSYAz
f1RNlt9N81fMDoZSzelxR/zOLVf8imJQjWEh88AhkDemTG4JxySswU/tXvw2kD8qg5kcMDQUdzkV
IigqB3Kp/XSIPM58urajL4A+fTLPNZ/rxQ1z4hZR6i9BjoYfkifw5Xrtsvqv7/0QiaNu8by1xTQe
MoHkDEbXtKPSe0du3pMbXr/elY2OXQUKarkKjyXYfxDkGsSh0nKNLfEICSZ/6RxWzTvxDW/p1P7t
C2wKhJ7OYNZy8CtELYprEUvSF5MSXBnpd44yGs+UZaQuCIskJderDlajKwHquOYr752n2YEuX/SH
2Kmm9z6DqEvszG9F6f6wndHK6aAR2u7wm9Z0i3pfoNNmlanLXyMhx8es8ZhCxUl7LS1LORZSMoMt
NZc3wBQK2ajlUE9PldZC16vlk+aaNRbI5RGzUjHdrKXKgaX3XTYZidnic907ZrHEOAgCH+5bycDb
njpRlG74gXBOq93Luo4WGeeMwsEvSQCHvy6VWv8+q+N4HNPQfRIJ58ZqiA3GC9yBYybsh4GnPJhj
XOpLIdmpTvRIJnO8V2zc6PB/fXVMmq/Jis9KragvuAOTQ1qbxAP0WsCKZr5HYUml7uwx++qXYVk9
OlyYU/Vt6oXzdxrVjYlKd8cIF+lfFGabjlvmio0U27tr3Ryz8j6JxLJ2MYfCPbJA93OK9LM94J4r
8ETVlZscjbFxdprlNNe+Mvgp2DXCyFJPU+yY59ibmcdUZUH5a6avIyBRnuVcf6Q1rLwrKnNaqP77
2bb6bdRWfjTb7ZeHwG9HhooNiBOBk6mjqkOaQXVGp61oem8/zYm+bVvrmbcVs5v+02GCvE0mtvlw
/JPJaAgUaRofpGOlqHEr2IO1Alq6K228MsvbOThZspNMwJ+RJl01c36l6HoRqD4/lIyAiMzjOOLE
ZIR0WkdlJQul2bszRSgSqupYCysMChYAN/zj5uDnskI3uKHz+QCnJIhcdsvW7JVfavVow0d/oman
+HJS+z2cwYBibID+SKCDt1gMXdPe9BGSED9rEWdXJv28xFDS7Wgk5clr7eLdULKA4ZL6Nc6VDkC8
t8NToZHItBxVjMi4TlX3SboY4XQJzrjAI/4KexyDMNMLvQN0/p+2dX4JrUl8F3L7LZp57v67GhAZ
BYwQfij9x7NuRtquJROE6KDknzUDRsEz9RxZ2kY1U+VVl0aHi1dhlV9uEt2ViFqN3n7QtUT7zN6c
SFgvlchuM82dABEx+aM52h9rmqoNU/TmZHU4y+5dIQWR2Wa17WM/Xcpk4fpM5uCqsr6VAWE8f6i0
3JOG2cAvVI43Zddx8lxCL6rlZS0ktYKoMigZ8e6+G0bvFTN0EtQ3lRtnH+vVPHdk0lXWwSVEjwjD
Gb2WkUUnvHplcN/RlkWzqacseapzxTgOy2Qims3SI9wYpOWYu3bgZnH75lrx37EyOjp6rBR16DxJ
mdbxtmWUH9SDYm9NSwSKZxHcSVBoIBbMeeb25iWdeXhTrBK+HUIg9pJ3I3HkKwYPdPQYJA6EY5oX
NVR+XFORB0JlHqGLEE3EpMRq7I9Kj8wNQ/38QU2mUzdbit8l2rYoXRfLIKJD5DIXEtjEi8qDCh8c
2yi4LGPRUgxkp5C4wEuVPLVWzwQ5irVHy4mN4L7aiZKIKaTfGYizOXvMphp8+Dg+Y5Pd2RAxN4Wj
lCxTanWhoW0/QGV/LuhUnjODbkZSe913FUX+ILPwuZi0YdNC6d30eqK8u2mZMn7vzZudatkenefg
F0bqXPoGE8jI8ObBbNr2mTjNG8nDYgKXVAmbQAga2GZWSMphNzrGjVG8SkVGh7ovfqPYzPzGJC58
mBvnE5SoDiH4cZr5tmzN9mSrLjg7VIjvtcCjCl47wxFxamxrN1ZW8TTniFTXorHX1ZJTLE0OafZf
LsSHs6SZtxW5w1Eu56DCTuEcaguzQFuYykPWZ1dBaXlu8A4c+2E6jV1UndeX2r1Ayd3UcpDbqC9s
Hh7oBRoHpNaymsNa4zmhjlPcVFBZ1YhBo67gk6jmDU3e+th6SYY+fDmfTRbh9PYCTUwt+3c7DvyE
hgs2Z/aKy6wKuhA0zM4ViTDbPBxTJGjI0tRp+jMPGFvmNq2CPOVYfK/6CgcFmj00fSBxU/FieVTI
nGWbOoT6PJwpet/sMPWuTV1Z7039NnAbv7llnT93HkrRGG0+6spLZEcIo5E4mDNKdSRw+2bpJnHQ
jk5djwxrlWaCLGvO90e9zrTuOczt8rXFDLka7ISjvQ5JfVOl8uBWrXJLsrraUajoJ1PBj0fCJrWx
2w6EoqkIsDSl24at5VwT1ZNbKitOV7kb+aKJ6Ti5DsLX2JPmeSL9c93zXNt6I0K5J7SRHdAcvfEx
iyrEb3VHx5Ux9b5tGWSm/Ovn2tY+14ZYRCrji7X8Vkymr1HiYPUF17W5N58qjwAvi3/k3pDyGtxG
efqSLWlQiLbFsxhwwEvBdNiOG2W33l2xOHQuxCsdbJpqxPNLHVHyluM8HBVPzi8DwdeIewod/jFf
EpcL7nOG0qfRCyh3aY5WS3mEyhsBxN0NZBOeUio7ohiWS8yiXI42efUDWuVDZ8NbXtKucKiV6Nkk
6aGY3NaP2aS22nt5G2gkwC0dnHja1DmSHNKtSptRMipF/GPU/IC88MXUzrd0nOIYxsVxqCaP4FTY
GsvDQNnUdlYZcHyMHnQ7Imo1FJwElq5XL8x325Locg1pfRDHsGh98h16n2yTSODGasMJJatmOIpA
aw8iHReZD59hHHrPbuUWm1DJqkuI+p7ZHoM4sGvTczwz7pi5Qw9mb43PqjMCJEzgk3B6KfysLjrf
jCVEqLhheJ8mAbbW7k06BvrewUj+IjrzSzGQDo388rFpzOLWNP0v18vI80nIBhmM2HqhQPIxj0Xb
+/tA5GiB4lAjdpdyyOY0/1GN4ZsqmM3Xg/eC0RGleia3TSJIzWTh3I9O1kKV0KsLAX0/Zp9Ot3sR
YDTmeMsKAmCE/S3yfvqlV4QpaoIuhWaS3ouD2H2B4HpOhlL7klDcgi7TxwNbZEaoXWGc3SjLN63F
DQs6mfNVrPyOPOgwkVK/0t9Gyh+N13t2RV6Q4tetQboYzCbUUt4LhWaNw4M8Abunfd4gGKdhhpfQ
dTNYeh6x9yY+4E2LQoQ/5csGT4pmkzQhFfTLGwvWBQt/iZg1pyXgjCyNLaLghzlpSl/oISblqNcx
JXB/SUoaxxjMfyaGsvyL6jVLDcdP44LaKqQdg9AtqMdw2rozOSwG7RVnzW4L2W2QsYwmR7YqKNZD
6PpXli+zHEeLXibEyy8TiFXqaFChHuOoPEqh9McEceRuaJXqG/9H78r5W5mKV0/VvyM6fG6dEzu7
XFGkl+9OVqJLn/j1ZwfWOtxI4/xffkFCEsFew0/aaIN1QiJundarbvLyALVh49cL5Wp9g4FrhpAJ
pYv0DxQK2l0VxRwvleMewmRxjDTxgzbA+PbtoRo5CeL/jEv6X6zArasUh4kYmq1VqszOdK3690BR
miOjVGcztnibiVGR8EIhohiGkQSYSOnVTNxkPuxHVgx5UxlP3cZQjL6OZv1opkyd67AbL14yV8+F
EG+j06Rfa/Eyzc74SSg8oQdG/J7R5X0sxFT5wlOVT85gRII2KFkdvGel2x7KMqesDsvkkXSC4jwq
lbNzyzY+OzL+9yVDmhbmVXRNsv4XTq/why13I0Q43+6TgXCEYDYgnh9I7f4zYixjwme07wyGGCVa
y0PmTRIA4lyd6HBxC62X+iCfyVU10EIbcZj+dhyEeRSbTO/Hfiu9DOelGuanUaQdFg9ke/WM5/He
UY6iKGPy/1S5E7J6LlKdlhMl3VMK6PNBRWzl89nAwXfo4C0xHs1pupeBGJ50CES+Mkf5TdfT/CSs
dghk2rkPMx8cubMZ8ARhQclelg+r3dOVzojqtJhrGwAMztF7+RHO1njrZiWoXTGfY4vocYybf+9H
kkgz3lfxaOgWVGR6h8BqoD8vJ1pw5KG+6jobRKVp7045zLt15XD0b6+KlE+yfsrD+m0EijaRIP0Q
7ozJWpSQKO7HtPsxNbzrmgP8EbfAtrWr8YhD0/EbNO4qO93FMDsThTonfawi87GIMLxnQ9I8Q+O2
N5baRH815TlxXVyF+D//a+CMMdKmotEyuO6OcybHlbtFqOl2/VKbqkdkV3LjWQo1d5/H5MwpoIJ1
jecvyeGpoSvLlk5zVdsv964iiDUFWFiaHyq8uPFyjpm4YcaB6q3UQ3db9G67Aw0TngmGcpZClRlp
us0KAE/JUry6kYOKRpu3Sqqom7VBw8gHO1snX9AidL7m4P+QS+t6HRwVfZr59ymaQcQapstGIU3K
Mjdr/0FgN/VbDruDeIraPg7cBeK9XiEcRuTM6O6xyA7U/eZbkRfGs5vEe30sx3fZlupFhvYfglnN
Cz1A7bCmsq8v9oxczwZ1u1USz9iXmEs3a3vAaMoebYn26emT8gxkVW2Lc69zuJz6uP6oi+aN8K3u
J+XzSAZb4oBmz62lhnZk2TWn5rFGO/xi9+4XFRQl6th2z2hG/ajWtdcKs8D/vRpH8FsY+7bhApy8
syezwohOPe/S+j3Fe0jG5VBZdsPNGFManG17RVWVX/X+orRu99QZSne8tzGtyTkh4KgueMw2UIcb
IB1hKYIcAsJ2NsL64EQz4TjL4QPF1sLrUf84nkBhu+xLTYkheG4HhLEqSXSmQwwPRil5bCNmWqtn
plBtQOnrGMsdlJ01FaZvUKzhFTQFxXOpPA0R9KMotuu9MQ/hE4N1QnnW7kytZ48E25SBRmm9XRNK
1xfVmcJDPtlUru3S2/PK2yppMIvhYsdaeC2GWbyliY7RM1Sva29n+Wrqsvnxfuu65ottd6csjek1
xDWGCP4362KOhqnYMv55Wr/lGBqWiYzsz7Wv7eXmczi1+YMjz2iuEWSOiFxY2RF2jFOYHAtLwTtk
7CUBBLe11Zp54byNzMyDHelZL97EcAK51ikxQ2Sqbfi/k7S19pjIjKOf0GqPuhgJBAcEssOiSuQB
wLOxtX9MgMUiZiXlk7i6uWHB1NPoNi2TC6Hb8S4dS1AXXfqjKVF/sW1MmMR0ujDlI+2rqqsvWO7G
iY7Lp4jK8LH0OgyyCNa/pak99lk5vmHFIdyRcTL8GUIg7GI/J219BL2VfVD0bXU9K3wUiurBKYBx
70Nv3LV6e1gbtWoWV2dSMq4658mgH2R5dO3ZCsBmikerEMAq1oFEIsj/mddccUCh+b+7531FLD1I
kFNOQHJrqBmwWaCMnD1prSyjHCc2y4BsHaweMw60DVL3+2aVKiY3bs235ta9FrYiXtyB/ijPfHHo
Q5oKk4vgJs2sGMgMBMbQGax3y7ZjmJAayB8SlP5VCSfeBWbzJ5hRBZobsM9K7SmnkX62gbGw/phZ
hk+IoMebPUbfiRzdvbXw0WhTx1caOijdR99YYGkRPZfeUui+ppThE6mzV5CMBC4vSYcCmxskz/mF
0D9Gi+sp8n7r6+5UHtYbl8qdPNtBPpRmAWxhMbkWE1wACxH3LonVI/PP6VONhDi4eAODeGRnxU1C
aFInkiO9NzR0njfeFDORu7Lq8jPnPXUPX9t6hH+1yawGxgGSvTOwg/7oJNOMnSuz+R0kJbYyjXu9
TqljJvmjWKX9VxlJ9zXHVwTfkmw970q0rck8FCRpYcLdzzLQkqv2qhnSHzWqnWPbtfZubmPvOCDY
8Xt6w4+WOoLK8tgkWXK+mKJiTbYl6XqLTGBVCBQEtuOL8h7TWv8OB501rOSWbLVmgEPjhk+I6Hbm
DP6hNKOf5WIUUvuIouolXDy664tT9/9ejV9a85CkafKAzFQ8TW72HNuizHZMZrkvkN0f7a4/Fq1t
HQutP6x3X9GkPxg95936lQdt835GZvyPywYlLsX9w3rrk0E+cBYi5JRumrXDGlRunYEIyLCv/yCC
+7SmCKGKHF5ChBwMryumfpjVkQSAjlq60VMc63fhRGiI3Fciu96hyAFfoIx4DpqwCdbPqeuTbkcz
ItxmmPrOJjla+/+uzFTQoswMIHP1+3p6X1+SAtESA/droZl2kLlxHcSCMEPEdPmLMfBkyrB/s6rZ
BhXems/pLDF4hfNrYfVgJh0qZQnHd13TPLmfPC/HAJEQ27O0Y8nnOtNM0q6kt54jGdu+OWpz4ZuK
+2HVjFxs+CpHZeBb95GD6upvyI2TPZFA0dZq1feqjPFwLMPrKdfThSmGPSgu6SMSDHjves19wQqo
qTvgqROuzS+nteOvSMeHQ8TXP6nudmx6BXPkwm1fujQi1QiZXs/s2dc1C5lepeBIrNqHdMXoalNf
7CPkIjR2yT1cEFq7NByUbacR3q42TCLrGHFCAsD37EzCoXLoiofYNDA7JlG3bTt9v1Yn6/0a43/c
ygbhiYfuE45eop5r78mu0IU16mCDp3BeSlfpDu5yU64+cjefzb2pDdpu1LWcuL/GCMQQRi9137xZ
yxNIf7u5VqP2MKheYBM1dw4XYUChifK2EFw2aaiHh8lqqz0BmDP8wmI814rWBo0rrA3f0ggtzmgr
Np74wQa6DFWxNbVFPz6XAjoBseoThKeI8+DaLKgG+YOBJT8RqlETPc/VrDXLlUwOY2x8giHMmOol
jvCndhNXuWBsGxK1NKjtNvV0YlTaASgkuhDc402x65CVITP7qibzR/Y8GzohCNg+c0XBrqgbbPHr
pPPeFhMDLZ+wGB/nptWDMW2Mp1ynuPWamqRyFKvMNPt6ik9hMalgGiLnwAG0pInudtvabdK9N3q0
nrW0Jd+GMMyhs37qWcKkaCqyops55qC4NITzEN/9qsBC4Q9mZSix0iwNKPpMoHeXBX6IF1nSAoA2
Z6LOlWFSAJ5an2vLs8vZ1kx7JFmRimHtRauZPp2JumXIOngXAMFUqavsZe0oAE6HaMqh37dKYezc
kJm2l7rNcdLG/KI4ERzjPJs+CSiLqSF73MEdGa8q6bBmRrNwWf612MLbwhCVgF3mOBXsTrfDlP/v
F16fFK/6MoXhT0yG84cBxAThUXQBwX5rJKihDeEWeCgHphTrJoO7C7rY8iUmygGXyfwvYDnj1wZJ
G5WD9deVIaTKsXq03AKwXoT6f5Dz2zyjr07GOffzyYi+COVBOGRgrGP7NHYtIaUnkATlLiGT5CiJ
9t5iso/gJNCIvD/WTQ8h1FQxXmLz0Ydj1VdBsgqEGK2Ih7soZK2PcM9/puE/pFulz5Bbsud2htUi
y7jfhB3xdFFCxrca1soZNocHOqrYmZGXvVkDt5Rjmk6QxjLH5hZZWPWY7I9LcKW5mLLMdiivEQyT
R73Wc07JIj+vVzCT//fKA54S53G/I1BhZJATw7dJ1e+uU+dtiL0wILcTeH/W9tuUZjI2Cu2rADzy
sB4WCzsJSmdqsGIv3YYJrpSDUolPcay/BrvbtDrAz425hAjLlq7WOjGpehIuGqyJqRL9E+N8/6nG
J1hmI9K7Ztwo86S9IOMYd9mISsWYtvd7BLEHCvm5DeLJSa9rt1S3Jl+rlvZb44wPMYIA3IvG9KsU
0ADsuPvI7dn0+z48xIBFHrTGm3xv0FCcpDkFuqG/VB1kaSvFm0gTxFLLf/6t03s3fqIZ/puDc80x
nvHgxlDbp9orjD3/XZAVcwFJZTZfUGZs1hu1T6kDqoKRcma8T2FefnaGiuuwHhdvcFM81rBDN5Op
pM9jR+2noewJ1i9rAjuAlnntmZN5t53KsDuakFr3mUZcdMWQZMOgW9DxmF0MyzzlEPfWSYlsKCnz
sny26jhHfF/aDxQi47lUOLBhXqfjCaVjCxv1GRIKLNdMkbeE2Sri11Ls9HSc/PuXdK0RF6dvnZUw
yJDtW64r4JuWMmtMJmWvLXfUsNxbcUIeY1jDIZkk3SaYUai7MGmh0BqPtT4ND0qRnRd67zJcx7BZ
cdtgyPxEZk+pU47TLUk6hTUja/d2PpW3MhHQ0mvenX/b3HzS6w5HdVz4RGnzv2KOs8kmNQnw/cwn
4lucgBAcb0POHvPNOBYbDdctiw7LiRtLUmxIafQrtUmQ//bNr2gYiCmYwPysV+v37n86UGdWtYm/
m5TFp04yPogybUGIJsqTsJrwyXbd7ZgGpb5pRgAtgwVdVanS6kIiJq2+udGuDOlge3SadkWdDejR
Ueqv+wRXh3sul724qImcQHMybpWoU55Gnex3EfWvCeOwV2XOH6eFqrAM/nP9b2d5hE2sO8iQpu0G
cYp9gavxEsPyeGXx7jY5ikcJBajQtpVteofMfFvVb/dub1uHPHNQCkHQtPnBbrX5pNnpP9mY3JKx
866IE8oHASlxExUedCo7cetzlL2sdYMt9CkgyB40fQKpnHF0CR51C0/tkBD0vPNQ/wQVKpxXIJLG
PlLILC8Rej3XHT8/2Q4Oum2aIM3wWzPscZt0HmtUZRxrflHMVb3cabb3IYdJ94VtY8LS+UBhS25U
bpyN3vYoQUINmb6GnlQfma+gbVGxj5H4+VQzutoq0kacXR3gFKNACU3m2UX1YoLB4GkrG3rKzQvI
QEx0noh8G8bExtDiLVgk0i0Kbd6gdP8dZ8ZWDmKjOMCKBJLes8UUi5Z+GChJehBeTFuj0Z4V4ekP
/D5x2cybquUoweYf76KWz1rDYkujOZ6guReuPybyaNVgtFS9psUz2gfXaBa2yaYWHgN+USkbBPF/
9Bx/Wh9b21qC09AXOg9uthnRFCRD/k69CNOjyDMIzyaopzTPRgpKKyPGVCODc8PJ13p3rVV+M+1i
hdNnvtxJI2Hdu4iTi+wjklucxMdQowW40R8txRQnDZHWjlE9TWDMunaXfLFJQvJbEg/jBicl2plg
SKxvd66/zZhGVOSQgZflf+EXXuYyAVCKaJKFC2wBocBqGu1Ni3ekVZ3jZChhkALtOqvRj7CAHhKF
tJswjfhR+cEZt9g5RYWfGh/upjP7RYhNHyRBM4/CHEuGbgB5rcddYaI2NA31x5jb9z5Eqja5NnQC
/YcpU3Gj+08e1vKiSMZHxqgswCbvOI9G/Diq2dUAZkJ81PybeWFycSfr2k470XNwm0FXbh29QMLW
9aA9q+GhMxWKx2gQO9OIAQ6235ocLw18hY01iZ8+pPcjDfnPUDoGNUA/+KNJJ0/VvDHos+F5nM0g
mzxOzIOe+tiEW3+2WA+S3vo1Vjits8wOANdwn4mPMSJ1F0HNt9GyqUSqd0DUWAQgB5utUD66UTv0
pUiC2Kw5CmrqLZYqlFMA2Szg4nWykV2qFSL40N1ZctROY6b6WCDBndFDvdTx11AiThtDLX/GF7/F
FeEwkespZlT3vW0GxW9k5xIiMJsciN2/UTE7JDRibxdiP4jIPO2yWnmNRz7SPPK2mtr/8YZdOBXI
z51y7zl0y8Jc04JpyF49FA37o0NL/Yh69AUBg/MEeDsA2NnVpb4bwXFvWa9qHx5eG3RpYvmVlACf
M3VHo0wGukL92mY3Ked37pDpkCBu8nUDEXdJHsO18xT+ZgfBEq/evM96TR7DCqc7O1oXNKrzEnHw
54ycGAc5Kt8hfVQW6nQMIHiLLbyUgSGtAPIlXWtfOxCbRToxrtT16jjYrDtDt036vuZeBL1Q4tA/
CgBncadvCb+ugj7M9lOhftMI/DOY1Z4eY07fsH2NVIa4Y2P8UrXsaRgltMeQ8AC9wZFdzY23F2X8
PJUAw6qsNba14vmJ1YhjFY2/dIcoi6bN/ykGRQB/HR/6osr8gawL9hpIRzwP/2gEqwbS6fajp8cb
V/I7aTX1BoOIIijrjNHiZKhbh+4zj3zy1+24F7BWa9scVEAKdAo8uOZs4SGlDC4o3eD6BiJqsAmq
JmDRJjAU2BJdGJNREcEr9GLnnIfsdIPJVNHi6YFDzeedFEZ9dvo/GBj1E6NxflVL03Dm02LQy0fU
lg90P8KLDjFZum12iZpwn/doFV2b9OyifFBalMZpzlnNaPVNYevzpYqZZYCr6vweYc8qjCX6ryYC
RCA/g2dENklo7DVUAxqywYOo1Av6QI1EVx4x21ggH3aFyyflB1aiAiUeBjXDsG+EfZJufzL1V/aC
cIubqg+0MDP8OiHyllkVu+dB6x2EQ2H4S5OddqBU1Xe9juxiMLufSQGS7sTk2bk6y0A6feRplwZ1
kiLk6VKch3ASIeHDaCxP4fBVMVyn9TIu2NvmMjmPSfFbJc7kaHSigDgpsl0y6fAH5ujGpMgMkgow
XFvpj7D+iU3XCRWvQMoKBBhkE3QLLCs51BlZCCjAxl0XjvUDABDQI8+d3rtbXLQxJovPqmvHi8CI
DQ6wuuV1+aHkEKnMOn4jOu2nasK/EceZ7QjaygWu/8CTtK3qtrhWsQpsbfLkwVXGL9UC/2xTD2yk
hC0XlwECNXksBnz5Ji5VUU/WQRXdxgSMt9etOsMvlyOYEtPRSqPk7CwvZiLeZjX5Ja2p/8ongXww
2reWUJ8zNX9EJ1Ycu4UXXbXMcC2RgrNFibzRBe7tRU9jLCcTS2Qc/BP9M3aibzdOijObk+VnpfzI
M889JxTSpIW/OiGBzmDJNqWmDk/NWy1hElqN9zVV4k/Zhk96wmEaK5bPkoFpt0BTEM0ElY90fdKh
QSQjWrKZF8+6tL1zrnXtqdIG3ixRlFtgnrcIuf5Bm0lQxgn3Qo5EeBO6rPbE6LCVt6Vya2k5BQY1
8SZEIuQOeXgA6qXsJFa5SMDkc+As+TQK632U4Z80Q7buLrK2Ue4N+6ix5sdZGXjXUTI+uFl/GZkU
Y0RtrK1jE9edGB6jLabwmISKUz7mcQAurjKFSn43Rb7IBxiYU/a7tDF/OqUDf/qGX8jYjzpnH5UV
dSvb5q2yMvSuMcWsXuLVFwmiVCd2kfUTgrfye5uHVi54ZpLevbCjFTbkj7bhNofe6TEudZxEqPBg
nyTcNiZ4Xo3Rz7IjXJShfKB2znZqgpjTjtyjMXXozXKLbAX6Dru21tmsDGQEKhrkGyASM8DoQSaJ
XZGillKpa5obB71DKABTG4itqnCuNu3Dzawk2KhBbWLE0zhT6zc84hRDLod4GZDtUOb/w9d77jYO
tF22V0SAOfwVlZOTHP8QdtvNWGQxh6ufRfo9p9/5BjNogJCo0JZEsqqeZ++1zY1WjsVaMHih5uwl
dXDgN3TKn6uMiGYnAeyb991b22YVwW0T7G2DVLgsFMdU2XWx6qSrHvVZaA3jLu+NizEQ0AjM0173
jrfVjLlenWCRAhmxnfjzUHSCxjUmWP6B4lrrdAbip8aj0zfEuVPnX7UGk1pLT/94pjIBN0tNEhUR
QmPihcYbll8sOA6h3lrPEdxZYF8WDFvxWFTkcEDUbHYT7h105Za7Qz9zdKEPs+pPadyAIO0s1V1Z
laaszb7LTnnYzUoHjRwku3FPTFv81ACpnuPbIliUKMOW4o2fuB5fFDNMVG2vBj2WdaYMNQaz6q/D
Ui+AfW4nMFM160Vg78gRPnWmwBYmUNdCKJFyJrbVNRVcSJaeKjK/S+rt0ALEEZjTDqDfCIYioSCS
Twqr2WMFjUuOyMbdcV+EzhwqlJ4ouutAluiQpOSJrDyAeayduhv9kG+ScCKkVYH26M7qbDRJAI2N
cK2NE1cgffx0Oi/bxxTNot5W93336pa1PKtpbq1jspD8inUCUUKIZLO0I0uBzHoHjn5YNj99kN2h
PTL9gmguM5qKTWD1741ux0cvQDJDbzskI0evdjUFL9ZgZXhSTBCaOuk32KVYKUt7aDatoll0jCoK
eAAMq0RhtqRl+xIUDKv3Dr1A5h7pZ+3tOksv3sCVhwxQiqE1lMc8dfkto7upGeXWAeO1CmyEL7lN
HKo+E7WIecc/Iba0tj+ioflq5/Eth1yzG5WfPrmv49K5GFmCZblPm3MIvLpwETdwzejz8UVmeeKj
Z8x3yGA4wyfY7wEgv1WHHMuvahsavipYHGO+2YAzPjgcnqu4A4MZ8pNvJBzZNS3ucU3azhpYVMPa
rsEi6lln0abxyk1IE0CHpKNYKJKLaVnPTSGaO6r5bWH5YQkLvI6Gwa8Z+JCAVPK4bDSjARkry0Oa
CZqHDaqloGWp5mjIbkzF8FYoqIut6NonKw05q0X3SrMn8wOd8dO1XHmMFck5tdw0MhVKbptxYsyP
LHeXWwTUFWS1zzv/636x7GXlLTeAE39+71LeSI8NkPQbRXblliL8BGQcPETzPVHmb5yLyXV5LMlY
3igqgFm3lOFz2lIssOvQ2y2PwtCj/jt2wyYD8vaYBSVyKr3d2jWtNVkCqBmagFPQ9espLLZtA9U7
IY1XQ+pyaTQyy4yU5AnozkcoVVCr3Wtu3DAIqK/AacBLwFF+aUlm0sP6NqePXQGF66suEqUPCPvB
xMR76aAlbSocDlEcZ3eGoGEC+araFC4JEUKwOJbNmjij+OBSYd8EggRKtDB4oyiuvlX2CbW6APs0
9DvLbWzOUi1j8CjuvLHT7gmTBvQURR+ybf5UWX2xnARBRCzbWaTxUjJdOJeu2j4qrOYslBMkHZRn
w82vAPijh2XTjkBos+AHic64oVFJ5c4S8a5Tc9pEgcYnNzRiGyhDXMu26669hLIWZxYWBDP2wF94
yquu2F9ecB+aof5M30y7UVaBlv7ShiMrzgRyZT5JFvutt6IgVuxYAqsPQURKAr6BaJWrQwZWtW8O
Uy4R/va0jcxBJPtcp3w9IU7mtBTX10bq/VEK5RpRY9n1MjQvWptBdTdhHg7Qc3As5Tqy1/EyUoU4
aMZkjSuH8NbL8gBhYOrJ6D1/ufdv48SDDvKZpykD/S7Ul/1q2ffvKcutZV/Q4bXKxlbb/Ht0eUAd
FRM6AaKPhjrn8X+8wXJXqzSu16a2+327+X/8r5c2oHY3Q4aq/N9r//3xyz5o5nh4tKnaLu/A1GnY
60Bk21CV+apyQ/sYyZiboSnt43IfNkBD6NT8UGCw04xaihnBiBB73rc8cXlgUAHCysZLfHrXRWRS
vqUrQC2HdAY/VDFt0Jxw/2ppL06L1BIPRESpbTrlAz5FzxNPzRiSL2PYay437lnV5xqstLry8ntT
mKaOVBMOqO01QKoSZdx0Vv8RMK2jhfr/bTrZ5xfRe8HeMuuL25J20HtO7muRHBEFlGG1GRrL9AOk
0QElTss9FAH2gqrVrnpzlMAiQfln5RfEKwTTSBgYPqJnxWp/JFTAa5FUf0ivsdYQ+JOHavR0ZB91
edfrhJ6oQ6dd0ih3dxXUpjNZPemhLBz12Ls2Unq9lYe0ib1TiMBtb2JjvSSaAdCoT8A2UTo4NHNl
UjZcAgekn95crLRzzcA9184gTnEcK5LK/n+s09QRpuEULMuXffYMfVpAUDS4k5WZFq9c2at1hCSA
U4pNwGrzutyNBuXRdgdtnVCCX+m4466DmddXktT+c6uP/vTklxxMCr9dVkbXOKszqjm1Gl3tqn3L
MmYAkYFNHW3cgPC72OH3Dm5zCSzRqecMmKgVGZIQB96PUMbWuee0vWaTRNgjNaxdAzak2g2e4rQ4
sibwKPKysTwW3aOu9dt/++ra/NtHnX5M9MZDIZN8kMeXn0rvDuqa9wi+13tUAN9C/wk2MTY7fBdz
itS8mRSHpgWKm51dEDevCZgvgoS9u2UD+0feWS3ILad5ijHNv5s60kcrRN+lNKW4Mf89LvvRNk9b
an8ECblZ825OgPDVNHjOwPueMBsaq2DEJjsW3h/FARdhUSbvErEtkmbbjrF45gzehQ7SuRIAzU7g
TIlcFHuxV+crd/SCZ2hqVO2onq00UWKJCxyxVYKUVqq8SYcUo94xpW9Rw9MML3ly0dFPkSr3RsJk
Mes7bxMFADpzkyTkbWbrDZ5hYv1WEVSyDNPKdgyU5rRsiC3b1KyMnz2ZZb6TkJkhIqPZ231r7HOv
se/VeCr9eLa1lyz/xzz80xjRXkEZ/taCBtsqSHeObZC5D3FlYz4d9PCPgxJ5oKn7guYn3A0QIQ9R
XxRPiOui3/dwxfSsJnH2PFDtpxfSp3vAhfqtceTb8p8Ql/2tmqVL0hsZX3HvTCdZuwoT1PlmSjbG
VnjikMmh9WtHGL4Wx9oWKnL+UCtZ8RDXkL7cqrgzTcKxYA7Vj2XU1o9aoG5VvJB3yy5KhfKktv33
ck9p64m+SQcE3ob9pNDZhlFKdHGK9XOjJU6GoXjqGL8zcNBWRgJlC7XZMhzrQ+rv4BRilEu5dUcY
wGMQhdpTUA2fk0LHPk9D6972DOXchQVLt9gsPkXbXsOBxXyltvYa6zCKU51Q08jU0k+vJ5e0zMS7
xNE/d/2nnULswFusDeSyJ+908jrIAaQQ9roXP+q1Xe5TFsn7WGmAH2sOc0VYFqsgsOI/Ra2e4tH5
bsdUIZIkgDehqOss0qw9QRqn1nLaJ5b1mOlZ8gHscx8pyZRPsVq0x8IdiIuY78pSL58CO9tC72G+
nxlXkWbBkxnA9vcMRD7U7r2nIFBZCQ9M1WxN+zInq/QrpFD7xB0/aZ0aV8Uyvht8J2uymUDA8NVe
KznRXiPbrzU873n+lY2W2NvUKd/aofvOYqLXgrB7xhJDG1lY/QHe6WYsKtwFiBjvYYL4GUX1Nb/O
U19OxX05r0+GZE4En+8u+xxiSe8ju3guOQOPqEWK+2WXLZxwz8/OMD8/498LBiA69kDI+PLyZT9a
fA7okNGtbeiOrZZHQhltnYoWy/J6mqSk1RWkh3VNrx6XjQrx9DjOm393l1uSQG7m8v+3hz05B3Hp
w3Z5crU8eXmb5RXLzmVjCudz6pr8JFCYqmQHnmNwKuR3aEOy7pLA2ihVrd0vG2/M6kPNLH1FWhsI
X7vcKF2T3U8abVvqU+YxVIfxSNYNrmhkag8Op1ivD8YdIDM6NWmgvVeV7fiWquicnmHum2nibkfD
9KDO2+2z4ZHyYQ1N5pdW6bDIFWjMQl0lMiV254Zzdlk2Q6j959ZyV6tBmcPNmc2x8Qnd/H82VcfP
slruD5kdnRxyZg/xUHw0RQJDcxDFTRjYxGkYL3ecYGSPiRujja323L+VwzTsp7owHvFhGXeBUyFW
cPXHZePCI8R5nA+bySbRo3TMcUs2JfkWAQxX262re8cYM1ILcDiPZNd+TjLDmBa2z22plIehcbAH
zvs1+GJ1/plOIMSIIEoPad+az05hAdaavJfEzPe2J2jOVKl6F8BRR5dpIFSqNP01rElaaGr7j5fy
X7vCUMDqwL1UIU3tMWp4j56JYH15yvxGbdx7b5VLx7ziIk3zk0rwmHbVRQHCM/sm6rcxy6/MRsIf
JxzvlKqP36APE0tsGckltsEpOaqpbToD3lXlGq/LU+Hr7pveCz/AYedrdEHDtXUYbhk+xi0RcTpr
ncZlfco8ICdbJwo5WTfCxdyTxE6Ku9sp723kVfcDXLNTQd1k9CjbYevlAaFTjmiQQCzPWJ4btv0e
/JTDHPKjTCPjjPveJldKVjjW5pvgbeRmHGgBUTs4qY0H7iI3VD8OkWaTAwgec9kZFXaXr5ebfP/N
mWCE+bkWXql17qaKTyEUnGYg5zyJ6lp72XfFIvMropXCYl7/toQ8uNBQ8PDg0JdRbOLgy8mBU6mv
5/1nG9VTtOpA5gIiyF66RpyoNSpYMMBrL5tpvrvsY9m26zVKOiRxeB2iGOe/n/f7Mt16DnFi7Qn9
6Fjnu5Th0i5EmtMgyl02oR2T8GSxmchtgnVq0V2g1Vek01s4xcluaIz4rKhULh+WB/re1dam6BQM
bjwvt+RzzpV+h1+HYlYFhhWNojNec1z3JHYWXPwDGe3kptA74852nnuu5fekaCj3Mi6Ve1EOu8RS
hsu//aKYGRhz+Ps4NbtqTAj86eoHXY3Eg/uERmXampZKy0yvjMtUon80nEL7QlfDgqRqPhzLpr/u
9tYR4VX54PYNeXfzM5xMcp7F7rMgG2OXRMN9PprWusdZ+9zZGiLpuvlKCKdikVeQgxUVBAbaHOvL
A3D/FHrOOqnO5KZiP+80d6carefnZVztNYCoqx6p5gsjFB0joc1mqLJde7jKH8wK22yp2FtPxtoN
tYvYBmVEuPjsJRxMmR6JP1GwrPGoEeMa1esP1vZPeSOLt7wbrV2fIThEr5O/4V7D7RV57bWxK/1O
k62+KsohfohYx2wp6dE9kGoPG4PDjeU3c+o6rbYNrcEdS5OIDqPWrge0p08tGh8yXobqRdjYLDEg
Wiw6m/EsRot0yFz56zYW3e2k/A4jIVdq2dRnIq8R0RdxuonbpL93mKRsWeOgEFaEQkFYNJd4MBnu
FBpWdKgN5jGMnRx5x9TFplHzu10nYjEpb7jNTRk6ipuAiT6jabzEkeGFK7ThyH1iooeQCPQyntCl
1QLnJaWSSK1qLBqgexIpbgq5pyfSz3uKfJ36oafapa477ab1sc13Stts2d8mwwnjY+43gTqHyGQ7
t7aNe4gYzQ15oLsKyowwOLtvbs7UyC3ejmZjsnKgSNgNawYqb6MwUd61nTm9ulTsVmANu5nqmAFd
8xUvU1/1WhIAFHY1CoaAgHCHzlvuWTvo1c4HVuOJaqpa33s6ncasBCKgGSmB9YJ6CooeP1eT4ktV
5En0wfSSdo25m5qGmasp2hfmD+flCaRvxH6LsPmOpL/4QmMr4s9T86+UxhYaOXGm0NkzcDrVVpuy
5pDFSbFHd8DsR2/fg4JitRamxcnhIxjh9NAIbSQHxLGvpeqt/+3C/cNxYBewfXnCsj8JCXJARMO6
kF3LxqkHbeWimPGbgX5NxM+KzEpJ0zOSvrt+zKKHdt7A3rDucu3j356ksMMH0i/WDlKb67LfduLo
VOuCoKHYaLfhJLtXDUUraX52d0aA3r1W9VwdaswbjWjnPqs5RebdDS7sg+FWcr28KPFEjyxA5ofl
RTRNX0Q71fd9ZctnozZXsV24BLAkI84D0jrgnbFaARSDL5TUej9MJFaIeVWDXPHHcpiMVhhZtwyr
w8fY3peDbX0iu+cQTinXYpwZH4UV/l329xEBeO6kRg9xKuJzicxpXc8vKCvFRw1tvGH9indBolV7
xevKFw6io+VW1icBxfjqaoNgq4hJDUtB6xlEksCJFYeXJvLM586DeKTDMb5YkG2fqSz81Sqh/T4o
uxk2Wmwq0g/fnHaOQBJpvGvmu+i4brYWk7UlrHgLSwRAmhcNG69u9mEB/cRWW/zj436OgsOIXX30
DrQvqTUIW4uIhbuW/clgfMz+cycRmwHKTiSSL9EbRN61tLgaSsY6FtL5srtutPHLDJp6VRmTCost
2SQWuT90/y+TiHJylbYhi7NTG7Lwx05CTa9CrJVGjt+azWWsG32v0w+DMmpOaxUXccAxup8cqzt0
HdV9s/QwUSkngk4igoC41xklIawE+q4D9OvXkPDKq8pA4BvemGxmgtqxm3L3ccbw6ClzCj1u15mp
EaEsNfAyIn9nkGU9jaacdKabzCOPUzMpzq4Y3gjJQZKAQr8JTDpK6fAUNs3GaccvpsKWPtJh0oMr
tk+5Ij6FEAcSXj3LgIyjiK1VlB+unUzbjmKPHyvOueIS+aql4UMYKck2GqmSz2yLD8vuMI9gGtPc
ID/mxJ10dmivHT1RniFXnOI+0z/1Fkus3RN5ZQXhxWrDjGaQeHRidIm1Ge2MLM53Wa3fnHx4hNjo
m030bCfDxVTECdnBOR7rmxIpfpYFX5Ot/sXViY9fnU7BpH5hzLg4dSovHvKvzOard7W03s/dbAsh
z6nSVdgscXFQVFg0Y2Du+1YizesQaAiVn7wpkGu5SUI7u6cywccFvyH2JUnGkBxoLanQcle1a5AR
PFTrEfEpdtIg8wsFBWWhkI+IIGzE3UHjL4fcIEJSBWbPdoospMb2rXsj1AxstCS6RifXIvFBVSjF
gJ4k31Uh28MYUmrfzARhDxk7tcJrgiRkYrAOm9WIVOpY2NYaS6BN+1XCkRfWOtIKcqLahiwBMAPr
dOx/Kq8fLyyW/5DVddAbq9v1cHQkw58fR6a6ia3+lkAbfCbe4pY/BvQBjoHCkOGowBeGpiCurHa7
HeW9V7p4+iV0KBokfBhYhNkOzcO0q3Sqndl6DDHeOIkBEi01bgWax1XCCQm2frJWuqvS5jOm5FCC
4FhFn21hk/M4MunR1UDbWOWfPm+VVWjExP6MOeoWQVyCa6N446wA5rypTOx1di7RUOqub3T9mUWT
66tFNPLOw8HLgFFQPwXK8BjlBiKq0Epo0LI21/qpOOp98mh4OA/UYDwMedisZUgfCSzXmrGm7SL6
Cap6ViOy9lC8wshA/Ica5kgk7s3Vswgipz7tKIA/pXni7UKjZcRKO90HAv+XyVZO5lr3I+aPjFJ9
bUQpqTCVHw20Cu3Ie6vL5K9pKXs1Sl5wnabMN+m0yVjZ0u20kd2V7ibLnhwtoI2m5jdXLaN9VGI7
00mSlA4p3b0UW7dMXo0y/aKug9S4SyiPbdI4vNL/Y7X6J5TlqUYGlmupvjFVwrCzqT93/TobgY0a
4G5xxxASnIEsiD3xwljXrGrHzgnR7A+qDA6wpVdRpOyaJv5Rpx7FSNc/q/2krKgyEuXjDerWc/SK
9OzhJFj9+1Pq+PSc460ryQLO0+ZK52Y9KNGTp4WYT0vj4imEevWN+s7AzhVMvx/H3oXyhRxD2igF
haTVmLThCuL31aRsbnYEi4HKp9DLBYmc6kQlLsn8aliq+JlonuM48cMhHVAeZJFfU2TjQn+aWknu
Tqjpvj6S453Kh/lDjln8aQcXYJfniNxCbeorJtt6vi/a8UPTzXGHD/EsIfRz0U5SjIM5BkEdcKpp
xToMsHNSC9Ru1Wrqbcr8Mcq/Ohcr+iKNHyg2B3gSBKuo5Wp1VN3+teqn76CdmNNK2MtY8uze++tq
KrA1DWpGqAck75icpA5Hdzppn1xYUQLqZnRQwiHfdaV20rOsIksH5gBh1uXFMa+9Re7g3ij4O8bI
uzVFf7YxhKM9zJ+aa2YCEizosutuVs2Viz8lAb6r1IYK13ENZtE3TxcOgKD2BmpbDFKbDOZWWItP
10FMPDQmvKk8wzYSiU+JgOoWG83VcsnYKcaH2pEXcqHoAZXk1wyEQTFqhD6Kfk4qM91LraD930Uv
Zs+Vhdp+slJi59FWy+9B8c59pCKAyl5tT993Ta2u8hJHB1rqKMCbIPMU4IsSYAYOVtJ4N4AKAhwE
HibGGhmEidDFsMl5K+0fZSpJxotpH+EU9tM+OJVNNqwxnL0riCT0Jj1E6Qhyqz3b2KCHjreSvbvG
uHKgaHjOJnE30S5u6O+aTXs/UhX0Qbn4VFfWsZ1GKxkqmNhggkYYt7PwPDjFJUqHB9tsukfOuY5+
nAo+XXxDukx2HEAkQ0a+iMenBKEG4lo1ZnFusyvKw7VpG0dnmrhuw3stlYAIwBzOG0kX27oEwqoB
Jai9AMtiraJgq75RYVAP9dBdjrXcxX177YX1Qkp3skIRzEkKdtyYZQ9N8Ml0++TaO8SQ/DCPELT8
qBqPgT5psCpw/Q4dlGX0ni1JiZTkRl/Pk1vbmsiNCtYqplJ+9XqN79SOblHVnYIE+otHNBepfxLY
Tpjel3NbSPY/jlAulVJ+atNjWJp3FkYIK+73ItZ3ihXeV9XnpNcXkGM/lhR3ahd9Zqh4s86LtnUK
9Dj8QQTv4dYo57y34EWhRIaY+cCf1iPtrSDrFqdK49oLHCLcIc2Pi7U6AtBRDOTI9cham98BjUiH
s2VUIgfoHUoOL0ToTAiNWE0G+vWsr5Z8Yr4+YhIo/yBBsoYcoziVjlgdJtwy7WYiw5e6g6qTskf+
XIVtS1WJeU6nH7AVoFlslYRTLzFBFQDUVar3LmVq7ynyrzSztUMYpq+6auV7pIyVJcIL6kobKaiA
UFM7gGddS+Zk+9qhm5RxlTdd5aueOtRsXn5ORYhWmrJPlnTrnFrwCeIbE/lOjL4JaenOVvNq7eWt
9xqYgljAqv6b9uXKaov249dY2jrjPa2aCE9x5o8DMcj8hHu+C2UO6hSHyUVsowioZmR3MXcSQq5t
LL44XllmdtCMQtelfzS7VfKeRXlsokhTTNd5Dudbua6ox8XLIhTjI9b0nW2bxt8pb/Y6AqhP5lir
qC5oNqoB+tpROSnJYL/3OnohKrAjv2b2o8++JaPEypkLjj2ld7/y2Kjg+VEyJ/iKAbG/jFJXD3UN
t0JP8/tl04edr2uP/0FISKu9a+xgPMpxUtbV4NR7DcXKS+gCbIKf/Fl0HUTKZ68OSdkZLedr+JuE
ifgTKB5tZLB8H9IM3kbNNdaJYWMlm2laXSgef82feixRGqZwpVMigPlU8NIWN8FvyBDshvzsKflL
MvXjR2JZl1+Ab9WN1dnS8m5nDhSLTXsaLuAli21dFS6HjSLuFVDBFzGzPoU6bFC4jG8u1+hVhiMB
DGmfeOscxN/Orhyw1TXVY01r7W9pssjzuhe3dJjMgIT6t6m6h4nceEZwpzjlNty4bnyP6DbNvX2M
dHJQ+SnHlHjQxSLhIuVUlPzUKjq9w4UGIRuwPiMl6yawtnFbj+85k0+XeLrPsAHe2tGZXMt2Ch+I
aEMgo7TKBdDbpzcvZgfSxV+xPTF4ACjDFhrfCVmlZxZS+raW3p/FWGuK7wHvolKz3gM8Op5pCdu3
oZ1sLuEQ+Yu+tm4IkuotWY4WoyLC+sSJzZU7I8stHeWVpYr16JI944OXs+8NCyQNcPF6y7wOSFJd
OJeqGW7klIjnypre+jAf74dywiVCil9sjPULTggomS6F2T6ejmpQyZNh9coqw7PShDZQyxmCkKne
xcrnkEcX/GqT0flAlXZok/wx5cOclydV6ElX+KLWxcycMYWrH6XabVVHXquZJsR0QkUYb9e7cUyQ
oHKclpbj3NdRoj60JpBqvzOQHS7pIEOJjqgzPboRgAYmlDHbAfrDXq3SEbcInkFCPxm6VQR7gOw/
6hxj769tDvTQigxu3Dzz39HFg0XyUwRVr6/6C9jil1olZzu3ahJNXIzXC2c26PUPLLbtvebJCjos
2An7AopTPYPfpPuUtPy3FqtMgoAe4TRbGBgq1e+DJvqaam3n0Ni0gseFK1ZHsfGEsY/JPCc+hSU6
AdTjDL1eh0kX4/jlL2Qxk3NRieZD728xUd+p+JPNQpm+Q/VxTMyXvG36L9r5L0pnvuHNqx7BLdg+
1IKMdqsJfi1P5QDpyFX3TSn7B53yVVJ37SYtBFKr5RhIQxN5pYLkJs+G5i6g+b+Y0bzgJzdkdvv1
U3Y/1C+Id2LtXs6gtLbk6hbm0SFrbOUS2rM6UbQu5FaCYlQ3eVw2tIGjQ6s5PxlMeLVX+qextnXA
yrKhLBYX1wLJHLOT5tiNjnyfIs9Ga5mVGFEVoKuL8VaknnIxQ+sTsVywAhqire3mr16MLhIKSyKi
UNNN2ytnp3Ssc+sEJHgRb82vsu+JCbj9fhFhL0ycTrn1JDJmE/Q8450iJn9s8I0ufHSU+O9LortJ
HMvmF55VIa+GVyhojowOwMWk5zvFhhoeJTwjGhvj06TRHDVYHZ8SF76H0xmv5BaIfTN5G7UfRoA6
kC+CktaHbn8KadKHmzN+ymqi3FZMEETJe8uDRD6MTR/xq7dvuW0Pj8ghohVTl/HFII+kljOc087H
LYYCcQMSZByx7l2hT7m3QcY9BF6XLHZUUJsgDj0Kqyq8o5mKsZBvuwJLDAlxoIZiTD2t3Sn7aCy0
8+/oMGJIDIrcXNWp0ZBTN8DbrqlurhydCEl1uTnYTk8VvSQgZz5ZIVhS5frQSqXb6Z7j5+EQ7vOw
JV5O2QN48e4lMRg+XhuxzbM/U1q6LDITe9iFLcfABCQTTrT9KUkV9T2r0q+1i16nh7i5KfveflFa
67ErYLVGHGEtEVWPLpdN3LJXr/Nmcx06gOWrhJzX4r1nCFa1OKNJXFRP/Sxtc9GZK5FJrnxRa/uR
WanfYjK/lmXw+osODoVIH/HYJihSYViOWWqu+eCq78xBSs0U23tdyyFt9ZMEotpDSlKLZiuMvYoT
qfA7d0w3BUzdX9udCw/MGMroQalHG0yES8m9dTCYCsgRKkRHymH00uCa6arpvE0ayr06+uqpR/qu
22GxysYDTfXwpVMHJN+ZL6dAeQW5ZuJGxWRNVQlqLBSWm9SYDEaiQ2EdpQz6DC8hhRdYwCb19eXk
t+l97Wb//hV1BRL/N5wUz4mr7Vz4mEdrsAeyIPt6b9aMm8HYtje4i9pGSRK5Del8pvj+wUuHMQKk
Sis4LrK4JkPFKDZtOODvdmtCpZTAeul0BhPoD9gBlkHWDc2bcXA5jvYL0fvfBpyNtVMT+zNKULbn
hhH5LFviLfgAaJ3k6ojfkLT/LSPtv/OezP8j8MYigQsUg2raSCScJQ/qv+JhoiFB0ZtZ7dqutrqc
vjtd49fvbDQxkFS2okiUV6uhQSQ8ROFRZSevbXJQ9DJ6yZBiaeN4Mg0qAky55Xiq52IF87FmHZwX
nX3blvqv4r6bZfdG0TBohfms3FNcXKE1WhkklDSmg+ASyaZ5DaerpjjyJVVt/S4w8P6Muv0SkjGE
Wf2iTsbdaBTRU6tn79FQf00Czb+0iRv0qDY+p44VXtpy9//OG9C1//k1kTBqUnEwTHf+p/3PFB2P
8zMddUfxrcCTx1GhMDXiSFlM/irm2BOygG8GUpwLw6jgXCknDBsa5cxIrwEwJdXeU6lXCY94HWQ+
Gmx9VEgQiaAv9EH16abVTjVv7ZwrtWwMiypepdvKIamS+GmEXnyux/H93zPUIhhWnVaFx54wEyYp
3TntPP3sOFxK6sCUH0Oghitbl48jKoyrZwabSaTqVclJR2myiUwC62ehYAWpbu6rQE4bcIblu+aI
l0obMesaRn6n1yRxDfN+N3Dy9QTU+Vgq9dFIZqH2o4izjNKQWl65qG7dTuu2tjroNLswuDkBNTqp
Q6mfN6k5KDgm222cNt3cOVyHVnySRUdQARfALboleezTWWBLj9AvaxF+ekpHun2pfLvD9A0HuXq2
PAkDx2pjQo3V/Kphh1qr8GTeUz08ACYMvkXfvlpD1L+EMWyMdHJI2R2ybZBZ+r2kQdhi2jhicYqv
oRpihBrKa+vGdwjUNsIMix8s/h8t6MbGtL09CF8U4TPpLSLSpg2ZrnZ1zgJktMUPLhnLtAqMO+q0
dxyU+sYM2emI+6rnyU9hkk2uDq+o0hq1E58Bw9mGdNn64NkY4iF+8SEC8dm6QQwb5SmPRQaaS01P
Jv6s382yz/YicARYV6903h9/Bf1GlaDV0vifCSHR7Sx+ET2S5NC040vnBeLk0KrgAkVGSBdlzK/a
sPkejFtjUQdGSfzdD6yxPMt9aQfVXstaz6jq1xFL7kTbEdvQPkyQT3xqJHQ3cqy6LXjurhupOhDz
CkFysl4HR6BFD8av1EsIasha8aCYIWShybX3nhYXp7ggHrRVFHoqmbUfTLW7/S/mzmS5bmTLsv9S
40QUHJ0Dg5pcALflZd+InMBIkUTf9/j6WlC8SpP0FJJlmpVZDl68sKCo2wBw93PO3msvmnwkubl/
myQ9hlrJrZs5rtXj1CuoF4leW4/5jQf+gNs5NUGJBXTal6i7TBf4UFOpi705DTFGMHZ0uBrmrV7q
nWstpQHtulboA4UEXvSSLmOb9XeGRr8OsIdHE2O4wl2l7av2Y4QufMKwHJ2q9R8KfBG+mfVfVUPn
X7/9HOJ+dNKd8fPbmvKvlMgf0hC//lM85f0vgyd/SKrcfZRruGP7czrlD3/oH2Mu/0dmWJI097//
X2rkLzIs42X5aH5KseRX/k6xFOpfhgNtyIH5pOHMWvezv1Mszb8cUxqm42gWqYWatv7kXymWhvzL
hqCGWlHwS5qhkQHYlt8CLQ3zL1szLTIvTc3USXzT/iuBlpoh/j2XRrdUiJK8NWHz9/2US0OrMqxF
rCGPHjDwgUHEVQq73Vz4twyt4aK8dR3+TDzpggyigUBlA/TREpDrNKiXsXEPi2q5xPbJ5KBgYk32
hrZxrPEstVsqR1LoCmhwppB+vQqLU9V+t5PpcZE0FQ32CQDy+6n8GhFo4ReD3hMnon1ph6U8NFW/
G5OSnukEgqdFxLrLVGwKajYWm95GxKM1lrMzbAQJIu/3ptEv5z5EZ2vaqWdmhtwRjLQj1wq4Wjmb
hMYppo/kfqVaaTW9oZHTyipbCcz9Iui02/W8r8kAOrV1vuuzGPW+SLeDkioevvreLWs4EiPD042g
wi6GdjjWbWJvCuLA0DJg58bG7kVR2GxOmpZ2bpx0/RZu/JtmOVdjGHBatsgkxh9+OwXaR0X2D2mc
vQn24763cg0IPPKxCoOwNlkdDY3kYzAG0kKAo8XGs5JeCKsDV9lKdaN1cIUsK74bKa/8ahjpBYSL
Kzs6pZGWU9Qo6VtfVwLb1vgFPW21a5jz2CEsAadtUAGAJl0wLblmk23rvn0EQ/Qchfq8sfjS25q6
CEuRN48sn10VH9WICJeSkeiUJo1P0GHhDt1ymCD3YevfIG6TUMNfY3RBJ4IR7sJaC7wpdc6q5IAF
PUN1rTbxRpEVW0vBORU1Fax/e3zoG5vdpAo4la3m5wWvgTWm6G4Ny9VMzuuluVylGjY9qzxxyJ/p
G1u2P0dvRpPPfioMaCYZOryIMIJE2zq57sfwpnKBDJjQS30bVXq2wcz/EBA8sM/ykQsei8uu6+6b
NtZ85IhbZNuzH36pTdPErtcegAzZW7shxLQuyju7nV7snFBPJxogU2gIfBixbsJZDZluoQJRaJPR
KTmpGioZmlzmbpiMaVfLkH5q7pyqCUdhFsyXuhrtayNYO/DkcKSTlkCQsJnxjoSyD+NT1UvSDQKT
iE/kw9Q9K0+n1e6EXsG7r7A8R9ZWJIbpk5HAO6BEQK9PvyNLqUYhpXrofAK85MNTPOuZG0uHg7wR
XrbmF2lMdwt57ECrnIc0z6YbM5RfcyZZXR9RdhmaG+kAROpOY4KjFw2ZA+DjUNYuDPj1G1WJXmrl
RsPf4jOxeNSGPLiI1fGO1Cr2QJgR0dKNNOyt1X7W7c1uQFHdwsyxvqhZ0brD6CCMIWreI3hjdu2h
s/fjYVrGmNpSnFZemovpOKLUKouzJo29yNMthYDhk+6LRy8Kcc1V801e4FdB9bwJTA0OR3OrcOcg
EGAEMoGzsswAx1NtcXBgFFAiOAoQEgCVqZ+HBSN42g57o6tuZNJ+THlX+GE96RcV+vgtAgnmq0Zk
E27CpWxmsOBGcc2d1vGZwxN6zfKc2cS3E2FDaq/XAxx3CxNdsgUsLRA7XbfDbVM4hif09wrGJ5cz
Kk9ta3EoUBiV1RlrSBeicJ3orkAfbZBpjURr2PTpJhm8QazznAHOqLMWecx5oW7C2hfLpRkkBLUy
tMJLgUQDUAScR0q6qVan1wo8qWbXoSs1MtmIiuHyATRjZrJBpek3DfZxe212LLFeAZPon/Kkeov4
lUMUtCgAryKE5zz2sCssk5mQSnZsJLqXMrQg9XcCNSvYvsgZWGBtEsTIfIrm5tZsabAW2OnreCoY
8yR7tdce6/RIFDL4HxuxN7OzwHfmqd1a02xvek3dTFZi+iKf4XWsa8PIZROdluxlr79L+EKsf7WX
24svgzE6cocxuS18IOUmAXMZmIOpfDL6gFxeiRmOXpaoJ5LEw20q+TCN4zS72BbAhfJiy5Bz3IAq
ZoLA8B3eMLMZqKKR81GB59hNgqGqJpdXR5WDn+FVtfNo8BWopptmmJ4KiFEoOjyCCbBBxhAMpIyv
Bku5lpAWXRh1TJ67/miNccyXH8dbztaBbwiqeqUbdibbY5BVJ5P/4HAz+HNrMNltAJlwSPZ1/nNp
rmMYpUZnEjss40lwzBQC1FVgE9jwEK0naDTVQYPDRYxHhIJ+jbBBzS47z7EyVzebxke7J10lbyjL
W/rZuez9KKxI+pOoEZPacp6t+uuszMc5HM45cNrboBhfGkWabqX3DMAbvbtLyxW/6tgX5uJsHH6G
gqY9GktQ7IJ5Z2sSDUiAXGCqCN5M2u6LbU4HlkVSmEGsQIRWbgcxvq/Pu8bmwnBzcAOd7EnylD0l
psibhHGf2222haZ8ljC5PWN2DHDlTDZDwtkQ0oINaoXcBKX+WOKTRTyK0zgUYwIhEOpoq9uEwnpA
qc9Dvsb51WiMe7QGiFVmgWmWp7mcVVdLbU9L0OhQZQxfdHxlskE1K5+0ZqE9naCGaqrGrRvdvpwF
lq1p/WCt6rjG3BcHZcGznhXm69KM28Ioll00qhShOeN9C+WQPcLyyMA4Cdgbtq3t1Dj0MKYPm1gb
H/Fya8dZm9KNrTUf6NrpYqKFDWLzM2m6G1PO+2/5cBXC6fUHpdktnjBotHWTnmOIhG/usEmhme4r
jz/6liQUvuWi7NFc0rOzw5NKCtpGrEopxuQ3E0RAD2+JQ8QGWSFK0d/PBoh2dVHqrZxRX0nu1346
dlUenDVOZLbA1J2OobXrnRyN54h5FSw2NgAYoSXtQAYFd3M4PQ98XWTH+PpsoK6xygteGc77qHHx
AhrO0wjdTIs4E6UdHH/5OrL2eDqnA+YLMlOOuT02/mKrD+0ge7cbY2zRWk+HqszY9yzdtZIx2uWZ
uF5otyuEvAmjJqFJDK5daWc7t8krikzoaie9tW3YNA4wKFkGLFE4GGk67/slopG/bpB55/gxK1OS
E7HixK9CWcA0R0mE8mpv5upbZgcTLhP24awpOSHIV7OgfT1Wab7u/8DK1ekIpPbC0qZpD6odmcpc
H/Qx52mO3UHqW02r4CeNAI3zcBLukituUkzT2VLKi1rZLwOxIUFlgVBeJv7mgfVeGuz0dk6Div4K
8PewYsh1wStf8yyyxFYMtDlaGTjCp12bd7CrWlA5GPg2GTpqJkeSQL8uvm0y9X4YlLc+MEZyddGi
zjmZyGbBaNYY2mvcMQ4LnsWXX38mvbRvZUUHE+O85hUIAg1K7BvOeGglmAsBMeRRivCnpxc4NqJD
XJYcxfXxPYqX60wKEg5BRM2T/YRtq9ipBXjWarxDkomKqiR+McyejGopnmJluDOKnR6RU8BTSprH
UR1m8rAsEtRE91WYBP/J/Ajg8Lm2YX0Mie4RYHsJCAhHtK2wgVv64KeFvgnhdZH+U6Pl19FYacx/
LXqYO2kdS6BRIHHBHhalN1r8FloI6BiFvq+ymEE/W6URvFgGWBsBadqj9PFnFYRjOoGAqyMtARXV
6+6IF88dIGOk1pyebKS5nNvMg0rPA/oIV5QZUEXPZMdhNN+VBUHmYWC/tiXxo0KoxGIJwAylMIxt
ZTol6qUwujBiujFhPlp7a0GhIfHPmw48i4WV9bauzNuWxgPcZb4hawBazwwmPOvjQtMFT5xCUkd+
qGrgCMa8BgaXAH/M8SYSEAEyKU9T1bHJ5irM6WXek2LxFTg5d2TxxbaUDwcZGtzuiqWofBVDDcej
La5aNaP1GcwXdVS8yZoee6I61w1Sl/0y1a82M4StMEwkbv1Mx0VJSSuGo7+oPk3v5VjHyh5Z9XHJ
CTira7IYOJXcCIdE3BRGDB0F9qWxZidMLmkX3g0kxBoyMrFgCSqv0ZyPC0dwlJi0kuhVb6o+DPfs
aLE03tdysW8AbhoeUOjxxpC5SpHUU9GIAHmYADdaIUOkvfdeF0p2aYk1rB7yR7fIU5LF0htjRLnx
CJ4h0sAarXwIuPqqbw/krTGa3JDxwipMHju2EBJm5EWotp4MgUnMQOf4fSDJaLg3/ZheNyXjWIeo
wwgujRuICeFCtjw03EbhoKIdUtVHPCCZFwCRi0c2p56imbkRCSkLIiBHDkdgay6wXAIhs+ClYSDC
DA/mqzm8zYiltgoKRWssBso/cgiwJnIiyPh7hoDbnl4iI09AR8MS0XKEBdYOLq7gT3pqup2c9IF8
VFmXnGPsbtMNxYCc0ISzBhQsCinrYknywTy3JApBM+Mkd5y/MPxHoxTT6M/k9NSrIwKcGy1j2WsM
T50cB/SEUlE3e7EI5UYvxZrxitMVhcQh0LuTKVXeBd+62ffBttdiYjEKq7kAvwnZmF8bAWsN7DNu
teoyEpP7QluC59oA/9z1Fg0DFoq+bnraB6zi5N1BZYsOEyN32qC3tho9xXjpAajKbdWAJCunDu0Y
aGaKSYyHkAimVeGaHC2b3vSg2F8nBe5KN2bLZim4E6rsHSb8gD+hhrvWdIe54UZvMpsoCXFi534I
sWptBnbUoaGXP9EJZBqEhSLly4FnwuAGeR2WQOxeJQlD9PpCNs8m/do2UYId9zCbcOdhaWvdFTkc
qVJsaIVMO3NFpeqKgoYxXPCtZMmpb4yrsoaXZ8fqlybv75sYg7iIJGeq3vpUbJYSBzGnjz/tC3MX
ZJylurXM6Thm4TUpsmuX82wVTuT1NbKCAUkzengnm5N9Nao6t/Qp07P2RI/+Jc1vW+cD0WTUtOPB
antWvJhKAwYSoMpyeU/AhR8y8gBRYHYQvgwT3Fg/HHr1wRn0d7S7n8xSdxpkItRz6aeRzvou0dme
I6TgLUcjVoPJrZrxwqZvDj5n2TqIH1RlAgVnOUgnnHu+7gWdHcJDYdetN0iselo8+WWQgOeddOCI
S3Jly4lRSng74hRyzO6sYR8sBuV9NsSzrtj3vbmgAGvEGonDSL2dg2MTh0y3uq+zmr86GopXHqWk
EzzZ1Qtc7OtSJPHODr2ajnlZKV4VKVutbU5zT9yMpUA6jp1PKukYmlVouUUQk90EM83oqzuey09c
dNFGjYfBU2wQ8gDroRyS7B7E9DpV6yt4LxQM6VPWcIWHWb9EwbwtQq3eKs16NmWz1s2lg/2JfD+Y
v7Z58lKDkbNL6x7lQUAFqh3g2xw4J1bbYWyYldCzhq4OFYpQcn+5bCs+awpE3AdLdBXN2T6LWYKZ
i64AzQgz2xgBJ3aHDIMGGscHx44Jq4mh5ek53rLIifxpHN6tcEHjBo+Qc9CL3uroXLUaZTCsyDk0
t03bo8sRquInykXdW9YF/bCSliM/FQ+DUr80hn0ddgUC1aRyEx1TsNZJ0HfAg9piHYBZmrlNja8Z
QGlmp/2FoVrXQ6mW57lgTQidFVm/SYfMuKq1d/IK7idFS7fEJvhWNzOKrshFKFsaLQy2LZaEIhfE
3UX9feur+XJsMqoiPVR8aIBIR+i/GGS1uGGTHEaiz1zNRnRq1/dLlreQ+IdiC0npOrPkC9vuB2Ae
gB8Q49zRDK+qToPPSdyMC3YgILUw2+SHCEX1RHoq/i3lgmMXTDBQNX2oZ1s5tIcphLinuooVCDdR
s8feWC3D/fJKKPtmyHVxQT9qp6D10ivp7EoTr2PmDPhoguqYmgrK5DA5SbPujt1oKGg2c2xh3QuY
9RllyoKQUef6Sx2+5aQh14+C637eGUvV3zWMgFG6Gzn9hBIIWAqWLiVuHrISJ6VAjC4B9BtFM0pK
gvBzYvtnAnMkRPQ2anvYUKikMpvywGiWQ8Se70XpKiECpMWQurmtp+A6EH3gS/z7m9osPxGFiF3y
RkDYcqTtV5IdrqY93H0xFxutLp2LkGWqUJyrfBkunKx/lrMBvE6RrLkSLkJxn9QdYVIs9hKSWJqc
rA4fTZQGq2lJ/0JEWrMZ4WK4bKbSncfxs1PkC2ji20hFzq4xRaLf6tHXEfHylJOGlVaQhQyg6miJ
Mt6SfesE9c5gqHG99oY2zaQzybOnnYCOewYKnHmj2koP4QzicnLVZo2JIWOfQ2XaSNKzGU3ZVPss
dM2mchRIull4nyk40GjBh1DC1bvItulackIP7Dj4Ruig2GzwyiWa2Hc4muPxKdIrkourbEsLfHCf
qfrh1cHQ+HZfiTbFJJPClVR1yw0zvDZyhupDRtVFUZPvRTQBu0tPcqtO1gRT5FOPX+cqTCm2jc4w
sQACUMkXtQQbUFTUdJL0rQD5QiYVhJxaj89W1TR/WBuEmjH6zRjGWzAr2aav/LYKsm2lmsHWmUjZ
KwG9mkF7u1QR3PT4pNVdQY+GxE9BPh0U0NiDP3ct9KFl4SRJ10kgXY0pR52werSD+mseWU8LJI1p
Hs1NG1GjzwQtM0o4S1y3Gy02eNgH4wwnKG7sL7R/GBnUt31QbEQBsbMmvpTeH6nXNNSwOC23sWio
HNfDjn3FWSXmQGdso1G8IHThUFBomJVXBfiCkDQEy4pWWCdI84YK91wsenqPV4hmMMedcdDZLuXn
NDkVHCT7CwluqJGkvjLM4s2ikmIMD7Vp0J8i//OU3ubEqW4XcqwKQSY5w3oUoRcYpbh6Qx6echLO
A5qiVSfKfZfIzxRQHrRouvDAD6jJlKclbLeBSX40ZSqg2uZLvtgvBu7tah4w+daMdZXhue6drebk
cCEht2ygP3ZUh/I4FdYHgtZ+UzWo+wZMFds4fpDVwvmsB7ealLQ6oiMdT2yR5ghgbln5oUt7XETd
+gv78cYwI5hMKp3tcazgt5YjHVtWHoyrk8s5qQI9D8bc0VwlY6A7kZsbwmVIS9l4Y89R5Zsnt594
bwYeLozpdyKEY1xFX0QnL1Z8/8YpjzpwlHLghh3tkzLr8xfV6lBAJu81OLU7VRL10hcjAmG6R2no
WB7XlvZXgpQCCfobDbQee4ZkzwiypL4YDMxmAbhPTy+SdCdH+RhDt0DPzN5ns6QVywuOVQx083gV
1pXmpqJ/tFASs9NOMRsHj7weolHFut+6qtITCBEzERiqxzqrxt2oRY9tknN7I8C9BRf20BYNelc1
kpAGs3Cvxg+VoyO4lQ33hoAINed2uZ1ZEMXKB28cYoVMFCFsXt3J6funBpf0UaEY9LUl2ebWqDzN
8URaRIdlBBjHtlAiLEkYFs4Vuh5s1oMHPi7fywleDaoS+i8KLXQj7DGamRajrvi1LJT9aGQfSwu7
lrujvRoCxcPJ8JKXwqP1BRK+FdsY8myFqW9Xi6A7Z5eC6tNL63a4CYDB+lkYKOcs7BCr85UkaWC7
qT7C5qWNhbpqgc+Y6Y/NMG5nsz63S3CI8vIjRW5HYcZ9Bd+I2LJGqFQure5jeI8PMrkMJCwfpR6t
Y9F0dHpwA2dRDSq1z4wDzg6MVq9SnYyraoxpAb1OZTBu0Su/mYnO0jUo8DHxJrQ1sk7EJ8JtmgkB
q9XuLTjKKRWWQbemEusMScyf9G6UzWiWR1zTOFMS+sKqSi6ozOgxxwh+t5am7Gme1Od+6O5Ad5wH
ycFBxyDl0i9/NMrma1oVhteXpQ79gQZLbUOUrVPOKelUXZKEjOLYSh+DbL7TIayAJaXFaI2sQRgx
JVObm8oYrmRFCCyP48YJSkrMsoAfd13GV4aKPK/SBEewTntIs30zDIE354twzUpyudiDi0hHa18F
z4NCJ14ZgsIth7zGLeMa5CRSbj04sVgFNcY7KtB5oyfoAnodTIKdLF5PWB2L+yHqg3xXJ/q9ls8k
S0/Lky4RodafqV7dRmZ9WeR5ydJohq5I5dtYvSdr4w9INdJTmHlqcSsHi35/cUnS8lRrFxqCDrT2
H4PVbouuZP7TB8+iNAD3SkafeOZxZIz44vXqvneyEUNN37lMsSG90D1xwuERkYKPzeFsPVOAaCpy
G/ujF3QVKJTn4naoza+1VXJYD7aqg9nMmg/SgkEWofIpGuOrnsMqxQfU+TqSebw9+WvcG1+4pcne
5oslQEE3LztV9H48lK+BTYpuU9qXovINR/F43i/7bnnDEedVanJZFqJHlDp+ZguS7tm6npbiurUI
4ahA0m10YjNtJRSXo6RcZjqDtCvaZkMV71OzUa6D9UN2dr/TQclAJXNMVqNqeZTBcRqqFZo0mLSw
mXpPlTofw7R7HqraW5IhOXZwyGZaleeeN7pT8+TAAPEw5zI6G3b7DNkyO0aUGO04O1sFY5vXMRui
so/LLeApotEwVxklIhNULhzjW5PWCN+SSr/s1DR2gQ4tNGj5B5gNVlSajr7Tk20LhF+R7dFKoNEZ
ptEQEFcrdL/uopAwUWEv21qv7xMZ+YCwDULNVYjlRrxiEyqOxlraotGyuPGDHqyGcea4am2SRFd2
i+/EHIgiU4Upb4PDm8lpzfQbIkqwmnAWP9ROfz1aw/MCaaqzEqx+LciQ1S6Lr2/etuZ+IKiHUCJB
SYV5kiQ1rFw2sbGaOTKoDy+NaQG3oyx+pAsmfaaOD1al9Gxg0ReobS/KpA7pgMoegdqKsWo5bdE/
2FelarlqxDbfWrelwAfViU74YcjQ20m6Y6J3D2oUHDlMwWVSSINrJ1shjBl94rBq3kIiA5opSvFO
9yeEDzOLEc/TzNZw4jBIPDEwVS9TdTcZucPTivknpiu5kYn20BP/UpUAQDnAhp6jUUDWE4kFtpZe
hBrAny6d+F2GrjXZMG5pp35OXU0VU6rMr6H8QGsKL52eVX/SlG1p53exiv8MdjVDlkaEvrDsAHW5
+jaZRenrBTNSxvZyz02x1zOFLU8JzoGihUeFhYRT9t6YcwFjaeJsBEsdW1mwafv6kRTDuyju7hcw
ZUCto7f4qc6RjQ66PdCsnRCgq9TcWfpmaAyHZIXc3om0Z7Twh4V1KlARYaxyZCIVySsSymdaqtjC
mnjmIX/XTOeJeQGRCcry0rd26Evd6jdzhcUGNwo+1i0OW2xmg3ljTN1O7zH/al2icDdMfhyH9Qtq
McQaZL4zzhzf5/yzrNMPK5seBJv6YgxkYQSvFeeLJWXUaNV4CYc+2XLcJLl0aG9BY3MbiCQ5MAMC
alG9mkueH/U2/7Cs4Vj2gBa1XiNrQdEB/Kt8GtD4D4E20L5O6MLG9RNtGapcPXzEFfiYmvKegHCW
kFRYm2CaDrJBtqqFCdHbdJ42SFXCg5oobOiN7XVAga8KreOasX0FQn/rbXmE3//hGCvlvzM8JWrt
PQhiWj+IaMkO8Iy13T/zvRVT5mONNjZULZ6TmgmFkKHuF1Nl2LqgyC0VSkuanai9aVEOGrfgYt2b
KTZsfZGJL1Coz5DsVx+Eb0QTc5GaYO5CwYKQJLtyZlyOqYJELGjnwDyQL5fBgWOzvedLfxl0HlEl
EUxnHcaiBkP4kSC4erX06Bp6OqkfEzAg3TR/Kk79VtKx3TQrIhpQpjiPI8aluP/IS+2lDjhbFmvP
1THw9dIZ0+Ee039564vghkbRGdpcvsMNT6+OwX8V0FTTYMgsvZuILN5LNWRA5wRI29MWahZ/OLCS
d5gmk5fL+GsoSVqcRBHSWU42kVpkF9/+wbkru2iHBrbiCokpA8R9sm/aU9JFH1rE/GZpqoRCyUCK
F/cvmhkehJYQ2OQQSxGLDwfQwVYNgN6aPX/QGFYAAqQd2ElMZdWRPjpzss4f8c2TgakdgpeYw/JF
nReMzINXTjOb2R6CU1iar2qvb2Qd3EUEl7LNTZxMwsuKlAsQKd5opo8JYaMk+/TPtSW3y0B/aZgf
e5n3bmaPd4VmJDforD2qn2uwLcvtWJEsnkOPNzIC2jPdvjWGkj1HA+kKPgrWgQzfbMvEl08yNv3X
OvKWekyJUlkGD/uQSmdYXprDEBJrzi+ltADK1IqvtZDu9LC6dR2jXPzYRvLQ1OlJU9InVEXJcaox
/cHQZTgvKcYQDaebxJD0iRoHQkOjxx51934wsxsS4Gh2Wvr72Ft0TPOw33ZjgqL8SIN9OmMs3TDb
Z6GroQrHCNCbnG9t6CmHrBkqAhKIYElhIGO2jHGi16JnUXbMJ+wPbCaGegeYmwk8Z6xDDY0fX/42
MQsiTJgnublm5Rvi3jTaJ+H+FaYxeU/5kzLdlPSLh4BItiif3wOVPhIMFbxTnF36Ov+azMolvK2z
2kS9P4goA7O/XA9FTOasxK28MHPtZ9o7oifdF8AfD3n20qRAl+0y2JL9eVPrRAZXuurnDVne5UAv
hnuUJ1odUfH34WsSQwExtNs61wlwA3hPYxpy8oK9jlSMZo/bd3gy11F+Cl/RUUPBKXhKT3Nd+eFc
X1OefgLMjXcOeakb+ty0qHJCh8slerLbTtuOxXLKp95GTQbDRkOsJSGdF6xpXL/HoYZp3yOywxM2
veU6ReMosxc0cPo+WMoHyJ2wXZqbtO7jXW+ogHPt4hXXK05GMb8udpddJMFMEgJWz5i4ylrpj7GW
tAzBaRi7ylrWA2Xey2F8YaSSbvuO+OTCWcgOq11Vm5aNrBiZRkEfbYIu3ycVnJK4Ux/72f6Yms44
QpzU/NGDu85ngz3l5djEXSM3DmaTROe2XJ4N2AKbHgzwcRiVal8WsYJy995YO8hxcUFEJyqLZl4J
DKwgaV0wKq0B6pcsdA3TsoA2g6Q/vWYJiCh+oUijwWu+EEIQoMywoOvOm1rN0PNEyVXrUHt2g/lp
auKskOC+F012gaGIGs1UTwh1jYSEEihZtufUmVeL7qZ1Bq5vNu/7oEO7tY7R/6M0c9x1DuOlrkaW
oxjOO2wn9sHxjvEuOifrKUptUokGunejUoJa2NZSv0/wuy7hQvd84Gaf1gFq2jwjwnc2/9ED1EwW
i35QaKHimOCmDtSz3OZggjj+JSO9dEUNn3taOObIUMlS4jck+3egRa81m8ANx+ZaYq07yozEQ1ga
bs9UHbeVpOqJSF3TJuhbWXdMi2c1xQT9/0Uq/I8q4B+0wv8kKP4fKBUW6m+lwntScmOEwQXmpvnw
/n/+17c//7dOWJHiL0sT0lZ1xwTlZAs0v38LhZHX/KUy39cMyi/Hws9h/KdSWFP/UqH0W46jOpbF
6d35T6WwsPktYdNBRUBsSVPa/xWl8PryVZnNELTWd8pr6oYpGefaYhUsm5bg59/5bupYtQZCWJmh
Hxt252s24h1nC2aqRJV66lPyBwuLkP/2goii+VSUiIjX5beff/eCZZM26czYyR+2y9Y+an62Lc8o
XRLP9taxvQdIlQgcdriHdv+dgvtfSvfvTUarvvqnD4u2WjcMaD5SNfj/Hz+saKQTw4mBFrJjhDi5
cbpJ97TSPQZ9yDVc8q1nxoUubAhS+1x9Q2ge9QuCrr+fpH+2O/37G5HIfYSuojuzTZP76/tv3aHf
plQFw/ZKe1Tjr7168YdPul62Hy8rVxUduo40ydGtn31CS9pOJUwyzVd33UV/Wbuwx67rL91+vobw
d8Gczx9Pyt66NXZg/m+V7e9f/xe3Fa9vGbpQpZT0xX/6pjnuL3Y+8E1XXwZP5Rov7E97xBZ+/FXx
/vR1CvNXHxcRvrCR0JuG/On7RM6YJUnaM4v35ddlO3nDFTYbj4WV+CuPks8r3D++6I8S+/XRMaXl
qCoXUjIKs3/6jL1BDZTlgpjXL8n1fO6eug1jf1ihO3n4/df5q4/33Ss5P4n5O6UU7TTxSqDwXBqP
ZCe5evC3EeQf78mfLAP/9nmcn5aCRZvNcmx4FWXPuHTT7xhfbdNrbf/fWQOkZLFRcaLZBl/ij7e/
geUwmkMmHq0/eVjQvODAoeaZ49Zm9OjivBQ701NPtv/7r/GXt8l3ryt/+h5nfexrgqY4s9ykl4aL
EOhEDqrXehRpwtW8eIvH9Q+LDov4vz2J0uFBx/bhCB75Hz+rFXUh3jtbo7d6shWUtWrwh4+l/eph
//4l1rfw3ZKqmrVthDBWfWff+6jjfRvcx07ZtG5yF/DpnB18snPgks3nYhrc/3fWVfn9G1jv3+/e
wNSo0MQa3sDojr72mvR0VjbdHWqM9iG6qk4YaA+gUt15L0pXftRXs7EPvX7z+8u73jU/r3nfvwuM
N9+/iyQuxllfv4Z1dRf7dDduja32x0+7/jW/e5l1g/vuw45dokIbkKsJLXxSa7KmOk5cw5x6iqNc
//4jfbs7fvdi9o8vhle+RP/NZ2o8exfv2x1ozp16MDbKjmhqdSO937/gLz6coyNZ4yRporvXfrqS
hZWiy8ZMjofjbEefSkgZJvmf8/H71/nVo/htX9INVcfq8fPiOTejBuOnNnxmZp7coisqz4q7XOYX
RCu72BOulHe9+sMdIn7xMH7/qj8vpFS+yTj1ePOyw/zobHlAPJiCLvMEH+rOFQrfP2z0vzru/PCK
Py2qUTnh1p0qwyeVxUcQ5kcRs5RN/pHuQD5w2LHewPc9Y6j+06X85WflYMdhEbOZ/fMRAJZnid6g
M3xVRyaWGB4a6z/sS7++ig4LOJZtooF+XsiVgdZBbQ9cxbvsEO/FHhnXKTwDjXTXJ36GH7D504K6
3oI/PhLW6qoTgkmhgMPz0y1amiamr4aoAkW+Y8X2NHmemXz9X9LOqzlyLMnSf2Vt39ELLcxm+yEA
hKQmkyleYCmhtcavnw9ZPV1BRBjRVfNQNKOxMjyu8uvX/fg5K/vz8iDoMOibmsUtT2i8nL2yMvRB
16M/1i1/Ur/mx4C9MtjWY7ExCZ/Mb2SmV3bLFaMoRZO34odqqepis8RDrmIVo5Lyi9AOxRC6liPk
+hCGfn98VybxjaU5Uj5zYt6USLDSYgmNrS1ZYwgBwCbmX963ciUM1BVRR5JMMWVyWdbi8ptGUejD
2UztjsjbbNIvwJE3EGDQPGfTUb4yf9LsDhd7QyHinF9cmkjmduGbi6LufID986rRPvI0OGRyXWTz
Th0dwZt62xJdNHaxA2H/cWWo19ZOU01ltgv4ZHnPw8s40IymKC5Vj6N8FDaKo3wcNuaPUtnQErdP
Hvtv1JXu3jd7ZR1J7fC+F5ld9upiwCOt8iE5JJUa5UArEGkdbeub1u59K5euBDz1mZXFLcRBgKEt
wopaPFgzNQob5m9YoO2BJ61o6JK+GEcSC7RW0eroIk72rFY01uTS/fsmriyQKp6ZWAyCLpsyAwek
up5+GuqSFjUkAvTbrH953861TahKMjQSlqGqsiIuHBTbM/XHtJo3fXXgitlOB6Sn9J1oS05tpzvF
QBT3pG7Rcen2f93r66rEDT7vfp71SxdCznRsZBXjkBA4WpEjanT8O+PjSUmCwqRSZC7Hl+ZIbpWj
6tK96z+hbjrcwON3350q0MU7yW4g9N2ML9ZOdDhp7vvWr214GaeiyLBg4FIWG0WR5bDU5vtU6CxI
bmnuVQRal5pqZbcoVw2ZpFoYoiJCuvHWQ9a9Bkd9wEQmUys+cNE1t6lEe66awftS6EFmuEh8k4+j
AJ7s27KbUAwc5X7fxKGg0LlST7uyptEMrgtYOh0ZzKuyJyGf0TEWmjFEUl6k3FIcAGwmVppOT5Uw
GKCtheFooZXzALt+4DkUFmmLbrxKu417deS9BBsMQJ3ej0XYKz24QaegjtG+KHz5lJgFmXgLJI+l
kL5+f+4X7CO8EHmzaXhW7nqSC+bSnWtjYliA3DTifIoirwIViwPpk611Fx6872a4kW+8j/1JW7mM
L5ZiNmvJ0KAZ5sx+snwuWlljUnBBtyQb3T4XoWBRwTOVK1vr8rbCji7iRXGmKp5iYcdUChiawNK6
5q0HZ+UGqgbUb2e+i0e4FoF7jLKraSuTem1w7Gfq9QwNfaPlPhMDFeXkhIZJ3zvVKlXr3yRx8YqD
vWrG1IARzgknfTk2RUGwm2IJczg+h8OxFinjrySdpIt3KPNHYpJRSAoWlldgZ0Rgw3zWSTxK22KL
zMrOOML7a68nX+ZZeXPRY4o9SGDL60GHS+Ht6WzCmsOCWDA8Th91H/wNKuU9xUsZ7o+k3P6NfW/J
mqaKMkk79eJVpGlIa9Jf6vZH9Wigu/WSut5heEKlDtktrBNUhNvEllbi62uLBhCBAHtOmfK2fTtK
dRiT1lJQSDVUsEbqs5KetPrDyuDmUO/NVMJho0uiyNYHFItHf2tEUySNLjOM1OQOMid0zYP6AuzP
1rci7Cl/dR8urM239Fng2YCZ7+KR7R407T7xCkfyeqdvTiuDutiKv83M9Bxcw+JFWrsOfUi0k1Ij
y6xsEbZy6TjFZzzq22IHcfP/0to8xWeD8uOZ2zPDmnikz55HJdCmfX6AKHVX7t+3dS0UIz7698AW
W8IyWpRBkRtA4Peg9ZON9ubKaNYsLI5WXcsSzHdYMGkiDTXql1l1+/4gpNmTXu65P0ex2HPITkxG
3jBhpasfC5tc0BFRQRfNwj0Fvd08gaqDkrtb7VaTgPMMLWwTtKgo1jKPkrjc72PRDlmmRiiC7ny0
0TbSTbQ1nX4bPWmv3rfsdi0iu5LD4fY6M7jY8oFP/0BoYHBOdQSfoSB0Ujvk8R/C3413XEvHXVnA
N/YWN4qkZDRSm9gD8/WJ9ucPDZfryjFes7EIpif06gulxUZDhyVtLZb16/0tMk/KxSpZ5IYVajU6
4fTbI5VkalXXRq6Dtht+hBpULNknALNHRGiklbFcyQr9fjz9jy1lkRbOW/iR2wbOktLt3ZI+Osd3
k28zcOeF5ijXd5CAXXFQ8sUFxg0JnTjOVdQpRi3jWL0AhCIM5Wyzpn3ymHwvd6aD3t4d74YPlvvd
fwlf/JvkK8TsN+o+dOqTcRN9AGS5N1cO/GVYp+iGJKmkp3nkqVw0b+c6KlFeT5BcJawT7eqg2oD5
PEd3BhsB401lSy6dyqe/HslboMokQ6dmwxKLi2SHHLf50E0Ekxolaxrr0O3RhNekKlaeyJc76a2d
hXNuSUyjAjHbERof/cx8OKQlOsNxZiruoMKt/P7OveLcZoN8a5XSrfa7dnt+GwikGMV4jDUXKP/w
yQxsWD7c6D69TWrbvFHv6ZH4ZB3HQ/k87621jIAyH723J2c2b/Ji5yWoKsuUgEpYZAC109wTkK+b
lgqLsNGPwwtdrY5+jA4iaP7NcMgcWo22xV7dlIfpGD/o24GUcvhDI3NHT9omeoSuf+WkXW76t19t
4TXyTlcGpeSr9VG6KyTErlUnpFNOH7W9UP18fx3WjC08CDxUUsvEEdcIlnWshxDyBZoX7cb3ECNB
TeCB4qmycpYu/eKbEaoLVyLCaasLZUp4o0GJgOQ5LZorkzjfjRfraxDG02+pybiOt6e1wbvrdZxr
rgezcl/cCACy/Pbj+5O3ZmQ+VGcRDZwAbSEFGFGVGD4ZoC4GqCdkmt43c+VuZL7OBrNwPV1fdENv
YKdyvJ3ixEe6EhG92Fg7BOVgtD7o7vsWry7QmcHFFhxo5lLLjAWKs9dmmjvhhpX1WbOw2HfQs4fy
iEgNLZC/aDzdKcPaBb+yOL8LuWeLIzZzQ3PFpFnlC1TWG6N6Havn9+dpzcbCO5uQaQ5Whg142z9G
TfkxbNpHI/D+jnP+czl+P8nPhlJBOYP0MmaCdqcOL72/5/RsVg7lVY94ZkRZbGZUIiDCxcjkI841
hrdmNSGKYJ2SOHhShIZG20leeQzPq/zOKf0dc5wNDFUTTS4qXlW8Kj90ovCYWzXymR49XWRo/XrX
+nq5adR6xe7V2+5srPO6ntlVKrgtIKBm3RDpTGGPECE/qwRo+Oml/99tkYWPmCqzFVQEeJFWK2gx
QUc283iPBCsn9upOJFIyoS/TAVItzxMP8jqBEtyFbIWGzMY2QQsNWrkymitpW1zRn3aWp2qA5Cst
JOzgtG8MSgg3cDC1j/WXZAvG284RoLmXXHM/3EbHtUfJFZ8xw1YkkF465JEXKCwTVhy15801Juou
rJLvkbZacb1yH76xIb/dGVHSQwSbY6NxEDoCdAHnQkNF62OzR0b0pvna2NkjKgJhcVx9IK+Nb3EC
zW5Iqj7GdgtnjmOBLYliW+xcWgDImvzyKfi2DawXK6nqNbPz388OQ5V3uS7NZvNusA2uFq9sVnbn
monFeYMjpqTBm5dskWcPgAAeFeSk//I5AyUmE4xQ7SQZuDDRa1WupqgBuYNOtptuHTOHBytcSXhf
OWYk1EzDpC4oEjsurBhqZkh1Mulu6hcHMZO2shKczMJfcfhXCuIWMJgZDUNnkCovoVq5n4mIRGJH
u5ePQGkPM1YjtUG7cukLH/TN5KZOtvrs/12wXTjkN3YXe0GArq8WZezOj5z8jk7uIwopJBoqUBXl
T8FVny2X9uSdsUNHZd/fVHZhm250Y91EdvDFtJObxBZPq9mBi0wVAAgIWiVYWllgc/kMQtJlkIfS
1GG9tGHmB7WGZBA6eE7ijh/X3lwXu3VhbOEDRLnxa0RIdDcHhjCCjA7XACvzJ7yZZoiXNN2Aehbg
oUYJ7O2RC+uhyss8Mt2UZ/VzpHtCCq8b4myvHpJLkwuGvch3eihEN0Pgm8+iCdWaLaZS1QC2j1vz
LoejKP2rEcCcLjZx7+TXdR5mizskENMx1cWJOwTNbSCBk9so/gcU/NAiKneKDsWkmchrRfZLeISu
kaIG5ypJFPQvUJDUBumVLamb1q5MZrC9m7Gmhg15AC9rxIQ28O6tjPQS4zrbJLfFgEEIa8t6gtpV
cpYWlDmjG/kIZU7/a3Ag0Pw0h9eJ031ToC5zOru8iQPaBkCEZY/9frUQf7Gr528BXwjJa8AM1P/f
bgN6BkBXZNMM76GZ8S4+6gc62TfBqdqtoQkv9vTC1OJgjwPdoQmaVm4rwYwOv0turYQGF7Hcbwu8
5FV8MAS0i1iYYidNkJ0INBrWxaH7GCUfjWHX0gE6iDn8ImiTDsqKzctwZGF0cVTHkQxY2WK0+m48
Q/SYflV/kZtq7+qd4EKujqJpYENPXB5oPtytuqXrs/rnmBcLWCvt2NExqxINFTfKdgZpgtA+6MAJ
JVt5RR1mLSc8f+Ibz7EY8GIdxaKK8AJYNG/b13giC4fch01qQrWhULLXUcMXAREGqWJLsqgAgifv
9XaPwpDdxHoiA5AK6T1BVEZ+kHMzRHQJqGZE+7ld0p+6ff8yvzavClh/EJ/gX7XlwdAzIW6iTGMv
NbQwVSk91XHdrDiBNSOLqZTyPoqlXlfRP7ufvBcz+Pb+IK46tvNRLIKFNqfw3oD//p3S7g5jblM2
AnR6W7kzMHHcRwBdv61tyosQZV6ws7lbPDjqsfRSjSSwOwRQjfZedl8YAWr3NC6sjG9O0yz34rml
xS0GY5toUc9RXRo67K5Dwy+fbmL/Neg7eqY+e3PTkg88q1kJwi7zIfMQNWDsqiwTIS2xFSY9kRRY
mdjiU/nV2Gb3tOgfEHXsXOQfnfh5zXmuGlzMaeRXsLhEGJzDIi2+UZzphFqggCY5gOi+cJLdsBIj
XDzHF2NcTG5SJBSj03l3EmqlH2mpRNE9bL602q+KjoyVpbx6FmZAmCxx2i7QKoKeZ15DTwiodqQj
t/Wu+2jcIdCJzhSJ7QqMhm38eN/mVZOGrJoiYTsIzIVj6ZFfCRow2W4eis8wzkIoAiHT+zbmdbnY
oWSXQUGq85NxMYm9T43fBxHmitCUmH2D4AkNZzRoCsZKRuH6FjkztUiZqYkRJGXq/bFFkP7m/O3J
2W4sUIMnSoSA5t8f21UgAe05sEjR/0QP1MK99Kj6eFSxuHzkMD6UkiycolLuzY1mJYVTRf5MSJK3
UraFETfZ4cbVB9qujY/a5IeN8/63uXJNsGFnSKYILvoilFFT2lANL5jzrXRMImK500Xhc6/p950s
ovQ7+Su1oWsTjsW5Qsn+oT6yjDcGwIQQIszF6472CFLWEknRGfPd7IIv0e0acP6KXwXWI+lIC6kS
QfvC3ugNMNnMFYO+IZzxpsqhr5JmyU5dOYzUIC62LUVXOpJMbkCQPMvur0SKRkOrCcQ9swpAmdN9
DtOWLOw8WWnGva5FQCxaaN3hYirL7gaWw/jGqBt0mLVQfazNQd81ucex5Vgc9BGhzBQieAfSDPlO
0ztaR9Xc3MUGYo1ImvbRXal2/VMrSNqxKmvzptZN+QApo0kvt+Ht29Ci/8wy65sonRRngKZz75V9
981SYQsRplTZWWLjfUOyRz1ZTeodtNIPwZsZyj00yBV0y/5PRWgJtY2BhiP6mF0z1mqnKayXEGFT
e5iEmaQpye612rL2I1wp7gDxho0+fACnbVPvCoOWXKS7lelHmibjMex5LiIXE+iPCsxdJuyDdf+5
rNPqoQ+LwnLErAd1EtIPe2vEipE6RUsL/DbQrfwQDb31Ihgl/HZNUjz5KGN9SKwA/EguyseyDYwT
isCwUplDOEsNeAhD7HyJ1li5y8p70dekO1OOgj27ULcrObE+K5Vv/pw8TyHJ0et0Hxgwc8PF1qq3
klSaj1Y0M/NLYhQPdwbK8K9IiaCKpxZIE+tyEMCp1wwfFLVAx72URNhLrdET7Whsqwbii6q9MXx/
fo1kHsq0QZJ9sbxhpnbUo/TFpzoMATzsFWUdIDeRTrQGmVLzDdKk2omSSjsoQ0LhvhrME/MCeZxC
ZisezFqH6FdFoQ55h8yuYe19JuPfyztET61DDQv5B70PaF1G8j4Q3S6dxq/aOJTfEAz3nKYthBJl
6hqGzmnqnmKlnmke/Aq+6BgGpDaMEuhZNU9/yjxxgBwVBCuad3BOIFsFb1aICO8RljjlQ8UFG22a
GgXfTYonvaHP2d9GZkIrshe29P92tCWz+30T4ScIF12rLo1kU9YVvLeyqPnHCSWBgzmxIm3UNDzd
jXArGbloQ6wK00ghIw2XghSX8wHCJlkTHAtGebfWGuNBgsjmIORwdteF0T0JLcqSRi8VP7ROcWoD
mi/I7zcNN+UmAq+4mcBQP/hlTV/1FFY39Ez+0hRiAtNror0KoQnsKm1xo4coI0AsQTaP5++xgrza
VcIgv+9bmIb4Dpu+Nj5z29/nRBj2OImwLEF5cai0Tt1BdWAe4iiDI0rJc9hKE3TfZIEHohzxHi1z
pHeDSNulZV/t8cCCbbUwnUvKWDjC6BmHTgvy57YpKkfoIYGTULc/RlFD0TLlduDp3T9LODbZbkYd
Ai1dmKad7GUebJ2GdawC5FrMuIHB0RvUjScWoNTiXnTipoKptzIHzdomLRQ1UDH6j4HmJQEsMkEP
o3w0ImloKqXwaxRNCB3bmsp8VAnwleTqozKmFJcB4Rlux7f7XCXTdOvnQbxTQGR+BncPBtgIPikh
QOrYZAL63jQ8R8g7w6FCqt9nAUyQjYtu7FEJQ9YV1QCkvYw+yF+RtJMRn6xHW4L3wQ49Kqgj+Yxt
VFryNmq69rEzpQLunmEcD4o1jY4F9dUxqIZoP/qop44qDAWofYhmPCLGMXe4C+k+h4Nyy5+70wQ3
W7prymB8lEtPOIkiLEyxD+vhiKd96NCJPhp5rh+Kwqzv/DY1NyFkAAheivks1j7VJ61qcQd0AB/8
0QP134Wx8pxWSfCr8UP/1OV9vkF2eXqCzBoayDLIt4iqWXeNgluBXc1/ikfB6mDin/I9xD/BTi+a
dNsZU/up6pTozjQm85RWlvfUBkjJSL427FBoaDZynY8Pppehgo06zGvtFe0HqFLAT9AY9m0sqgbW
ryKIT56YRY+B4ek0PWTtJw3FYJs3YubINUtq9UG27UZr/KIqQN3DSOzR3YQnbhIGy5XiZAo2WqGD
blahVOs1FeYWiF2tLRJssLDWViA+1bSNTk8TchF0Fw1yfKqr2DhEY2d+1iFOl9EajvpvCZzsDD6v
Hkc8z6fKyvyP6ahOTtME3W0XTl3jmj146w2kHtCQWhHEDDdmn2mvdBVJGbIjSnOvS628HeQw+gGc
2LxHVgjxmj6O+2+tIY27Tkij2p5UNDIRrtXhmyLmiiQnQB6WmxdI8hfy2Naxg755n/qh6iLggfIP
MGJDR/2uFjdoMPZ7CGJhNYTUB6Gh3rdauxUlpNj1Xt0lCDRAX4QaUtMg4TpMYo8LyOsHFMob6R52
tIba0IgKiRsaefdRGBvxA01F8a6BDWiT9vh/hdO6Sc0U1ETcpvedICmf0BbvDpagwPqbZJMz9Mgl
l2LME1Muwt0wFN4v7k7zziwi8YunBN4ubrlrYBw0t1Mdjg+qUfN2muRuK5QgP6aui7htunYPQWa2
6xsqga1UjTY6OnBOeUbhcvehDyDJ7cHMpPxhRKXwKVchudW0BsbzOAi5Osf+S0DGYCvHgbzNqsl6
GKypQoTJQK8gDJpbsxCezF7w7AhOaNfyPPF7AmkdgszZKAa7EnBizL4oaQqdVBF08aC3ZPatwDiU
sSXNZPfmyfA6CKKrRs8fIPazGvgv82EvZDBFUjANQZLDjoPAqNFVwSNM7zR4elwD/D5rleu6DqOw
QBDUQWuBaHqmaN0HaVRgvkY7Qi1ta5wSKkCpL3/pAjhzpwld8Cwt8TpW26Eg66WUHMI60Rw6edUd
Tg4OMqmFG7uHaA1tuv5BCKLuJkpoURRFQdxl8TR8z1JuxXzIGsWVxyR/UYUxgcUymKzOgdotFOGn
84ZxO+lt/gzVG/x8Vd/XvzjR1YdUa4RPpE+6LyihlBlivWG1RcYLL5rEhmPQagtTDyouezHtvdEx
B0/ao8ZHhAIlCDy+UL+UkfTok26mJwZIlVZWaJyXJ83zAHVHjTo6jW8i5ZlqHWK6PvSV0B6JuSnc
DVk5oMdbImouN2K77b2y3seSov4KuOpgPqqD/OCbafQYZwF53LgZvsTcZ7aRQfU7VkPnRlUF+5Bf
oCJidN8ARRdHyi4AygOZWzqKKIFFIaq/kpaVTuv54bfRq/RtXcQ5AS0aPyGEQmgQxES+bLv4E+Fl
lNrtZKQx1I5Ivs6Mgcmz4PvRVuyzpHWhhALtlwrRq0baHfJNM/xcwORiFylkv8ZYQysm9f5oazkS
mnmOTHirFajIAHbfG3IZ84qMhecmz6xtD4GPxKvLg6hcFn5lmr6XZMIVwZA/0+v3Mlq7BOI7PCyh
tGSjta7fenU/SVs9NNTCVsXS2xLAq2xLxas+Wp4I6ohw4y7tWV9o1PvkroUc815TEAII9Ep6pgBS
77iCkm2nj1B+waCizhzJyIeq9eDyYlF3XShbELsbVeMWRZ9sw6TpCPBAtLmBmRAIIRR06DvVOIV4
bw2e6gx2PbFTWtR6zOZAp0f6AVqr0rIlLdZ0hwPFJPaKtQs0pX7Worj50gyhhmp7kfs7FsHcE21L
9zzwm3so/YeHUW8gvorTQt8RF0P/O/jd0WBEPlRmo/8ztTrrV1g23MwJYqwrT/4rz+I5Az0j63Vw
P6K5yMlCtp5N1gSG37uls82GvvjUbWZOheZ2jXFAvvJQ03h7GwDPRYwu6zgZ+ZQcoT7NlXfFTfs6
t/h40BHrGyKmHagCa4NAfIGm/dG3xU3ywTjEH99/d19mUXRKNdbcicF/RPlv07NCESCa0CWUPeXw
iy8TBcF7pezeN/Ib7fs2j4IV4KUGzc4U35Y408gHnymIKRWxX/IveMfLIwxytvCd2uBWsGunvhmd
cgvpnmJPT9pteSM6kWvgxm1/Jal6+Qp/802WKNR0SOPc1/gmvLuQn/tqNR/yYq0ws2ZkMamVhLIf
+q+6G6a/2u4mhooy0lcW7hJPys1yNqdLLWdvamo4ZTAi76Tv+i9eYB9D17pDL+iT/2D96r7IJ8hH
tu+v5NXt8udC/q7/ntX6I8U3qy7IdDcTITzVX/xkrZn1MuX2dljzNzizoE0KlPAqwzI/jHb04v3K
nJYu1jsYp9zmteeHzRPr41p25hKevJjORTYsM9Bag6GbjbH1dohEmvqm3jV7CPVf65futhqojaym
4C6TtPNgf/cSitLcdfV2sGkwVWUlgr+W7junA0SZOnNrQ//TB7RRRlzgNjE+6u28y5z12syV8tdb
+8ukYwlTOhKFOr7OsytHQoCns+caFOrsZG6jJ9VpXH2bETncrqFxrh+SP8e+yN8aitwkhC26W3vP
Uvoy443CYcWZX7VBfh/aGA0ip2UXghKWlpmLjE8XP1vyQ4QqSrVWjL+6Yc9szH8/27DlgOJhPmKD
krAr9o+BH4D9PQ3VGhLs+hY9s7TYLZJH9lkqsdR9l3/BzPtIM/mNQbnZJWdEjTs4rPVbz5944bfP
LC72h68GrazX8/zFhDnBSR3Q8cgfjPRbjV7r+67lukM7M7bYEGMqdxOiTvPwlC21mWyTfwnudad1
DA6hb+cOBEM/CU9W7F71aX/aXV4JI8EjnYHzAjooFPnAptJdZ8cHcTs6Ip0j4fPqub+swnLuzkwu
LohJLzQxmuc1uSm/ZgfZhUgFhgxeZmSfKTSvnbWrfubMnvx2jwrwlSNgj3OzBhN22V8x8Vv6Pc9f
itxzvWottb5yJJa3hAX3WB/p80oionaaSVWMLZmd4WQxSFIv3LzAfsJ1hqp5HBf71ZqDKXjW5pbi
xThzWSnCiB4TdWceuXSdeAflOp2DMzXVWnfJ1cNB5ERNWxThWlssokLeOdVijA0Vh555Tdk18Wex
QuUZet6VXTp/2uXQ/rS2WEKoJFJRFrGW3aR0r+Q71L6+z5xbwirFz7UDoXMdQQCiigal0rezGCuV
KvbyoLtRrci3ghCN296vV2/cS+cMeRq6bybVZIjxtMVNT3psgsUfxnHl2XjWP9DzuY22CI9kW+22
/z439vX7Yq0R+IqXeWt1cc+zaLmAKL3BaU8O5F0/GT6YnXI3nz9fho7YDj/n2/h+rax+pZqPYcqj
1ICAbV0QmdFJXaVVNhqu+cUbkUXbhYLbHbKt4I4/wnrvV7fBvqIRas3w5TQT2Zyt5mKaTc+TzDwb
ebpaqV35N3qLHsn4+v72vLpl4MDRUAJDln1Z3OpUseE7gPsz4uSgtqjR9NLz3zBBO9fMXaGqFx0Z
QSwZo0nU7lZB/CnVwwNP86/vm7gaDzFb/7axuMuLLlYRqsVGz2l2qNWhAdZS9U0deNoOFiFoBpc5
jhoCaNNGHHwdaHXNd55/hcUlj3Zon2UhX0FCAwtdGP1Wb6VN4n9cGerVFaOLnFqkZKgXbeSpoBVl
MOk8H754j5JjfAzsaa876j0MqJAVO8FxDQVxSfbAuHRKevQ/6xpR7+KCR7V7kpFNnGfX3AGaS350
SObeofluz9SJ4Q7571fI8OvJHihnhRsJKuYNKiyH/kbzt2IK7t3uvg7gs+5RVROO5j44/R3ivLff
U5tf7WcRnSKgKg2El7bLLQR2oZ1Azf8Ekps7uv4kPvefrJ2+j6adcFg7q1fIEd5Mkba4U5JCEuMu
ZoqGQrHVhvKjitgefOhWgUxkdV+PKC8gs5AlL5Wxz/O1tuTrJ+DPNdIW10yq1ULPduHq3tav5m50
9fSo/gy4SDtbOnJz/844bY+h492t3QhXPdWZ7cW9M6YoY5P65zWSBo9aqLvF4P0IfH2/svXX7Cw8
YlAZQSUmBvfbAUUXyWFOzV+k4G9NZ371zHUG3cmf17I9a2bnv59tKxjeKsFv57Vt4HqjGzMu76No
LfaaD9EyTjg7ZNrChXGroxpfMriZCk21y8fipXMg9LgL3Rn/jQd7hV86s6tbfxVSsjbChe9SapUK
K02TKBi96INH8Zqna9Da76/ftWD2fISLR4nWxFPqTcxjJaGXKGrJsUHgoB2MI/1Ap6Ivb1BrX7nf
ro0McA4ZrBk9zqP17doVRTAYtOqhjqIRIAixXagvU1CtjOya7z+3sjh8RZJWXq+Ghpt9ryAy98TX
KT7EcE+/P4Frg1mcMyS9ejRlMGOWKEB3rxpM9wJ87u9bubZMBnUCWJrAvFxQdU2oCEnjPGUi1WTg
0OipPBWqhqf3TR26WGlspk0hR/4DGtBy4bxvXZ4HsTwH5+YXh1xSqqYGLGFA1ynvwrvRpYy+Q7v7
yTihs+tk+wBFNl54811XlBuuEtdywm/vf4trl+xMSg0Ls2xYgHHebps8iSNzqnJCXPQSIwQSumBc
meZri2nCaEN+fCYgXKaQKp2qQDcrtc1ox23D9kcx2SzdTlTWoqPL7Um4YMFMNAPOAccs9k3DM1kR
wsLg/kZVT7X1Y3df2qlND/uxvolpava/h9u1ZOqVK4nAmQfWvJFkU10Ctah3QjyvM0Kdou8xOfin
LNvodnMo4QCxJgjnwoP+SUY+jhTdX2dFevtcWIw5k2v4hz2eC9Jwh8iJnVtPhWWurOGV/Pj8NsA3
g8JTKGQv9kniZ6OE7oPhBgfxqB9xMS6pfxoaQqKhu9id9sjK2INr/TJ20C1/oojqzHO9lpi4tsJn
32OZCknhfM5NaTBcWXr05FNO1bMJDlb7+P6xuP4Ig3OCJiiqARCEvD0XlGjlxKxF7OymLSxGD82P
9Ci44o/WGZ3uC/Jlp/G01tB7Jbhils+sym+tGnXWWAXCMFBJQ6DLpMa2t01B9ifuem738ly+NbbY
OJOMzkGtYSxDJqXzfQDOiQ1obGUm18ws3ByUbDIaCsxkcJgZucP9SJy4C3f1tnOLp2FXPme7YPe+
0TWb89/PApnQ7OK0rBmaN6rOMIJw8hylWPM2a1bmvXpmxQKjLeghVnobxiQFWSBEbO3UHU6l0zvW
8KHcDrfh89rgrh6Bs02yiGGqtusUBNDxNhai3CGymOUG6MImjFeWbm18izCmC4bJU0bOWjA85/HP
BNa7aFw5aGs2Fn5Fq8aosgp2R+N9UZpHKSrBJKzccVcnTKXNggsIusBlS2M+IjKP0D3rpOe7Vql2
rQCssRHAL4mH9zfeNVOQCWGIKJb83mJtcqMC5OexNpYE1qB/7BDkMOuNJf/l9knYVA00XgxyDcql
oRQ83ICMl4V/AtaBXvMR/vJtvJsbc4rXGdCOzvDhPyjIzC7obdQCyT08NXPGhla65QgbudEmyygs
d7Q7p3iQ9r4b23Px+T+iTV6zttiCwGAigKOl9TvzXf1ob5s9SNzd8BVmaGfVVc2rsxwbHp+07NyX
So/k2wMdKV7eorFkca15O2Tc69f8buaGjqFpUgp7euwoNal7kFxr6e8r9yvB10x7SkssiYeLEKLu
JoJOyXObMr9Xu6dWVA6KV94acudEUvYggj8FH/MgCC/maBzHwXsVqYpvTPWpmiYkm1Bg84rCDUQ0
0XRB+NR7xSkvJKdJj4Mk7sxW/lKV1h89AbP2iv8zf/hjbup//te5Ysvi13/+ZzIv98XP7Lmpfv5s
br8W//VG3OWfb3/l8/9l3/nafH3zi/tbWuWx/VmNTz/rNml+fzO+6fx//qd//D9/CLS8jMXP//9/
v+dt1syf5oPvO9dukecH1P87//x//bu7ryn/7sP36muYcWH88WGzhsrvf/GH2osq/kMGd05DmS4R
8bKh/kfsRZb/gawz+n8z8J3g/0zrRZP/wYmGAwoqMp4jHLB/a72o6j8UE7kU+BwUukfJiP0VrZe3
Poq0JJ9CRYDGSxJcirLE3pdd5dH9OoIB9PIdKoTfy7x6iBToIRT5+9mk/Gt7nCut0FijMG9nh8qA
rXMO/umckChA6BQ+3h4q3l1lkmhh5+hZWD+i9+XKjWzCIRJaj2aAaGaG5uPGFEf6J2k8N3Ym9E8W
AvenzBjb7WCigFTRBPlYKT+0pEfbzbCyvRnUwYM3/0gUT3d0pT30hQfADTD+LRqL9zLo+fusMNNt
VnTyvs2k9FWMjl7XzGgpelb6XEar/t8/LBPYqG70e6UQ5dcCIWLfFKMDJEqTE+WSefTSMd8FcWQ5
teZ9RQTxcxXo0QMNy7+MSR3sqa9wv7rkg69Ff0zpxQ+qkeb7HhlFW2rF4raNDQVNXODgURsNW1VP
TlrZSS9BpegnzyosOxj7aV8aE8IlgtTsh1FL7C4vpae49sQno9l1hRnD79zVB3EWNo6T5NY36Emb
OsQpuXr6fanm8SOiNw9SHMqngeVxat9I3WzqZfRUZVCt2ghbOoLBx8mky0CafwTQ7xwbJ06E4lER
8DxJPQvkJge51y3EY4d+pwEDOqKUl3h0YkyivKNd41lHI+AG5VZrX2nZh6FFaziOtJS3V35IqzHZ
Sb38kg2xCO4XlWPh2aKJ50OdA/ZCokJo8hNorA6tLbCUfQu1hjceIq029iMJ7X7Ut500aM/ZpGsb
w5+anSCKL1LllQfRRYfbv+ElIN7UIkqfKP4EIIV9FJ3TcN/lwfRQyIAdecv0e3OQ6pcIcotC754F
zzuBaAJ+10MtpJdi+1rX2efIUroTjeftSRJRbSyt/2bqTJrk1KEs/IuIYB62QJJzZs1V9oYo+9mA
RhAISfz6PuledG/y2fXsqjCDpHvvOd9JD2Y15gXOi/EF2sn04MWnfkZ8sJ4wHnn0/48g5H5JcMYv
Mzwee6eT7DaNyWnytxHH3DQqJdnWN7Sx06cgpvtQnE0x8fvcFdl9gQXmPlKqyzQxfWMU888dCLHn
QrbegSqkMrPYPP370PN0gs7TXf7vS8OKFf+fbtFQRiCyFe59JJ1XJkgB/cJPqLMpkoeW0d9WDpco
dPMt79QhX5YjhoJB7YEtUgZ9/joP8ndMIeMqGMUGF8jiniwBObAVycwlJQvymKLsppNENysS0ZPM
uybj6L7ayftDpoEdYFpI6kwy+AUnLi8rFUmNV2yoQKxILiujV7K1xSGfbXpe9FuHLNCLQQL3JdYI
TAssee/z9tVjnfkYSFi2MTLVY+cDUDLIntWhc1GD90OVABEFRxNCBQKWgnseZueeIVGBIRtZx5Nd
wqua6kl0G8dQxPgnIVe68zpgkHsoE2CDb59SM9lTK0ABmzLVgLrAoWEhx8SyV9EjYC5h6Q83oIfc
dvEecANXBhtSGvsEAllHITaN6V/Ixw8xPEwl13R56gpEJvfcf+HzhKIXwwIboA+wJEhYhyFhkIg/
QYVecx2eVT//gs5+2ElqXsHuRpZb2Hl70B8aSd27TAf7I/A6vPXrQxc8JdtTNM1vPIsm2CIiiBK5
Z1+3yTsM6Uy+KPrBEcKUt6lbTkMQzf/v49/XiEqmukP2zJ5ipniEJspBn8vliy3sMyTjrqSDZghO
b8lF6uEP/r3PbPXpeUWwZE0mRIBPdKsnKqHJLArSjMap55F1ZyQvDEdLg1eCpPS3pUfAdSznfURn
2OGzKHrCiPYSpmI/jxg1wzBBocuQyyWjwXwxYTtf4k1m59Hfzwb/FdxL//cjIhvmK5B7bq0gu3BN
Q8g1cS10/LmuPTnYIvnqZE7OFH9l56959i1yZ3cTaxUckEia8KDuPKLN9JJDDXLLdJBWcmm7plfM
vSRJ25XjhISmdi3OXWam1yBGYiDsNzfE7IL4CB+ScVlRkdl+P7hGe7GGFPaEwt9lk0A8ronVhfHl
Q+fS7EgH0XASTet5yQb4mtIM8q85EWWPk+u7XJdj1M/FD9qN2Pi2uMlpJg9yFp8YOmvExSOUA6x7
dWmha1qWzFzAqNmunk+f2yBFZ2MREDwPyZvrtTl5SRY+of8FAfIWQir7WNP7FF9DVDPdI6i94UNY
rVvym/kJ2qba8PNq/QFWpM188MXKQ+j8uGYIBdkV6Nsee9/7ZmHI3kDKXQ4xXpp91Pn6PUzkG1vd
8BtGqx66fClfZaIQXSKKk25be5nCpdi1MZxZyuUwRg9x/NsuEBYhcvfvYKdH3nkJM4j9rYz9iX0t
eQNVZtvHbAPnJRDDK7TRvJRrjmB2ln/kJIaAZmTeq3Mb3WVr4d3IFmM3FVl8Guc5OIvZ76uYhz8Q
J0s/V2lJafHO3aA5Ip+TlQir3hSC2RN9bvNeHL2FkQYSLvltdA0rQfBzXSIH0vB06UP8LwmXxju3
wmsGM0y7f7+F1C3fQxpCYEvLQXJn9Pnfh4kk3RnA+KosZxW6Q5h2Ua2nK398bDHUR6kJFDCGXbCH
S+XZhdcwsVU4Rt3VgtJWS9S51xTLG8Ix6c8gBO59Jl1apYH7nSUkuwbpIQldfC0Knlz//WoAL+ka
DkcfCwyNkFALoFx8m6IRcZIyHI8mhbSZ8Tk4Qauf1Jg4aBjrZu+pSILaBysLpGhezTaIdkPs96+b
0cGVEOSqy+xmp2J4SZlPj0mhPjPe0//g/zq1AU0/OOLL6Iwiwnrhrp2ZvMZELBUZqH/o7DDvsE9W
Lpmjo40XtmvpCuy1FUmTC4Q2j9kclh1WzsFyRDjLgdWY7rJ9lsClxew83pGredpQg9XdnCAOClc7
tLbp5VJjcoH0TT4fkWuL/L+EzEeERveH2PbbHt9pQ4T4HLzCOTM3I9rn50hNyyU0MeQS3qb2Lfgt
9eQhA9zNNPmD9JlxA1YfIc+69+3Tv4+M0I81CvGeBkFf+VtXXFcd5tfFqvlK7XlosT2qYFSnFE7S
T8YRhxrz6AdS4X/KTHwNAqxKBJrSBg+kPHtg7z8Vj49BC7WLYwP7kKNpo4me8OZN7DlapD71afr7
3+94TJ83YtuL3SbQXyB6/hkO9mmGr8CBZf6hRaRq6fh0IwUtTsmEDO51Vic2Fvo11vCpxasIfzFf
YA45Bn91bC4tklT3YGknezlleck7Pr15j7BlWfSgB+S02E+YGCNRwENe95IOtTQde55C9P5wiaJf
82huBCEzOLZNwG14cXrbOvEdwT2x94E+qKZNxlD4+9E1Y6tEUnhwQxq6X84m6j+WYnAn0PQxtXPU
vAQ5sl0Cf61lAoNsHAkPJze+nDaa+pcIuVkNyNLulvb8S8/p1eFE+yJgV3ohbhY7eBeXWmG8HOAZ
fUvnKDttI9x4JIXVb1a/BtGxO5tCubcMT1mEK3x/XNi7nQRYTdFIcTjU9uL1YNtvyv3EWzzuMXOQ
R4StX1i3zTVMMwYQIuxThvjXLHb50YreXv99ID4M+d5Rimj7iR64WU5eX5h74KXbs+robnHTgEcC
adCxw0O6cnPqZKCbYks9vN7IwS5coq4j9qtdK8R6hfe/PxcslOCPd4/s3qIKe0XudEpuecFd7WQR
wwgB2LbQ4K7F2XDkei+Dx4E+V4BCdRGAvHC7rnnk7rYTT8OWFK/h8iIEjuVqjrO9VfQMO4f7iz/S
FL0afgUrHt18DbMXtvZ+06+DO/dwe5Z9APyRnwqF12NeT8UQuFPbcRBfdQHraVfYak4SQI9h+P8E
MCtqOt6qhjA+IKNz+RuvgbijIEJgOrannHZAcMCjA90cPnhi76HN3en/vgR3rcKaC/FiouKTaIf4
tCnFj8JDoRSqFMdTfIyh3+28qPXqQcXmzH0sOZKxDhKTGeMc8l/Xa/7S8+CJCm/4QiZAAkQx7g7U
PF4fRlcQASxKNFqrRXbNLMKxcXJMscngfLCoPnnhvINlrGO1QOrS6zgh13p0k/nzNczbL9UvDOS7
tj/BPDTBFjqor1HKEcnLW3fhzJthQOQPM4qPr/kzfQEiJmmGEbYamFYwl4d/5UN5IGHLiP2QbjOl
hVHzINRBjIO752tk79hritLwghyMnKAjcd22N48XoLfz+qLGNxxoc4A3CiyIc+bfKOi1FUzTZq/n
cau78C0ddL63vkmvowG/C65Y+HbpNJFdumooxQSOAr6lby7nCBkD8QqmmDE4ijjV1era4jxSDUOS
e1sfpTNYKhShFifAt/0/nPX7IGbmF6j5fpms47ajeDoakfRDDeOv99ILFmAcGW7PhiXjzhtifQeJ
Hqn3OveHZm3D4Q7PSFZKt25lnovtEBClbwRdWJTum9mpOej3rLU7HNue8U7Fdy4JjKBjdolash3g
iP0aDbDbg8ObnKzBcJ5J4O3hXj8VWpCzDgNkzLhXNpt1729LV6ZmjE4ZwF0J8eMn38zyBW2BeI9w
ayTK5nEVbjAWejAbwxPndmxexG3Qmj5LlWCLyJD1PvAke9JDctJLnp8J/Oo4m7Y/EtLy7w3TYCxu
/2GzwvfMNWzYsT2GWjRhtwU4VwlWUTmM+z7vaSmCKdr5MDgHQ4SjzjjofWcVu6mugEsIuM93wP0O
qG7Js9EqqseRuZ3uHdyUiMN8nwwmsQFcjkf4x9kuXoCHT+PJHBAhV6fbt0nVVgk/+Ziz+FWo1Nao
0b2yZ/pMtqBA5LTKq1aCDdhKlgFL5X2tyXJkzPcr6NMgICTwpi8eyAHyr43UZ44sTFgt4YCTka6I
BlNHyO4/T+tnlDAxxUxjTuTNSy58nvNTfF3gl4YbsJeYFmW2Wjls8sZMMD4T3SQquA5jTMsY03Xk
2safkOOdIrSA9nGPwkalIeTSWKkPaKW8j63Nziy+Q1K3lSn7CEFEKL0RiStTu0Vlh1+kS/aewrdb
inFWe3/B3C83l2BrXckphwaBmj3wjvcWaxWS4d+2IMWyAT0WnIrlTIBDob37oW9Ra97kxK48S3Y8
L+4FdX9CMbRNwboRK6JXd/6SH53uTK2mLqtU/D3EjlaTH/eVXeK0JMw/RTCX7iAVuNl0xKRXUpid
h2pyES9HDgMnKO4wtgLwr/hYctwqYMC7mhgIQZDdjo2eQh7lbQenfs0JTMPFluGHu6l2KScoYvyv
cWOvA8KCqhk6/QnY4DLPxrCe59vCEH8e6vCeWmnrbdOXqHNhrfoRZLcwcgglKrqSgYhUMpzuKo6d
phzR8yj9x71AmPM4j6pZaEgYrnIqT/8+4gKsT0S+FkfAqrMtsWVIR4k/AJPtnI0XOxfvzoe3jq3Z
txnTF4w/fngaN3Nc+4bHxYVuHaLZfXXiIzCzS9I+DTb8CNfiGFCPHrlYd7T19alFfVvG4bQ2gCpA
45PL2o3EqyT0OMt/ahm+fRev5RaodzKYe26zt4LqV4PpexkX06v1IEpaa5Q932ni0FHMoH1zEgv+
lhyt9YYqJrA48yk6ks4nh2gJAIiyB4f6qFQJstgzmn9laKeUHfu7TLnA2TpBB+KVmalBi+wI5ckL
iCM/tyG/CwJvuBtfCxzuLmqJL6YjWB68M13GusuXi5xC6Gxa7zXR697O2Xcymv/CLfyIGdzuqv9j
l+6PwBNTamJuYeBUVYQ9Aua7nUGBUuUJrJwkYhOSoFoYagGvU0q+pRIrVp8ntApbn5x9OdvGH6P3
fk23U2EytYNshOF1yYcqjOdHhyNESafH0rfk3EXhnSFoAv4gr/Sd4qXHEU+Vp3qtAHZ5pe5XJjCd
UkzPJfYivMCun/Y2xqXl0fZqEgPf9wi3jW1F1c5qq5mYRRlPv0jut9Wssr/S66/FxE7IhnpDjwKc
A3hTy94nDxI5RpHYi+J6Q9yPi76LgPE6YP3vzen1pEX319g0rgTvlwpH/Y2Yrp6nKah6ig6NYj9Y
H2Nl6fvP3GfPGUHOg/Yp2Ax2CequeF774pu2hW6QC6GqyIv3ztG//kZZJbeRwFSbf21b+roN+tp7
ktTCxT+NbqYVoD7APLAekOB7FIO8GRG/eX4cXkKbhRXrBvSvMvhOZ1CFPaBRVgcPCTy1E/Zf9UTR
usejOUS7mMavWdgOtRk2WiKJLN+hxzJXqgD7ImTxjzUOv2LBRb0RSCFTQDqI8NpySj2w+Mf5wMZQ
X7EiyA3YmUilA2yqWTnp4cAEEmO0DxiVitChV/qlDebrJBzYX55kVZK+I+4Fs8U0+UOj8Y+KnhjF
C2htcYi6c+LC/8Ysg45u8fIyA09fO36J+BKASjHpZ392XZm41N/FsANjbAymg82w6q+bqWiMZtww
6MrLg72PbiBEnN6y54DPNIgkOwruI6Ui4yCU8O6Z2RVrTa9hxmKiRhdZ3qccaA/btsfQn8IzXyfw
LqcChk2HyTEaoRoJyKcN44lSChAHKAE4IUMFFJ5ksV7lnG2vg3igKExRWm8afxYgIGAohtgPT/fY
0nGhMj+YSxkWKTq7QIekBgfSTOw9b47LcWl1Fac4uEqrfuroio4UirgkwpWe/LQCpmGf8ymsizUB
W8OsfW3QaKulzdHLa/2uHnyGsmmJcT/6rbQuHMAR+Vi7qWhalT97fYLwFu3iZuvN3LiA+Qcv4WXS
rb99Bnh47qbkSQ2fCIBMj3iJDkNhonIGgONcDH3NZtnWFqwYzDtUe5Kx+dFGUA3P+FdXXTLaRoLe
Ui0oCyKdRBAZz+td+esC6x0LEEEns71XQJDSJWIHGDbfLR29+S5vxjyDdMyX91UB981Ow2xwalgb
vT4EpJH6u4TrGwVrsMuws+CU/6dn5g/IJ0uFzSWtMLN41T0/jWqGkRfu6rKb0QTAYbgJ2MLhUjdN
hkjSWsGfuo9nz5Vb+K3apb1M5sUV/p9iif+mefw8Wvc3BFyj9JCKUU7RclEQJl4ST6BftLm2Jtbb
drlVaV248JwqLnEgA2DbG45TwnRpvKy9cTS+qty3MDUn8bdlAHGA0lGD+wC82Sa2PbgHpRBoKNvU
A6QYFKWy98AWVSOSnVIgcKJ8RkIlOD9VS/leByDVJOgSoxK2IIV02a7bEIRRuKhMh2Ifb3QuVxrx
HWKPVak5gbkrJGMzMrGLSfzdEl/Vvey/W5yHSwY/RDzr4rQUXJUjmsM90ThVTWjmLiQ0Zbc+hv9z
XBkVVhzdr0O6oJWtUe6NFaEhVnNLkB/bg7bTBtkbHsU0wK2XHc9qf/Ow5NAEMl/FD3io20PQL3fR
0gUvtZbkKTIA1fQx8Zv//WIHdsMtNEhpQYfkgVfoQ8EaA3FYPW8cwBIdzcDeeMV9ij2/FrQ/o5TH
PKcNu12XzZfFpiVYXPwUkAKaBRNhEwjN59qZ4GmK1h/AxOx9kBA/R04A8QnRtuwCrT49FDJ3DKAP
fTpDGmVNcIq3xV0L5x+t7uQVZ9juHIKkUJJZ3cGHGGEim39hUtPWoVgahHbRXd72vwhrn1NLoPf0
h4/FibPrzCm3vvphePRbMp4di8dNR/ur3OawaAR97QvXH91s0fCYx/45bclu8IOPhEwZmAnjvEvM
38D/pOGwU2jM1ukj1G91Xb3a9JtTt9/AQj8uS8tAQvZ1DXjPoqfwNqCXVOphfRkSYLa2YJa1nRME
aa7ocKIL5e/9x88CP6qAH+dCo3Y5SbUsp5jtcujCgVPy0QJjYb4DQhLn94wfO5xaAKvh534CQKqV
bbaTOpSlWEiNujUsdRiKEqER94h3V0Aihj8TTUscqNxhCRg9AGBDyzYZ/DPLVmw2wF1VZjPz22yC
qDICpsfFXAdSIB1O2EPiYrMHIwRcPJReVaozs8OR+Lq0fVYlWS8uG0FTxYuBqYhj+0FAtiiRxCbP
MZ9z1Lf52uB4mTwqIxSstBWnnJASxI3rFkwWY7Zi2mn52BMjsUuzrMGf07VI1uw+o8t9h0W6bqnF
LZkVUvKCdz1uK3rgButoC0bJ2kcY6wTZ64zxx3cWoE0NFFh0ghHwA7yxvgHx6DtcY29vMsiCgFIM
9irK/ovnbWnWGLcyEYl/D8JsHyZ8fs0KN79GDqNCN9jg+O+3Mog6sDbMjwynpnHJksfRHuc3mz+j
hmsy530PGGY+z378RdEMsi1atplgV4ibYZwLb3mK0RCsUNEaXXOm01PgGx8ksEzVKP8SX7tT52Gd
y2cGiFaOXdRDjNEx4Us9ymC30VC8ytBtVwCvgc563DGibryl9SInc0xVAZJUP9J6llF4+b31mb5N
Q1gvOTqvkGIuu7gDNFus8T5cc+/CBn7t8pGfUtzHMivy4ApDxFfPkL+F+a8tl2gUz4AmVlGKAY1U
BJLepOeo+patjoXb02LKXvvIjjVSqRBhEPtY/BZMJjeN+SmKCC5aVg3DcItjxJb4K8LZ0f2VKCxd
fvYRQ48LOqJLh+H6PinMlwY08GVTPs4MBgPDjg57z6aIRAyH7b5SM95ynMIx1HsWo2Ag6hpUj8Xg
7XNfkkoJKzBf8DBCwJn4ySI++Sno5q9ihSg5HLuhwjhsB5bb+iPr3dPwwP/0UmWnwAsrDy9C42dP
vTA1vu8HYG155XnhfeDs55ph0UmmNrslE/WO3Pd3zmD7IMtt8TCQ9vEepL+J7OAGMMq99bOCbyf1
ReWlZLubjGL67X/MMo1QTPZdtYzrfFh6tDXtKbFILHBwAJn5XuDeX7OtRVkejV7jK3HeoCIqPe2h
2OuxWY1j8lp0va05wj6yTbZgxzEMavKfIYbiyAM9zZihcPyoyvfR6xo7D7aiQG3NYNu3KXbjWQeh
OeJNxqrq0IyNB6AGZXtXQ7LCZgA9g+3ocUmWuRa5NzatfIdLEmPIAbMai3nvCxAbRzGB1ZlyeR18
HwkPFjmqdlnvYDiFu35LXDOllNzmNmJNLLwFJ1JxLDZ52wrX0CD7tXZehBmbBWzMa+yGsXVu9N8O
QTqQcqztQUYpA3Ks4Lcod7i3UTwgMciHgUVhQszQZzCbW854WmvnKwwXUcFXVvZo02YF6uB5/ikd
djZ03rLKJ9LdEPFeLjj6JOhblp4/QtP9GMENhD5PnupuK1nQD9rSMskPhW1RVK7g6GSn1K0/PeBf
uO/ltxhxtXcd+7sodVmFBla5OM80fS4RvVK2hcjvoJjBAxyhXOb0uxjxiE5Qfez0HN4EekBlnqAY
Uo97HOaO1oQUZy40cDottzgTC0R7lwbjzlunZLHbWIxnK10j8GxBB3RZDm3ekH5i5yPlOmNTypXb
txaV4Uq9/xICowZdC+CVBnrOXPqejWMdZWt4F1jE4dTs9r2Dz2oK7WEy0Clkj07iWvT2vqDVjUlU
NWzd2ixhgoot1qUv6ecG4h4a37VJH8Ai4iHsVfg1LEzHFdvN3w6gOG4wW1zjisB93awhgGA2jp5i
2Gk5WEAbvif4ZhxSEqglfI5CV6YrzmFeWpkJRyyVBFmpW0ObQPAMVol0rCXtngzHs9Pakb05FszP
0Ya5Ttaid4JRUrkNLr+lyQP8OCpe92Dyo9vp2H8AOFcbw1LlMLi7QNQg6zxx+ZXoiF1G0/LdKkiw
Iz3G+dsY7jnakUcsir/bsfvqgZApwYPOaxqmCNwMIPyVCkO6dEq+wf3ZBSaMq4FaHGMTNwPJK8B9
CjIcxlZxKooJNx31IQuH/3ITQ7nT9keII97RVdqOFCNjZ5MYFLEU575QPOrTNGj+fUgeIuZaqPXs
kNlcOkbmEsiaEKQyeY1EHDTZ1P9J8eqg8dOLQ1YsO+sDl5dT+4Npdw4fWc0S/dGdVwTuiUjTJCgH
WmP11WixCw02YQIeawVBOrpkwzY1SQus9kqXxkst5PazAg6VQGzU9RJM/7nnpfXJfhiL5TkxzMCd
iSPagptYYOEtU8irnjzu/Zy6aDlFI+QPqYBD4ndvw+zc4XC36znUKxECqg+yEBcBNBXmgBHAU3wN
Tv8+RNeKRjr9c8oKjKtQ4JYYjOsTebQd0Ms4TviLW8wWVEfQH7kCCEpsIf+Ou/QI3qr2UF6sYR1r
zHwUWKjoYXpmj0mKd28zlNm5zpIKc1FIViC30Ql24hGA30j8XbPxLeY8+SICa3qintMlRU0sWx89
wWACKgg0LJ90QYl2Fb2gsMIZLN3CMsM1iKRZMUuxP8Zl3EWzBD3Y00+kyz3ohDoYav062Tb0Rsys
YQWi/JIkNm1+79HN+Ttk9DzNsQNELGo0GrZvxUKhWRbgiik8la/BzyHxHIyP/rtrtfuIRLDHrmRe
wm35CYIwuxRTb0sQ9Roq+6ImW5g0fdQB87mNP4mByTVNo6fg8YGhjaqSYKW1CwloRDhy7ZTb0hud
0QvjTO4B8URSy4aU6omjIe3/VGgg1YIvpFqR9NOkj3JAUGADNaTIlGG0iyQ3MAfX/tRL7j8zP1pq
kODeO9yB0oo0uKRSeTuQc0F340VXIRYyqHFKyC8Ss4RKBn6Gg87KIWwLXpMVY1QEBLDa2MycMRi1
53+/0pifNrzwfsXZmJ60PgxymyHpWDUGUlhYWxYX1bzYZtM4KXMcjELn/Uoi1bh+6R9dNihXM9ag
9hk+cteOIDUAu5wvHdgFIkleAOG9UK76k5dvfyCTDhsDuBpFxvrFnzA1jr3hXaupb0A4BCU6h/sI
XdI2TKLfMPyDVza/RLjSEBIW9x7v1J4sn4XVYT0QhxIFdLKSBOiwamgHULpBBKzp0Ey+IXcPG8DA
nXdbHkzM9bwaGX25ZDiyAIMAR8Zoj8Fy+iY6oNZWqExSlByN6KBeIJmYKmG9uImVgNxCkSp7GC3R
h8fCTy+BXJuOgeyqE8ghDIS7oLRt5cSseusAwwXSrjj4QIBW/uKDq7LllyzU9oxEJxwfiI9tK3dI
UAprTC01yKWWV/7sAaypQZVDkC/AcB1qHOGOwdr/cDLlB0VH/1p0wceKY3QzZuTV80xS9tnjmYRS
qvIlh8s4/ORBGL4qAfBZC8zt0H/LiOIXE58PCO/7w/gY4diWolGVNzQz3kFI8wFWGjsBhQhmLpfT
UXGGlGwg2sidkc08J6uvcB8HdA8HcRzYOWMz9rF4zMp2bHmNoaZ3VHjrSoj3f6fQ+OCZxlkMFzOp
Ex+g6tVG/jFb4+v6u0BhjWHUCZIlARguGjNLjn+udk4Df+pwcazA3CbKunKjxbiHDhcLAMB8KWZ+
ybiUqzyJvKOHLW3rMSw4SoYUEq5TQrXds7lE3K24oTFbYj28k0G70o6OHEJL6sEhNUubtvLjTO5y
Anhr2Fu0GqJCov0LhvYGwuhtmOhT51jXZD7g1lOBWxeObJ+M20Ph2HaPBkaD2fQ3tqsTFxiC9wVC
51ONv+9Wsre8/5uM2JsSHPj72Ve3KM7+ZGajd/89xTJfugmbrOjRPlkwXy+TAHJIIg+O7Lt1iFDk
o1tk4cm7bDmaHYNdDgE/tMOASFI1XUXsl5npTnmEF3lGJDNVCnH0M/i30CciwMe7YIVGNSLo8sPF
gf+GS7QXG5a0Dry+y2r5JRaQfaUB/5bpkp/R/jY7DHrPoY81Wvmmw1ANaTQIAD8uw6ZuxJNgDSt7
9Xvgr+kaoynQ6gDaAZzwGebqO9HFFB3IyDswgxzcqCiaRcAXythOQzNdeZRApJustdD9Vgdd/zJu
MmmmLX0SS0wuE+Z+ocSCo4J4xIYBo3gU0KoIEFI3tR22JN6uDbDLJVvX6KL7d5Ajd2uHoSOxmM+k
vWX1yLKXvJWo+3LzwWb0mTCcgWEUrN5dEmEQBbvENV/Yj2FDeAnYOrvRCfqpF1zZWZOdZN2TH37S
PsqPg6dw4od4jhfmhS9QGxKZdbWL/Br1T3a0G432TIoFt+3Rh17mex5ItWOrN+6gQFw/bWC/Bykl
WmpG7XLcIA/vU6kIfiC0c8qyCbMlRLlOgNmSBBuZlfmhI/5Tm/n2FBFO6niNVLWY+VUT8pH6HG9b
tKz7MYaZP+lkTVrMYNZi/eja9SvBQbZG8TujwUohdKb/w9F5LEeKbGH4iYjAmy2ufJXU8toQMiM8
iSfh6e9XdzMR02NaXQWZ5/y2VIg89uJ5vWqkZzIVdqhUlO0Gb3dvIPhbhnHyPW3pwsaWKpVrdn11
Z/tVFOWbsiwO9r3y2nI94FvwIss0BKpcImDzzT0h5norjJe0S719UVLNOUqEW4V9z5dNr2Xt3DG5
FDiHpubWhBOzFvZWs0fh6KFPrBQjZlnPo6Uz+8M6MlynyhozYwmIz3T1ofELgFR0Vv//Cy+qdcmE
+58hyReurKUnxvpg+frQl1dMur5wCuvKSKSh8zFfnUFgUq+sqz6V5Iik3Q3BmHFETTIeSrI9Vej/
oyjGl8QuimtLOvxUtNc2c/euShi33WSXqkAWw07YNhaH2vDhEUXUDl2223R0Pt5KplnZjjuv8ETA
DMvJwSWU62Cj4pgrFuGStXsYDOldCdf9ndz+wepwiug0mvtpUXLcFUjDBl3NUfWSRGE2ku380Vrl
GqzdWvqOyYhA9uxNDkVsJ3DMpUZFrZdWhLvpYMlZsTHBpvWlqOe3OYFGknkGmJblJ/SFLv7PehvE
o+0ph9LpBw4m/XPzzDly1uXSjQ3rUNdxlrj5fHEgt3IyQuaNbKyaSLdI4WSI8Rw+WenUxX2xKQiq
ll0vZQnIpifH3NV8i6pvenluriH+iUJcE5jjtJh+pUHeKO9Gb5F7sfaCwUZNvjeNbwVV6ufKJesz
MvxnDf1euLVxY9uITa+kfdnrmvvGsXOa/EElyf2iVg38s3OXgRQU1yAwibJ1INexbwJW/GHvDFuo
joq3V8oWiqThWXW406PcUC3k08Qb17pxyp6UQb7JvIiTRlHCQ0VAxJ63IY9yydhR1O76MODbmYYl
52athwhGCY/wmivsuXSPlCOp2ZMzkv9fiydppTqDCzR7qz6CC+OWHO0Wk+ZdL7OZRtRl+8YA/t/q
fAmxQRT7ttR3a8s+BhNHZD6ZSP7gVFk4N0IHqneYycmPnw2jIo8cuCDlXOntivDSgkuLdOqE83Bp
/X61wTBRU3splopEhXgzO3GEgfu3ueojYf9cCpuEihszjnMEBcTOIp8Ap3xBs3KzCnT+zVSrfm7U
HzoDZTDT3An7Gpe6FqADiBgj2pDQ3tK3MhvXhbLWoATDqVRn4vdlfZJp6h30QmUoSJR/JkrxI+v5
EC3WhgvKyG8ZaccE/ioDUTtJtdNbZDDqnV5MRfGmaWMXmg5kwHj/6cb64Hr8o8rMdq6sSfTXjY2T
Kv0iQxUzBXkmfpHMhNNN4reGiQ8GZ2AYc5dQ7VhA8lJZgqTx1LOLnisggVjj4089Dhf2wN7xrCuh
19D8A+e2WxwI7m8Y8bTboENjeXYH96re8Vpv1uJKYNgAdckc5XNAmAVvRvcmEcLvTlI+EKT7NCuo
SPXkU7XtEnR01sKly4znttkCJqMl3u47fp3nSoxE6EdRM203LvC/et/6unHmo2sfcqZy9GmFdilz
9mfUJqon+2NaCYKstkbdGzyHnLRTuFXpiFx7AEBft3fbIMF2AqEqBo7BhvlpAHcJkLSGjLhOyC29
c9ztrelNN4DvWoOtfdDlaUYwD045yqjQ9Q+7ozDVVPo6UhqKgyxLgPUu1ddojzOfQvOjMCWrSTaR
5avZfqnrQCKMxQ5vU4iF5SHP0L555fAuV4acdEz7F9vjox97mXHPaGjwnQJTasuOpzXiqfDgX/p1
DEkw9sJxc9IHsqKjTbPq3TCYkcarHdRO3UYSmFFqLnULevGY0wLAxtN8lpB5/lq4QN3Eg+xTvXnp
nWW4bB5EAWaCI6J5BJHjYVPaJNLV4p/tfreDroVmDiNaffbrirDaXhgc+VVEKJnL1s61MzryUCzO
K4+EC+RPLHnXoT2YkFPtFW9FJygGSthz/W/TBQbsBFBFZ76NRWdrPhnUqa+lbawiAo9XSdZS1UM3
VzsKTwBhgdYJMxl2DjHRvSyv7NEPWiAs+wnPgREPU5bHdYdwS7EasqLM982WfEUIzH1pPssxT++N
62edkwSDBgz/RtBfVyDwluq073B2+AoENd0UbU4pxfZQOANaQZXBp0etPlQM1IjFd9Ncv2qp88I4
mu49VD5BuZp/aQNGXunz3Q0Tbsaa7opN8JoW+tcGER4TYQyr0xLbk1WXVW+si7G1Voz9rQmTvH8B
oVb8aW67QLqlsXfc4kl6pRXmiTrEjEaZL6qtuGZZfzJU49GyhuY2KcvDtolP0ZZgzBVwTC2Py5hm
IHJCR5vuoH0EQN2NJ22wnjKcS0fMPvouEZgUUGNiKs1Idzc3KDxBFHSkEQGyrkV6zpo2nm3MO+BE
goYJ75Ek7aPmDciNJ6jyigOdOxot50akfs/sdRwAJ8+IlQ6TMbnUWCzKCVtgEViWQXseIfsnIBL7
VOnLu2kqVuhZZVRsm3W0hPW9jV0dOo37sqFdeW7vrWopFUNgEifbc1T8XOZbInsf4N+6bs7GjKl5
t8n6r5lYflaCwawUjNIhK0vOxs31F9V+KojmBtfrl13Xa88aMGo8j6xWDZSn2xuPUnFlgIZIBF6u
1MFiNMP9FXs0R6md20YLrHkpwqFfEezYuXiwsrhRHYD9DPc7+pagLTB0aOLI2MeAs21hTdlQnE/q
vb+i0q89TRuODtbUVZZx7t4tDaFAXjnOCfvVz1KqemxP+eCjpM5iU1G+e43/SU9lDedEQl2nTQma
B+7RQMIqektPjLUg91pfNXfhNAYiCVyt3+Msmx5b7EOsQ1lspWRWjwmXhzJb3N92IviEMAn1rn0e
2OQDNRuxuTX5szFnk1+Z6cvapyBpbvpbj4eh+NFVGBC3aL6aqfLXaWG7W5l6zMR9LzPrQ9MsrFIu
9TEZIdnK3SG8sqKUZhV4Xub6Yy28oHVgMxYBFUHZz5jx+tXIPs5jn0aF26Vh1nFcTp0j0WbDjNjZ
A4Eq0Npa8a2b/ItJPTMEZ8o1mZZvucqK24XwmjH9oYPF2WkIXv1t9LJQ0Nvgb1dHOu6OLepSp8yH
6KxFm4JXeIl1rO4SiRRRkJrzfXQiUgrvAW5p8ZnB54ASplOxWoxgfXesGm/cu47+Rb9P5Bi4d5iN
asV4XlYKPGZAML+uNwYl+WyoGy6WJvF4vN3TZDa0zExvnUq0pmGrWpBkcgy/VtmDV6sUI8GP9CgO
goYNJ3oYu1aeIHp9ZAAIcFqj24kJCXZ3tmjLieZsXOKqf5hhPu9iwAfUkzdV4jbUp/FPlVXk8BTX
wqXjh4UE2cHyl8yvOtHm0bKdRDd9KhRN+ZOZHxeJT8jCYApB5PxpRbKfW/Fmg1lYvJdEbN2Hm0Jt
zGDFkgJfbv9XCvb4jcuLtGOjWI8QXi2dHNtxKY0KkgqaFxZx13ROxKBzbnnmY6xvr866xiQ3H5sO
GI8PF3WLse9ncmr1Ba3NILxjami0mhOKX8k22hAuREXOp5ryZ75H683NN86Eh9YqXuyi/x2ytgul
jo5vyWkqLqY22VFztYNv0/f9IA6rCZ3QPpbO/KtP9hTVcFF6+ok09tatKwqurgHqqMcOBS7ym7q3
XjNOAcMr4HO04c2ZQTgqSBfbJV0Q4QO0DTZFvDZk6+pGgiwTVHftCB3sGUeiTTpP1kBPJkO3E9YC
zRCJPyGD0lGpv0dyjnjblG+2W4DykV6KGjU8wgNArjuDYrhUvHh0vVALNSTjg+MqT/dvZMs2OqqM
+Wn8m2qaZVjUgS9WNLl2S0047taqYHy0hlzblVZ5khBrgZozdDUL31PSPDrqBq64YCIqN4i3RKLh
L13eA+sflKSMPuxtRtreidOYVp7fzj8A7GAOKzU7NW1YWZ/EeA6ui9vq0Ib56V6GMFqlHvV4f7jK
MHV484zGdw4p2Kp8Y2N/gY36M+zhMNJu4ANZnwG0UaI4UCdwhxdvIy+8sy7zkr6KjYHfA8SQy1tt
bW5MpULkmNkQJzN6Bg3OoJOw4YZ5dWFyUmvcjYNyaAYuZIN+kqgbqDpry+yPxQ9EBA0NjUSjA99W
fKlNTTGSZr7Ap7R+cjAUxXrGN/lAtI2IK6/ruW3ya2aM7cdanHwGf75QqdMJD8BJT5Rzc0kMKDNI
Y8PqE9/zrF/D6ZnNZInObltMfimHhUbMHWr44INGy5+EcG64wGkm0HlGWTG/WwNEaqK9xe/0Jwyj
cd3jHp44qs3Wpfoh2zDbFabGg5qt+95GAmxMS3EyxUxB/Jxd0AA2e0TMcW3L8Zw7GJ/SpybZXIri
tCzOlBZkhgd4nVEcdIjEJnUWQb3KX9a/Ze8VYLBlsxw2m5GrM1g8qppgwtpYXg1FN4K819Y9aa8c
H7yR+ZQaN1HnH83krr5OEdmB50RjOaTGTdQCFLe+GGPiQmrROJWqI3vdqoWd6bk31ZBPo8WPi+r2
Ex/swREMALM7RZBiyUVXW4pUUo5hvQbsK2wEJHJKICZA+H2UQx3GznwHe/oCyvphGIp3FOz0ao0Y
LkU0oQ8OiUf60J1HnrcOwBlTYmZSh6JTc5QA+ysmOs5m+pstOz/2o2tAAJjWnlnIzU9CVazd0Cy/
eZfoyBe8Q1aPiHvUkVxUk0e1f145lGfTmhADo6wvS08PrdpitnHcA3ivGRiemR6T9VFCyZ2bPP1w
t7n2t6XNH7BUsl9RPodF52HxlALZzEixmp0uUZnG3lS6B3SYn4BxgVeZoA+lcTIqXfW7oeQjuneP
dalK447Nn1u5Z9wn+VOvcgM0+PtQY/8D5EHZVo5bnNrKC3Oon2WAo4qcUWJSyGhbaKRdNzkVMr9k
SUf9tbCfdRsVgw1Ey9sxnGw1xZxHpx/yn2BDfXKhnOvXqEOSce/OIyJNq+pN7+UXhTXGJ3FwDrCF
AxXcaFpoT4oIlAmxAKZArLPDZdGAtWxn2Kls/3dfzRB3qxMvJT7yBBQi6uGMfVmUL6urTKhqnKsH
RXad1fS4GsjfldZ8EoP6mnmjvlOWujuqE0evc/dpsRlhUJUfbvVJEn/33iUWy4/T4+DuM5S2rfmi
VrcytWu6UNj6GS7JJcUldjP7KF86PaCR0NsttZ2Fbp53fjVO9JIobR41jnawxsYJDY3pZRTZjl7d
c7OhcFBokAJpp/BKkZ0SuhNQoZmnBDcVDFVMS0c94RuT6XgYeTP/IWfAu+PmPM2TGxUWKINtTX4+
Ik0yUsx9M4hAZy99XMp1n87sBJqHwVAfvo3WvKrlBj7QsnFQOJByTdlBs9hVXLjFKwqO+4e3jntL
1dNdp1AhVWblckaF+q/GGHYaC21vbmg0jcx7HO9WPoYbx2f3Uw+1qX2b7Sxi4PyCHhhbfzFz7SKg
/BTE5hQcJb6V0/ghit3YltYlL/XnZQJ8y8vlYai17kr/SLCV5Joxa/wkcAV+TwJOxEdoYn5AUKzL
1NpXFeI8PUtJtuh+uYawo5LgeZ/zuiAnJ4R+MM+GBEG+7rZN2DaQB9Jc94bLB6pjj6ANkVFZM5zI
0fh1L1F4rFHby2pbTr31vro2QFPJa5+oXkGCg+7uEvroSIgAkUidN82w/zNdO2XcaFGZ4TKfnMKI
BjSwIJaMGts1bS2i3FeYHb0Z9tq2emE7aWk8bt2fkfafxkJv0KxtX7larGFyf3o8Byhdn9MPQBbl
aCu2EgoTzaqLsz2kpbkJe3oisfa016QH/7NEE02tY16mz9ozhyN4Mx7olARDDQ5yh6UsCwaTfTjv
E3GQmKcIsgJPTR2WcP6DHQDHY9UIN7IkidvCe/OwfuZ5jYwy605r7VA84S4wRevNg1gB/VfKizem
Hkgai3Dtfsy5m5xNd9eodNvdgZxeMdhM/6ESS8IU8vOuOmyiFOnhNccFUZT81i5lzmZZ4kjA7h22
NF9mlQeXmtpeXEsnGIU6+2mnzkfpWLhwPW3yiTeIRp0myqkYhgAJNCuTNUZK21ngKOLqaRhqidFA
K2apUWutRyZrnompZriQyqk3WM69PolKVPehAZiAnAQeXBqNPy/wPmpqmw9bqlNG+lnKynx0lPVf
hQQ6RINO3h4pyKX1VCXZpzoC+g52ezDThQmt1Y6uav502vbrmVqwSSIBrW+UAS4oorHt3LEMUkST
h6RZn1bTvZ/vh3WtYT8641QRL3WQIGhLMSMOBwTYbwYCHeFNRrRZLWMNyCFOqFCXJXzb5jxMbWeD
Vwv32FR//1d+mlJvLiDqvzwBTmB01cj/jnRJt0eT6E3Tl2OLUyN6cA/Uy0Gf5bAEpsBAx1NHyiPN
Bh3bcpFcNoIFGg+dInOHvBilukP++mKKkWzonA3JVuUv/WZQUIqWB2mlvsied2nWeINEWVCZACtc
HsHiJKpkMljctj/U+j1CrVLeqXQ1j0y6GKg7biLVsPKg1RcL0r1TcGIpv4nbKHh+qJBiU0VT5m05
Qm3yoTWETGapAXjaDUTrtC9ndd9XM2JNc/ol94Yo3dx53ZC4WHMmg04x/iHMBVOFsQsrlMgdKSsv
umbtaaHvfAEpFA0zqH2P1T/EmyL9pWK2NzPUoIBNrH7P+PtUTrqCAG6hLG+2k928/0t/M+h0i1UL
s1ERG2X5OpTFM8I85DmCYEgXPj2oCywnBNelNFNpxLek7ikR7g/TNILarWXBqwdepB63Qu9WD4WS
Fyc3/26A+MIGVWbYpY1+QcEPQ1scEr37KdDN3AA/JgBPlnYHycCkldJ39FpceYiZtfIJ/coM/JZ3
faBB3CIKzolTSfq3XmyxlS9WsGpags4EjZzeUT5amYOIVWQbzpR+wf+pwWY22FE2CfgzAdxlKSo3
6apfsFhO2N31RPWkrvs2NS+9wODRUhBWoQCkFWzeOZLJ2a1xJTcv4A/mOW2lGi5KNQXUeN2womcx
xOkLhnVjZytdSldg98zxYvoTC2jYOB+uDqWasSzsNfOGXiq5Iu3ZhLxHxDJxeXhXzc2lLM2TRG7w
KAWGvCem5IdpDC1mJhY/5LlGgzi/rw6tK2RUNcoWJhDtQMDLjmj3BPGOcdKwFfpYmrp4EeZpUmht
uWvAB4JCppXiyaaqfGBVgihXyI/ESF4bWOT94jRBPiPtzlVn410oy3gq2/Mi2AMw4hfYoHf43oE9
YOoBkEgFKCsRkRaGWShh4PKwWqJ8OaY9joM0r/+TS4FJd6Wu2Myby2ZVn7mJmN7L2uWoQyCtaivP
lZb8TOOG8PGhTVbnojoOYkzd3ZtJ6oSjheUr35SHWcu2gxTtB5TRCrz7JzPUyLVVIQHBNy7ZToJ5
ELs1z/uDhhSMFI2TOj1qHSk4Hs4CujzzPnCKpAlFhkk6n6kYbVAMbvRAbjYYsEhBtrvuMCQboLuW
j0F2r1lmjLd4oCTRQJNVnFgSgMRbNvRXm766E0pXiisyADRobTim3G8b1P9dmbrHXhgkyNIVzKM9
HVaF77diFHqY+uVAX7Z1WokL8Y3mtXQ1+8RAEVJbbO/rcdUJVhrWKJ8QYRZZKs8NwSgwdoIrfn4k
NUI5NoOhHMm1gWAWiQiNCfFfvxUdzx7YTkIbJd1rxWETnBO6QhGtnMnEyYBETyChDysulr1cSa/e
9G3YD60LZJF5cj+sIGj39SyaoY6CcVJrZHkGgmox/TGCb1T/QObjMvkutaKM+w0pkV9h4guIle9C
te+VE3wTDLZH1ASJOJ/22DonhJ0/ebJaLGZWGxCO7O4MW2ghmyu9ylR0Q1nhMdTMxLoNuXP8wsxe
HmZM1WPF1m1obbebNXwWKmhw1NaTjUbYlDdMmPhnsyT96ZwFRgW+za2eZV0b/3Kz3xd6nr6tTaqf
S4Fn6v9/m/Sau/O8VsA48E8tVk0mKpodRo4dZNaKuGTtbPk4VuZTbhBYizLuOGUuZSEZigfBXlDT
eX0UiRHOmIovW6N8KZnxR/5FHo+USWvJFreJeJcIx/xqHb5yxcxDgEEu35l6wtuqpdcRAOWo96wt
+kYNg9buupFGUwemM6BI/JgMHKQI5fD1B55hilOV3kvBNRRZ67rOQcsAhfFNozrPIcyxNhGgTblY
URDa4Tyn6mMzY65Xpyw0pKacZFc9lwIKZCQBP5gczmo5sa6VygWTl8OGRHFvNb66lIFLqDYbCkQs
CI9qL6kvnTfr93WJZsy1148DO/YqG2o0cbC67d1vRtD2VaeUMi0+x64fbqpQEpSF9kvZveXux5ql
ce0+p+ASG9iI0zAhCAx4LIqmTdNmfZ4d9zL0+d7U8rgVH1LUe3UmF1WtT8wjuxRJLuWRS5IgeaBe
FBIk6HBSDcyDDt8mGaY9TKm+7Gq5BDUVsqSNo7H2fIxRLy0igE26oZ2hCdGPI2evqnnPGhTfMJEa
ILuD7HFsGVh5ZI/7G45AvmnD6k/DGLhu+pqMJ2tGMpUelM1BqZ3TzH3VxoUiUB2dJrZIOp6OcjRO
w4yjAKkAANS5wcMmtjSs+RPphR243ZsHAtYRwIHQ/Ngh4pYyBF0yCvRO7XXJv93RjDpd2XcNKyD0
p0KklbZ+KC4wU0pUMtO3tCjitGlyydjO1Q2gsP/ILN7ENWsjUT/XNt2tK7zExAqFeE4lR2Ui76Lp
h3PreSdWD2wZX0pn/+O7D62RpmnzTZXbUe3GoFom/FPrA4Q9IXbji6agejbpqOhvymta6E9T+mJZ
zY5cLBoU/ET5bknd22M9aPI3fX1Pifdx0gV8lDVCYV/o4PrZqYzuLDtoQtFGyfhXY9VE5UwMQrD2
C6oqGZZlizpYINb8dtynqiOsAWNOEg4z+V2e8uJoqLfKC0EHVYEVv/h04TbMsvXTEW3D5gas9yma
KrTHXjf5imjjDTikclkvpiPfcTDOLSu3PBV9HxJJE8BAvBEc6M/ItxW1340GSoLmATYHx/YVeW1c
4o1nApLqBz63wLzLwZj0PO+pxT7R1icNKI18CfgkoPcM3cfiN/YSdcYZ09dkIfo2BSgIhOwY5eJW
m/VFbp/TEqNCDBQLkbvUApWPcbNjpW4PhWORupk/ORTNWhhTAcAuCCx3G4EMGxL0rauCYvhJgFo8
ruG5eapMvh5kgTVqP5Pw0bL/RMER4SqLM5m8UOy+m4nyopdBSVg4TTsmtGzTvkyoZxqoyYP6Lxf2
SdcqP6WcKAmU1UIkQVsfDSZln/He87Osy9MEA+SmNfPbHbILSjf1ZaJHRpOcM7LQCoPUDzDk0jbj
Nju2+QmX2d42mL/kO6rzfcr0T3gGs45xEEg2Zvs77Z5K7Ytc2N1Y/yNO2y+9Z338b7DyX5pAwqb4
sTAyqe2RsDeLFc0ev1r1pCwVeqJ+P/FR2U8svwQ1M5VeJIoSQcAMiV2+hnEEhhFu4dDzwKnJtemI
RTjnPEv0t0PeF7sFY1taRAoeU917nIbpo2rYjAAJoLP367IejPx1rH5QfPs4fFUI4by9qfWlHWdO
PgwROqx+fi3vgQgzL7r1OTTPNZoVxRpJ6rpV/SvxYXtUH1fVOqpIVJPmwRXtTqtWqJZLpxx5QSjW
OmOBCGZdBvWz2cKtrz0d0CJIKi0Y7INb3Zp039yBUVmi2H+/0+BpeVZgKFFvqtZlSHYwyUhej6Us
jw5K+Jrw+GIABuNnyzBLd1gsKfdZiy9kqHk+XhYkCPUSz1Da86YGmnJG/bdrqEPUJ8SzYH3dm063
c7WrkTk0+Co1vo899Qb7gmNRwWg86djWhz0xzFG3/tzpwHH+6MbpdcSB5C1rqIGLOlOI73GvoBFG
vBli6IwhN8Mx2/ZW8YYXuTNH3wAzl1O3W/Q5khObVEOsR/9fDhvhAcqm3nVyUeYIQgiXMlStk4K9
uiVTT5YjFrTL0ju+weY8wFmAPAAZYwalgW7BzInwubwSXnJ0pht11IFSZRenOyjlecRNq683cnnw
Kky+xgQ5F1FPGpLVH8cKMFHPAzHqgfDyeKphhFPW8SGeCNHEVckBHw+zCWxB7EUZNf8xAQU2bICa
qT7XOxQP3/cQV6pzYsYheeuusCF1KyFRgsARJIvdMv5rMvGYE/vHTR0sOUoCA/lVeZskJ0kyHBlz
Aw9HTGr0QJUsJRCra5UdHuVaPOJm3qksN0gQEOr3JJ7dWoStiElCC71S6oHUYYRO7I9VUj/bMNvD
1pOU5IvssabMbZmTyERmWiDN1pmvMEzAN4xBn/+nyed79ESBLhtyDQYkbgjTG3qmP9LRp6OEZGqR
lFbaj5rw+zRvnVbETVv55oBrZMTw28GB4lsvEsk68Uioj28bJJpybjXZIxkGLCXhliZxNSQBIpBQ
be4aGPCLFcxe+OSi+IOpkZuiEIv1e/cmYAy/CGM4uKidx1I7uMhHFu1NxSWz6ac5fVKcIlD6Fie+
ffHcpzofcWsPu393c7i9PvTUgXiG8kKSBKwUl4jrIwlbuGq3uy7rmNVWVJjZpb+zWneZ1bTsJVof
JHsLoXsiRwVS13tCSHwg+l1PYFdZmrUPYZJW05EdOSj0S43tgJWYr/hmPFjiot6pe0rVtRgmgxXc
epw5xiUv9TocIW2nesATVYWKLlCpzMytLGg6erMiv7PQb6ryjljLwQo9NbtuPVQN/BjBsfD/IGDP
6Xidup9k+DGWt7wHv3txpPqEWC3OUrgX1vYxS8JJYIbP1m9z9fj7fe/9WTNicl5TMfdYqZbn3v5e
VCSOAuxD/VfxZzR5U7MBPP2kb+JJsx6a5bgMIM5WfRqMG5q5expVVCcPfVs8uk3ui+SUu3lE4lfY
ZO25TJwdo/2xyam7U99z+ze3zWAk2vzRHa42gqTG8VCvSbI+ac7Su2Oh8dZAsZRrx4/LsD91e2ME
oC4DguyOrXjRxxOqyn3qVojqgczI2HR/zOaiNdPBIX3FrqqYhnkylTLmAIpmrX1vXocWC2pekAg7
RimvW+kkDzrHfVY7VxLDPjKddI7Sw77yPVXg0PdU0xXRzaUGcMaKrrhZXJbr42DqRwUAx5LHXh4S
kOHWQFuVXAezRKj9p2xGALd0qvp3ffjPJNonBd+cMwXxxnulN7E0lseHGj8VobCOXgKE3/2+OITF
1SqQl2MSXbnGh3+OZ4fa7BwMK40cF0AECQCnurtku9XaqXrJ+vPe9cxNyA8A2MbbYIJr0Fhvybe0
5JxCD3ZnJ0kPubBsRprLIVwPddQVmBH7WIy9xj1GG2FhRjxPP15PHENqHNh/YnX9YxU/NZN41Ds6
lTxvjJvlbirxeEPMU8nLaSV/rvqSgzx1hXHst/fFfq7M3yVBpKgQtkPuHXFvggxVZ3tsGvdx8Rpf
ukqUJsqvmXaneoNbVV7QqD8vQCEQK7+KgrDLqsF+EAEvAGoEJ7zYGBs97MAmbAQWLPYc7sj1UivO
CNBpxnaunbtMuZAIVbnylDnm58Y2xsREPhHnuq2ehdBxGi4+qTDMw4z4zF2Y/sqsv7lFepJr+Y6a
iumUxE6Tmd90ns1/K5LFdWXeIdoP+YhSvPJWhLrbnQV6KMPuH7csBfyskHWDJCRa6Dns393wlGwl
sJB4IgoXWaiBugCxnk6Ly5KdXXM7dna/w5FpWefeottWrgdsPyO93fOm8O6fWVR2q9D2ComFxY3G
pLjad6Srrq11Jsc0SmsGwsRNv/NCvTkgBVBUB8JHd735PnpXLxt8ksx8h21fMGJ4rcIdCIUzu1Zc
jZQZ8G9a5d4bEfF53X6EoOwGL8zSOzs9EHCn/Gx3oVQBZjxBzJ20NgkrI9tZ636zhqjVQYXvg4Uy
wLeLV9sVQSHAgLQ4QYfBw2LU+2o2SOL8VnBBt6b+XDXNE1GnkcryV5s4LHncVVKN7JnoMv0ozYMq
PPSe/CxFme+dde9aZCIpU+QRcWU4z8U8PyeEAt33TZX01yEQKiWGHSknJqI10OR7EOh0MPXsBpDP
ELiES3ObHSO2zM0fEVaP1Xtx/1HHB+LMoJUz0vs6wt7aNLCmF0PFXtE7bLn2bZv+3RUh2vxlO8bJ
unOL6edqsH1OMmydR2vDq73iVUPn/N7UBWf5GrggeLmNCIR1abi0WG2Twj4aOQPpdtjGa0XMY2k/
zCtJtVD7nvLWkpWBvSbm+NnEyVPETnf7twEiysTJNxDWhNWgaesDkHuUqNZeJz244BxelcumzE//
4+g8lhzFtij6RUTgzVQIhLxSSj8h0lTiPRf39b3owXvRg66uTAnuPWbvtcepvCdZSJ8BCn0pfR1c
btx0QWWNvojwTDHFTsLPFhuJVYiNqqKet/iugW/8tlCAIeRsR7DeXZMcpg501LhbktZXsP/YyQfA
ylPEfK9b9mJkrajfuu7etk8r/gXCsKTfLO2y0CChWsihsE+UyTHhcxPkuAgnEIv+RpauZgVj3fbK
kA4YIFO2AltVFlGosOV0eXV09DcCSVYO1lhGpSvrFUgiBHSpRXhVQaoN1QRlXEklXYe9O6+kOHZ5
Cb+bquyLWdnEvAM1ZwPDIF9Vo+2YvlaKsYs0xPjxS2hQlCsQRp7o1F2SLc23QdnZUXm2eqCsuPbt
U0ap4tRPayKs+OIeTVdvAY5HvJ0ROtSGU47Ps0etE4l/bW1QKLEWjE0Mnr+yRD5NAQKUXl1hEC0m
L8r8sv0p0DsPIt4oWe119RPy272trTtUVG0jSIQN0OJNDjUBYdaYHugYPYeBrKiuSV8Da0MBP2+N
qUCUV5IR094UOWBdCZX+gK3l2HCTdUnhU+IApXPZwrxT8KNXVjS0Zj6E0r0ZnpLV9yqPFyQGQCPs
A5VXYoTQKbBk18W20z9MhsOydFFwLExRRUno3NjsshJWKqRZR2Ijj4OlUuRRpy73SDloEKdkNjkJ
gxXGhH4f31i86Zu28zqwxmosbS1+M9RrLJpLvw2DERpwBLhy7u+0CWpjAvbaz6q5SeTZbevsWY1u
QCKylm3LpQITEZqfeDeQCUK6yOs3MaEAuYsqOppsoFj1uGVz7Gysh7jq88xvErwQb6HW06xbrm50
frEWMjog38hvkb8WffEFIvZz0o8mHV1ehoGK88dq9GCMIHsz+qwr62uh1RvKMnDYw1oVFDHmLNWh
wjlVM0uDvdObNweqGs9b7MQYa3hR5pK7+2LJf7UUBVIBKHSPBqYsFL9zKJM4c23zHnWPrMCJXTNc
tnx2kGnxz5SAofxk8Wfl7Me2ugJT2YYM/Enm2MgjUx5xHRQOfa+2vyJF3gMX2hB1PecdXottFW0z
SbhKu67bbJfhFMilfdae+j6wkpNCOTmAFawqcpPwoNnsM6GsxGYQsyRgNeUbQ7tdOgXE/LBrhA3G
1fnKk/l5UXtf4Lmrs1Ccs3I46RI1mGm0pwqIpzvqAxAlIT+09tcYhtSHDHAIVbhR2jg1niMrgz/U
kDec0eguoBaIhIS8ka1jFuOQAJUgMMF5yQxdgJ9lXQxNj+FMmEV7ox6DoecLNmdNp5GJwSp2+CWE
lsrberVkFVacneBZMd2/DE6HTjHWst0U6Y+sbpJ9gyU6QYDhzWlRbpLM1oMuVh9T241XdJelh54r
YgYJ2yrVI05UNJwIeUZ0HBunrGSvK4pfuAoDZ3nxlTQVkyGNEYvGBi1lexsiV7hGTXqxtfQSDZO+
UwQTumKwmUdqaHTGbQ0DNBAIVvcL6ya90Oyt48xvOb/gmbHda7fqCYp2W2RScshYxLDEX3tBHNWN
0/yIChlPgutaj+b4DAHrtRwxL/Z2I45SytAYtuteNzvfWmj7rDyxX1KmlDuhp6CAqm5rmvQMTq95
2MqvU2JOATgZPOvDUAYJT47ROZgbnDf2DfehBOojK/IL4/xXAieQQpEGAVlLVIhE++JZIdkP7QNT
TBszw4T2rbT677oZmb6FNZx864UuQXhAqv2aESixboPi1l047SxkNLo87NQ+EdfVzVDnMi4MyOpw
Ecw7B/k9mwZgzxXwYCFzJhaj/qcgSr8AjdfMEDY+Z38ILKK3lvnCIl9JF9Cx4/QP/bc4oF+M3TLU
xG6aMGgpuaI9MeL+DuP2qTet+icH4Qxha28IpdgPObXNkMbsk4zYm7nDq98KoG4wOjS2xZzebGBe
o6Kpmy78aA2ARbu54adqR6bc1bquMcMoMEHGb7rtnMT/FEtiMbVgp1XjpfYgUjij9E8JcT2U/Kag
cpEDqMXBYfxaQUjUr6kBNXmRSrrXFIJPK1KGtGrpmkmUbr9ijeJl1GnPrQHAKwkni1ndigzN7QLW
4qfKOidQBukfUm/6U7Y1GysM3+sx5U6COwNw3XyXjZkLEiMXR8OTaUQcOhqReyNislGVR7de2G50
Wfcvjp218CEavJ1mr5ZV0tYzm/3PnPiZLfEdagOPEKnhzfKw0bKtz0UzOHqw6ADqCsVpdq0ZvowS
LC4jyg92bB6TSAJVzVhCMZJXNOHWQcfTKxKWy0uT/FjquzJR8rsll5DUnpXZnHbakqubGRnVgJ4T
LDVQzDbb6xUj6HCtiCfAXJphPuvOWFxmxTrndXdQnYzTDz8uUUXMDaGQb4YEVQ4oRIS6fSb8tFYW
/Pjcm1NsKowcsmFjlhj/UCKMffwFDpwDaxqrk9q/DxDEQ238zrUmsBNuvkaNuNmlI9rTjZa1+4Wh
otNZvli0s9Q0Ow2YiEY+6ywWNMIQ1kwksNpVixuGpk9F1m2x3h2q5IVoyYOiCi9D9BoNud9aGvyK
79bUIE0qiJpST0G2BTvAUiX+2n8GwNlWrQ92ia2U1i29lPBl3LgCUcgFHWA78qjXfZ2Bbxo9GN3g
kp79mnutyWf091zb1QvGER8BOShcAmZYi0tyeTeSe5U43/THBZgSU67wY31P+g/pD0xRP8t1esGD
5aRk+Ha7DJ32UmNf+LLsq9IiXXUOJDywlCg2USnezDjbQZLC19NsreEtWuZA7UAmhz9M056zsAqa
xDq2CsEh3tw2LkYiP+lCPlo2WzBBswz/lakdk1jeOV3mD4QEmM7N7Pudqr40y1+mfk3oPUewVDVN
ZMj8OGRgrTSzi+H5onwUNdXDRXJsT1NedUwzE7j39WMqmbPU9msnU5SJc7szMEFqO1l8ZcxdoDEy
BmffmhHLkA0ubJDbwpBBi+ksQA6mrRdz+C2Y/2XtDzQEcnRuJzJ/F/qLhMYvadEdZ91B0Z+zGBAO
cqqRjxvbHQ4/5z4wtskytoOIxEU5baBtHrR0o9qfVrEr071peLnjJuGT1r5O9snkoYpX7PZvaS/7
GpIYWTY0K+kpX8NradySwouoGkrojXYy3XLltIgrSBY3qku3JhV11oDUiydVN26j9mIT9mo//z/1
tQJYGcxiWDG3FJurnsIWpuuE9wGfipFpKDoQk87TOSuWbRKFrmU+7OqiFoSfiuWg91BvsvJcgruf
FfgvPFGT9hBByYgxixvgUAjvNITTpbpvEHfQmuXhiA2NHRyvgZyeabRpeQDD814yREFDRt5QnDDk
sNw6lvaLg/oGGZiuWTztyM+lPTCP61wtAfYYNk/FNtNpTSjxi59UfyNahF4QzFkP/8Q3RweJhMfL
JIzOHbLPFJ1Srr3hlt9ptBgdIuVNK8msfjQo60BGmS8O/a5ie7HM+DoNxqyUAQXNjXKaRLWhyPYi
/SRmJhq2cl8y23dG8a+miS8RM+U4Aw4CZu/APAkKpzuxa84QSE7HrviAsbCMKJLsA5ILTHWrQg8Z
vMtsCpOIW1UI6qB/OoLht6/nODrrL2A16+hI3BVxrVB7jj1wEuJdRhReab21WdwV+RnVk23gL4h5
R6KtXgVLeIsT0h5SHuR2E3Yju6IdmStQfBnyXCr7KTHJiMCFRaTAhk8riXbU0NZ0ViSmLsvjwn7g
XjVvVn1XkVkCoXQl7aMF79Vq2J8QmNkhIuq9lHYnwPdsfl9TNnWAqjxW1RCDf1MO0KmDIJ3wRiF2
lb8kKrxc9FyUnxJ6pz7n4kS+OQ0481lmOCjZK+ViKl9N/lnwisjhDpmRq6oV0SeK2wD5IIFFGvnZ
zyL/aBTDd6hfpgqkCEOhVEXV1QCdyam47B85wuvCTELOYo/17SbMW2jEvE4GRhhoEW26hlgoj8yW
+XIqupD22MTddZl12gHn3KfWpadfWuTopBcPuH8+9wxzZxBGCX65Wkbf+jKow6/SNDdgwXGXHRJr
em5zZZfCdqK72LR9+D6kpWtk08Ws499Bjd+sdE2bYb7Dhzg6lFSxhp5otsTfBI44KUgsAksSHq0J
EG9oNdximrIxp25LdtBTiMFWXm5Dp3mi1D8hmz/1KxWTii6+WJHtW4rH4vxuCxx0oeOWnYpIBbdd
ujGZzw/NdJqdlFpnLP9fFQ2thB+Ja9CuqU3xEeT9i0DcCOjlLUOYo6hfg1J9D3CR8z6/lAUdIndq
EYmVMc9+KTnE2qeqvJl1dDO/lP6pxXwWdr+5dAy1+Fvv5EOnJliO7Y9Rmnx1WY/K7COdCPvhk+EA
/+gEwyZqWounebX5sg4ZgMqHRYv4LbuVuLjZ3zL0b2lohtjGJlQdoiTZigjBjsMwva4dHmFzHzn6
TgD7dOR637RsZPR1UfIhKzkK4/ltzLNn0VV3abQCmbeu1L46aBSGKuhY7OMyfSkCVI8GNaoa9wnc
7RI8gWkvVCwbeVP9jqfOhNNLcK46uCIsEN7WG8Wy2S0n+yUGZV3fW+x5aouCX8TXwon5E/2+jkFF
NUdp9c7hvVXT6RlN3sGphducnked3pEmRx6km6ks+OU0t5Y9PgLJIjbsWrAwZKeF4YLsReM5nNkR
zd8Uhgr98bYHOWQzVIcvxwpcXyjN2bDa7aWVBqKSEgrWfsMzBHcuXsmMNcoh/qdznpvo4RVuexl3
S6T/Q0VQYqVHgacs19hxtdCLmrOWHuTuI3fsJznZOfMdCTj1bKIcl9aEp6sEKTD+6hSjJYg5Zpfq
58b75s/xC7lDW5TER2FaO6n460slWF+KIXmL64eBY6cEahUVGsf9FaEqfAtj9gAbGVAUz0VxbRuf
BQgyNksJrAzy8xbzuNngdYITKbg7SdLrZaw2W9i8WIksLhLN52gEico6CzcruQUaAJqn9JXDG8e6
BGQdK4zB7BIFJLeYa8k7KtcStTBZBQ8Ww+aJR6A1NtKr+us0PnADjyAIWbgqdV72cBCBbpITghM2
0uoeOUT7l2rqS64agLYY+qtwRxyM8DZYEqGwV65vqVkGJred1QLKawuWlJ311Be6+5OzCYxtea8q
fDOYbj1863Kzt+PaJT1gn1eYqcTIEJS7XuT7IkNOCenVUKKtwqjEYfHDjcKgYKwD4v3yPtkm+NED
Pg/lTKuAJnR6yVDPb1GT5q0bhpvipv2VXzN6/GuFGhPAiHRI9vO+e55eMJwu2damFK63zQdTAQc5
8+B+RO/VM6/bqji+OfvmBnp3g6VlxqR4R06MJ1vPnyN0CyM3Od/jNYczMBRIiIaZ1Lec2QmeJbaJ
1JIzi7NJ+U7CitG5NfxJw1b7HFneNtvFdQ4IBcSzflK4hVQszwSduc4/Gg4HQjsSUyYfLEeAkPwW
NyR1mOdo/ErpDfY5q11l9vTmbD4qjDD2jq+tzw5Tzc26ab0aiyjOctQBy3lCDjwDbd+Uf/M7VAJ0
yvguKEMX7PCl52gfxepcCZj7oh2ONrhxS9tG/MazSxG0oVbguedHGxaCefgB+VHwnIvFb1gR5gcy
6vqcnwnVIcY7P6y3UvXAU4M8AA/nGJ1ymSjfgJbUG4eDHh0l+1jER26/et5TFEc9c+NAqo+ohNDB
CPhGhwpaHV8gZHiuzffK78+YJNRw01m/mHytf+TBoZitoIyNAZsTxijs9yDhNctFYZ0enRvru7WZ
nE5HU8Aj2jbwcPaoXRXjMmsvbJWj/FnuHlrtG81Ly91FMxo96s9KDwz7JIxrVu2j7No1/AgTmnWY
OeIadtwe5xcj4k14k1O/MIIeVQBgDKq2kF/UfAj+qVLv0nQuoNWbyICVnzD3pb+691UZGJ/XRZv4
zkmEQJoxGwY+isHERbGOio1tS/ajoFQEAmR7LygLOv2FZqBnMm2dKfxQnHQGB9bOgKq8Y3tgF2cd
PT4eZGhNi4v/RmcMhlRT2YUZgYh0qH6W+7i3G/VksOVMXgjITbMATafe75rcV7s9VJuxeeag4PEO
MUTwnJEUxOKCiVn0DSY7jFHw8NiTpuKX2rMt3D7dW8pufoyFOy/H8U1lJB+jTLkYkjfqJDYNCLG3
zmfGWYvXAA+a9swjUtZHvt2u5w+fw2HXVnAsWXZx0gZmfV54XaLwbKCg3hXtnocYFRrj8Kf8LUad
kO7bdv2VNBIQ3xai7mxCkxuDUzX+MuSzOR2t6th1gSwdbCJR8wOnumKTPUztM6/axnUuUZLGMj/4
heSYNu6ykJtVANnXd030s1iuUnFZ1E+LtbVr3Flbc8b0slOJB8r2ZfWXawdNPYDZCaGYLtem93SQ
JX98FHyH3JONZ2fuZGw18wK3ha+n308XtL81iqR4pztUZuBg4x0zxFK9jupturgyWIN2S/vFGlcq
d8ri1e0vk2wLgly/byPAkF4KCoNTKGUV4A0YvVHKnSk5WciG2PpLV+P7YnPQvRH4kVKGgkBBrFex
jXTr4dFRzji/lIN6x9qNlfYWWK7TbGSqoQxn1Ka5YjyMrjl87OGMfYuFN09A+DN8LuR/ZFCwXBKz
RLmpUempkNJYXCDQxRXnrowjHZYnc5XDgFCdMDXFB/XW0g4hZjBKIrywYV+zB74qtTvy50LElhT0
m9ZknrJFfWO+SX8JN8qyBxVBAe/1A0CWXc6NWD14a/jVyaUZdsz1S7ihOd/ga6356eeK8XvXIMk5
B+R6MlVK76K3K/gH6JfphjhYvmbAg3y65Ny0eGHZWKFUeO5Hc98zwuOwI+XLaFA3PaaJvlCm7WYq
BEBffVoFJYN0twiEQD+EjwW2wM4aArU9N4iOMB/JKJhfSnXHyi0RB5szmBckh1NA7CbJldtWOc+M
0hL50nPI6PNDZ5lpeBMjeR3TTZBWu7bj+NgCPshu4/ZDoyvcZNEx4sN6Lyafg1gN90W0zZEYTjcw
Z2xTGhkcwNPCVoatVXtgnug0LvMB4ksddWea8LWhHMS83SeCZnkPZ2S409ZavKbAIcZgYjOeVs/W
4ikAd4lzqmTorJzYPt65PH6KaSEA4iCx2aoopoZd8jE57uycx4QKL0DKGZLSqW9RqvTyGuudsF+3
ApA8NfgRAiwyXxWb6Jn5WvOjEF33wjtGAccnC0KxsTlJt1p70uJrx4PDYLu4O1/l7IoaiQxuuSuZ
Utl6Hrhmy4ifdLsAtZqUBjGyeOfSg1zGEFi7IMWa6IsoR5OgM/VQywG/WhV7me5VsAjY5f8blS0/
3wwDjlXNZ4RM8iG1F/1mYB8Dh8KikphJg7t9235lCauJPS0UYlZcPPo70TPUS9yZ4IJ6/b2sfuRm
O7R3omYG/pXWG387Mm+oTzxeJ14LvrZuz8NDFEn+FV8W5GdsIsj669bTFq6JPB4zvurlBi1i1hlC
kUK4EScpe5j8msJlscI6rmr3WXhgkWHSQ/Doh/ZVdw5A5Znb9l5hBRzUBsEF0hsD+6lAeeunbPDr
TY9fdsOubrpwGkwMXQS27jtwQZagWLtOKpKB/mBAlpLCt9kKEOLps99p/xbSChIs3dfhD18e9ICf
qt3a/W52vmxr34Fm1yE8tEHXEIw0PrTyGPcnxlipzOQShBLSsiBDUNBaDyZv2gvHxXjlZi7wfSRB
ddVeK+OnsL7nNhhxBHc1I27+owL0F/IPIC4QUe19haLLQnvvt7Bx2sAMD429G1hwU6uj1FjO2DFZ
eo5cC0Xu6sjHsW9sVMYZHu8QVyz2sg4aA3YmdOHLhl6g4l1BAWOsVaK6HPFjcaShT22Ar3BEYn2l
Plbd7J2SWlzri/W0YiD35rt26IlVSkc3XxBGwmi4SxYPvAcJjA6KusQC4HWLbOoP9H/bXL5SoIqB
+Q+W8A2z4rL+R1GSWD9YK7h1ePOlYkvWWebss/q6dKBvaRh8yyRzCqyKN7JDDL+w3rqCTI4rURds
z7m+MgbtZIz73NtU9Igbe+eRpS8woGJXfYcEZ45MBY/gPVruO+WMXSFiYDJs23xrlIcW8UI5nnSy
NBByEKc29uc6virTXUrR/dac68SI4Bq1qJHUU4om5XlBBr/A7I0sn8eMuqqihQTCXE1HrD3E2PJe
cNzx0tUXHj9rpLMMQIcBqEEnBvdqF7XnWCajcuVJ8NBZLzxZh2oqWQVAk1rLVx6ruNxR0FIBJDeT
6f+77myGQ3YiOZKDg/9n3EIpw0uuaqzSXsbxQJYGC5m9iVkQ57blaev6kPmyq+HhiaAwkbfL6XOC
KQrUR8m8ioVA8uOILXgBUpGi3+nC7dDcluIxjzBn5ZtUE5eArAYOLc0tK2ZZ2iRkMrXhtI8deR/V
yUEsIoig0041oco0p2gDkdiiG2k8k7Wq2cv3Nc1jNv5xaY/piFSBUBjxTko4VZlFXPhzYqPBGq/S
iAwv3+uMXZiSaErgrhNtMJ20kskZ2soKSmOwJTESJQOPcRhywoncXZ65Sm42iy4hq37uauIxDBzB
TrmVLUK7JTTadAhiuMH43Da3ubnOk6DPOJfVN4E0HO/o7OKnlpO9Kj+1dvHK+SvHvo3Ws/zsOHln
8qdSUh4kxUb9gkBG+TS6Hpx17dsVn/OgeDLygnFvMBSrQSVkIuWrz6kzYK9hP8osjhVeluaycPrr
w3tv9ZCJ9H1HfJTRsMsalfOUz9hZEG4YTxGxgOnCpEnD9dgaNzuHGsSDYE3MnHNrMwoCDJdTzsSH
FW87MMmWAKJHvtBRwG315poIdlm/fMh9xlm+vCTqT9mSOhERbt186RBcujpzi2Fk9gWNjzqO765j
9hndOvlNU7Fifb+U+U03gBWwYPzp9DMT+3D4HGpj0zuM9m4TsKm8eZe1T7Kx0Lvfl/gV0YdPIOI9
R3UMcdIMpuEt1xvGnZEBDGSNCddpd2IqVNETPjaTpWBUi7EXDQlShk2Egj7ehTKZOxZurYLjx9Yd
6n289EMs/EinMVBTTmfFLoPIYeMiTV3B7mssyTebqANtzsReIGWZcLPLzlbKJo4ZbH2IrkiqZ9fi
NQ2bu5YBLbvHv65kN9QPamAVnErmAuaK2gOVWyaxnYLzoTWQAhpWlI0bKS1lXGgzFkP9TiD3IqVc
V6FEMz6zHCVA282MXWzm2UGCiMrqvz5NJo9edEps8ZpAdYkcI0QFYjyFM34FI3yQcBEhBJbYzptw
1hrU3aZjo69SrbfufwbPfUaSJP0Lde1cmVkQ2nwHkTxicqSFSLq3CilFJQpWsrYCS0u56WWP0VDz
wonxVm8OXpHULwanEvFJ+Jj3otI/cL0NdEODb2jOPp/bSy30n1aKnkiC9Rwz3Ck9A4NkoftZDVbL
rMUeIBSsHq9Vjxs9rPqjbEfPhZKlrn6n0NYbKLiLRA5vZzEYm2XnJpziz+ys74FM07TU/GHOj5ix
90rT/+tDAzM5bUTN6qssLXecY+wJKq2meujy9KOWI43VyxoqWJ3CQUNlU9sE+U4nVYEk0P5OnJlG
XS0ohTKok6rz2xTSd1ozuK9I8UK/gb/H6StwXRFqF9sk7K/qDyHZtewX1pi2+2TNJwPH7jY/l1N2
l8MxZQGeHsFs4PnsKBp6EgbUmoEfyHTdHyzJFxLwMMXQTeatDGwIgkYbv9ZCE6dzrokWiBT+8CZe
Nd67NmuPGeS0ktoVrz1rSPy6WySOMvrzmTgznZSrYZiABPE5KuqzrMdPeWW9ZRMUQYGPAOTDURTF
XZPFcVUHUyQ3tkKCehphcW+Pjsw6olGCKYp/0aTDKgcQyIgQwlpL5A3OmhMbwAvZJJitOVzAipKO
bGvDPh7PBkO2hhgqI+TTryyTp784SqV5UR3xz2x5/y3pfQrvzbzWuf1NTcGKR4z64ZwvRnogpf6Q
20i3J8Hvl3sGY9AyNf+m1jj2cH4la3zqoDhv7IlTpRyOCokbGXLijC9PsLotGe0uy7VmOZQq2q5r
rW+AglhYCKyB1IXCqcqw0zDWz8L8W1jhW8apu4kRcPEj+lBcnwHnn5VF4r0xyz1EAPaH1UHrIt9Q
kn3tkNISg6RlMBjdDYGMVfwx8jyH+nQWs/3AR6r1/RPgdLIuJBBvIb2lSo/PYxR4Gg0dpUdgs92U
gd9qjJm1fEv7sThXaLYPW2F83eq7tueKXadjCfkGNXPG/i7qQ1Ox1bSKcxsbu2w4tvMQZEV31TSc
lIbzkijhuUnftRUFua79NdTGmL+KPgkS7bnVsGH3TCgK2rWBQVl6ypBN2tDiZooxk0DyNeQ2RX8m
SHwkK6qinHkaioKZY45C6H1Kv7Pxc0kHeOOnUvuBuwknatl0rHyhPAVjT1DSwlyLDSE+LRSpJev0
YjK8mgIk6RCNUokP2KXUeiKcyMZfErophrRmlSVwpejNV412rONzURJpW08xniW2OzlrRkBoxGSi
00qZjy+d6Qo5dUOpdOX5oJDmlvxa0UfbYXuiU+Yw8yWkZlAH2cp0gEyQVyuVKzhmo6zypvG9tT81
+xP0GVHjnh0/6uyD0ANGPSN9ForMoTh1XYLQUN92Ijq1CQdMn+9z8NpRf1XXWEsdOFHY7dLC8EsQ
ZJVgVimTZNaaEGMhA5DsoAwOq2BS2ghuJRTNV6FY60B7eAH6Gg7K/AOTa2O8dKK/VFrkJ8ZnWaJG
7hxGv39gMMnciXdwDT2iTtBwap4a1rxqCNlBY00Agrr5VE/vsu2clZzlcu7iHD6lS3jItOWgTgOx
KIK0t5Kujp2cetDH8EsBLs0K4lT1C7vTkriwGd2GDGJOmthTAjKPQ+KUlRPrlF1KjGyEl3AULOLH
kTESWEOhGe86tRhGAhJZ9Kl9yJzA7Ia3YzTjoAA7UFoeTSSDFhAobuR0rkq9W+EPdNOc6aohbxv+
NJFfdTFfhlAHk2PdVBbtfY81e2QMMnb0GgIZeij2nJo3REhBlMW7uizZSNDJgpq66Qw3E5v/OrPl
uZxuSXMxAMxtnETeRQL7RyhfWsK0OaNv6kIOpSEdG9YfRmH/a5AESYt9pwAJMe7LqgXkC+zaGUc0
QX1VgOA4r8M/yRzfCCM6Kov6MOPlgAX1ZKG0JO4EqjspLRIAeEu5lTBI1QqysD0Fkfzdxeewifwx
lC7lzhm4hasAYumTOhUXp9B22dJeF5ORNjsbR3Huc9LCP4X3PZinGLP/NAHpgeT5UmJciZDmJMiU
NZJuAKvtLWjaJU3v5GD2r07akoF+KS9ibNEgP5wFqkQ/fmP1Y4qh8NlibcBRmPXxXhtt5sq/gqmu
Ofrshy9q3O+lUt8aYfUn98iGk+h57nOfqvRKj9fTifQSOn3mdKYlv2imAt5FD/g7GUjJf3JnX+Zk
dvtGA6ImBwaAEgPUWtqpb+1YvwvRXYyxOZKHSUjw+5ShYVbVE7RLAtVHrkjxbBoWcVYgs2KU1ci/
2mV4Z1FEab4zrXsXa0EySaRPZOeFDTRkHzB01qNgOdkM4b1lLmsUqJYs3MdO/V4PH/0wn5eseZTD
8i6ryVmQxoT/HtZm9iOmW0/CaTS9SrRxacMUCS8/OObirC48Qekj5cOdIqr0ItlacX2HZ8YaJxrY
H3UnuFdAdMmT7zMvB0LWKU+8rz5qqLPA7ZDzGhqx9mNPISPHGl5M8i333aZJOj+KkqdedcilJenR
MMdrjnidNTLN0IjtjTzhF5UoBpSCl0nKH/3ivJZy9DAYgysM6qD97AvF+pMFHlIro6oqgQgzQoLO
XWNRliEGOY9CaM8qaCVYwlA0+ktXsehPyUJkL1/lJpD85DwgKy5C8WMlPPJwXLeseCz6Cf7WdSgE
aMCY7tMqZF4e0JbvY2u9Om3y1tqNX0fab9uhzEmr6j1GMkA4uT+17RnCJfnEpnMxnPY2G6qbsIOX
a7RV1nJs1iWCxR0eth+IIGTZCgxD+Yh7+0oTxolun9qqOln6qrNoI0x4/dXW/R5LcpGbzsYQ+GsQ
k+xj1heEeWW4C/qqe4Uu+8rltcsxbOjTCwyot5pYukrkL9JpGtuL3WQvXa0ERTXylKIma5WfOnfj
eAqySkcM0nePOryHofilQELROHj6+nWToo55ekLbVj1QNn3P+hlR4m2smoOhZO8qHxKYVoSEu2bt
2KBTBeESHrOZh22Wf8HHBlKUoO+/jKSONICdsoEdWpoc1TUlwkApWw8KbUH8aHLlUgnFzUaxG9vp
Enf9v1mUVz2X/NJs/pdSIh1jPhr1zJ7zSSNNaWuGtP+t9QXB5aatswWHMGpj+lCs7loq5VmfEW/C
8ZtnlOvVB1FzVxWkg79keKfs4kRdEanam7nUxF7ZzCylYWdXa9URHqtInOAjwYHI3d45ka7oV0w2
R4kDCCJDlCtBi/KlZZ9aJ9lqI+LNW+1N2WeRwgVS/yrsflB44GH9isHvpONIFdHVb+DmgUa+ZjmT
GlxxEVKMDsEAr6ySfxO+QFg3BIhdzy24spYLMOQ0gJux7vwWe43MOLVAxdAlbKjs14bJlISdbtYG
rDYwTGCWmPk2WvEtPZTG7o9gWEqFL3tiBksRNocDeDCYBz1KCAO0ZQ1BE7sjcwkJiEs2T+SLISOT
42AEsRQT3jdhMMdbE9QwI1UFPUKFRPctyZAs8MPZ0QdUQfJl512R1iQZRYEYfut23o5My2tAZD36
rMEhdr5hG8i2SXNsd5lzCPokQ+q37BqmVI1jewTrsR+7iJ4shO3WYDFh3WyV6Nt0b0Ec06CgUxA8
WOTBZZW1l6ongRUrG16m6ipB5WlTgLbSp8VUr0Ufa3QGyii8pGtIyIRle+53KdfLjPO31xGDs1ZG
YhZqYIhhCGCbHCYZeSqh8GtuKYQrO8FrRoMol6969x9H57HcOJJF0S9CBJBwia3onUhKpETVBiEL
75FwX98Hvaie7pmalkoEMp+591x3obEcq0S7JKuCbeCAklOunCA4x3G31SpGaH27p+xd+c8KrWfC
sTK/AT4s5AZOqo6RkmtkOTnZjxncmVMhzVtRnQ8j+2/munF5dbvXshz25IOs23rLGUdfxQ+hY8o4
SxQJFqix+Mfk2pYN42HRrpwKURnciIi9hgvL0/gdcedOhFxxJFr2FbmE6TnsS+xNyQ4HA1lNmct/
9OrNrHaRcI6B1e3RdYsPnG1rq/iZv0w/j0uxldQI+LPzABNIgEH0GeASwP0UMofKkeXAO6y/uRKf
+uaIvvEpw9Zcf40InvSA4bH9rXIKvS5lA3L1Mx6Q98R7Ra0xlSfQBxAeh92MdhXJvnO+G+3Sqg2/
04zvkP+97t3Kt6L7xS5SGV/4Y5PoQ2GDS+IzebmiAfT1ApyJM3FdlOTUccNlTXQirOwUYqrAzlnv
vIBVZKWeEzncATghYylPDI+ZLgaucSAvGdUOEoUXXWu2YM2pYT+b4qdBnJTtXeZitnqX6jzJ6f+y
O00/ecctlT1GJLSG9VJFHcB1D8mXiyth5aqFM50dXkkPnaeD/IAJJMV0j4Aij8aljmS/Ht8b9k/U
CiyL7sVM807/QKezFLqXQKIQ1pIqy2ycXhXJMgQFSKYUNwazULvaAkxh/Gogyjaf4d8lcNLErIhS
3lIhJcPdiahy26UoZcs3D4NdZD80VPvYnlm/Q6zhKqnRJCXTMcRhMuHkVxDcGizXTWiAxuChwRMA
14Xfai+DUK7nA4WY1ZWJzqPS+41EXMJ8VUEaMPVz6HtMR9n6caCFNZ7y3t3ShpNFVNOPHn1Eil3v
7zvQ7IoJdoHFb4KmoID72ChCtXCk3EJpLo50Ppbu7JqKAQLj7gYQnhyGhc6kSaHBmwq2PgFUywr3
FTLPUWxTmDAO6hyLr5cToFWw7+irZC9hoUkF8AI7bMBkFFTWoggx42BK9rW3ClnowJL66sB8jUYa
SFy0nI+MwQC1JetJZymKKNdAQOFxV4eMCZHbIudchyEwhYixIKYIor0KeAYjmKwOV4oTo8tNAMuV
rAeCu5Xg//WhoDcRkzZvGzVMDZJt0xAZ1RNxEqEg6I2PUaYnbowVTeMmx1jiW/laHBigsSajGVmX
LGOmYFoCeidGuISPaz1r5NbCrDDx3YwjtD5ANX2Y7NLE3JT8ERKb3RjiJS6tKymgJ1K6KrYQfgid
LO2Xs6Y0KuMDtKa17c3/3UzwhKNVmpse25TXW4fZsUv69b41MCMGRFkUGbkhPRQUnews5LFIimFi
ElPLrg2eJKaW1QRy2tjmaFyV0S3JOV9aaBvQR2wJT8FrXT3xm+xRX7VhBWNUW9JObsCHvkAGWYct
+iJu+rCPdrCy51Vv7L416jdN2Bl0V3eWAnOGWs6/hhkzb36R3hosXXU2458XzP8Q9Y9LK8P/Hv0p
MJl9pdaa/lsldF/ubWRsBBhwnX/XMHJ4yVrSDOz8o6uuoAz/dx6hjnEAXeoWfTi1KDHkyPOxycB3
xv+i5exiHzHDOnTSbfNPo8cKp1ugXfUJsS83MIKlw4hhKEiuuXxL2out/QQ+EFMkMLZLPtmbyvh9
wEc0duUtu70Jt6m4Zs1bFF378CHqXyLD0/rDbR+l+TYxsDVZu9YaUUrROyhIqX8U9OQdmqqBlUqG
/LtXF1udjGgzUE950deIRht4o+Xi4djowznwL2DHMZA/ReihHdSG4gnQe/+KsMpML7p6ncQjjX8d
C2p4BjsPRulV0fkNtzAkXXZNUvFo3A3CZHvYJC7S0xLyg8HGtpO/NG1Wtg2yAitcu/BiniCEsVH3
2wZ7TrmtRSIecWzcwo/YyH5sqv0MB3DL0kjC+3C7W9RBkRmrtTkKBAAA8NJs45PLMbJvGBEWZBNX
HtawEBSMm2AeMcuTdxnIdbE1gD4eRGkepaBwEBEnlGD94q779QIL4Vr3WNkmbBKZdNBJKz4GjxGj
SK7W9DUrhAGGg3HgvRL2Ux29deOjawDawWTJ6OZcLJx5x6Q7vWWSRvY8MQsz7hjmpHbwirVTrar+
L3L+MVDuGha1c33nMr2RCHsRzYDMRoqJuhzR4aRKdKdqkRVUH52N9NVezmbrOHmeQBf1YgUgUk7r
RGfeTnGSEULEleETqdqfgGryzRzz4DaUX1y5mvNOghuP+r80AALxYkQ/k/mqo4i3ul/bhAxvvfJx
mtMta65d8VeOEMXPUu5SuWwYv/j3oQvWiY2ZmKu32fIHScerqo/BHJ8aemBmAPUzq9AeBSu0Rr/F
4VuxCuJX2X5miGMAFPWYN9s+AQlFdbF3XYsP6lQ629J4s1nct8U1pyZJKUE99V5QD4TmotBGtCtf
kiW2gxSbAKMnx77yOvbNhahPdBQgceLXBBjJpL8VBaU2CibcP0GPmtu7FP2/3mCPnR28+mwX1wlF
mwzgfzALbzJKTsEWF4cC2JCgmKWMvCWXxGFVXSG0cT5sxOGF15FLi0zS/iKSfgEsouXdTVPmkeFN
Np98QxjDHf+Raxsv+6xQodXm++D9RKAoClYiYfTNRGrZxherfa7n7rE4KnVR7jWwdp75HMYX/pqE
66DYJ9YZbf6gIcDRAIUjK7To0jFc8/CgiXdnW5RVstijaoyResbDDiMQM75p1ejjzlL+WSpa0bbf
xmhN3R7XZKE9zya/qdkNbnaf/1FTyWEKK3bcqCfpROnVt31Yc+qOJyAMQNLJnghf+pKXdMLyCmnJ
iMejiORexGgzLGc/JMdgIHZu/OcIY1OBhCAYa616Wi3DJGbUIDnROIJ4Bv6nE05ggAED0wJQ3TZA
KCbWRvqKTTHdTiGRZ8YXqPnPgMK/AzSgfsik221fosi4suv5tNJ6M8yWLPywqnXW3LBlqnYRs02d
gZNUwN684hA9N7UFeSk6uz0pHGGDYnT4ELXxglQfF8TwrgeCzJJxDf932yX3yBSsKSEKFTEDznxj
9vELUZ37sdf25hwuGgyHhLIql90qmQHtdXEc07lZ47iZ82IG+VFwqTkRpjs1Hl1VkauEXaOPH40V
3Eg3vXbkV/fYzBoHnZjwN2R8bjPGV6n41hCy9aTxwkWY52vGZG9dv8dt5exzgFl+nG2mxN75lDgO
zEkAGejR3T3gey2Uu7hudyZTS1eE28AnxQXsYEjJJ4gaKRhqg8gxWxyWmsXqqZ+2sfRfbQcnnpnd
hRi0J2F3LtbnXdCyIM37/j5VbCYDtv6kiF07ky8pcnF3Zh5sWDK483kCEB6x72SHO4u5OByHVb8Y
e4VUpEZmS2QTdZnxU5LEaYu5R6keTQ8lS1wLs+0Oc65r5jNVSYPq1dSso6PajRFVbOE0yCjmM9/k
LkYpU7AyXHQ6DPapOFlZ+dno3XYCmz47LrN5YTTztXqbdnj0vhREvZEoqaegIarYdC4Jta5LxgOX
wHSuTQoLH14jLThQ/SXI9CP2xmtv9LCp/rqke05M1oxDqP91UOooeUuwmbqW/ZtyHlJLfmqUbtqP
A85jIj+qAvQxCJKIZysRBsd++JLVIXnLpHazEef5qNfqujzjZfrMsI0UGend5F+xCmQtgFPCbozv
wYPU5XR801XEYoFZhD8814bxbPG9w/V57t3+0jj6JWRP2MXQRcpXoaavSoUXDB+f5cONRmpR1v35
rJIA6en47Q3q/nHgHDMz6KJ01ux7DpYcXxoo+65972W09dvfBFpYKbX3RpcXq0pfbPpAlAIrx0kP
tofF0tnYE3P6ortOjnmGK3l0zPg4svxr4MA2iqxQfV8x5c+j6ejX06bosheoPA5huBkB57oWMKwx
htcoDh++ZG2qFCZ7wcw4B9ee0cq5uVjhRlmVQ70yib3w3I0JYzpFRJPG8tSi5Y20YDOQpkvkMJBx
n+gJiNR9wVoUlwEHO4iNi94SBUouveLiIVMLWHj7VOp/RrL2mG/i0J7M79wH/JQzmVIsDAqj3cYB
hbB7U+BG6uQr6sbdhEontsByRs7KLNr13BuGQF/kdHeYstpsc/lC9mgc9bC8mLnxLpNpMcV3p9P2
Mdt1CdlqDBDjm0/LRL+a7mcMJAwMOLkBES4n9qFgOkFQbJ3MOyNicl9Lz8LZzACcwG+MR0s7gipi
MV0AMORkp96c93FPCuaDbHjA+3++M+6B7aKDNFZhq7ZTg4rQMpgeflrTeUA/SigR8uwQxmnj9Vfb
j65wQp/BqmyJuNQRI3WTj4YVAXQbEQcZYsnI1FpqlFEUEkP3iFMPaQiZf3GKgQaop0mlFYNmR/Cc
ZwyZ4KE4kBbrLbe22OaQQUNe+lKKS8wv03Euvi0vaYt6H/SWSDQE7CyQH44bXANKXNiTe6B1/2Jy
7toy2mVsGJSytkIrjyM0ATGjX7V8l5q0Z+447fzIPRbVT4uUtylt7BrpvvE8vAhYyXXnJAfzaD/C
ixOUz4JfINmupCVAbzevMsQpUYrPClVzAe5vSO23aTTeI137FwzpJWimFQg591GMybPdJJtUoYAk
lct2GNBhLM+MYJ/b9TuNpBXCLNpFyL1o+juIYO5NFCu6If5b/gaQCoAysmZwCSFYyi+Tu5vkp8+B
lAcbq30hAbgQJ7wnXwUJg9Wx6bdGvY8igGk8jkerv005h/YWhGmUzFWRz5ECmsB/Car3OP4OAanZ
/GqzeRofIR9D4TIew31Bi+BZF5HtaqSutK/ZqmheQEVNxPpZ3wr7Y3kzzL+xjJ6i+hLHn/Xwyuh1
eBj5eco+WIEMFPfWS+tumb3R85Xdw/U2mbFTxk6Te63dFaB6Km/h+id9/Nfj32S96uYfDeMG2b6Z
4l3VYA4p8PCJtNoPmCaOsx8MV8hefxIiD/r52x2J3LF+0+q7LRGffQhAT4X4kdaLwWOLAn22lq2R
rVfINbLrFAOzutXqgyrbim6kdeMuo7jCXejqv0gQWJd2Tbqa5pEFysEEL2KfUlaWb/zhu+gIiY7b
DE3S3tIObv7iuPgvTy2JefklqbDWYrqp6ZYKz8fm9IdXYjXVOxjyzwTKLUwo4UnDm8sv1NiUvVDw
2ocNLVLLz0I7wthopi/VHOruw+33AYVfwxHB4E9jhd0fUn8/jM+gMyqEXGwik1OLFRZPqvgbFD+q
6VWk76CmJ6SE0dFtT0X7bHgB1tjoyZS/kZT7FDcT9a8Pgse3bDarM8t1QYYh63nSe5ClVzBRh/AF
0sv88fJ4F2IXBuhJQUcmaLHKDPr9kfpOx7hqfduSffe7Ue/4znrvoOpDCXjaBU3yFuQ/rfycIBN3
/bvOLK/NiRx7WNqxVuwGLkii4196C1ia7XBy+23mrTVy6MnMVrvQfAnkMwV9ioXbdoE9fLvFP4O2
D5yF1XwlEIaNi189W9MK22YZkmzCCX4rSkbe7a8t/0x1K7MXMp3C4s7A3vB/UvHaUkWzXuQdkExe
Xf8l1Vgqic/MPgW0zbUPzm/8KqzT0J6ZDac2zJYFDNLaxpR556WZYtwbN0OdGgHlHlPvzL576Uck
7nt/+hfax0weEF7lLVNVcnPODmNb+U73EhifMZbmmjduYMCepwh0zh7oK+ZcjHnOlvoc2c1nQ7KS
mApakESsTZ6MIVlY2e/cb8/nBN88kE2GFOPFK04jZz1U96gDj/+VNV8RpJj5cnvWOP78Nw8VMclB
qGWiVZed0mEdOj/D8O6J31j8Oe6r4vEaGLkLSX4N9uySzM2IFvmr6wF3lUunRuRVvgv/qEGbcZYR
Omwc79qsiMbKGF6kBbpl2/rnrt2p+jmdDm5zbY1n6Tw79T1LL27zHiPI8mzzycV6Yni3JrkAfNfs
s59s+JuUg9HAmZH/+QHYAfmQUEci6MMGo3QYToB/TqHzW6V7Mtp1JKT6JdEuo7gBeaZFYFs94Iy7
89HrGE7gHxh8JKJ8q8TNCk41NmsjXWPaGht0QSenR3j0FgZ/nvnKAMXBOKjIMcq/BNMmC0OlxcxN
Z0fJVAlu7m/TXIYA+0HxljEo5RKQ3uvoPZfxv2Y6mXBrjPe0+je/YHhM9dn7ZgBPNf6YKPYYLEbn
ljDsDvInlb4G5t4Sp6paT90zm7YBk7l4jTANSP/FK/ZZcvFGhD3LWr0TBQIeHGHcwWDRaYmDS9Fu
7Az/zOLDZ16rcBkMz90MLsBE2SrE38NUgkOB1pP6hbNMtMAhxtl+I9H+EUhUyggZLuOErW70HyEN
QSAiNJdEG825y7SphE437kumOfc8D7+0pPoe02SlKHaMsfl1qTSXXvdIcP89lYIZhmS52JD7OxEg
x5JevwwO5fGgmrcu69HdBzrEkQDMuHTlkhARcrQzQq88hyztMnZXGSGdVZudDFGCojIAtRsBIliA
2nwilZawQCjjJeR7C7XujF7T+t+kKhERwet2zdBeFVaDIN3HRsGW5Q/KB9uwMJ1RB+TG40By0OYP
5tZwGfkoq2CMa+HBiK2YVi62tSUvX7Zx2mJHoe8fUibI6NU3mqoujqmWcW8u/194EreBCrCuWH2G
6ylDgOu2YciEw+FBm+Dj4WaFLD6pdd3p+5QYFUa7zkWXJeuoEujMNNJblcOmteX4DMfV0iH22zED
43ZEnZ9q6NfRjvPDsJe+CsWaiOblUETtulUciCKigSon7zczWrFOoJoVgiVurO3kaETgWJqlijIo
ELqDZdIKR97hl6EzD5keEtCYNsyrNe1oUUSxLM2oBunSycvkYmCT4dKHka9Wnf3Q28hcklPSkGQp
Gep2VTWTfYIPhcW7HcfPQsPPUs9sXDvPB6qN4iATtJJFwBEyf95Q+neScG6ES9wXfUXSuPfjMizX
cwByNmi5CgAuP/do18dAl7SG77Znf71wadmGFvKyO4zcD9ArSDTRnkYDEwxb+0NUWeO2ra2/Wsqc
yKcfK0tnSkepLVSnh7uJ6PN12peovmtG7CS2Aa6NarFm0pnrb5YBtnNCh6BscQiN4qXq6/LF4AFn
rQwuFndXb5ffNmwbonyaA1uSZt8VXPEWTWdXJLANNNC9KFkXYYsronLSW44qqKkfE4ag0LSNDdmI
nJqGuQzRly7Gpqg2xBqtxtwl1KuP1ywjJYKTeeo33+tkRDOHd3N93TjGXymYMCi3wo/IWICvLBt8
wSNGZdFpr7bmncGw5BgWyV3LvfxZZlVFQma38cv3dkJU6UqQo1Fm5TtFHtfYSe0UwRTwddHv44jS
J8QBDNn/2Jh4xVI3RkgectWm6mDU4ymZtQ9656M3LeuNpdHBeyUp7xkjb7wv7GYg0hMFVYVi5Tcx
PJwBU/YQ8cZaTHeKCs2EWQO5419MfRA6xzGT8Vmp6UM2ab6eZLTRNctctgAK8cWb6c7LPWcTKoKp
MhmQ7oKW82ks+C1OM1ATTSaoZWBw1kjNLrLsso2IjlyVvo4v2g0eQ4YPCpiRi6om1q9dMyGln14G
pnabtGSZbCvtw0r8M4WXfxiKHghLi3skizTWGK3BhA/MWe+eRxcAwVSA1hKe61JXuXuXTCxqkOAC
hw1hflMceKr1hRYl0PmT2VvtWFfyZfAGJOmpyxx2GTE2grB7MfJ4mVqsmGwnFuuoxoSeICUXFqaV
0rcwzOrEuhS0T63/VA59u+wNeBjocZe1x7irtya1MAcHsbEoPmuzT5/yglAJS6txz6Dyh5wfLEhs
QWzUkcWRMwqTROQiN2XAq7NzzlJtG1e0SXbnQXFha5TEKOodVYNVq/y1YFyHVJqPwUpz1glslFXp
sCMLu2HREMZBDGK0qjsbF4V3HhQS+UaOYPKRVgHS7nbdmKOjjadHFJLRpYFJXzNZeY0z586TtqFk
+2PyDHB1shiPdv0b8H0TC0JxBnj1sOOG9bFUVALGjw9hxi7wZZDBs0NbdU18PuM4HhteoHCXCq1n
ShT8VQIDVzOylRyQIICeUguLzldX7TXNsBDHWQ89zrt6GUw3zceCxdyCwx2BYkqm9EpV7lvchkff
1A7M3TSXU9orykfXWzeQQi8KE12T+MteGAJwfkWuKD9cR4HPa3TvO4Xtu7FUvC9MFl8aswnUQsG5
ybhFDHGJRLcfWX0CtrjHnNkLBxNQ4JiromUjIMfgKPqQYdKItoUQeX5kNfZGVmlpm9yg+JNG4kzf
0tQ/San4zIzvnjFSPDpE10N2IGW4Xol6+Jvf074bK/6hgsIsT40TmbvIhCigCHEpyaJbSNe+uAG3
upt2hEen8OEd4LY1JEgcH6wjOE6eTAtxcBOb+qae8rcZOg9hGa23rg+rRCOaI+jE0ovm9RR6sylk
Mm5PbEqRaLza0Ka9wabctcVPBPcZgQ+U9JmdF2fWI53q9NIixRys535K914yfoeFEsS1MN/r/Hmb
mnrkLmSBvYaaytGLWSgZXZKI9lTvVHI8ipxVPpf03STqrLTmTCre+HXtVfjr6BXL6jfrmNMGYems
++bABhcVdyPZyCN9dCr/Ogo32yJkd7khybbMVmPjthyGrL27tILfl1+cSmcLSXKpF8GUip3mHKHq
hc11ai0b8Lze3vwWNlII7Qu5rTp6rGBaEyvIzOEE/ez3bB+bR4f1hEU7s84TAqZzS8fluhN9Lu+X
ySXTUxZ69dbv6NxJojOXeQbedELuOsZ/NGTcnQd/Yvvpm/w0NWG+Rq4eHo1+1eJrFy6uJLclU6y0
8KaxlIQk2eCXqy7WwM9RtK35ZA/+mzYZi87kMFUhQYDKQWRdFHj+7JF7asRD7fIe+6b1IfXpWmiW
oDduj6MoHhX5H/HQoRkJceNqV+mpYA1snh8ZW92RPbhU7ndgeOsC/OyujPUUPeit89O93WJl6sNM
8vJwJ6Da5dPxa7hh6F20zKEsxbwVxPhTId6w9pcYB4imQz/F25Vrr1kOvMBq6p+qmSE7XX3JRqdf
GpSNseYgM4JqVpD1lWT2JpV1z/AG+uyAYT91H5ErQB1hh0Eue/OmGLcuYwafOeuy8eJblElytqLy
0aAbXzb/o0Vq3MTGUi+y7xEbV9DHoNNDtjC9NH6V5t10L9mIgppTuBQHlrOJOXcBuoSfjYpfLJ3H
0vPQdyt72QoVY5569bVeLir37sXAQcl5+R3dKtiNLRg51uMzn9nHF5UwGrXZgvBD0uKzk3hzCh6g
+cElHIA9SGzbeDC6lGBWT3jksJjHvGs+u1Y9p/Gd2e5vGHTbSOt2pL9tbVQ1Un81KgwzQ9uzPLYr
fMfq147/vMRk8KVYKRV4tJN5auCRCqrc9JE5zh0JBU8Gn0Vs4nRMi4JXNcYvngCfFRn5WR2wrQ4P
D1gGfa80lrWJbsL2HteYEgA0syrqwnEfUP42ioa8EnwapqxPg41aJQ7au00cPBEEjG4w1m1bijyI
Mr2B74R1ADvIXTenEKfQVMYSSqGrmUyTvW93/r/lPU3AlNDa99ayGB0bFw2WWInCbJmlydn2mVzG
mW7yP7baIrPFabI6NDs6IX9Wgsqo5CKPY5p81r2k3pCra42/YKewSARmRLgNHScyEt+qalJcAmND
tQ9eyTRJnvfYjZoQtqoGJ4dOjqKwsNTL8c2yqpe03HDtr/S6/3VTuNrBczsBYukcdJhtp7Yitw/2
RFJ4lbTL/39HMf9rpiK++PH45vYFXVNbcXmbeOczJAeDD24fxDhbG/3RT95nILhnK6biT8xpJy/n
qqgw5o59s0P+wgNrd6cUcLFBeo0s0TnEPjZqTROvTY6Nxhxz6q+L0tDeBY1qFoZe3sOS0i4qBYml
aXmrGjBBBu6cUhE+6Ggx6TwCB5SWQM9wif3MMkxlRRvfHNpWdDhf2Ui7Hf55ttuvaxPgYUg32ZDt
NBuwYNXkzt5xqwFKVC7X5IDvGk0Ne6sMsa53qLprh1mmhwwj6o8QurEYlP1Nn3gUptYBBzv1SNMt
ICQO7r1i7IDu6tOa5nOiqei/fcbzQYhqqeIoCDXkfjCHc5xfKnjxnU4yQY3XjcxitOwJm+moQwQL
UMN17m2iv3kDjpucjKbGzc79HGzjp+q94Yzij43mRQk+SGt8RzRNhcNeFADApdf1byuYFeyNc0z0
8B6HzAaHoEI4XWDmh/TDjrfX1ibd59PYIcbxg1cr0d41H4d4FFgI4gy2xJXlftsB1RQiDKRILWDN
wYd9wpBi0aRBvJEYMLXWPgTQHxlAoK6spec9jcnsyBH5Vm8m2GnljZTlhW5On0VDM0pmDTMdZy9z
tZFDD7QwUcZSQYlGoY7SVKK8Qd+YQwJINGxx0L9vRkEMJ7uIlrvoYcyINOLFECgLkhN896prMR9l
4mGPD8J1DAkYtZfrrbpiPJSNyvdZWXEIc1YMzRFEJXwFEeHHHsPsgA+FANh6Z/EQjzETiDoBz0o6
lcJEYYfbbkp/BpOKOHCwH4z5Pkr735zYyoVXCdKkk3NSpq+GqM1lYr6htfpoo/LW3rMzVclMq4G9
P4bImlwSpxhWrnsXabXpESBIh/eCGOsvGcIAf399bysGt6m1FI0LbDpOZgY0twAzZfh2X7mdP4na
XY+xfS/Rb02x9uPWyKdtVWxygdJi0rnxSyIHsogTuuw/jIJpK+HvYCNqrd82rUNMiUKQpY9UFhbJ
61Ij8yKjmu7g0zLq1livmV61CsSzk0OD7Q3raDVDu9jHdXijXQd/GkThITCttVvGAm4wNoLAZCsS
rTEKQswiPYxJRlFdOsvASdPbcgV/beTHQzqMmb15imm5hCyhVQRZKhkgdumWEFgfulOotT8HJdY4
DKeUmsNUd2WGRy55PUCq0LksG63aahHSgiZKx1moZjOaUbkk1gGu8KA326hD5uZBrq8zX2yNNIRj
1ZL45IMZnsVxeEkx9rS7xkHgqkExaela+iLCqWO3L5PWnEtkfZpJ6AGVG8Ot7CeWHTPf6tip4Ldv
9a+MrCWjdbAEwD+J0+lmSOMGPJaWIQ+xFBlovuz6uepAnTkRxvgUR1UzwBbU7InoWDFdVUpVTUQp
y6jQ25o8J5TK2k4jKFsfYAkn1HN5FX2pIHynm+PPELV0GNyjrV7sKgt1jGYQkBwm3H39THMp1oFB
yskY8LV6FG0sIHjoGflpcnhN2+o51qbLLMRrgoHvgWYgVkm4i7RzVZKZl+f2Pg7UrfZ43yupsiNJ
2YtCmmyxXRfBzDDoT3mJ7DZNIioND0iknSNqqIyBPyYZU1XibrkZ3z2y7lrNuk5zvKsU4SsOQ6wD
XOuVWTscCTkeNkEqgivahsqeF4uylmSyFMHHq8jCCE1/eIlmrQFWo2Q0+oU7fyUPb1vckebnS233
S1oZTKSs7Va991K1nBFtZRHioL+7AVeQbX6SSoTruTpYQXzIBvXFEYNjLcGUwexgixtyi6Du2/e7
YxG4wcJtugufRai0d48gcBvjMEtSSIzYJwHdZPPgkBI+iAe6pCBFmdGcg1KsxzlWIyvvY5df2waD
SaSbWFeNhx/qtF6Sb6ZNynVVDTeXMCPm2pwuIw9LWTT/MHxWSzIwv1Fe3uoWdu+YY3GIBNFmk6DK
iSWT7bR3V1pXBsv2tyyKi6nJne1qiHcKYl+g9V0lWpvZHdAsdN9CPUcmRp+6dJt9/W5FYtq3Aptw
3oNkAOsKFUKPGEP319ZNt3ZZYSysqMhVNntiByzZhDrYKK6Xmul/eRYDIm8IXjRzO0bihpLij+AL
uRp7ePVuQ06ghQ47JNvkyWZwogW0uL43QGcq7wrP/m0avl0ZsLPTGQ0nc3DIwGa2a8NHbEUYm8ps
YsDMqLs1BvKbiRMDepIwlemCC3cV2IvMhc6hI9+qSjEucuV9hGNLJRbBvE11uQ5WJknBiAcpJUpi
VMwRGGoPCouJMKkbMXQBK/7uTMd6Eq3x1XdxjZxsNgoyeq8c+80IgitTrROhwYcssrivOWMYMi9b
MEqDybVkq+qv7sSC6fO/xs4IiOCEN9h4pzWsrrmHRK2N0uOTJoRht7Xvc8L6MOBET47sdmOJTKhp
WI8YDmcwFeo8Q1wAeIA0KcFO+ih+FrrmQx4kCYrgNrwFdDNpGp9Dzer3dTqzb7rFZI9fWpw/bOZE
0rJ3UiIXnPC+dqjRGZoabyJSX4nuvjlRuIAfOKB54gWUFVCfCE01+Q7d/CMWgDPgR3/qxObiLR6O
yI2WzFQ/U2QODYKnFoujsBJiZyuPUprKZVJBvvQlx7BeOq+9Np1tQgRooEFSO/NdZ24o5DqYJpG1
ztHkNDZxCDWxA6Dw934b/xM0/khZDQKmerZTniPkShIW1mVIXDM/yUg5i34HkdzdxvmTPu8gXXuT
Y+jPi7tSEqs51bfoAM+oFi5ElXpkacx/Ic0EfkU+70Tx/rHdhzRqOBg4bLExyjRbeaV5ww+LJwFd
WD7BPMC7FQuCnKLe3Md80uvBAScZYlGU8cwqJFlxjDC/tTY8zVkjQ5rb3zDhNEP84E2w2XUfWVvp
6cWaXNN58CzFSuh/Q6beHD97yUmWF524giKOn82e2BPNhe9ajCBRk3p6MUOfeU8wT9/hz4b7aeSK
AizrLavMf7eG7N2PEZKOPiPAGbSXBQmUzLB+VAQ6pS7wD9zOHL+a1+CroMKMYyQf0xB/Anw3ffVv
mtIanT/7GJJhZwoZqBqTsOdzx0tJxsh7PH9unvTJdIGMaO6zJm/vJvsZu4AK3rUFItaS5J+KOdLK
qpNx6ZXsT3KLmqe0YbrXqqjnb/BrHJ33hlAPXF8Bmx+cFsRc15vEBaltThMb4uTDrhgKutK9dEWJ
xkILxDI0/mPszJbkNrJs+ysyPV9UO9wBB9DWVQ+ZMY85kkm+wMgkiXme8fV3IaTbJVFmqmsmgzJy
YmQg4PBzzt5r7/oOcmfmFcGlatzmjl243BUKvVYS46bPkSWjn0R4TS5ZtOsJGONU8v70VaX2TU6L
ckJhDXuT+aSeXECXFhZ65K9wkEgkntiqGvmdSGBUpeOkkLYeegS/NC3RLsdYFWmc8tLWq94FFV70
0rvzy7ZmYpZwR482VcF02es9CHaSmbDK+HFlQakgjWQUMD0qInLRxgtzg0FyDNMOetT0rUTwmRfT
V7lkcw0GaL9ZP3OtfOsnLVDypnKVMibNCA/cxeX0Ukjcl92IQs1LYc7llkMHpKQDuatcfoNV5OEa
jdBcfx9ccbABrpoBwxPTAeodA60xcnc6OJCUHJm0Gz9r33ydpevUYoCQGwTIz7xB67D4BKPgrSh6
MFUdfQJeldII2cB2weKle3CJKKDDhjUqq0G51BL388y84T4j1Dew3Z3XK4CULsDCzn5STao3lsNw
1AD6nnIPvTdT/HXiMtTK3JQuETyaHaau6w+I+AmiaV+MBCdDNe9oIX9KHQ0uDL+ZM5bw4ExGomb+
zfeHg7Jzg00lE/F+7i4NJcKQUDq2xkiunwMCKoWpAikDM0i0ImSuuo+NDgNlK5fJck8y96PV6Y9V
QA/MNADb+ZMmA9isDnU/7jsNChi+a74af2RB5Nwj6vfZ0JmYthgxGq9GObfnhkxsrKLjtlHGjsbc
gzG1zX1NDxHbPfmARJbdWwbQboXpnCvRXEtneHI8BaXLRw/sTOZGRXN7UBnSyYLR1sZdRBt5h1tk
tuhb2HHNTM8lyRzksIPwawFgqrSB14QJqulJGq29gnxLXQk63KOxqhkfH82W1k6BKqGqDs1EYmY6
9kt5y9WZofuI4oH9g50RVj1AwvCImsqqgi4E1CxlMkQZnUsqFCZ5iwzwIBQvWc5lWrKJTB23xyKb
PNaFbz3qdryzA/JHdYJSml4oYTkOil+Cu0gkpZphvpfDS9KOXpdZkq9U7SfrIcWzMAByMZTsH2wc
51P0MEy23NmSlEWbJiO9JC12JjHF7HU9VJutbTzGZrlzoaANWNUP4ZR/MNus36e6OGkf8IwybJJ6
TEVUxSjWBGgQNjIx1goq4wudvB9NBrXQ1eVXI/TASFX+qwt0ho4AL3ZSk4Xb8laIxglmqXQgtUff
Ogu8Syj0e+8Iwq/RdZYDRhokBpPjA6zvomltx/NuoBAmrEkO9zkGhMgTKKjhjarF6JOCuUX0jeWD
pXqFpNkgIC+15BsV+ecynkcwnejT54opTzYQLfulGblPyDcLERxxW/TYKBDdcX5LbKB1of1ljE/j
xG1ShcMVji/jgeDaNRYMV0/gIOsDwFY9c835zZ4qh1io6gMBzPoeVd5TYaWPg0GWjAjNz40uH8mt
okvBC8Ytm34sM1qfjgPkIWDBXrIMuf3l5ZnLr5E9PYUN0vXWyp+m0Xq2p7mn/QWLZtDma2enezbw
zK17HJUVymL+2dg/U5lD2Ec3QkAKrq75seq857r/aJBpqfV8IplE3tG6g2kB4Kxz6e62ztzvMoat
oU2EZ62xn5QQI6U5Heg0BUzpyQ2mu0g1ShZPp0kSCeiKLYa6UQKhmEckw+W2n+HpybuWaZvye+6Y
RG6TlduN07YAkBYj3yb3mRMCEKbGIJEO+4aLcgbJaGafQoZHfvo98Op93sWXiqW4+ZF43L+djl5H
z2yqNg6y71oabylcqbpYJQzLt+zaGrZJKDYKYy0S+zGKss9+FnxkCgj3o2e266F18jcBBX3vzszL
6JIhDwv4J/TZJ0Kv8B48Q7J+YqlTcq3RadbsU8f8NBevY4kXUsCcrovXZtAWKmU4qh7RJIroaN8l
toQxeauKzynenYI9kN0O6BXHcwxzP0OuZKI8CujDJABac8n/XXDEcXVnZ1/q6CHtehp0mFkxwHTs
2clpXUVYfsjUo2/7brZqR2R9yAWODGjuIEJHoXkvl4WpculdogDi98/FtKLZcidA8S+9QAX5vKGo
GyhNayrrILLuMbGqdUSrOPM8UAMMhMtolxNrC5OXVrnuKCtpWzGDYvYNExUloTVAimRfaH0lIea+
ZxQoKKAxO62qwry30Lpkyb1dMSUq5/C9tWkD5952nOfubkpp5ZHT0N+zp3kYYmxfCYnl7ABhTYaE
yCJWSI3KJr/JBkBmLJ77be153LT1rjLeSkyyTe9g8Yg2JaFkKWC7pKNAL5PLksjuIZQdBcWTmx46
fHKsbScKlpZzHJwD5Ad9/kU4Lzbd0XTJTHUzgoki7nPopAWOEfN7kAt4x2710W07xfal8DZaFdhF
4Xn6vUl97aOS8YJkveSqLuF+GtevANwyGYh04QHHNDCBBmRU9mk/4ZrJT/SecVZXJ9f+jAAts11N
KizayIClLSaIRDX44b2EaGrcvMuSjc8B6AMyyal5M8v2k/RZFhPbucpWvRWxBzXfpDICblJKKe5D
RWs1LSNm3Ub62llqo4181ebtcyuoYdQEFtDyF+X81pagJrERVuTjeqsyLuxXSRiarJvwk1VgEtUd
SASGucZTkyHbGdN+Ps02SuFe6w7VktUeMjJEwb3A4yHtmxLS4zbcK+NLEHf9i+oBzTQDNc74kZuN
6KZXPcfB4+2AMnw69uzkfMd4TdMxvAhnwEaDtP8auOAs+2w8MSWpjrMJjcnJ/fxUDMy6JrdPHpge
e3eNE4ita9Q2sQNQOGYH97Ibf7DKengyWletejU5+6DvSfIc7Utkly5qpLIk4IGzQDMmPZQl2h8u
lAPun+mz50iXU6uGgxN0xevyecIqBoUYV/uLXzhMvvnTLE5M+/u9Q8ynit3izWrCJ6NR1mPRZljc
+O7bp+dEa5JOKncd9R3Tr7asKDzjcJfZCMob2gevCyqlyTPyIVXnHALBFaL0nLxpqyBvqXIuVm1M
G+bdxcdwzp+U6bgPTLuq1wGe5+3TdGzo85e4fvLGqe6VDN1Pt75+PPr5bigw6I4OG/RmRCCPKdyD
r7rsx6bcXlNXw7PqDbkpUTc9FwV88UY5Le/8dTiG1jc5ljRr3dZ9ijxEJvlIh61touDqtADVh07V
d8Ib6lM7I/epCYt7jYbEvndxYjw7LYoD3Zifh8aKL7TbCCmwJv1d0qNrH4Rni0c3qb1r3NQPtgSR
xr/8sY6AXQvfbU8tfq06HSjUgnp6i8r5vbTD6oHuX/9UZdPV445rOYyn52DbwAWB3DWp02y4sMbM
7ikl/2rlGvZbWSH4zXKscXNZJ1tXoddRqBcohIzmCF3mLgJBsZsQlT8bZCU68MhCsyz2jWxH3jtw
j4qkLbexDp6XAcfOsULvPIXdJ0e1zbHC2gqPaTwAaQvtgK+00rh0rOQJzcXzlKQt8ZbjYWpSiSoq
wiGUGZ/TeeCR5p4BGwz1TJBeaw++XN0RxdIBT7gmGaDyhv0vyQoAv2+HzEEiNCeZu6X2PWvBW174
cjjquJ83weyCxucd9DBa8j0A1vZlRPIHJNC6qJjgQrqoDOkcX10iPFYjVyv9qKZfa79MeZ9I61SU
JTIQLTauIKgwratPo09mgByhos8wQCfuVWEBmLeORsIAhIRfMswbQBjwjM3hqza3Vs7u8G6OnM3M
iHstLN1uh57TOToe+LR4G04DZqio/WJFHZe/m0zHUMNAho8S389Q3cSdLutmr+C8OcuwPaSFNQfF
xTPRqbPVBoZjQAmomZVvTGtJ7JZsVekZ7UovRCTU9ZGDkg2d6yBMBDKzrNfsy5/aIQ/OowaL7aZs
gbN6OnDX0AcnAcAWOu30CZUffrkygvzdSA/E2PxFtLJ+yUtMSE0L8Fe7KS1HIe8HetWnaeI+Xgxt
dVRwI93Mn9kWCkoVaSAQK8BWcD/bV6Ok4JrMowNnDW/U1ePj3pUI7HQCb4nkprZw3AMQifwjzTF2
AUn7qQNDj0CXfjRQT6MOn6YO9lPTOcU6ZG7JSFi097EwIZcj8y3HzHyWCuFgwPvhXcj8mtrxypiQ
S1u2MZxjaCuMYRFrN5Mx0s6qENFQ5Gz4tfGhsjaq1PpEeY8J15DOuuJ07FMr2rfu0LxJBXtDYLKw
WSFgCNnp2V0ANXqxtsMuyB3q6aBv2Z/YUbWjqYLMRIl4q6fY3VWjxbS2F3V5mULwSSaQM3AfNZPd
2wE3BUSoOUd595l5DcJ+ZtNXLFDcUtMJwlibItlaDk3LRN2YUZajfHEPagJoTYjfuUiRdEZdf2Rm
Rh1ZxjXBjr04WyJ67MrB2sVOl5xhfbZ3YVUXm9tDy0iS891sQYRSXCR3M8DJRadJw6KlO5g7kthC
o3nBQlg9uDa2P9NN8Y/xbn1wLPOBqG78S05bH9vlIKoUEpSQu6jK7IPrmv4eCUr8DVIAVq46nZ4k
moPt0KhvrbDfkzqrjp6nW4wkniBlJ0/YkzT7kJ3sChhR+0LI+7CVZdsy5IPSbRU6OGuUCneNNsyr
JxW8qZQwlM6Lp0s2SjAX7qYZbfd77iMaTeRkrGsPCmrQ+iRXzWreyA+omSKa4O+SMnIwGn3UMisu
Q0c9642KvfaAiwvghn1qYWNGNcVOZ6KTS8ac/pTXEEKsxas3LNJADUW6oNA+1Drq1lFYYN4xkCPm
BmJAAzhfV3vHwg6sDyV5Tn3OOzD3J+gwMT6N2ae7FUrgVd2AM7aokTUFjXjs/EUzQtitMDaFzugw
2bGJNo50qNBMji1OqGNSeZsu94dlWbvLhaOZWFvJMTD65Cj6lN+bUfZI5D4fRpuYnTkzix1vp68t
LJjLKOmu6iYDsZ9w43OtgvB5r9snhds9e6VZPvjapRAM2ccnwYEiIDzqlEFTsQ3KRlxKyrLnrMz5
UcKrUC1Od+7gyGMr/fHoGiTJtRC9bgdGCKSq0K11acefAnqxJZCMAzROANekfJlvcmz9x7Yzj7YV
988L9KgLVYfCS/m7Nj52LLLnkl4J88E+f3Yr0kzyaHhgwT3OmCfPplVJ3HZ0csjlSj2tj7NvgJNa
Dvw96FTCfFoRL624CcWUciwychUphm9FJdQpWw5tFL9O+JK2nQj9Dr40n7t9NR4ygF2x/0iVly8O
1xcabkD7oQFcbofb528ftXL+PHXsvn/6/O2hEksIkewI2PZqn8FvVcUkPbK1z5LJvTQQaHG3xrtC
muuxH3pYw6wARU5BQ/KuxIIiUVD4XD6uWz7MOsDSP/vhZcwN5OhzYqZrN10SFBoRXky4g5fbR7wA
3tFsGvA/LB4xW7BjrTxxYC5s00+PUPXVzKM2vWVAsQv7iyFomdnNcvXc4E7LgbHyvHEDPBJRn3fn
lH5sFbDtqbsagmoee9c56bxrbqOYjj2HNVJWLxYutl3Qf6y1ORyMOhkO9M0FyKfU/tQLl11g5/kw
PWLn7KT+mzZ5nYdStOAmwkdUY2yFlzN4+6hdHt4+qiWtHKY1oAr5O8vFDll0wV7IcgZVzSFNEnzD
M369CP1FYCcVv6cV19sBZCge28Y6TkLsVeCXO4yjNpD/oD1AGixTW53q5RBXdb0VktGWbec/vNga
941dxiBz5A8rLtvjvw8lLtedG5ukONduLxbGKVI76AMEn7CsUcYwRu4a790TDTkW3FCwif4Yo0B+
cGiQcRNY5oseabUeZtewxL8RNm6HJMfDI2RWxms0Y7uMQkDH2VA/LwqbjkJ2NPzu2E/CPt8OjFei
tTVXUFXmIPsKr1gTltAxxZYQDnOCdLkvrVCVTJjJJrodyCSKWbc/UmquusEQpF0/3zioJg6oYNwT
w9uDm1H/yrq4lnV/iTETcE2zmiYjvqdpmGjS2FdUxvDYDNQVVhr6zxMqznvZ0h1QKftxYdjpcvm4
L4mXMwoiBRFyx5eK/upToEERZVYDkqjjlgZswygICZlxtV7olxDqJWyIp4Z6m/vJPdZp6qGAp1LD
YQn+zNekrjlB+TEWquS6YZ9TQzDMkCBsGNsfWhe+/Ygl3KDIWpk5tF8HhNeKiCBKReWae3ERXkFe
r5WIlyFB4dHTaPKnzxVqmHt8HdFFg8g4RrV44gc/xr077eUESd9nkIMiZZ06GeSnhrZUDal17cPM
XOfNidkood0hTY8SZmUWaUCKjsBxEZpPdEpWZul8i72Kmqb31MOYkNvkJ01K6EZgE8an6LaEynuM
C6IesrGmrBLqTO+TDKDlTQHZJ2cCGmAi7TllvinfrZiG0sAMN+5Hf6fGSp7z1H2Oo+fouz9bxtrL
23EDpin6IHga63wWpHOTl7Yu29hj5bDRMfmHwv4mPHdJzVtMb3n4EiTyrbdzptupfClc6FMh0aiH
cYkN1rI4tB3mokyKqxNRtVk5OSLs6sJtnFAyZDMG3ImRmkTCsu6bCqCHS0Zk7Fn12fUQZDeRKyBn
dRTDWf8iJC56UZOXCEAyxwJGOyS0tHnxs1ReKokob/b9TbwsSZKmnYciHFErxiA8RLCXZP45DVWI
U8xzV73uxjNalII9KXrSOdzhDhDrITTK/QgCyIjUEpjQTm+pITaGUZnPgd8vdKiCQgVH8gVh4SNI
zGxXmB1kmC6IXobeQYlRRbvBd2l392m7GUwnelXmJ6F7+ZzXRfwKBvhYQR2+K1tSrhF0Ti/hZCFF
D4Yfs4Laj2pNHpjEIbHxwPdz5tnldX639bpwWqkUtpnnFfQuolC9zFTTAJsYC5WDkC9ZiEo0r2hV
2wXzdePHUJ6tUDbXNjXwzqXLYsLubBtFIn5yh4LGZShSbCJQYlC4j4cw6sYtMqyYboAXfJA+7Acg
z8GmGZzryHjjCdrFJ980+ncplqKWet1e2gWzLz96TUc7lH3gujVSe9OjwQEbT0yqVxoFrv2edJd+
/E6AaP/bvfV2Cy0N7HTDgPc2dXVxbfKkISHBN9a3h9mUltfsowkScB0QjcfOz6RraTyQLZGDcrCD
t5y0IXf28YJ2ettYWbMvXWzceK8IKGAHQoEBw1AGbnwRywFNyLQxa0o9LIxAdy3oHDXTx6c4M+yn
wnl0kbnR+x5xZFgVkxJZyZ2XkVAIIRIRCmpIBGVN8Sjq+UM6GMML69Z3MYIB6e0w2OVCBc+OcTcT
Ns2Vb+XfvfLVUfi6BqtVh2Q02Pgtm85x4VB6d7MBvwuitPHgFwEqyRH3pBOaH7PCZ6Kbtw9OBTuq
yIWxMwqUKbUS6IEzNJxmW5rb3p8e46lzTq77FgZIl+VE9o/TJGSc6pEIFQpi+oLk+KjpaxUPX9Ah
Os9zn208WK8b07H8TdqEyUeW9CNZhvbXsSZMxLEBU0xMS9CxVAi/kAZ+LLST4aImoDgY8ukpMJo9
0vF8FVFCbmtyBl/CGiVXMAzNBkczq/PcYLUaRuqz6O6LK4A/WjCYL7R4mbVGDiGcYYQjyezFrtU2
xrqI6FeooOgQsOe5kE+NZsBeDLLh3unE9AamKJpUfcrjsAExh+CyimM0LBFMW6C4EoCJ9N5F01p7
tx6btZO61doIwJEswPqzl+H/yaLPZI1tPQsYAjYganTY4pEVnxHOkks9ynFlFx8KJHtwQ4hwqJoG
gpCrhrVj9N4u0FQd84Rfa9RJzXUObcniA5px1tu3ZqiydwSgJW2iiFa/VzwI3gN7z11shbV+EiVy
BfSZzS40QnkeM6j7OgitK5oRubJtC6FKG79S+hrA4qzqbBRc7bK2CTxqivA0ePF7njHQH0twuHR+
wQg1FKSOmz7zAhcXx2qq9a+//Ne//ue/3sf/Dr4XDxSJuBCaf/0Pj9957esoCNufHv7rpcj47/Yz
//s9f/6Jf52j97poih/t337X9ntx+ZJ9b37+puXZ/O9v5l///dmtvrRf/vRgndP8mB677/X09L3p
0vb2LPg7lu/8//3iL99vv+VlKr//89d3Egra5bcFUZH/+vuX9t/++au05O2F+u11Wn7/719c/oB/
/soP5MUvr3nUFn/5qe9fmvafv5r/YJEG8u9JrHZaMif99Zfh+/IVw/2HVoLNtKkdqbSSrvnrL3lB
MMo/f9XiH67lOo4wLZP3sK15Fk3RLV+yvH9gYnG0Rx+TDRBe3V//35//p9P479P6S95lD/gA24an
4/z6S/nb2V7+PJTpttSWY7smz81FkCT4+vuXJ9ppy3f/HwGhRJOaSt5MV/yA0tszsmkfLZWsJbMk
u3VOEhgsGPvbYaRltitrO7vksh0IwwsHusOFvXCDvyp/7rZ/eDV/f7p/fHrS1n95ftp1FS+b45hS
KcUL8cfnlyT0k3If0VtY4mpG2JHfZ4pJPC1IPPFon/BpQA5ZHt4OhcTOUOXGWzUgj4+i2nioTXot
VQkftayAqMo6V6/SQq/gtWVJsNhcrmKRzJ9RjT6yxd9mRk9IlCeyFyrBEmS8l+/bpeFuj+/B0Ih9
gczyEGtqhDBTTJ9bvG/0hDDLVvawZR8dfSVmm2ZD3hRgEK2vVPiwe8lg6Ol7yoDFJpOAZBhKhvvA
ouPXcBv/ID2iSZeVN8UEprfOBOlq7PTIOLFMJuR6ybGYB4ymCfM7m878tYqgJrskpiSxjr7GJUKT
vHLUkTtjee8FSMCsIHrO3HRlmFZ/jHROBQz0+UPmjRHhZoOzKklg2KgKxQ/3U1pfyxrOaNtGG6bI
Zvjtb6sZBzv24GGHTLvPqrLGB63fQEQHB6urp23ZLWavHhzv2Hsbr4qMr4ulxa7q7jsbtB/CartX
1wSpNA/tPnQU0yjXfAgc5D9BQuxbWKnsJRNB8jKtPfrU9+GE9M1WBndUatX9rOuMW07wVFT5wEkI
nkKvnXZmCBxJt/oldXuGtBaC5BwizkkWZb4phtwlwglrlxeE246u0UObGSPoLc2YpSqumVp0KWVk
viijTg+MXw02KjxMdJBdiZ/wrrLX8hWOo3/VtfHbo04YYDkENNApOMRTuaDuCkI5g7EztsROOSbb
dSTT4TGROWmmyYoN0PwaNyCZLSuvVsVwZEg9X5I5aK63Qz4TFQNJ+Dw2AdMdvHLqULZFucs6Zzzr
jlC8KR3Yic4tcR1lslSdKZoj03mxxqF5LKwJrlnMMMBmIlrMo0s6Y9pcp4YtRxEZ9t4Iyu+t6TL7
blOIeE6SYfwBdP7NLLM95a+L8TAhcslPV83kOci/LcKerORaHm4320mA+eb0zAdjUDuDMKCsIt+W
D4bc4QOEE0YP7rVHZs8po310JLzjpXMRGtTOHY2godKPuRVP7xMfGPEwfzIA+Fk9t0IkDhRQFktJ
ZNk9FBjkHUE0FglNyOUul0TOY0kPXicVw9TWedRZnJ5LOz+jkmgfJMEKoJ2L0GTkRvRoIJ/scW6O
t3OHqv+bjl5nkfknsZzMnE/EXsLtuGsublk6R5XrM7sFceqWg5eDziIHw1opMyNeGcLUNsrBMxYo
hmGc1umXuC+5kuvqRYzxMXYD+A+GEK9jS0mKDDz+Qgf4IUiz8OvfL4am/ZfFWgvPM5GUWqz+0nF+
WgzNVFqRRmwMfkogkBpBZ98O1dD8/tG/P2djn7jvS2VbjL5p/rdkcsddZ1/q3KofGzOwNnU/ZQDR
KQxCJNjrW5+TLhJe65gAInO0n5X6pnVVP90e9C7pARYei93toZ40CLKaHBaWWrbYKuDU2wo8XFSP
O79JzatLi39Vy9KF6q/NUxmOF8dtghOsaXihlo9SxnY/oSeIdnET9Hi4EcCi6UpXIZf+05hUrj4A
XiX4yek+kErPTmm8E02IwhUG+mujEuetczQJpDKaHpXB9HloPUGUZRVtstKrT9ZIuRhIdegn822e
GUosWSm73gBv2I5XGFcT+mCs4IZnfRlZi58CPzceo/2tQlIVLjJTGWDCBrd5sobsKwzK6agBNGZ1
RMt+Gc7cDnSLKIV8OT5WoxCnbCA+pagdSMeqy15MGVyGkYhmGYF+7ZLC5twQJWgLWr5GCl8jjNsJ
PbuR6lVLiJiByPO3i8CFGQWRrlqJWSRim4Ut+kGEVphAW/lKyyfaB6JbMkx4e/fjHO1rGks4S5el
i+nVlnkOeBuAg4YljMeCd8O9H1XNW6Wnz4pVfye7dCmCw2g6ZGZcn2+HgfQS0ihgjzVVgbxnCsnI
ov8CBberpuOcWu+qIJMJSFbc3xNK05F4h+IccSYz5T7UvIuyPXOOcZ/ZaNlWllOOpwxdV59Z4lh7
k3OOGMcwlMNWTysq2Xlp43IbUnQ1aH/eIeZqwI21a58B4DUrmKn//QWl7J83F1ov+yi21I4DCkBb
f95czLwrO7i6ZNTPtn0sS6o8C4EzwvHw2aan/Gx7j/Xori3DKRLcN2V+lElVXPDXJId5bJprHMTZ
u9VrRR0zsBlHe7bqKxrqlBX5xbRJ8O7MV5RQ7lNf6Q/J0uAqC+FCA2kKIorFltl6+lQIjOBttJ5S
y1w40sNdapr41Ys5Oprkwh///g+Xy0Lxp12f1o6prGUJUTZ2hGXX9YddH+0T2qBDjs8wblFBNLnJ
sYZmgCDruzfk+QuwyOFazN1RFIB7EXlwCfjmMVmm7NiKcuKIis+9G48PVS7kUxfYCJDwDXuRLLdQ
lJxzGHnOudPyx98/d/WXHaHmVCHilrYpKUG9nxbB3hoiPUlc0tyDguQQhf58UJb4CGSl2Qkd42HB
JvN4+yjwEJHGmfThzkxr3xnsD0QOJRdUxtwA++GHaw6faH35CxOKnmXZSnS4aHjSNrWfl86P1TT6
RasaC8TUtxuDlDWagySkzV38rWps6BqKiA4ZatC7Xlc/mDqrz2WRbwYVd3jHfJWc/v4V+OvZc0ys
jZYwlacEIJGf9uxhPXt+JAnIpU3zyRrDkiS03j0GGsSgsDOC/5IAxG++7XsS7KoEF0LgMUAxSqAY
9O2d/TAeZRfZHzA61TioC+fql+SuAGmjXzekJxV4+ZFufPyf3nh/OXm24y1VDxedUg5am5/eeAlC
4ckB09KaeFSmeChOQYiWzlDOGY9N4qD38Tn1r0FP6rkyPlRu+bGM0FWYj/B6vWtlee4VfDYar4wE
3Dgmpm8y5vR9ckjsaZHnuKlfgTtO9j5tyHVVDCMDhOw/LB3mz0uHY1KasRHjHehKSrGf3oVT0NYs
5aChF4NF6atDxWQDywGa2AG0zJbtibGj93gxUI2TAWQ3Z4mz9zDPjHTmnjDGFIlWmHv/4c1hUk/+
6dJ2pFa251BTeo4Nkf2nJ5boMvYY9GC1SqJu1xXMhWFkfLSdGnSKmIpDMPqOe6ez7mDl0dZOey76
eMlMRs+PlcUil/7v36/m8k/+cbXhKbnMbjxhc9qp4n5ebSqlHbz2gLhlWuD/7awL7ktsdn6ySp15
eBFD8y5M55Ck9cPomuqsRKTIkcc08vdPxZLC/fnJWOyrLM/SmtLaseTy9T8sfb3vh8E0ViS9se9J
RD1ees7D0JH2vuz/SN3qD3UQXDAwNMepThb2OXpwLw2tRzdlfy3wPqOjwwAdCX8ddV5zruDtNcCW
rjLTzV5a5mfki9ACYFbD2bGb6+2L2HnuG/ZISR7g+Y7YKeGyV6/OTIP09jA1zA9MtLPlNhtsWLXN
q5jNYGP5JPNh9Pn4+81nYtukWcDUssmv+oodBDFuSBXz4c6ls05TW/RbkSIQDExIAo2Do2r53r6m
aDfIh1w3AwEONUPKtUX8WdA54VfScdj9DwoqbeplmwJK4zq2OxgfTTatMVSF5NokzdNvJSFbQBfl
DmM9sRwIqlP3aVZ8tO3qEZH2o4QBEsJK53U1Z5e/OpDus4apu1TfVUsf3F3AISWDKoulF4HRAvqx
XPTPbhruBLkNzjCbx8Uta8+qPWGJZbaquyfLqs3LNBXmCwVzCn4vOzKUgWTNIH8VCldsbJ+UpMxf
Ys8He1obYuF0FTPWv6VQms0c2x4Jes8Re+M2rRGSI1Ps8KuahUmiV5d4pziJzV0paoSfqs1fHNs4
uww9r3UDT7NlGhrdzS7AzyE1HOQuuNmBfxzr0FJbvHAMbtvvaR1be1+aIFiVjg6TR/BBEiL2Sxjk
kQjQgk+x1NCcZ5hmcRvkp8Yt8xMZqb9/FKLvCk+zopq9m30I9dCfgpOvy/k8Fg39XBVd7bqz91w+
xZMVmPnT5nacraB48hLqviFGbdrm8bBzwjHbll77GZBgebX6yVh1oW39NqrBplsdJM4Ti6Gkngl5
V5O9gzCzBDR69ga4u8TLnVgXwy/rjevl7l5NLiyJxkq3xjTgu43sAO6WS9y5oKFat3OwFiXBCrBV
kjSpPg1x91QG6fykqwJ5ckU8Bfzn028X3fKRYU2PE4kuu9unTKNdGeDNPoxe/DaXMCBKr6c4LMSN
0F2cvTZH8dFAiEyjSq7tamHEIzny8BjjhItC6GrFZLcP1XIYMnCLt7aK70ek2wzJcB7dDF4NUEVo
V3YyBSsVV0AhPdz5ePzVdJknZ1zpTCIJK70jamqT/gOHiZnmqtBVglncEqgoOXQW0OBsmB5ujwRt
tx2GfGaUlO3L1qI1HP9y+4g7h94XvniG+nrVxf/l6ryWG1eWbftFiIA3r/RepCRSUr8gWlI3PAoF
D3z9GYDWPX3iPmwGQfbSliGqKjPnHNP3XuEIgXlE77hjYvChT6KxqHwZcPUfWydz1qpKjIqaSOPY
5QgUW8IWzooBSUx3hPbJKX5ICKTulkIYyTXLm/q5MjCamD3UWLciL6JNKRL8s4lf6Gi1wgN+VLfU
6VlKRnWVRQjVkq2cTuS6a9do+gd0WkJDeG7KmgMPWZikJGnIrr3R6lEitoRjj+x31FPBE7m1Dibc
Q2Q5w8Huc3A98zVnRrFAg/k92Kl2wvuhNujIrXMpcMynZmsRV2sgCkuDfms7gAkqU71SPA7MGemX
tcqGfGDcK5b0HWDRaf08WO9aUKa33DDvP+8FSfQrANb1lGf9OBESh1VK6cXwgHjCKbJm/u/K3sxu
/XBNTS84O1mebiKbGMX5EpEnYGMtIdIEW+4aTWF9TkX/m3gf7bUtrfRF5n8GK2NhUjPzVvffpR8N
6PcEoX9VpXz5efG3HoA7FWbaXiiP5cbv6RXEhJG+ogIcTkZh/tGgtlQEnYBD2mmIUIHXD+VNOAy3
yMFdDsPzv1cV9KrngqVYfoa2Z4JmsTdaXGn7fK5o51GwGRbbgtplZ4jeW5Z+9+Hxl3/nvLtwetX6
BbE1tJPmJbGQJ9O17Z/VoY/WiOJxpKvYzUr8EWxmbTGgGRNrPUeqlZvwnYDgGIux6d0D0VCdv7F9
r/m57/yeIY5R9NG2LqU4CxR660BIbxFkHt2X2oMwFLoKihmHGkmi2ut8IrNk7nZns4OmYLlKQSRD
1p9LbNdiq1n8Ivuh+ZVTNS4hkE39Fx6c/33mmYbJKtPSWAty/Qy+ONg2w5Q2LwxjWAx1SehiHyUo
DYsXHzbVrlfia8b9jQGaB9QNV6njbQenjieQnfy18BTaeZyX6YQS3pMRdx8TFJEo4V8q9GXfuu51
UOy/DKDbkx+I7uT4ZQO4WsfQOl3Ob1TAuN1KI3LG0bDVTMqrk4vwH8mecq5Hr1yGGUccbHz8ZrrO
DbcKcQ7pYPIhKMLmXjEhXhaaUT397H+5OZAT+H9+KJkgVWxzWuq252rnnkVnSpvlqd48jJwz/xgb
JzW1gkckvG8X4/0+doIA3ytlDFgf5R40hfY5PVETAyO6bwmIdchCA7u512UzPtVWsW3ggs/H705a
ZJcaFtQWfC6czPJgpPWcAY5RC/FJKQoNmFAJOgUx9HPxtzS/w66T8CFabReX3Dzt6Bm7YixZsjz9
3Obe+IoS2IRZHBfJBhL5CEJcEK1QExEDrsY8DGpJnOJ08AqbuF/1CJ2h9yS7qPFTSKdqukoGyz1m
ZuM+m2K4w0ZcAVTJDzZ3ebL4P08Hj+wsqTrvP1XOXPB0mWkdAt/PWamrqsERPq1mIMRg2VWuR2qN
VW4HdEeYRvrs2sZudq2Q/z+ZxW8ZZ9pD6OUIPIgdvT9WTDuvlubV+zYpAT9ZJmuTJnQCHSzVHNFg
wq1SW0iO6UUMb64dbiqoNlBWOB/NKqgkG+WmTSJgcvbQ4OGGZ4fVyRqWSlGGLzSfcHmj7DjBsOEo
zkFeO2b0yOzCQ9FQIQorgu6QTvqGsOuBeKmS0ySl+zl3wKv+e6idD999A97iAgoAOyRVlvL5EkqE
Sw/DBPQzppqCjaZKtzb21g1GRVJ2Uis/BFryZ25p/ZMfz4xLNUppYOjaSXPK5BnYxmY+zFWDkTzb
XFVe/zQMKius3dIFI6xtX1QTu366jEqnv3kaJqkiws1DzOO71NS/UR/Zm5+Ph2awAjEFRydbpkp7
0VyotfaLYRWOf5STapVohVCLSutQFg79M5iKPvimdRuI4Rf6BjZcT+N427kbUrBUAoGIqjWyMPm5
7Myu3EU6FEyyg4qXQbSfXg/bQQPxn3GOO8wPyfRsiFqQ16FxTuyG+A4/+CNDY3gP2ED5FDf61iqK
YQL0X2I10p/nf5UW5ScE8DAW0Vlqyfqn6UUAc4ynSaKu8Nm4hKeZe482xEbVXPceDPWdcL16iWe6
IPEskE+x7PaE8/iYd7PkASYH23Hj3Wo8DrsRi/i2EGH06hNdymJgn8o6My+B5oVncmBvMkX6XcKl
z8xYI32l1hDjWep5vkQANhG05W/dMPOnnPRn5kcFp2WwOcBHuZzfUKqbLGhwrbGQ7IYORoURDNkX
QJFKy/TPse//lLSu8jDSPkoRPVxKJ4QTvbxwQCNMZ9KG/7cOGRqJOBXOe/Q95Y5hnWBtsomHDCt0
dPUwriUEtj290f6uXERu5xtOcQy9ymm+D/OyGoV+4Eb9qZ84FVSo5QeNlONEXISpmVvfgRnuV6Ld
B53AIRYEHTTrot6KQO3OnKvqbaj0zibR+q+Ru+zMsXhcJkjWfwsvfNK4o+5kJGp7/K/WGknaQjKl
eA0LqGUZQ8GdYdXG3czsbNXkKpfT4Wx+16qrccdYisRyVEtrq8WkxcmeIYblaw8Sub7zkEGl5pf6
Q/N80nngspeib6B0tDY9Pkodd6pwOoMjq1IRUjZdza87PY6YhTH9E+vfUzcaExILpn9Vq78DG5mm
PdTuqg3qYeHhnD/OD870TMQZ+MH5aaRa///Xn7+G9Ko/Std127lVCVNBXIpE8WHdmqSeTc1biVSS
8asPEM/0jwOAtcp27acMO8BVy6hLpxkpuFNM73WwdiHn3KD5l9R/fb6k9FpkmZDPcRh/gQ4KP31B
AGHaGOuBJvFGrZ3qGGTFfw/zJUfHDjYC8gtAH8al1NMbs1Vlb9pKCS60UI6a5wRrS5Ptlt3ZuCeC
jcTMSLJTvOzMsUwgwbW7ZWx4MKmAANJWb6y17ZpYgk1j+JWghObeGe5WVuzKPMW4wib8EvKNgAP0
7W8XgF/l1PWbFSlrvOhy15uuupwnHpaa3RNVekc/8W4FpJnTPEvhLth6BbBQXdOGSxkH44Ux/3Ax
s9rdN9K7Tv/LU/tqJ0Z/EAGBc41WPRBaK08uI4JzGWS/iX9eF8Kwv00z/lsmSXhPkJlsamlrB6Pd
gELt7057Nc2oeAMeWF7CNiKGKV6rvnT+FBXlwjQVGV39ySZGb+ODFN47liR3L1Grvep03qvVpN0a
bFu7MbCgvBpwr3aYjcFgOf2OnA7rJZQFBVNQEolaZNACJgZcpxfvqKDibT0NMtIKk76ThC6xcLSJ
R/rqx6GDNZ1Mx10j61H/5EMwTQ6aZdRb2VcNEC/W3PBeK9ZXEZZvYZpQFHlEVrpeF9CByuRLoNJE
ZkNItr3s8Ku5bvRLQrqZ+uXzy+4IH5PjL+dnq72jOn/vwKg8RUZu3n/mJJo/oRPYiveuiJ7zCsms
p2wDNcyvImanJpn86mS2eUhapeQk17QvkR35z3boiUffRcTXKNBV9CgPP7gtYFWNjmA9rz20945H
MgmpSKk6Rdd5SfUbkw7ZDlJ9qDWtAp3jxzIoir+BpahPAvgDXAGeBXSlN6OvEotoEcEeFORYFkkF
6EFLWFlpYP+uYOFRBzjfekocqwmFawt3iBAToZw1Q4RPRtxnr7ZD+pgNiLX1Gg6YFcTLpOGLuVmg
LErIeYQHTyaWWqJKY0VOAzJjGQB0u8bSYoiuDIytWQgIm6w141MNm3trigKeQ0knVgtbWg3pJu7r
AyCJ8JFkaCbrntxQlufwQV5TQcfBBpU+vYts4LMTVn4KoKi503Hdnx6CXiNyEgQ3SyH1Ee79epvw
pekqRNo6mj4iCo5sf4hehjHDbWsTnoOibPoz59jatqFRkLnbYRpQ8hryE1TO7eBazS5nHnLv6dZp
lHyfDJuZk+dD9qSqwxmxtLUZh3HcC9HBUi84tCFG3eQIWBFqmcW5cHpzjatBffG90EVrp7zHCYpp
d/o8pNPnQZk+D2HIQ49/uGfq5LkmleA0b9YThyTS/pQPUY0BS6l6NA78N7aX7f6d7uYjXq4Xx58h
eDUZ0WXcuwvYtFG+1BtCNiBCxceobc1n3VfskxTJq+NqzNUir9wimeB0muZCZ75rCUxB9e+y8spX
z4PthITX21Ll7+B75k+Nl3Ee0vLiD3y4HtRkqWBg1jOYEGZR5Zte4L2GJ5h+gzF34YnFkZn9rvB9
Qcz0stPIcPSSFC5/GS/J3v7bsFX37DXQs+whp7iXk+ovSuyXfDT8l8DTXjO263ODieQMlBNxmnuC
vd6/KXmZnWw7LJbSL9WHlmqrWmses2YB8TOuaAwVg4H/agjr56ay3FcHFk2UOSkuf40VoNKeQ9nc
rGnwlmbQ2XxjWEtUYK8tIXmu14ojrBJKD8oWF46vQj5nrqfHwPTzrWLFmFvtsF5GiVo/z2ZGVfF2
ouy2XY1Ri1YRfS6pvdYW8IM8zgswoFwCX4AYDHR49Snsoj97ehKggzIIwI0E/IJSuHxWRxJzdF2e
e1k3K9ZWxr0pKin+Jt1WmeBzY04nzELxs2FgUHy0SfLlJO+hFcPUjweDOzMw9IVKtqA7NsOPNAMm
/nfmti3NM5yyhVa3+zEqX/vmEheygchl4U1h3Q56VR64COdXgYYESWHfaQjEeOAAAgS42s9oEYoH
7tJXJWXdsEEBQZIINIhRlfWmecZ0aIWAQfDANiAk4CTbTF01eqKtUjCwm9xZ+dYSdTPioFE33owM
zWebO8omtsu9Xrf8tFoH2IN8lu+BtIlIYsRqaHrND9wF6oqVU2z8ZmifPWwIjX/ViDCdt4TWLvJb
VaoIikxlFZns5EPP1JyRPl+9k9VXiX5mg82h3uma0z96rd1XaAJ+q/DrlNZQ7S0nQwxEnHvmB9ES
rFYPjb2eL32gwj2AQcBm3bAeKMFe+l4ProjCN43lNC+alS0tRyk+KhwWlAy0MYUalxdGDGludOex
ZNaORdtbdXnYnyMbc1o9i2Wsrk3OzHolnvDQ30vPQh7Q5aRfzN9WMjVnZCyYd7tlBMZ8LE+Ynoiy
LAtg6EGPdIuKLaG1Od3Z2ZCREevvRrUzmQMh6uZo2i3i2Xg3P539dqmWdGQDstwCKTB2QZTphzHJ
8ytLbbMqBuRB+5tGXw9ExAgv0tBLZV37XnlTrao55wQDNpPOaX7wYtKnLb755b/XagQBcEvRPKu0
UGmuMwRoi5i4gmhytmdDubHYVwHbqzUHm1gesc6VKzrlnwVgitMsKmtNgneYOqCxM9XwJdeaboUd
Wm6FS+TOVC0ZmCcPhJ/JlWGE+QkqAa2JqdLvjRItiBn+ZQ7ic6rwwUaMmv9qVoreLJMB9d388446
InolDAT2JX78Gn7aDnmVv7BDv9wYDercwmmQa5VFeagDg3V94tUVXYxTIYap5pRB+0lVvR4T3X4n
rbza1NMYLA8tNsPJW9tN8o1/DxVolwxDyWms1K+0Nv0/avzVRf1zxQ51aMpkVbAoHyPQQXAX6Mo7
psVO3pOVgx+F/RmI505VrfBWRc3PDNlNLPOlrkA/w50Y90kbcyAjM7EkiMyfmqnzQxaYN7XSc5iC
wz2p+JZ/2pt2YkbX+ZDZWO9Wirugtsr6qdOzBbtfcHSns76DLZgx9HT939MCQ1hiD8TouOJcjQMm
CkwKiwQH2yHCwbaIGrgxyz7A/91Qkm00ZudPuay2mijtAyNvenVTiSsHkG1dpyQnhl0vIVh4buwT
doPqKcw6VI9ja/5l/NAtBvg/p76R0Skp/U83L6lIm2oAkKKZi2SHzkz/Iz0XWbw63muz2Aq1+TP/
+SqOR8+uzm9v6rhOn+ubV7DKhiujx2OyKBT76HhV/al5MGCrIE7f0jTS+aA4yaFDf7eKkTzOU4cE
AdlVz/RjW+kUByOZVh7WoPXo1i0sORdLJWlaRuUK0GG0gtG8MYhR+GlTu/dPVe4grSM34GP0QnWZ
ScM8+hFRhrVHfWkH1U0t/PCUtcGbxs/x4LjOUBc6zXyljsu+F9kj9dUGDVR4S930K3S9+NtP1ZM+
JEQgGuRrwuepF0KxCIwgHZzQp1cZj+0r+RyfkdPDdS7B+iaisI6jJOnV1Wr/QsJduzYHq33OU0gf
rj+2j1ilo4mFhGkGYWrrbBDy6Dg1AnLOgfN+Vlp3WWsdWb3ql5J506khophtz4V7QxM5fPc16Fyt
kzhTZEAnXhKSWZn5tsT0czLTmjmY402iQZTmy3bs7NX84vx2oFnuSdD6WJhjjZ7zfzXC8zPAXhvH
bZCKSUtJv4v4kCmFcuh0Nmwqiukx9wZ6LtOrdkeo+Fg1j0T3J3y7Ks9Dz6aCGBYw4nQ5vzGoOjSU
ypbyXEnLOwhIRfO7//4JFhN7V/bKHWSLfx1KFeNBDkM2j6RynV9zDWAC/Bm3xfSSrRLrFatBsXWK
sTl1RtGc5mdZ/cH0p0be5zEoEK7bnKpU1ckKAJ9hql22J/DSAZxoG/eUkIl9FdKGL3rlm/mKj72m
AEpClUKurB0eFU/PTv8ejDgpt/yL77nhGGQA9RRbS1ayOw7C0I+dYxtLa7Cb5E0Pjeap49iwwuvs
b+bVxCIT5lQK569U+2bfVhAyUwzMlzCMv1PiCx55FRNEkHRwtFWlWAxWU27nfQj5X3LqUl1f+s25
gWmwto0mfKFHts+7JDuViP+eoFD2W9XQOxIjWBU8e6VWb3XYu7tWP9QmdiOLRf2jV8yr6PORH+KN
NeUQOB1jWeqVl8hjoYYLSPAqbq5AWPUuEb6+d5oWXLruLEsqh0OVoKoLPUYU6oSrM6q6/HCD9I2j
vU0iW4HvXxmLm0vQVSfD/DXtOyg4XZzunD4+d5pX/rYUZHQc5IJzzN57tRR+52ln+HsD4fW6nMYO
I9XPwrCZYPzX+6WGXzcGc74I2x2dI1LeC19Wx9hDAdn4nX8MKrjphdE9aYNvbj0H7eS8d84NcL1z
xXo0xJfSKt6xsN1jg6gSUB76MabLn2mFbW++KpBer4rAlE9a9BsOdX8dEoKQKzU+qNMMnOCMYi0Y
Gy/7hqGAhmbqUxH8iLITf+hu/23CRt5ZG+ONtMLuSPu/OSvmWgICj3Tkn0DwGNWNNk1e1ACcfqZ9
dKhD5sHhVzE84fvZO9LkmFCpAhgj8jIj7S7dpOuc5U0dyXqNUTkfgZU3q1ZIPgAKxYc2mIRVi+je
912z/Rl2N2kbHYVxaLLSfoB0bfZiLD209AT4UH3tcbkwA6c7dmRlo7ueJWgMdHGe+ya+YIMeMhrY
ySSrml+LrS/2SeInrCy8VOhSlt3QoujE6YJASa5LvuwmiC3rdeo270usbyQXcBkNfnK2Ys58RrUB
XUdp1TH5p2SDq0XH03zu9LB9mt51nTQ4GhVnFGbv2otw2p1Xe9G7V0l9T8ZCs2IEoR8i38fvo1kf
ie0kGPe7bGvKrNgznLRvaKZHPPmB/7ADE1BnCrq27aDVlK6SwC5sn7pWgRLTGG/K1CXzpof5WeuC
E05jPTkxxHsg3RhvFWTAq7TAgSmI3D+gXubrPLVOPo2jc675U+qJ5nx4vunh1lQwzLdedFfrjLAx
XzvMMgcDOWxEx0YfdmxrBke3eLi2oXJl2qM89HL46LPEv5c+SFqMbgvdbodPz+bmgWD3X6EXeYQE
/DtQzz1HJY/6rUziO+kyk5S6Urp9bve3Ibq4oHXBa0GcJ36GA8U0/Juftbb81bgMruZ23ehowcVW
j72t4K6XxQeTFUBx4bjgWGCdiqTfg9ABZjYZJEJob6GjgRfWVG1fT7Nn+sPOeRjze2M7zHKl+IVo
nHRsXxu3sw88dmo0oxpEMDfPq43eq7WEgdtPNHAwXVkSXBsSdrgJWC8DRQq0vgGM6yhXj6BiUZlY
aFB3ZQwpLAd0c8IhdBRo/nY28bOHikJcTta6+b0MydIJ+sml8EsyXdrcH1kRVBRSiFoObiVJenMb
6BqKqR3ZOF/BWZAoOktdI9cgeulnVkasBJrWLFgrbvsehxorovupDOlz0znqHi3XHjE+uZTVILcZ
HlYjmmB+khAiqxiGiypBlS7ihFBOvydRfDZfDDp/ICULD16eHDRQtWCAFE3fA8f/rzp13LHb/nxU
qlmtkpMORW+BcmdI+2pjjEawquOCBHJmQ4xJde7QhsG5kvKL9QKSX4w+eZ6uDKyi15+fq6F/cbMD
9Vb1qvZkhajK5zqJJny/nS0HHdaJdamr4QSuqJ4M+nqk/JTOyuxBYfg+5xMG+dEp9Bo4Z9N0xS9e
FWCkb4lXVYgcIhhJXWHgIw6Uvd/Er8SIKQ+r6jZBTfT4PFSHu8yhJ4vIvCyS1zwtfw2Baz5paUwL
pFDFVWFcSOlYVbuczv3RLuyJhmPclFwP32GDUNpTLZAa4z5To65mGZZfetESlEi1jUL5Wei0T00q
QRy1yQvIAbH3OFNtjcxHFUVzlADlWr+rKcaf+Yas8d8y0C/GUX3i+1iZfDjeu6h7/nl79G0+KW63
zguMocboVHslHn9MVbWjPJKo87dhDTwuyPd2pdvf6d1AqQMszE+3UrNZ/QrT2WEIkfhKCbYlr8R7
dH37KrEvuLV+bUatugqwW5OAx5gsgxAalPWP5h1ZgvdTj9udFQJtoSMDYBkKZqIGOy1PHsDblQvt
HkijYvTXCnGvUQeXcdGRDaEoZJa0OjIsF7HThT7GQ02r7Fq4ytXNu+FAUwexSFfID91EjzY/EDTk
rGvNpg3iYZemLfYjekCTZcKehbMb9j6AZUlKhWNb1XPnMSHymU3u8mIKry9doZ1NZcsOIC6Vre8t
GoD7H5sGuQYWcbZADsyDaqmHefpgqW0JunCdBB638qTAbrO2JxzQHbYJwgzAfdBPy743N6ZAEWRE
4boLfHvjMlD/acXAKNb3YelcasQ/774zpOsiJD17vonaYBfHJAX3nA/eQkFHtlBcGw6ePryoobo1
y9E41CAmEAszilCrdB8JgjS9jualkllvnZLF32GKEqXFeOMUzAkhwAZnH7kpzL4xAJQKMAvlbAVV
A+RTIDlFWJVdn+aHUFV/6YxEOJLbE/RjTOp9ZCC9i3xidESH0rVliD9k2J5m+aQa24O2ikuWPo0C
RTaquFhDsWH6lnK3ZSZWcsIi2dVv863lVyY7Y949Vf4KA3D47DSkpP18IP8AS+m+g7yavpjS3SKa
NGCDFHP18xkLiK0A/TvR5TNwUM3Ukgj0LN2RrVEtJcv1olYYF4xGYeyi0qvWXU+QV0lNtkejXt1A
9jL7nS61gsyFBJ/zKQSKcIrq7OajTgeG0dkPtAEE8PZ0geWwGryexg51CDkEFGj0r6BiTr+bouRn
SrJmy6+mKr0nR8sYos+qxNRunxvpef/nkj+Asp2/VpeJlCYRZ13ShnHFtaTJjSDU5k+oQHrFVIOs
ESzHxXIsg27DrMLAonuTpctMvzNqIu4HdZ1OWp1gagnR82p2WfTMBoATiXWYibVBo88dg72rQ8H2
+tC7KkX1RVNm2wXoWhzCYo9x0Xzqtg95dTo1dQH7V5o6YJwyRZziNg2eGa4SSQMtyUqafWwa/0+4
liTmqYkYaOalzqgZQjSQ2cktFEkjB3IVpZN8GkK9UsIgbtv0tchpyEobyWBv5y0pzVrz1vbZmpFj
8hpWefri5rBZctQP8G9ofkzlcwz04PhzZ2SFHF+Bsvknw1XCiRXm0DufD6iCfoNMFWNvdLgVtck/
UWphQHhxH9OrT186vw4/lUCSitoacmn2bnuIDKuBgaA/nJLDGbkI+PYco1/OIoZ/D7OcYb7MO/Ou
lF621QKpHpmSRQtNuMFrUw3RNpItOz7o5E2os806se1tITAZ1xGEaVXh9osm0oZXowkB0tIz6KAz
Yqe5fgFcrq9xXL/XdBh2cQM7vNXV0zgtSV6YWcs8ikHe5gU0V6UkDIhBnYPuk8R7O4LyvLCnoTJr
xbFIfLGtgLZ/JPK19IXYCNGnDFuiF5IulD9GmKwrKm3ygEyEFQit6OVPTSrFN2KFCWSMiMB0or3S
BlOGq8FdM/VoCHdYuYXGtlG0sI+6ytvhBc63emoq97aFE1KbxCvaOUkRNDldgFSBBI2Um1vKiKem
xdC0aM3QX2gD2G0rbMXWs0PzVfofRdWqfwJb+e75o18gG+ecXCv4VZhf7/MzjL/kTSoIrveWDhch
mEYoYOEWQ2kOpAHaLZBDlggrTa58VBUEkayMgDzfgdroO5Ce4hLq2Q2Rw7D/0ZFJVBbc8cFxHEmZ
n5mTY4LEVO3J3dRk41waOwdOTnpeBfkN17S693RHWSUi/gjbBlOp78p31yldcrcJKbWH8dTYgGZj
ziMQoekZms7o7DpVasRecEOaFo0XBOzF1Zv2Bp+6wWlLHdMxecX5pNIKBJ/YNq7Xs2ZLEbw+PwsM
J910DE9BNo+/ZqqIhJCy9cOkJL0iZCTali9+gd5sqAg+oxviHErf1LdDatigpxhUKL7QbiKLtVui
P5SExc7wa31byahbVuwW+8jDCjwvQFHv/G5Ku1wzDbGfM888O6P4UiMW8ljRJYJf6Np5jug7MR1/
VzfmS02uzjENW0JVXb6gmnrAOJPyS5iMu3G+LcPECZ8jJdW2DOiPOqpCeLGlpMKLrjqoUYy36ffM
rGlt87caV9aup4xFBJgOG4Vz8aKOkuwrad2dnWnJO7l7SG76UmBiLaAgWBaYl6kxUFvj70aF2EoW
KeChvgdsIkPorzAkfhbywXW+CSQprxqttdZs9XtKyuYKgho0TqPPsJ1lJMnAhXaXdEgZhSMAWY2G
Z8FhLYcXOtCbJEFVRWqcf+qstL5GQBKWqgNCFmWKcVciXNpZSLA19FnRFZe5tmeBp4jqXpT8Tzep
iTJt+tacjD5t49BSNhQQqsFLkFbJa5qq3JhVrS1+lj670e9zS1wSbII/EkXF3BLHmwz+t9tqqmz2
TVS7DzsZ1ijEh1/QHiChMBHaK43xpVhwfISjmlc7IGuY6JvyyCEqfDX5RUS+fgX8lbxlafQosrj/
GOsyBjAOPdR0gaq3wDj8tjk4LfHciNB/WShTaELXsL8IZr40Phzk3LeJVFLhLSLjb1Bxg9MJEwQO
Thu99w2iL4JI4pXqjRf2iWcJIIggrcK4ZYGLOthx2m1jWNFLqq4VKoezjt1yOXgY94JcAQqJrP6n
TzAUBSwq2SINbrJs4w79hYZitkEBjku4cbETxBUm1LGXy96rnauNf2mZDliuZFYDskD9f8aObd7S
cvye/xbif1/vGNVtWxkxAQiwus/eO/SIR9Dw8q3VupNh+7/NOjcvqe8aF1XPyIjTKkI4LESMud3S
4ePTseLUia4VP2FLexe9ij++GcwK4WE27zGm9mWcteLFBHi17iOP1SHU35SQ4G0gI3Z4Uo+12w/v
1sgwvhXdroU0ui10HRMZurNLQycoLrKL7KN63ZE1tRymzcLIaJWiy8ahSpTnvm/132GqiKUuuT1R
BubvHpy2rtLeNKs2Tw7C8EVn1fkDXLCxwjdZ49zJxbOGfHmRkL40JSKjHIMjcor97BaTfgz+WMqT
02Sk3CDEXSmSsNGEfNCDQeG97CMfyxfNc5iMJkG9XoW+wbZh67jliWZJder1It0wncch7v2ZnSvG
ZF/JeiK++Pj4RwO1VZmpWxCg6VpYxnCVsfFAA1vc1BQyrg57xQLnsPMDdIdzH+RfWwT6waZQFfDI
Bf3J3timmtToR9IwUtq8fTL5+ZhjpCjVJ24XwZf0Zsc1vC/jTtXq7BLXpFobHMRxIhvhsHDiCwiN
LOP2IQLKAbAm2ikVpQnAt++WrrD7jRhx11dTZxOTXrPUXYFrJ0qvSuiEH2G9NjvCnxYKYTzzEzKF
VS0JHrFSN09hrSKEUxuqP0RvWNYXGg2kWzzUH1DV6YJ4SDYDP3ZPP6dy1K7+Lc8dsYikaYDss7qN
zRhj04cifYF1uvaMADwixAydXgQksJGT6nSp1T35KUy3V86elFqZi4eZFqiDfR1BJF63Zjuypr4y
x2f4mZnij6E8k0ToQeyf6oGftciMWOdi0L2nNiXJtSCF89XwxauTMGpAWvLLcUMOdQldGikRTYCW
fpl/NUjg1gjy9qyd1a2lJ3cyzPTB9M64jwZyDq9t+MAp0aSjqZstixWa5z4KXyv+OmuH6KRN1Ofm
vh6FcopAXZgeupvZMkFJ4u+SMfEWiRGhLY4J01Gd3HohaW+fVm3/pMSq9YJj1WH+TNhgWuXEJmFe
uIrcRGNDd1hlnr8f4EheOdY7q7q1PKxKtbnK2O+2juMy6beLYFd2zXD7GZ35rpeuAlH25zql+YXq
oQSsG9obzt3DejZZyEr8d9nUY3Mfr2iGnLOWopyLR+YPs4M1DnIS2JUAr1CGDgIPG30NyB4n1zaz
49z0CAqQaR1vLLNZ14u0iZTWKOIwOnV6EVsZiwij3TEmYiXH9AjWNsYURjvw0s3uJ1WHEYxClNAy
3UGNA58dvbFD0qoZ/zLc8Gy1g/HNpns2McebjjBORCdVN1+2m64c3YtR4jnM8+HQFlq2GxyG916D
fEEhOwu5C6sjFMTsp6oOUB65hm3xfygOJoHvNxX/DQJ7tV3nmYnwieHT4+dZjHxpXt4JBCSKLxCI
J4GIPScc+FdzuT1/H2kXaCt6XGMb8beTWvc/hJ3ZcqRItkW/CDPAHRxeYx6lCEkppfIFy5F5nvn6
u0B1rbqy2rK7rLEgJEtJEQTu55y917bOzNaqY+OXL3kOVg2tKpZ9e9pwtwt/FFMXrWTZ9SeFA5Sm
p8sNo8s/m7lL6l3DYHfpUrOD3Hy8Pq0jscTPK48R+ciGWE1Og+HtKqOsXyeEoB+spyCzzHXYE2YU
meXWJubhZ1WaTwUIe78YyxfpJj9o28RfsUT96IdyR2BT/67Z6YnVTb5FY1nuGDUykx+CaB0QWtj2
XnLvRGA9eyNpYkMz6Psst63n1tG/LfWiFw/JY4ca8FShR2Ka5uc7zUl/9brH8CSo5MGt3X4LKPBm
DhNCfirsj66Z7mctF3soV0r3ujefahx55BN8a4TlTnsrhJOsAntKXimneeWyrHpsS6M6mFFzJmeh
Ivpak8+l61UnHw/sqpwlfMtzfvdT5Ti2a0u9Qt0l9raJXn0sZzjySvHmmrA6dFOLLsZi/S/jFBlo
WIgdGFSSqeehEOjs8fBxb7EzLrwONc4Tmb/2fsDp5ufEpcyL9fe+f/dan43dCLyqXFOhTPuoL2j6
pGZHp9aIzecBSjXXDbiZuKEJHxIUtLPARW50bC13KhuEi3MdX+r2o4NW5dwVdbDV89780kWK6K0k
31MNo7SfBRrKttP1AOTxIJZlAjuZyH3xNKaEwpOaER/96tmYe5ieH1pMschmwIKk9hVRUac+HMFU
Ovyt5K62d1n1zJAk/LoEmJZX9LiXgBiPp4+HHsPiLe26Zo3GR1Zh9QM1GpiYMts3QSIJeGBWO38S
dXNssY08qLbQiXwys32fZMbl4wWETOReVITwMkcn/OEMsiCqVLaQW8LeJfEG3filD6yNLg4unZjj
bwL82NSz7YfOcQrGh1SLkc275kj+7f/PkhomHqAOmOTMVqm0HZqngU0qYn8Gd239lIqIyqkg1CFx
HXpMy7LhIj5eYP2L76aGn7+Rgd5tnKV5nQDQbqGRHPogUUTdD+IiZeIfYmaZH4+WQgi3S82OuKjv
gRMYZ5PNpeOa7erD2UJu7l4LAqJ3LSQjrEjdM8nf9tH3CX4gFRi1RdnRyrV9ez0Fnv8WeqT2UjFZ
3zyEfC6r6aeu6D/XCfFEAMrV9u/7TueZ9aYc1LfJwirSWS3pTXmSrJ04Z62TYNwjnZQYmwlSLjAt
GMiEwBqXzdqdiieRCnnxjVThgBg12EGu+AHThcAGn8zgKK3DPWktaHhkXF8gqLXU2WA0QtPw1vzj
2kONNZi9NVU+zYWzltvpz/lBVltYxuLmzJqULc/880taX318z/LN9LsY+6JEyw1wVtGU2Tc/SOho
MhXfIuMkTlqPrL3IteGCtwVpFk2ody4pbL9w8h9dJ1KP9MQKZhpKe4f1wWYM/Ep+/fugii6/Rmrr
5I+OBqcios34aM2aKBxD9UUYTvYJNSBo5aQLIKE3Hhjp/AvAUf28HKLQ9BgvNPvR42bbBQXmrdKT
R5ww9CIbdu4VkoVPsSLssLG515NXlFyX01jpnwkT86ptBYls445F9i4jD30W8smRdMAjOZrhBYcm
eSdAUD7JvheXwkTsEVWyBzdoR2t3VvzXafeatKn7BJy22kDAcw6qa9+iieyA2HAgzIa6/jRRfCQG
TXOY/HZlYLLj5TxxQcak1VTBM4lLRNNMYts2kX1euslKRea2xTPO9RjWDzaSJXgQpAYTkwv2gWG8
2Ukgro73ZRQdPBA0y2Jd0tzYd1Xxy8Uh92XUeizbmqJbN9O7WpsowBq87RG1mtoYQ1i+o7v65SX8
Ln3SP+lVQcBkj8kDGyaUcOxjJdkQw3yidTy9fIPfW9HHo7+/VS/a4VFAGNxgtyrfMBNvoqknmKMx
7W1SDcmxLZKK9l2/8Q36uDgFehAfUH8MwWQ1tD17kxLjS3n6+3lLOOlznZrmpzZ+1CCvbpRoxK1S
I8yCYPqejxDukZbrNxXn9UkLxnQXGYh0PAbDh0EnCa+tZyBN1Rqkr9OWbgvItMF04p3wt3nLJteY
puhNL1UJlKYbr7Dgo7cgDCjyGQWBkC3RxuanksiYtwIUzzmuSLVfvssrs2+t52T7ok+ZKLkAjox5
AVkOjee/FFw5Zz/u/nqqEM1TEzDST9yJKjOQ/h0nRnxZvp8Mv+zhwxvWBFyO0E3a58QK1+hqiJUx
J8T9cf9g21aHUKfrHlKHqST7nngj5+fYEH7pq6RmVQCelmHtZT5O2y6m6cOIE91hX1b9urNxHTVe
1j3nNRoe06r5qAzVbpF+LIdmdp05AsdgBOp7l7VfPyaOPXQ9Itkb50dhbSWd5J+ALsmXCoP+pUSD
u+p1MzxoA/oSdz5A5rI2k+XTjsE5FWdsGYrReAxTAReTnuQp8dFy9G2nvsRTfRBGkL5W5jDQ0O2M
bYob+6SXHqabsJ01cipS6P5s+xzGMV2jpnfXyynWvZpIptH8bmVutcvJCj4TekOVDSafIYZdv2tF
O/E2kBkThvfcifqbG2VMuUM6MdLbWLHGnagyM0yZ5K8v28taEoIVBf4AQdrsL8ujYDm1WRrMLr3T
PbeeDFv7Iv1k37hPdakLihgOnYDrbZfgmYkSLUVObbOwqHBM32P8rvsq8HukX7nxPnY3cwJdH1kT
kxf73lSduCqm+xhoMP6s+goU7PKkFlTBftQQ9cZF+Qr6LPxWVtFElEuS7UwgvKu+qQF6yhFLcuJS
7ctrWHTGBv0+Ux0piPPOZ6dYPzAqIqAIEdh7rDnqkJsYzsKCYAuyz+W07bDyl5JbZpOmNqa1QYPo
XopT7Xnj1TYr3IKRmF6nyvtqSk37WZNjVSsav1YdfTfpgo55hrUYx/2bmwOc6FP3cWgXbOA8zPZd
2B+DOjbYdVfGDIUalAFNcO7ZRECZl0nKWBVUy4z5HzQBs1brQu/BVFCkRB/Vp1HpNAFVN67trklO
ZB4SktQn25hGxbOQdQb137VJSZLfjDDGj9DSYGvSUZymQtZ/dYYKk0ikmeCSEveC/W1mwMynWo/w
ViW52Dc+mRem2ZVnDyjsKieh9ICFVD8UNSCeOjfIbArpVXu2zG5t4ofborbDjYy76muYWUerx+/X
MsHa51mR7cfeH45os+ybPtbhujPs8kcENasiBdt2E/eS5+GExjDMj3j3nL2ejRYhhE+zQf5rNeoe
+XZeegZ5KY6jCYhXIc3SY8ZzVXQLycxgQR2aZ9MnYzITwzur1Fg56JrnohlhYXXCS4iX3vGh1giT
P3x+1Cj5Pe32WTLZl9kI+GrmwTloA+cO6MH6RIvKz3Es4SSr6Ml55jrpgRllbZeRhW2H19gwx6MJ
l2OFHXbcGy2RQcsoGn2UuPQIaQiS5U32qSX7wc8fyZXLQ1hq6GCfmJOx+yZXTiODBNNB578sBx3B
LM7L5+VE4YTDw2PInV/O08W0FBuVkx3nk5ex+gDt0fpmpICKdPufbluTeq2lqF5VkXi3q1C8VQWx
EhpzbVZiTgVN+HVsufoZpOIF8KZCWYt0lrVxdNry6GsjbRly0maZ8MLkK3VySkdQgR8Cw7abLYXY
lVf27IldrLDjWHrnbOb7u052Mib/lfAL+Th0EzErqkmA/yqCtufpvRYr66wiFCnLS0YYbngml2rj
yuFpkS3iUi8v1fi4wN/w74hrPpTn5YzCKNx9dFk+9rVKVPIModm/ktjI1EbGOXh8TDB2hyiXkLv3
VDO/LFPJYG5UJRrmi8hPMEoWQu7bjHhr7jnVPcFWaCfpc0Xwcj3pxXvoZpKwU/ehHaVL0EMUHUay
OY+ZoZWb0uz4Q+gilWXhv3XQY8+hJJ1WZZrzBFBsuzieQuHv2q4prnUS3rRpUIdI0wuCEUkRlubE
sCowbBYBO//1cQrjZR64994ly92HCf/sa94KZJlBSyrvsqXJje55aXRPqXLWkVt3H41uMGr8IRMB
ynNXpxdV+sAkaE8O9r3AJ0NdzB9Jm7C6IQNfCMaaVhJsuDx06P9eSFIMLkzWnT0xoa+d6zG5UBHO
YVf6hFAgJaqNnrozix8bs6bWSCr/TJsNP5aYtA10hnXiSI2cWsoMwkJNyB+poJtET9uJAu2xAoxJ
fJXW7ms1h/PF2S2EvroqyGsCwT59sp15MK01wYsX7D5QMxVmNIJExHpsk4Jo3AaiBOqAeULdTh4c
VUbMTL3S2nn7EIONYZBsg3IgO7L3j8sMwGhQFeLcQkBkTLmxzbQEOWEvr3MJoOV68T10tCffbryv
hvdKIXNF1hP9sMzmK/7g6FOiQn/PYCncfCxp7pQiRSItblVTqH7nQ3ULcGm+8u+emqnP112pqk/J
2MNp0Cv7p8QxqfDTTcw3NxlrIR6uZqzOy6Hr1V+PlGc+02Kc9jl1gnV1grC+uLlF49wN3S3mFBwg
Rd+9tlwgh6XcteJC7uLAZtgeWr/wHBg3mbcR3i9HnUdbvEWmb12kCXJATmaJ3qj37pULWTGCs5Ap
tqAfLwsqB9r5Ru4+LgeEPh4hQkG/Sgfvr+eWL4wqwTSLMGPdBv0X7jzo11WZneNs8B+WYjeHanox
LEy2fbhZZkdEbpNkmWA4npE0ZdK/1oEh0VG7tBVdW5yXR3prvYxwWKptkIMaiHOSc/HVGm9mEvxs
tNz/SfW6xlGyyaxpwL2INSmyUDSi3O838YJc8EIrXi8/U7TJuq0TMED89G3bMT7JMtK2Rjebc6Xn
1k47wswMkvRLPrtiqQWw14BdP5fpANsiSAGNTOkZfxFwueUhdzImX/opG7ghdbBi6MXUl0UeVjrZ
SF1EEmlKBuraVTEhlCIY1ZoBF+auetgOlDJyJY0+eFwOtRmca7z8ZwaMgWnvm4bMvphm+7EVGu9U
0sTowOwxVbte17sHFbTNqVITffWyexjnp4IAf77PXXPTTAKaZAVIRKsuZdiRvzUfujaZD1a9KnPd
3g7WWLHaMWDIpPVVGlq+ynVWWz/0xEEPfCYm9cSio/GhWgiDoY7gl7LuZqayOzOCY9Y7N3TCGG6+
XqHNimlnPMPMWYVIRgElef4FmcRXP0CPs5z9/bxmDDc614r8WB03XOHM5dYoyB4rYge9L0MHjb75
9wGYIfGi6nvHgyDiGRzlFktZqmZ2sJmmT5ry74swqPK6eh/RCycXyU2fjaz6rCM9om38fQBUsnbo
kj/o2QTUhk+76GRurpD4FUSG+shw5netiUZ3FWmxD8IltR5tO2FoOo9ETVSS67qD3BnM1hotii2G
aOt27HVwuz0VZSmC50CJEcWG8ZajEVoVdoHJF//XlpRwhyE18gK/peBYkjNK5nXn3qUMJIl6MxBT
e114ppHBYJPr/0jb1tqOmcH4f5a15S73Oo88wa3WcsOD+KI9ZKq7MkbwXgdq3x083QHJfrhbNOLO
WD35CU2WRWBo99kxSw7M94fPNQF+G8PKf/iOVp7ixXRRxrT0RkJDLMfJNy7hwldb0y4FA4rnUgVf
S8NwPs4MHUGGgzWdJhlfjINwuCLtel3OlkOHRM6aetj58zeo1NiODYxv2wrhahGYeS+G8pdB6zqK
CMWkDfK2NG31lH53p9xroCEIK9nxf2E/vC4MJ3xKtZ5DFIHmJitmVXpo0dfkgoBHzOhbkmrJsCUJ
jxIE5ClUVrszoZ0RosuuLOG6tuS5VO+9wAyziVx+UGP1Nn3Jmb8WMX/ghsVkL81QdOnWfZoc/Sil
+4a1NMEeV6N11b3+2jjpZ3Trzgn/Vbqb8barYej8vV0TJOiUaXWbmqG6tZ1uPv6Zkaf+hTaUjglm
WCopddNlnfknIS8cDJNGBheLWY54p4PiWMMpu1boNm+J+hTOM5WJKQCE5WQdZfHnUGkw2EbHvmap
J1ap4R763PHuy02/cJR9wKwniPXkuVZL9r5VPeQeNE3fomO6PMrlwHwFHeyHGWsQObEis/gFEdEE
qg95bzuoFBOVKd5kDzLd1DosYTPSOvF6Qr/lClV38a3LyY8fx4F5b5a39PARIkXzYVySpJxYnQBk
/Yee2LPp4lgRNE0sOYyynChi7Ub+1MJ8oF1bsEOcfWmNzxiLrpu4pQ3gqlqh64/kbcoYD1FIyA98
UTx49spGab0t0IDV0CPeTZvkvDb3xhfUEZumT8W2Dgp930CK+fM7hy6bt+Y/SYuWhR9FSVIFHGI7
zIXE+B9wwykE+UQNUKFMQwqVthEqeY02fsgNCsGB2JdWTmNjzosTkWXveoXJvuxgtoDocB8Q7wD1
t7vok0901kqSDb0Nau8Wi9G/VqmoyeNujK3hIoxjLBcdMcc7h6rLUWPERrvpw0w8LY8MKi2CvzZN
q7l7ImrMT6y8jIhi39ipCODNnKNElbZGKxw+f0zsKudLAtlezT275aBrtnsWJYPwAEjZVSLtIQh8
/M4EnChyGPW6Hr0vIBKjqJ2NKArtaOV29HkIv1Yty3hD2sljR/bZimmk+9rmrbYWRiNZfTOdfnQJ
4qBCy9oXBrCKMC0vukq+LV0Zlekp1z1VvDReK7LrWtO23pK+njYMRpwrdAPGIjguBgD1azO1aMKZ
Fg29Jo83uRecQsdTh27xgFasxQAYAwKhFklc12r11Yt3kJNxgzKeXHGPSx8dJ95XhSmPGqKPS5Oi
rnHHNqUwZEODmMxdd/ALEGy344lbpzFPUdVfW8qg22rI0LPW/DaG+MoWWSYfAHM7Gr7YZgwjb/38
SGNviqzJT66l7CY8wY5/yCOmkWXP2DkwMKRC24hvQZuqk8ochR8tK5CyGjxipRSle+hSVwAfYr4l
5hF1nDzqWly9NooZrR1qT0JN0fpjcIcwCUieMF4IoHLwrfn9ocex81IknrszF/81kXOap+TNsWRx
6Plwbqbof3I/idL47YNBgoSwmFUYQiD2+Y0725a2VogalVZTsKx6FlLSUXMuU9VVaHMmTNyobi6y
SJwNru8jNAptI526I0aHbk2UGWoG3MefUai+2xYqCN2r3m2sxG8RI6aIJeqT9Mbh0a6RNhM7bITm
SZnW8MXMGpd2A6DNLpXPFuiofV/YyDZhQES45761yBTXzojHg0iHu2n608UXZoYv3X4HyvtodYse
2g9Pf75ZiH/dKygNBWHNCA0c1+Gl+edtftDtkiAwHy1F0tCUqoP3rC93Y9Gjbpw8sQ8bkrJzw0fu
gDct6RNx1kcHbGM52bsRz9tFb5mXCt06KOKBkZ6Bq4mtRAAbsd27hqGMdbjPvpM4APInL9YAm8sL
8ikGuLk8DINVXcN46LbspZBgTw7wxVnya2biVFiMIHxXa4+wTugFGbGB4V1DXR2AoPjzK2Ha7u9X
h43/R3LnNCVcWMP57aVAJMkSHUFvI3hAE815MWSiEiu2xGkwYc/ZgRHx/e7EyOWatOaCdwR9RXe8
QYsgR3Mews37icNy6rBwnpGQDhvXN4yVQxrHcaESDBXSKfxlawZz2qvtkWle5RoykvkUfvxOSvMV
3668EI1LJv1UuBvPk1RfzKJJGwqB1eU2nZ0ywbX2/6EsFPxfU2L5lIlD8MPxZafyCfQIqcbWjC8i
YSOtwHUx5yS6a/zZGrMoXyq0sJVQxM5jL8DQExDXi3Jabzz54Ggfho6m0n6I1hsPyx0Z2Cpol94l
gKvzfn5wogy0QEfNFtie5kOmDdOuI2QDLkKLpzTrEcgHef6GI4zO53OK1/kXjcnVaNfGj6Kw76Ql
b5FTJ++DxNyQt6NxmYKBAC6iu47IUx1kVmF2TnWCcTPAPk8pUeel07tPEzntc5BZ4UAiRDagNkub
K4raZNdphCf6RhCeqYltxpgaI4ZFxc8gz78gGAX12gfyNRmh0yZqSO5pEpg7mapsXbC/2YVK3JZY
glHV3UuLrDnExPaod+0BjEJySGwDFE4Dahc9Z7VZ+B9miA3A1SMSwefcS2OYQDHgldHzUUMwidNa
9OXFtccjEg3/PjS/ctQvW2tpyaQB+NmP31GlFW+x0xW33Omj1dha+vsYBCn6XggibF+xGuX9j2VD
Df0areOiI7E3f0PgoqL47gVNC7sA1bYzpB25nyORi6XTnAyEk9t5Ubx1rfdZxOOrbkUVfe7gMQUF
8E6P/qGzuovWFI8VuN6X0OIt6GNUsEVdI1m0+s84o++6n9jPbVZ/MQKVoR1OPdAf88W1nHe188i9
uKGrO7ecHGvQtgsjwyjkU1oQZGDjY72rsd4saaJMfr3z8oi1EDTjVCGydJmpOQ6RaG6s8Ca2s1m2
BjQ8xDhsK39EGwMtORnKbl1UIUTKxtEPRCoUzCFSiCseRWgZV28WhZau+T+jSZ3M0rsziNQfNU3F
j1WOn6od8BAuL2LLdXwcabSumLQCDR5gzC7wW3K2+61Ng57yxcq4nHIkgLpfJyvZNDAL45xqKi+O
pWXS5ZbxLndzHdsx/NdVHKKOE5JQ2siXDCiLSjs5je+uNYMWE9Ld4haYmn6YwvCVZMEnLQef7Dt6
j5u3TPgsEa95Msj/OVdepu4MZZxtNnrjZjm1S8e+d3FbrrWQOAPTQL5u5JF2auLYuGAHdrd2ZkQ7
nWnm1rPi4YrejNuz9sl497oJHniWgXqK1n++s8p/Lbu2zipjsRclqsoC+vjPNcb3g47/A4YhI20A
lIs+Vmudh8nV1YZsjG+RJfDAzd0fj476xiQ5aGuIIt0qMmG2C8WvKiVwY69aSTNFHMy2c2XQYcyH
FBs4//Iii/aEnhDYR6PQIrQurPX2Dm/8sHTCw9LLDo3WoE0J7S9M+IJjHetSrFTS77qpRlU/Tyer
ezQgZaf3l2yX/IJFDMa4O/5fL8q/GPi8KNDj2aE7aNqU/VvqRB2XjWdW7BrrYhrWxsxBm+ZDOLkA
MbGtz636wQu6o+ESt8FmAG64G5hHw4YskdQDrHkGL5jbGdcn4V3a3ckic/DT8nVew0OfklfbCGdv
xx1JgazGyqpvi9MoTBsELvtYo+qhiEkom1SlPbQoc4hprT0R3Cpd967FlG/LBtHuorINPftmRXr6
ilIg2ERCPDQpWnF7MFIE41AKUAHGxz9fPOK/rMqKvYklTTYppvV79JdBu8YU8+sUKBOxVWBiZW8n
oJ9qCOl0dzXaffbuKPYfaF4XrL0tQUl9Mtwwzm1dLbNpd6T5eWH2hXZFQIMlnGNJPPFidO86cnad
yD4k3GjQ79UuMqkZt54V0TnRWvtBluzNWslH1Qdhfshne09af5rmVhTGesrwYJukxbRbXA9JDOwp
bwk71Ivqf5R25u9Yf8tGoy6g6EuuGpLffrtousyKsAYTNmV1hI3kqEUvHti/Ba28HIRk+tuW2lvn
FD90xyOBSTjUzxDz7h/JHo6795xoZTk+MtR2EKvK9VAWQ0K++iK8Bn3hHXs7rS+dNjT/C7z/7+gi
1yBxxLKkdCz+91sGACGZJKvOvQs8X19H2cAlj/tySyByQ5l3Ckbd2qAndTZx7M0SWmo2RvfZAb0j
2Q8hnjNPV+Eh7vRmp6BOXZE6v9A0tM6EB1u7MOuxuPsYAZdHJjjdPQqUAdHKHGM1jB00ODt5ktiB
7iiBXrUeJ1VVB/ab46dsLRlOAJB/HWFhRksmikbHRZ/m4M2uB4Yeuukvs57Sx2z4PJKYt+Wirc+o
I6DWz49Muqa7P38A/st7TvfF1RGaK9O1LeP318wvlG91Xcyej9TnPIbA1GlMiwNsK1EOCGui8Y4n
2xJgSCJ5NVw32aPtotwdAHiMYfR5KdC6QMlrk/MBCPq43Vth/IAcJzrDNf7rQIMlOmuj9/rnv8D+
V42hdEgRfIjpYDmu+/u7HjnsXVPZJ2vUrymB4KHzeQiGEMmf9e4YxhfR6xSEQmRPddaBES30VZEP
za3qovwplzMQJw0ZU8lsa9PXuzg1NCgLOwI5smH8VISGvbHHTm49l3DUMaB7uswO+3jmRxjeN5SY
xqVVTX5K5HiOLJemcel9RYVHgivNigBOALjpYF87Alw18vsTPfH6CVr/S41pwA6zg+nW6t12dFA/
iFse064hD1AWT4Op6/sQNdn64/NVs6j5MVLmRmQeLPqy2HzE6zST/Z3CBmjHfFCJO2cqwMUHH01G
yHwNL01JBNSftajt91ma4uOmabMeE4dqLB7+56Ul55LmH50iZRhEiQmTGYxu/SuIhTZQ73Pjn33U
TkufQcaXZbGwX2GJJ2/dmJ3boTxoTRrs08H9qiWhfMi6DAUJ0Ix1N5s7exU9s5cm9T1yGG8myY29
Yb5ykb+d8U3Yu0UzWmTSR+oA5djLjOzmJcawMchtJvQV7c6oxlMRi+xqRwdRphlRV1iluXwNphxd
eGQBq9e1aGFLtk1/G5jtzcvQWKeXbiyr/YDf2qzwQNOCta6DiUXXTRuPuIipviJ0WI05qUTYu+wz
oLD0BSnPBvfLA1YwgH6QWOHBTdN6IX+BH730oSEe8FbF99b3dl2tWS/NfHCBgCGHf9Wi6ts4/+K1
neDJroJ87+SsiWnEb7as3FYAzmNwwIAlY8gSgomWRmiyT3EJ02M/LwrIYZZBWslMGWIGu556NR0W
x/wiL89Mz9kEKEoIp7boa+JdYJ6p7TKcYutegLfgpravfnRY83CKZAySlWBT2JXE3WvxlfusuS36
LH9J+3xaBTD9vjks6FHfx6upKS+aB8/KY/v/ccCUSLTwmF5EZuebppTVrSj6eq9kmHN/1fXNOI3F
4zQKQk28wj0G3XSQpUwew8h/bdwM1cJBWD1BWvCOP49gWTehBdIpiBNmFnm0Kf0ge9dhAEDKVD7i
3zZ7Lyv5FDrTI+HB4QYHYbmOK+fn0n3LR8Jqqo6C2KjKA/gbSA7Th2reIjH5eVELO55pv7ao5uGT
j/lDv2tm7FmTjVjtnZ4fTn/0sGwKg1JaB0dG9yRug3M/5ZuhK2PoYYiRDTuxgM40rzpBi6uhRCG3
3ELYl4wbx4tDcjc0P9lWE6HtvkQyGFbdKnBFfjTC2TfFJ9Q1HUK37Qd9TixbDgC6+gg2iO/IJ5TO
3UOD4IY40uFzEjXJpYHfeY5s4yVPGIFokYOhL2jLQzbYKHlmLXA+1+S+M4kj0iMYMZXfHKXVfEPc
lj/mKf5ZojAJQaebcFgukDbrwVjlq9Jos90yfNb8sL8Li1at29+znGnXtgEyM2Qe42MxRi9aCzG2
Q1K1DJRaeu5QpOsni1djW2OtFNvQCbMPmT/RI+WpyM1fi/jWUQbFlz5YNIgSIMWUXOfJRRfmBL48
EaqlPScBPlTXHT/naHT+vKwY/9oZsqw4glEyRYXQuX39s6wIZwSptAuwfkw9t3SO5KdY+Mdh7L93
1URzzrCrT04gvqt++NLrQbhLQsPfFKoTb0jx1poXbBC8+KsYJtHzGJXiYCm73psEYP/5V7X+VQFh
hWHDRs+JgbKlfl/DPbuciowONAUxrsZ+Hu/NzSJ/MgrIHZxKx833fYscqp5TUKRyf1i1RCE1JzMs
hyYQwUrP1Cdyn6joAFedp7g09iAT6scJBd3YQULC1ltFt76Drj5IfZ2hB7lG0lf7aYoZuHPmaAZ8
j2xsyKozcUNhHnpQIjHumDeOfCg0om5XNJP6RytiombnOfOtwMZt1lfVtRqwhcUGVppqfhm5FLRN
gsT9sJwid/kUsoe96k7THDXN/Mif/kf89D+CgOe9zj/XK15Hh/WKqkmX5u+VpFl3hTDB77AkzhF5
SDt86u9iw/IZXNvcTA8afr51x+q1GvqheIoQNRxw9Cqc3vVL3nraeiFCKbc8MDDXjkvvJLLOpHaw
NZkg9AlTyaeoJx/try2gT1s6I/JlnTEvPvz5yjD/y19kGVLoBrMa/vv9L8q0HIRemZJgtKgV+0Y7
A6TetlNAzq/X4P3JEmiBJA8ekxiQRzxrfHmriVm6B2ESbiuwjkQDT9pJDLr1bhH15egNADjVBtul
9A2sXesnrDPL5ovoT4nVsZ7k+5//FNLnfp8Z2o605bxZdS3eHvf3Wk03uHFpraSp6PpfQmWmGHvH
6F7PB0di7e71AQitmUZ3UbvRvRpDpImG8bh8x/IU7nWKLdocq8SGlTqIKFtnQ9TuIQ9kN+444uj2
6vtyNgIaGNkm7V1071zhlXgo5TN8RVDo4iaqz8uscdGbjG7unCyCkh6LKbsuG91l3/vbDph7Q7iu
dIn7W3eqF5hWG5WB5TG1fai13VmROoI3O0iZExlQuuIB1dYQs0Q0mnqlm/gjQk7zKwJRG3oa3Ce3
XSO7tHZ1EtuvaKHYPLFj53vqg2lnYm/ljr1J2lvVU9nj7/m6AAmY8jBgZJK5TUlFPWYlXia9A3M0
TvRHlo2WzzhGmlH24hqttwIV4h4nNNW4FHAE+RPRMhpkjnsUis0CXM64w5/5Ih1Xz+fe10rwGcyv
UxNlagyLIDOjX4jbbj714Pesjm8ZWZwfO1d/DFdpHXtPQkeg6cIohwiEQGrurnl2tVZB1p4Do4Jb
0jsMESf8lJoLXUFaCIIjF/RUEZFHxn38M+MBi6G7vgY747+YiDhWsi3CbQoh88j4ISYvihGUaNGt
MEB4t5y4v/Vjg0K0jbdVU100w4dS6exTLsVzEuv2Geiz8Rzo6qfeyTuV3pqs75A8BjvZhy7E2mFq
jQNqmOLYFFZ8LDVrz8jTwxsX1tvJnty3Xmkk0XZsPrrOoi/aROljFHjZWh/89Imgb3bI+UA4Q2Ln
Vw3v+yrTVPvJLGo48YkTrRs7uJOVORx7osGYeunxJ9uN/IuZwn8GkhsTdPazMQ2LnAMjouc2eP2p
sY2/DkJv9WORRyt9ZpzW1LfcUAn8Wk4JumHDbEYg51JTbMr/Y+7MdiNHsi37K4V8Z12ORhpwsx58
niW55nghFBES58E4k1/T/9I/1ouKrHszI4GO7pdGAwWVPDWE3N1oPHbO3mtryarvquqGIYWxdbt0
WPkaw4Ku7PGxRNj46I6gHazQ5jTVxRvxMnx+luuoy40w6dafXwX9UF0qkeebpmUGiOvqnPi2/RIX
ACQ63UouwWgZO02ONM9R4W7qOfko0gS+e5Kiniv8WwszLp2nyZC3nsZhCuMd+Ju29c9+B/MGSZob
tydpteVX4XbBUkWyvenaWJy4dWerJhuKrwg8F4bLbhsQ8raSTjgdzYgtRGBdfoIAREOu+u7PvD6R
BA+BFibX2ia9pEc7lwWE/o6ljC5Tr13bUm1FlXob38fPZBTuBFanODVd5T5Uyo8fBN6Wq5E41TXl
td4NFY2Uz4e+pOAxYji+2EbUDlUxzL7p2nqJgcWPD3GVPnmQVc6fj6TXTcBSBfhApe5bn8AjPciG
ZaSjS7Wbsr+gNuRwMX8YFZXGVJpwTGZyE5q6acspQT10gzpEIIfzMgvy1Sdz8senrcks1KUmc8Oy
3BdK28cW2Aj2m0e9cvS9AknBhdBTgxXDKtFKQCdz5dVkk34sh3xUC09z+OjHklnaREhKOGF0Rz99
CamjNiD+OJokkXf+/EBc6BArlDpe+jYLVQBPqw9SS291cKCveIuYljOo8aNhpzE6W2UliMeJMK9L
Ow3TRSxAwMYbozG7dTcjGm0lilNltthBughJOjMUJKjj/WdOhOiJIS0xmByLVEYnGVKFVilFRGWL
BhpmMGKUrQD+pi25w7MPCF6us45ttOdWCexyct9sxMUr2Sb4LZqee/aAZczmkjRDrtBECx9H/OiW
od0ak7ZACbyngRm/OuVSxiSbZ35y0/ZuexgSD0txKteFNpFCJ6mWzElHUN3VK7OMZnIM1rRA+Zgk
S4QTbgRlOUR5HvHOSc+/onSi8H7idoYdvbUOcSAgew2Oy05X7bpUvy+j9psu413cePVOWmJcWEWJ
fthrIuy12UwCeJuCZK0Q1q0yjEcmqIi1nPbZmL9ZU9QjQg0QwFo2Q6slw79zjtQV5czw5oyGST42
Djry640FIxN7mzsVDChzGpdFtfLSln1aEeU6dMU75w2wrWUCJtFTz5IIznVbIwUk4kxPSYRBgHbs
2pw0tN74SEum2SlX1FDBHwvcdOvTPsz5Xcdo1G6Zw7H8VfG9GQb9gNIJ41ti1eux5UzXWARs2UqS
yk6DA2dStJVna8KX52H8XhNPnwCKaY0V8jYCu69uj4aC8XoOdyYN177WG8uysMpLyh6/6KSuL4Ru
P+oS2YnUSSjqaauvzHqdGFR25I4xYWxSUrKH42B3b5lCgiFc51mMymSqYt/FYfPONfjV6XatfdNb
TEisccOMMUGBS+MbySLRXEjsuV0wBYc0IO08haxjJ2v4GuOyJINgZXn+IWwAyAQqPhfQExbj6D5F
8KmcnBNuxQ1xVTvduc3mSJ5RdCeOzCnNos5yyk2T12sjTI9lRYB3XWqMinpHW2qDM+vtjo3w791o
8vbdxP1xfBf1gN+p2/iOF2EwrT6MgFMdfY6Tn8T+ykdotRA2+j6fUcEkmxsOOdaia6ynHmDOSrfb
O154bm0GsQwJRz+kZEeDgF2pXIK7Tdx50mBM6vKOrhRSiGjAumc3eIWsPgyY6sZfmjpYK1lMyHxI
IdJCRjN+fBzzR7ia4yEV5mw+NmN8OxPPDQVwb1TYRHuZwZCXuNA+UHxlyyLVr7kXR8s0Fm9N66mF
boWAZ929BQ24i3ZCNMzvFgHKTMSqNAWt4j3itARhBDUO7BtjiSSA7cczomVeNYw0agyyiG7e4a89
FEH+hiB2hfP6o5LWtJv8W6/lmN/QsksDszjgu9sTgP5iBZ29jIW5Idps3i/AswHv3TXCurThNYYS
vbDLlm9vwFh3HT1DX19OXIt4rMct7bltPOegkDUXbAKOIZuGehpFFyPqygXFldZWty/yF88bmYu7
7Ji5M/b3yZAswqzVdoFvrnhLxcpHLMbQh1TIzNtYHRGHfvIBvLSn1wGOBo/gXowJulRKh6XbMr8e
C3VbpOaOCohVhgJ0bZo5f5xinjdaZ88NoQHo06GvckQStdsvKwRqXmXs59YS99s1eYz6unG9l5AW
MQR/96CIbDSxky3gLHaboeu3oKPHTSakTyqar5ZjoohDMgB/+/rBVuWXKaYlKcy1AauELND7RNIG
aO12h0T3pdTnSo9eKjWvfgyYf7JpVsZ6IC4oEXJYy9p/NLNpBV1LX0X4qdlgDmpMFayCLkGvCQgQ
YVHrZxvshAtgM1v6p4sZzOg1Lawo+mMu/bmFFVDvuvpHrG0m24Yyz6tJqqvYobleDQP93XTOXYst
As9kD+EPIISpzGrtJy+1TVc8wbiw8uujneMmKFxsdUmPc8KStdh1FvO1qrrgYoZRYfnjkrZUdexH
8xDqdDMqLOBYsJgRx8h7ClAcSxUoOI/AXRd1qT6A1sptyxFpmY/e90H13dlQYq/icDPGxn3gZ8mC
RvdHEsRYLEBE4xfS85lnWHozZmAX2N4TQa7ch0LZL5OQODt/ahqEh+m9609ihYxWrDNTvcFdSZcQ
I2dWGh1yD4NOVjP2LVPcdbWjqyU43k1t1k+RwYDD6bTV0I+ASsYk2KYDLMw4LO5aRTPQ9LZBJhR1
WPQ+QfleDJWBCzYLiATTevgFZFsW8U1cA0UIW2Q/cbJJpfmUt4QWY2tE5VdQU2gIJ5IeUpvKLLUZ
NPir1UwN6eWB2m3YxkXwNRrTM8q9O9JfbgG5wKscHlyw/Wutdx4d9sC2AXwu6uDQ58xF2z6gVyPf
DJBPS2nhsotnDMeu8/znsuY59pH7iDqfbCluPCidJJckrF7DETgTPbGL3fB7pBrAz8DxTMbGjYLH
6En/kMNvCAPmO97gotYPTLZZtsGIuIJAXUVh3TNABz3oxydUh4zsW7OwsU9UGATZ0Ma6uWOkAOXg
o47Kg7Db8cx+71xFUxSLjCyk3kQhJshTxHXuLAc3etYttR2DON/Lcpt1YNRcoigqAl57hItGs6VU
MwURDHVBApZKIQBiz1xmmfElNLmb+sM6Qni/bLqg4rlmMYl1dQNCA8J9pNAj6NE79SUJZlpxQ47Q
ppn4s2GfuS7VadvW6nbsAkJYkGhVMygZ5e1Xk9F3m7TDTsCEWo6agpSNH3ITchTky6PCmmWm444N
a6um8FnRZ1tqNVFIceFsCkKwCEEloQJlFfbi2UVP9lKjuPOYICJWEJ2E+VTV6as7yHrRD7g/Yx13
Qly/EmHTLJwW3qmRcB/1rGVg9XRECVqU9UROMvh4GyrlysIgUA5ygP08mnPB/+ra2KQ8QHWuN9Ib
yAxGE4ZPIxRpVFkHS592Y9lmJE2Pdbcgx4WNsQg+uia56jj0JnPCJFPZa/Zoi+4lE0k9zcfNkIoL
1agFsjE4cfQEt1FjPYrEAs1buux7Dh7gajdt7mgUDdy+LMfcKUMpZFkmByDyKD9fl7Bln7WGrj4a
jv4xFcEXLtlwXTuw7KIKn5gM4PnESEI8y4VmhcLS3vmRYIpksuMn+Qjz3joa0bvlHOvIVUvhVQfZ
UrIG/mRt0Suv25KpS+Dn4aHHAO4IyFKx4IdDs8tpIEnEYSNtFI97jl58I3N6pscxNHOJvNJ00CuM
nEy9e69AYHtm4K1H2smdH68DJeylrZwXolzJSdSH58nHbKeZYAfLJF6msJ/uHTwsnWegX5wtJ1i5
wCWSiR4qeOIG4SxrsPFLO+GMHvRlu8pczVi58ZfPH7GkidN+rSPqriODMPi2I2wsm9xNjPIhQEmM
JrmumWuX+7zOHKLlim8++q2gZo0a6dwJjSeijTJjN2Eu4FRL3RMmzUerGflCTERIKoaltvfQlHkA
LlC4CyG+1H2wsJDhAnNiSqGwoN6DdtKRRZHF9/mwmP+br9jC8n0R6eFd5gjzYRDksHi9+JXG/ue2
sJCubpooUm3PNlC7/DTa1apOpn5A3ETzAyxbesvEYmjAjCs/fI6R0q5Krm22prUbYnRt4lMS5+MO
pRvPzij2BIhEWOu8/qy5gkgy42LSpNuwBxb3aQ34o9VKf+0P0tp4oVMfKosn/mmi+Xyo/IHkmTku
tpcnP01wEWrDQ1lo8hJOyNdIqowWP2RprWizRd67BtfGophBn9VorlLLC+6dGeDb6GVy+LSqYOK8
gwuPVjbV471WNuI24ebjtYDY8DSDt5lRKZdwTPT1kPbjy1jZrz9MUajVQMG2ob0HVeNsARSau9LR
XhlnDJe2LV9D5TgnZfcvLh61P6MtchgCjSV+0Z51ZkHFXxvOs+5EgkBAECpt+yfBRS5NBCQGLrOg
c3pezLxfdZOITkXfvAfA6XeIQs3T52dBwAGxUi14EgHqUmsm+QoccYNOxaIZl0JEmqYMB3o1rj5T
81onvG8LnJvwPfezeuoUsD2fWRPbzxxGNaOLTeWplUGbZWUbo3nK+qlcONoITVjMBbRVvVptwYGV
q3uFDl9cCFRrVvROgr2023tSIZ2XMEN1rTv13pUeQDFjScNt/GJXRrJ1BEflAOljCR92kzUpx5aO
/sPnZ+n8GdE7vxjcmD8ve7wJpnQcpCD0uw33b21iodKs0gumIROCmtWnFlD3defou7OwR9hflavL
U6is7CGvtGfLGd1drfm4mr1qsA4Oae/IsI+YyjzUfoN1tltOkePYFbefSpecbKsFzYRfmWLMv8/L
XSlnlK/LWdPUrZ8u2FLjfGOVMMyTHLJNOXOUO39rYeC9tBbxJy13ixIv/uwy4TbinkM47hhqeb6L
vG66XS2dV9+trT3bNvRLWQP6hgC5YeCSA2DOfiEYsn5+qQX6CSBeBi1rSQyR/OkPJiEsJ49+AE+U
tjda16tXhHgweSas/a75VBrBcKjIHN8liWAhBs6tWXbYjoWARMYk5NEl82CMa28vTMr0z9gsvTIF
yLMDVMPNjwFDGiTX+VHqQPPu8vJ1UtXGdrT+nCQaLCEoVWtLJLOJlM3uF2MH42+ios9ZkOG6qAzB
rek/XaNVY3E3qxmhFJ1rP0qTDhMqQfPu8zOTmo5m/XRpVKUDFep1uqjRdNSSsr7ULqSLKsb/XeML
uKj5w2g12Dka11xeAdJBFDTmDrCu78YqucQq44TmUd6PFaxQpafIS83yEOgpNyfOL5SHDjQZnVvx
bC92hiyHHMt/mxrmBYbleSt7BMEQhc247JvkgT+hOv2wYH4qP8twrYaeXrFQxL2V3t18DPWCYbpG
hANrdtjgXauCFYy0/FC2EEmCiMB508It42TMiedHn/+9c614m7oVEYkpAT/gDL3D577jdj0aWMXx
MOocSvQiUs/0k5c9Zm6KChUivKBCLB1b0X8q0hXYu2LJ1iDpQpfx6sdYLAquFmLrReBAx7CxUaxk
lvanehA3A/OHA8o77sQzXCgFtLmQWXyL+tO5r2mxrpohj36Ats3LZzB8ohnOmtpUItWFBYwXL7n0
Bw+GFR28eZNwBA0gAVzkEnzGzAtmpZuROOyd3sUzqY+xmJunLy0zY55SzHQwU5yxowCkpAPLJ0G6
fdWjIrym8fgLFwW6zZ/uE1xnlmlxr7BNYQv3Z7cchqHRZ1mRplWUNNossIGBQw/XaTIurS77ytIl
turT+au1+bofsx9xbsWke7NeMAyo/EJCMB3KtB+3ZL3vQqwwVGrtjGsjhhVJvQ6iwG23ueG5Vxul
sZbHG2cOTMzUEN47NeU1RLJqO4OOnJa54ypM6cFVFHY/Anwn2+l3dmM8+zHoodbA618Zpf4AA2zX
kS7D8qM4s1Xfo3lzjsINUFT1zY9BKRlnzNVto9l9RqUbcRturHiOIilZYuY0teesNTlZQnp9dWx8
XF5Z1JBEijck8Tm6db5NkXx0EY37FVhFdImEqC5ATL43dXszcvC5JiAh1sj8nAPpH9NN0yIeIV7L
06Z7IqwT0gLpMhe8bPAzYClPiGAgk0b3zjzGIDm92QGyenDbSN2EEpO1VgvA8bYkfA3MhrWwIgLY
uVkDMSVkfhOR0fhS0iaOi8p7Sw3ynYIapqpcDUbhv3eFBkygyr94o3r07cdPLR3ClYXRhjzlmbIR
tW6I2tMmrgXD9PKTqJW16srkcd17c0zkCJL4F7Nw7+fJ8bzkBNYdBFwuy874Sf4QFNRZhYsHpJfp
Q+sUr4oEm309tHPgBqMrD+0Yr2CwkfhdPvJhOOhkOh6lMgrKhcRZ0u6tb4ouyA8Y1LyNWyf1g5MF
596aZ4lG+VxU8Fy4Eo07rYZ4luKqpvaKxapz3TcxZByGYj3fGnaEXBiI4iqsHRd0QsHRplJwEswm
2hU2KEplVEd/CMbjD6tCSdu+Ivnr0LILJpmRPZAEUuGfpmFE9+5pMFDvVCadaIU74DPNagJcv8er
16z62SZjD7hPTTxzciIVqcSne+0r4h681JjeMr1lzfXJY+VEGPzATNe8W2O1n5skZ3Z+d49avVxw
zmC8pCX4USuE5rphXKo6IrYBlOoj9N5oIatBnT9leXyoD6iM+WAUAkpP1z2ksRbeDrf65DvHCmHR
Mg3LihktD2PfHn+hhDbnN/TPtShvOHIjYeLTMoT1NxGJrPoA3JSeLGOtas7KjGqCPPV4nQyNfcfp
/nsjwAp+hjpLdGq1m2l7y55YqhMc7K1u9TqexDbbBxZ/IekIX7IpTbaf6QSTlr8B83RvqYaTJTlD
+fbzNv0ff9Fu1P/6Tx5/K8qxgrHb/PTwXw9Fxv/+c/6Z//qev/7Ev87Rt6qoi4/mf/td2/fi8pa9
1z9/019+M//6H3/d6q15+8uDNZE+zXhHHu54fa/btPn8K4L3Yv7O/9Mv/uP987c8jOX77799K7ha
5t9GJmz+2x9f2n///TcU63+qZ+bf/8cX5yfw+2/LqGn+5//4x/f39B9Pb030jZzlv/30+1vd/P6b
Yf7TdhBJkMSBjhbNE/tB//7vr9i41qSJoNoVJvURac1N+PtvtvFPTpVoh/AXYDawTJS5dQEK/48v
6SZNeBMLguXxpX+/CPSSx6DIf7x7vCh/PP6zMOcnIanL4JpBuut41rwyEan/VGcSym4GMK4MMrao
qNq7yL7zmzffVwuyfuocwt/WHe51mopyd7PJyquMbkwrWPuhuXIIctWycmMFYqFJppfVQ66erPLJ
GR/D/lGfLqG6bVE/xFvwXFBZATUuR+9OFN88lxCBk+tfHeP+/+16/f9xKbocZ/7j3+/y35YiY6vm
PX8Pqr+uwPmHfqxAU/+n5RnkHxizyIcV918L0GNpIt7QdRcdE6aZ/16A1j/ZkQSHJhYGn5gohv57
AXo2sjhuYBaWABbo/80CNNyfdPIsQc+ybO6FEvAeYvtPe+efXO9+0/Xo+9IEZUl8j7H2VA7JUc87
jrbPHfRs0xVnQ3N3gA+fQG7uvLC8kylBRxksT4qzTpRnZUX1Qpj6Tcl6J4RPBxNkc4vS80cddQFF
aL4ANb4LvFBbJO2jl5D6hh6H0kKLnj38162tNYugiB+bFvxK34QlAcz5ZdIYVKoJdZLR5czhDBDk
klMCCTrHIivB0lj7uQNfhK7JvIigkYxmUNvpq95JbkU+3HV19i4lA5sevcGy53ycTESbZRG8c1G8
pUHKnZJOvOdlB/ibZFHLElG2V7zm9euATB5EX7wwa/ovZKwf8Dv0tLy8V3Ia3uyqPiZd9SK6/L5O
d3GUcUwcHwpTNksCFxWILbrSXhZ3r5S11WIkcoexR3SKRZEQ7ZCGxzTKnoMm9wEN+0Q+Yvq8McJh
ZiU19bnx3XLnl/k9Bh2fNtZDGCVftCp/VJI0oKR6DSQz/FYj2djueTEFcU+TerDHiKY2h1ru8l2w
qGPjzh7Nx3EoDU5o5OR1dR3fpEFPZAEn6pa9gwRhcliyoaVJgmyuLQibMTvvdWxkuWmlfzVwWy0m
68kSX10RDyvXTpHUIA6gcCfOW9kJ+Nm5Gx9dNb7LmM9qg1Nv2qSAMjPpmPasgqC1dGMMnkZSAXsP
moSoAWPs1OfQG8IFo+NNzoiBQ88wbCInX9GIFavGJwl2ehaUF8SE3Ebkh628nglbkwzfLQCVkJlx
WqXOthYzTySCCd3VhoRrfBNXQien+33SjIwDrP881M0ZDPIGuRGsN2RTtjW9SJEfAhtS+pg+ExKx
4JcW+yJIgn1ofzhGIg8gcfPdZIpl2OCR5Hi1aV35xqT2jH0I+Ddgl5rIEl0030vDupGzHQzR3tKW
/vdO0MWIgQYs4d89KoZOUPO6RZeWwYpEoZepNiPCvB6KJJmlW5dkUM8Ve7+nZ6ivprMc/DcrtZDE
QNqyy7OMDXWwYlRPyDt2sd0e21zD5Daa+7GxEKtVewyj0AVADvrC+NZNuIGNHFI31NCUpFbE7T21
enCuGudYqvTFMxEuEArwZouzknBJMjS0q6B25zE/o07+mC6d7sswPti8QXA1VYjnEZruKL7ooUkV
y6sZ2SRTNaX3tWf9r5vWfEa/wQ+TASaZoyebfvS/D4ZEXz1EWDo55uXF8O6ht3XDx0l5J1/hzZGE
N4VFS3dvSRwh0TbRRnLtDJn5zJCZHGb/tTK1j2D+JZGqF0OYbru6f4wxuRZwB5HfNmj3FIwaIW4N
URDmxegeTrr4nozfCNRQVBf1vYaPwRu7+wR0DYTCN6PjpRqHe7thukIxcLBTxhvRMy9ekxnQMEhh
L1JshQCT8Siv05zSL6ffo1XmWx0G6UqWnbFE7bs0e/ehJDXc6FnViWSNh5lB+63g2dU33eA+iwLg
XsGh7yQNtYSXcHB07N4dQhA3P7iOv3ZhuBBOuBvQA3oyuNjJpcBxTrTqLk3nIFOsdhNyFTfejhQE
GhhsBwUOb99CI94DsxUtAeAvchUQdtmXt6YYV3UcPAJlW5dRd6oZF9sEcpnasO/8fN+5YKKefM/f
ZENz4rLeoXo6DJOzmn/S6O21BynO7ZyVU6GQHeNtP0VHYdwBXV7a6D8b7cZAvme92va4S/Jq69LT
5d+3sb3E5cug05sP9Vtcqihutqi1qoXDQbYN7FWYT6s8IpTYJycXJo/e7W1v2Pl0HPBh0FoVG+ZM
O7tkf4Pu1yThen5NmOQQmQQMjRFSOTSXtoexAuMKPyrwOXlwpbUO2pyxUZMfJougiti+wYV0bDXn
lE7jAvDeosuys+w+UGkoEWNBup3zCOwxuHKZr2IO/cwv92NRED7h7vFBASlymQUdQidnDSA4jPt1
lXADKQN4f1g8eLV8b9hniMzn/++08K0t+osWrJv6pSNfi67UAkfAo57Yy4xUQ8JDtwNalgFJSdCK
rRc/9wAiEsUYntc1hqQ9cOCbX+cRGP7QOivY9CsPp4ysIHqF1doMbwowhX7n7sqivBGNdBd4sI9K
bxbeWH4jQANhXFLc0iK5hDktS0tuq1gxFP4+Ddte+GflECYwaikuhhcdqmKIbF2xE5ncID2nnBgE
to+Flb5Yfc9pvvkyP4Zb/ZKK8RbY440vZmG7ds+7snQqa1U12Rmf9K09JLeJHlybOrutUnWUNUIv
AKKeuARt+DABYa1lvsOG8ggB8lKa1kFaAZtMipNNP2TIYcK5yzt0jyOZZAmbaGoNq6JpqGv9VzPi
+6buEZEdyrXwFODHrpGbTkHMLhNnCFGwzhnPuuFj9PtaCZZYo2+9qP7SjOlX6TerwST6ywjuhk1n
xi85nD3OsK7bXeFQHzWdxrQ1XHGU4XTx7/FZwevRLs63aCSzoSX2fRiXhqEfmPOvStRX0DKoZ+4A
/CLAy5ct+DE7GRle6zs19dTr8iTS/kwrywa7bdbtlZaDWpLBsqmstW6nW88jKKGEHVJKmO/ddQog
3cvgSQazlQ+pWxBvfENfQ808ZlXPBBJEa0gkWnmjT/m7/uqVCf067wLUfC/U+Gbb/TVtLlHZvCHD
fjZt8VrVSbnoI/0201/CctVAXCfY8uyCd0e+XZyDcjxwq75m7vA8ejHsKeckjHolCvvdZ9llQXEM
dYM5yED0ynRMsPtZ901DwSEMxDXm11QNH/3Qrvx4OpXlRBpd+JzIFOxv+wUfAn37hQy0U49/DdEr
0EXHolM+wxPpXrK4w37cuvUICy2gsYbWsasv8aS/FD0GuTez2TbTGUntImFiKmhiZCgGVL9WvCjN
SL5LOZ4r5D1EImzTOYHM0ZiEY2lWbn5uXZY1fMibwW6f3CQhRqkbPpLU/6LSr57VbSpjSTN3IHpB
R5o2MhOqtfgu0Cd6Xjh96eCAQXX3mpvC998R5rVsK+urPQRbuE8PTajxnLjmsIpRGcc9HHxrN9nt
NULGFSsPPHqgTcuAnBubJuOCFPFmAU7hqyofZ/CtUeQHIfobtvGJAbXpUHa45jpCjRPgDQrqEnQ9
LKyyPtX+1c7eLNyXq9BsH40qukZtQn77rOKAyRLy6oVyD4QI54t1TGR10QzvMk7JbV+Ivdbccxs7
ZdHwGCoPOBdvt8bUxbnnBviY1tpjIbpHe+CiyMlpLT7qULvvDWM1ptquCt2TjN1HNpD7NKDadoc9
UTJ0nP37ePLuQzk+m15825qw38Jp75uUbIR5DD17B9ivZAwuac9sPCe2Zg1zg8OKvo+U+dYjw6cN
XBJroFJKjmRr1A+m7xKSmfkM3OfgIpgr6RyWl3h3lT0ihGrdE5k257q969tdUoTfQ3TEazyMIORQ
MRN9YiO94DZc02ZrBgYW8TBi9fb3zHLOwJx5paa9k4qzr1e7PHDudJ/vKgqB0cSfNpOHcdWpoMmF
JkJhA4hAiM80BpVBzY04v4K1KKNph2DRPIySWkcb6Ca6FYvUJalLIdoMXVj6dYtrjxTshWzoW2vq
NHQpoH5RaYAWK3dDwDltZEXfMOlPxMujCi4H2rSlZax0lhJ49WVX5iffd04G5OFV0aPTm5ybMlCv
rRNcQdJa8Bcbf2FWjwPmXrQTuqSvD3WFWNwlkQ87WtqPtcjPdLC8LQ7hS44Zk/sMeUROGEO2IrQm
I3mgqMcVUQMVmnBOWVZ0GSb6Dp6dZhsshkf4Tjlgn3LdudyQgX4i3Yvwh01G94aFaxMBtsF6TJ3T
AFsEy4A53WuXJYFOhUn/MK+/EXO3tTqbKW+cX5oZlBJ27Ws1kekwmdVEpOK0iEGH7bCLwvPQ1Zvs
U8oKYhKG1vMWKIjCrLbWAzf1VOXhTneLzeB23jJqQZtMXG3pV3RF5noadWPTtSUX47Iz1VPsWx9G
F74zSAXAKjREXbJl4+s5Djnu7eQmOsLbKd2Q2pGdkiaAwluh0Os9dinMr9MKgwPaouYjsmkqV6Ga
bnqJjIlnAua8c41tWRKs57pBwfvbr223r0mJFcOuGnIMpRlyGJxM/sY0GNQSYsrtFpr+MlO22NRO
u7Qs9tBqKM0bGwdoWTkAPnzGIJYLT2VCO4L0Wq5jGr1HZZkPaSeSJUOXiHGOWuuq60+RcRWlSh6L
OqZ+FkO3I37NXjPtqTZONiabUbMIK8Chi8ulBR2Tj/qSXbtZZvKrVrIULUu8+3V7JEWkJr5bZHSe
LI+lDlhJ2KxFJvxi7VAOLFIQ0Utyhu4KNyU+Aen3Atr4sNJ7FKJ9sudN8Dd6X/friMvGcJP0VDJf
XFtF8j3oZbLCbkzwzcToZPQwFSQzdCIBOm3cyUwna96j1RxIyXnJ4KCXBI9TRzfB6pg3gAekPyA5
PM66L6+BPiaJ3dBF0Cw5EUIkAkYbEk+6axy73vvVnqEJpyo2ILjvCaYVNlzSlTyRw0l2EW569bLN
YhNicP7WdsWBSXu/cLmd8t6n2Up15Zm68oOGPxEItMa9qHsm9fBJlNZ7B7HyzQaP5PmYfv1qWDbz
lCH2OaAqg7u9OxQOoXrRuEXU/86eOt7wbuQcfeSG2EMUU96hGgWRl1X9x2fAmtq9AYfUqL2It19P
N5/5CKNdL5q2N5d5THZjR07YQiIaP6KIv7UY7rBImGZbc1/Fhyvz5OTVBn2iySIBKhhinbmP01uR
eSb8RgXQyiq+Ymx27l15cXQfTSjMaSGSb1qBFiKoh0VgVjfop4dDNxCqFoy6cwVuSRsyC/SbRJLG
rFBTL0rpxFc6WtPOQ1UVjRZj2xBP89jq34IpQ3yDRqOZLYhZgVsgC2N5HHFCEd5lb2aF3FkYSX/l
xHUYq8zfA/uZNjJXL4O0s10cKEIp2/LOM98nd9Lu+NVYi9gzds3QK5o+nGyENcty82sYPvdmib/Z
Db/lMOxfHcd4slDjvyt0bXU3PQkr3o+wuIVgroigJOSEguJRJTtADceI/FcqAShTRf1FcHMoIo0q
HUBy+iUss3dqHZxH2Rdm6k+lHR24vDegebeF2WDnkFhFbRuMlU6qJ+kuXXcewypGNQgCLtfWbunW
C+y/IguAAMiHWhvlErnxJkOzQ23kwX3sUQubhbMrKn4BIaJ4rgJODAsSePKtU2qIvbRDJGgTx/U7
2k8wAXbBv43Et8xavJ0BvWK/auLFoiPfhih1EuNrSs4WwN54ciRXzcSWAiYaKdkkd+LL/6LuPJps
VdIr+ovowCVmeuDYMre8mxBlbuFdQkLCr9ei1Rq0IjTQRBEa9ev3rqk6BZmf2Xvtfg4OMPB/jbD9
CPC8DesN4P++mn7CKv+RnXzj4ti7JAhAZjr3snqs9GlayHpJ+oLIhIKQJ+YOxgIrT9npU7LqP0bS
XGdrdZ0W2PJEOz9hglrBuoEhqhZzN1nLTa3rLzz/R1us+7wNt1Pl6B0ArTCM2idNgn/CfO2HY2UU
v5K4SteXxC1YF6NRP8otbkzUokjn0Hsm6QOnyckoqo+00OYuGQjfSpmJhDL7hcuHFbtz7nM/edr+
10lsZGTpQ1Xdg6/8YpFI5daMNzIp0Wr1lrlreMfRD3u3iV9dD2KgWkLmvnPIwK3pPYXJrLP7QoJA
DiRg4zqPA0s+z2ZzPSr/iUHM48bkmi33KMfwJhB/6pm3JizEsKtl+psEdM1F8d2S1ll5Tb9z15WJ
/sibnfP0tNVH1Y4nG9mwlSGmxGkx7gEpfNmrOOcDjXCalB8p6TVtYN+iAchJlkCni254L7P6XJuo
nkLzueoZ7KxNsB9WPpOmxsMhm+nJMGHcmHYH3ynPsngaAC/rpSTECz0Eri2yL/0oMS2qYrd6XFV4
niCQZoiJlymLe6koavhhzDm4oKL6cqqEMDr36IfNXZnLR9Szb3MlcRuHP+wq32t++GiCjIvyseHk
DDrt4ElDDJr4qBSRIbuAkEG/ZbTXTl9WZlxNtXsqrOmeRIfV5pkjBdlD6+2x3N6h4gZCaXyHLd/S
0kEHn8W+spdfn18xzZvOFGprPmRniIj//OcAqTRxupH/Z9HpoV8uDbHnZlBz8HjM5EZ087kQJ+ju
dHLBZxwM880aYFI1CRzpqBRV8TCTCSlC0qc9ddMo5z4R3u3YkF9BGqVE85ebOSpXvtbGTm8Lw4e+
V96XAcrfEZIQZA7e5wA9uHJb0MTGvkEiNDn8zTP2xVHwVSfMO8i5nOCypU+F4LScb1C+GuBdxLnI
dcdtkp2yBrKCzzw4rL3z0PCkVpySDrFxZvk6jvVj4laMu/WfVfZvKaveuDHqx7Z17svWpZgdt1l/
ED6qlA8nsYwqGk0MgNgad5rgdGa8kIitvRE0BTBlvr5Oe+fSowdrEdgE+svPqR9GoM9dx+/JCX+O
Jvc79fwDiMRtnLvrl+BguA2JWTPyd9lH0O5uUezEAOLGHY8pkgmbqZDGbN2Nb8tQ/nrkde9R/r9o
s/rDPO2IRziwWSaXv7YPM9eYbno+eIKef50RGwXU59hMivMo+ZIXxTljiFNvSje2wr+OylkB9M0d
QZ5fw1fdmmw2DBrG8JIZ+Rfb/NvcqfbuuL5Y8LJShbXEfjcL/4A2HlIHJCsjvPSq+chT+56s9j0q
nn0veE4Xr/waBk5X+CI3Vy0QG3pr51IVEi62AaFx+4GK5YFxQ4QR/3qaPMKFm0dpu/i828cwRcKv
SDSEhtKsnGlm+xkgu5U803qz1xdj/5aYKj+aqvyCe8hdvtIUuMZlKe1NbnuoTKNBDs5nnw42vnFP
76xOFbtVvfvBS/9qNeG5bmk5ZrgmMeUKov4y/6mUPoJAALpCoGiSXsmle0MW9OJK/1ZjJR8S+nQd
+LQpTnvn0El6+fziM1DAlrrbPoyRQajGnIWzlX1AITtqOYHVcn1ch+bRVc4pb0n2annFm2Tftsb3
NPL0gpm+dvo5UprgIT+/wTx8yaFnga7Ov5jy1g79iu/ML1P27SlZorTgMHZm7ympZ3g0w3lyuNI8
tGjg0SFeO9xrwpqujadlcW/buX2cIIb3g7GHXXf8TEl+RuNz6hlFBOX60rZs/RPvvD2yrZ1+4YZm
zcp1qcUEU3aO2Ovfdo537tLgKZfucbu+82QkRVSgL7LvOeOpBwJOTGM618R9ibS9g5mGWYs/CgXV
3ZI5xyUYb7y5ztB2cM4j5nilHOad9FD1q+FN985PY6as03qeXnQaU+M/YEa8m4ylYjiJcl034tCM
6BHSONE8AU0vTgibh0gQxEgxmuf7kjnizmW+wySLBguQu2r+GKlZxhCwrmXhPeGPQIi7Jj7FU0bi
bdVE6RYr6+qhPg0FktY2GfAonvIUuG4JwYYAYsJ+VOnEQ8hUZ+Ld3BfVnMWz3dh7qrK//7er43+T
R/x/kjr4qE//5/3y41/5lX/+m7ph+w3/2i07/9i2xwDnAZz9S6nwL3VD8A90L0DLLIhe8BI3CfZ/
yRu8fyB+soGKQanHN29CiPmv7bL9D9thURsGXujwn/9322VsQv+uttq2y8QMIJWwWMuafC3/TeCg
eGzXjr1O5Ic3yrXHyFW2ZtmKkyZo+3hkBap8nFN2XXZxN14cIhFPom6OEwbm2G6N5UAAD7M9oM5e
jW+s6eRPuvTk5eQOblurZgMd0ka3lMZZDpBuKVhFkjt8Qhf0p5wxADMQ80qgKuE1uSUkG076nHen
Zkxp9kMHs4rEl2pI7zEsqjAKSF+AxD9H67ga0TCSlehy/mblx7rlS2CM7jCV6MggH1eMxbMwJ7XP
EvoXX87UerqNmyS4qUlKps02jwjEbxONsEhay8+sqFP7DqeVNuVDSLgIyDUMvUTmxcasA06S8omt
wrr3UpCExtx1XAcNp2pinwPuPs8Lq20cD8w3969cz2EpdTJwBxzQDLAX9zfizIanNRIn47gA+l+m
am9kGJUsCwxKeMwHI9yL2pL0+X9xJPyRhu+fFnRR0Uomzj5oso9EFCRdKy+PVqV1rLrKiprZoVjD
4DN4CWNFb1Zs9Iwcn13/V5ZUwVaoTvk4VYSBXbxhxrlfvIb6hfQQsj6Lq3ABucsv3PVV+ZkYYC/m
EqRoT+IEAQbbZVRdVkbQLBLt33pKKH3rca/Hccv8SW5Jz7V2KT+g2pNdVK3OB5ykWQSKymkANN9l
ABG85ES2FYkBBCjvwqk/kNbx1S8YYeU1OXYF9hy98acGbCB1gQNVuhH5QSlwkHZv18lnwup9bB5H
RYPgDPiMvHwjTic3araOeMO31IWbjnWRZZ5I+3xRk0uBJoozabo73LEwOhpKcwY6+8FYP0n6QMQY
ElOelGeywyhw59uuRrC+/b60Kmgd1veiQOs4W7QiU2PdzjnOOO/aNNwPYzR+IJadcDHithx6aBrE
FC0Sr1DFmv1cCnx4JZqyiDkdiLWBetMRN4kR3GCNIQc29tKQj08pBEW992m06wupWLjqBm4tYD07
iprbIJ+vvSa9b0Rw61vBm6Ckpb2vST90o2F2HzMpSUxzkCj5ACpwhf82VnbWeBSDbg3piPiW3Vo9
SDS35FwdpTXeond6lBbJefbvmKLjLZc/TSWeU51cdxNSS+PT85bjnM5L5Ijs1cvm+0VfxGbNEsOD
b3XfMk2OKSNnVVQ3LvZ/nT27QC/58PBT9w9jn8O3vq5hb+zACPLNNtKOmTPiDLSeUo/iNAHpm6WE
A3ZEHvQyxWPIvvPd97ovnCG8GkGOsWk0vp0gf0O82u1AKKLpUCmCfHNKPgKmrztjHCAyX7Glm+KR
BINWtVlE4fLZ4kcYCS7OC+vsyJpgdrEbPflpsEkW7vTOwAvCAP1Sx5EE3vEO7NM5NNYTSeIOO8mL
l/IwwjC5zmrjXs7TGvmlj7esfMESHEmPpJ+swjCLwBk2ga3f696LUYlnKHKVGwW6/DoxAaToHMa3
vKhewSvQm0Ih93QXt5P7mFcegSuKkVaeQXye76XlQFOwadZ0aJ+lsOk6eQyjTOtXZui3k4n8XJkp
IHWCN6rc+WIFcqgG1h1jVj71Hspyry1+1iy2x+Ibb9LZcN2bsC5v/QmhjCmCu7yXsSk3n1mWPah1
5s8ZxCksA0wqHPz26D81bfOazyhUtJ7/uBFrpdEa+Pg9Si+AmB/OOlHZDGzwmoBlh3UsZDHQCKY3
uVtfEExczejXd5UgSjIZnZuEnir0rPOg1I8jW2eXTgzEygUnKbyIPurSBK/dwuTFNCDjk8yBROWF
qOqv3Msk223yEE3mFbQN9zr4Srd/iVP3bQipuglNWdCN7AR/Pd6WDEGAuEahf1Tb1xDkes+k4XYe
sZMuo3U/Bf2VSHOx50Qlul5XDz1Z9N6EnVCkH3iAF47jnY97MvIqkqFJFApiAhSoVL+XFRdv3c96
R7+aRmJ9nTpENjQxALZgdERDsWXW+oo3mE0KHV+a28+9a3zI9TU0bgjt+UlS78YtcQYzGIIGcPZ7
hUKn8T7zmvo5GaC9jOtbG9A+VSsahKlArJFHeZujy1o+Z3exMGaDrOFgtrVh7FiZcui0tGjaCV+z
ktm/HoAZOogthvSq84MnsTDvb4vmp8wyMm4JM9uxC7jG+MnJPHqnsve3SQJNUOIwlFENF26A6341
Z0DhRJ2oNXyDxPALm4/Qp9aLmsQk9LqGydfe93j3eTacl0ksf8ZkoBwWjGM8v7lPCuNl8mD5eqHy
9xAD78hgyMhVswFbWeNuFH61z9P8vR9dgx49GOM2/QmMM4Imlgww62K1NPe8vfsCshRmSO42LPGn
Sgzb4Iyq2+KAsGv97LP3s+FIZMNUcnwbEFwmVknQElecmOeCR/5gkJZVbI24OWZbOmhJUFt/IYN5
iYKif8uHjkTJ0P+wrf7RmqpnzfAfHCNW/MkOUHAyM2QSowo2muiOwVVWOa0I+MuEW9DNe9yrfYFu
Iw2uTEJAj9ohZSrNm8jPWdZM4JAYudlE6LJD7hJOH27OyE2ZTIfr9WD7YIuHzVm0L4W2DssEn7Gb
EetgdKtt73aqjX5XavvXHzQrlO5V003aKRubpPKuMbI+NCCTYjv/rgIGQv1gAptZCbccyeUJjeTL
NNiF8EeHsaAy8NknnRwAGFygxFOXjGYD2ROXO5qxU8qHISVAZ10USIdiujLbREdZaH22OkTfspyy
bqUqSEtrlxXbjZkwJySo25Xjq6HxBS7MX6O20HShTnU0gPxx4thO5BCUsytgAUyNgg4K7zEqlPlQ
pOYBncIb9RDo/D6z9s1UXSxrouaTGozGyhKJdWGGNXrHjcfmBYA4LAzkcSH3ODhspFsO8YNgOX1m
+GHFwLpNx+8mbdZI2NvURLMWTb7dIfnLtX/WgbVXFmnD5UoeTc7+ul/rC0/xjlDLk6vN/EDTzJ3T
hySPJz5OLymNK7BJe+zMzokUa3zEdRknI4cY6UUR1tfbLpuOg7l8ZcxGDbT829/GtPvcQXOjIJjO
7I8elooNneOTb5qaNq1eGlNDXsnNmdwzVt+VlXwcV5XEUyXf2RL6VQZdIWc6hJYtrb/TTPzZYjPa
UD+J7eGCUDtEi8g+fDb3mKQOht5UEq28p6o+dyT+RIsWPwWZh+3Y3Q11xtLVYnDWhUa03YRNwY/F
Msl+gNpKRADyuMYgoFTAMmqCGkYAOEV+Zt53mFkvQPqOYSeeefJLsAQS0EzX3fdB9dTVoFnmPN9o
nfJmrOpPSBBIthiiEwWURBOBBBtGAvR5Pj31KHpooHj8+hZEC4MQDU9YZGQHpHI/cZteCtfaD3Wx
4jqcPzuTr1nO4204ALZECoXrozSedL8+rAtDgWxd6O37CTmoqCHWdTejX1UHW/QLIA+Wt5M8FRSG
GCeYepfjh59wXHL5ooMi7zuUNicAOwcWaFy7dYo9di0AwsiFbVZizpy5LskYTeofpgYNGRh/m208
CBBir0giLNB2zYWIFnJpGAGbUVaueoP+dcdBt9/FCqJDWWdP/ixJGcTmQgEwGjzwC/M42fn1gQFY
cxomlgpjh4gzhUUQNezAI3N2i2ObgrNZQjS+7Fu5Q8omtguJEj19x/iU7AMnReFhcHAM4D9Og73E
I4U2lPHkKaGOP9TWYMDmyK9EOdSoigISfhrcyVZbnUMtL/kCFc6DJswxS8mcufGic56mlImDZzV/
NVmD3ewQ6+IQLZiZ30Kj2LPQw3I4+w/0oKA96muzXY2DqhmedO0pnK2D8qDwEhl3HfguvWJpk7ru
ZPSQQv1auaC0MWyEvK2OvJ7kIW+O2EEytPJgnOCr1zGl0hA5vlOejb3opr1Y+P9Gu32DjKQsxU3v
svJ1+OCaFrCQc1zhLUZT3f0dsYiXy2SQwLq8J7ntRhXZgBPZqPSrq7l3iNBepC9OVtNgcXRb1Lx7
gS1mx/DwNKO+jbqi8aMQ02JobByOwrxtffFuenOwF03ziGrno5P4f6A9UYDMxeMyWE8ra46dNyxI
ng3KOv/NnDdYlC2XPWuE42Rb2cUeSBiS5d4uVkyAGRK54qGci/aRIeW955bDxTebGWEMyJoZPbBs
sN7ackYu094hNeBo0OPPELoglzJ/i/srYhupt+aOhRWB46uw2fh7BdZ66Cj0PaiJkjYIrn2foTyP
tIeUUr+bOBgjb3H9Q52iFk227sNKjF0GiZKJZRMcrEqd+iyVpzVzCqpM66qoDcRiCO4uc+D+kap9
TDTqUL9tYUsuj4vZkmZeOLzczFgBObRXNmt2yB45emPdf6pNTjdOxgNjiAJpE/3rSuypJYrrPgtp
9ZJf4JP+pV3mlywAHCI6ZhGmz4M5TwCNwU20R3eWBFG7/LkoAthQBZzJgDzOMK32NgqpMxkbF4+n
K+oa2XJvxyjTJwp+2+aYSnnvOZg8ZGpRVToWhnJh7shByMIPpPQo0ae22bPtHlmBKrHse3Nmk82r
Fk0jiza92nGfENnXuigfXASUy1Q+QAQ/UOO7cW8dZJ8HRwt/NbiHyoiCAAU8UXTwFsn1KQL6eM+p
LqTsUFOmQA9dA0485u+gUSe/5HQpxfDU1FZINqjXoXpqfxeF+naywyIypHFwc5QMSqBhMi3nRKTh
GlkEbO37zHhJ7QPUM7nLTOqWJQ/63VhxPKv+ag4Q9qmqRJaDVpMJL7IZi+aHnlaxg+ZISvzlp1l9
3gXyDBwkW3E15cMuMCWLT81maAhgLDV1+0aGKIU24d371rcYJEzPlTFuvJyKyrNO934GvbLk6/K3
dFRho3KipY4EaOHo0DpuG9PGGjswxW9SM4bm99oZlJ4wg/zGbQlujE/GXCF8VgQGuT5zVVYL/iln
ZFDAdye5vr0YI0Wnq5t7XVp/Z4VUoVs0G25yPBPGqWjV8TOkjs0tJK8IA7mzAe5I/63W3a/Z83rU
kHD3nU2INFLUgWnSYfUKC+mB946aGFG8uNT9ixdOOAoIT5coo5j1tLdFp6sTbBAevs5uo85AI19l
n5RlbQOJosTiRAhD8l2wMO2qGbslaDBV2UOMwPLOZY3zz6HESAQqptZm37PfptUxTo3qHrVyNnDK
vkbGhVWBTI7VQw1eaTeaARzvcgsNBOfhwevsyzoW97Zs/xJo65vtiaPWjYQgCVBM7GkU2JxJSZh/
Mgo7NLHVHDAe8NlXjsOLkwOhcSpVxt58ycLyb5bNBm2HQatr+qd2yBhSZCscnTD9NINrkCqEir6O
YZFxK4XPVjl+L5aVRSvv/65P0ehlw8egghQuBJsX9o8kzO5MnOcc2zkPmTDwPyMT8gBgRfqeu5dX
3kpelV3ToFrfJvrPoEK3pU3zpwyR/ToGDwVFPGcasWsW7zQkphKRxMnLOL7YZ6CjQpPmGvwuXwiu
goKzSrXNuwrFcapFGdeNDCLAgh9h38K0sB8ClrZO77475f24uq8U6ThcUvkzF/LZqpaB7UP+vAW/
Oyx0GXL+zevxzacm3JVOQQvTP2bK+1Obxe9om19ziUN5+5vzrPm2l+zUNNXBQYixs+0UtWA5Xzmj
+HZTm0rJfAI7/6DylCU6pXzRJKe2NyEFeuauEGD4/N49svN4DJzi1ZQBzpft1y118yVd683kfN/h
2j4QkMOJplgykNZ30jNFjG0oSfNDGHRBw9UaFdPYCimAU3Qo3dwz487dCFqDjViJHWgqxkgWPA56
WfeDG3eZsq8DhimkqKw5x3yScrH686EpRlzzMwRgpE1T27/0+Xhs17GHy4f4LeeBpza0Dqjb3/Ml
oFuYBGr51z4h3CN1/ykDui/tMol8Ux36tUfYkn6Zo/fRCefPDL+wG9RAMz8Pscl5h/SJOIuia9mA
YMFmKnVVD99mY/N24azfGaL8zmktljR4XGfrMWxR8k0T/a4R5HECwC3SSsiYPNfYNNfgKij2wPW/
Mdl8kJw17yQash2piRwOKr9YZFTvmiWjjBPpxUZoghTma/AYHWq7G/cg4xgOONeSCUs6ODWMRLa/
E59uP8sz0NPboT2aTCfXeWXVYx267b8Lw/xKEnmwF/XUjUj38RcHvQ/VS29uKSWO7VQMDOHXmCoI
Nk3i/s78HAR3fTiD7wJjzMKrfs4G97kepcCGkfIv8uHNYLBPrghuDTm37zIo3v3lcx3nNyX2qlG8
SWzxgfNnDK+ZQM+Zh8m8MDfI0UUbHhNBe2RelnJ1uuYhL5uQvkrylmfhb4XnpB+mS8q4IllbbqiM
H8aCGM3WzlefEeNmWxzBExA/ayWT3kHCa8G2C1N1Suae5nRkUStkc18RLeOi1K1MjgIVYEWzCG7z
oVLEbUPkJzve1Rlo00IM+jT576ObHoKEHtspHDIyqJUXA6FKanZ/RnzCVq2cGD1pOYp833C9R349
RlPpip2BDwUFyHXAnXXwVPazhPkLtgL23WPgI0vFjUMLnxGnaoJH7pCVWsMVHGz4U1XAGFlx4rSt
PBoGL9yo3TtSLXB+UHAY2+ACsB+z3BGpduXdI1YCrJw4+xlKwObTZq2NxqXQDI06z8YFJYEetp35
4bbes98qmFGAYHlFOOJtiNAkzlNzBPmfCtAkERY3ZoJXBHUtws5S3wLrIy87sZ7qYCv12uTenPjx
r4m6XTRu93ZlfzK8egj4dcmcxUYDE/GZ8wawNu2JfWxRsFEuQfEIqKHoFo4mDpGDW8TuYhinYDBS
KqNb00/7KMmL/sADFbPTXqPKWrB1EduXNwqzV2n0ca7qgyG4gwefWGolUEssTbtHSfda4fuqEvez
Csm0dDmw8NgV76NVfqYOwgS9Gs+jYB/SOXD/ksAHULbO1HBZsVe6eW9r857gGOplDzG1gqRIXY0c
0XFeGFf0gasuK2ghWGluB0AQEY9vTlEO0/qo2pzqVOSPTed+gdAPI4HwD1GAmpnvAOjK1wZ1nBQV
aNkQNqb4C0oA2s1Q4amp6RWDzI9se2lOhUZ3002UzkMPf9PJ2nhBt3ZoLFBardD1YUr7F+BaMi5J
yIuwAq9XngGLLz02dkNdOjIFsIsGtOrsxWFQ3Y3h+JWzWetZamUV88MlaxAQ1y3SA+XV+8lcXpfS
k4dqHHaZmJGgkjyAYo+9OLKjSBCmYNe1HcOeyHN1U85Ij5KkDqjKrR3SST52UQHE9NqfxPiU5V1+
6KceQ4iLdtMqnOfKt2MCX2wWSi6CGi+3dxIA+8G5GQJGYOGa/Kyrf4vkaDpDwB77HvBmrpl0h7RW
jiT1es6uG6b0tJdmvrONFIvNgjvFwxotVK85P6yPmrUge22OzzwjqqgrnwoDtooxP8+z91KO5rZj
q+H+5m6UN95I415oBK7HMnfqC+eKXsBTuP5e22pEVNJREfbFdyLAoiXvAzsCU2ZbTgTDMOn86mT8
shIYVgkpI067Jrss5cQ3gy1ECi9tZPbhtetB2yQg69Wl1KV0cO/nnm/K2B5v5LBoBfGX9Ni0AXMn
8GMHRiXF6J+7XiLqZ0bohp6GWZgfLFTrgcMmK1mQrvR9y1K0G/Z1dmk0hfhg0UAExE4j0b00WyBH
Krsd+KrmYhvGIVNhuJ/kd9gt74GGNmN0PnrwgmlsAVwcg3xOHvd8nlrAsbZf33I0/9pdaaCW+Vga
CnS0Y1wqCvM/orluhBW7oG1P0+Fz7SZ6i1o9lX32lyCFky6b99CHL0fBDF7NZbqiMSPgpEquS3VP
yuR7R7ob6J/Fx0G2aQrSYtdllnXxcE3WaxRk7gSw0L8u0vyjbFRK21LyQXmjcRQVRVYQ5sTD8xZa
fm3TN9T6QKO4b92pjNHCWs54rWr/EThww6GNWqYBsoZIjqq8jzuKqaWsnV235Izslnfp49tamnJg
uRly39o2IKb5qVwzvMFbUlSO5qHreOmkxxJH1MFX4bL3GGbzlRtx3pcefzlyiLu6Q722ru5pNYrP
hFvtABnid930WvZqMdAZCCbwzRQPrdNjdFvkrb9k3wpUEeUEf8skwnvfazX54Ck3Jt481ackX84o
3Nf5D2zi667ZhFR0wkwr7IXxuP0QlqwzdC889BiQCodvzwhJYwrvUHsz5GnLa5s1F7TQIyQ0w1w2
kKEn91k13ejVe0l7w4oSuneEpYCcUl/tfOGqCOB7wZIB/c0wJHtVwlW3vZEZ4AZMtYOPxC5fezXl
t10nX4rMPHkIB6Igx75CpfFeCusvuuJbUsYHbmLuN58RdoW+KF64funI+otYsz/Kr70Ld+OxyejC
VI16jpnVZJtM2M0ayHGzjTvd/ejIPArL4iqoBnlKAvxxpYP5hyQfXoS++qmD4EPhf2gYHdopS+zV
uUbdjLWnBPZXVNMHkvdhYko3uu1fhKe7XqcMlvG9OvfAHmaepEmS7YaGT8HsKRL9QHLvV+ugg2UF
cQAG9p01zjkLxI0bHhJnmGLbsKhO823DiPFreCuky7vkV88OsYI4SaA+p7Ki5DcF9FblVgezSP94
6GZsNzFugcXvNWXivttmXrZe6j2ZnahC3e6c5+Hy0FvhMUNNeGnd7gA0r7kyfXDxI69vsNqH3nYZ
CZb37ZZcijx5AQzfmuJarMsD9L36SL9KoAttmP0lOPAP4GnxOS0dH95CJz0Y1C2zV1QHNY4/edjw
9og5uCy4XETe+zvIVwFYVn3t5uR6TobXXwgeHY9T0t7qZL1NTRXSD05jHCaC+aSGp3txh/QraJCZ
Aqh8n2HtZZkBbUoMEKPAVXpsAHsPqro2sn2tC/Y0U8Vmf5lxktAG7zEXXLxxuE6bJoAVi9JOzEBh
sashhWjjLfmT1GzY+GjAUgxFje09WyjFQ0gzD90WpjADXW8fkV0hSOpYLUpy3vDDs71M04CB+c1/
xscHmdXt0wqj6yQw4xXS6eK5gL6cQlS3E+Gc4GBjE2mZxirlG1ettu/LfENvqUqzw8PcwLeF524M
YWVqCvrZQs3V2Dd5N5t306wEZ2dJCpqnnmnzV86AawdlKIMrTvO1E0cTfzwIAQYdfCTDGtgHm81W
rJzmszLgv9Vj7CVujpnQy/ap81IFHk5Tqa58aDzHAvtBPnOdBTVTYAhz57ItXhob1HIK3gNDiYTJ
XvlzbIfBR+cF8zUX/K4aN4EI+B4mMr1/U475h2cLwYqb2NdJelhz+4+mRqBYmhQ6QpRH9P5nma2A
b4hNvqTE+3TCRpNTea+5KQ+p7xz1mvnnqRpZfNSYWQJ3CQnOJF7cFsvRSZGO+5UTkWdTHkOM7btt
IJamkT320zFbV9opd/gFHM1N0w5HlVOhjlb9bIXgZpd+pJUfG345Ac6oNPghWBrxj90TL+xI9dYR
2tVk5vroBy042qJ8CXtEkrbZwRNs7jj33pBJcUMGLAS9uWOY1l96Szx2Az8KZ+1/fZt0HdH4J7IT
P0eQoM3a4+8EswZ9Yvkr+DNJuMMKZBnbotc3O6T/1QvieTwgmOmh0bLL7c0/kJpeSurf2Kn8k6FW
k4FOcG3nPI6NGHykdnxHA+O3Azzyk5S4UvsapLghqoAhKtfZ5L80ASeukWCxMxFBTpYBUj9GLTBc
61JWSLjD6pyMl2HUDhVIUjzWvnVtesYfLHF/g6VezlOIXcER8i2v5u/EMyKRJ9UFp+lU07Yk5rHK
GLYOer4k3og7Yrh0Nm2TxkJyHmfvWPuYjkwg8fEiWQL3fQ/PCz6wNrg5faPasMHN/aTzFIisNfOe
4IGwygFJ6eDFWWvj5OAcGavuhrLrR7xYyTxeEqwAQSdfIfRXOyL9GFaU4e3icRiErqCa8tsbrGmf
NnRejEHGSYWzihudf3Vj+FMG9W8ucEfKfn1sDQc+on5VtWYFzluFjZ6VNMdNPJs4hth/GfmKOSkH
Oc+xHU/uxAbQvYNy6V6Vznw3a9afahSMWqv1K6NPDVoGLXB27/qNqzaVloyNkZX1Ajmelzbhpc3K
yA74V6VuiMem7tqZ7ppfT079nfQjXlRrSmNPBshlg0+iGT9r9K4RTFEA7q8ouZZdd0zSvjtryUe0
bStVWp54n7dlZnZJJEv00zqXh7V32A3nFSOnGc/uJpYl9Ihm07utTS4euxkTMtEPE/RWxmOoVgLL
+qQ0Yvm+LowlTtpeWL4u7PZ9P3uXnIA9vShr24KgT5TbMeZWQonNeJThm0XqF26bqCEjlEgANDDr
EvslhE2TnqRMQdIptpbXq6Mdps3yqW8FEFR25JGtC3eHLtQ9ieRBIapLpY41LE+0YGq9sVuCAQOU
9626nVIXCY/3+B/UndduJNt5hV/FL1BC5XDbOSeyu0neFMghp3KOu57e3x7J0BEMG/CNYV/oSDoc
DpvdVbv+sNa3nELdDPXwVgw5Dzzd+07rZMNjmriBCYGeFS1GX5CArv1WqRJdPz73BsvfoIquaV3c
qwhtr1HT1UdJdxx6+HkcTHg7Djwlewa7ROgRqMXAv4weVkhusJaMS3b57PhPcdB9C8C4LLP4E6UH
Xz1DwTxPlWaYMZ6pWJ1oST/Ook5IbbNe7ZSHigl+6xTtLraSgkVtJkjmMB5xrf04MmRJ6NXVLh2F
6si36ePGZTy2u4woutVEZvQ88w0g+TGEXhqeAxw6unWPOKSO7hizOspgJrGrNFBqoChZsnRM2gqp
SgpFB0YHlkFigKBgURkHv2w9/ihVAWM/zXHS+RjWAgZRZM7nOwAXD3XsGqLKoupmxfjn8/TH8PLs
y8ymm5N36rdVdFsnzd8bntFXGH70nO6QH/D4jMFIrkETkCdqFRtiBThDOocGtCnLRxsZW1N1HzoZ
rFuh2ONKBatcByL+rJT0OuY07HbZObSrTbGqRlzbTOzY6U+XNr3knhrsu6r6Qqq20FPX2rGG4Pkm
wh+AMNtIc+qTlJf5xoefTP2MFHjO2a7/dMvxmTtaQqDR4M4STlN4Lgnotda8B7ag2SiZ7DQT929U
uuqWE/lp9aWy8uLuVUtI6uw5vLc+d+DoN8lZYmDilvFaLWoGLxOhBIxEcPVry8BLdGaHEDuKoPvU
fPpZdr2uN67VrjrmWUg2sam03HPQUbOuU3Z+01SYTHCDl+xptwTFGNBD+vyS2mR+Mm4S+yliYqfo
yWdDttQsNP3vCGtpp1cPeZIBPxLSeapJD+oQpF9IAKQzdZAeVQbaq0S6VodJzALpY0WKMEhfa4TB
1ZVOV4Hl1ZHe10iVLliaBSF9sZV0yAZYZRvpmRXSPatjo62x0zKS+JVjry2w2TbSb8sKY8YYlbQx
hgq4IP29hzlXYNJFrCR3umzxOungbbDyZtLTi1SHNwKX7yD9vsRcnxoMwJN0AlfSE1xgDmarzzkR
byLpGsZegEQJI3EqHcW1nR/JNb2bWI3RIXKRYz6Gk+XNhj9+5PpuSn9yLZ3KLZblAuuysM65dDKr
0tNMvXnoMDlX1GATpmd8SRqUFXzQmXREl9Ib3UmTNA7VSbqmXemfHqSTOsJS7WKt9qXHWuHRtrBD
xrCJdGDHDHAtLNmh9GaPmLQr6dZ2sW230r89Sic3A2EuUngt0uOdVhYdRN0LYh3qW5UgeOkY77gq
tFTs3ITdtptUcY7mQMwU0z61cY4NpnKeLmLfYCCvsZvn0nceYUDXbZzoufSko2NGH4FNve82dXdN
sa5njBwVFS0QMUvXhI+Z7NcDns55V7Hb8H2TPjp4HZM1AQOMbtOOv0XB+g69/BMhqEa28q+4bGvk
ophaY+z10LMY+3V3Hdu9h/1evkjfzla2k1zSUnsapv8iuRoCFSkP3C2B9NciCF/D1rv3pnuwRQBX
h2dDHr6m5m9PdBtzCm9mJO6jFj6weN0zYAGjghNhfAYgBFJQAilIAb99YdywHQEN+AAHYsADAgDB
BIhA2kiUgK2EQz9R25sQYIEqHyk6L3SAZGBknzVRUeANoEovlbrEzeBtQvAHisxSYYInwCKIbGYB
SaD7J2KOuVp5953kS5csBVSAkHAMg00L919U0bKGoBcAOdwKAkslkcGTbIY/ZJQGXANl9qsBvqEF
40CGBDyNDQ4/flfqXUl7YAC0pfN/I/b5Oprdy8RjSR4ILCShFjkgI8r0KwYgwTPlty2JEgNoCRvE
BAIRlg5AJxQw4SYT7ETSKAzukAo8xQimogFXUYKtyCW+QmwtYBaS7tKhkBs9WARru/4arL0SGG9K
2RGLHCx7iMeKOaFTm9bj2M5DF5Ef8Ayd4ziUNA08ZEdX4jUIaDe1Swp0A7v8zgbCUeCA8YBy9BjL
EyAdjqN/1bZ2bLB5WEA8KK0BepSAPQKV7wT0ITkzFuAPSyo1AYGMLnHAgEEGACFKgW/uCLrdBh1C
6tOxASUSlItUfevBi1SSM6IBHPEBj4QASJL2ZOAeQjADOtMhYh7VMbiS6R3n6U8OwgQ47gjQJAVs
YvCmcAsuXYAnFuATFwBKAQiFmKmlAIwSld4uA5QC6no9AU6ppHIGY3Xrl8hum1uhRVh2tlXbHafS
OdhtT3qy2AT6sPVHY45wa45KYek3V4ciqh0dSswanckEkp8ZQ1avSe5apJ9q4Z14Ei7VHusrBoZS
Dz+xp3H5aPZStbDP1tpTkmjIHmWSPr1YhrtMUm1TQZgCqnxpKuWu2Izd2Hzw9adrEbZDE6bwMUqy
jScunqhAPBlPjRtS3oBo1c4diV22TmqM3990RzzzBBAOrA35dQ+xlA8KFoOYDjX43JnB1cvzSy7i
Wx8PjyaJTn1SbHWvI9yzmWOA3HquA7a4eUGPdwO6dE9b/yokPMw8kTC2GBH+5mp3VxL1CeLKxFmn
BiqJdgjkU7mmsQ/pGN1EyIsX/Qkd1ylik2V0zaqvIf8Y4S2svROxzu/yGHF7m2WGNpOvfuzm5KNB
nwpv8iTxXIxKsE+IKbLfhpL4zOQxWNkuABnnzpuxvTe/Jw+RCTnO3BrUwelwEsWl0TD8ZUu3uVj5
nSbmOETFombqBNZgQrLDyKFejZE4qGDp2iS+jFg0K0Xs/oj64uiB3f0Sat2p6tz3mpmZWzZbzeSe
YgUZXpRzOq0gLy7cTtzkMSf/KLutVzZAd6Pv7xXSkHSwjrhHbhVAIxY3N1uNbjaKsaAPHvihh2g4
aTYnYxs92SBfut45pWn0ICfxaFb47bqT5Bn1jrjkhvLnF2ua8GYo5p1MDztTTvL1ePL97JlTUpXl
A3jBfGf0rJmGFGrLS+qHByP+DEW9awWhE030MOLglDWc0fwoi98gJuqkKE/TFB8lmckauxNUmhf5
Aci/PzOao9KvbSO4oSTao0O7D8b4rKIIFIlAVB2/GSJ4jDZaY556H/Cm8csPL/KK0noyEJ1fktBE
03xrMxM0BTZrFPZellEF9jeaf5oPVEdcfBGO95g5teOPmCa7m+ryszr7JL9G6NKmqj/rLke7HD1E
ND3TYrrKX2oyowvtW6NXa0NMV1aOr3HXvaDQff/z0FGdd10fKGFZDIcPiWaKHOe9isKbVS8to7uI
rvgiI2rnAKOpB30duv0SDp7H9E9ytFSl+ginDm0ySJp+lXkplXv4Kl9ClqREoR16zX+XdxTv1Unr
tGffD69pt477+KRrAnTetTH6l6E28b5i9tP6F3YDcA3jTeerQDWKy5/LRu3v8uoNrBEPMPIFJriu
qey9sn1B0/M2Tf0tVtQnkpr3wqJ6dbJLlZrvyDUgylsrrkweELDLBFFgRQavqbvL5+RgZiR9DLSo
TMTiAXBs/9q10c0KgG+LnWkED1OxgMFjL+LbWHz+ebzmxIF2ansa6uyoFRDIomBNqt+XaSQf9dOd
6qu/8mP/Xme/hd+fKXRfJPwn9JtTNPDTre7O8vAkxX0stppSIM8GG+X2L6oevwERvSimfajFufOA
ctXjjXa3YNEWjn/KEPmy/nyMHmrQBkuSgbIMZS0/ny94/uPP67T1ndK/BpP6HVbBjQECdd6H/C3s
Nn/jBL6aNlmSASZPzrIAV7SZvOmh+sy4KOrRRu3d3dvOxzAy7QckM94ibZq76ejnmnOrkgvGRHgv
I/mfWbhC4L5xa74DSMvMsFGN5CuVLzvF3QzCu3x46brsspZGnX+1ZfNLIzenp3+y6ahYHgUPI7NW
HSdoYCi3ZsxXDVqzwpnxblHfNuusmI6OB8BAUY8VtAXLCzYx2LeYmtShY4+t7pA4yivCim3mEEVN
yKelAbrAhh1h2ydt7Cqf7LWXbWA7/Aq7cl5Eznqwg4emIJoisvHsW/U8KLOj4UgnS1tchvxtiLXv
LlWok3SOxfJ1NPMvqx4fmeH8NEN/ztLzqHg3TLRQUgz8xP1rrHPaJu6hNNy1WYAmZmmhBTcLMgPR
ywvfdjbg0986UWymatwKd9hFKCuJ5QwQnOM/07xy46oLZ2Tk1cH9QFyEjmXtt+ahz/gGpE5OLqCH
6vOFQF4Z+YKzwZznXneY0vxiwFKEDndwYu0YFO1BxNvaIa1qss4qi7wxXYUXHhIR2SGEFfrdAbPP
AdjPsmVQ3ar7COidH1oIVL9LEsfUqL+l1pO7PjpXEdRETE1oU1w7OJhBtW+DHiE0DD+1Wqu62IaI
ZVTGkoA9UWQ9iKc5DEU2Z1J3kvI/39XZzfuvms8CWc9QS+FdTBd19cMOlfLSWgwBJQxaT1UtdlUE
QhG9Bamdc2LvVvJ9lhUlskTVCw7o2neFxMv2HseB2Fk96cHUHK71RajEze6iWxeLK2YDJK8lEdKc
aSzC+/Kc5snFRYSIP4xlzoSqM+SVBKwS0EnMTRshUf8r4CrSQbxbHVz2tn8xFGSRMZA6r5GCZp2p
B0izlOOGH5e8ZULJ+DDwcSnRuhzFkag1MEkoxM7OexQ4qKfLfcVoa7S9H7PJdxazCdvS1oIBWoEh
yfO+nYMsXIM4YAHtrnWOs179iRv3INWVrbOOvaNuIc2xw207JvOUJSU6DUYJPtyCcKU3xVKRr5J/
X3UZVNdsVsVAT0jc7PtrlyXz1hk3bILnGnBR+WICfCKJfs/ho7QMDjI0ukTeMEBjMhYMK/7Wub1K
en0lvd6RgKU4uTtDyTehNh17hrc+KS2YpEYxB6G61B34kgJLUMJkxg+bBQDERXMu437pRqR++ILM
yHzv+/LGVebl6O6AANRzU8egQ5Jlpp4xiO2mIdsaRII0ghgiS8CIS7etVgCWXEEwmaEwXSbklFO1
LFgNmVO8qnV8OQZOJbJm1W+XHtziBur5lfyWJ/e3gcQVpQDXKVJXwJauAKtzlO8A/0vWy/JTyAKT
4X+9aMW0YKV3w7ZP7noDgEM9epBTiuWoertoslZMFUgnT6NbD75OMfI1Xf97HspWjfSuxHyP/VuM
lKkvzJ0Dy3U8+854Qdn/7jMwp8sqexWdzcpR9xa3/lQA22vGV7RkBxjJlx51QQkxNSmfaZVu47hZ
y6sARsGR8ybGIvRrsBnVWDq6HFNcEcizpKblkZtRW1pHBLQNZ+tRciaFt5MPvBYNZiD8ZTA625oY
42BQVoNfr2uuwrC+uUnJRifOjqAcH+YARbSJTo4L978af/mqx2JZ7DReNc5503BYMWd06Naixtqi
0a56fbLB4YHn9lz5wwsLk4uWKByB6tEqB0Sq5hwN7izndDJw7MjStAoYcEwr3MbHwSLVjy/zRAdB
626djsca9pfM4TSF4iNwYIjBxEFIo8D/jzLwoOAe3XxY9a25tONNaSpHOpJZfBj8ZSYCphzhabSn
NTrqZV2OK194G55AS1hXS3xS0iWEe3iZNmTNZGIh/zWwvK3i+GtuzRO79J7DQErObfElNRUCISO+
4LV8EMK2voo+u4jGhPZqrUYv3CvM+8IrEwFS1M5Bj1iwQMLfuKfMdMCulOcoNs66W69V31vH4UvJ
BtcIVlawwkG3bBlYKc1t8M+ToBu0yrVQprU9Ve+lEVxLHnsRwK3QOiDwZIIGHxzoRa4E65ovNSV0
znxuk8Kq2BytEZ7Lvl7gnFr0CEONuF40Sr32x35pZPbBZjE+ZDDMElJdFRKlVRSsY3iIeQu8Ac+0
2NiDtcC29yhjPjgKvAiJvOzm6FgAxzkvrPSfZL7vOljH+pe8qNwKugeCaGAt7gjaOYzWJnKUWNg/
cbodVJZzow6vrtxoo7H60x2a7UtAK5OkxltVEiYehWtFAw4ebs0hX5YWczz9ILhUcppEF4ez1X9m
lgKikA1QnR5B/GyqrZoYF0vHgWxaG0PhhOn6Fd+YbYYW0xrHDsA3qWbaOpm3zipSpXib2t/xKVWW
isObR0YxXsM/bzk/qzGnhc9SjtniooupFPSFfJHAXTn+vTUThxnXykfHvzMSYouwVDKgXvkEpOc9
RQD/HUdkQA4giYv31PBXduFuRyW46qZxblSTULz+GindgbDqIxOyOWcrGwQTtLPJM+6uTCgxQrEY
w2KDSmbWSUtepzJKKFfyYO67nkh3iGAcqkm1/3NWq3zonrrOmO4RBr5iNL/sQjS08O14N0QMmrzI
V4MdHqySK7iP1kT3bdtggJ6DQinqVmav7tPWOSV5ukv0/l6yhksmOFB6t01olTHp87jW96Fvohj2
1j4hfWBEsAuMK5Fbp5TVOFrFQxP1ENGm77au+XMZE5noKa/kBBAvHpvzVKbHoVSutketZSKkRbnS
1OFh6rnoQGOwu96gGJtpQbnXmzd9YFXVN2QPlYss/HLo6yAPpKCqY3efl/kK/fSaSdJCftCVg3Qj
yjbCynfpFdDhOklfgxKYtWWeVcWQYI+dU7trGDsniDk7WAObWqhrP8Kr5rsL2AD7qqrPSLvPfnqs
i+ISRTmYoGyXBeNLmdD0APMdI29bm+kWvewhU6JFbPCTENlM+DpTpBUqHwNIcxJv3I3IWZlScrvT
oRWwkCeM302KasuszO9Uj401CiNyXyqkKrCkrEsdEx+Q9v7d0BV0+6XRrIixcUMwUiULYkJVBx9N
/f8uPuT/YPIEUA8dYMZ/zQbZNkX6+W/f0b8dP/8lPeUf3/h3Rohi/s1QXdtVVcuxdMs2TOJM/g4J
4UsI6jwNWYtOSIquuwRN/IMSYpl/I64COIjrGQQcyqST/6CE8CXVBMTq8k2qZdum9j/JoPhXRIhF
mAVkEMcw4HHolsrfSn7PXwIoaqNTUNLKWyLIiW14ugptFG4bix7nL2/O5e/xK3+NW5FvXvnXKCB+
FJF+KGEM3gpbNWQk3l9+VKdj4XAaftSgpHtwcTM41sgFPPMSiGKtR9k+KuI17r+dN9KNVuZLSvQx
cKPllFp7zak2UrfvVepPQgcRJuI5mcqmMibqkWTvlPGlVGJazeJsK8rtv3/xpkoeyH969UAqdUge
FopdW4YW/uXVT2U2jBHnxsyt+nbpKtq5o+4DEAdjLvTW4L5gVYoDutko/mVWiGkLF88RU5Qpug3A
wMv0iaHroAz1KU7Clfthdozt/SjYGrgcEB8rpGq7qEgd0GYOEopBsNdgklDe4O+RIKtKlzS3dMZw
rbZrlAMiF3Ob7VcQhB9DXmkzRcXJ6ZThftCilSO8fZzGl0pgzcxtmIA6jLPwJjJvH/TuHkMfSCSG
+U6JwVargK4lEL3KAVFCm9Y7YXi4pnhsUTqz0fYghqXGT0iZipE/3DvMszxWs43p7AVQtJrBJBBg
QpzZgC/g/84ZvTIe9JxPRHg13W1HIDgHdwrrxNFGukuxQpq1S1QS4Yzg3WYZXoe8FKBk+zJxLj75
ZlDgVjFKWC9gZiQzSzQbk0fY7Prevw6KxL2YAdGQ2jZz8Qf5iA0c/aAY8SUM46uWKxsvTxeJHkI6
JoGTiyMXVBCFy+aOHEE+ZxbY1A1ejXsmB+bd+J8JuhNqiWUGIJ1BNRQDX19CnexVhMQu159bgCV2
FmEb36DXgF6BeRqMyyE01xnKc9ISkEZNpzhFZmQpr1hDkLW0l0mvTjyvFyUBVlM68GrsfTUFy6G0
P90xvJZBwVgTO4G2zQ2kR3p0KRN+o3YI6KmL4OZ7ZMCxconCiEIhwkJU6R/k5B4S+q/BJOV2lHq1
AhEPy8xjNbwPAEnoM9BnIhcg+Y5dVUBWb4g/q8gSZNYdbUJvak+KUbYWtm+gIJi+rDB8oa+/JebA
JCWTlrA+ZU/oQilAVOkb1oifiguWez5Y6ZTNpqeOa7fFQBDiqMTQqEOvadq1RSnEbKahsI5LouMT
oDtSjsZzriiQB0+wtxK5gaTss+NiVfutMp+q9l005KNb30E8/a5LD10/Y1gFCKM5Pdk4UtEE8Fb7
SrzbrbtBwTTMolhF0yT7fBtQTTely1zeoV5EnEpVaUyaYhwdymgc9DR/trm191p0zT2WHC8oT1lL
VYuA2qtOwBHWaswFMeIGVVv2926BktT+8ANvOdnSwN2NNu2Ti6ZQSteKZF8O/lsR8k6oQ/lmm9VG
1b3Xgk+6zSCoqNiiCp3bPHfdl4b5dO3HaDLIBhBrZWreCXUjHSA7dyIGQDvgtOuXQkPhkZUnK9kU
JbRFNZ9bifU5lsmjDr2rG0aPQIMx1lUbK4Sh7zZvHszXDD/lPEv5ea2/yVSFFEH/N/ngv1GNL11M
9wTpPsTk3ix2kE5sfYIQplxqD/4Mlip4qMT9bGW74Dn7yTA/FYADgqKu0dyfeqg2Y2l90qYPk42o
VT/EGcvDtvxGwTQvHf3qZ/VGC1SqagdgMXEnVvqsymtq2Zu0Tx4KmRlzt03OUDO6tHxxPW1bi3Yd
TCZlYHfUJ+JtfFgi3H9Tj+0e2RuLUgjE2NuwBG29Jj0nSUUiUnPpAFIMLUbljutO0UPoQaxLWUG1
TXQ3i2wBrWUtBuhHg3JxhvaNg/0TOhEm/DlJIvRt9cbVml2eJJdmEviVkovJEJl0x61iU5sBEGfe
1JyyLN6D0lqj2ANKN31ozISEX29GX6FoDO59EbDjwB9QcWKV4ZUm+9l8pQbRRlCHa3Yw7THVOmpH
ousM6ydHxJRD9ZxNhLUYTDMqkQ3zCkBWNDEvncYBv7N9rWkSaMbKU12VJ9+39yUZJZ0N6XYsnU+h
q4f/3Sru/ysEToNOQ+HzX5d6x89fP99FHlHuEXp3KurvvyLh/vHt/4TCkThmeIZp6LbmaPDd/l7v
EUVm2qbtEB6GOMGxHH7kf0Dh9L8ZiB/hxXmUdpZn/LPcM9W/ubaqUQg6pk0klGP9T8o9Tf+T6vrP
MkxC4TxTs1UKMJOAM4Rg/1rIdHhGerTR8Ai8cdnbAUO8obUxGmIckTO/+oK8gtYrvqimu7fK+k5O
7pokKVhfMTp4RlhWgZ9OaaVBtujOnRJ+WPqJ6Kq7Bdumd9gtDIqyI4X5xFJ35YD6EuO4gOII30Sz
39ypOhD31DI7ZHo7SEMeYywfBazfrJKQ/m7yoAowqSuSGGMF4UWqPS07B6lF6gF0U4t2K5Nd8Ea9
DmQWL1VfK6BAgDcL9HJYKFP2aEf2ixaH90yJYXBkBJf4+B8MEUs1SgKuDLVfSak6Y6mPUnj0Xh2h
IQXDmVqVR9XSf5eecyV2adxl4yEqACIgikBi1lL0MZP2rIryjz3jLBRIAZWOwAmaPdYOJkwH530o
SfJF1p7PsM5j+nuB5YbsYfTfI/D18FMG6V6ecPTOhhKdwBB6KPN/YdbAiWmPxyhC1Az1qxrTFnM4
RieFCrjVEX047Vyrm3OiMPrGE5yDvZsFtXsxLNLTClyQDrT3pJ2OULMuMdyxZRSVHJMR8wy5VIhz
loKG0X3YTv+pDozw/GHCRgpTLsFuo8EG9c2KhR8D+j45p8qH1noPi2dKmPKPKHqCnv6qouCghgO4
/vyWKUVILlj+YukLYU1HEApUZXVw7psOSY1y0GG/Z3H62yyt/WCEp14joxfbiQqCy3u1Kt0jauOX
5fePyGGzb0lAnDLC2QHyRHofz2VpreDTVM3mkrHbD03zQVrzdWjTazsQRGIJ5Dnoih27AtqFPlZj
FApnGstSW5Pniz32jrnvxXZovFnvzFo2Q+NwASxOXkCpHjp1Qikyti/oC+ZKIhcHHe7slkIwzCB3
D+4LZI0NMtykY3o/JYi1WrgeAzUXzUG8z1SSc3S1f8mLaJ1F2gdVnD0vmx1zAAunY4jO13vRJlZi
uY/sMcqw9gSkr5Jx/qQheuI2oHpHbGnYa7/BOoXtp4s04Fj5AWTMxunfmwDHc2IHn0pobCepAI51
9yvPtXvmEERFtMGMlcsrCCzEj+rAxAsiXICcv265lAIE6cFEyZvn5yYkes6uzF8KEVuzts+RXsDj
o2KcR015KXC6kVJ3//NVq1Wgd1EU6A09gTF4QCYMY92N2U4ZsNl1ufrNAm4Wuv4+JHwQKs6wK1H2
l3r6NTjNu+r2v5Grf0Xc/ojwkL9DPx0Gp97qxS63EX6ZSXYJsO2iAx7PlsQT7GLHpxjmIVm3K5pr
gKw2v4TZ4eYxEu422I8rQXkhPLEEWXgY4mmpW8PVdJqjZYQrjS4lHNRdSUKLJeEGj2JyuIb15DAK
k4yigCWLuzVTTMTNIKG88PkAtRtjOc9kUlneg/vQ4dnO3CBS0LWac+xLC38wnj1R7PDW0ieNPb8+
ldYk7+6SSF4fjFNqAkaoUyrkMWjO+ijBU54Hv4BEQlKRsGatPdZ9eMqwyXRFv6w8q5lN6ABKi14J
+CuQDmW8TH19i53QntUqXVna7oo0RGvZqQ/GtzCp+e0IFVSQ+5+ajhnmFKeEnCQOo/ry7uIv8qP0
tz5iOIf1JmZNMy4zW58nhQz5SIDeIurfOJO5i+34t1lR7iRaheyPxWqb4b6DcYLlV1PmNQjithE/
zEGZTxr1jdQl2pmshzMxTZYg/ig+53pL/lqf4+bNx6Xd5JBES3WdTIk7R+vwzMvyY0IuTDNJWtM0
WOuE7pi3yGeX8441iZdZvQPQ/EHn6s3qF0hTBJA3iCQbXK9mA1mhLc6IwU+5i56Uw2rfBxbspzH+
QWOOf6ksYf/yZxWDG0yL1Ecck7wz6Ww9sRPKuPirqBiKogzXl6O9wcOnQ8ijdxSF+iXMD0IjMZmo
Ip7TkGPh6BXE9NgPiK3iSZJ2MzyebUfCoD1ApcuV8URXz8mfqz++mdyhWr04U/8t3GirC+nBGNBo
8sSTYfTSUMfZ4urNI5tsbWWxlEVre0/5h9yBFXMlUiHnRDevbDCA01KRY8V/hp1ph6QWelzvfkHp
mdXzvgPdwkf26lq+xuo7fteqq8oTYF56EfgO5y3OMBUXWTurfNCU0NMQqRuU3CbDQoPIrMbSzjz8
2GF56CE946vpUuA9I7ogKKNQ6hNlZvb+iQiGg+FyxTS2tUS1f6h9Voqt+qkE1a8u3DGm/3GqM1rt
t4m2vZuS5eBiHDTN6kOzWj4VK3s63fBq6cm+sd9ba3rUZfaueZIfm0Y+t587ryBtJUr5Wvrpt474
FHEg4mRHr+FhjBHA+fog6X2Vlh2UGphG0PIAHfpyCzXm7iAq46znHYmaEbNct+kbRICF03zbY4X/
s1AXlkEyKnmMwKx07KHsOQKGVKyi81Nvw0mcNB7YjodgLlWIUyndT+bQ95gBDC11+2qbPbFfyK9H
0zyVQZNA+IIP3afmsRMZJTwK5UXcYPeqtH06kdhhZK29ZSz8jaUWSvasiNK9hQ41s3SK/cZgHONh
nVTTTpBcgGyyLlAkaHW75LQ7A2DEHgHog7dv/GhtdY9PBBDGK7QAPi0lROJpHHvlHEzeNcAMM9Mw
b866fnx4mf6T02HOPTe7EThy5LhbM1MbGyIrG+thFNorg8XdgIVaCYDyWbRu4St7pghzh7b2lIau
0bzHT/rSFmUntunBrkkQp5+FaLJzRyCorYuYOHExj6txeyb0hksYJ7aDBwZUmd4Sq+nNuVKPMK2f
JgvXtZPAWdFhldE37Yem2zW+ua2yeutp09rVJFfo7U9RljFvaELGXRM2yVxdFWW2SmPnUKT1d2ag
Z1NLi+ibcOXn46/GTV8qtXxDR/PtIr9iFo/X53fbWNW8H+mMtbI+t5OA9hlFxNFZRyNrvJmkOnp2
+juO+cQDFxgFqOH5WMWoLPzexzKiWRjNqoOD+qTqEmpI/IsMbXpOWcT5VHlv9ZCzcFZwb+ZY05Q6
qjkbeJYFL1EXXAbVOqYlSuGWZNl50DMMgj6Uu+a7YsZnrQ1+8+SbxWxT55Nefvme9jqI8izLxCyy
t4Nlv44FZ89ooQJp4ZnYKGlnHNJfccGDnF5hlmQIQ/j9liId72oYwInAN0Tk3kTnCVltCu3vNsqe
vYlrsOXBXITTD2objq84WOah+6EbqyFls1fclJoSt5QoW9/BUVt01m3qzS0iyXzupjhNfJDCDg92
Ld/FkjSMhGzTSPawAoR4lDTi0IZLjO8IZwuo4mKAWVxOOdglal9Iz8yEdKz5+Mz9dyXGIxXVLO/7
EACNyWRON741Z6jJXISRnE7e2kGhFOv9ZkztdtlRzTk09GwiDYexAnScPgcMFjTwl0uY8JMKNdra
J2mmzSoTKYwK/0RIdnPN0MlBCbuoBgHXOUWsGAzJazCy4ydzZNFLCnQZcLJ7Y3mT2n5MEWB0UKp8
KyM8CA2MNHE/61xypcnJPHp/SNMOzOkI+LRNJUI0YHwPQv/HAU9NBGw5N0qM8p72nk1caclQsVnr
eJBSoZBHEzNHCbz5lJkvdhkRBiNZ2IUcxMflptahZIP7XvsHR7KzDf2qhkU/Zw927lGebdyOygIi
+bMPOMsJE+ReYzYKhAlQJZO8+SSKb9tp6nlnZQuG/LKMQf1AusyEsD9dw/zpNlqy0yNGqJnBOWwJ
gj+MuMLPTEimLE875jJzYzriEqIAYm9kygWSIldJa9UYmpX5ZxrNpqmRK6fCusSMy/DmVhi+1mPt
6oSUat9NRzIE+AywHOyvCmbkiMevCTe2IHfGcSfESlY4rLvGereMiROp5p5tYTOUJiNtIEoqhlX9
rk88CZRu2GXZTWDpTFrpmZFzZrMz34iVvrKRu0bYHGYRO1QT01SY1h8t3uEFlxVFR/MCwPmFkK3Z
RLzM3Kz4XPBGMgbiQOVhyWbdwNDoFck8YaS0nGoEMJqKoCmweb0uPmf8Xx6hCUlpzStfKLBhxbiM
DEbndYwPwSPGuCcElqUlwnXFPhgd5IWOBNsiUvFYcWommnkc0vzhdykZad3egk/GbVOTlYI7PEqr
bTJwcvcKGNbSUO5GBHc9qfkoTTCrXNRhiujZQIrvdkSY9CpucMYbawGuAHXVz8SklgVm9O/UnVdz
29p6hn8RzqCXW7FXUaJolRuMZdnovePX51mgtqntnJ1MbjLJhWlgYQGkSJSvvGWEhu0SW7ZdQC0u
IkOBle5aB78LoXgafb7BHXHhCPmwQqblINelvtSUFuPm1rmHOrRL6zDc1fQ29CTzqdwq9SLQzUXA
iQZYDCtUTF3vsrpE6ykNLqn5kiNlMB+H5N5PdW+hB5p3X5I0pZiY7cDb62a78AnhV0lKlpIL4e8o
aZU5fKKHPiT5rQShohgohOIjUc37MrooXYZxRIU4MiIL4cpOSVU8pQqP08sYqqhWKSFkAZyhI1cI
WtSDzzMZM4806V40sHOQeWVcztLnwgvR1QsV8iCpm0Fh5tGWONScGwVP2DhRD3qMJnqSHVqVKyq3
jphfb8DS4DHd7lWtjr9VWvfOT1tCtu3zJWAUNOqH4mDXxaSKEy5l11x6LQ4VmI+TaTkjwJthePAa
r4SMf0g16tSlERYfbvGA4m1+UbviGAaDs7dq4yc6EiN1zADuxCXywqdA5gFdaq42a3MF+KL0syiq
p5AqLOrt4P2VpujmTcBF12mkU7IMHxlYV1M3qB0R0jVqinqQ91yZHoaZCFHBMWke+yFAcd24hLHy
opnZYy0DIXLQlGwL76Eqkg8tDSCqWI8JePWaBkIfVg+N67QPeIcuVQzxlp6SnQ1PvWTceimFrSOZ
nFbDYhzxP6ywVGnl2ciq1NC4VHrynj08lDVAAQvdigVX1LzSMO0heMMbqQV/7puYpg7VQkqkfoFK
4WNaBCWnSCjPwthcpzZhUtmgjCPjYR66mYY0nnEIWlyotRCVY7lXX3qf+7enFSkxXvjdjjptmz6o
AwI8tqz9kgysl1K0B0ljLZ84fIHBIBVvL44FYyNF/qBdtlZ51OThYKnGfUAiWKjaljMPFCI3QiN7
1a2cp3w8lMvO9t6jehMXJbxT1fmB4v2bagHyHvQfg1S8Ki0Se3ra/PKkDXSIC1RY8hntO6JrKMkA
Zhh51kTUfNWO6CMXd0N80DfV0P3slLhak5yAUL3PWu78Nsq6iUTDJ8yeQGTstTH9aElxsNoTHsQ9
EakcvHoj+Gqnmrehr5CupuMipTBANIC+L6i8tM0y6MmIMSC9gv55aJJlukupuTdShBsyj2C0i6yl
gPThygMRmx6Qta7KCHKhG1Lk8SkgCR66Up/7WD6j2xreFSDiZ6Vt7RALH+dWgTi6AkvYrZ0UKvBQ
zbMwKdaua10MRMyXaoeylv3htwsd8IyGqCplmCELsRWoCJMs3UcMww/UZQK9PgsoTZqZpW8wdfru
YjG/TWR9Dw4ZvBbf/yyvh482ksYdmgYobrbQEDznKRjl5x7KT5WaGpzTuL1LzOK7Z5a/RtU6oVy0
VNwRCErEPbvSA+S9G1cY8gBxwUGsmde0XkODTAqHYHJpWhjDXDLqBUO1b/3IcLBFhfXOpZAJmZiS
U9Dlj6UQJjAUIJLQB920fTIb602p0IzKMHZB6aMh/JP1TVSeo6rIHyO4kgjVjfOxxsMvcrj/DEZp
rNAKRZjA/LBGJ4dAXn5rdcBnGgaYkW2ihZkhggE5+w6pInpSg7G0WvWHOyDkDO39KfD7txaRiKVS
a0Li0C0XvdW/xF7YLP53GwX/B+Ee1N5106ZY/89dgFlWVVmbfS39/97rs/iv/Muigu84VP6xd6Fe
/6X4L+sKtUwNyAYVeAN8wV/Ff+1fKgARy7IBYOgK/YHfWA/9ejy2cZXrsqrp/6Piv6WDKPmCYhDF
f8tUNcUxbA7Jyf5H8b9uc1tPdB0zysT+qdGr2KNXdmwGOb806kMbjsXHmHSk0g5GS3m51WyHpxdl
2hVlPu5ogKuq2F72tcyzDo1OhEaqQ2nn0gxNtHwZpEG1qsrxPSH+/mbp+xBLxjn9hA1uTp14qqbZ
wZiesjxuW/HcVasio6ntN3dLkzKv4uk8n9sE8Qn5maZAvA87x9tY4/DCF0RygcA62k9MVzuoiXGJ
BCOJHshPNTxOL6j+EbUp0Qpe4bDsNYkAoh6TC0+XWmr3g3OSncGkukNSrjjcX0cZXmsR+nMVPhlv
6zcrHQdaMKEj/PydpLhnXfH9exorVFgBONRx7czD7FVto0tm0hdxem4moyOzE96zhWUtCBLqRYZH
CXGwu0pEJBURUqkitlIJskYRbeUi7rJFBAYZElolMRkuKR6fljgNfMBI2FaL+M0TkRwgz3E2iOhO
I8zDrp7bPXGfLSJAfAvNxUhQWGUl0rAt3YRZpJJKWTVOM4oXfAMqYSKvSmQZEmImU6wpok6T8HMg
DKV9gaRa/q1qzAMUMSJeC+WooFQIGWADqfaex5q1CelM9jGnj4E3yKA4SP7BrEH9V3CpCGFIFIN+
JicZWoQpVvSgj2qAr8TRoYiobULrUcTYgYi2XRF3u/hV6C0eP0gJkLcQnOcE6Vp1VkXMnkct0btS
v+kU0EBoLzAJRbCMQH8g4NcI/NMJaSJygZ6kIE4eXVIEt2rJFSwdCkoKCVvkEfi8zV2RWeDciHCO
bb1qXt6ttNyQEb+jIUzhbbC6Bzg8KIaJPHXtZDG9kHFOP4CIG8gCEL0IqF4KZM8AulcB4RuA8gVA
+gqgfSkQvwioXwjkrwL6J8WHDCBgCSDQARjoAxCUKE5UAAbJIddkStsCIKENoHAEWKgAMMwAGvJU
nMfxE9HcKnkgd9y2QBILO1vI3jjXAajGI5jyOlu28d6XpbmrCsfwJ7d9L8G7e3q9UsEDN+aLLxc7
gYrWQEIPkDM1fGARx9prPpbGQK/Avhy60n+EaSBCWNzrsfnMSCWc6Nno04UImeJQ/RAoabQD99Qh
tkHIhdwB3MGAWaVHYwPl9IB0RkA7PSCeIVDPNu5AGuebGBgmFt4XwRsx4HB6kbrrkY6QjXSe43Ew
lvYm08IVrEYgpeG+5m8yVZ6ZMu8H9LT133rSlgxAasrPYAJQHQCq2mBYERoTSsT0tdYdcFYxlABv
bYC5AqmfKVR4lSpfq3xbZaPNzPLbgLmQbRpL3nRNzXMW0IQqlG6Pg8iDGE+I+SDzPODQg5a/tLTV
10YdlhogX7WB+0PHUPyfVPkyzrNtCBxVNQVgKfiu4B9AOrMKCMUyxqifqlY+a1sHPUYEiVV5XuBR
wNW0ojlC94YqY7uASSMBFkNHv5+5BozsDsedYNho1KrFL51hitkB4V2KryN0x3kDXcLR8kUUGSdz
m8f52glSnGj5MQafXOV7pXDuARwRb4ZbSiwjldtnqC2GmzB6M/KAX1bZRaPxIj6lCWlsRKecRtrS
Hgq41tqCSu4irTdS4fw0wF6PYLAdsNiasSlGDQ0NrBpBamvvLahtGmBbK02eI9DcIajuYPAWxYgb
Rwbvw4FZotLLQyWxRHZas2CQoIGVhHvKfIumTigE9IueUM4CdaODKZfAltdgzHWw5tZY0EpFdB/Z
eQVVyMllgq9JzTMUnA7w+hbA7rj1OehVjDQpfKyxzD38+ZhNtRY8mEH9Kk5l8Z0jVIJI1cnSyXyc
O6NDZDldhumyEApo/lkBTa+Bqg9B10eg7FPQ9iWo+xz0vQ8Kf4RfCSZ/BJvv4SrvA3bjLAK3Pwr8
Pjh+Azy/BK5/BN/v+UI78T0D9d+B/m+kFQz+o2e7KxluAHjfhQe3gmhX1JwW9NxmtcntD3IJvFr0
Sdda2C01GOZ1P6xATB74B/Fh0SKPyVPNdQ4k0qjWgEuHNJnjBGiPoI+he3gjPjnaXNyIxXoDyM7g
aU1Rb8GJACoGWhfXo8DZpFl84IG6HNQ9UJOZZVAdI+CfUNOovpnwLRBPPajwL9CxOpXwMUh37/Em
cmFpqLA1KlgbsCPnDiwOgzJkDs0CbocJx0OC6xHB+aC3O1PggBhwQXw4IRrcEGrrEHdgi1QeJWCu
BjgkFVwScVL5cEsaOCY+XJMYzokL98SBg2LzfRlwUlq4KRGcC3Cgq1bjPh3ZW32McdQ23pGLwhbV
dOgQU3IxuW/yZcf5cwG4rYML48CJceHG0P56kuHKmCS8kA9bGylN6KDRuwSrJoddI8GyGY82jJsO
5k0EAydyH1P4OBK8nAx+Tg1Px9PTVQdvJ4W/U41BcAeJY8m9bouusukspGjEphY6W99+kzP70ZeH
eYfbXgo7aIQlNMAWQniuhDsEJ5klCz5RBa/Ihl+kwzNC0xa6Wwf3yKQ+6cBF6uWPGPm0AsKoxu1W
jyBI0skXJB1ioMZHvhdULSwSNV9kLT9JLK8Rkp2HEK6Q5tp4Ur4FJ3Ffjt2mwxw4Qo1YCblR29Is
wYbBy/KdRjYS+SNPnm5R36NHOZe4qPOQFpLRVnMK0ssIa4yIhFdFnQkA+2BT71IOVsGNKIa0YgDe
bexNpWjLYI2KwmyAASbuzJ4EA4MctOFPykAqxuqFLwXNOPAfNZwe+GQNvLIWflnXPmiwzUpYZ9Rx
70w0V3q6riFKeSrcGx9qm+44VOmxQ2LcN6mUgflKXBxFhgMtaVuYe3AWKNXPBiJmBQ8uoz4vzhx7
7zofOUw58StYMOe4NGcGTLoBRp34MJgL7JAnmduvQ0OT8dzBwIPidQB3iPNt85gKih6d65fy3Ye3
hz44vUSIfAWMPgPel5Vbd11Wn+ukvqi+9KCn/t5qfxjwAVVuBj78wACeoNzhcgpv0Pspzu8ELiE4
gPsRbqFrnBArXXWgy1qYh1YTPEYwEUMYiX65MuEnuvAUNfiKObzFAP6iAo8Rnr8Bq9Fy/VUO+rGA
7QjIhR4AHb642CaZtfac4t7U0K+EySIZP5MwmdM1VTSe8fRwkBe+gHOFPBAjolofM1hwmRLu0+Hb
CA9TgY8ZwMtU4GdWBCWYilGMbykA8QyGx1mDxjbgdZbBMrwPIQEazwqszwL2Z919SHBBQ4LARt7l
xCIKTBy07fY+1NIG89OCwtosFlQaQRypVO1eAw048JGHci8V+BvHxh589xyhdcyd6j1X42yo+m2h
93NKaZQtuEGMsFo72K0SDVVkbVYOBZ1SsF+5gEakIOHESjQEqIxwY8bw5Q6Nva0Mf7aFR2sXMbom
8Grh15q0Uzr4ti7FEoAyBSxcxKn3EaxcCXYukri48IEphLWbxoAP2/sULq8Jp3eA2zvA8TVV4jIo
vz3c3x66NExgXVCCEQ87SIIjrOr3qiANg0/6lsMiDkDau7CKK9jFGizjpAsfACJuyOtmTjss5YxO
X5ru9LTbyKPzJAV8CUT4EvdSDf4WRpmrQaVnmIj6IkTotj9IDlEq7GdOyBoudA0n2ocb3cKR1uFK
Y8v+zRLk6Q4WNXy4eQOrWoddbUKyptul6sgNwL22s4sCYsVMl3Ba0eOGoO3A1K5gbAPLHriFxmwu
J8VomN3iQZjA9HYRU+f7g/3dwAIvYYNXPaxwOr8aLPEItvgAazzvqrMLi9wwtyWccgtuuQbHvDXe
AhjnSC4/+jDQve7Jh49uwp+PBD8dnroq+Orw1mu6Q4EgsmMUdhYbeoR2yD5y+O6Rj5hFj1PHcEmd
+7AT4oDxSQ6TF80fzkWSH2q48x0JA0z6EEY939Yl7JKTItQokJ5I7f48WD2Qhl9DJl2GlQU3v3jW
4OmjYv/ewILKkW/uS4j48PkzeP3iySU+p/grHHj/Bvx/8bE69ABMZAHILKS6fSpQCxA6HgbqAZC/
VmI3IfshdotQGajB0RioDgyoDzSoEJSoEcROdPI4idzWfMV4CrBQ/UjE/JLjI4Ux6S5F07FE6Tsr
kFYpmmNZ1RcLGY/AT0+NPhKxwvcqwN53qAJFCKVoyrs81GfHPal+v8NQ8uinKytrnnoEGFS7OPZ5
fBpREqkiyP8hBqXdc+K6Z5UwAog2kfSPmgwwarO3gYjTr607w3iJTcxOoVamvX22jBYN4fjdAa/l
xAtkdh+K0ngldT6nlXQBHqOiEiFOCh0Ro9C2X8XPKIF4Gvv+oUR3AnmJQQ+g5ll8uP5BfATDki6t
Gh/y8nuEdgWep+cWLQuu5guCgRDp+4cArQsfeJvY5qCBgXotjYX2Ef3Ok4VGhoZWhp+r9widPeJx
f6qrH7lqHro6BRXWnX3TfE1Q3BiFYLSKBgec+pcOTY4cbQ708Z4lvbv0aHbwyz5aGVLdxWFSZ2gk
AkH7HKNWoTbKs2T5B086SKoh/I3m4oM3iXQOC/egBN438UfFfrEtFQhh3r6zH5MhPJUJvJc62XZB
c6aNlSvKLk+c83R8lF2waQVEekHN5kH8yJi3UHvtTmhTn/qxOnbWDynUDuKt3NEAoqCcxsB7znvp
QiX6qOAeiEYKMOijhWZKhHZKiYYKPcfHpDMOJdoqZXo9bQrbPddmddSRnrDL7lHiL+irJYzHo4fb
qPg8slVsUuTMSKtexVTPH0+SIV1kCefJut9i2/mYJ/5JVkHeVd1+iJYm+jCxEIqpUIzpUY5RUZAx
04tTnUgdbJy6B+de/GHYsM28kwhNteFe/hHl5YWHRBcvvTzedsDeIblG9QvESp+rzO3mVHpouEsP
ve+BWgHLUD+CgKU5bqxij/RO4TOiA4MZ3IMVO2cVxRzf53OhoGNx38Jk8zniipRCc++jtDOiuDOi
vKOZCBeFCzcS0hbNpUOfx+UOWurod9MiRL2HMvulIzIoUPWx6ZZwbm5q1H7EySfOKLnwjqVRfwvR
fRFXVKO7J+egpNmrq0VEg9scIi2KQo7MBRPHJxUgoPj0wxBCjSkp6Sj3Yrs/2mcvUZ57PTsa6N7l
/E5IM8uVMbfr7jlF08hR8cXz4mPkOxfAPaehrkH6oKom0+rQ+rOulU9CH6SUkA/S6oXTg+UR+kHQ
rN8GmX4v6sEWatt6kczEVTqqw/Mgo47ierMkkXeSXj/Wv8rYeUCg86VeeIp7qnUUU/0aedToHf2r
t66WV+LpoPXviuIeUg6hUnpBVzBFa/yuIl/1YuTVgH+MtnySivoiPpOPdAxeWCtRmbGt4mKiGSP+
RnFmw8ck6B224lo1kOCvI3WbVvBM/e5SDTwyQ2A+mXRObfOYqs7erhB0L3bVpzyQ1gPt7xFZqJOD
XmrzmqKUEohzQHkW365vdYizJC95Jiju5RuEF4pG0bRO0Wa8IxJG3rh4DsryoMTj2o9eRgo7PPQy
HuHuAYyWKn1UYYHqDfFdSoJteUc7gvmZgVF0Brx0CX9iRQWV66CJjcYWhdN13ltrjaKiXy5c9L1E
gNrXMNRbLNm4o6ZAFqYrAIqwrlPyjJDcHPy9rH7LIk5r4kFx0oyev0rIeYHyzSLDedJt4mp12Bnu
c0kVom6OVi29IaCLeiX0Xv4XvOM0BmqVSBPfuKUb41tQzfRkkabbDmXNCJwI7oUbbDIWtZptAqND
dh3iPbdOtK9AmZ5yM5w7SIW3v0ChHfJ0hOuLxATiZHVV7gL9HvPXCABGim8Tzy0hmZAE8LsVPjYu
gTUhcNbXRxNQpwQ6lV+FmgjuKpGP0Rl96FyCIZWug9Zc4m2xc0LCXpuKUbtpZPVe0G7F4bj85rWn
z/UuQCIoKwk9V3kgrXpfBnyDTmf+oqVUIMx525dzG4dGnbKTmb/6+lOPijDfq/iei+IBpZldUgYr
pfQWGkIBlPFmBuVG8W3VMj9LPG5paiEoUO5dxVnylAJeJnQm3K7bZPjdCLBxXNX7gk60bTlPYk/u
U17Rr3n/vOIr9amCwu8yhfkfIhch6dSgSbgmB6tORTgf4koUw6rXunU6oLuEqy/fSWc6K7nDA4ne
nWm4i8pKt1GFfUTbLaPIRUMxRzFmL8fcTKVtb0i/3LRAGir+GUOGWkSIlEu40c/kqn2W2l7ZZ0nw
FguEuY8DQNSC5XEpSjVyddckxbsaAvQL9WYXN/pdICNsl1GJD/p+0aj5IXCAQXIuUsiPdgmi/QL3
AN7IsRIUpBXyuyhfhHr2ZLjOT2X0i4VWAcWm4jeLDePByMNiHYbOucm9c4XUkYO4mFsZGo6l1crw
ombhomQb4ok3L4wI4zLNeHKr7r6Kml9N4AZzGrV2H85onWLrrZPmDhn+vQ0OGWPefWRqw4KsvuN4
BGgveBsc8+xV4TpTsP11DqhbbWKlBndn6rNWU8Bu0uXvwnSWx1Jzl0r2OhrJpaXUjTiqP/N17QP/
5V8eKYLXAxWOq51x8kNss6yRQh6gIpAmwGbdRH62xualaCPkuo1qYdSvtlkkB2gMBBfGOYwQtsyV
RIKGZt15loTeBd5ObqAhV1tSNEyd+h7jJb7YBgsn6GTgB7lH6/T0e5rphYMm6FCbu0xB4xsNW9R7
JHvuK3wbNbzeXWiEcy2MZ1hsImTtMinKohdjTM9BBfRXUguExTQqGn7/Q8fuA2lokGJqgZqlW2L+
43W0VJF8WeKMVZAHFjOtpAKfSAPAU0DjMwiWm6Kp8Mcz+19d561LR4VUT0FhFK50qEABmYmSRWnW
3zu9uUR2t9JdkHYmaeidcjG7DIwdqi48eJFh1NDXdAzryck7ayapDv6EpQPAEdpswE89y4azaqLF
mBWwJqvho7aaFMwOTptGQGiGnjiN7fiDs9K8iwd3WfD8Uk2vnpkxlEFluEigSu+AEyuYUvhgh+80
W9o2bVPPkwRkWE/5D4uJA7I/h8BAg9V2C/N/mRb//5VQpf3XfdTv6feP71/bqGL+tYMqGeq/TJXf
nc6Qpam6euNPoaIF6fqzaWpr/1LQQbZFs1VnyVS/Nk1Ny4QhL8jxbPgfEaY06++0dZ2urC1DAxbU
LRhTExP/b8RvuwtC8mOL3M79aSRG3W5kEyPMIofHAosvwx1bMVFOiixrh0uXtZs2Nw5R1vLLTHzn
3HrodrrjwwicNgziONf1acfpENd1fCRV1EVgeV/fZ9oUmGnbbm7vEUf6r8FucnTMZXynb58ATYq/
3uM2W/Y1lYQD94S8xUKgaYJgM2TmaojdaF9qcrTHX+Vz6Y8xVxoQdCwhEk0bpnkp2tfLsYXnAx5C
3mHH8vmitpWU497Beqt6wbIXc26bpyVdUkeBnkO1xcrLFrPeuAPVdF32M3Iqw3VX10Gn08br4af5
8IvjrU4vzdIi/RD3OdIlOFi/Av6m1ZmVMi1tWXuq1WDTo77zir2XsYw1pAOn1TCtFh31y0vpS9ou
LYM9XaBTL4/JLjEzMuMmo8JVJDuAZMlOgg6DLGSDUjdcLkYh1+oWYFIQhNeBL9umCZWYBQQKKBo3
eUpPwHvRtOJY03vY06Fu67e3mpamOdPWafXLEfFoJdcZKZWKN/jHebfd/niPacM0dv0TpiNMgx5c
+0VsVb+mtevWafH6p30ZuE4QcjgJOujLMGrmjVlb38MWpXdMM8u9OhrySUdw8a5vbeu77o7f1VxN
z3gaFtvKpOczNHqyR1cZA7Y+ejebxN74MmUKaRQvEuaygQYEYBq7bWji9D30XdoEYi4ux+nJxmx2
E8uAudxBTU63DeK4TkYtUx1sdx7rtfUwRIH1wJ+z8fJQOkxr0NHrE8SIu8owaqyDSrvd2YHzMs0P
xU6YE/WrLjUx3ha7TxtyF8ivqZWEX7+Pq7Up5U2P8lzbJvW9QjShwXuipVrFB6VutFWgQBkWQ7dx
Ofboq/2eVsgaXUv0aBa3edPWzrLV7m46VBgVM+4x5W7acJs3bcygXy3aDmlNf17+ioIA+GtLrXVo
B+vetyv7kUe3tw5KqCHJtDXwSvTiw+5gm7r9ONSNsVEbOpnT5OkFuIoHXL0pd9OqO/bGbmzrH9MO
CAHbj6qGKzbWE9VmmuFYNlLOWnu4HaMaHXVWR4GCYBAfIhgoB2kULm4z9BTHGFkASqAQyA+esk98
fE8QPsJ7I+DCvbutT0u3l/9mzrR5mn09zm39j0PcVqelf5ynaPGLEoPV+HfT8rL+/NSjFLxLJRz5
TJL0/fQiKTm6zboHHG1a76X6GY0mjebE36Z4pbC59VVmV6NUbVA73d6m3A71x5iMtPpMHxoE+/9+
vNvqbV+9eOnUUt9N73Ibvr71tM71ay9w5/38sLeJwKLpo8hZBgaiiheIF+crtTXVC5y/z9VCb5RD
aRJsJqEbYxs9xvc62of7pkQMRKxN47jQGdsvYKzTfxaYUXSihi/oJh7VAK4UcE2GJhMAIDv9d2qz
Abu6qI2cmm+GCJykR/clXJtXGKEoimN8RNksaVdyUg3bxtLCA4bOsrho+ic7wpclp4H6w9fQ0Q51
/ZceI4Tv/UhIjHc6CQo9z60bJAm6KW2yiwbPxJNaLE6D07Q/VqW24bExDU6bb3tPY1LIzhwZutY4
q+iozApTIq4QL22UOD7WILm9yyXDB3FrI0haNP27ZikdHr9iy236dc5tcNCRkY9beTVNGZMRUJFS
kgNl5dk3qDDWheAPj3ATQadU92JcLdVkOw1NL7qvXsen+behaenvx5kO8Xv8dhz6Sb1xJwpRoXjP
acY0d3p3MT4kcQKkpKW1b0qC8YU/+PQipX8t/TEWBggR0huUeB0Sn+lEiHctnFpk4MRghIAdm6Cd
XI/079evc6djT0eZ5tvAsDY6kc7Xw//+SNOU61uKMfqy+QLtFWhXXhbsOhy4ri9NOuCQPK2HKLp8
Lt62p076vW4xn7kN4Tvq7/44zLT1j7FGvEkYABD5b64cxxQ6TzdVAC4dhAqAA2JSpSuqTOD990sn
KWl8+KPmXczEbAb3aRixakrNuGrmVSZnh7oswMW37aVx0c+RFEpIq2ksqrtulZXOj7Eqis/JbhT6
pMRaf5HyMl9PB/At38aWVOiUVRh/kQNiJh3rSo72puoek6hyj7lYwqktXvs++PkK2ROq4L83W6Bt
29EZDtPkPw8zzbvuAmEuXtc+0xW9jwBZiRaQqx3cStZQzEs9UPbajwgZqf2XoWmKjSD0KmghzBRj
ph+msdu+0xjUPwuWDrfI24brQaf1JP3IbH8QLjm8D2o6ILB70/w8KjEobET0ZHcAvp2VLbvDhhaJ
f99JOuZARTy+9K57KvrO/al0xTIv9OF7KvvFTHXr8gEDNhegCZ1YZJQ+d4oCjBFU1z7VmvIDLURs
VdUS4U58RBU523uNAihCjHRA94v5tGhjNIZeKcaE0+o0p5N8AcMZKE+1tk2Ml/rlvKWhDvMWcP4O
Z53hc1EV69OgFOefS7cxpIoWMA7SzbRxrK1qNy1djzWt/6fFP6ZOx7aa4lhpoOW+7DJtmN6qoIkI
CKAtVrEc58B1zPwYNohbBljeLxK3xZbMtuj+1n4BFzWR2yU+szGC+GL6tJ2/jT5sDfys9awHyFfl
putqNAlSy/SOqofjoyO1GkylrO8QBpYw74iK++uqF8T+sTLjOU5g1m5au+6Mq9gQUvmxrcjsqCIJ
VqHr4G6Z5n2GpUGB+m3gFYB8EvRsUlI6f+bUuIYMJebK13WvT8tFaLomCDKESGe39U6JSk6bSp57
bf8WYm71iBakupcrFaxm3A4U4au3pOjLR+gV6h7yNvw7yxveUhcTit/zyU6+zJcFg8+T/LLGkrRa
m1pBaGJYr7GqBwfwoZ8v2KgUncCLBodO6ix8zVWQ62L1j4m3VVChOQKNKV37v8+LcgU2xTSxr9EQ
UPI8WVwHv7zNtF3uMR1uQEwtbx/l9g63MRxZjk6v0/6Sk2Vql+XJk9SSKB/ZfCf3QrBHQXUdm7YG
cXx0nUDfNebYOLQJ43pZIsQ4m+aBZKJMBLICzLR8f51SOxE/OLrZi+nIrsvha7o8B8kaV54SWmv4
XMoibiCI5U0+vKEM+uL1mfzowlvdBxqmzp6uXccl2R4fvZTx23yL+b7C+DS/4ToFMbAtcr06ppLp
UvxfA8PTnnGa5wxDkA64cas90wPIl5xVIaDEQn/OiXZAMgf1752mWaZnfu6UUtxe55Jarw3kWUCz
haTxunGfa4H9OqKxAXXacR/AxZpLWS4HHneesSPjVpdNKCWPhSNjfu26NoLE/caQKHBmmWmc8VZ5
67h77KehOKEEEpUoWlpiBhyY9B5YyC72gROYdY4nqZyVh0SlidoKAo416KihBBL2Q9MgTCm0HiBU
r1XXfx9t4EXJkNtgQEXyF4rk75YoXrNFkr9p3i0pnOZiYvh17rRVJJX67wT0urump5tp7pSP3g7+
O1nlHsj7S7/ntbLE+u/jTUnqlJ/+cbxpRllgBVXn8FXQQeMWLV48xYxZAk/VfY7oaDO3d2OE/sq8
QpkETV6uodseaW6z/bb+T0eYjmi6FFL45gm1SHUx0NO6y0Atewejq3xA7K98uA0pJvcisWoZWrfz
jfBztRM73Fan/eEwf269Hu7v+yo4xwuBxwjeUwb+GChAe+hkhSRICh+DQA4flWRMV77vYMwkVqcN
hdRGCKiPEdhzxqaXEMJB0kc6ViBi6K8D3Xb6xwP1uB7P6lD7iU+UvAW/Zx11F6Ea5LnsN6HYJyuN
+eFU9a+06byL5qC5GyB8f53q+9GXqVLoXqdWRvh1ajxA8axCCRBNMfxx1GmqO2j9cvoAAWhU+n4Z
Drm/84Yx8amxV7KymFKEKDUMquEiM/iSPXxJNv794nS8LOcUvx3qmpZMacp0PDStyVimRfw4USfI
udGhyKAfXfwReqXHRkq8EJd/a2DCHKI6Ns6JbYbLURsAIYqNCayqo+ErX+aPYfnNyYPqEG7QUrG8
/DkqQzDfcn1S4aOQGj6rYtTULfBrdoZohVi1qzhZ15YeLXzUcp/LTvPmSOWjdNyN2TOiDJdYpkLj
G5l9GeOXaZ+x6z8P0UhKA9IQDGntoStAy+4XTuxrSo39dx9ow8wJYv0RNs+wVJNa22GhbO8UH+qi
nGa4JiHPjgmqZXwv2d35a3fXD4c/dwcXqSzTBt8+ifpF5HXuVlEKB9hiZWfrErwCVyo2JdfB33Oa
0MYvIx5wBBLzqhKaiFAUAjXveNol5ew99pbyMq0hHDQeu1wHnCSr121i7Tozqa/bpjVNzfK9p/r3
MRoWweBnR4Ua8bGyB7BtvWcne7FhGhvFhtsUFQvgPbKldMfVr+PTjGmjLOPfY2n6ARKT7gjuCA+f
SsXGC95oh5iAor7aPRyRhjjTNDz3Z1z+kH0n/IgznkN535bnVtPVJV+Cv2t0KTvEDmbY42h/2Sev
32NcqT5CsU/TZtU6LxqZm1MXACEpPRpIju6nS7RfjXNntnTQCuXZjoxJDtY4UwNFdap2jp04H4MU
OQEzRZt6mg9h9zofEweX9usId17uBoAG0VMnzisZCva2KXJ35omzzkGsBt8iCxaB2IrsK5oQEUrw
09am+zCKVL38PsQ0apCqb4k03Nm0j1IiGu33VYAHZHZuadVtMCXWSJha7ZDinDwHbjvOmt4hD5gG
p8207fRDlRpnKwUMMI1PQ9PG6SXB5GJbtLgWiqm38dvcQAVeX6ug/aet04br+0zr4uiQO601TEx5
7eVD8SSjsxJRtPHvxJJXwp35Y0nCOOM65pM8XJdkLc2emq55Q8Ou2iFhU+3obVQ7K61JCKb16+I0
2rUSo9OilHfAKGVl8x+snddy3MjSrZ8IEfDmlm3YbDatKDO6QYykGXjv8fT/hwRHoLi1Z8eJOHNR
gczKLGDE7kZVmrVEkmFb4vcuYkQHanObRmkJNST9o2C7NA/8zzYPld1514WX1MA2pM1Dz9HiQa62
CbETj22iz6gNEHFbKm9y71omNuN399iMt6Xk5tt9DS0n0Rybze2kHfTl20vjdfxxeCv0PahUrfGx
jSKZoWbX+EgrdfwRn3kRikXAZ5tZfLJ4pEY6D2d23C3dzJ6SFPfpbBX3vp1pN1M7PXZlX9xverka
e+9H3pT9DQW1SbAPvA6CqWUw+jIO9qZv0hFVAshK+uR15r3Nav7r9NTVz2DHaWb4vRjt+Cas2vkc
/xymEdo2a2jOpdeM16k+0Kgvs2K3ynqkv7qI9Tb9bhmx+/0So7n0QWzuYipi0lfRoaTxH6KWINvV
JKGuU9AznprM8p9cPbkvSjW+EykcteYRXAqYTjDIl8Eqqx9BArj8n8Du3vPDAbvc8okDKLF5iJer
Iga9YYhG4yQTopPZbaKgNxwAjsUFSp1X63EYiIJtytI3jZOIMsg6BjjR8FnyI1ZT9+HaLeh03uTc
1ctgBCZlJvb8ZJuFcyd6N+27GQAc5FK1KbQBWf5ajN9MNx6tAIuf6Mr2b4tGrq8aPKhWXHpfMm2w
Dr3aGefMDfRHtaacAUiljPA+Ddil476xsKLmf1jIGkZa2FcQzWbfa8js03IOz7EHrj+Fle65B898
vZo7HzrpTZZpMXyn8/NhAlp48ZZB/3kFvy0zIq+XMj/7lgm4bJjt3tw2jGZAdn7zGG90YiNLvLnl
m8d8c7vtaeRKntiv+uqY0nCyqt7dcbN7syLFfUrbLHU3C+kK4cCKiuSoHCm8sPszxR5H0fmTXUJL
CjEusQDYhx0QvwdwKu8sz9XuSmrUmY1BS0q9W9EDkqlxNqd17Soa/ODMfvIcJrFBAetivF4GmWsd
LF2jXeHXtUSUISsKNu5kKA6bTlaQGxu5sqtUhU6TuQN4ygW44yxDB8wSbV3ww2qhYfM3z6CTlcvN
hgJwSzuJ0liM3siF65YsV4YDf8dl0XX9PuJsOIEVlD45IJ+fm9ysn6pl8IGTsbTEuYiKJviaT/t8
AQHDuYgk+sWq+U+VOM4a6BZiulhtjj+XX1UxZJl9URMaSXT1PvH1fsf2qD+Uc0AVkTPQBgINjnZf
QtwILCD8eamqX+XLrJuM4TGYQHkaRSkusoxbL/BclnkjrusqoJANNwA5vIjvuowYqxy8rzTeAcc3
t6Og1L7r2LLJE4iLLN91fXnorFzdVdrcXfrCgNuE0OO5VZa9VttPKflRpy/P6jKsstGb/1zKlMji
JaIM1EpkNNAM007+dpQ88fev46kGfYi+5L0zUewof9upDlCuU2/N3l7LGjIAQor16qPyHVg/Ttu8
6N7cUuTR0yDeaYpuB0jQ+CiDDb3jBZi7i0iBUhU+nEbdk565bFsqH3z5PK6SA/2e6t5T1Rzo+8nI
LnRWXihKQRwN8E/p4Ziu1AKmwjR0lMeM0uynLgExw06GFi5rdDKYvR2dtSr+W6RiMaOFh/Ztwo3i
tJnq5tfcqcyHzbLNqUe3Mp3SQ/xEXykBcIYuLDciyoTK9wFYJp5F1peJOaSS7L89Sx31Cm3d9bw+
ByWsQbA+M89gasF48TPXOAHbRk9f6Qb2uSsUmsvMwLRoVWCYbVpOwIrn0oPYxgS8sLfObxxkapVz
IyzBJcw+i26SRdeZ90utc6Ldhje3kvuvjyJPJUZvbioPUddgkoxO8rnxw5z+7Kj6o51i+AX4sXkI
1II3PuTJok+rHtjg2TNOzaxCsJX/DRbgDE1yDYFhkOf7efGGuby+suz61VvTlY9iDhMyeKIQdk5+
vmttJaquyIUNt7Vcqr6+REiQy4TgSEZ7R0U1PMptxktN/RqEtvs3Lm0EoMBus3nvvS6UeuFfvKDT
o0zLbdaJTbanqOa3YLnjdtufd3zzpNUUNgdg+EuyYgZ5h66sbic67oE1rDjMk6S7Fl3e0NC1mYi4
DZtJWVX4bvI7myr2RtqgY0LZy4IyeGoH3dg6yh22qW0dC0AiaLXC5rque4pPrYwkUggC33XmUeG/
L6GR34+GEe/XeUPT4gcbrMuTixcE0wTwafTlxKizAdTDmtkySB6a2G5NAHCm06yz412dweUjRhAZ
N3naAo1swvvI2GvRbQVt5B4GkSVnsCjdWMGgp0ssPJZivLqso2p1MOetllQ1R7dqMvwwMh0CYqgH
b2VYV1ht/tNrXWHVywq9vU96Vzu/vf1b5/Uh1geSJ044Xuxn+k6rlgySnx292aKPVXHyu2gmWRCN
ywegSf7o6WI8y6QMfjyah7GuYSKwqHiFK7PIoZalDn+aotWDbpGIf9O0stWDmjTkddo4OwRJaV7N
g1lfZICJoLnYy1DVbkf/x3K5zizWCh1MwI9FQ/vGR6a1tu9b6qIX98UybLD8/UI/l1wXV2kpkqco
tMI4eHHQ0wFStAZRUZ/PNPHye2cZRAwH52iTgaAwb35ViV7XjezYDTQQbLYyIXZNCWOoOpi3cWL+
5bmzf20t++0QXoQ7ubJtYCVKd4TG4ueELnt3vSqHM9yPN8Qq2ac3yy5+vRSfqeGLK8pqmRld2iCV
aFA+NGMc39VafNKWmopZtbWnPAhJKajGx56Gwie9ik70wRof/ajXngDbOqmLBGT4Orf5/bT86edm
FhXb6SFTyohkTJhZZxkst3u9GjPPfKMrQxWGEFGKTeck2qEhSbXTHaMbAd0y6rvcH6xbzg+cyZBE
Vc/t69Wm4zfvs6u58UnpQwBjFot3Zh1cJvusq8adTLy5xVwWX+rC4ef4qm7NZzMOAXavaqCeNABe
lCYD2rI2aY+ivpf3lKF8NdRyDe1utmmdzWQyaCQR21wbjF3m3GZR39AbEoN9WHZAN/t5+YcLsEwY
z9l3B35EkDj/xYJuZu+qTO3/vsZmEbU2m/BmMKpvQ0z5dewpOv9yERkcolIfRaQRW73qzV7/2KWl
8X62VQmZbcb1Im7GMruJsnI9lMZHW9X12803+TGDD3uUD/r2abcas+HVn63fmHdfIPgA+6uoKnJo
an/5BsHS0Z6NLLmPKcq/p+LS1rPiPsjib0aStSegdUAOWsTMadtTCH6hupAjftOW2Z68GKiacJnt
F5OqI/H4Tidu1lQQ3ByyfoQCF0S5oKhHcpJtCKnorNHUG9XWuZvs8KiWsErJNLxH+9FtvA/EI12g
NBL7JBkwqodePN1xH5s4Dl5iqzmKuo7D8JaKckgll2zaf3OChM86EAgD487s8w8OAXQJ2VR6nH9o
gmlJnQBMW/TUcGkglwPgb/NKMyPlLptM/65KbIeSAG1sT5o6/CE6GTaTdDEepx7SVCu5XR02O6uk
kcOqsnm/6TZfNZv8G3V0LqvbbCjpTZN5DwYIiZeopFW7i2DYE3HVpSQyW5POD16lbydkdjP+nS+1
JE+FkpvX/9VVvLabyXI+PZLXI42fv11yeQgx+51rYtEzH/PLc9hmt0dUaELc22oB02nVmHvDjiH5
XX5FTWs0913nWmuhmsyKqC2/nJsoZWyb8f+Tb5pH9jlT0r9oBk+av3Jb1+GMqF2atIEFsJrZOr3R
gfWgU97Iq2AmB1EYUFmZhtlSbYNbGAHgPcE1sEvTop3/mIgTzBEs8oGj04pksI3KqFQ/5mqv3sU2
xWtXw5SqdyK7SXfO6V4+i8oZHDrCFzsRoVgnxmCt5p0XA3ggehnm1BlA/qQPdlnsnaeIdTS1x7Dy
+SEA42kXGgCXOL5l3QLtn7F/Xi6ppH47bDran8KbSuuu5z7KARz9abeZrMuE46jTV0rUQR/nOxU6
pdmh1HifQPH4EDvjM0W54Tmn8YrQyaKbkwAwbDsoDzBkhA+ik6HoLfvaTRW4DjZrBQgkQF2IIKa+
HZwSs38Oujqkn4qlZJBV3MaxoGsCeaPJASjtCaRQ7OxkL+XkfCAXFsHghlRZYb8PK0qZRSzswrzh
SxfsGqPLXszRaJ+yvoeHonOommxIgP/qWk59fS22fRe8ddVA7BNXmfx556lWwntINvIX4mDd/p27
ystuvbOxuNdj9+bOXlc5x0TJvvZuMgF8wmBG3euViIXujO91YqKN+nfgHcrjf3UN/HIp6/q58rZ8
7UfV/6hVc34l4jPZJeiqroIqqjqqbnnvK9Vo7tQGMy9oL5Z3KWA2FGN42t9lPZpflwtXicyvsWH+
XUSh9ZKoIwAyMHreNHpgPIe03K9hTghGHwLgwT/NrV0dlaG+rirwjXPHDO5kqHUbwNgm7F9lO6KR
rw3TcpdoUbjabNabbrPzg6k4aLQ/7XqPHy/OpSDOtG5+b8orTS4dM4K3TluwaJaZbnkprhPLqzSq
aUuLgLqQz5p8EpK+ty72aH0nnZ29rJ+86jO9WN6zCHoGBIoeVM5ZxGzwumNRO+mh0Gow6KGqOqVL
/XxVOg2NCVO/i6WkIVgq68saRl/dbO8q363v/r3K0P4VfHD5y7FjsiyILkwa7AxhJnpDoVhFDkzA
tdI/KQV4coOSRmfelyVxEsP5XGbKjRFM2XdjIUPgQ6AdQ7WwE/rZAZyOG+d5rT/IfSpfgWB6pqyN
+gOQtt3b3mrgsNbpGQ+b8FGuwPCGhjxXEzrswvDRXQaZsFJwpaP5wetdsEr8lPsMTg1W9OJvA74A
RlIVfbZA0D6vomGHypkE05Os5HTQPhQzb3g5Q6mK1147fQ/FopyhSjL9D3F/sx6wzGR6DKAlelQL
qweRM2pPq5m4NQN/kDjRiVBxvLEfHGV123z1xc3Kqxbql3I5obVEZf/9rwLx1K+lny5ZeFW3VfIL
cEK5fLd+Lf30RvB/I9MIn9IZIqSu6WCDapI8Pluq+bFMYmqfREfoDzjDqoDJmpLd+NCGCdDdsQ09
rhYNN24SWlUMCXEKm4HSRI9ZN9oPQJsHua/lIFVTMKkoo7VOikWhGNGj4RPAcHv/VlQyGH7ln1Ki
dAsQRvQIDBm495NKsV42RbDdLUoZ6jIzLgsTDWE97mHz6aYDVd+NYNYAqlLkn8Du5apwi0+gvdPm
oVb1J2pOIB1xxubTOCU/PKPeSxnMsBTEjH1W7q0A0CgRZUJ0VNBB9yw1L+Zcw4us0wSyfgbB0Hv1
EXOrKZunTfdunaAG3Ufs0iKzdr2dVSSws/GuKmxYCx2/olDQHe7eDMUwrqKYhLpV0S2Kh5iI7zwU
cF+1rfa6gielh9sS4jgsa79x7NWYZvFlcb/hpaV4WgaoHXQMzr2RzCpASxRJDEaRP+SA3D8ozZwz
jN7JbKofopdB9GFZTLdprd5ANAi1pgsi+EXTvL9C8oW0hZfxyVzi5r1eq/dFEar3bhEZVJTOx3d6
EX2T/0VXqfu9OMjQLq5yFejaoWpU/1Yd3JhIEwhcThf6YDCGExzuFIwcQ5c+69zJEZchg/uFY/gy
vWrl8s1UvRSCtpHjHEUJVhZMCQM0Xgq74+emIl3VWYAOGdmgPfeQKN73U3cLxQgwziApWvvGq6Lj
KtsgULRm0D+K7wC7+6ma6CmuqkR7TlO9/h9tD+8bFPn+6qpNLw4Eca4NiTCdkG8bFJtK5fSVZ9aj
NU1jAylm4JqXeqwt4F0A0NM1oF2CUjE/FHAP3A42GWuZFV1vBkcOVcl5pCoR53jsb7Sxbm6khk2K
1lrDMG6SdvwuFW1bbRuvKwjLVB/g1GS2jfBqGpbf0Z7woqYE4OvFw7eAtnywjxYdVHOQ8xRLTNAd
J5AplysZkgBigXVmU4oNUbHsTDr1qEWADkiuPFIUDppV8ignrwBJ5iTDrtjhg06R2Dq3SI1pWtdQ
TkIzmtgev1HKcFKb2ri3szqmU9kcX/LcgfiOk8SfhVVdZlAWCS+ANRFE/d+OP342csP74qtE/dsq
6Z6JZCTHeSyVC+fO+PTvP8bvO1iWv6XtujZQlst/jvPubxmAJt/C29k/5XbH7gVkPP+Bwhrt4Ltx
d2daKYBhgVef6jyvHwgRzOAjZuknz6KV2/Oa8gebzV1vkk25Mob8XIwRBU1UZoKeNtIJrwGZpE3q
N8exwGZ14/4weB7sDElMqaGUC/L1oY8aBFg+FUEB7dBSishGw76sRmCk9YeAXlEw9L0/i8g8pEla
/BF0tLGnIAmcPV1pHnvY+65CZYTrNhn7/Rjl7KTqZSflVvN4qcLjqsqWzZbhfPr3f0We+j+adsFa
dlCbgG7YGo3Ev34nsqmOytx0g88K3GpXkcV3M4o+SuhMr98I/8xI4AwhoSvho8TU6unVbEx0MBfC
6orWzeKxzfiy61FWQOTRpnson2LQBsfwQ9vaucyKZFVe+IHY5FuLpOlXC5kUs8GY0n1m69DFLWvI
HYoMgNvuWNq0AY395N6WPmUNR1d6geQyrILryDCymyxzxvrKdUdn1ytwrk69b556b3bhgte7dFf4
fbyz+qk+tSL3yn1cec1T6g10EVqFAWQ7UElS1jSU4GBOxNUOxlKeFwWlA3CwlQKyQaFU2ljPELxo
hzwGhR9eNPBqCg9o/bCgqTLTnA9lFWQ3HpBu6+wADdCz0t3JnNh7BRm1soAwcDBb94MbcT+dli3w
5Z30YYrLI22V1bkjfnNW6qqBE0VkzfnNpUzVdEKd5WoCRBkUikVeL4dlFU9WkUtZNaHDf5c0k8eJ
TslOajWrV41emI/VMkyJOtBFYOzi3jOgMmHIsvCKBgy6Y9OiuEDT4t1YgRveFGlU3HnFxP7Z8OMn
CNIKjhj5+JEcnUYraNF9HerupRxD7y8XgJGkreFFKs3gWuv6h8gOGvLYWv3UNEFzUevxQSRICslE
O3otquCnlQEZGEQi/cM71U9HU28NwE+nlmLAvAcVqMou7LDju8nUvH0zD/0XrUvu7Ea3fyS28hy3
Y/Z5M60W0zwdPM6yfv8lMCLemqnzo15OFLmb3Bv6/EhapbmzBw4FupXZgJK1f4q06Zsib/t9CRCl
PUerqQomx0jmBVexM9Px73FhNBsHSm2vemtS9mPfJcee9OPOzk3vHvDRiL5YL96TUu+/tRUYjlHd
fuUkoFOpZxPgyDL40WKKOkKq276ROv8CD2TxktJWeoKP1Dmabet9LkrtWgy2tXsw/+/s0vwfa1OD
zOse0uzjXDTFsY0B3ujNLH3o3GS+cJLsiFcq2jd72AFZkH7LPM6FMzDlt25me5ATA93RqX50D8nj
dKjhyThnc6nT/8YgV6KToZ8qKwPG8D9t4DDobuZ6eHAz2MdVh2K+NATntxqsp6EJ7A+igoDyqYbw
5x6SU+uDqqX6oY1MkAMWsYJXkX4Ih7MRUlEO8xkwqXu3gVcErC8o16ZUp7008ApYRCJqs41auzhR
P6/TWQZgwCrKNMAjnX1cHGVGdOv0usaQE8GFZJT4bkFCimf7ankqm7hWa+88lbqMms3wPum04Y9S
KwCKV6Ifig9cu1WM3QcYHsBQVsP5xLaje+7cjCPTYvLramqjtHdNoM6XAPibfdBZsGJ65TUdnMPd
ZITlddo3p5mFvlHnPe0I/YHSxNW9bekllaxj9C2mQJUer/ETGPcgDWXWCIOiThLK0+4ao20vk6He
V1nLtrivZ+0u8aMTXU3FU+yq+RNo8sGDmWk7R6tfVbGRN48cVmWeYx6/Z91wijOL0FhYadZt6eX2
rVzJoHAQgfcwjPcTRUtvJkS0POe7Hka0HDmtc5d0Wb6PcwMgdOJXd8YylGFKYknku1mPnTuxlKnN
SBz9ZAKBP4ncVx8xtMCTbKr282RBcWb25bfYKiYwcGz3IYT652aYovxamVTzQ6RQNB7Yuf0j7e3V
NuCs8cY2srXm2NEWlYfFmXLF8U6GNQzPAWu6ogCeQiRmRSez0RLDD2W2z21wlYds9Y3oU6B1GKD6
CXovZvyxXGesqD6b6qBfW2ySzlXoVGef8pcZxhAuU0UptYNMyaAmSgXEjZia5av9Nv3GfLUMgMw8
NB15TY6t7XOvpu2zmkF15FiwbooIBXL8GNnqTiQZ6rTJr92KECRkWdGOT59CXUxkP+gN79UUMBE6
qNh8UvreXtwkj176tKV2Pkv+AEc+G+Fy5JeWMEiaNx9jBxReoIy/wsc+7P1wKG5nLTI+QFH1QfQa
RUi7tOiGSxv08XNbqd+txV4tFzgiV7HvfJdi52JcUvvlaH8dhsi4CucsfxhjN37I+IWlTNt5LvPi
xu0rny6doLxRJ/02NgL/4i8qp1D9yybKlejoJ7S9rFmtxFvsZdisKnuiSF6tT6L3itq4tbP54Clw
O8RNHX3zlf5U1V3xOersiTzK6F/T1T19ckL/HGX19RAY17aRddn3+LNfef5tl9vxyFsnPCQ921dF
Aaw98Nzuq14cR89K/9TVMTnGkRnfsIvLPiUVpLJNkf1pu+EHpa3unGT4TrUvD9Jq5vM4FOnFG/s/
+jq0nttlCCaObFPZhce6VPZUgsKNoyuhcqvMpr8OQegthDmLHCpNfMhIiBMA+mf6vWEk5rSd19ep
WX2PQ7COep2uFlcqjPJE0/luuzDISH1SldMn0NPGvCS3D2LdQQX5aj33mX6taIFzVZRhCSzUg7XW
9fMQ3i5hywL2+q+dAJ06/MeM9ANIZ0DtTxE7xPpBfB2SwkDD/bpWXvqBRuydFoKyZ48mlquSn32g
4IfRu/Gb9mj3TvpdVSLwP8dpfuxrDZqeHCYDA1SYP/hVPEpNqVj4jkXjvF9caE5sn8ueVBmlEcGN
ZijNswrH8BPtOkZuwTvLW6E7ZdUQ7WTydw7T4hBrkIMp6t1IWAJYKpBxG6e9zLNBYs+DKVlEmZCB
TsDustnJVbp4aKkdsQFxoAz6uYpMbOLg2gaEYcu0ZhW3GiiCp229zU7cWr2D3moqwQlUH8HyGW7X
2jIyJuHBKAJjL+VprkO9sDrzm1LTd3ywkzg+eUCRfLYglwyLsH/UlCx6CVwIETTP+ZyZiUpUEnYk
Z7FyK4vYletpNzJLMvbWDxPzuZ4D/Unx5kezMdRPmuWCSPNrfgYEoB9wpLTHrojtNW/zJo+T54B1
ACRNNkdSPINZ/QjBkz2qk/8h07vqOuzmuCOjg8U8l9C2e2HxauIu6SDDsPtTXM23wbT0EzvG1zKi
ACNcepHDGawzyAPpSJ6p8t6PQ9jxLsxAYAjd7lsc8TKXWQrxOJYO5deC9pPVd11unRWPrnDhsIVE
wuxGmCkjPbihiAdKQCQZBlBc1qs4s/9FFy6zYjJzdsmuGn6D9poOkbooC771UM9FFVPrdVI456qr
7VPcOzOo06kKt0H4ydYDExIDpE2vL+I7XQ3nDYSk9HdsE73ZvXWTBURnT/V4RacmtIY/V/6vxkUC
OaSjG9ZejN/dfGpp2KYn80iHPYCJXRp/JYRT7Sx9TqklVtXnQfM+km5Ivk6V3e8Tq3fOGajVjyVU
C4Qs0hsjNb9pDfsntqWvYilQD/WCJaH/ozOrYaDwfcGRsEDqF7ff6QQXYgWkSEGngUW1PNqUexyS
Im3X78lUQwtY6fwrqmF0Xqs42wx+7KYcXhywdG7l6ySDuAIp9eoqOl8x1cvILkScCkBCrpOwhyWD
Q+khpmbnulzy/rMJoVxRmu69S1nap675Ui9qVyHKHBk2lLN1ZHzenEQkOvfOCT/dqzToyH7GtVwt
D6ObvjJ/jCWFCmtYTIJd72JhhBkXnsd23L+b2IxXZ2Up45PA2hozM2EMa7O4X6h5zF1JjfWpGBrr
Jde04ui10OCEsWW9GBGAA6Zhwnu2iGUUGndO4P4htho95M91Cmn04rkaTNbBz6LhaV1sUEPaDvjn
EPH/x606wAxdaAS2aO0axpXgbR+CrO3BESyR3Z/xXLE1lAq2O62N95urXImxlbDfpCnhdpu0JEgs
clTG68Lb7Ob6PQsp7CjzDE7XnFz9lQFm1X0wF5A01hG/1JZx32U+AM1ySXvbuBuKoDuI3eqSJK53
UQAjEJ3YyRBQTHZvk9DbJVnTHd5N9PVCBPnPPcTWj3B4dx+ZCNr2a6C38T1xYeeqKa3xsn5Y9b99
NYk+QWkRPzg9tJryKa1VdwSNEeZcseJl8jungJgtVCHDX/XITjZqAiDvJ9O8c8wRAFyrf6E6sH9x
jKvOqONVqIfmW5cZ6VI42L+weQe+kxjMtYg6QbGTrLXOUtYpa4kkC7JWCovei9wrS/pvvVtTP657
1/5cVtZZ47FVg5/mFU3B2qd0JL50ABXvlHBobsq2Sz6C1Ak9ARC115kRJh97s7aPlkXPahpqMUjJ
tXLqh8akBBpRhSrwlkoT+B4WUQmd8r7Lu8/iWpl6/0RU8SiSG9DqOx7FTm5EUPY4lnUBwFF0np0h
eDS7hu4sVXsK3UJ7ih0F1pIiuQfPSnsSvd/l4ZkG2IWO+B8zfgzUa9d0i53oEqsY7vLZPxcLmOlM
BvFQLjskddkXTRRvlaCA34mqa+n/pDzgk8zJIE5uVDgHEUmENM8h8E5R4rp3Uzd4dxFQf8RjY7eY
d32ucaa34SApo5iqwkXkSaA/2UQ3iXZNpusf/Vi7//fQLPHsX7ONjms6mq0DpGiammXS7vdrZLZO
WstO46H+BP7YdDDJb/L6777UZjSeinysj0WlT19Lzv6O4XRffMUeTpZW1Ueo5OavNvbdT/tN/6t9
tazTB8X0teX9/c5e1v95X1nfAxx7tV/Wd0on2ZMoHeEoqvNLSLEeabqg+AKxwLwfUm+8SWhd/zJa
5XU8uulLZkfjQ+2Bcih6X0umY5wloIosXvpc/umA7/vYl3bxIQQbHeaH4otBOu5kTnxwRQQ73bka
hxIAa86Znwnxi3MYTqRsgoUCeLklCFXgvtKZSb295p7ZeCl3MlRlYd8m0AptKsg6SXqJPEzJV3h/
abVdHN5M6PwhDrPWllAaG69LUT+g7aycM0GgqmxWrbkEd9nIPlsqkZra76J7gnH5Zw67nIDm8SPl
j/Zjr5XPotb7uDlPhCvIuEz554wusEPkBjOlP6xB+He4CrIwuZPZhdgjMX8kda/dvqmJWGskrhyl
yO41qSGkGnwRHKmJMLLK2ANOTFfmvSP1g79zKJd6wqo2/86bvlWueCGC3DeokBjTvEs6zuA4Vvim
DjR35DxSDuuwUfeDO72G13VRxR0029CLT+DXZRrYMos4dQWtyrXKgXsKEb3WeRRrWb+E3viw6bZ7
yPJiF/hjeBf11c2mEoflPtE8aPfr4633AVBmfRYxdhx4y/K2vgcf+SktvfoSkIq+5MtVR0sgPNWL
nNoTRdi05ESnEMPNZnMR3Wr8c5kuTCgnVsvV4c16m11Oruns9uC9h8Xs7vQGMESVnjuY5MryNlBN
uGx7qM9vZcjN6fWqh9qnJHj0U15sVnPxFHOgoEro4dQjkDvm6Z1eLGaOIPt//z3SzP8AvrKg+iFp
aliuZVuu9+73KLLCVvfGERJzFUCmeucW8Tdrrh229WQAJDMQTYp6KEGO2G+pAa/UvDPAz582lVyV
+l8enyBKQP5JIlCjR3mcrAh/3pi/5mbjuemuTZiH95KHpfLZfYw8AJDnIa13kQ1OAlWA/S0ZLsCj
f2NMMdHeFOPUq98a5zBZdKTiCSCSvlgAPmSIKj0588581UlZQm2S+e3SNrwSNJB3OhFlQnzFTpb6
nW7zlXsMBdjfFmVa+44eeKAXKDlf4pSFBC7jJa4pMkUl+c4mQXIQcZ5Sc96PXrO6vLFOzYGuWDH3
SH4eiKaR/QyXhX69g6y9Or67w7qEKEE1ePVjmZ249L76Vfe7b0asQODX5s2l7UOi9ktDwVYnXcy2
coSxa1o7DcBSCF+bDrqxWj1sODGcvdkVwXVsU5/Jlzpyr5cFs7LSz5asD05ncL2tIzdI66G7h7dt
1ugzTCuPQ5nRhR9kKNTqQlV2fS+SWOiK+WpRmXb4oSew8s4i65oP/+P7opsLEtyvSHE2aSPToejA
tMCKe4cUF9q+2rDnbT9pPV2vQ5+4txyNPoN1GFyHKRjIvk684tukjTZ8hpReNTq83YVSwx6vhh9I
a4FrD0eRSKNR8ORtWuygLBlPonMXC9CSVgvNDKIPjsenxKFq4+RTFHb7+lWddmMau/d+5fzdEPP8
3JqtcYKAyNyLSGNHs1fMrrrhBA+kSDIAjZVoDxpMrJ8qdydaW2/d+0nX1hUS6g5PjkPFsEzKCu6c
VZDJsTFuANpZy8t7n46bKs4cSL2W6nORM613dhLd7vSlYL0LoI0EWOqqWbqq4yi9zQxl+GxEFdnc
sINHMY6dJ/DzXi0yDWxJQ4+ejEY9QxYzPprTbNzoZfW3XsZxcygzCNkCtvyKv3Q1WlOo7yxvQWFe
jsfjMpR5bdyUcfveQ8+G4+u/2tx61bWSa8pD7ynlBYLem7pW/AcZRN8SkSL+rKh70U1lpayzfmjR
1lIEl03v0i5/zvP2i7pYdX0PIVecZeBVVul1b0HwmutO9WwkSfWsJlZLj5Vq3dCaXj1XEfxvfqHd
T/BlPQKuBo/gGHfXfq4Bp5JV+SPfUoKwdngRi03fJiMQ+kbVXYtZ2o0GWQDLPrSgYezjRme3XJTp
JW/DnNytZ3+peZH2nhv/mIixXk1zG72QXpyvW3M5G0Sx9zRWBt0Ui0nixbvAt5s/ZTU9a7w7W5/S
Cz+T+SFfVitZLeHk+cNoAKgnpx29pJZCwD+rfmhG87VXIAcb51n7FPERyaJM+VA0RvAya+au6DLt
U+Bd9GY8zARP91M08QlchmEZ8mEJkEb8Hoo05u69MruvFokOW2IXdOlpnQWZy7gKAhoSoL2gnvvn
UpESvtA77p7lPaTTWKeOpIC2t1IZ9ZTUJbVBFsIOYBRXU/BFLWr3tChZZMUqLlPmX1bx5zJeYzow
GC0mflq7V51tGdfbsnXu06JiK9c6qZGnwAcljPZu9c/o/zi7riW5cWT7RYygA80ry7uudpqR9MKQ
GdETBB1Ifv09SLaapZJ2duO+IIBEIsGSulhAmnOycutqkfbPFKdPZS/Gj41MxVqAvO/a+tZ0aMPM
V6/L+0UFH8J/nDh/au0RSGy1Yzi7dCx/NJVVHyhUE/W4smk+aLgQsqFmADXDfmjwUkk61L2sXPzN
BRkyQPEHmW/9Mrev+A+yrw045U6hPT3gGGxfQUVlzfIBQb5ta4JKYJmgWdyTUD2cgx12MUITbcv2
I86350WOin52RqEkeAlgdzEkBbxN4OEwg0WXVAxuG3BBD+7mbiI02mcPt1t89X4+Jt5nwwPzvtzZ
1mO8vtIE0JlR1SJeQNNx3Q1rHNQVlODP9fTxJ+H9U1t1friT6+kedZLpzTNXWpIfjab4605T5I7c
RK7n3/xDkeneASp+bwtnt6yYP6TXr5NcisvyGRGCNU88BUak+j9Z5FYd6QBeivIb42QDDl2wXPBm
uv9fmMBS5FWFcVqMFMjuvABjbr38SyFukG5FDnpSoKmaFy/0v+hdFu2LOgbvDcliaaBbfwREjbyQ
RMaNeZk1WA1IUyCTfiTZqCZMlHqAhLDSwWnF+mQ9r6eFNP8fN1pMhB9oMxLMz6Aejnq0IVKkPy4G
h6qTYKKM8drzq+wiEhwyg9L4K/ZVZpYSWcB6Ad9vD79r5bSXDGV7oOxNouxS9DFIvE0W1qAc9/3g
ZormqXHxPQ/qjOkbhuvv28plunejE4CxhsO8s2G3uNbRtGUUFn7FmnmUg5cTdWP/OL6d7+ilTz8E
0+BtDJSTXTv1O1D2nJ+QhFNP4liJ6hOYUtrH1Odvjc6mx9KrWtRh/pQPvZUBCtLFyY3U1ETua9a1
QNBBSWQE9LFRNWGFjCQ/QeH+MkE7cVZ/WjahBWqnLpqw0/vmke8DqFftRNZoIq5deM857lg4yyIm
yqfnPAGPKzAXho0VRkj5Z/qbLIqHA5i25ANplM44HUHqAKYgtYCaIQL9rs47sadVnhnKpwpo8+8K
qF+PdkD/j9aLzO7Nv40u4WcSaTXwPwuevdKIHqhK4IfzAD8FYtqfO6UgWR9LBVygRD1j5h44LAAG
UENaJQVwkvwyLo4ky0I3ug6m3C02ls+4fG63Hw8J2IhuPmOhdbefMWS6IvEyxJ5WaUh2e8JLe9m4
Msxop2VxfPMZh1S/+YxmbJtn0R+QwiHc7lTzb8x9cUyUWIcqCgsIB1YjmRlp5DQGcWwIJQzrbJiS
dcFfDeTxn5D6jTjurE2KoI8Re9NqGAoNjOm1QYHfWPfVYxx3/UuL7xl8wMDJoaHvTPo115J9AbjN
l9CN+xf8GqJYwWLVkYZ+7LJD3jo22DkRxlrphbsxqqx61CKY05EUAmhQUALOysqcV2V7mqQdyBz4
zOcHaiRKmCg6EjmIE7pxDrZPFWKZgbWTd6Ec+z7eGBFI70lpjsZkHRNgz+kU4IfRj8D/fpCeHe+o
ZsUtpX9o9Xa/1LeQfCljWdQ8gLTdyfP3KhlSE3D4HXCuvFFDBglyPmkZbZF1qJoGNJiEOz0By5Hn
pUdKQ+apPu1tkGKtaNiXnvGMP0i6FZMEjg0rCJHlfIQLFHdhHzT2d/pJ+Uyq1CR2BdRoZf9P+qFA
Cjf06V4924+RcUnP4zkxCMrT9LlLwfjNRG6wlWNXAIUD+KwLPIybPuq5wyM1UilnrBsDkXSgqb9R
+r1fxigmoWW3c4uxeaNYd7FpSi1unF/xMwiYQRcs14YuzBPLgGNgNrE5N/p7j2Q0S3p3Q8sHhVhq
GcAWUyv+pEcT/74HmGWeR5G1O9q2YaMtAlr2PzwG6VUNAIHzyjwsH+NPO/5JRlu0OmAW2vT4P3yI
RaWucnwb5o+cWtM+9/nhP+5Ay6iJIr419VYcJkXVY6imURQ/kbroorr62IbWuCcRTd6p0UQzKjKe
ZW0Sgh0cwMGv8+y7ucUK9WiLRWUxH6Z+G5S12WzmWTL/74vJlq0D3UIvrsuT3D3tsgX1bIDGIT2t
8baJEe9Y64UPFIMAYLI4mUb1/SYGYfaAqgW70XaRWW20y6JS+9MiLgptpTEQoeVONVxK1dhMkxfe
wvFt2Mj0UiMAwSLzR05gmbTsZi/N6QPw2dPHVOfpI6h9qkKKJ3gdxVPml/pjAkgbNSBxNcr8SZzq
dxWStnLlc8t/JD2rmsSW9fhtspHYCN51ewooI52aTL3iIlOUzfpP04KqAymn3U2tdItYL0JtTuJt
vaYY/p7i5mC43PjapmOICpjJu05jqp2amLN125TV1xZvZaUgdTimS99rkWBs1VegGABgQWP619Gp
dtwQ4KbE7yVYlFh7GIqweAGQ4w9amWTF19wM2YuH+NKB9i5BT0t7OxYofu/2LoeErQH/uewN3qi3
vRHYrq+Nh9O20TbJ1QUXMPAhEZuthPVFEwbQEuq2v+aoYjnaRgkk7qbkr440syDKgIxrSHPWBca0
Bd948qarueC87vXwmeqrwx6UWVOSuXsa5sC3XvOoAWr21CLcpGaX4djEyY3yshZJE/1DO4DW3cnA
Ftj4ZfR50AGT71kmvNdO/tAYYBkluQXfb9CUev3geV7/1GvFN6H08TpHbj6CsCfc+4sPIAyAUwJy
4bceyNdjBkJMjX8qegB1QGwjb3qX2c6AvHxAhoJvQqzSyWYPPlDG1zbHFctLOvbQlLK0UL2Y1heO
wpd5SDO50kaVHbLBNV1DYbFSpBlU1yFM7RtHMkh682xog2QqNCxjhwyeykMqhOvt4Vv6MtuqS0QL
R6d+Fa05HZwI176hMqJTtfIMuFy6NmmfjTZh+76p/ICG1IAVIASjX2bufV3Y6yJ1zXXrx+ah6eNx
Rf8xHEGyQ6eGVAe/DOn/iYZtVNwqDyGi4Mtaml2UyRTN1mqj/2FtA6Jp2cf2k8lFvZfMS3dwKTUf
+yFcF0id+4Kk0mzN4kE/TzGYsz2EaAKa0Fj1tzs4/svAcvtQgT1iY+bc/ZyMQPvAQi6tZBPmMjq5
flk8p4O14Un0AB6R8bPOkK2vj40Fjigze3LLBqkdCsadl1mJSorkbcLM+7eJNorKeYUXwQtlAW0N
OYRWZcUIZOoWMjVDJEuoHjVmW6MmpuXNapnIdfGb3qycDT8SAbZRGpEa9ZalNJx1/VPiD/GZtMKG
o2x4maQemAu0HZLiXm2QeCIZBNUbNqrtwRDvS7imQ2NftsAvCPSs868JH4sNk6hzrBPmX6nJ8EW/
Tpr1JKfKPS7yJhTGqdf7M4loOfXyEsSpcIqaQQJvQltLvNhcIfRAi2N+MJ3Sz1asuwhw78ALmpbP
QKNFhroJ4PB5qGQOKovWTjr5m0UmcQp0pejOLOvLZ1YVyRWQXNtFIdISgEKnfbeSuWCHjtXRCiWF
wwlPD87sKTU/tU6M3N4I+foNSEMfnaZNAGhjGJ+SyihQD9qmp9Qwqr/KUFuTXJ/sdDfGVbmr1Poa
F3AUucm/iqTUjnlvgdxIyV3gz6G+HLl3CLPa11roqEhNUYBl1UgLyCdw1PFi5FejK/1TZLjRBm4Y
6zNDIrY51sW3/5+GoWxYv9hoh6dWjO2cWp6xGrALOQqb4jnh3I6mT6jWZltdpZ/rXv7jv8QJHPfX
MIGn405vuTq4ZCzLcXUKI9wUe1eFbYGHg2UvXWNtC8AirMyhHP5ytMjexjmPt8zQh794Uw3rEDGf
Pc32NqLgteJKplmQq3/kYCG50iSfzHU4RvKFTzJ8dYoomMWywbU9rR5pyYSf03OpDahgQNbls4d7
z4qpYqxM2PA0D8aRKq2oEbboV2HFwMSqqq98OzEBpjvNGrTIBX7DSsObZj9G/oBsowrlC78W/3cG
gPKGohy3ywRdeOAo5816ma7pwEDXJTlFxWaKcK3R/Uyc2qhDeaRqaFj5Fcoh+5E92pZR7RYV6i16
tIxksnOSvTaax0X3Tq0mmzTtjRYIt703w4ve27bqMWxXbD23c/fg+wLgzLIRPXOmO8m2MlFDnyEk
d40N/BYiAMW3jp506SbW+D8IYaZ49UJl0ZsGYLHb9Xg289AFA7QeblB0UCvWXaM4jwg2TJ1kWwGq
gjM1duw94+KjAlsRWyUKwRV3Z++o+UwHOXIJFIBOs5HvBnhYeJyKEJF96EhClyVpaSAQFNwrjBFK
7PYkpQUDvOtNXzgvtdUkl1RPv5RAL3q1hZ2/+kgTGvSoeiYR7/AVs2yvQMCnzl8j4SEbDlD9lvTi
R0M1KP9v4Tqu25UchviRmkiWyaOWeE98SlAfmRulh6qCPj66dv3pTg2IIBpisd3137+O1j2/k6cD
dMH3HN/XTd/8vSBySiqTJUAM/DCJ2F9Po2sd4ihEvP1nvYbBjbfKjbl8o0ToSWnMBRmLHtVwgHjb
OgB+6zQXatzVdfSusA6K32bquQRwXBcDHoQs3KgnqgLEh28CbNkRXy0mSJFmSSZwJt2A15jPobVl
Yra1WLj/AMo+2SIVgAu+WfjTTqSybELLWqINiIA3NXLzqW/HECCz1sVPdfPJVY0FzLyDgSKboOqa
10Q4KhklAzUKA0sFMgg5EpiuNOKG351RgfGC0jzwW3QxQzSO5cV6WZBjO5QdW+GeVtDEfzBCCqIG
VzXQkOQOVEz9bmjwg88U2qGpUBGpEVHunYBYtXN/lZMaqppR6AjimkU/CUV2LZHZFkypXe+XCVqA
7MkSNMqVu17M0cSyP1jb0xXIv6stTZCea+CirB6iB2SGjXouhexYAIAuV5uT3rLRsjnSYBMNuF2o
fKI9Fx3qOfbU74DwDdZ49dmQO58eJ2BM7lAe3+CqEnXmUXLuFsGMu6TGIEYwjzQcDDb6J+AXm8fB
m8oD8kOCFhAZyG6ilpQWdQNe21U8otxvHEV4wpWW7WrdeKRRAaxJYBOriaTEQSOgLjVIzrD2KK48
3EykwLA8LSppGYcnkmW0WCaheRhRIiCVwUUvDyO4LWl8vyTtpH1MAdxBS2Yzs6LaKpd4ybwtfN+6
lqZ7cm/2KKNyxFXLjIZ10ozA96V68H6E02mwSrDSv5PVIJzBfSSfjfIwptMh1to+fUG+eRdEbRxt
+yxHaj+pUzU5UhkBZoxMOmtwrOphQJGu52nRabJQeuDmSCZG6EBrgsr1yrNmofZrTd1Zamj9Q9M5
1d6ppxLByB5XtpsuLgbtFpDZvxiplSVSIkPUW2QgXH6wkBi6vxEtZm0rioBR+f5stLhwxKM3OdHB
j1E3E2gNKOTKRAcmEDvdiBLil8Nl+YI4Y7HNo8oIyiEyxzWtoEaaTh6MIs93oVI0cJ/cRC2qidy6
s1A8kFnnFDBfcw8Fjs8h3Oj7RZSFIDVbV2XZnoX3yfOsja5lHkqJmfskR2SkFkZeBDScJunBMwIe
5nHyyzXJqPGlM6xCeLh3i8wrm88ii+sT/LMoGB9xt9G9sXkkDSdHXVkFt/ai37UMzrMJUaRFxmRr
Ar+zstfLM/V2la3qLI72pBc5MjuHkX0WqLg5FZPW7VPH29OIKxEbBqsCbkHWIRaIoyvNUGPRDHVH
J7UrRDahT0oet8DZAZzxDS1cJpbhvQkaU3OzLf4q2r1C2r/Zy63K+L/AVxn2HTSBZ5gM8A6uZ/me
7wJ25y5/BsEgpO6bwnzpUO2yAf7jY9+P4XegEu4TEQFSo5+AxIyUtAR8mIfIxIEkGLoHxKB4EmSi
XAMeIvzhpPqh8Grze1WaT6jSll+tuv9q2Gb1gFqDf7hsywcdJTpAZAKMSWP20Y6HyNnz1JUJDANw
mIfVFPhCiIOuF/yZJrphFyNN72kewAFyNBFECpZFjgdYsaTK+TZD/U7AusraZ50ZPtW2+JIzrzqZ
qJNKV4inRjhzPM1zptOcU218NvAOQK1zgpJWLDF6Xe44L7pV5UxuukLsRFv1YWtuWybCJ6Dzak+i
4F8cNxcnWdflVpdVvU7U2t/tA6/7ed4b3rA3u475IszJfaQli3nanfZQT11KL0Es1TEAXlSGKcPZ
JWQKxtuxQqBt2j3S/Nz4A+/sZt0kbbiLDQ4oiWgst7UFHH0aZvnQ7aUHLJRRGMkHJJOgwDh0TKBT
QjnqANymT9pHTVejIe+f9BH4VmqOGu+hBTTTK/VD8dLavDh2Q4XDlxx2KFG0j61qmOCoSJ1ylCWz
Gv+ZXYF3P83wegqtFZC8MZ/Jvtb3NAf/GjJ2kDfkAa0JBuZuNvVfQFzob2Z7s+bP3ZZ1N1sCNSop
Abqqtiex24n8v30zzN+Q3UxklhkOMyxAnyC9TKVq3lwZpxrFg3IS8sV1PrhJ7qbr0FS/E6BRDarM
S87UwLUDNIX7roNUsDNiR/w0+o82DQakhwA/+w/rrKh6GTmgSVutS2erf9Sbt7JTgTskbK9IiYxL
BwjX63ne1BCTg8sC6eCZM/wFN3i4lwbcPpQmqXV6fW7ZeKXMScqS9H+KZkQzGjaevBJwFKmRCPAI
VzJBol/tkKrni9k0q7mNahPCbwII7kOb4TsM5iLvCITCrzRypmZ8SpMyPohRA6F4naLMZGBZs/OT
Ft4oWsEHfqgbieK3TLcBC2MwJKlpxYtjA/BgxxF361KUMg4N+ORALJNHa2B3aMAijcOHVGvGg+6k
+In2Iv0aW7V+FRay1so4imbZMsHNoVhVVt5vSZYk44A/61Gd3PAbkY/FbbPIeJt/iXqcMBbRorvI
UMCSnRvgfTVBZ+KFigKYbrsoojiiOP37/Qo+1zt3h4FrFWMO/mhtZtu/vdUzREBxUhDVS0WohDhc
nuKxsc+4O9hn6qHk/HZIE2Bd/9J1qBKeR0o3SScAAi5ruYbqTXixbkR35lLUKgMpwXCKjS4dZHUp
M3rUAwo14jYO33l4iUX5sW009tpppv/MEhnowER8xRGavYIeeuskDX8ikW/D/5YYYjjTEISi7qoG
u+WehoD+bLfILpabRqudV70c7EMk4EokSz2zkm0b6oNWbFwzQfBaAGU6UQ31qIFLwT6CqJQd61EB
TFN3maEeyUhxWUdm8GLMy2Axsay7M4OKZLEBVncy219smWSB1hmti5qoYmguvorl5yXwWgecpebR
6OlrJ+7MLQ1bmRUPlqiuNIooO8BuUwC8xsMpV/kALV7pIEYGrgPN+pVAYqsDx7xiajF660tTAHpx
GDWkFnlRn4/r7G+zROUPKVBTRaV5wWEciT+G5Hu70T6SfGxrLNKptWXJ10mJ36xlHfVoHfUA//vf
3s2/ufPwToZjw7SBkcGYPWcF37yb06xDqbxjNS8jm9zASZFw11ZVeCllPp3KHizmoY48yXc59ajR
BxM3ZI+Vu0W26PlV3O10DZHtZZYML0M31jdTkdenOzntOMGzpULueO2ovRfD1AvNbkLA1pwnl/XL
w1bAzwoyZ/yXpxsAI3LziZe1tIV6Oqfq6tOy//IQfTJVa411b09HS5enQPr3dJoGY02iQWg42+DE
l8f+lwO4ENwvLuKiG/DkAd7CcbOXnvdfJyBCfdHzAm4zAEQBPNFOzp4NSBp3avq149bDxnWjdtiC
Wd1eg/0HCV4258k3f0K9uoaULUm/i745JudZU6ifyK6KNyKK3IOj20b+N8m0pJEB4DabjSt9kXwb
E1TPuGBODkBIUmtPgEKrN/pYObjUMLFvovrroKp0Gj4VD51qaDjGuADiVPS0iEjeDn7xgLxP99g0
bE8iIBsDV4G6fu6XZyPsVzS6M9k0uD9FzYbmFrOLViT/joEfiaI5196WdS23UWOPF1904yXEl+mS
VBrwU3qRbwUHnOOOZoao/Ucf2LQLNSlGAA8V8E5n5nj1WtDCkkreJhOYnatyWOfduNEkmNuRnV79
1LYRswX11wXp3jVqBMzS3fy3n5q7ihXPwBcROOWureP+gJ+bu4oVAJOCtw9gQi9VandnZLPvdXgu
Dz7uBbhecXl2APXdBTR20xJdbqOKN7ZBVbkoUQ//M/I863hq5bzccvZ4mzYHGi3yZe28AVltQ9z9
73cls4s69d6fs5KgnokYuPBiz/vh8tB/zXVj3BZMTEfgonoPFtKL16i1Cz83OYpIFGxVClVbH4D5
L7xxiyvEm6qucRxCrCz8bBQ1IDsL5zt8UAkrdJW54K4XFt+sD9NHfzOz8k6AuqVeyVJ71lzADfMe
KQZvmj2x+y5aoeY/vKUx9cDg2WhlWgH2BUUM1DAzvnAUDDzQyGFTD84Rh88asSp/EJp2vtPgWsgV
Bi8w5f4wSzsgBS3jKNH/zTqt5TY4T/DLn4GU+oONqtRsFaEG8ehbEW7yWhw9u3obPWdF5G7S2pqC
2AcrJ14kp3ySCiC3hMtPDQljjg/RVM/jmy7Cekmyrtt0BVABfiT1AdzCxhN15yYZmpWfgTGEhl3w
73/5lun+dspiPrIgTd81cYs2UEL66w1B5h5vssKvXmyDe8eQcRucdaOxzuK2hGc2M6/UdAafzqXv
bGP8nF1nNaPSwh0vpjaw0p5nm8FN5bpn8GfSkjDs3haDGaAMpNt0+8UgzaqN4Bn7baMoQ87H+3Ja
RJuhMq4NaFg7X9Ou7s/kVyb/M163/JThh4lE1Nw42o3SLml28VUDrh1ISjR+n71ZYU0pyqYsE3B/
irPJAsoN7muqC/+5c+SqoZ7nMLA50Uyhj/pOj72b2YnIm0CF5RxbYoSihbOUlo/EC7XYzCYO9hFg
7aPahYOkFM04+KrezW63oR5r6TyDA3+E8mZ/TyodKQ8uLiI0rvToH2lzIAFp/U4mLEc0bOAPrWpm
RghV96km2zQpEC+DHKjJyApqwfwqS7A8uaE/7ajsx8oRU5JD01xoWHjpCqlf/uvQ+vzJQuIQSntR
K4TAy7GQAJwhLbKhyUafbaRNdmtjmjJg+Fn+a+WCnCHS4holkAMgOWoL+dbUAFA+O1d5XG8AOofc
cTVBsqKqs7Mj2hF14kqHxjRtsNBehWEDRniA4m9GgR+MoXNwa6Hp6t32nTEa0pJUbXVn1aatSOem
qW0ATaHABaiS9YE+cTWGn5I+t64R08y/8KqkfxYQ6bCHqG4igFWjomrSkRagNzZbI0kfEMBtDJhc
zfscTX35iYU5oO6rqn3VUV6JpCaZPcappm11N23O8JOyQ2x42UGCWvKSIya6reo2erJ6Ltb5VLYf
7KozERfK6s+Z4b62QKL5J2pRgZkjsz0Y/BAksl3yw4erDI6HcwJurxNVfBRphITUGi6jub6jL8Dv
hC9YeqDyD+YK76krNjSgBUkPRDgkN6Q30F2l63xDJo4FzLbB5buej+Oait5j20sQhGnGNZXEV2Z7
OyzN2t2aflLs+lA2r2FVfmmRh/UtLL2PCPHbr4yLcGcMXrb/VUFWn0CQbJ1qomrWFbISDmfJxUq/
3oiA8McfhhH03HYH5y1Lv/ZRBEfFqJeAcxy/0nxq4rjhWcA4ovcB3gt+I/gc7KL42AysRm+Vn5O3
uGo/V4Fa/m0VSZZXEXKX7QPYjY+9mWnTNkGGDfLLgUYQgIq4PAOJjZ8d0J0JJBEfM5rIlA7Nlroe
bYDI4+CwgUIM5OgUw7qc4C+idVPbe/qFul4LBIRQt7eujerAWHP0DyX+aYOCe+WPje80xY9+qFIU
upXTh7S34EuwiuKSs8oDBkyqbY3ChlMR/+DB1FggcKgbsbUUrpBZw+XJ+nM0KaihqAPqEMlrvJDW
tSHYyhiQ1bnuK7kxiogfELkCYJvpgtp4aSZFQ0xD5MlNQdLkzlpYw/Sm+Mc1N/M3XTLidPWPxnJl
INz8B4KHEw+EZmcnPW8AK2FpcX7Swh6kL0pIDcmauK3dFXUFddsxvnq2Aai0zgclmeh+UAX4qPmJ
uS2BcAxKLSCAnNtypfGmLXCUUrJZKW7QbYYqggO+DRDOUTM0P6/3vEQ7FLhFjA6w3m5nfF4hO6cE
bZpCb04J2yan9vd+M3nIG4gU7LNfW0fNMBOAmblw4xIItJfnwPWk6Twtd02a9EcPeFr4q+ZegQwL
I1vDE25dPBVtQcWUi58+NdY7oAzoSYxcvWaodyW3+lMedetcdt6IWCBuBXM3rlwL6QC4/czjlBRw
J0cAF2h5QegYZYCkjxgALbG8dvB6Xamns0wPJob0Zhr6+Gly4G8of0Qe3HqkByYfDbCJbHwEsq5x
nFVIG0GJLSiEh/Nij+QaQPm6cXxYxG2BnzBRfUscs7/Z3axx6UH52k44QxQYbSYCSlFP87h6sBP+
SFnrlBrfxcWLkdbOZc55l4azKfUYeKMqR5674HivY/FIqrToXZ9EueU6m3B0ByBwWG/6yv5cfW7l
/GXUojfb2btt0kXiMcdJ23bEV1NLzdVogEIi9rUByWWIfFMjo/44IQvqMo+qunpwagRDlQKFtjVe
OjutkgIFTD8X/SdDghf+hVbB/T8bwnHWWVtI9Nh0YbQ3hoEhHNfUM4+rEoVtyS5E4UoEsEpUCd++
aKP9HS87PJ2ifU11becpTVIiC7/as0ax6SzcGQn1PK8ynG9zJIHSZYEaANEXqCETs4jw0kmuqIhW
DUgDtlo/uV5g8LC4ACd4u+Cnkx7ZFEqvGFGzgMAW7CGFcds6lsY3njJDWy7rSEWZIgPzDWV5tDs9
ZWoKow+S2w9+WvUnN+s2oivBDM3H/uTlplcFrOc+GB0RbjxZaViFOJWgO0tpEY3VymEAp/Q8cbPo
zYrhHXSUx5yYgvzCnyaS3sPc20m7l2DweB/rpkQ1SwOn+TUzcFZEhae7m4Ux685DYU+nsMo+5Cbr
jqMqKy5aHfXJI0BCpAcQWVWtDEyft5Ll3MNBHt9nba5WXiZSo95HjdGfF5HHwPhode4XsmGPSE6A
i9hsV77miS1tY5aKM6QC126n4xekRRXLmXqd00g8HBANvV7PAppgpsT1mqbnrs3xYrNTuEFJ2HTy
krWODrx2mFlsUe9ONtptsw2V6QT8oMhdTCU4wmyQjG0sxEJOXukXj65r4MFAcfstkdkm/1XD4WG7
n0YRn3Uw9AaWWbjfq+glTMMGrCpWuYrK1MKbqEKQMypsMJN67nOdMhlwbjnvqoiMlkjl3bY+kucB
494Kd92wbTo27ddBuM06bI3o4id58uBX3FsRa8svCgzY8RfTMa5v1UcAsjPxtsimj0ixB2pJHX/n
yCTZVpY2WH9Xcfa98hN36zHkcq4t12rWI/AOVqQchjaATd7XkSKNCoVcAvidn7P90lUWi9wdtzLd
TKk7gm2smB6pV0TfQRddXWlADdJ2wbjl1g1IEqA1q/p9tpdxip8CtXzqhulxdPzmkT0vpkjdSDqJ
OsAJiMPvml7iZrsSni1cPHJwaOhJGSKRAcxZagPR9TXyr+FICgCN0B/6BHw9FlL4Nq5CQKEGrpW3
3uR7eRUsM3fT/WQ8qpP67k5Ow/u1i9XFHslCH95oM+PGSivdC94vCKXhTAbiZNPQV7EU4DJuUUMZ
GMPk7nxWOsE8RiQkfkAxG27TSn1wLeuxifHaVyZoRM1iZjYLJtE3M52lOYBsAC2Z7kfWhx4cerUi
0zPVqP1l5CGlylG0e1asmx/gsp01aaTWuX3zMjR9v4+Vpw/PB6Yv1QuVzy+t8wpfLhTr0QTJaJYa
TXkEM0Tz1m0rutVi4E6vjMDYYg+uXC9rFwO9Vz1qU/m3kzUIwoSluW8YL56Z1Itn1LmvkBaQP5Io
7UHumHYgcI9ZUKXOJjdt71ojifJFFabsigleLUdhf9RWEr/gvLtxgJl/JdGiQQtI9m5j0Shl+2bj
XYNs/GkX0vjXXaoO6WkmlxVy3XT+AL6VTzYqMvc06pHeD25ONYEssXmiNlzj4HWmt+VTp68AvGSs
b64l83WkaXN91YbMWM/JfCztA+4lKfDMpzr1dlHc7mITyUeABgNqO1KVw41WsOgT8vu3GQBmP4AE
GT+/pa2pL1n8CUCW1moow+HUj075N0/TAIHr+JOM0uqg5VE6LzemCXGhWvpXUJY7T67XfSCzhcyz
Lcu7cEer3ndxTTu/IG1TC0ittwBaOP2yC8lpF1yeN6bvH1CU8Gkquuw57JMMLO8+2IJwhV3TcJ6Y
YqRN6YN+IBkgJh5tGfvn1vtmAmnjkaRDl5knZStG6ST8eu925vEQ5V0Qi0o/OLJ1NpqPCpEMHFiF
5hqvZdslR8cDjiHeruWX1BjwIgmjT+Og90igDaddF1r2R2TOBqSgt1JsQD5VHgEy3b0yv3hiaVh8
ATX4tCq6qrpokTHgbxyYdzQxar0IJk+3gVwE5lq7z4BtCy+DmJryy6+PARYHnDuUXD2G8nGfCynl
FhwdxzSX09XFf9sL82W7LpFCuJuHUo+BY8dAnqBmPXcKcS59id2UPZOkBnQgkNFEe6Bhg7rIPVw8
ckXDKkvsJ9wY5xGJRoCoBrruokKIBUxKkBuohnpa9330AYNNA5xv38QIGGYP2gAy6VHah0VOatQ0
vQ7qb0emO9K9W6+BQA9Qir2/XiYWPa3AmX1EjHe1WEaB/oAqCaPzd65j/lg2WlQ0fB+PYwPsBnq6
2Bn1+eNouYgfkt2imYDT4dKEx/mIO5bNAfz0IgARfRevgDv9Nrbtb2XIW+QA80rDaU3LXWPba12N
45bidGb9EK8Mo7bXJKTGThvP2Pq4c2c8Bdxxhlp3HFv/0qJwA9aN8XPo2rhIKrn7izzyICf9xoK7
fhjh2VGLQAE8fnadcUCwohkOXtnOxki+LHrfpMTd7ZSzUewSVbFvW9WhYY5x7lXlP4mGsBEb3Bjb
daJAAkgmYyEehgjv+XQCwS/Jkmo0UKIB2Ml5qJTdQuKUPCZZACRFA+jcyqraI84G47zoNUkpNqgn
wx7qKajxa108gNkbaesQsWia/o+x71qOG+e6fSJWMYO4ZeekbEv2Dcsee8AA5synPwubstjqf2a+
c8MCdgDbVjcJ7LAWvj7o/AuRoX+zwu43yh6RgnA6/ti67jNIrNy3ImTT1ipYsdMmWKV5ewl720CX
AxgIwClw4cmQ3NHzu07TYd8OWb4yRgN5A5RCXqKGJXf0JL/VhsChvtF2KBlZIZ+iiqL/rFzW/Axi
RXnmfdtsDMDGr7vYS0GMkgGdXI2i7FsTiPC+jYZ3cdkhJbiYkpWQo9jIibFVyxu99+UYyYsFbJLe
x7P+0ca2au82tbzwJp2i3WAgGOHZiAkquytjFk3fGqC/byX2CyeDITaTCzagNQJxBRCxGGsna8YC
kbCmPl0NOy3+1Q34ZiKg1J1Dhote5sZWd1uBnS7i8KQYxiYAk5+ae0HaZOvEtb/GaTnuyGWIwEou
DgVrAeaV2n+hPhukbAr7lSBdDTbWp15KPC3M3E9q7u2xF+sfGnUZ8A3bhborVjQlBVJZGTaX/iKh
EUfE1zeS0NwtCizb77mBt4OLh+sOtTmAFBnk2sgYC/0sin38murYD5N1E3lh4gPmwZhqCQl6nNE+
g7raCvFLL++lwqRku8ptzN9VUpwHzvNfsrAfy07zfoIp4M3O9OEH+CF/22Dv+u4aaJhoOjBeIS+P
+LYY61WgJcG250384qHWloKiNJvQ6VSjK/PLh47ip8vsQ6cs///8KpC5uXUGhOo2AlH2FKIvpEZI
CsX26V9ISo7fQxy0VmXqisuUWQHJk46/y1EMHv6r3Bur2Z7WcWztdh2SG4J3PkjTd5od3VPLojOC
9yF0onvqhWRq9lknuLgnNmGyVLPFLzGSe+qDNEeQiimdHHrrDFjbdjWhinw1akbyWiV95gPerPqJ
x/UpkVECRL5w02ZgtfYnAKl1eWr8lXLgHtlT+Ya3XrHSNKd/RooeoTFZP1h99GQZjfeWVANfaYDd
fLDsKttb2TgeGum1dz1Sa+u4iaeveZD9dvHe+RsASUHY/e006d84qbdfu4CztVnJ9E484uuOzdfg
WA86CjFXaW66r7U7/lAP67/rES+fEFkCkNQ8Tk5rfWO9U66YFpVPU1d129jm6blCwyD2H9b1Oo4d
s1ee9R/rGN2AdUpEYwyGYpspaqZ92KI5emoY+yb6XvqDGsVKJobC+7Zol9F/291o/3U9skNjLIDE
OhcQg7YHxumcS/QjgUddBMb1dNFWir+9qpx3LU0XrVaOwHoC9xTgPWPpHRC3r45lhUp3Ov2ivXjj
Ngm+9kj776TdAPtFXRDw/4IeYe1EszGJ2KMLOq0h0fBAVhPXbC+smU7zTNWAp6UWHeoIpUJXPuB8
24hKQ5ZbeZEi15lc0e1c5UaKrpNfWhSYXy0XsTPdjnwqV3Ro0Uetk/pwDXedg4ESSt8aDPte/ybw
Pbv3jNK+J4Hnyu5Q9c7PCkShbDZqM3z/kMwf12lYawlAYfO/wYuYHIamCpLN+xpsisEl8eE/my6u
vYZuUHdqDvgXJSe62Cpw7lI4XWgIn9N8UU/CRaA9GHI8InNrT4rFLmtq71gDyVstN5veWCwr0WhZ
nRa5kXW9XSE80nQPbliuKQCDL3Xkx5UYXqKeOVvexeVR2F52j9wK2FymofkRauWaIjBp46DEm039
S55EAHiKsxXVMiI9lifojP9TG1lmAplDoFzPaiptJG3TOsmZRuARVpSWH/MwMo4ZUhzAYDPeshL1
QzQSVvE+itSozwfjjUaLdlSyG7tllSwqjn3n/WKg2l6lqWliO67h3UvRGXBOIKBjC2CJt71mzgGd
OcqD5AkaYwUSrszI+f0IjlA/T9F25KgpyezCdu+i6AtJSnS3zWK9rFAAOslwRYoeWfnSMeoL+XDw
E4JFQntfh7wGN2JqHZpEXfaCSoDhRXt0HRGgU5FJH0QF4ktUau6mQwfCOY0b7aSnRog2Dnt8KTLV
jskN47f2WAz9tU81SLYBLmF9zPoJPEeoAymqbvJZ5LIDTSe8hM+Th2f2qAo8qs9aNC+g9Bb0d1QX
bKXdC97nxgn5KlAbtw2+M2pK9b90yfTpSkRONawM3dZPS/Wwsiqb7lr0eS1WJ6h7Cg0DNUzxHbEi
TlKUDyWiOTTDhnueES+il1XzzMl068tny48Z6T4skfHx1rGZi7u6Kh70qY1eWONUpzAAhiUP0+m7
kjd5FL3wLPoaeqHcDejkuAO3xvtlbJGURjQWTOy90HTFuvGucR0XQIzc7FaLbHEGOTDQDp04nbWk
AJIFx4mqQFxW1gn3F2s8E95XRedlvx35pzvlSVwfAGn4nKLs7S4zjXoVDbGzmafNENzRyI56Zx+I
+q8bOU0LvI9DxL3OwhEFEBr4sFdYpw+x3WAPH2mNT1M8gMYHGskI5NSAhiJJqNijRwtfh3pEZGgx
HTU57NEkh9ioMrlSYIcqErnRuWUDz7ho5JfY7Ov7oe8H4EMZxV3uZPwYKtlEMgeyygtQCKJJROZt
EK7ef8jcKvWAKAoqNxP1lZEYTsx16ie6NJwDrbDv0BP4IbPs/KsnsxxBc+AxfnYikQnmztmpxvfg
VGcuShbWOZLRq6xAlQD+OKhfnocs1oCzmmaoAlyEaGO1NmA1x8ZHVVhHHxdtSh5NMGntydhg0bvy
ZmoYnXYQBd+SnNznu90st9w8ogprsrz6HHQDpGseOU6LW1k4A3pdhe55aCB3nLVmuYrlJs5eckPP
jwUoNBFPxdQ0nOQp4R7+oRmrV2VdvbUaby9G3GcvgFt31iObrl3HAMBe5Jq07fSQtPWvzkZXwcjq
7gUUQuY6GWS6o2mrd6gHtAEmTlMLeLl3TWg+0owuevYj0ILoGSVO3YuFfS2AGv8sloH/YF4sVtwP
/7SYASorY9A0HO8mFOSgRwBVCvhm6G2IyrJSVQHTXNrIYDpeYOy4XSIi/KGgUa5xbTuWeOhfOU/o
DMGzEyzEERP8NK9I+tZAsU3PmnQbsEogxFO82uNYG3eFE3krqWUpivg8YIuhMRTYh16Ooa2GdmQ/
RWbU7+seNTgoFIasUfiIeFHbIEUqgX6BmegNqwOxEhoKWWiWfoFO+QsZF2FaRTtbNxHSjcHxMd9m
vgNaVaYeiPD2thpANzqlidkdK/QGHFrhHJZ7zffGVijdRK0R+LHiSTQq594sVDs80Ixa3+D6eHaM
8P1CGl2pWfqrRYr71FUZXtAkIiXZLlOUcoS+qHDMLSeUI/vLUi2bnkTO8iMwKtJd3IOh0xYMsUZ1
iUUvH4LWOxe665wWkYZc5K5H46tPFotDUHtPqHvnx0WUJ52+j8F/4Xdhml6tyzzxvYhlBAZn1/IA
pALY3N4c/zbVnUWqZNXYhr7teNmhy3rb8yW2vMcWcMK0PK1HH8ATAkS3A+opaUqKFNgCYI4fH6ck
wVIk8xqGOA7y1LtlgVTU2onHzgkUvdEKCOPdjlK9RV/hSYtW5DkWFgDJ+L7FCxmPGzxuSaumZEvp
YvSqzA6zBU1Hbs8WZEZrLEt+rOH040tiBvrX3kLstKvt8CvrEsCggfDpoc4GbYtwtzjnoCo4RnqX
7R1Atd6h+Snb9LXHnpGLRyxB1+xvDhhJNJ3335M0yX3XqwdwY8f2Q69SL2EB4hVDjEhqUj6mzZGC
B1/ppipDq0F3SHFhbEzPs9bwsmlFK6BJGNkbLYd3oRXApQpw6rLGwdoi8VrfX10A4Y4vvAzAwDch
fTsOb65X9kAsDztUCCGUgs/SnmlKI5JVLr/kaJgD6BqoflDeA7t5SIaDcu7yKAQjb/a0uF2ZpOB5
OuWoD6mRp0WgCPVleq3nD3rSGD6gtMOfeuW8xOgKf2kTnh7iqmm3XVN23wwRroDBsi7LiD92ZZi9
gCzmzDwkn210/b9Eqe0iBGbke1KmIyDExwbAR/GQAwNiDMMHK8WCNFMOH+5kbzWTu+JlUuxDhN4R
hEcRbhmzkwe8hydkCLyHOLa+mpMBOrcmNnZVG2sbmkYmaumSrMxAag/2AfBM+bYyy1HFcbIYota0
XQeICGAUzRB3sIDicma2e+rwpH3oqrJD3VPiXYTmijPJcjQmP6DfFpHIGlF/mpJi1PB8Aij591RZ
DOAGOlQg/tJUoScVc4oCfNm+Q2Wj5jS6Rzz+K3tFlaBkJSRYDEoNsbBsKkClQ0JSz04jakH4Zl6G
VlwMaESXkhb957tko4W4hQDOxmWg4ibNwa9bXWIxRKf+Yyo7BnRyM+vwaIIi1qL4VMZ5mfuzdeT+
GSaIOu+qoXhlXuztQaiIQmGFBG8Kt123YJg+RGqKTM6PZqrb+yLn4jX7qrl1/iq6EChoRvybPECu
za4WyAqtXddqAdKOOpsXEDZ4DAIgdq4mhesSo+vIW2mDKXcTZ4/AcCxPtbqQli43stmDNPgC4dix
WM5CtVaFgu5FPruwxD4CM8HbhRaajlYeHoa5z8chPDkWop5TMRibWVjmyJuhG66T7wbXHvOY/GYL
bwBoqg4ygB36Yk/vsmVxUl9L59VRqRmeaJV5ztQHWT5N3ViISSibK39S05w0syMJyTugm87/hNbV
wYCYIhAWxoh+dgoqn2jevBFUE2Mw3M1kiyQLHGDYAs/5nYCxHgF/EgFrfk1UcOT7b259VtsnsiDb
QWMe4rAumznpaHXuae4JHSN3NKML2aq7kjtwXvRTUoTzM5EefRRypidfAyBIS9fQya0eiYuclBSk
phEpnMKZtg6LwjlkvSjId5kuvjGaCxEoTHZTlgEx8uYey/IJnmQHlDejJurPU3z2oPveuCVu6yEL
iuDkssDywW9kNsD0Tq27v/l0QQ2Cu6t/Bt2iYqBzK5AhnF8mQTFsa5RTnRuVeJgEGJY8dz/nF1Av
BAQdHrRrFAEnm2LCnhvIxlaPtzko6HNoKWexmJBfYcfayqkde0UvrxBwVH7qJcOOpnShN13ArNZP
eIKQvHr75cxhpy4rGSA8+3uXiwkoIm56v1w8LUaJRqgHu0VGo9GtB1RvjdZmUfSdzO6NKc42Q5QE
AFvAlLSkKECkvOOKNeTGQ6JqBeXU2Zcb+aTbznnKxvWyhtbj/Y6GtUcbNDt3tOwUnayil/e2KKoL
iKfWMmiD+xTM2Pc0Ctpm3CBRqK1GvZ/STarpz/gXT8fFrqjB5lmV/Bxar7ZspoEdyxpRQDdswsEP
gLZ/WS5G6wCq1pAasvTYne1IAxAcby9QJBGkzrtxmDsCSemie58Dy//djzy8qf2r6MErYhjovPf1
3NoUIXrUAEBVnDs8xp2D7Xb5meYu6LpX4MMxVqjvzc+LojU0OC9zUvPabI62pa8KMaE9DzVR2dpx
CzSydhwxxKAekdVBMdapnYDes6chXXhk6Ye4RjpQGTZaAEMaLiY0Qn3anyWsLinZatEv5navQRNH
Oo4hlX0gk9n6yp2kE94bgLhTn4jcZ6tBfQYSjpP+MIYu3jRkuNxCQzkp39N8/lcJbGkM1MvtUoaN
iqaXPQ6vg+ue6KLpsXeU5isp0TddoRUIP0qAxymT2hR/hrNO6kG+FZb5N6mdbpwA4a0sJ8/e9Bn+
QFacgLlGXdTBZL602DJ6UdGDC+eTvERN9pXZ7KBkA8pofeF6LZ1uzjdrup68tG0AvmSW2qcaYItg
ADBwtgsnDtZntJ8OiIkeSUGXxY6mKerVShQkwu9GbcsczUxjVa5IQevNS98YLs5ks0wrfJ8lgiZA
MPz0qa5WIQ/Sk1uKgoH1ZMizLVBs3cl+fItMgA1EGajjojYa38zytdZy+RqD2uHMZSXRBwExwlPv
Vgw/2/MEKNhV7WG/7FR1+E0kBZjXLCCnBimrnlmOnKyS2y3AXAFvGe3ILE3BIsSK8TkRfXknEZTy
RY+aETnKfJ2AhO7IwlZ/S8xZDBiq6Ng5wbAmKwB/VX7kgV10CLpyZXCnPo9j/2UKMnTWdDGAa9SF
5HSRYXM9JZkeYEeuzuOL2b/auiX6L6umxvkZt6IL3YHu9U+yLhviPciLH/91yZuPlA+6sUHQsANd
5J/Pqttxtk4ltr/TMyjj3CNACeITXaouwLO27eMTjdBcbu1dCcZXZQEuyHczmrZB2eQog4fwxo1k
/+Sy2IFFqn53HoActHeKaL7JzXrLNB5R2Kp14x6kk/wIVjJ+pBFoKt9HFZ6K4AhQ83l4oycfVvJr
bx1hJD82wMh3oyBj08JOHZ3rf25INjfT+Vb/bn6lZwNAdXW0yW9Q3w/wJKSBfaK/BVkidstgssEV
8DrliaQLPe6s/8d5plZqSgvAO+Q+s/YKo8WtyIHW4zkAC3p3LzWGCDZDR3NbA8LcrR3gQxfBJC6N
1+Ok9qGZDUlj5hyACybwssiHZHTRSSGzINkBAiP24wYYiQJvVR+dl+AMM7T8UKL1+NTwzkIzqx38
HzUr5VMTBqhjSkb0ZlZ1t43U0XzZ06CaIFqNsTfMZ/ZFkem9WKHNVp8VsqkR/I1sL8CTtrS2uchr
NLWDkyEOxRsavINHxLtQryJTvNBLzVjRlBQMRSxA0nS9rZNofLbDG+B7UE7VicxIXg/noCmjR5rE
yWifzTK4HyoNnVlTFms7WUygdlF3IRNdt5q1GfB4XjbqihwV3WMGkDn9PgCKLsC80L2AP0K36RPX
24An3nkGWAlgei3+rOWa/UyiD/tcGTi1dm2PIDYAF0b2TIt92LMoqO5oRvamhT+27Odb5Gww6RZj
UgDRlfH+PnbGGpHWNkBHSQNmviGxUGXVT8aJLkD8NE8IxParRktB3/6huDKsKysWa1JdSRcnHX3h
J6vj6F6KRtCBVAU4nww0XV2aqrMuHei2fFuCPb1vHcCLfShoiiyvew6KZ5qQ/WJFoyAcwi2+JyCU
soK/pmrStpQ+XIBTZkiVJQ1JiCssGI4F1+z9koWc7Ra/XEE8sJHtW7NBA0KpIUfnovgIxTBD0p2u
hoM1lOsw4ZqP7Vl30qNROmfy0otpWCHwnyDiCkxnbKcUnJ1T8OCEAAAYPmhohA8sAdEaKW2pQb7Y
0Qi9S8Gs/uNQ1Phva7Ik3SLCOuS7EmBal0Qv7tKsqoH7nwKeHTEl9GeOzaa3LNCKmW6z1/L2ehQ1
UTvLxMfoxm787NsbLY4UWfejnHSARKRWgB24jsgjb4Hypvf807xyVeBIZijaI/uos1bouCM0koIh
xFohi0gzrRyQ5YrDdDNPmYPo4AQKHyD2omokEqj2zGV7IJSSDCxDx9YVoA5VkCbkAaqgo7RwWggU
aUmkYd9Jy5FFr7fzcoR5kk8DsAoZ/nfKOtYOKCp6q9DVzfwwiznYfSq+SmWpb0aFKa2rCymGUt+i
b8UF4r3zLvrwJ4NFvqxBimbCzuMdVpQPZXdc2mllJibgQuXp17B3qh01v970xtKUFIsbyZTXqIt6
dyO/asclO8b0S4ciqz0twln51awUeo9q7J1tabisYoLudZ3WA4L+Vw1zUpqqtkccqAWOLldNdTT3
brvl5s65RUcjtVCWleIwd9TNNkz150m0mnJ082rP/92Eb+ife/Ad08BThpum6bqMG9xyb3rwGZq6
XVsD65UQSJQfvG96/GYxFP98PNLoObVMaXQju5nGeaUd1CKh6U7g1AAKY9DhCxPmM61bNYJOPeH9
I7XzUmMviHvyjQPs/Ks+339wyoLxkezpUisnppyWhT6c0KeEIwMHWw61caH6wDnk0vtJHVVzd1aq
KtlQAlIeSAjWIhDtDjhcjbsUuJYIsQXI9lJBYg+uG0QF4gt2iQAjpRkpMiP34gMN0e6XbBliNI+G
lq14kHi/0Bbz2yjy8TUXKRh2Kxs960jCbxPRinMN5NJjFDX2Lp4sBxUkA8CzwYgHSLkRxE157/1s
3X6HAy1D9yAI/niPbg3bxHHIKds1nanpsC3jhK/tOsN/+M0JfJ43puGTI6gWtv/9BSJC3YU/lL4/
gHEBPrhuMODGmTcobzGqjMvaCboLELVBpGIBUxoF4+V4FLlcWQTBqZU4hZQKydNBJtk5tGmB9gkF
aENCumigxdK3ujEF68QpUaWYG9aGOda0YhlDopv6y+IWbaBtNk04vyHib6nGNOpOI+tFgf+E5p5M
FgXZkceyVFgIYHYXTvYdEPudz0Ej/9wjmrhDz3h5iFwXgchxLNDU7ADKPX1rJ63YOyHw42r1pmvV
ZajBX0UjkgGFNgHuQY7elU/yf7K9MpGBue16lJrE44jtXZ3q58K1va+19dstivENNJXVMWPopm3Q
5YnqE1hVYa+fvTDlX53st62sSmRSjsKx3q1MwPytdLUWWWEtcl6syInWAoV9dP7vb4ZhO59A1PDV
cHTXBbYaswGPaXjGDbKN2XiiDbndXmywzgCFFnXHdAljQ9v0buxcyUiRjsNKT634LqSYINkZQ35t
B8Q6tM1V6A8K6viu9SJx6AHl6IMfNH3Gb70Nsu7Zxabm2WtB1hmZALMgmVU4+pl18ffcSYNiNbnV
q1ZZ2plsGyMddhJ//jXZVllZPmfn2RLMvnyFwIk1r9NasX2u4+abl6DXEnuY9M1jlTevo7cmmn1N
RK5Cm1XrfLTrQy2bAr28Bj+MTEu+mszagY5j/I7M07UchEaznKNA6cY+1pPpeyDHb5pTPzeOfdfr
TfOE/Vrw4Bn5ayRE+ebWgD2w8YvYSqMp3yxhX4JCAwU5KKJswD6JX3laBhezc8HMgtkkRHChMtcP
HRW2fsyoPPZj9uGXflqF1vzw0yo9uNAsE/F8hzQB5LoQnYceUPHr35zRyvOfH48+7MdHoJt+fLzJ
q9EjhCxgJ5mDUunSLBAHyz3tXut6dMuXTvEsUFavIi7Fc6a777JFu4zITutq63/8Frh+81NAYx2w
qhkDfqxn6d4tyFPbG10t0I8E6F09ACdPhzbHCUUL58JKKvxc9WRn2s10IJkbolbd4uUXsL0MZw29
Uwe08ozgMh/dF00D6SN+Wb9F7Dgv9ugFj407rJkh3ReuLpYIVjIe0ycywKbmL2wVy8s8G/pu1bVN
fiBTDqz9TRoaYktTw0zGjWn336LGk35hRNZjm7XWY1XX6W4ItWFFMro0YQnuhIq1m0WmIWi3GkPG
do7jWI+kiEEsZbbcObYW49Gqrsod0K+LO1KmdZY+5ji8qbuQZAKawyVAkdyygtVJcVw+UeI44dqZ
RAaEcCBY5AAbe0iDqT8jMxavMyTBf6DUbIdGTfnK4yjaV12EU0Chm28yQE2SMgDIN6B6HN6eBlAb
PQEqBXX4SkFLMiT5gAmDzoQskOzwP56K1u1TEVhHgAk2bcu2bYYdpvqqXEHvlR2KruIu0M6hI2q/
VKSGmuI8dIrq7IQod6LZIkexEliTlcWNzGHgAPU8Ma1QEJ74YSqm3QK0gzjpO9pOmEcS/Zj2OGsX
xQy8k2rvvovCGnN0AJpK40SgC03c+qGpgElS54AYCZIYKQIa2shJb7ktRp/UmpHJZEdDhMYOYA4X
R3y2DkQW2A+kuVa8FWYVrFCZkG3ztrtTKLy/hFPdDJRqiIv61zQ1N6oBkkmpPtkIB19Yyxmwk9+4
HLCORLPo0c6hXJNknpAcTKmZKO4/SQIVsKl1BPDSnDcrBGffiwHnGsDJNc4xil+BAOlYOM0GwFNN
mPmzzDW2J5PZTrkxUzM3Hfo9VpPXO74BHNwNUJCskzUe0HNWnanbKirQhIk0E37qSwsWjUxg9019
se2AOvwcFBU6Rvvm7GB7dzfPgGsHRISpxC8Z3SYmMD62UuL43Megj/JpSJdMCWnkARffD2M0Jd8q
uvF/nCjcz7C/jmkCzA5Fvy7q4QzLctjNW9+tJxMptkA/Z+gZQznQwBVawVsRAzZ69dQFhnyJACn/
girwFLy1qpDHatOXJC5c0BiVzoamupa7gBfJUwQjXQehC641h6CxonUsdQ7IEyTWCDCBLnnkJuew
jE+0j19gG/QiP/SZSIZHXcbBzolarUFcERm8UPsFBCnniKffD4FG1XAVFal7NSUtn6wfTcCrx7wf
q0cEh2aLhgp6yaLWjMcIhaBAC0U9cB9Vhu9plnXA0yh89qzMOPdcvg7UmoVGUwO1aN27FuFB49xC
W3JN/I8XDhos/88bh+M3DXIQgxs6x1/j82Omci3Hw1mhOiddYk/WCnTU2EyLpKuRck70Mi594Qx/
laMe3yHMWD+bMt0knWgegM5UP2tFaOEo1nabMi+xdYmMaYN6Cu8pzoCnNiDKetQYiseSQuvOCTZT
UwEmNRRKlDEOTNzck3Gm18FdE9l7pMyGbFV1I8iYMhEAw0JnT4W0nG0L2Fb9xxRlOhKcXQPGwaLd
g1kFu1kg89TUIxQWzdZqAcktKqRPasgl9Qgp+WIPUJUr+Wd7Widrk18A9bZPVNylJ56zswOOwnNq
nlzmpM7SyAJMtBmsg2goziLGBchFxbmYkPcCoER/yHO5IxEpFzNT4qHpk50ZGQx9015yyntHv6OL
FcQG8DT1lwKMtodexsXOySwcUwXIin0u9fqM+jgMh0bGO8AJ/5inKQvAOVOK7ShRpgqo2g49ABPX
0buTYqTqn3yaXw2vTOfhlcHsphZYlppdSRPWbbNNyvZrUoAQLIrab90YooQsbgwwhKLPqfRJA9Qd
sJcu89lc+dCosrra7/Hg2sxTcp8XATq4ccJr9r/fsO7tC9Y1TJQYmi5QmPAN182bF6zNWWc4kjNA
6WSh2v8CXDdksliJwbC/xB+jHPRfs2wZ/atdbtv420RB95gFLzg3SHSDR8meR525RRBz/O6VX3Kg
ln8zlDhihrnVQqu8dEkm/SRHlK42PJw2Crv5anc68M2Q4kMVTHQ0cEhYx5wjEVh5P73IMQGvppcj
+szw+FyJwEMaQhPVRaRpijNqaz0EdhGjzkxEIC3ErQHlBHrm3DYf2jy4VpBH0AIlhDxGO3n3CCSW
Eh0Uk8Dvn5YKvGD8LuMYS9nsf0UJ+GeaBAd/DQs1rx5DnMAxXO8WDL5x9K633Hy8jFJ6a3NAuaRf
oWfoRJcxkcVJVxfZAKEGpHUYjgYAajJQdZAJilSKk5tX0N7OZ2vlQpplWgcB4K0DLQRFDX7NUQJ+
+5yV+X08GDkqQTBCly2IacJArm8UiPC327DACZoUidox0ChPWLIXOIr7i4dU64VjEB1ja3heVicL
7qB+IbOm7dUa6tYuDs93LWp4Pz4MLUM+VZ+BoTMP12jZMk5xNgyAl0qjLQp/8aZy0+FOKpk0a4nU
7YjfYuG55RfQ86ENJx2tXwMKwdFOb/+NQsBnve/Qj+yAp8so0fE/ICOzq6sYrb5ghAKxRm0BbCf/
Hvf9uA8Ba6Hv/mFaFva4d2hnmLrBShtBNRWmhbEbuKljf+nqAJJW3T5u0xt4cOMk3KJlCtUnvmCj
dz9b1OiA2bWo8fHTIYAtOXx4TV477Rq96O+QX1ftDpb1F4u6SWHSIurDRgN8GY2tn02HI4oGDFPj
TPNFTTJDggF2q+FU1voWiuxXQddn61wTHDTqdQTp7OUBw6wYtOFbnXZ8ZaJs9sLMJL6UVlatgfY8
/GxBpqkAAVtloCuDNLXBExUL70SphboN2JYP4HcegBII0miVb5gveY//ocliqKjggCf7UFwZLmor
S4fZT+9zrBPbEnU9BvpeCOlNiPBVC6cWOTXg5AjC3VGXlmByZhOWOXtTIG8wWOxJVln0WCSo5Rkz
vJiHEdi7A3Jxm7GPvScyMadXC69vP3Js8Kch8xZ4trau8x51GSqxFgIe5twX9XcLdTjVKuvYEfv9
dh2XSA9GquEkkmmDZifUUA1u90CikPcTUFBShnocbjzi0TeFaLAxc7AacRTv//Gi0diC1ruTycuN
vK3H4IA2ly9XS1r5iPKkxvtKNy2ot6XCA+fQyuyNZPMi6g59H3QHPUF9dSjGcFPXbnmwjfIHaL/x
oekzqIvkmjx4dvCTl1zspEwn37Fzdqn5CNwcdQFKjnMqNHd1IycLkiUREpgdZxUQObv2fYEwwuun
M4zZl4yvtLOzC0A/8iNjWstiyIRZZp4duwxQH0ad/bQE+lB52upfmrAD16gttPt+ALHL0MXpacxx
hgUWVbmL3bJ4GMQAdmP09H8tPdT3gpbY+Cldcy+CHoWGbQkmTtlrv3lmvSV9xN/GbKhWLgA37syh
3CAPF9zlYLI+tKP1mibYutGF5DQaebrVkSY406yrA5yFqpqbwBlCpSweDdrsMavBK3BggfM625Hs
Y5Ws7d5XcZJtUe5ctV3W8QZadYwBOFZNmePxu2nsDjSzlUgrgRO0WLgVkJhE0h4W6JzFgmSf1yD4
ncIsfjmp7SN2kZxSEzRwQ1sjOWEhXZ4yOcus3KnvGdoHsaNtmG8DTjlfa6jKOveWuQkCSx4B8mGc
eSPxcJrVQcZndTqgOVIy+4fO0otRd6iuTFI0N4CR7lI4EtHstNLWiNW65159IfNAs/weeU9sR9Gr
RRdSxGZs+6Hwot3c2UVNXotw7u8yUS1YobHqaKBqOr3C8wAl46tVI59VEOQHnS1njA86hYJc8TUa
kFq78ptxQkY4GspxtgamHEqu0Fq+crsofGqSeNWryvtWXVhpAJrdHC7oyEtfGhtBfU3v0QBhNdlL
BQKro240rk8OjWzDp7JB5FopyeGzu4ZiPD8SFbjLerkB7jrft94wvmmJvZXtoL8ErV7f4S3Q+CQ3
lJmnzHplVlcOqiUS/SUuy1Vqyf5sowHAD3VtBPFCKTdomeH7UCbzirFasXCD9xVJTjcmMy0130Yg
soEfCK1TcRSuw6wtXg3NEZcE0QLfZqJA7XlQ7VjbuRuaomAKFKTxxI409RKONrDafKQ18lSsSQzo
gPCSqjVA9P2+RpTj+FtpQCT9f4xdyXbbuLb9lzfnWmxAkBy8CdVLliV3cewJV5JKsQNbsP/6t3Ho
mI5fqu6dcOE0AOVEItHss7cotJtlM6EtGnrpz67Fj805a2UEWYVnK2oZ532JAdRbB9sWz7M5RXxT
cagBp9h5vJTWIQvs7javHV1bA2x/66aTeQz1FvvDGucCVbv4LnPJhp0pnUlbi6JP1k7ehRvMK6JV
F7Vy23ZOeKGL6bjRvpQa6m2zqAjWbgbEhGPuO7d/y/BkljLQkfJvkGiB4hqZ1NfopbH20hQvWZXd
xRlYSNTIidb2hw4PebIWP5lT83fKAI8wRq/wa4iVQsLbxkZV6ETpIZDaYwfk6S34LYrbOeCBmWvV
odYrL8HaLNRlJEZmEGavgrYsjh98GUa5qYjomXIoRB3fs8kyJWToVXmlt7FGUc4/VyrJpJ/nm5cc
c42mtwnAtHUJY5Aq+PS75uu8hzRpHNtPoSzAdNiA/0KgHhywyBhFRKtKDNYeFKrteUS5D87WgYim
jQ4rabsVV6qkKfFLolZ5zlk2PliYTjtswODwXOGYUuaF5z6FOuMCVCrc/uQ6QX1YXNSaMU/cOw7V
cBd4cnwEw7p3n7SpT1bX2uNjbyfnQKT9hVxgIgnBPFOHRwoGZh9sMFUDG6nqPiU1zimb/C+o8hbQ
qEm7F9mNmGvbengqitb70tnFCnJK3UuCGkLwgRf1ltJU/RSeyeFjyltxhuRqOqdpnoTQUdOVWN0F
/CHN+Q3P8QUudcc5piJp78PKeOpGlECCUra5hwS4eXZ05wYn6M19ri4aRKs3wH/Fm8VnmvLeDG1o
DasM4aIyOJdgqANYqzd1+2lw9ObRNV7I6CoRPEAr0SfLxv/Jg+QlhKgj/hRHRnDvAEQ2Z7qyu8cT
Cb/sgD9iFVilYGcE48vb0Yxb5B0m8aDSoTVkquOgNsQjDMsSbbqMGeoeg8Jyn7CqeGrVvJcuBSjq
i/WAYrOb3kmHm2DfqIkwCnEaTHqB3dvZmjf5XcBQURXlX5LCAJcVq5VYlK3d202TAr+QZD/SgF+t
RM++hDjDnjPKUYQPVVP91xnqLoGteycTIJvNWEeWL6DXsIsTidKCrgmiczT0QHwNYbHJ8BJf4wBp
3HTRkFxZlCUgGHSTa3sYZKNdyEuXIvegh2hi0v02kMofk25XxRVHeRSsOS8J7J3Ghe63+PUUmzHh
L6IV0ZGGnfN4UhxBevs8Z5SxsPys16adE8c4VKeP2IPk5C1sl28fcba1Y4Gq7ssyHHAL1qYedBwK
0h013uwK9aFMMYTrEGq5O63oXh0DrypiyVGWXlUfrDTS5C2x64CCY44R807B5J/6vceaqCj8GMic
1nbwnWv674nXYQ2gLBMHTHswH1krMge7+JK5OCqqxw3qU937MdG7h04W2ToJIJDSqXNSCH/id+Rp
j6iOwFlmHU3fU5nVN40KJqF4G3CO9mwDHnEMVOr9ClgoseOQ5D6BuXGu1qFCGSqZcWWCiXMZ3yzF
NpUlrLVe6CDBifThSrlTJ4aTxvsrpS3+9+4i0PiWZWW/dYc+BYX6pL30k/nWWnyfWuUUha/TOP3K
A1IAIM9TM5Xs3A+j+UWYgCY62nBfCKyZi+HZqYX5Rb36r2WkP7QqB0RVKJDSoL/FIcJ3FpEhNwyS
7veFOQCYLNjz1GcghYhCpeBYWc/a5ILSKSi9A5mwbngytPdZ3V1MZnKf6TGoeLG7AcwA/vLgKewa
QAsiMMnMhLu1lUOY3Cm+qC0qv6r15szVB+t17wBCseies1J7StodeYEWt6+11C5kAcpYo5RDGD6Z
QkcNb4mnNQRWMUITZgZo06Ji7prbJU444lI/Onbt7qHWlK1YpZkKKgiG5EymYF0EKZe3lvo03FRQ
zZnN2hq828j0fsYpaA/wzIN+OhvBK++F46l/J90Gn3+4A9M26laVbwmM+C/cAIDNVouPWqLq5doI
Q3f9KeDqfb0a3UZsKbBELbAQ4wQGmwlEyU0BuhtO7r57aVsdyA/iDuj7eNO0sceXoBEFvttODtgq
WtKFzohPzbCFHXk4WAFdQpaujMkb1+SkMF0SClOzy2xszOWdtrb0Ij2bfXuVbmXvyQr7MT3ntXp2
k20NjncKp9CPVYCiwp6M9b/vepqO92nDn0OBFCcvum17tgdl0E9AHMf1ItaXY3zW62LwCR8FGk4g
+fU2BzwP7A10aQp3zyu9vyXI1Dj11qnRrdcl4Z86AUrEtw0Ox/0Ya8B1IJoOVX9Q3qEL9kpw8hX9
WDyz+z01IN5sSvOiH44sV4mdrc3RjC5h44SPkBRr19NQFDvPyqNHnFXpx5CPAA+o6MQ8cEWuHBUi
R0xlSppkR0rXXSnwTEvw56r0Om6826rhZ7KoF6Qhz503CUWSafjg9gyfJmxagmYxD4610YVPMkEJ
NxbI8b5RZp4n1dZlvQnyQyQbCQrWQItkr8gcdKAMYqXuQcmlNKsLMM/XOVcCPwK6QR8PkLBftQJv
MZyh3tNtJiN7srWgv6XUzsBvFq991B6pm/KI+7LVMsB2pmBP5C14pYbr8XeTosCRmU8U1WrnY3IN
Bqb/0LcqRr9Lu2JfE0YVNUcPKBCBBHLs1HfYEJN3ymVnkX1Ksaq4I3+pm7PLa+Q6L8FmLwkdGit0
aB+C58FVs3OFC53UJYqL7ADtjL8pYfFjrdatIPiSbSkwD/Lef0mOpO5shkmHIEAjgPN2AbNJ++Q1
URa5TMxVNVkXFze12UMqwVQohY0CqPd8wCVeyarqxLgDtaBfq3043ukJlnBqz42rS9CBGVmMESSB
aPeNkvLG8LYd1j6rtoiyC9Rx1RcHRJgyDnr887XjpQOp9qURMdShFaYHWg746akA9Yg5/nOXHnHA
xktQZBx7cJG+I1JkbG9gsuWBuQMsyE3+wfgVobRK21Parz6DjO+BMfDAb9GgosnurWcjGYtjlWID
iHg8sSAo9qYlbSiiTPpXev3TzKCXnqJSDC5k5ZkzbehCJgVUBk0BaJIATDHYgKUeHcmkFp/wh71N
C34NR3eoI4j30HCUHOOLfnEDPDds/JJ51OFXCRGZQ9twscKbw310kmo6Z9bwjSyry9IrznQmlDg7
wSHWxvgRItY6JlgKwKNMlmblBcwIoJRpgRNMp/gM9YMY1L9Z/KiFZrkes6zfdSBPewQjX3JM0pT7
1NVKsxz1S8N69HhxQuHcTVeV4LIHaWlJ5hiY2JzR8jzb/fvT2aBT7wLMmEV++Ot//wfnHw53UIPE
LUjiQlv086GUVSalgd0LvKRDrTxaJpYubqn95QXaVus7C7SA2nFogTtUJF++XTNQPU5WdcqwIP6B
x8M3pnnhK2P4fuFsy/4CRm7sNEC7/mHstGmdA2d1V1ZduIW+X3ubDGADzhqe4OVdARteTSHKr1h3
kkmQ7LtBZ1h95u121DSIUEBSbGPVUbOC7DaQBZhuriA82D27Lh5huWuW320RniOPjyjPae/1pgSt
Y9WHGyiFxj8t3j8zS025IJILfmZHgkFSVZehYPJubLp8G1fldEb1hrGPBnBrjbKfUIc5GCD1SLRb
1Nk0GxM11fiVW+GB27Z5SkZUZEKO0PwCeu5471iNhrkVzEEfcUrdDuDFUGYOYjVoTAvwiSrT86wv
rKzMC1kJ0f017JHXXfpQR8mW3KEF1YlJ2IDUqj59YRxZBtKi7xDKtIPQb8wc6qwRKo9qVO9uCM7W
gm/EL/hUnQiEJt9NkM+WV2wyPgRBdtcO2fAsBrAu9+2E2jgndm/AmRVvgMhMv+Jw4NYwWv4XNrhA
xGz3zwFWBZsu9JqbLrEdSPAIY20p+Gdf9zszA8HomOrZ1bJynDUY401ncewDDELLrpqXcd8q035H
JiW/5yVWpUQ4gxhcrckAUTuc55l2Yz2RCSpeZ2soQvYlCvCt9eTqdYeTxjiF3k5uPUVMgxZAGT2Q
1WKaulh8CteljS1NF8rCQHFCPwGVFT9ShrcdFsDuLfSPoXwiLb4eoLHwTTf+64ykdLvVmJXen8ZI
9In9B6QEUBG/TZwAf3c9QGl1Xcf8CWdx5icEvIvDKK2AzN5D3iTdPlY1uU5b4yIZEKRzU9lLxE5U
ZWZaHCi4+MlkHnSX/aWbCDhsTt65vcTmWxQGBMkSC8DAZaiPvSjfVh/hz6NYrifiLSWUYIrexVo9
/wVAvbGDWwPlMpnBRYKx6C6Nu2+pSKuXtu+zjVmD/5jMCNxPQTV+7S0g67CBCzlblQVl+xSaNZF2
CfFIWnonlQl5YtW7dsCuF3goyAUHl+Fj7eXtxhDUyr26QNklP2iji2I4xZy8BAJRo7Yf8JjFX1gM
5M6Np07DkUsXrZ7qW7cFrZaRgbOZfPN9PNBpL3kC5FuHbELpT6K4npcAECgH18bG/OKv1H3KDKfu
9BHpMwHnUdF9oEyJ+5BvAIGVP0Kfer5PgymdGVa3oQHuAKWI+C02HWwDjf2jm6bykKG6GAB2N3uV
yQ+KNzbwkAYqFlob3yslFxmqi6wzc2ViIr8jXxqaAu/ibm+wMH4gV6Uy8JV9y9Awib4YTbsfpnTy
U9uFYiufoJdmtT9xi/HaqGo+D5X1AOGPt6x3OUA4YtR2ADZB4AmEr3dpawZ32IWt1jLXim2sTPI1
mvl3MmrWkSzy/xp29lidkj8dbpdhwPz5NvR8YzX+MvQyzu9Dkx/VtIkBaXeXDnU5XTUGEl4fJ4nR
TRMfaCtrds3hZd8LlV3RTV9h9oCdsNK2G19zMnPjuLG46aFlEMWlc+wVR+bsUi2bgn/wBSj4PXmA
prxnLZ3Ix9pOfwuTPdZlc8wgrg6RWG8vp15/rSE6CKRS/Vq23bTCNoZ1FVWc7aVmo5IGwlYXHH7K
NQjLxVfwozwaYwlpnBya2+1giV2PtweAaDp/mmTBt1AX0DeZGzlPo2a2W8nGYI5KbDFi5TWWWy1A
Mqh57E1dMn1LfQMNRFuYAQ5rvL+OpgizM0pUxLnB6T+WoKpJzqlh7kqi3HNtRVU2+yha1SkSKQdP
+R2zjfSoq2GWseaW6tY7ZbO3MhtwsV83ouEaLCTfBgF5dray6lX7Y0z7btOgnPmiJzLgEP0ynosp
10Cs1FkXuqSj2V7U3jAlUG4LCuvDhOMzS5oe9yltEkxsoO+Yrz84mxaHnFok0z3lYHQPc0HQnKeZ
uy7ycDgKJ8+frE470iQ8G7HBALLVAdKVev6UofDZQuXSKUPd9tqTclqPVuadgAbhVwnyN1/2Q/w9
HKavOqajD1qr6wfIZCTbqWuzV68DX7ZKoJ4T/uq5pzbanQ/m1xhsucNXKKy7c88IFZzbGGdp1JMS
qGfZJu2WadadK0Er7GdSg0RAWeIQNotQfoKLVYI32OmyUy2FzDcWyNfXrOiglvWeQi2A4BUlgHGL
BytGkjLKd6MsPN+rJuH6c06hf68nYR66YXgbXlSiPzU8OJNr/hQC4PIV9P4cUKj+ygtCJwWVJatD
c88LC+xXE9e0FY7k9RNO+owTc1A47hty0AFHUQ7yUpyXySY1e5zUKj+55uzP9tybvDSEyMV9W0G/
jVwT6ok2YJ8bfMzAJXi1cKmwDbkaB5A6LD4qx6LLn3y6BiFAkN6d6hBnzWD6R2UX5VGPZdDJAenB
4vv38Si6JH8aj8w0mb6meDXdlGWCk7YJq0OIirr6TZQ6yTHLvA1Z5Lf6UZ+D5NNVGrVaI0mPKXID
e/DjaOuiOOxUovrwNKRpNLfIx1WAWqYXxIX/KfynLp98DjQwCr+03WoVj4axojCNSGNNjp6gTjeP
oCFcNie6ePnYnELGDSWbBSfZmnIu5pINRowUlHVJuqY8aD1Yx9J17FfD8n5YUdQ/SCvALwECL9vY
qLKvdRqBM5WhCB1lRZtQCNBIxiO/5yBuRhFdKg66HlhX5oJqOSn67segXWnOTakN6L0+pDpOyebU
VESfU80Ump1JAPpAE9BMVPPGeKobEVQFQRpIrZJH0J8ZCm31KTC6mHXxynmk3AL7xAxEd+hres8D
94Lz7Brj/pZHLaAzjH+8A6Uud8haVBMtPmrRHcToPS7+5XPhLqY+BWeKOai4Y/6nvyGTUYi1Y8vk
tkL9CV4t7lkp5BxJjlR3oGU6qgu1UAIxBxfXklb/6kmpi59yfx+WgqWAkCG13oOzWurS9X3IxbV0
Vb2mMcBhow7OWzD/ZDd46UFbSwNJXtGWqKpiDgBoMn2UTlxBhwL6ZuSHEumlHJrhPEYcQC4PfG5h
oijZqPnZbhStW+2Vv+Jku4Gjb1g9JZAOQZj6UIBa5Cupi8vb9MDsZAO0tak/Ub8aOlg+iviS+IDF
8nfw0Q1YujYxNmhpOkOneaGhrQT4jo/z/IemQkvUIeCa63lzzjyFku+ngjRC6jbazupKF5iUSG5R
RGE95wUo5MF1WZ3jybSeJ9TbgLDqOXYl/i9KHU8GleXGZbj7UyeKgjTlT50C1clUd8IGrVy3bt8D
j8DCM10kuFCPPCg2A/b0eoBrEAiMCoejFLFBlZ8YcXROvaoNdw44Og6lZu+F5JhoxUl7pBZdZKrh
Z7jY1AKApjnWrEEkTKZd4SXOjvrNvg9NSv80ZGYOzfHzuLM9X+dRlq5SuqbwP/dY4mnkYu0e5d6a
YE61ZV610syOH/BPvRuBNL9EgeYCh6JWD2m501AMx8U/yKMGqOERjGBNsJocszsVpRmAZQG61NBv
Sso1D8P+VJGT4oNKEiV2cFYUMqLcxhZ71N1a2BLLoyIKfdMoscjSsNEBdo4VfikeSqBRKW0GphOD
z/rqRgVElezRj1KLJ34Z8uAQxEF2nGz74+VPPgnxHHCnG295ZC7dKPDJ52H2A9Y0KVafAtTt0z2W
lPkehXkTaLa2dUG6fAQuqj5aIA0QPtlzU0ZOdSwwgRA+JSypZC4+R2tSfUVhPdKTt+Y8CGV9HuRD
Fo6pd32h2djVcsIrlNaLQxNhA6+luZPyUSBF6ajipep3NU3cVMDVSigLYf+Y05ytUYHMsqGN3EBs
mQaIhiFx/X6ajmHE4ptQaOBYAxHUBRz0F6zsjRe7NkdQeGrZXdMM3a7OxHDUgak+F1owbQxoYT8m
Dm99N8/tH2EJcJTpOC9M73FqHP6N4z53DxENEMC2jgLBNfaPSXTJYTYpkvHuW5KP1UdfwuqX2s6H
Q0KQT4JVeq58duuCQQUC481IS4URbYR8mmywAsxjElzT63CGDeW4I+XShfCZAnPhWuFHyVVU+fHf
N2Pno7BlM1YRHnDLQBWSxyxwHvDPm7EJz3o79pr63umY4gbU0tsBs+Bb6WjYPoc27bpTpj2Ujbm2
q1xsnQGnmQwc0Dr23xCieGUn5V7rjO80AqsKgIW9zGDHiYOBEUBnfR67z1GgbGQeVNU2fW//ZOCY
vsXu/dWRdXQ0lYVdN3ZL/qbIUIrsjpXfZQHK0ylCOaXJr6YbYx+eAuQLumbY8Qm/38LBBj5OY9+G
bosvkNzxEgAQ62ndcyN9GT1AzIq6no41RPnuADKGHqZuhT/CODkCC2FCtybrtyELjAN4aav7MHSK
OaMYwyueLcUXlBXlUCMTCRZjZgMwMkNVM9aLpKy4XEiBUSvT8awBQJ8MAz9RkPzQkobgucj17uxt
GKuhJ05+yugSDxQ7zpZPmjwD5DZ4az7Y0I4fZbslJKosSsBOncTTdjh3zvwFnro8O734VXaCn8lT
K1wrtWikPJva7ZJKrWpKwz2NNt9yztYBVvo1CGPFk24Ejy5g8LfCCSwcdl6qfnDPXHkWt+gm0IoW
UGv84FP5lDfKuRONQBcQsLNbnHBDX0F1Ih+z0q/NmIsDBcmFjjUOpc5klGHjHtO4OJFFdwxraExS
emsFmulTpLY+340+E91N/V7mu1EqBX59xCgKegggZGkKEr4Qe6CTSO8rpeyc5iDQaLsCE3BYXtiW
d5kxG+SBfi4EAAeo5pJJl7KBDJFhTNip+YdxYpQ1XOoYi3AlluaAAzkW3S3qSNpb7Kx0twoLcTAb
56HVLVchpBCli1GX+SZlIL6mPLyAf4VRE4fnXWRHu2WsqJHYoXRdATBA6Z7SWcAEBSc1sAfQgiYd
2oEA9dh/xlGNAtgbJcSbJFC7WzJnWdpChecmeenCRf4x88NAht5B/o7J3ZJMN6Cxuxak3+BcFNCu
tl5pFoclFRCbAPaoyR15Pk0FKUC+Gs/r91RyLzPCGSeWeb4lfkZTYmDCORQNWBAEhB1F+cYqRvxi
0+jYN+B2hxK4OgLzyrrduji1AL86AtAi23R0VDbK6i/HnfRTp3gYKj3PjwV3vpI1U7Wi9u+lAKMh
liGsqiHMAtbPRxz2qbapLnERPRtidM8GD/rHQEKD1ZZi3OdVui+x4rywCqymepJdTeieQ+0R3Bzr
IAUE2M56414mrnGPk07L7N078oz6YO4g4jetyKxUgmDGi9mJ+IZcppHLGzOLnh3UW2SrkrUMsFAU
U1AUdOHGxpomdwXSl2hnQahzJkD1FJGp885mOlOjNjoenRoqLYCH+I3slOhYlhGWfhSgyzwC08Wd
EYf2Pvfib5YLxqY09sZ7p8/GtVFC4JvMWPlqe1z1WQpkfzaM9y3AkgeoBlo+BcmXVWzyAZscDtCq
1aAdNkQ+8G/VkS593L61bDkUAovlX/aSk7xnL11aIwZvPNmfwkvOMoJru+VxGhJzMzosP7hFAFbr
UW9Wc2FtVEHN4oMta9AJtKJvoHmkCm8Xm6psmSzl3TIGRMzqO2lV6Vb3GneDUsX91PLpqawsbBZ0
7gQdWZa/xlN2X4HIFhwgRg3ct5J0VX58rL81wcu7MPdQ6OqBGJ/8Dceep8C20cUyHe3iVC3QDGCn
eR3x/wDCba8/64Jrd5UZfmMRDrP+fQ4C3iWFx/k4CTFx4MQ5Dp3AnWM5IANA/AMPgMEryBRx0d4P
tcR+ruNox1JdBpMFOaoTlN2CZR88u9vMG7UjudhYabn/2Z77zLG5PdppeFrSqCU6F33nON2qNdiw
jP+pyzwa3ZR6f7YpQn3+/91p9L5qvwFJ3Ww1a0q2AMqHvua2BohAHGhyzM0sL8MzNenSeoUGPgH2
Ja5NbCUyCMCeDIhEh2dqNrxAT4BGvd2UJbfUReAfqb6be5c4Dxl5t525u7rq4AJZcGqybMx+/LKI
6gsr+Ve7jbNL5wAZB92bYm+F9fh1aOsjqnL1BygyFkCj4kdAfkqr39NGTR5NUCE/YDr0Mc0y0xXT
dexR0FMUx6E7A2wEN0w9bBPF4xipi4b6CPJrlSH3JshUV/TNL9IoO1ouyJ7mAnOyR4al2vxDWWxK
p1+GYZZvfcikAPli0Ev49FtaxqaxyKRAlTWbaOx/mubYbW2sKh/iui3u0gmKiRZHOXvUN/rajkFC
mVVD9JCqqJH1gP3EiCYqSn1DB9u+adWcbLMKHywrjffj0PQrMgPTDHFMBrXPhuOlrjKGMWr3Tm8C
/qiC5HO6+DazLe1MLtAn23ugnJN5DKtnqyFxTkZm5KvSyYfnmA3mJmyhwRCWBhCcosMeGuDft4zL
+h5fnk0xhQcr16HUkBViayZDfvTquL6DSumE/1V8Jf67DBHyaD9KTREaVLepHLOvCWR+N2bZgT07
ceUNOLnrDZQsuue4QBW7mTl/uQI1CCo1NmS0yQfxMRXP7Dm1LCxOqS306UerfQZ1prHlvO5R5JmP
bPXZjoYCKhNRedQwOVtVOTPvzDHku9B0JmgguSlwR1m2FkmevmCH7Fxyh/3soEpfmW31ao6MrUq7
iK+JZqG0Rtrt3gAxxVUPceYuoSfzTbjutq6bbM9Bc7wOaxB3RaYNmCQIjssDFxlK8BWlsKLpppal
WmTqROpNTrrwLvxujZq3pRRyDTj18icbou6sQjk1g7TroVXPd5I+GwL9l2/mV3i3KUyJlAPp5/TQ
hK57jp0Wq95NZ+vQVe0D9RVoBMBglfVgOfxgqt90mDjVHtQjE87MvOErTrdQzdTHH9KYSgvi39Li
Kcr8Zow3IV6c+1GHbllsOc6Twwp7z02szSe9cJ/iXlf/JCBugyiU+9Rowthhbhisq9Fwn/RGQwF/
WcgN9dXTVN/aEsVC1DcPazD4dnjhUzQrMA2RVWZvqa/NMbX1wPG4oyjI3/l67KUzm7UHDWSuVw1E
WLpyA3IrbYWieuz/s1idpqmjANPQfzXLKVP6EOpEADCctQSyek/plDj3+dyd7ESRsidAzWEPHtwi
iWLpFO8X1CDlW2z8Rf6oeDgpYEnwUX+wyQlKZ+lzG3o/pKJn5f22M23jQlYXFO2u6ltvlQ4DFIxV
tHmPDipqGKW3ouRInaAXcYcK1dT80N9SGbMo3/vownLDB5n2H/v/fn8aLWaxvS1BO+8WqPaSUfsc
dTlOkyFVhU30qXmuxBnagvJLVk3jBcV938jbsB7ltglnazItXUugAZrww9wnnu6Hrg2uUy75Ixhy
VjRy6jmrqEHRT3rIbFCFqXIjqiqiSyEBYG0dM1ktAawDATIlW+sa6EZS5mAWb5lL2RIFyKTWMkRY
2SH4rTElGmv2QuTimcmHbZIF+Y5M123vi1bp6dq9fVVZRFTuhfrHrAgQVsoaI9e+5g6fx6IsN8HG
QKxYDN6z3scaFOk53ZGyyPz/WdQ5d6PLMPYoLQAT7PJFo6/Xn3xdFnVrq0ZJ4pJMX9L5+0pOSV/d
Je56DoqSWrxbaNg5E0UhAnS5gAr24LZ9APnoPShRrXMR6dOD0+BfK4oyvqZgMzn2tcunddSWsoLk
QIuqRQ/vYYoC2ikPWG6Fqz5Sp5JWWgHcINw7GspOnXKN+qhsR8kV6KxuMt6/zEOp28oyZWeb5/98
2zmoMlrsJn64tZO7EhLnmjb/EXQHdfuuaGLfLtP2SF3/9Bm6cnqhfEeN+/7nu30Z3xahefgTf+G/
+3qUC/qYYEIZQ1EhfiA7/CfuxH8fr5T4HZSAcG4+kS9yYiCmzpU7AAGkNfwknQTTJqeJr9gni+6x
CfCQMZd/nfRcx37xVO6GwoXSW5WnWNp61jZ18AjVsTi9p0sgMJczWZygtirBKaWsoqM1QvmqZFN0
X0eee8u0eFsri1zYBcKaMA2YT/1F3Gl7Lsp47YX7POEQfra7asf6xPlRds3PIuLN1zGTBfZt3fFB
8/A5cpFXF6uxh10EvuZTb0AhYJhATtzgAPfW5XhxtKLJ7qWNNXOb1c6XBDB0PzDC5Ps0eDd1INzQ
/0/3K4JieojBUrJp4qpex3Y7bEZ1HhbICY89ago3+QFpZ7H1uFOe6EJ+agGD/ytvCVMLGNi37Hks
acXDpoSclWlj5mEUkbhyM7L3oT4Ze4BOymubW+aqrQr5KnTjgLed97OoppuqZsMLd2rwKA6hecFf
mB70qY/Wox6FO5BjzMjxBSre2eDcStsGjI8KjL4EpjR+7UeQ8Cz+ug+Cm9/HCNQmZOQ15brPQWsh
ID6Dyku0XOFNu7Jlf6HUnfVr8lFK5BnTThfOX6IPgCSnAHWTJfZEbKk4fNFVZVCs7SqkLaN7APvQ
wNRp8cfDCPKHZXT1SSgldwwwV79/HuqR072XEd67pSjxAk6YlyNAdriR+hje2Jf28X2AebxUd0HL
hBnGKnR7yAZw9lw20KTWEzu4Op0qW3UgU6gs8uNbG1xNuwdhYMjPkBB1NB8rlhhgE9M8UB5dOJ5r
K0vP5baROXJEnlVbLBic1ZKDepjpMExaAilGjE8BcwATuxd429mi8U0n941kaC50c/oYlYie7WQK
T3OaK8c9073aT3t7Yn7nBOI2Z/cG2PTxVQAjxnLRhvzQgmXktLio5QKO7ZeJhfmV6pDbrQ7RHadE
rWrnQWLqfRQaFHADvq3DGMDy9wCqBPtdkwXsPBmA7005S26FzvpzVKTaKmlS67vO/vJYHbzWoD3Z
OHWQnaBBZV7dNDH9sTfM78CS3SSys7+g/jfbgZHH2LdFXjzqVvcSqREKrY6Ax0SNZjAk/QFyLf2W
NZ34moh+V47V31iU3FsQ3bvGVcuuSceH1STNaRsqk3zDYIw7MWEjpBtsdqVkFI125ypJd2RZNhBl
Rm9ByVx0wRFs2m+X0bPs3CebIuw9TKZZj+EuHtn1Uzcg0f5hlCmGWAtI7nGXD815sFxnOXa2futK
kYE6UTMbwrsE+C6wUqmTUqv46U5i2ITB2B093emOjrr0BYgcfWoKbK7gtFjFE2pSFtkUp9bSfc5Z
wkv2h8g85oc7LXemnp9vtAxHLW5NP70m4IFzJ2LGN0tN9lyO3TeC+XZhjnMkV0XdlGOS3MRc3/2e
88EZGSV0Kv45vtyIWnQf6/0+S9SYIADOQCa0qlRdMFUIUzWxUHXFVD/seFBGVBXF/5oxapOYM8ay
fmJ4Be1R+oJKgVF2r4bj3Ztup+pOm+DkhV64xpllB+4Z+UUy3UVdN5baKFi0V+QvU/E6yqS6t7rC
vZEc7KQ0zsTBDWk71l0aVPUZHIP17DcKGxQoWS7uRmN60UQMLi1Nr490cd5bf/I5OWvx/VE5aVr+
+A87gcbv1FjMNXWQwpoMx5K6a+KTfSJMTOQQe8HYeneYDTQ3Xo3qWUddqBUO8VsrA3hJWECok/8f
08zihxhrKKSqIYRuyd53MzM500CFqOWxqXDeoIZd/J9GM6DbsSuk8fecVtZN71PK0s3gib7Oc0g5
fwosJrX+j7EvW5IT57p9IiIAiemWnKea5xvCLttITEJiEjz9WSjdzuz6+u8+NwTa2lKmyySgrTU4
85VZssleXX2XFhqCYMLiTTjUbr0hcGtZwkACaz+ReiuwZiOIobf6ocgWXEJExxycFJJ7pVWvoBH+
O1R4qoJB0ZySl14Jb6s/XYKn7YGDTwHSAiq7NQiqRVsNuFLmU3NgomObyrGepr7+HTJxmdAN8xy+
h+JpA0854slTa9kWIGxQB51b5qAt0AXAgugl7CXUTzzlIc7kZOrc24Dro2PTJi2fVhNUa+LzhFrk
apNlSXdMxvpzbMFn6otSvG7JrAaS43F3myXu5zBM4pW2FSgxvBmXplMSF/4DfcV2pqnIf4h30uB/
itKBjWK0T70AIrW2/aUoLSSYHSPgs/chSMjTS9+G1t53/1KSVRZeK7AMA4/4TywtI/DDBgp7HdNj
FGgxizjlXehCMRaSBkZ9EcXOAfJKyXSr7bK4/aeOmhRqmylVY9GEym8aoVpsDqYJNVBUf72550u3
m2IFD6/rt0tcEg1+UlOz3TCLgnTzocZWCigE2t6Y5hA56j907ry/i5/Ov+WAQPgcHjNBRD07+vJb
9urB5wOd6L2fRvc5rgnQ61l58FWHTa7ZW6iY5TjMoXPwd4NnYLFQOeErJ6TOyxB03yyRWj8TvI2E
Tko/o6knMaM1e7SaJFy7ve3vIV2hT0EJr1zoddHtFY7tjD8zUDRKCP5LDD7tAlczSLUAnMEtr8j2
a95E3RT4auItGBEa8DVgAJI0qw4hq7OTqC2wodwie6k6/hOuBclPq35mGRR821JCsKzKx0cwQqZ1
mGFx8e93SSwIvl6ZDgGBbr40I+gx/4+AYME4xKoAgrn35UufZfkNXg/knrMABbIaJd9cjUkcqDr8
Dk+sBQCB1s8iTV4aWXevoUbNL4DGtpqAOohznYRHym3UuZNKjpvcKz5MzByucs6n0n7vvOkxAfEC
+2ss+gZXICwnLOcFNA22Fb7fbLCRFL52fQloOIgh0EMBd6q3kmNF2+A2DFzI4JTkV6MrscnzUbgg
PwfjHtrN454ImCVMvHb7rT+3TdAcsHAN13jpxS4FqX4PgXSyLIHmQ2JXJgp3y3mioGlqdxENabHC
5UfisOuaQ6XaG0l869aBcwjg37N4blhU/QoI26RcqdLBFlninwLUYeGNWwClFA1iC1BkE59ThlEO
sUxBJDHzmBxHJtuqtSZ8fEvAzobjzMlO+n5VZ6CuOTACOJmD6TjnCBhcx1QmzfrSfckxZ0qm+OaQ
g/wSN81It+VeDf7OzGlC5lAoBmSj7af2qpbaiv9prInhpWaC/gIT5y+g+sGBonr+A3x6uiyH1gNZ
QqUHMrV6jU188cTSRMAJJOt+wsYx4GX3IwPMMPYgLnAQjq6sYjHZgC9iO9HWMQzdIZ0Au44VtMtI
v2QNsCuJrNvTbJe+gluPWET11J7SnNjlJsJfYltQ/ZwMbevurbEnR+bsz60pFz84Z+8y4jmYPO6A
bc9svG1q314lveb33JbBMiKW/cB0k6OO5dVPPPL6ReFA9436XRQzFYFv6UEgcbSSdtNVLjkq4oxb
jW3dgwD7dUcDHe3qQpSHzM/mRUbxM3X7Lg6mROwvB+zv1/uBldoGduOvHlz+mdhe2uYMBBZswJtT
M+hL9yVGrT7Hy9Q8W0WTDMrk82dc0q8mukq9Or0adT41Y6+GXSa8+ubn00vXVf7ls68+5eo0M/9e
M/TqA68Srk7NXJdPydXEf/+pLsGrj74aefXP+scvdJkZBLfwP1Tpift30Vw8uFwaUIJnP7S5bbBe
vjz4o1Snk1KU3zcZuLvNbK/SBfoBbHXAJ2c7lWjo9KEpps/Rbz89n5JfJ58K+kuU2SfsCLLXOkF9
IqFNfjtIO9r6pZ1sNbRcbu0QAiJ+l6SvA4Y6Ia7QwJdkm9jhp+W53bsDajFkPVm0kypw3/po3fmi
ey8GwXZRL7uVycoL/dwOboG3QpfeRLNoUql9fZNShg0PYU9AL/N6WcE/46kUSXsDgfX7ZojKJ5Lp
8kmG9qrVVnpvWhAMKlANJ92umzMiq4EcEMpfSzPAmkR3M4jm3kxmBgTeDKSEN2LXFniVnAFdtifU
TQkKhDvh929CBoDlsLpaDiK0r+BVpgP+CHIeAD2/cUz7O1Cd8/uRZ/l9XthLDUGOm8YJdbqQeX6X
FcB6ms6i6/L7MnX5rBMR7LCWRYoVZUnsgvqyyeZuk+MHPYhBCUyISDONKUo6E3aektBZnrvnj3ND
GMGFEekW53lCvJhuEwb3G5NjPhDiWckephFv52/DprY+QRYIlKFO3znasgL4teXhFlRr7AlBxDo5
dK5Kt46X3NRzy4Quh3+Kncf+GQZSR3LwwwJytNy218K3gjgr3OiZi35hbGpcHZKdDX/DswMOH4F8
EuC8nkxazeDENzvjsNImO+2D72KXen/BSRkU1RkQRQM8hV1r+GZ6z6pZQcJz8FTrV8HdH3g1JvdV
VwI7SUUHvQ9IPsxxApjiP8XLNv3HeAKB6qXTK7K4aCPZxFDn89vAtqskhsshmCp9PWOYkzKJx1xF
24mFAhjmuW2kkawSgCTq5LfnWMAYlOaZ4kuQ1H4IPI3eqoEcq9ASPy1ruhGo9L2VGcjkudcCMdiE
DCshqGJUXNpPqYaAkrYkVtWu+9HxIXiOig56ekkffQ6QytYNa9JYNmznQYrsG+jpJJ7KMX8qULFd
qUS4p9ZuYHIOc6xtFIX8NgNidxni9XxXBuqtrID2VFHlH7LZOdicmVgIlbGlHGyCJ+tfHX7p1ijb
zUPOpybTtK/mGWWx8Ecf6iyXRCWBWgXgZ5GZlR9MmTzw4xKsB82pObSVBgRX+OCM2apikDOir/Bn
b9d8mry97kLYb8nC35tmLmBQhMXkX+0MbhZV3M9J58w/Y5jpMcFLt2m2XotaZfPeOFW0deblXDJ5
n3B4qW7Ngu0HL5LylaOueBtF5aeJuQNhu4Y3emlWfCQPxyVeNqzzcjDEeDjwlb/Hjz6tUPnUNXRE
cmwknKg/1PDW9V0uFioFQ9UcKES48WSV6e92PnMdqlogaPrrL5mXkV+6Lx1mCtO8TDsJCLb++4s+
VklfX/RJCMiVZ5PIwXIKWhl/x0XBp4QBIpD194ynEq+F0u9RISzkd+jkLaUekp+aVE9tGUSvk8zH
ZTZ51i5o3Q0eYCkItzjQUH4IeAvugsL9HTJxrwEfonEhBf2lo+jqdI/K2sOXOLRF2a1K8qWOGno0
c7TcXsFGbAuUkA20BVD+SZXUb9BP69YDgGIb08wD/Ro5TXRHoQ74UAX2DYuUfOsZoBUTdIZXpimZ
auMQrwg3bpf2z7h1LkwcVh/lfuxyuBKPnnyTGmzavK79g+n1skVNouC17VgHzS+26TNcwNWSh/o+
41m20e6YRzGIyPYhK/sbaGrWdyWEx84HyH0qCHV3w1b6ooji0hmiHWzrv5uUc4wF9CNUNd+fmzkk
ZbagIbQQNMJclwkLrzsFUuRbJ7SfeO8Dy8asB+5TdWrzugBEqAjeLY7ydh2AmY4NgfE+z7xvxGXh
ewrKxTIAz2M/TLgdQWxkJacpeIdZpbcOodwOjM6wuFQajF2NKS+kBdZAvjP1V34357rDXJYwvT22
yzZmxJcJsI4s4zLjqNVjxb3j7nRjtMDxN4YbB/9LUPx81tc+IPy2WJkUEzOHZs67NHWh9dal4qVZ
5cypHoZskg/WEIkd7CWwSoeHQ7HQHbyXlF26m3PbK/tFWHWQjJqzgQzut6K8g/OuKpYAL4sjDQiA
Ny2rDk6qvO252bdUHJVRLjNJpm3OoqTA6i+UkGQOJG9jEzxnMqebtrJmUxwRWK8lrBjetBdsDAoq
nxw3lqxn91Jm/X7KbBX3EaQN8HKB/8HMCm5c5jgoa+UuJEBy/j3UxYYV4Atgc1htIClYbiNdFS9C
TUeTMPVpCcqofT0SomHZI5gpWSxSSNtA8uaX0zRvVV8kb0nRQ+Ut88iDCmD7C2RHfyJtqHZ2mBY7
FF/piZYTWbVg0j/2AQS3vUHKd66bF9gp9b9I9ARdwHEjWBbuZAeL9G6q3lQKVNBUq3EDzlPzlmN/
1wvt7luPBR+0CJ3yYDPlACuGorQqu29aTHADBKp2Udppv8DzF+9pM7StzWrmLkOqs5tIweYeoPM9
74uoOqD40CqovJs+3sgUavFU3wUh8N4eA2E8zpQVYauHl9jss24nJsm3voyqBWSkuxv4COGVrwQk
GWUC91tgjXdV4lpPBWheu34S1dqzIvsjyI4wfnO/ZSFwMgmk+4ClFPgp8uyQzQe42qUr5RZNzEDo
7+5MT9Gnjv7wE5UdcgaJrLivKgiYTQ4W6nj8LoY22Q+e02wcDT44qtsBlHlabjU/bAbHagsu8IvO
yVtw6LvCfzT9kJ9BaueXd81UpnGJ7WNfc+yuZ7Ais6vpR12ExclYkQEdCbuwNMx3505sh68AxYlW
xsTMIWG5qxo1LIzxmMctcYIgEJ50MDALqMoffJCCzUgTAojm3z8JEn/52dPM/r8+ycwGq576//qk
cwLsri7/Jshu//BA3imIb6/demwOdD5YwHOezxLYXsOifG6bw7l9SZpAg7pKF+OiGxt+FTGjrrJg
zr1gtvCh2qW8Jx/A05VxC8TSBlSMPH1pZZDu/x4vOLGeNd7Y/inewPN7T2pWrRyVfuIStWLmS7qw
ZrsP2JC9iRbrvKjh+ggNeQpBLTiKJA1/h6LK+E9xNvb6oQEs7pzfYfniYGcZGESb0XRR4p0cCoFA
4XbQ0IREBxwJ1g51qvjcdoauO3ZDhYebOU0z2h1ReCnAgBP12sQghFn87i4mH5N4itNDw6/HnTtM
ujkokqiVHBvQQ+YZTeycg93Qvz4Rhq/fSA5/9vN3MZnKkxk+DJSaTdUkD2c8FZ5MTQpyljLoKxMz
ByMKfWlexQq+SQer2UG2CQrD4B+JTGGtFjVvoWrXExaJ4A5JeoM7n4CxHOK0LckqdGW2LW3VvkUq
wIoaDIe2beClUGXfsK3QvgkX4JTEocnaDJL99Fbo0b9DwbB+cEb/tu6giBxAZHktsmI6mEOYwclj
wE/CtJjEfnfelYC4a4jyAHtdI2Ci0CdBOxzI74EmWMkIqjG9lS/Pg0wwJE1vLcx8eIrDsghVQ0hc
VmHx4UxOfes1cP0IbFFuQPAl6arva7Eo7Kpcm+7LAUu4CGu1pl4p2dB0lYreWWZt3YMI3XjpCoYT
agFHG7WER1S/zwF13Uh4x4YA89BVpPJhTyzJ6Mp0g7EHDpj1NdoXdfpkEsyAUAfQKS+ndpXA9Gtj
B01/bwf0l4P3tI+iSNXCHq32ZJjiXaXEcgB8aOmzUN2OOviQXme9AObI9yGsJBam2YJDuwImA4QR
FlovHQH5NxEUfNw52ZsKaAPC3XCcePRMOWxqkWQmrFLvw7TMhJ5dwVxi7nQBgjhPaJpWDQmmTlcQ
gMakJjRPKkArute6j54remM++e/fcojw1mYm/fItTVP5aXb1LW0Ctg2woecJKcrFsk5f//4tOZuS
Rc7LPjbL86xqP4e8mNZmxW7W+CZuzv4jpuXXoZfxuOfSReR51sqKxAjmN+D/nQMx/EWnwV4aU3oo
Zgz6pdeClQXkW8vMWkKmu6/fh8CnO9kkwVLmSr5nXf0LmCE8jfk43mU1tiuKqH6voca5xIsh2Znm
FrfG30MhH4r16TwUy4FfXlfoO4jIDDtYrNdb/AGc/eUwAai9h96e569MED9Jt4zNKWttoZ4uqY4D
HFXS6ldi9zAhappmAdsRhSUf5HrCKhaOBZ2OUbND3uBncMTdnx2gLw1XzrQAZ0eOUbWB4Zq6Be2y
2qaa4Zpgs5a8MYqoZSm3QwFmOpstTfRUoEdor93Csg7OjiZoRs/eEnUGZh9uxll8TjRT6CGYQABm
HPgZFLfq3L0vqlq+Dt0AqHA/fnCYUq8ym8IsZXSv4tkESBowLsXOn+MT1rBY9I4fxRw3+Z3P5R54
oTDOZ6Z/CxA5dy2yaxhUpUyomlUBRtzuAFX4W4rpIHnbHknR4s0hBrUpkbgvj5WzAezeX4aZEy7x
LtTetYy0d+CKNqdZ3CqJuBsB5IGOsG1QoSode1uQBsJe3CnUMmhs0Grh59aWosQTaj7t6xaqEn62
Osfo7PTWSvxZl1eZLBmPKORPW9MtZiM40/s1uw+LbkF9US3TCvt0sem/OjWDzHBHYGtodL9Tq/UA
yhvHBYXr19Y0p2CcC+OeHZtmJXzvMQ0//MBrH77k423ae7T74Hc+CvZ8AUaEbPhm8rt0V0TjdJvm
1NoXhN0KEk3wvkHIHEIKJHIIkkx8iZmUyfWBfIJm6tJ0XIbh7pjEuGyj9SVWzpPqynnuenj6XGZq
tbBvXZDP4RCX3lwmUtwPj7zuV5eQOUsDUuzagvy4TG3ino+65uSodmGaEwccMnYZbsej9sbzLKbH
fCCBdUQctbTbmpiZy3xDCCTvgtxNj5fpQ7u0bhhWX3/+LCaz8CExwqHYama4TG0lNQjaMEYAnR7E
Vlul0T4rYcM1goXxzZ+cXT9wjSXOUC66Jp1+cNgwx8TCfqETWHIZACV1x0KwNobGgkRVT4dj47Zy
zdwcKOxwkAsh+fQOX44H2YxDGoOnDZoUh2KDjz1H+GS+gcY5YkvJ8e77TLhrfwisg1337BDput1Y
wO7caZXzZYWlllNTvSn7tL6h7pA5sTltdLmB0Zc4XMVg/ljfwOJnZdcVPZg0iIeDxzLHUfau1/aQ
HbAynRZRyPQLJCXHuKwb690pvI9Et87nBP9xEYwQu0YhAvUnSTmcBn612PiC8kTP9olfep9JX31E
WLh9tNDEAlWAuTcKBE17ZkIHVlUDesLh0GV4zCaYm3K7Y99Y+ST3gQTh2psPnbC9/xAHCJyv5ScK
Oh6lDn5Grkv+ZyPEh2PUROGsex9K67k1UGW37Q/NfOjmQ8HTLE7tEUalxv8dvPjDJe+fYpexEc3V
ISmB8Rc/FNBAzzpUyelPq59bVl7+kCjqnfvmVqkaaBXTFh9bW/TRBTRxOYY9WSsNl66osrsjoHyf
E/xJ1UzY3YrOIbc0G+GZ4ZT2yh8THR7TUQarZv7yV5iYCxrmHOROai9yp7ZWWeJ3Cw0zlRMbAu9+
ouJHZQ/OvaiCPMbbTn0cUWNZtWRgz72Lx0/b4BHLPrrcsn/WZVfHmYTuhE0VXzeZmxxgRhj+R7HQ
/yrdiU0r7FfBWNBzoHnuh192rSDiADeEpq/vG3AtYRcHcLf92PTOB8um8jML7fcJ1ttPHv4dm6Hq
s61TsuHp3xKwVshuRpvIYzUA9o09c7gAzs9QY+hiHpeEtuBe5WG7vsQktpJ3kNq9K31QCKpSgCHP
M/JcYSkXlxAEBQvRdc/NSy/Ed6Di6kAZ2enaO8sC19vKHji3s4cwdJMd5LdrcH3RNB0JnfylDQTK
6hKzBvGdtFLCoBNpSatSwEkX2CJAITyqPO8waO5DhgtniT0h2P1pX7pV0z6wioF2wdr28O8FXfha
f/1FeYBs+L4XQG0JXrRftxZZS7PMmWR/l9uo0rqzQkXdAQyQwFg2jjr4rmKLmm9ZS/BDkp0fLC/d
STHBUKTljXNE6WLpZUO4BqpnWOrZzoINfvEwOu+oWfWP3Wxa0eIvufBU3m9N03G0d3CbCFIsc68v
0uERqpxQaWTRyYzKRR2us8Z+wUZTFpuQqMrywfXeTMN8zgiLsKtZGR6tsOaDZAMrcKGItpXt7B0t
j4DswHdmPsvmnqjMHzIvTzamdc4zQ0zb5AVD/SFYr3CXtcZ1XUDHrEbl5t2Fp42SRfOK3cRu35T2
iH0vGNCk1vjpOaq4J5LJ23FCcYIOnfOe6YEslNdYB5CYi+ecVFszj5nWBnh9k/TPQbUf3Nya1tnE
xHHMaHWEAPTGVUW/ayAO5JxMzBwqLPDwJJhZ0nPyeZzpMYMrQeC+Po+u8qjbnbvrrAq2U1DjYV/o
d4D2+fdRtF2M8pp1Z6nOO8AN0JnFFlBELL+nE3D/Lm/YmlQe2UU0I4//MLBxiHfwxhbV/5oMH9Hw
GfEo9uTEbwyoX3IvugXSIdoOAZDoF6C/6YDMJ0T8Cvxav3T8fRLT6Udd8nUSRTyY94b5B8FCTYPf
99pNoHbgZRoFrfnleI73c3yY4+Hf4pd8gJKu8t2B2q/1hE0eKyislXEz/of5/ZIyfO0S++qeB/fx
lFYb3BNGqAvhrrg2KhSw4v7dA/uHcWcUJvK2hy5mR1BKT4+UhfVro9m41gVxdxWr2UOZEtg4aK/8
/JMRBeA4mYwEhZyHypl+Z0B06Yiq4r/MIUi2THVxzJIo2JlbJID+v33sSl29ANoe7AbH6mEEiWYx
p+lhgM6ESf4SMzfVP8POHnchVuKr355JnsfyJTSbIYUdVlO9zIDIX6U6CUKURGV5K+mDkaMYsZ13
13Fd3iVzGpvTilZ7J2gUpZAGyaIROKd2vIGJYms9SjjNbkEQhlNnMtXWPvz7gYbBCRCpZnOJ0woQ
IKhKpSDqg4S79+EwB+eEPVOgH8dGr9KAF5OZ9O4bbUwTNG1zForTMPb+SWdbmFLkNwrm8jcZ3vUg
+xOldBm4Kl+aoDkA8IUeHm68XuU3aQbJIBPH3jUUhOYBBem3fcfx6X+24c2a3BmJh41R4CxUfD43
4dKz4FERDMHq39fwYw2VQ9WD+c0cuOfFbISt10RsH1vXXHrQDURbWr2/wFPLioHDhsJrqE5gTvc6
nkIrhMC7gFGtaZuufhzVyZzhXtgdwkjD1nbONh2QMP7da5ogzzwoPwEOMYeEKp9/+POhIv1Mf0sG
ewHyRLI0QZgM85u+jnDI4gGvibj/ewVck/DqtQCqCqJ8qJ4Zf1NnohUom6LdmKbdSH1w8ZONWcIA
fSGnBCYnCspKYJ5fDijOy2WVePkitf50t0ULdrqcsNo0maZ9PpvoPEdVPll9qjYRVNf2I8ArjkCN
PTjk+C892mPr4n2Dq3ppTlHME0shnWnhti2WTlf9ShD3KAHQhrtbb6+u+oGA+2u8KPhDwMZqe9Vt
Bl61sQsZD5A0PkAJf6b4zF8BfHT3/GVMM5uibp9GFLuuf6Y+f8se+qWbYPDfv4wwzdr8Q7Chma7c
SqWLsZF8TYjvxhCddm7Ngdhdggo3jVtdu+eQieeBm+5kibXOpUPNKX7biNUkwLENoQHvgwODYFBF
gNCOPTBu88yg1sj/MBMP/gcQ7Yd2RAj1XN+ntvMVnK8LP3cbIInuoP4AmhduO7fEE8128MIBC0lf
3UhYqi9z2mQvZQRwRwGI6c80OFhA/P8a++4VS430zXXSYjl0uAOmhOWLIsfWEB3bAt4ckGSE2V8z
NdGLrcP2ptMBfpRz2BtoBj7NKNamaQbxn7+lI5udnBcQYyAPLS+COzUvGf60TB/rIXM794nQYWu8
VAEOj52KW3OIGvcdrwX9jhPh75O21AeUmyFKDR0D7Nl0kIr3ITuXO232Q4ifIIbU3x1No0VQ1eMN
h0ESKFRkXHVBYr3iej72UZj9gE/5J/w2/aeOjE+jzyp9D4bTsPOcEaqPPOwWyWybmuAPeYxmv9Qv
TYiVTdt/fwF1vy4SqB+EWBuExAfehrpfjZESR+MSx3vFkwYTGOrJzpENA6TtyaDXXTSBHae5fLdb
skor23n2u7E4EgjALKweacEMRSqAOTuNkU0gbgGjvXraBbp05Xc7VXiX1SCNBZose9q7zyU9Qnq0
eQfGYY9tlPo50nzYF5UfLunkhP9xfTru1/UqVkDARAcehZSMExH7i9v9YHl+KpIufQpqtSIdf+pC
wqHSUbWPqU22KJIGrx3UfPZuR4EYsnTwmkKLdNnC7WBvennId1yN8lE3YMfYYIeaLDW103ZMIP30
1EEO6q6Bw8ox9apuaXObfSfBBKdxSt8Dkco1eCXNTqeAzlpcvpgEYaNEQiI+3EG2vVzCcctf1zrH
AqYUDyT0q4emYOk2ELZYXGIoLGQL3+7rrUkxHWOfLSLqFHduwdSGBY2z6HF2gH76p0kQRTVCdkHA
k4bx5hiFkrtrAB70GuK9LMYNaWhj6O28Qh0WoKoq9N8h3bbCay+2wGyorgdu0e08NYYvvg2diDle
9XRahVELZ8LSK/aSafC29R6WqeR1nESGywHFFNMMHFWto7EuNkYrVaYNVOl8iJ2U6eC/AOjq4QH9
OgKKfXDxj010/h3sgbReMUJZnMxykdxPPocor7AMa+64AyEwDzJFcV3DzbaZrHDZi1HdKtDENhYL
on038emQokywCUpe3jm5dUhd4IBSJbPjMC472+uPnd8MR3MGws3vMxMD1ROlc+pC0zkqW1CUIYP9
7z86+sXwhmKtF+InNzObbNw4A9N/JW/U6KIdhShh1xVY5aEqPNhwkm5bG78p0xwziMyxpGPQIs7I
qWzabanhNZUDXn6bpmKRpry/E2WoV0LQ/i7N8X9mzkzsqrfx2TJTfbho3TJ6LES7ojP2Cjru43Ea
gV8zPrsNhEw2DVfZ2vR2zVgvZAAtO9M72t0B1u7lA7hPABCM1NskpbNvuOvcGCtpWJ7m21rM/quz
FTVT1Xj0Zfg9kVVc9Hb5nHTKvy+c9IgNFOslt2t2zC0vgO0RmoXXdBsXYl0r01TYLgJOnE8702R8
+Ckri0IQGrnzjLBkCPdnEs5Qo557XwM92u5EMovI1d3KPBGAf80XoTeFB99cYUOzGGBn9TyMPLht
lf/NZMGkDKvreZDntPEUSKvdNcFA8xMQLI8VhUxlmkA7NB8zucc6iq8LxxVvDn7+ZFSQybFdgJxQ
zSRhGNRvYgIoy06GZm2HPThXHtYmsKcZvIPTcxQYmknUUEOBomviRCVbXvpF5Xy6WZ3h3Tjq1aFN
vQ2dX/wuDmNBHn5zygCGJfOFYEzHEu19A1MQr9dGFqey3HPTDDJpf0KjpuBLmM3zsQohq1r3464W
qQDjA9OZ5CmtwIkeS6ihcFidCUq9dQflm7WqBOT8w/5HZHkyHps8fbaBdloBM6dOXcq6PXbQ9AYG
CtW9Sti4yCgP3/OuuAnL2vkFHisAWKz6zMtkioPSSqD6jzIaxTrnqIkuDhVu0+sJwIkHL5CAx+D6
/VZIb5dnNHhlfrXH/zI9MTiXnbo6wNnc1HYVxFguRysT89NGYqk1OHhhDlf+RJw3X8OmbnIyMsuw
Dg/6V51gLx0mH94PSJktJjLAfll6LoR/qL4lrOR7fDlrnWOP/cnkViyTsQxciDYNVB3t+XBlGd7g
ZqQyO9v0VqeO55QJqIahSnO4BIcEdIS0c9ca5q5L80sxvw+3hYmdkuEdRAHkfWuuN1iaTL+XauAq
r5Kp6E+XtZpFIrUGKxSGefOqTY432eARGIbS9JVJuFrMFyPNsbZyI0vAFaCG6F1Th0sXl2u1CVOp
1ufP8Txu74I+h8FLCvZ7C62/ZSqL6aHE3h615JN5Uhf0vQ7LSwPyLvLJvDghzfRUAWmOflnOPxge
BR+R9QAJHggmNwxuFHqSvyjFAnuCpkMUVC9e2XXfPAWgdpJnxXuRvHTukcAZaRHJvN76sz2hLlWy
diRyhi6bXgQ8npfCc9zbYRpRnqxIvodTFj9hLyBc8T5pHzvRJDHsdvi3BqXx+eqq+yK/N9ayDP7q
l9Zo53tRRjYsMyY8HeaqpQvps1WYpGzJ5yaZ9wAvHTApZUs8T7Bj2M8r9ku2STRDCrAueSb1asAu
4L4SDIqv81kqe/i0z+KYpgxRzoqYF3nLc1Wisw9+XroHE4fJabXAPxBm4wNu6X03pLshDez3X1E4
TO/aHvjOleWwsljtvOeFvJ+I4I9NyO0TZEehaTInFyplC28U+oTCWPGIG8NdNOeTDg+HsKjzOMhT
D4B3bIEwl9WLaQIjttEvllf5P1gDVw9HpunjkObupu9HsfOx1qqE3R6sjBbwy0iDU5oB4WbOTGyY
Y3yOmTMT46EHY6NU3P9/5P77nNYgrz/RzGdl1ktZMr2sZ5lVn4/DLZ/a361ZRJUy6W7zqgtik2EO
0HxiS2fWMrnEUDe+I/lIj+BSTEsHpq/QUcXui6b6KcEycQugcbp1czI9lW303gyy/PzPhAKAVQgF
xH7lZj9Qsd0xiT0pz8mBMXKCHJ5nZXKyU1ktxyxrv1ljhgJZmf0IFPYyJ7xl3VdigDrKANKFLgV/
iuCnGjeE0ds2sb3YUa2HhQd2K3lZieeKpQS3S5rvTNMu9P8j7cuWJMWZZp8IM3bELbmvtXZXdd9g
vcwgEPsunv53BTVFdU7Pmfns3MgUoZCgsjJBi4e7u05BAbXDYUX5KUvDBA/vNNpSK6TcoH7u+Oaa
Wt0QSio9NnGhdwv6EGgvhjhNxauwxJwav7lR4kB+LL6DOxl62Zn7s+XAwuuhcJ8KYHV3I8gbDxTr
C3Bse8Dq3sSWgKQ/VSq2V7G+X3n/klTq3q5BsX1uOSCtdgzGXN/Rb5Rdu9aIdZ935tP8bsNp9q5M
hAeh9I4/V4AbBOBuF3/I5EeVDPUPUPHjA8/t4mEUgOgDLDLs9WqsHpKqTVZe57U/WP117oKUl4A5
QntyshbZpaPTHC28Oq42m8Q6buvkK+ubPcVqMr+T+NF+H2Mo30CLs34yRsPZIy90LwwDsgbgl9VB
RvwNQhzPvWHkz2GJnB4fy8QN+c0W+ZNG/m3oJMebMO8Pne+dQebLTxCqtTfg10vuNbt+q+HUyt4M
kRbf58K2N1LVovBLYVqAY7RmsiHqKnx3u6BG4ieODh372cwaiFvF8jUesLtKYRPXu3+Z3lqGWlYt
7J3YDfBBZGvajuUi2RfCcSqp/8P0Vg/xF2kV1Ohqa/AOdOrnIoW9xB4HzghjYYhNwpJuNukAEPMu
JPVS8xxJnQwDoOgtEfeTTT0hC4/zT3W6OEf6aQitCEPL16EV6SemCqiQTycynbIG/zdVyUnNwkzj
tZu7yDxUga6FRKqAqkvHm3GWzj7ekTixBgOg28vngvZap3k71cKxUozjFTJH5RuFtAA8lM8Vxbmp
VNuuiBtq1u1nJ8UYpv7MaZ82BhPTig1KVzqUfya6mL6OFlBf2CVpQbuajg+6GGa/jMc3/wT+mwcV
T3hIozU++lW82WpfOdSb92DOMy5aPRoXqmGXSL/wbuOPMvvgNnpvktCr9PsDz+orhUbIlzwLy7uP
nPoBWUSjFxRNy+6ySBrYjXXsNZlUAHcH6j9NnmwzyZ9Ht5/WRdGlOyMZYIJcBBOyEMmYlYUMNCiE
P7SJAzQ7YqkD8n8+ZbxwL0t3UTEAq1W8TLkGrgP3rbsB4MmGYbZ96OreuoydY0GIy1Ocbs1Jb0ZD
rs0R0rtxDdgP3rAvFNaPviYDTUCBLrBMWa8wmxEb6kzFh6CEufNg5KOxljgalVXmC/kN3Wvw4rPP
el9A5cdUWkpLYSXYUVxMEOTD1MfqUIbmevFTjWLnCDXITVcKub0GxSA9iW2cHDOPPjfBf7V0bMlu
tAReGpiaZMyhhBvn93j7dY9IXLMOBQTSA2QEdo+NKiYdWEXdm8SeTGpA4hcSLXEQojplmODuSws8
9JMZ9bNvCrkdpDZAlhSvOUnz4DRzG6sAEUk862o1OnQDpqb5JkzrGDoQzwqYDlXA3O9+RjrDUTr2
Oj5HpgPolBn3d3HlF0gAi4sdbnsfudCxhpgBeLDsQvuqy3wzKQnRogz/9M2QPWd1Nm1zMI1CKxuh
g8UgyFW54ddpKvAyRiiLwaIDRA7tD2alJq96zV5pAuwKfbpCie11aRt955WmwJpZTkvkb/qpSMxU
/XvAGHeRZ48XqPDKS4JZ+rYLyyEg39LgqFYyceYiN4B0hEhRGKFDTc4uwiFBVdcgUjUytsUWsnes
8mq4mHgJbfQinD43rfGNQAbYzoI4iQ1yBDvGSUmFWWJouXd5P3wCAzwQ6lLrAGZXBTes5hiPo8Sm
/k2V2jUQpBxBO4n2uVOFlKmb7h9iqBq34b/s4jm3bxPkmduu6dqu7xoeNppvcAy9dJ3aA6bt3II1
2zIZP+ZGFwegVwE/NtnFNP5lVxm0mEvVLg1853RVWGk87r3GDGrTiva0AGOa9K597R2MIQWM0pag
gsoqHIZq8eBDcFgDRd6qxfJ3kdN2RMIDITQNuq7Q087CJN6BFWpYk4J2ZE/FPRttqGu7Fwvo5lti
c7KhlCG3MrPKwAPnxoXxFpLFc4uy5z6xjYPnuDk0ia3/C97A+3W71zE9HRw6DvZhXQ87oh7R7Xx4
M5tpVRkdtOXPU1aDWVgRE5vB/A5jEX56uZ9hBYZ5MlQTJ6TxsF6+vaXo1RXHzhF4qmNt39GmSsh4
eBZ4oc178pEpxFaWDShQ1JZL41siyCQ3AJzqp89/75Qh0VQRQRZ7IrENzRiaklg3HErAM2feWxza
42WpfI6iPqeGyPoljrhvF19bmvUGu6pFDbFDG0fbHtLNPIhhPNq+GV3zagRTBT6fL1kuQkyswZRr
+W31OFTTZ/J3WergRLRRTHVgnvG7cjV0ofsFGTmK22XASkeZuj5B+tyJX3yug2ujS6w1dVeX0zMj
feyx5JgvR/F1WrxdLgtd51+mwf7NPxb61J4NCTgd2/mWjm3vm8RAE9A9SGkVSEFGwiRgku4Rucvu
kWp4mb/VFl+LaR9oh/P972KXsKX//+RDQhugGhDaifqyOiXRBK0wzDAgK6ZsT9W6JH2WeRtub/wU
Qb65G9kMKY5lQNWlnYYZXCStBGqwXughpGj+ukhKFyU77aLvjp+0eDTh/CmCHnhqHstfC4GX2HFo
GIDLqqFtJgf71O8x1GKB6OMwtp8W900vaiAf1ZBJZmfBYv9jvyWEgSsoSNpRbunwWjDRbBJwcq+K
McLZtltBfdsDcU5eZ/9Cum+a7q+k+w72ok0TG054ODDTcHVq//BwsMfJZIVde/e5YeEIfVznvZP9
TPIwwj5qVIHuP3X2lq+L/Rg6xaPpGmYAHhesC7GgzKrsp5x6sJzbF5qERm2Cndq60+8ztF3jkHNg
N035FRw+AHanyVtDqkGxixp4iQZuhsM94BlTA5BcJvQDSC4b8G9mjQ6IS+HdO+Pk3dtNzva8BhnL
4qvqVrvEctog47DTAoqD9OvWNlPrQhYVHvQMA1NWBlI8Q++e+qd2zTcT79iaQix1CavTvPkS5KO4
3usfIqX+MKXGVmgGe4oirt37NUda2mi99MLw9oMGEhIyE41Pq9wbwyOZf+8ERoE2yFP2Y+Gdh06y
9IRzn+LNcy68/hWKVtl9A05SHInjyK3Cfti6spG3hMRQ71VU6uFUfZEgKQTvzhhv6MAOc+ofwHn7
90WYQRBdK8CPoA7yqLdiUwxs3bLXtV/JS+FoSA7Ky+SThU2+IHOR5jZAghOkdvafrPYf3FYkXyZD
A+V6Ztj30LS2d32VZceORW/dcdb81n3y6sdEZBeeAxWj+/UDxGaihzH20k+JMAJyx20vL8D81MF8
2GDFzq6aQL5DrbUX2ZB4MesjtbZh+2CpMfq/xsD6Mwjn97TjgrTK6vR1b/RYkKkMV+x/Ia00q7zi
OlQlvjR2Fa0dIFp3YPrptSfkp4NzGEI8wsueIS6aPY9IcglGabXnxuqwHgHhBVJV03xLISngCacM
jyqoZyMYJHntk4kNZWVQfBUVOJE3a/0Q0gUamw3bLhnFfHbq9R1kJBrkq1Wpdza1PF/Rv8JzonQF
uVbtPEzD9Iy/5ED/YHD5RJgfV2JHJ7Gqu6339pUX45FydimZt04Uugew1TWZ1MDDOIcc5Qt9DBRg
VayaPxXyzXRkLLffug41iIHcqekPmiNGsOKgMG2eH6sJqym3e3ORf1Cm4DE+b7cFd5YNPAVSzKcd
fRBGnvUAXiGTlz6Sutb4gw3uXLIowg6xcGVjeyWLumexL+fuWd/1hxpbuIHP+s3E/GPWFf2T3zXt
naiguFdxS76WGtCdyMBL905ZyldooJ7yknVPBVKB73gVQkPSFtNrBqXUfwyLKi4C6l6r0bDFm8ow
xIyPW1G2LUDDcHK6qmKrJCxBuKQPURmkqnprN3bMy4A6zFVs53wSnbTmQWYf9RRlDxFeqn7oRLab
g9zTBS+vdNzL5ELXDBRcbOu1wD05qqCaWUJoy20LdhwNsVv8UCiBLHMro3aVNWGyoTjgBIF/oX7I
zMXCQ4FAMProxfBTCNk2KNfWHXA0wMNiG34dC15AVG4cd2GY/VzEqKoYx3Ig8Qdrv9pupYah0/Og
akxxJB8VzbizsrR/mI0wTE7/NE4X/WynsH7xzAm/c003ToKV9ecm5GsAPqsvCta/F/6YbR1l4mz/
zm61+AlkTPl1yEGZN0iv/LJ0Z9iZe4Ka4C7q8j8y4UlkV0LdvIwGccYWvzhrtgk422JTjWJUD2jV
TluKI78wXDeA8IBcDyYQHUILwyeqtWWtzbX6vVZywQ9T6IKxORI56PmaaocZivWCL86OBLBd7JSt
kGmsX8ZyYtdumlIwaQMj4FT22eoagdw5ls09oYxivXDxPI5gElV3f/N3LCa1mtKN9yPorNKpNI9I
DzSPfgzS6BWmvph4pAJorakPY5yHon12OqGNJoo1VJrWbL91eB+GWQnou8f2JxGdEqtqDaRkYCZj
s13IT4k+9cbseHJvexBs15AVPHagOqSiAb3jXCOzM5vi4Mn+cuO/ibVVLjcHmcQW2e0f+7O6sfdO
1bf3QyOLlXAGC2pWIny2mnBHj9G2C7Mdq7twS09bPzeRh+V2z1BLSy4ZhGrnp/DSPfaG8BkJ5jse
fsuZMT5SnoGHeYFWpp8ahSD6y6DsBBgC0P5Pf4UB+f46lmwDuC7ok2z2OfVk9mAACfyIoxcJoWaw
oZFJBTYb6hVr01Dh69pH8qHT6OJICalswEINdrjqyxhoi4R/LvSBPyETXJxj8nsm4Amp1a4jzOIh
ewKE8rnObKS5+/aIs/UwKteRGZUrTZm6jBXGn92VFEI+irObFF0WOzNfQhw6nMhDg87DqeFvfPPV
QBUL5hnwnwcTeIn22K+RJypqMYFbdLGx9P7F1gz5FimRPrON3ekPCl788wh+WKwABfiW1Db0pvOu
fezbuH2UyKYN/MQpjmR2ulfc26B5IYsKKDhWu5teltt8FRx5j3ow4EUOeKyIBRarHljeR5xyVHks
nKthDdtYG4ej1tatPAL1uAGha/mQuDl7UonCgLRYn94ts3fN2YIcEv7ij9bS9r/1K7pKB9JH81ed
bsavHsS0udW/tImRXVLuAS2o3A3yGTfI2cz2jTKdyX+EvHL3gJVT/+iK9kJRmLSyve60GoAviAJp
agx0Jq+BfpmHtvWyf7G18G1oUEikT6Ymx5N0s/Y6qKIbLexIAcu8TaNKNzAzV2/ynjXXArqPlYH1
uVJSNnd+C0gRtmsuFDEHh1HanaTvb/MJGX3ruW81eQA4GDH0t7luImdshGqQoZmrtJsMXECNTdfP
B+/t0vMV3i9IIdlQI4eksrQdpn27KIpcHIpm8UPFhycH1EsgmmH+3jdCZy2Nxn4ZrF5flZChPELi
2HopwZhPncpcxg95b0I/4dXFumBvtN7eY6BGwn9UslOPhfdc4BfjA903TWACUc6Iqm5lngEyLt76
LOG3Y8x2HnJ/ZWPvbUWRNCbVrDRDatrSfWl5v6v5gksI1eZhqTq3173XnnB64vjp1Q9tbbfQ/8aK
DoqIgm981HDje+9fKdYqiqACKXePEUsgwuBZFna+ynIF8rpoR6YJRPF9EbkFAGnIByIfFUYi84vv
x3sgq0CyTr6ImQfTzNh59PAlDPwifRuKRqkMZN1KcIg5fmFtOw4ixT7iyUNfVTEYfYgeiiFzxzBA
z6cKP3PtE9CZcwT5lc7c1U7xYatOVJA/jn9UU+TcLe4+1s724I/nxVXqECdH8oZ1oOGpQXY5zo4S
Xu6W6+pl5ayhWlxsQPtVRStL3a8zAae8jEX3i19dEyw+MSTOKYndh+XP6gsP9AgtKCuS9gXbxekX
swMdgsktgMKU6WJPSufD9NkoC/vUAlO/Yspfti0LgMQZLw7WGc8lhiC/mFqxw/ZmuKXuvBwgaFF6
T0je9rAQc+2A/OBGcVd2ZA+Hsg8DzRqHOw1HuHfgv6lXnFXZNhwYfO8NrQm6JKOvtB01MNVKtXKw
Pjl5zo9LLPljF1gUKF2eb/yQ9QVHpn9d3NEUd5fOVtLNuI35uupe8EiJTn7VXs3R7C6mBb5E0HlB
FKP5WJDPY/Gbj1nrLh/s0+9Ci9/0ZBIo1o5V22XYJQzsOEZze9UBGJRdzacvN5e4MSX1pVEzwJDW
UL12kQGEex+nhh05Ep5HG2yCyKJKgo7r4z0VRJE3gTOqSQt5Xfx6DdokkJtM+GEglgjxBKB2t/0z
G+ganNjkUOUx3DMHth/pyVJE28FIuyCSssSeiFm7Z/u9GKOs6pGnaBxG8GEdqIF6z9Gz3VdIum+H
76QcpU2+9Yh9CjI4KGWfmtqpNyaytDfka8bSfkxxmmAV/ImKvJtwqGFq+obibTyTHyvQ9yhxqlJv
XSzURRsU7QiRYhaKfTyyJLD1OsXzDInDldFg9gvYKlSHUWQqrppqgCYHrdySr3GRN4J1GjpHqjPk
MWFjNzWGkIiJVX7QIOPFxtHoaSnMX01q8MNenKrGfe26qNkurqWXEfpIAVZhi49q/zgc9ViCqS9v
IbbqdcjVafQcMx51ygHm0H7XeaBDxKoBmNBeA70X1DzyVe409UOT2/UDaIfffGRSA/naegva0n0d
e5dJn8KjoYoitKDaRlUqrFFASSS2qvA4V5emOTT3IheLPsneBvgQJaeu3qnhqQ+e4ua+05tt5tgg
CMA7Fd9axzoDXI+NN6qWcQy+wirWHjAPL8EFiCOPhtkR4EdUVeGRBKmcC3DaMYGam9OnaE2wBtma
A7YfiP+AipYzKER3bF+bLmgSyEdcCcSi8GsI+cnlQdZyZ8Tuo69xLILkZADBWBkQPIBJtUKZVPud
+R+6WWNmZOC/G166sHjqc8vYt1isXRkbtHVt6OUnZFbgOQJZzx+mVeOtUeCL2CfZbirl+F1jyCWS
Tm88D46H48oOiil+l5VQkG3YXmq5Po8EAozyE6SdG8j7FQ4+KLxcIMFnn8t2fCtAD2Zu4saTAfmo
1UOCQbkmO1eBLZgFg1qmzlbXDPyf3MSzgZGuWLkeOyU3BspbsqiBhhibMkbgr4PPTk336j0Q2JWl
A89q6uu2jPQzz6L+pDV/5jmyMgNyUaG3RQLFGL41NDyw47DUz+Sf44SywduKLhyoRR9cvEfyORBz
jo8UKbCNEqL1IFauXXfHuOVY+4JMaDhiMQ7eNidv230TRcMRiODQgnagVAGq7W9ecnRT5xknCliG
WeKH3u6MFUUCxyBWkgFF2Nl5A748v56LfjCv7QTmjBs/mSm2oXLo1V+WePI7TtKemd2tbvxkxn4L
WFBsPc5WgzORorch3rbCFD+/cG1qRxCBAz1/0ArZn8CGcId8k2EXJmV/YqqgmlWDe2gLoGv30aZ2
yNvdNR1IHBw9LsMVhVMgDRgBchauloGoBSKXgPa8d/RT0D0GFDNXqSdFMsMD0aqXtvMbIGyxZmUW
5vnqfTB1vN5P7gCyO2XS+8CxtVNjyWw1hE6zCaOuf4rKTOw0WVUA5vP+KeXl9Cjx/cxc7BeSJ8UU
MbaBPyEzjMPkjAzEn2QBqoywsgLEEZOk2ULe1Dwgmdj7H08gn3jtQ6im4hyT76qcDRcnz7CZpgoy
qRginKczFTKCumFYzy0FOO+oZRSYD8uhwA95GWLpuIy9tC4XWEYYR/UomMdWd0IxUl16GUHoxuvY
WsaOmBrZGINeGrOshYXxhpSxJfF0xerIR3DWq9jFRb3IpBoNSeZ7LPlpSIGf3fFtC9XtoLpUxM0z
dn2QOzIxDvBz6J9GOyyfPK98ztXxz+IvDFlCrrJ5BngIbHwjByeHCxCkOxWrtrR3dYMlDIZqwV2L
mj2IDl9pgC+Cxaba7KT2pQ+Zk7Qq0PDr4NN6H4wa3HHEKTw5S9VCtdm52OSkcGGNxp5p5nxPi//2
duhu52EcBXjTfcsG9UJiVAbq0JEjWQkSniCTCuQurEK90g+Li2oftCvIbhKrOs3SFYu99FnkLNSA
TTe4K01/1fBg/+xLf5PpufPF60NrW2mZsSMzhtBsVtjWS6Nl0dFpwf5EfmmmnyfMQx8bPYmu+HxY
QP48L0BiB5XUC/MM85EX0bPpJO4XjwGU2qh3xWAYVwbmyGs5RcY1bvWfpZP3+wjPQQ85brlxBBoD
SSCImH2da7dga8klVv+ubkJ99q8RkpUR8uktzAZ6aTO5GvbMVF9sHeIMi6otcjPrxBiP2YD9uICu
iwwHCZXe7seEY5lrp7dgWcc5mXfuNSc+xVDqOUlhluB9fLfJmScFZp9UpYKa50iysaKoVkksFeT2
v46xDGRF2FmzdCQs5ino1CYA0AR2xTZINihWQOSGUL4ZQuviuuaXIceULWx06yKEb0nQOXH9FEMx
kSKqqbAvVKMQqvUyexuKTCry8iE2PxP7Rds315LL9EJsGWVj8jvke2+ojYoKb699LkGfvvga2bmr
lnO+W3y/DgSpo+Fi5O4OWQZgdRU4ukLS2GnofXFye5zdrKjaaaEsAqpSO+tqcZp8pCs4MvPXMnN0
bOQNH4v/yYcDibe+1A0wJRni3f8+4n8YrISuZwaoP26CRtMBNHLrvL+0XtttCx4jTV+E7kMbdl0Q
J6BQqRoBjlFneMkASd26oW6CF9XA/peZQ/gvG/gxbqL+WYRhvo06bNUBLAiziGLwvVRjQK06KB8f
fD/ZjODde6Yibu0DTh2Se4rXjRrwfhNraWp0ME2YR2uE3x6iLATbb95KQIpARnWaFFqQaosJAEEH
Ue843pDP9EwAI1WRd+Atr+JLI530SoULjWGcoT+WrMXZHLnqJA2wanXPs68X9QHpxdbRt0rM7liO
5HfPiE+k5/NBwGfUdopn8Eh+INTehH0ogucM0iKNb6xiULJHnce/N0LyFY+a/I6lY3XJQVywwvMy
/g520U3e9Olrl+d4T7sCSjAM269cyCsFeDEWRNQzRPZU7OvVpVTMTEUPKe1mSL9hLlpcueTFVaqa
ZxXy8HYUDMS1owVtB7iYIC5N9d84Y+oP0kuumDH9VPq7yRZPZGkxXC0xd34IHCQrV5E19esPTWE7
VvukSB4LdRBNRRIhOWZsHHdHh9NLA9V6o/6DsVrsZysa/+qlpyWQkt63VhPd3Jgol1MJAxrkOLpv
XCnx0kz8Y+54zXPvWJ7SWnE3suqbZ6Q5hjgW4jKg1hTqQQ941KwkT6d2hbyXKyvN5C7Mi/bZdqtx
ZY0e21Os7qT9rkKe1xqHkthzqfghqjygxqaGmydbaU3d2rz20gM2/rfUusRNTosXMTnnwi/BzOUK
fg4LXeC92vbFsykqlaWb85WiEbgsRQbSwNnssNl6Ap/7HLH4b2N7MAn3wt5lNr4Ovwv7D9eyW5xI
guFRXxWTMwKoWsWbRUPrt/pbix7XTXOlRjDVCNSglfQxgsYTOR0jRNpjvX4ROM4Am7vr+eem6SGP
lDs48W+yzVgPdh/0Uxqe5yroCcMz2cKALq8W+0efYea8ps5v4Wz6w0bKz242acS5WXWmmsG4taqi
qljTgF5olGcdfIm+ORQBsqXFqcWyqwD3LB7WZuckJ3ICXCmwna+CyEnNqTP9YRTCU1nWePz/dogP
o81Vio0jPAzAIZNuK7P7TOnFFTd90NJU2Zm3ufZYNs1n0fuYOmbjb/2/iadxivdxUmuqDxVY0aFr
Mq7VicMnpHc7OEsa1pMfWYtlKCuT09wGGrc369d+QE7cjLL0U23pTqujaRl1uaJqXWLV9RfrvY3u
zQNQpDfzPAp4Wa0toXVB0lReCDqEKjt1qjCcPEm2rYSK2qhP2YlqrEsdpGu+B3n5KEFeNV1cavAa
0JUFS7gOGklQk4zFmrVDcymsvtsKYAqQSZc1F/JRbWzc5kK1Rkb1SauxEFQdXFVQzatSOc7d9Go6
WRBJPMy+ZRSq1RFo+rMcpBU3Dcs16Da8zMexvbqNpYF60DXfb6MGfBNr+Q7p4pNuH43GqfQ9VS2q
+p1vH8FWUr55qcntNYC/uVPbRy8dAVWjqjMBAL4ZQVK1Ggs2rqgrqzUHmpFqlHlAnRkiAIuJA6o7
nt/3TGT7rJaQiZElmHfICaYV0CVrYB0E+ek9ufA4fosjkwpq5TWosJjJT4ufxvRZhzGBRJ37U6uK
zXDKdgonXJpcWB/+dX0VG/YT6H7e45b+bumne8Mx+oCuujS8xy7+ZUyBB/bGVJrFWmAKYGsHYieC
Zgq+ALlXbvqZvChUOwMfbKmOTcY0XAM2ssGfg1yQuJMnqs3mOEH7d2nRjAHKulWDx5HSFREkNqIK
Mn/no5DBlp9m3ZL32JuuZFJ/EjARkdvtwFvrd8lBlFEaaKB3xdrLvbC85oDc8I/FB9/gRwdusTnC
TiYoZULIGc9m/Dody3kqskK/h9rEhhhzqGBmIYI6zs3T7Bt6KHpiigLWGLATalxvDhxcGBXTMsUZ
VF9wsGhCIxnpeEhKyX6IJ4B9w+9Le1lCE/yN0E+Gmr0eeF7c5RDW3rlj3Z2ZCex5LOrwwHrNOhlJ
a++kAaGLHqoSm8IvhgezN4ENyDPvmccMhOps6F8LWwBBnyXdd9mLaysH889Ww//bG4Gs14bPrqbU
0/UoOxqDPv6otPG7zrzhSxxhMz0HlxhonD1/xXEPj7yU7Wa5LaD+FAWjV823BdUgsJXb6dttQZQG
qQ25ibxx8GMeMlG7j7ah+IsG8wwtUPexjS33sVIqqEYJFok0w2PbSSLzIUueqY2iEuyPbASIgjcU
QA12Na7B1J/cU0SE7PS9ZhfNii5CPu4Mn8wGicgUj7ksO04esAw0BkV0YCUI3BH63WS2XamI1ezz
chUnZ9E6LGKIwqrblUZtPvjmEw7DJVI8pTy0EGrgL6YMsQ5P9AeumMV0Dq2HPsRBO975oFXTmmz3
HmF3fbpCtr+/HVjaIy/QnmpsnyOHmGoFZMAB66i0FZk4n2/mhiWuAxXCv9BJGsCT36T16R4SLYES
tmw0ugAu/ZrWh2+dw3QsEO5rJ9lLHaQ+JkuHoOdp+g2SnveTBGDUrSBiMSWMAyc4rU0/i/8IPf21
r1L9C04bWVD5nfXs1cgI6ya7vs/ADomkRBABCC5x1jSGxcFkK1ElfE8ASOBUg6RM4xcvTrJTyt1o
Tf66RpqSIVz7KmveP6Zx+kRIH6TDeBsDWYX7GJtJmZu54JbJ5BcfpBkttgu/d9CdW2sAVOP3Lou7
MXHiVa0aMnM6AS42fc7Bwoy1kn40UhAsAkji4ii1ze88zbpLtNx9ZmPVPvfZKlUGeXqbn7GdG94V
jec8+3Hz2A1TMFQ8f3b1KL2mRflEVqdcpjTXONutH/AsyJ4HEQOR4XLzUFtt/jylabvTwS20pg6e
qOU2kXV8SienuKa2NQBT7GQbF5N/a+1rAqouYMZdpcppZdO3guV/NsLmWRdkIE0Fa1ivBXpb63uT
sEnOoQL9yGOpcEc2koP2SVWyQFdIJSoo3sknfd/qHFim6lQaWfGYTdhUkTgCdDJvBaYHZB6NAtty
SvSBCjIjoUQfgJ7AWrQ2Uc17+WdXdGB7UIGTaqDWm37/aM5DUTcaD/wzf/r6H52hGHxbb2U6hXc0
fM39UCw+nJm74Nj+f4VQ3/8Q9x9CGNjydljAnv9D7HLZZsJrO5jtX+/0ZphqOBvtaB09A0ykkKdo
T1SjQrgmNJ1VQTXyldL2t2mTfVpcN12XhpuuFIfXPTZbl5GdCBR7nvGzjxOuBAiQ2qE4e7kqqPb/
46tLf21BzOtQee3fhnOy1IVESjJsDE8fVnXH/a99j1lPMYZ/dC6HrltdfGHg+1n3Yzfe2aORHfB4
LfepHrv3ueyu2dCchdNvoaIIytO4BPK50hQlJt/7k+aCP5jj+94pD9rmKCsctmUFNR4rdU/ggM2h
KOc8phHvv1eO/CbxwPvq5xzCYV0oHjFrGbdL3teS18VEFF/GL0uTt2R74UR/zvvqtFRbDXiMree0
MIrhkJccg7f+IKBFupgNlYGVaBvDxcHEwN0NyML5GiRHOpKQkNvd548uFgwv4M6uzjrmpytyUxSz
2Z+Y4bpz/r/hRWwVWsikEIosAAQx4brHf3znNG35SRtB3CTszN/g1LL4ZHieseuQWTb3bQr3jTuA
+kKyJDlBjNUOqK/hY1cptD3sd6i+IB+L8WB0v+ZT7v+wDecOYvfxi3B4up1AXHHEbhfD09UuwYdn
sx8GkuSiXPzo+tFelW3vXMtGhwo5CPORtt2u8OIc8VoFg7+v472DjVP/HueD2ZUzvllcoQ+/ctW5
yK4URY2h3gn18h0Pi0/rAAf0U0wi0txC3qYaN6vwVkZmYr6iOBpO6ROd/MJ9XrqyxC3vebJzBIPY
J3Y8TWy3YNkyTpfet21M+Kah2WB+BGky5aSi0/JhXLeVA9EDCMWtZZXhGcX6ARN+L+22t5HgtH/m
rm/s50CkR6xr5OScKM6GRsHFLHV73zuOq7bW26FYO3zNwY7zaic9vrxm20GgqpavmQkN6zTuxIlM
N1v7bsFfdYt7J1mUHdCWJTTXahfMbnEvjs0AUha8zwtwYoQCNJWgCrFx21ErrW85tEZWruN3d0ts
VXZvsSBaNl4abiDBWQeKAUlcybpJB/CBKXohE2j44wgAsrjosjyPbPgWC0yGhSq8vH0r+kj7aFIr
xVHI70xqoBBXE84hBu/J2IHoCcS7oTj3LhbKLP+clbU4p9j0xcm5qtaWLs4UkeYj1G4AEx49vwMz
gMb85IGHXrL2BxZdqHAF+HnXhqWXW5v1wJ81so12ZSXCA+8bBkRVkTn/x9mVLcltK9kvYgQJLiBf
i8Xaq1e1WvILw/a1ue8r+PVzkGw1SmX5zsQ8CAFkJsBSdzUJJk6eA9gkaAp61o/nlrdNCAoudN2V
6+DTtY7rymWBzvFZadJqpPibMQhxBhytLjgkM1iLKm3Ur1yGGPVhZoFKjxujZ/X8Qm5tZBA6RIrE
2bs8ZEeDea+ENsYrSP/ScFQ+teFgBAM964HEvw5gPLlSSORN4iInmLRxUMHkFRp2qGVrnBQOfMoa
JHozUJWmRhUGChtOPYpjFWjvAKir5k0zAk/agu4A5/nVuZbFF6ohG6MCjF+5Ud/3ER3yAaqZqAHe
0mQVjNOO84Tt9f7Ofr9oIa9+My3Ri10+TdlT2UO3aISOb42ONkHW1wLVE37zayeeYfmMka6JO8Z7
AS5T3uxcFJ9uVkTl2P6dZhaYKu0WHGAKQ3kHqbxDXn7OjfSw2tGIQJs3q+BwH/A7vHIYD9aiNSck
BuYzNbWZzec8NT+GogIoLKvj4M5OQ5pAsXdDtVILHbZmQ24bsPR51KBxKi+GM4iPS9DwVzYV4tTC
j5hTnTr5t5YOoHlNOSDzNCzlH6EYE7D60njtzo3xN2v6cUc2fWYHt0umQzyijnSk2k+gZpozjakH
YrHm/K82Bh7BM3/7VaSa2JreEMyO3eO2gfoFVaKQQdgr6EfO7x0Up4JBfhh0aWQic/HTfA0l5Dj2
kas0KD9aV1FzcWTUQhW66CFn7k654QPK1l14ZnQXAYqInRmGf5FJNaB27S5qSD1bTuhqLQ5QLgBM
u1xEOdTwbu4CtAZI0iMUy8kF6LIqmGw0VI4Ib1IbUAIPQVk22jYdFlSGo64URfXZuGNxM2IT0p7t
ked/tgXeRsBo7T4PJSTWQ9cbdngRHN8Zr8+dZFaiCADrp8PHH5BRQsvwEzBMUOEVNfyvgOGRAMR3
uGNCERMMucviNgDFvHsOx8g7e8iHnWnIIUQJBuhPT4j83xEMLDsVQjOoAaC53FeeZYLDZXZAywLd
sj71sO8WhhGgJsd+x3/lalos+U/nzX/0kCb7EqM4ZW+Z5XQUeIN+zq0cOF0ZYWl/DQAh/oHUQ+g7
PRI1ydSFJxBpjNuqjIs3UXPtwDzD8mmYggr73KU2g4SKnr+xLJmvoo7+Q85WTPlT5+IES870oj55
HUwHdNl98UamCgoauQnmJg26NZkTfrGRr7wmspTRqmfsQqa82PeyCNItPO0YGxlUgaR3KkDf6Cyj
j8cg1DIlMrHGe+1uxDH1dsUoTuPwMSboIVj3Ohw+u799MJN7LsBfVD2Gw8T5IHAQiFTAj4oyrUOp
g8ZDviMbNc5sPQI6El5olMRF81i52k0Z2t1CFAah4vBmoQm7P3sVYwPzXwlweblsEpaVTxBmAsmB
7oSP05i253WILFIInGXzEdOyEelcGWN7BaSTai1Zpk07ju8in8S3CVxLwJnmX6pWtx+WbAYKStq7
Su8CTXQLpKcwFD/CYl7bD/Ew/4Zs9niuBx3brKypHhIrxHt9kZqnfLaPZLfiLIFYX+a9d9CcPw9O
mYHYugLljSyrTW3OdsU49itZpy6FyzJItpyZZPZs0+xYc269eHPWvJZGsac62hElgiD87Ly16JbW
iBPW7+Zpqd5NL0v91LPik4HiM+xyq2KraOsco5v2ZTt8DUMLCSmirFtp9qlr1OAQFMDXxznk9qDq
PD9RM5cVZI8g3mFl4im20ZDZshsIS/XIJtyEoppyjwKeBJmtH3EMZ9CPlrVOIrNtQ2+g9aYHXi/D
pYMYrJaI/gTO4eFCJvxK8O138SeQuh5u4DRGRmLZ6335lUZ3ccpGDloq08bEL3swGpHXimbILJJ7
7ao53pCtH+EfMeoydHktzb/S2uvnoo+olon5lzL1mjgE1rku9Z0BQp5Eb7IrZO/7lz4V8VXY1tOo
5yh/kk0YTU1QJW0X0NBxQK5TxPWTbUUfkxjwbtfYYeukNoUqh+ON3maSmXhqbJmOp16NPO/ZgJat
OWlsT/ZIM1NIwlLIbFbNOi8GY9xP3c9JasXQ7eKNmELs/uSyN1MoRgVOtC5dIsscoIwKc39jW7sU
jgJdfBg1c8BBOk78oRC/ZP0Rr/OoxjIz0zfw8rkORVebUOuE15RnfTRUXgr+f85lheCodQNpEqA6
wUxnIamkj0RpAyjppXGVZSD5hrzrUP+B0rVAqT4oB0XHcjLZ/tVRy0qKbgERbYKjuhYVaBOAmAGV
kRZXhmIXkKU6XdBqmX6yh3J8MZE6RBFrkvwRuVq6AdoZ6YkOz2e7jT8nzrnBf0+qqF8nVigWfzI7
94uu7dOqG65WhRKMKeXRtKXxKOK96AtxWvQIx9koxR2AKJdd1sX/SZxIR42htOWeNm5juUQ6F6iF
TEZQM1Hgavxc3FigTDB2vPXpWuqqKq4EmhWV+/jvgKYGl5I5nr0zeX8NUNE9U2N6IdD+aTbWQZbi
xLAFdxMOlqDhdrbJRV0Wg+9w10OUBRxF3mEd0nwUHC2ar9ZzJh1vfXpV14EDOO6GPKtRBY3A0J5v
FvGSBJOQk9pXSAYdKPDmuhRORr1Jx900g9Utxukgk5gw6g0JDgCVDVxoqCZi2ZFMyq6Go5yvhr8K
Idv/IY4+hbxiZQ//uGJRRxUOjOXVQNGV+IMdpwHqSPWrU3xvUU2xCm2YUruIhgbYUvwBwkIBDZWD
JnnWN2VxSl1jUGzsfKjiopYz7sHkkFpHokymhhiS+SeNsrLdhdAQJS5bVnNznT8AVr6SL6vYrLaH
bW6N3gEV31BlN5aXFgcGV13HgzE3NfYd6r2xD4ZucXWbRXvphuSF7EthN0E2te1RFJEGAaQ9md1m
Gg+8B8VmAazAdxDfnhO8MXzJIj5e8E1EXp5WbYdpg4xa9OgiR/S8pCaQTbgakquozHH4hErsNnlH
0dMa785hv++gb7ur5LIgGwpw+pV+zZYwR718l2+XCn/Oml2DcjtrC9AuJdrWFbx8Da0WCHFrHcxG
Wb1afTxtW62xdhQQY4sILrXo0IG06pVMYEQE+dOguQcaGuC1unDT+U4jakopseaiXOdMSy6L6R4r
Gyzv5K3mqXmqK+wgc+976ULGYyESlriDABAU8OrdOuYJCtEK1oJRjpU4lehr7FqQenomjpUemhfZ
zONHIluJpPADiO0VTYtc3NHFciI/2bMMIocSSLwj28rwIi/CgPrxlY0uhNvjNkey1K5R0ZCFS3gG
XVB4pmFvLNB/aakl1+p3vCzQWn0BZ8SPOXcTacjMXux1O/oy9gKnibKB5q+NZA1gLKDT6AIHIhEf
tshKoVuy+k0J2h60/p0m6rFnoRyL/NCcExtPG7xtV0zWycWTZW0WVPefCryLlOCLRZc8FONVoCpf
jTf+m24CTUAT5JI/lnJr1PSBwec91i1368SApbbFo9XOOTCdPL8usqGeGuq4JkiGgV2iuHp0zGlD
3Rjssq4eFqfVoYWHsYFQm1pOLUI9AP2g8TRkj3qaF+tlEveVRV55uYu8uybFq2Wpl0LVYC5bvDq5
Tr9sOk9woEYm64Bz3zca2VbFr5OtWzh5LOa/Qwd7HZ6Pw0cwuV1wntOMNbjNxBW7QNA09C+AkoBZ
Tx7e5rp9HZrc/VrGtrXT42E4UkQdQdiP3mU/I6xSWDtesdsIeh/GduCapha/X0PXcH5qz3vK2eec
OVveAiRAQ2jPbg3wJb41UWpfHSmTQnZobjqowXchMiHfN/QcKmI/h43S7llI/P9bmCVXo+m02s8X
neaoXy8KPuaPi6rPRovLi1JYq+FQwXTxnpR1OcjtjEo8p8KIQRxY44/Ubvg7t71jn2QFsuVIAs65
N99EODm4m5oicrcEVG5ZCSYKB8k9hUCeGbLkVb+Ae1vq+lETQl1GL83liWaJGdJ2k55+UwEFflT/
y0Izy1Eb3oNu2Wbucix0XfIhQ3vWkc2Q+fHIu1eyjHNR+poGVm5SnlXxJDZLIUa1xo+9cY6jfDlk
y9BLSTlz2+F/8PtY/U7fFQdIEj+pofP5LwFaoQlQXLYfAQ5euCvwwHjNBOAAjgReTBvEOT0o8f+s
3OXkdK327kaLFmR2ZZz0smqflgLi8xQBuSdfDFn4UunJU26m6aU2wX5En5j+K1pa7UdskJ/IBASu
2KZA+OziEDKWEc7/A56hkjbkhXWOB0jagFP8x5iM1Jj2FEJ1YjA2ykY9rZdTqPureZBis7GbhJg3
CAX0qgAChf3tzV17IJnTVevUWawHr9DSY+FM38gEvK88qOeh+cAN+2+8KbQHEkdddVKjuswomOWQ
38MWJ9rRXRuSYbjnqzv7zbhq4xJV2Q/0gFhv8V3B//mAmBgkSu3JO9WG6UPtJX5QsC5HZDGKULkJ
EgftBy5MxoEjK0JVgrS1FdSjceTW4OnvD3hS6g9dCC2x1JmSndHGNWRL+JBdS2/eRdPYnVZb2qPy
voMK9pSBa2G1AY+d7zS8CgMyZj79d8kSnIH+gx3OM11D103ucabr3r2WjhX3ILCa++hxHAFMLLk2
brIKmLCCOUXQy7x/YUaatnPAII8Hh8d8rol6a0JiGen+mWmXtUt+27IAg4zt0V+NHsO2fdbcsqKy
5D3BBAgSoLAC/wodGCY72eIsN/PVjLsFVijC3Vpeq3VHy42vEWr38aReiu93Pcscy+9xh9R3Cbmm
e2/XlK9zUuY7psXaWVusEPCRuh13jRSYI2Ot1YAfZNGGvMpOQ2osY37smoI9MQFVcJA9T40X763e
Mfe25rnfuRUg+2NvRNzhNcyqUcssoWOEH4vLF5C6GC9kMR1sBSHEgPScDChc8NpmcWFuCJs2SbE3
axj+skWUgKo8ryE1MOvc13AAHJCxKdrkETzrySOOD419DMgsbsSwrdF5mydXvRt8ss2eh2RUnoEO
CCiaB2pQU235C6STAsBjarZBuv/Dg8JLpEz5cF7IQdG614ljVrWvqw2/OgGeaTTIoYU+CsH49n4Z
F7QIeZYBCRM3UG/X6u4ACYvoYfTqj6bFi104dDh4hSWJ8EqKE2h05XvpRib2tnUdH+MMWHlsjN/S
vplOYMNwtzgLF79ZMz/pnV69gddsOiUT+ABziTuW9tHDDrnD8f++lT9e10KxMTKo+glnoVAn1yuw
Ik4gtCJvHbXhc8WmjW6H2gtDwYZeTuwY9lxseaQnvlOjCmGXJiAMcbABotOx2KhxMGaWrQnCjB7F
ubJooncnXKhOQnujRVp3yJeh8LW8sI9xattf5iGZwAvR9TsaCiNaDiCB5X41dfYXpovpglpgILLk
EHSK5fOs6WuslmB+LoZNh3PdFwqYWPptrPXwSovRpYq6h9aqzq+k2EuN8KIl3Q448HXsbYb6W78D
g8EjkAr9o8tw4gSOlROZdDYJfG6wBJ4herza7JhBakM2VdqIM44aTmQqB9zh5j4pDqGn+yRRXGSA
WOkiNx7ryBCoBFzKAKz9zjNUXJ2dwy19s9L3Alb3Ho7mcnGk+BAvIRyzlAa8QD5WvmvON15bemku
GOlRd+XAix/3ciF1FjXXndiEp67FNppR5tkeVbYgHhs9HtghwylOLwmtqEG6t7pWlaiAPEb2jLxR
bSX7BMTF+J/Ey56XCWipQL39NSzsE5d1LTqK+fyYNdODHs6osUva2adKGNEZB2cW5fvQFwVQ8OOy
W99NEvnCQo8iaqxcA46tg9ReYPby9kmvLqYpHngjybFwkHYEzPCqCnOEw3BmTRU4OgQyj9jLrl5V
nlNPWQZRW8uLro08oV1ifHmGAUQMHcrCH01586Be3SQ4So/GHbfz0lq95BhQgRy6QHqpWLKHRgsi
GAd1xzRUTVyVFgjbcAmZdT7GFXj8wmXsWeVrDORlHclzyWaq9B14i5zjiKKWy0gqXtJeG+1UguAD
3YIXY2AX2rJRMR4JeqkxcG/LwWJa75dIgG1nyCC/mnaCVDPTwXWBETWW3f/Rde5yAVIYW8DQBpd4
0v4nHoo3nox4yjpdouMFj1qqhYVNM3Eep3cZON6GMry4Gr4BqVnObwbKuJBV0Oc3nCt99BZp6wFa
PfUZc3eqME7VyeXRvIAOQ5bUKfdoDtABmTX8LqXjprbODsGG9hGuZqLYHV8Fi4EePYE6YQpZ1yWJ
xyAtITmYLx0ooFejdDdL9hu4MJ0DmTLLxI0c1dT5JQ6trQqjXogqASPFBeX3hZquaF/rqWoPqTQN
dPMih/oWfoas3zX13aO4CfUu7TBCOaPk7ASZNHYqZG8YNKeAUii6neqSv48zE+eO/S/8C0QKQIQn
V7nprmvdLKuWqYryMUocbXd/pZvpFA09ldOIhQ7hz5KNpNsoRRUuAxdvgP47e2WiHjWk8UhTV6+Y
7mNjARoQOwaDfa2BilgDbd1DN5c4/Ml+60AQ9MamaXjCz+wLWXGg6kFjvYhAr+VU7xDfyIPEbfID
eXXOIGiKAnVkcwEt97wXBgXgTYztAt5v8VpML8jryzDUYp5mnkLVSb5Ck1fFMXvBmweKUjYpAFpB
nLa4BRWUmw0fV0b25uchJIBl5jZ8ZCkqIn0Z3HMn30Cx3s6udQqUtBMmlXuMcB/AyZKTBx+qzZAW
ixfJ0OZPwst2xNtBpB5E48HsCUUOVtwFLK1wWyP3BwcIGBVXFxmpUdQfyqbLJSaj7AIBhesJwlVj
dKXAdYyS49t1ViP5sc9FiZuNk29hZxEQF0I7tZxrAGCgR7Y2Td612uqBN4Qd53EfETPEL0oQe/xz
miUarQTwEJE3XbW2WmPs2xh/5XnTJfK5hMopueEEiC5IDTEdy7LXgXCW+1HVrEaWOS96lLV7Mx66
jRmLOlAUfXf8e8qhOPl+FTJ1gFZlyC0mAwgLO83+ohljeZkzUWx6OSzS2HuqE76vobw5+vn4FxD0
9atuCyClrehr0kIziSI7YSU459aiE60DscMmAFnxgmdG63wx06w72FYabfN0EY+ZEx+TWYAbAZC9
6Zro2bzhSVLvRAne00k2QG+lAgcV6LYZHmfkpmhqnG5MUTZuvEWWlp65jjQqyPWMt5Cbv0MvAJwR
9rTXZjv9jaVdvQXQvn7wKiQCGrd/b1zIWqMI1kH1BnqqubGZwvOnzI58O7Ls++CbuM8FwCd7u9Sv
riGcEH9+6nK/ilFLQ4f4z49ykbZCvS5+HtGG3jNwwl/76TRM18Lti+fktOoZ1hEoAJb4t3BgdTCD
4eU8Vr39aBki802zRUWkltV+P4BgNZfcqihVYQfRFVCvl3SrsqEeNYubim6jxjSNGTZgjD9m/Gra
na1Oo6cMfFOPUTGV56Z3Bp85jfUOnqMoCHmpHzQIe723ovhqTpmBtIZWfYGqLT5+Fz8OkGzaZ5LA
0s05mDFlj5oOzErb2WTjypG5UmES3aViulTzVveg7dnMgeH7XOqGUVPPnQQ5EdTJxJN4cpMzKROQ
ZMEPCw1sqWTQ4xxWxpCF5A/ExywakNkruIr5aR0vdd+8EYIpTL514MmeDd4jbmIe0AxLfRZcPBjS
pOyZWbJtWNbWdsBbNqoHIu9asaiHVOHigOneMo8edsuAkINQkQ5NaeihwgFvkKiC7IVerl46cCWv
k2cf3hR1XrUH2pqCgQxzrvOjY8Suv74wAOFybDoBkrqU58tXDQTeWxBC2I9sNqy1sVj8jEpjyBZ8
2j0oPl+tOvYpStnnvvT2mcjAWCanK0c6xLYvks4MOrd0DqzSvvWhyeIdD9v07BaVXbzNDmt9UCni
s9C4zvPSFzwss+wAcYAGxa76cJpdi+cbIwGp4ZSHVTBHDmBjdhhtQL8F0uJZi49hawNwbINSLMzm
+H3qR+1gRua4deWQ4VYTVCVDyRFP4/e0Bn2RW8XFlYbajFs14F6vZtOhLiQG3T9kwxLjS2yg5h80
cCPbVilgnVCw0f1x5DGUqpC0b2fDWw69PA+QKXHsQNrUDaiLD+aYaxT511BypZT1p64VYT/kWlYS
CDl/QC7MDWhpcsdgqwGiq06D0JmwsWtKEZ1jqG84/n3XpQAv59F57TYAdh05zv5/Hcks7d0TCa/M
Fy2aS/A+xIAulRGSn4s+aj624lW27TkzfZRqmudafxEd1Iw2C9RrHKin/jZhS43cZbMg6aE3O2jg
9RfmmTgVyfJlH+J99EkvIONcRMv0rmXjnzoAXn9hHadoAHHl2z6BXGgCCWdDIgbkaAJ4Uo0Ey1D+
BooSXZbCJDi1OeAzgihYDqlaBupu1ga1aMmRbBbQU88uBM672nhckH/KsSPE6XiM53jVmdqJmnVM
rpvxYAGBvll9FnOYP2b4tlFUjwzaWcUrG01XjiqyyqObxaAr2JUhWC9z3dh1Up+ZQV0tMGOTHRfN
Hr/+wj6FY/jIo6zZZwRKjSUnqFhC+wx2OPtMwxsPjZdy1xegoKGwJCxfhRWhUukznuy/nPlj+oDE
yM0FbGN66Yw8cvixjGN9A+Zv5xKZFf0BQ8rT0+0avBQw2vayh1Khd5QyW1CDzZzoZGjljqqg63oc
9qIxHxzD/SiMBtFdcaamWmqn2lAcuclIQ+qRLZ4hW4/fBeZQXTT1qHFHO/b53JTxtp1LMAdvvFak
23ROkzM1zdR99O5s4ezEZ8j14ui8qWq0d+Hkz5kO9LkdglxdrnMTuM702vRbhYpYKT4gXA8aDgV2
9CiPo1s9Nai99B6NbM53sTtPq0Pd+qc6/TtJZ2hoy2cDxRbFYlzlGoU2nPq0xQ5Isi0g295euy5s
Z2R0MQYR3tbq8EC7sVEMec3JrfwlGaOgr0SHbMjUYCL5R83ND9zM3ylQsAisNu3wu4LXzgTbXYZy
BjnIU2QMFc7VJJ5XhRA+10XufUXy0lDZ1in4e9n1fZEcwU18h08iwwo8auvQPc3ePeKJsEQs5H+A
XOdPlLy6Z2pyp//o3dsSzQZ1AyrGVVz5c/C/z6Xl9fGEOzgK6OToLtYWXh5EYTWsdw36C1/vDOtd
gv7uC3lDMejeQgHtbtJG76RuBxRAobf3lrV/d0vhETRA2xznpGCARe6birDXrmMx1CKW1pFsXlak
qHCgwm36qboj4Dilw/6EHrvYuwUUv5WgaqrrjW8g6bF3FuiwkiPOnYMJDeIHMsWL413LsD0h6zBm
Pi0CgXq/NqF/a0r0IgqgmyDK3HA/SVwiGOflqasBUS3pBfcZpGP68c3VBuupMLWXSAIiDQtaBCJz
UZfoNmlQpWYUDY+aDWEQSkSO8fRnA7EuoMGQePQgyWKDfae/sVEYJSKlve+QPFMm6n3aKYpM1Mi1
VbyaVDIkyJL2ZDqjvaPz7LtDbTq2rgRfLh7f3520k08dczdOH+/wbgcC+Z+P5VUcOTzUOG/ogpGR
JEer41/xz/iSZpUVYCuR7Bw5jFC6DYrYqfbJ28VW92AI8AXzwfgyQir6i4A0i4wky+w4TxGYdh9o
cjGIxBeQQj/Gbq8/dQY0pJoYT6BBnwIqYE0BD764aQQZZ7yzdn7fgW8x1F+pnLUbUpyiNQ00smUl
LJJj6c4u2lPq1HqwYkpXzWQHvPCbIrYFCA1R3I7PZ18VIjW2ptVBAFSvsetjrpvyPD+EMG7caEGf
TyjLcftwS8ZY5+Avpe6QWiFIHxDZQIx37S04MtQC5blZiIxgh5+PU+uuugxKnEHpRtzZKsdrt7UL
SnpylPLFiHrU6PRipMak7AAQxu0U8vIhd7YuCB22PG1L92iFA6BuEFoD/ttqL6UE99cJK+wrTmnr
HTYD2aaBtii07KXfsR2kVkbcYleXDoIzMA1I11QJz9jRrEoT2WYdO3HSXawIxw0iA6gX7znRmdNW
DxRt2OqpMfOQttmsPjJTwAyh5bP+G2B3zimijaOa58jJ6zSaABndvwDCSHZRCAnwHd1wRrrLJOmz
UdjWySPg543D0sPab2te7FLPHM9xH4EOeB7aV2q8LHnL7bG40qgTrrvv2tD0achk2IhslGEu/JlM
poMiia5BFaLWJziIMl3nEQIMO3IuhoNcJrCFmyFm9ZFsdFEdaWI2il2EjCMyvrE1X0ToOdbOHh3U
m1rIyvWZayFVDU8Zl1CmjfoUMg86aL2k7cbRDAOKhY1YXMo6HCDcEbdbsrV5hNOy1N1wwNa/pXX6
5KFu6qWf2/G5sMZX1L5U3/A8cfa9Br6nrFhK7BRM/GmFY/Ogzb3+VsUTti6YXTWeOLkpyDZoiDc8
vCjESwwhNniTGCVJiVt/zXJhX8MZtVu0WmQJnPVHUXmgofwIQMqnSFCJZRdZDqoMZVPWE4qPRpTa
Q/PNWR0akgc4N4FW7aVzcJYnQ1LHMtlmjTbTGnKw4YxX0RRGtc7SGRtbn+MrL3K2Lk3OIirHHWSo
+Gboecqh9IsrD1rxKpbJwP1Bjmgpu+vK41Il73QhctBSDFrngg2PlTUETZikV7PG79qQTYiS09Oc
a89kmoa6hW64C4hjj2fJVsVRzxqqP8bWEMcETKuPA3LIj6DxHh8YMBQUoOxa7y37Ke6Al5GxaqEU
Yum+G8bGTgWT9/PDxeH8MKMS+GCGrD2DfvGjQQ5fIow+x9RTMcaM5J8LYQFlUrFkw+HU7Xp3ceS9
s9ECUePiV4cSwK1a4Fdxlm2Px6qForUs/tA62w6yUUIyKfWrxmuiGASIdhCb2bDFq2j7THOgk/UP
G8X12G1ttXTsnimY1lJzSevzzvbf10uBifRxgokyr62hO+xGRosEtRzbrM/RHO5IOIsI21ZhMXKk
lrZbw6TimFLgGl3Uon3OUlOp97OTljTc6DC3Xn1Sp4lVOUE4rNSRJv/5hBE7pmYAHxn02GqDHZR3
PXGkMQrCbyezekTZEXnkPOCP2AHHeu2wJZsT8b9N8K9CzrpIveuU8AYCZWMIHh9JMJBKMgHqJbUO
7UHcpED6fWsnJzWFm4Ip4G6actNSNJlsIQqYNmHYA1r0eQ0V7MiLq6FJJAQ0/tfLo0xJm3AUpqJu
Zqml7j7Gry7eu7OHymkGoPnPH0MF82U2oE348ye/G6pPanjZ05JVw16tR7Hqp0EOslX0U/xXdyZ/
DRZ+DTRjAQMGXt26jTWCfrGX749mMoO+lMYa6y1Qd0orNTdjg6LWWK0ddL8QZuczC4d+KFAPPyas
Y0euHaYaqFLXaWTgs1PHO+qqi2Nb18xSaFROWVdfpwirwXupmHkQFvjy8nJ5aNJl/GIarvBBNMjx
ncRQZChMY6yBuqEcZjnrLtBoSUBWpY1frMRLX5GIJx81crF27CFmBeomcOxOQtI2DJX5TM3ihO86
QMdnZUqxoYnsKH3UhGY+T07TPKXsb+Xn2Adh35o/KVPba+1x6b0e3Ef6x8oM3LM7vHahYE2uQ8Hg
Ahu3xeR6OLzEJyCH5brOBtQD44FsED9oIO1ImUYPiqQCJTINcn4JtOZcPKrX8VAm1tkMLSTAwLDW
bNSYjAkbzbMXz5CgH/JtXdXd+cZEIdQYcgXqrcEUtIjI2n/kiwzPMzdR9dVuFw8bvAr7DuApoMEy
2zPAldVkbBxoswV4fXcvVuZU9ckFL8YOlBoRqqqYUbzmxjpbX8B/qUHoYgu6OpDKC4j8XGI8VS9u
z9ygGCSngaZ92JS3nIp03FBgFC3gcuAmIDGATY0bCkqBbai3ljdWFyDXaYXV26IsfmNasxMMtIcd
Xfxf9GgsAlfuXml3CwKERmJkHXODQsUiMHqUy617YvKHfRIfsdN4qCHL+2T0OHVs62IdWcMSPokO
t+BGZyjIkxHUmNB39w0P+2xlyzyGOtHGMnya5nLXe+LanJ3YlP5FJoq1Rnztbab560hegXpRnwXO
WLAf32LoLrkb9ZwrZvDxDj02svTYo+ccn43INzTcC9Rz0/60JQKCC2Pm2ThWtW0IV3YOBLkS1J3T
2EwMdGdbu3il3GDQkDyjrJbQWmZuPGAId6T3PEK5FWVUPd/hCBdoRaseQeO/K1NmfLfNqfGdxOhe
nMnodououotnD+aprmt9r7edfgQCV/jOrO8Jl7OCc5rC9pfC1FENC6wOFCe7R6NabiISZMD9WUbQ
hM+IqHMyv1/AZK2gHA6bIuC6JPKD4CCeHiZA/WTTjmI+kB8SKHITmZohiGEt8aDWwVvMvP+ovAZx
BPMNSFOd3Wn5aOw5A32pGgvOhjOA2hRmfsbezDJx2v6hJT4DrRsMknC9TyCp3dsQ19SL+UQmaiBk
ALyAbDSLA5FFcTUEBY+1MZ5ubGsXXJ7FfqoB+H3GS9vv9AZcVBA7KyJx5Pge21ey/eyI8ijpX2bJ
FiaDweoBjcsBv7NOR3GaPcUBRAQg0Mrb/kgz15dxA+jN0YNiyE29J8A5eItMeiBAOfRA1mrRwYPe
Z1l4M+qNFw1FolwfLx5qHM+TAUH1G1tUTRfyhn044iaBhnoLJCpRXWRNWxpC7hG/XBXYxG+iaqtL
PfN62HrYHW3SBDq8mqTQyfEyCYmjCUJkRqRfw9KWm6Va34FVzYEUtZE8MG5yPOvc/M+63eNvo/0D
ZdA9NDCFva9Yn2Ah0G3X2G4KyCE1YN426n0KLBWQgGDlJm9Ugch6I1ASfIDO1EtCQ/wEP9wUg7ps
AwxdkbUlhwcBjMMHkAGvLIAbSxosDojFkbqTOyPFhcTUvIkZuLDXMbkygDYLvLj3EIDrhl00likU
tNGE+MqDetrqKohiozsMTejgbKTQj4PubMgdhjmOvlr5QF+7aqZ4DG3QgxDAsGz4dMnD4ANoKDGH
TmeXAFRIh8hw4+VFdwtG/OGg6SulxxzmHfgLG3MfA6HiuHl4NkCgsmNRkW7i2APKmoytxCncj8MF
QAXyZBGSQTSHhsqhJt/Z1rUm0xLb2GZtvbyi5EqqyLTVqxeznc2z4pQkwrvYRt+0KCJAF+LvkmJX
Sg3UjAU3Hoi0sHEzGM4S6HrPoKVoJtB2l5MiE9utAQrwNKKmQCJ6w/lQBZTMX7P3a+Kekv1r9x8+
zQjDPX46p38Eyd2akc8Cp22yu7TmSeKJDwrF4cmflRriVdQCwTpStuTAJh8/aQIe23WDLkXSeEWI
yNlV4lhQnVuYf+dQwQUHM4L9AXAjrQeQQf5hZXi50JgB0NstAI78mZ78OWdgG771k6eErC9ySTh2
pDs05zgyMoXxbb0hr3ftO4Ae3c8bu3vHG/S0V3dpdZ+/s3mZ4U98xGFYjhPkjk3gZmiMeju1UVv+
D2nX1dy2rnV/EWfATr6qWsW2Eidxcl44KeeQYO8k8Ou/hU1HUHSTW+Z7wQC7kZJlEmXvtVYkpOZ/
HTOFKqfd/1MMU2HNkRHdQjbVD9j/w9IkMoaTZkG541Qh7X8hG4pOrOssNRdSFiJY0W7U+59keH+/
xVu4WRQ7TJEX2Pft3QNtf+rNUhEBrrIO3H6rFUC2+rmh+tvNU9pbvdc4cwPaqXYQu6Ac80OY1cHJ
V03jGf5N8zsZ58gNRBUecIP+ZPzv440B342t3wEI+ufFZhCTzIXVfAOA2ftGESFVqqGebwHnk3p1
aIFc3LH8tZahpBzsR3eGLEf25xjFB5JTQ/FM4lSiMWhOmgNYDI86FPVyYNHv2iEfUGAOqPbO2nB1
JFu6CjLoBhkowPtnarN0m5OGjJYugQNlBTbTb+1VEH510oFuAi8+SJFH9WWCXC6PyxyvReCwd4Az
+YUVjCuCsDoP5Rt3GI2JFGysXsu5AHyEYhdb/G66v/UjPTm7shTuWpOLASNqOIJhCQXsYsNDZPET
6DjBjS/Q4W2okMlJQM1EiONIWRxBM0F9EpMbINuM7TR730lEoOMkX6y13RIZ5YMJ32npv8T08vQp
qHDkrO+JYmqXWb10L4Y6AcYSDWe/1I0bu3zr0pga5BeAkIQ0EdBrTzSOZ2Zsy5l/v7MrKwuIM1pY
AGt0/4ZKYtrOxQdCyPPQ8+CpA/upGjROCGA96gVFtJtGLB1IYYYe81dpjsM/PwfxEgmLCFxAZi/d
Dv8nnlMD9b0Crk9cjxu6ubT242S3fKSwRRb+im5X35D+SNS7+cTLRyTzrJgtpI8iKBkVSFt8m3r7
BTaQjTE7jeBYABU871C17GR4J6IKe9GwuZv7M0nJ0jGS/CQ4UFfXJARhDRLJwS4nWxQ8gx55OhVO
JMCajClcmLT476FJmhdHw77KQfy+CPUUj6Z+TTF7gL9Lw+29I42b4GvfVfJsVHmzlihx3HDUeZ1m
dbabBe6IHfXrmHrU2EML7p0QQMhKqRtyk8r3TqaHpTeXWxCEolzyagcubpxw+T1Sez02jts8ZV6B
NN8GSad+HrwCMKIcLzQBRCFRjzyEWpH0YF1OZflp4zgghAO3NuZswPUkYcCj7JSlFgBkBhf77DwD
vC4OLhbDlAxJiG1DILEI+81wAK32NhIgKAwAEPsABuXLTfnKpKrDNEjcryZaTh6M4OFQA9zt02wj
m774IsvxWFW29wO5mZ+s0pw+jWbmbkfHs04AMWePySjYRoQAuEYtabmstSqcIVcomBLYI2uLg15/
zc7Azia2VlhetucktqyNg6q5T3mS/2MhgeSfugE2PZDd8D3+1RnT+FoMZbvJhn587ufSxMQf2KKt
LBIQHVWbeB7BuvcbcjAAUk+PDc6v12NiKmI+LIZR3fOTQIxcGsubFvW94kr0VRfGtKaLUMDfXkld
RN/HcuFrABpSFLoPGi6kZMstKMNSXUSrlwiKx0zH0vdBt6p9yYRk2kRr7z4XXYirr0wr7q92/U50
ZB1vMb5+YBpqLQUFvL95kB4WitdPpS+2/Bka+mzXC938bXQsfas335YOpD8skKFBY9QqsNMrIkeM
3BJUoiGDVokyjaCxgGkQ3sbSXXRLfwQe9RvSBvndgYMAqQUneh4y5ACb8ihHUJoi+xtFhwrEoBmt
ZtzR2KXKoF9t/kVNlnEYPJoqzuJCMtR/ooSRYv5qg2y66OSD0AgUJuFSHrLUg0yoOcrF+9nCwltX
iEgl7qLa2hfegCKMuzqTvC0AgJf52Dkifxs80YwJYFjYTTgDNKDOMcUBhvZyPzcfjLrUkFFTII2F
7i1OU1REUZfUQ5G9Z+Cv2UUmCvhcBa1sqRk99e5kRur2SEpUNgCWHfa92yPpDCNtR0Mkir2FouH/
R+aAknPTYucJy8z5LScZ0LTGMRHfSLKkHBtKqS1agKh0Nx5xjsyZrAOlQBy3BRLxr/nNOGNPzjcx
7BQMFVON79VW5E8tb5t9OCfvgjFStCqKPWrpkvpGOo0o5MV7MjK2ITCMV3zcOkj7fk5qQHXEcVE4
K7+qv9SoNz+QjLTURJFVbTwUm27uFKns54cCe1IrbUw9w1Y1Sm9XMAFvnAZeUyfv5oLLLeGhGjHo
3FZ5FX5n2M3akWzu/OE0KEhV6t3JAPQMj8UvqEGFPAsHRxKhwP57OyHTSCAVfEtj37WjvezGIdnK
HFRH9/r78dgN5U52Vvwxkl209c2heXCmuvkCBGFQiAiARFSsPpUoDFuXo918AUPIhDommz21IJl+
D5jU9zhYDJ78oJknsTOmChnS2AX092XuFKfUDTcMG+UHGpXADkKmjVKIAgXqk2v51WpRKeGkhKQh
GQ47IsyLPDY/DPGwX4akMcqmPBlW9tObHG+iG4CK9VEfh5jSqcFr3vgAfLqLnhvY4qGrLZFJz+ma
iyndnazweJRdXGyXi6iYN+EXV33PZLTc2fIR1UX1J1TfR4rp9WEJkdgc5+sdJijG2CN/eAERJbDf
XOGJhlnIkdKdVDvSUEMKENthpVP4CXD1FBipVneFx1c1+LB2iw1p2jT63LS2v9N7wNSjHV8kmeMx
FXV4dl13jPVW8M3eccUFflJaReba+06hL/C7sBH4ylY1i+cNC8Erqckfge3/d2Pbxpbk9xyS2o7U
d756SD0iq6SeCirVA+BOrpkstS3JcKhdA5QiHhrAguP+tB/JQpa+tFMVn4PMdV7AcNAgtaCt9xOV
XxauebKLElDIbZa3Kldli3/T8DhG5jsT2eKPLGm2qJA3qm03AGEpjBOsWAhPwZPNok4UMw81hSLF
0XbGiGyqFXKVR1CKtWtTJNJsv2bAnwwB0nVcngVpIF9uhiCSegFHBQ6zDH4hpODRAWDhSoMGL5jC
ICSG9B5feBmDX+gQlGH5oCGOqecU1V8jKtxQl4d61AEVBj+XbIBJizY8SKfN3VrOddglt6Rx1HKg
gdinKME8QLk3vGl31ohsmrjAEaFJu8222ni2imk+tukLyRkRKqB03UsBd4rs6iIGp8UUqZopKzM2
Odh41lQplVTt/Ei9paQqaRXgq1JTsdVNndVSfPWrNxVgkTdpEz8v1m/LVqMd651hg1+0kfMTAAr6
i6cay6jqzViLYWs6KHpYxRao9wB0hUyJtL9QQ8YRBxZgZ47dQSsyf3SQlp476pAQvmQY8wAQDwzI
Mx42RGhXRDWz4wANPQVKH8mMWXRYAdvfQm42xwAI0g9Jg1xpJCUJJKj14CetC7nC/gcgLr2+unDQ
syhgy8A1ygggLClbjYDFAqUALPJoBOTlMFt7ngKHlWRzbMZbmyGJ3Ebi1iP3e/8xAA/B1lfYCgK4
qBK8Hy5QiVr8+bo0rc91kmPIeq9aT8AJeTTSbCWAAs5XKMR/6ynZBK6wC/7WKRaJgDnuiXMznooc
C1OMdRPOXusDxBlCUksUuaysOCg2WvZb64DjcQpI2fYocsvYIAt02lvA7P1IQ8zepr05esBbVFqU
rc43Q9LaQrYf6+86eKYqmOkmCj8q1rIrg+XGEnyVmAureySbuzsrqLyZHH/7OacexKqgvpiXJZee
1tOKYQrwRgXA8+V36weSlRHYocB+fvk9+/JP/2Xl4AMHSE7hYSh6/2m0bf/JIYw8UCusezUkGWnD
IG0fkW+xIrl2oGEIpDG1627sSBG73WgDrqYwH1yX/7gzpphTjEOJbAJCrLq0qLD1EwLrez8K3uA5
BOI3p0CKJLarkiec7eZsFakuC1GdXVefEp4nT64dOhMSkJEdWcvsQLIQdQ9vDpgXO2unEe6GhH4o
e3OjQxeYnq0xuynX9B3TAmn5Vqa4BrrFGL7effnLcoq0AbT0det1lTY2u6QCHLaxWJBZrUCDk9o6
gyXIP4EjB1RtDJDJCVLwYtVQbzR7tistjn9WpTX7enrSdgyIOeu8r0PkBEBBHlobJtXRxpTzSHId
eMg6uTPTYkR5lI3iYpAhEiU2kWMvRyTq/HbBBKDx1e5GdtNdvH/GojCprFCNQc5d83aRKptwQiXE
3FnrvvSzh7Y2gM+bBsWlVw31AM/1JYrT/EgjVHaXFwcZ1w9Ww0FyfzUjxTQ3XwyBF93A5+JCojrk
gJhWttKsP0TCiw/LU1yX0M4tci+7yre3+k1AD3Rq6PlOJmafOIpBY1peFqQolxfKFKP6SpZv6jeh
ugKZ6wvQkK6Ct/qzrIPnzDAwwbICgPBHU1itlnECOozHrLYtuaoMcELVlXdKWQtLlKUCwkSpA6tJ
AFNn9xsakmJxsYcpO7llv7sNRtfhNo6rRdLK/U004Y+oWwj/4fVfNJO5mVbVNNOh6Y9j26hluZn/
kC2NYz/CD2v8fmPiptiEapAHivqkvGfYyZ1rb5UF2Put6ImfqndDopppBgdG2ld7kOoBN+4qpx7J
mB0/MxyXMySHBucw7a01V8CysWqGETgzmdMWgL7G0MZp7Y2i9bE8Jxk1I6iWnlt/qh60gqKQr1aU
BvKFF7+7+GQNSMbPU5SBQBaw8PGmn1oHmWhowE3vAJfVLk8d+xflAHi+U6cassXqEdnJNCYNw1nA
Cmg32Y7U2lAP/cqHix5TjxrDb4etdOJuCagV2nhxjkPxA1w47nbyI3mkBt/9hK1VNQbg91gAEgeE
05NvoWtzS6o/zk+DNxVMHdZ0q7FFMeeNenEaltDKn6JqJwqnhzeXJ83ifn/5O/uBboxcqfGjHdDO
62OkOCz9hfkSiTjHUPFl3oxdK5/3oO87LbLgzpzcyYd6pKaeVjgZSNJwGo24mNQAY4K6i1Q7Ic8d
lYqO9UEntaVVGK/LCtnAghLj/pzGtugpMW6Sbnssmwm/a+TFkYtOmPttAt1EwSvXHwAump8APPEq
arwwkaMynplifyamZ2qI7pl6pIgAK3NsG7G+k//OlsKNiRVsQIFjrP4Y8873ejsghSjPqCLtjQEI
fVnAz9jZnuYddZ05T89dYZ/BmtQ/eLycuKp15WvWSbGRSIYEa6ryEebU4ThPmfs4S0g3kxnnAOwK
UwBT2dJ4p8O5IX7P4BFZ8cJszIMz2eYKaa4RsF0m7K8hic/e+DUKB5bx3SMoMT/klu2fb55b9FQi
N5Sp2Wv94KIeCPb8x6WXfLxx1Wbk2rHCRpoCbJfL0sNwufbbFfWNLBY4ecRGBV4cBh6m6yYRxmPp
l7fNNKXO0ZPtg5a7QxLJFY1bd3qHVUJ9+J1r2xvmpuXSQ3rPLzHJGIgmtg6cXy0ERx7DyvbZOwMl
Ogftuly2V0F5M9wGPbeof8BGpAVMm9yzrCMq7qzjbKJQELWD6C6qIh6AkePanb8VWGo8+E2xtQK3
swGfBiNSU+/GJ5gHFp60arFHBe0qbrokbMBAbdqos4hBQB5jwXRq3HEL+JgK2Ytomj4on2h4VZKp
llOPlED02t7JKQYp8SJZlHfuBtjMVnMwtMgy9VeZHfJL0gfx+xKM9ChnEs+MV8n7RSSrfi+MDrwD
yoIag88SCwggKuJQ8M2Oe+ZFJKYNNmmYdVlWX0JzWmmnzBTRYUozLOjtNsvWwGmrt1YnCgDD/Axi
DXhbo8zHPZAfKczEX/lWlV7GcWR4lmTlNIK2WyU9IoXyPCoyAgN7WQ8lK9/RSHR5be9IaxOrQON0
3XpK0g771j9dXGMcg0c7mHc2ChUPi+Hi0we83IjWbXZdFIOlonD9i4ka/kvVo5wGFFrdlmSLopmK
B8PFPFjLKsdKAaqQHrRoDnsf+BouCjln+URyElmAaAX1nN0eYnUZH4hX5gScPfXLYNOc46HQz/u4
AHnKSpc6WEqDw7J5T4Y3alewX3yYIWOU+1ylvQp8V1VBWh2NLrOEJI1ZYIl5U36hIpCNjvrTusJd
0l27Jpv3ZHTneBux7leBEXfIVLoCnmGLBqTeeCYTdJlWAPnafiwt7EL8ipBGQxRVv6DwKDrQqJIT
9soBYYc8RCD4b0mYGaV86JYcdisfXMDAxpj3OtVT2HvB0VEVq8ign0A2LZtFVrogClkhn22xc5o0
PJIXNb+Rk+gal+xJpOOSbBnSFQGXCBSlE3bHqhN4F9kzNSGyyZ+HHfXNqH+T2uDAOgXh/KQNSWmN
ybAH3ja2Ma4RpPLypkHibWJamztFh0o1PIdSsdfRycPApl8N4NETTribx7YPNsKukhdp1Mh3q4bp
SMOOAfa3GKcficOSFxIBjRJpcIZ1a5EX8gcpQfgTv3QWEmYoBnklbeWerhZk1lbJpUe1aA0QkBEY
cAc3x7OImiay3npaxsc2AWYHUnRI1l1N7oyrJip3Na+AQHuNp4PK3lFE3RyI1j5yO8lXh9J22hdH
5Te3J+f59S3XP+fxcADQPN4V9MJQTaoaMEIAWoyE4MHGuyaqkeQIXvllRAoXaWx4618ddZxKvaNI
QbKbYJ2Oi3PExl7fmZLTjdFyocJ/5i0o5UDNax8ZyiiOSf2zp2UmIEY2rTmAl0eZaEXrDWGxCElz
p/6fZDoquWVjHP1XoU0wCUxGgiTiGiAcHPnQCY8+OYXXH6qRsW3hdk993dRn8KacCRvHD6b5ch0B
zHEZEYxOEuM5nRfIk7P4VFWHpQ4WuEEnb7T4IQTJHIluymfrzv6agSKyyU4cK2MkmeGdHTOAT9VG
daCRfiPTy9h0Rhep6A1S1n6+2fWL/qok0Z37H8OySB7wf2r0hygOu70jBaqCVGOOqA+SqqFhGs9/
z0lubmnEsMWwyGlIZuRAw/9CFjt5A0QVFf7tQjbG5Kjj6KtbLqYnEshAIHiakbsDypAwzyPg+jhm
shFK1jMb/Eg4p/BP1AhvqPZhV3zUIuQzWslmiUBdrcpKFCTJeBAbLbsxn1ph9ju6DtLWN40dYG+a
AeI940jMWWBLCINEY5fc4JTcQZ1oG+1CvTGMHkrbrx7IgkR3riQj2JPmDipFu/zW5hqatHd30A4e
KnZt5yvBt/j2iIkldakpgT3lC36mQVUH9YjqWc87L93BbtvNXKI6THtQ7z4MB01lhXWONru3MGfw
FPwuFF2uceVLpUj3urDOHsUw4tBVxl9qFOvwve3IDPCHaKxEJBtrZPGmwobOY5ibM5B9g0oAMlA5
Fv78pbWQikfW2o+UWvaZl5h7kfAmDo0jOQgweGEmsa58pzlOLTe81xx0ulUWyjNP8OwQbj98lDYO
J3FQHP0N1D+sRPK/cx50KzcJ8w+1DKpdBwBnZNizfh/PXAI70chRwgNwqG3sgtUhZoUF2KMeXOPA
wP3qVQ6gwJAuD0aHuPW3y1hZR26KPF2nSjdF1kVPyJOPnqjHjRTFVkhg25Gsq2oX7Js15mFlBUhB
bbhoBgBdFe3w1KoAi4giGDiP2S1jCismzBgpwiLUcbjYglkP/M3qPuhCXAAsfVO34d5jHT+DKq0D
hTmK1Uwgjpxn/nq/DKUVZIbSQpw6zQ4QcCcsafUSdLBEiTVjIlZ+G6OMQs0saC4wVN0+wyTmmUTY
zJL7jPnuWk8vEqDb5GUH+ls1lSALHYO8VIxUWdCoDUqgAaurmLbiF5Q4QbtLgEsHbh4toJiQnFLn
KDGOGm37q5m2wIo5AxgSCjiGcAS2Flidd0jdGFDtzF2Jyt452DHDbgBW5c7TQw7ckH1Zuw+ekOaR
mm6W4byMmV0ju7DvAhMArJwDSeFqpe1JfWO5dElPKm1JvdCe6uCkhXaD9wowkmJ/H1veA7nY0vFW
XgNUX332E4hS9Gc91gdbADRC+idpllOjTtTZNjeR3rEcE40FeK7HNtoARBA7Gn4RPemmxlHCYyo+
k0SUJep/xYw8eKtvjD0JOw8kR6shBWUl0OOiVRQXT0NUHj0F6kgNDnK9m+GdrM/xiv33JuQh0h7I
jjrqXRgaOtdrjlHeHozaXxz+GD6PUVjUzhVYhtSOH/hknGOrboiGFmZm5UprqEdqMqQhNVw56yFp
kdQCZ21458dG7GSPLvtLW9yFagXDDqG+G7f76trYgqMMXV1V5ZnWKhfI5liqr5aiq25uvL3lNz8o
X3eRLfquRZJzKwcwJlEtVw/YBFAE4Ty5JmCU0RhabPVVCWCGKmwxTCj83JDQSfFL3+F8Ciziijo1
NXLf3PmqqHSxIi/g1PmrG/sl3tCIXWZhOj3VwH0AInWBMjGcPuVVMz4l6myKhqbFQJ2NOeKWZKTV
djbr3/POkmAJ/elKPVEA1GQw4yWkVlIMfcGh9WJkIlbFHkyg3nnM8jLctakfgJFV7GWWDs0GlTje
eel6dSZXjeD21pw9u36aFMAaA/l1lIgZ+Rl4Vq3MHrTU5EMhW96jBF2M72/+dEMqzWCr/8g3v6kb
lRvyL56UyF5q8F5b0x99CXL3o7jxWX5glQsIajMW4aZVaClOXgJ2xRPt327g+btlSBrPy+Yz9SIF
s0LDPC7wMqtyEJFcZWTSFlh+LRFjDiiZhv9FFibwdAfUkeNK2qPpUWfVR2w2CrzOWHlgCkEnwVOn
T43+uPxO6HcAOGyURqbQdEhCO978TIRyoXGG29kmINqOwNuIQkbWx2vkwvC9EFG3xhkwxgaOEw7A
PAL7OI0t3prqBP/9ZIZdvB7NaXgqI3cT23b6zm679N0UJ+m7NsVHqs3LxNshBhok2wMMnT2SjkxZ
MH2OZhYdF4thZALvbCYeKAY1SGrHgW/YzbvlWi3WENsWyRLLxQz8JZ6iJFxZtQWGKNQ6YOfUb5Eu
F4OLUMn8voNCDalHsrrBxoewxenOjJRMefW5M++njH37YwxSZJOMVpyxJzctBnwPBjL37JlXGyOb
wSV4NxZ59iPggzzPXjNcOlk/WgrLVKrR3LaY2oEdsovMRee1CTtn+EZBXWkO+yzHv/MQ4ge79wPZ
hs95ZyKVLQZZgCGkKud1zkgYDx4wzwX2e6RQv6lBmg87yyjNd9EEnmBQQrQru6nth5CyRAANne9t
wNmsDRoDtrt/LuxXn8+As/Y87H2OifOhqIJ2q+lw52ZGDdI8PpPItbh3zrGxSSPi1S2t2dnZQ4+1
hOLVpcZzXR9PBA8ZBJaJSYfI692AvLpLr1Km+MR6zLExJBkSo+JLMfovRTLhha/kJBoccD7GnvmB
TBeRUlbIV1jbxojXYhdmwUoGbvScrclgnOfkYhg8f0x5u+1tqzr6Q/3Iavxu7TC/baI0bncjQGFX
dwpT2ZkhAHo5sLy2WksKGoL+5tW2reiBAgez399E753H1mXs8V6sbgbUL4+2BwrHHMXnIuM+OJl7
/x1QknYjan+faMQKKZ8j8NoClaZP1zyKcQo7GD/I3mtd/91gjvEeCz11LgJ3UvQ9SGHrbBp2Jbb+
U/xrgzlJ5Cw9kgv4ErBu8Hx3G6Uj3p+O3bhHauYgAfarlC7wZ9EjWVsH/yDLa95a2gx1SsBuV3ba
jXp3vndDMtFhtO8fQwUsD7CGLzKA44YNoBapxEY30zSuQZowHHhWoX6aFGHpOuEDleV42NmsViR1
qFt1SMa2hvJTPCFfuew4iplU8fZSrU1dalpsMaYRzreoiptEWCJWj1jgN5sBVSirBsVHodjbMQqX
8fbizRd/mIEExYBD3ElWfwmL+m8gwpgXiSflZSqif0hsMtfbxMPkHdzKzr+M2zBgxQHZLMidAKnM
pmpLRdPi2K8Apn90R5m9Dxthvrf76tRHjf2aZS0HxSpgZl2/aj6GIEWUXm6eRR6wMyoq2dIjmZ9Z
ExIfv2udFbXNNgxNExRNXXmx6lekRYNvR+UqRhKNZbvddpZ4nJGMGqxv/rbl5O5rgHEdEjGC5cKJ
sepEgwISANfr8VxOiwl4iaDIroa/MdEi6qUmTx7bBBD4NKRIE2rLZQ0QEwAs9KoZFJaCS6gLNF66
3tT+07aKXpIqeQdFz0GW2odkJc4qFefzZfGNATyNlJJqa1stcF+lg9lKF6K8wcJ/DDDehVc/ZSHw
CoDATCamsvNw/rLFStHaGipnEWAZhflSNj0bt0V1pAk7YGFmbKrKYl/08+1cPwHR4F5ObF4tE/2b
6T11yXysyxUL53cGECrATQnsX8MPwU9sTXsCASYRR9X4rk5lt6EhKbo8+z5g42srOpFsR7vqdkNW
mq/AuDtaogVx4DTieE369rsiSaPDf7YAyEy1dpgp907mmCdqZJdYS+/fywbJX3Do39y4mpHx3TEC
Bjhc/lY19WuBFZbxn6xxnD+JMXK24JK2T3Fg/r2UyIaRy49To6qQLQAVYi3lnXWDsi/8DYXAVs6M
qoKz7EB1DtGdBZCzb2X2xJGvE3flfkjYfBkLY74IwKHsu9j1Vr0akgJ0G+UF6BQ0iI2mipCBgVPV
MgnTB6CNf8Cp4It1RRMf3cpDqoeBGverjHrJ5ODgzzJcwLj/hB6n3lD26wpUTo8gdwIwtN+EwJHM
+WWkoYySld0icZ3LpDrPgCA+l25f4UQg2WRKRHKkIZX55qaLZZa/YiCl3IR9CBWZpnVmALTJM1uw
NYxIBEwAdDgoSO+lpx79N0OlaPIo2fidEyzGVSsBakjWblOlyBL4NUSrhiQLmAXI2kGFHD0nBBGd
6t5IGwqlHVgBVI03kCIvAnYn7e0t+45/hE/W+4R3W4t6T9CoMIHOjKhZ/854aq11MOTN5y7FyUTY
ma9h7njTpuI82RVxNAFZqBanOxqKNpOoXi1BWYyaITdcLWOylA0qwXc4+5Hg1mXiaHn5j7AQ0QsS
8PsHJhxz3wVJ8XGMqk9pnBbfUVf/g8/Rnw1QYgC04dzdl9G4H90BNTiOmSbnbrRQZKN6cRxkSC26
jknIWvC5Zr49bO8UM+8TwMOiIbuZItJ4zLC+QObwfuy64WFMgmMwMezNNWBKXo70lzEd7C+n93Sa
bzSst9fUxWEB8Baou2QHLF11AtQzlVOwuI098jsmk0WYolwdlu5g9ubDUESY/sTD+AI8ROBygJQe
pPLAnuzkCJLzzNmS0psb+zm03T0p4wT2ZeaAuxa/+SPJytD0D1UX2Ng6gdbDlMuqk+3NmjpKsRKX
HjJOznjgmiC+CZKPybgj5gEaDNWOeAd+apjCcP85II0ngbVQcnAu+mWPgiVk96GtfdMGTDhOYeIQ
YCpU5kQFTjm2jtPDOHbZtpJ2tDJRAwQiOJD41ivpv4wS52AuymZWrsLnpqFQCOGDSHDOprTU9Nee
VpBdOOQAFf/3LhSfO8mhLasRGZ6x+JwGGTZk2+qJ4+j1qQuQuACYktI5KQVAQnFk3oDuclFPWFSe
cigyMDvs6zDOVj6QZk92/jeVueqq1wU5SKMN/TS7ARciJbkR/hANsTkwqmi2v64xdXq8T9YYpHg0
xOF3x0OG0jX+zaGTdo5xPvbop0c6cwI54HfZpwBMVTgZGtKiTPuty+zioEUa5SLMLVXSVYkRvDe/
uJGsDV22ZqHtABiumeZEISq076SCpbSH+us0IMPXxz53svbi7naYyuGrKaQH1in8HtZX46YERCUI
R1rtX1sZfxflqPLi1mEMAa4s+qH6y7L/TgY/+SYk2KYt3vinAQkvl4Ehd7iyu+TbFMVfEmAuvDjY
qz+E75p2HJCZBd6xok/Ti4UN4xxPmhcSGdL8x606kK0oUY+yrN2EwwIkFGJoAExZ25MFH5wb+85g
0c6NkBUWgEfpNDWi2/pz/DqNfnvuMpO9l35XnnmRfa7cUBTrwa7ddYSklL0ZJ+b7BPgL73EmQbrJ
4YCNUpX25EkNINFfbS+c11XQPPiq+glE0uaJenrIRIyqQcd0t3cKPdTGE8+rYwIGJ8oExz6IwEnp
h9TyQYzxc9SW9Vwh9UT9W8T1mrA0KaVD53WksbPybIBr64wSbRa39mrscqbIBgRIHoDgLWX4PKrG
ApACoI+No6dgE0g+Y//3FFnGiURa3sQsAgfbMG1IFgqP7SWIQud3GQutI+rF/C03c3YMgMd2ma3I
WfXSK75HXrJvWdU9AqfZXi80C+A57jeRBxZYIksgLoXfUSuQVpuI0pTrPkP2mEYFigkGiMa9g780
NtcV7JJl+Juhs8Cve6Ur1ahAWrYgB+lxkHpvfhogiHrAyFV5hCM7uK2bXuKw38mUjS/YGh9fJOCY
FDJzdJiVzAuQce5mnlwtWiXjc793QCT7TKLCQqI75kPzloZ537p4DLf1Q59gg7qL2HtqxrDtd+CM
mzZ9UrFiXZrNU40Kx8exasz3g2MDYdpp+Y1HE1rF2gSi1QMFwEIqeadiClea6y5gX+JgsjZ+Yhsn
Hk3ZxZ0LbzWhTOKbESU4rnO6T0aRYsIga/4ASHrzY1r1FzIADaBcJaxxLqUTDqcul/G2ZEHyrUOh
rYpAocXMw83cDRLf0zcj5/yyPFvi8OsfRzz82uQ9v4ghwTMKfqbdfwuA1rDrarBpAsK1wk6UmhTR
mBpPRHNwBqjKkyxce0+yZugphbPddpFTvubTB+L4ju1EHhPP5gBXCcVn3/fz9VD63XkGo/yrE9xY
cTeA1cDFZytBdZi26uuPJEbWrTjWTpIuVrLM3qyKEOxFPit2sylHUCBzlKs3c/ISWbb1VA/iyPw4
TzaNQrbH0nNZddKydWSF2LMh/0oyau4XumQi4+rGhNauINPG/M6Iz4kivMD5DPYw8mca1MSUUYOo
FUeswKdTBlrB6g5VZtjr2Gd+bvqrKG1WKcoeRYXUGXPc6tzgu/RfiTpelLjPX+5SiMkhQ5UmLpWi
eI3GflGEAKScY6BLA9F4dRfrxtyQyRqbbN6R/HRsHMSUGxTDYTqa19PKjQd+AZhYgOProVkLz0m/
gu7otZNF/RIVYNkqTc9EOgPkmaj26Ri4nwKkWjxYwOTZ5WDG/iqHdSBH9heQ99xdz/z6ATRE9it2
STakByMg3xrYJD6OZZt9mIL+PcVz4gLgsWNRPJat412MycB8R13IYh1qnGOXX1A8eyyLESBPEgfX
bl2Lz0XfeVsgjvKH0MnkZ79hJ0tG9UvTO/Mz6qJxvp3Yb2ainfgDDX81Y7n7zmmLDeYAO2xKuh+G
OamfsGEwLBz2PML5aTyV8YF+og7MQCtqIgl3rDYOt40Xr2w/JaV0v9Y+yJVDJ7efp24qHkWIRykp
3CR/6Ns+fQ0aGe4LYJrvBYBmX+PZ2ZJBWvMMNZC1PANYpbs4FQ6Qhcjcr8jy/cpRYP1i2Wl37Dwc
p5PcQykiknO+xoXhbWu39g+90xgv7tx/inDQnpR4m89gonvfO3Je1wHS0vmV4F5k2YlN4EAgUV8m
w1ONB1KaWuDRKFscho/4+64z0B9nOLhHgAIExjcBsEv23wSg8FHfd0/cyXedwqDmPebVRSBOyEqv
HgclIjkNqUkblIP2/lyttYx62k7IvD3PDNy97SaIoumoJ5mgWverDc03qbma+MSt6hHbqp6d/h9n
X7Ykt64k+SvX7vPQBiRBgBybnofc99pLVXqhaTtcwH0nv34ckXXEUh21uq1fICIQQKYqM0kgwsP9
pw/ieMMh5+FfgRII2/7ciNOWPCJNH9qT0x6chucuXV195h18kPjRspNDuJodaR4XPmS3rvkfywCl
gcxQLxy4dbkOdUUN1xU1sb5y9IA0oDhFA2Sj0Xmg1wU2ZJsHAOJ4mxFEUkM9Y4VTWc1zAP+oQMiy
lVzGkDs8KKNyb6taobpVx5SsARGe3jBfVB566995hKLaFiiEfbENgQrmyKhWvs+tLTRg9n2tJogM
d76xUm4o1yF4NFPsiYtVKt3wtiqVed/lWbQf6xK4EfIGFLIElqfND0HL2X1gxMNFrxWMGfJYRVZv
XB2sncO515hubNkbc0Dk2v85KsMGjEaz4+hkF9EC70Yml/fxMhsQEBUcKfpIi5XSFceXp0HGaDZD
uAGIjjpNx1WL3fZyQAXRhGzJ39MwAxV0yDFpSVNIKqOclga7oXqbUekRGqYBkU4vb8cH7NvNFT4P
fiGGJGBu7FXoGGqF4/HftElEiYTsSxWBQ5jcrpxKSju7jkpWZHw3A86j4ydXZ7OP4stbQXRa7pva
arc4gWPjFk+3bsq9v5r+i3QDR4OMuzWqrYfvYHv64rim8VKh8HmZNn3wGGCbB3lxMd04SYRDRFs4
qPdW9YFBymE3WQXKINLKXXcq7zZOmSJ5qkzIh2gNERBZufvC8NeziezUDFwOzeJdv+kmPETT82wi
5mWaGzKUhQHxNqCkHCj7IGHRBe88eWoNBbUop38ZjLjeS16JVTtU/QsD2zNooOPpzKA79OQOSLVq
t1Q6UCGKXchEGOnwkrseShANXiF+h0q3vS9yf5mDdeEc5wDJsgg3u7Y2wUoF7K+bZGrvswplHeRC
jREHCP6Xyl7WoubdluaBX1Pf3AVbhb11ybn3XIa437stnpqWrmVOJtxbqWvqSue5S6O5dva1M9PO
H+bSaKjUCpwtyOQWEvQP1zYE6uXv617kP69TqHcIZgEL47XmkRpbh37n7mx7P4+sPydfX+Mf4+QU
VzjyjKE6hllgn82hQ/yQBeHWM0GAgl0RjNS4mgI3ATiyMa+G2UqQC1VA1CRB8h5Svr+Z2fQSsU9U
muNh+feSBOlIcfgega7Pl54DyjN6mdkF1cTROuAo++kdP19KsOchqwDljqQIu5tYN32LbL4XgMOY
BqhBxU93kymwiIeF2+4+zIjG+CXGY3//YUKA1Lib4WA8r0FXRl9t/GjsT9SrYyQ2F5FUC4GQwGX2
zSwTCCEgcJpIs+brBjEyUPRiP3vtks1PUs3Tq400/M4bG7hGQo7+p1pWwLwMApLIHZJ4Fg20lvfQ
dmF1IhOqr+OVFwXgp6mEXNscySSQ8uRn5EVwM6XLuTFbtjUTIz/MJrqS+h58tcXs/So04OlRle0i
xHDuPb/Db9+okBHWBzucX7p9mmIvAzlNiPF4XrcyUc55S2c/huD9WoQS6gAQcX3gZpDdpJO3D7sW
arMflmJF2e273PIWzYCfR6ossU1rfwcMUPgAkcXwgTcCYRzo9WxLLgD3r9PoJjHcq8cYvKISTiTg
nvJ9EPkV0AyD+I0P3iYmAJ3PmX+ifpbg82u9oFtT14JCqrGh4RGb4BVCu+WSum4WYqLUE+fZMh++
cW5UuxmSSGBGz7Lw6ak83+JhCnBK2rB420tU5Yx5aFzhinUA1ay8T16iJsGzoktsfsGZj18cL/0L
gLJ6R73ZnnZDtMev4ZWZNb9YuvGhC3sOSpk+57J9Vkh6AQa0GEgbM3ftpwo7gxe/MaalZUXjHYgz
PPzn/OnYxk4PrYDM2FSYeYcyY5x3x9x+yYb6eQjDUq/TVYN4nQzrgUIKwCN8Knnvb6g3N7OyI9kK
LxNXicgPLmXjfZwvgE5tQalKpziBxFO/uB73qthYZBWgJTQyHwERpJNLH0IwWoajvrE44JAO4mKz
shqKU80TpIm3qQXKCqNK3e1VFmJEfXwAldYVKNa7RzEq8xyn4wvLI79Z4gmSiOyR1CSA7gDjS16c
aZ432b9fpnO1llTlJXup6n4XmeG0Re6perLaCvqhCnkDI/5hKi4erg6iw2NEIMTH7HhretU30nmX
BA8hUXhSe6eGRn76kakGOGw1pZWDp0GZlyEkN2J+a+smM8cfHAQ8+17a9i3Z/TZ3V0U0GavZNuZ4
ZHo2PlkEDwx/wVKf3bqoY8akXnJYeGO+W8h1wLM5YAcBZWhrkutmirxDbznuga6q33RnF/IDBeXb
jHlaHteLKrTZfvaVffUJedtyg+M4A9j215eY/egV5y5dfXgXNPeD3wABuIXdVflSaILFpkYWK81c
seG6C920/trQKNlmF3xm4LupNCPg7BiN4MukFWhK3Uz1Hh8sxEgGd9qNRjHuWeUAX+I13br2GITs
OHYxtp2EX2Vs7VoZQLqWe8DbuabzDdLJ0G0apP1U4p2uvMQzLrQSqEPHfdLFkKrwsm5tAfx28cIk
3dGdX/heDPD39ER3fmpyPhYbJ/er1VVBUWooM2TKAUlzwl4th9Be2EaU35K3XWdqXsCMQbdmgGfY
MUBwJRrI3+E/HWZjf14RvQY17whPgkJ+ttpEXpQRmPeQbm9LO3ygpsAxcO3E3FrHgDM9YA9a3xTZ
lzxLBHaj2PesGh+s8tf+6ICUfQBd0wG6oRgHd+JiVMK/caPIuBsl3oXbTKj7L/27uLX8OzeH9m5m
IytDXRrwpnRaJbXjrWkWr2R8gxpJBkge8q7hyfdkcsRx+GTnTn1TD+1bk7tOsvZStQna3DzJ0h1X
nRe7X4b+ru7L9JsHone846y9eNyHDIOF956GwAaaMik3g3RxmxceDqi+rMRyhq+BXgy5ZMKkUZMB
mOFNY7Uvp95+G4C2bXpFwln9aG7wcTyz0sI+wpJH1HtooFfSyKPAm+r2mQArNfU5tEdWY2vWy7wG
ErnrUNYp/c+FrRDzmDSOkGT66KqCzOoePGbnIIm/Q1i5eio7v9oY0+giXF6AS68vk5WQQf85S7qN
Efviu3Z1uCivrlGXT8CIxc4Bma3u0sfgJBAgfv1UDExtPTVmm2Sy7E+ThwjKNOXxmUbxaaaZJ57n
SYo5+e00FSEKkTXhHnjnvGLRWk13RBzolIJRE4j9n7ZG0/Vd++/9r9cDGAyOYQpNPNutnFOP39gy
iqf0W6me5OhaX6wJW/Y8yoZTH5vDJQEn1rIETf2GqRB0xTon5GlKc6fL8Sao7+tsEV1BXhQC4IM5
LOcBlzJKc5+uPi5RlMG4MafyG/4qIYrSQaMzN2TzNAluUCfuCs/gt1EaiFl0F3ZNuDPdeETav3WQ
1AEjyakdC0hOlUAdkA37prcBuprImy7zEU+V1FFQHO8iEIWVGfKXvlfdIUdS3Wkk6tXGtb78bMPW
ON43pkA6a/ah4dxNjYuTBUA1+cMDOJvGTdH7SGwqFZ+N0i2h2GREz7GIf1S65sSwHjtu1N8L1KAt
gMUaHyDIM26sIcuOSiGvDGz/k2X09XlE4m9+a0mYXU3zOyNTIdy9h23b5d//+t//7/9+G/5P8CO/
zZMxyLN/ZW16i4+3qf/j3yZz//2v4mrff/+PfwPKCF0e7kkX/9qQAOd6/NuX+ygLtPv/CpOqyrIm
ty8pkK9botohWh3TTjbMRI3jbCLmnbl7Zd+JoNOCe/lGqia6EvKQxweyn87zQPBqcgvoPl+dHAGe
gwiZxSUep+qEGDM+ZrqEiIMCLgw+1KUGUhdq2Sp2F42cL3PkK79Ao3yJP7/4PkI/aJEWRvFoIAe1
YbWTHKx0bG5srnBPsED/RtI/hoPoPs56we6qqEd9nCyDXULZy7l/VeDDTsZfBCIKdySON/rryVtd
n39xoOJNYTAGzYgCgETqV7o/itTpVwBLGyeFmxuKLu8y17XuohBS6NUob6hnp9Fw0zXtUgZIGCw7
ULodUTb+OPvbvXJ20FlEyTe5pHWYblLh5ytagBpoDMUraxjqTf3zdRgEzRdWKIP9deko4/cgOUtO
tDQzeXTpvQgMVV74QPmFrswvCXayZ+rFBTOh9oPUhfT7fPnnb5pk//iiAV3qAi8gPC5Nyxa/ftGq
xAlGFXjThUkrOJKOkqiGIryKL13VlXJU90URwivXYSjPHMGkm7XXftiZebj61YdNhV9vUJOJuxtR
GDI8XvfN2AQLf7TSW2I0pAHVDN9AHWbvkS7IbsH6Za5HfKk2RrBI41F+zfSDzGp4cQ4hXX/2TBvv
BcBLwBudzZXj2wnb6CLKfT6gJGsb2GCmC2qXrxqwh29s8Bqh2quMjSVlm8AKCkg6pZYqnkBRdExv
RII0y7UHPuFpWwVJeYJwaHlpLIAF6TCnT2+5nZVLiIw21+PbTw82mmm+TMIaozx6Gw2cz3/+qPDT
//hZQeAHNwMbgA8PzKNSj7+7KXSdMeQpd4cLYJn+cpjck/Qs48Eqa/c0ubxYFl1gvuIQai9Qultc
WlsV98Iynsjuh0a8nnJ72iNKaL2ExoH3rfmKkr5+N0aWvyYvgeOnKBO5Dtq62fGkqG8y4E7WOtG6
pG7sTfVNqJtW2e8HClTmndsJGeTKjJexfuL6UL5bZ0ER7Ma4sD/1EXgJPYBtsloUT6wFV6P2GqvB
gFYMJvnt9GIGdYPSYAX4FMN9Z2XYlbekLW/uuYjAhl66qk335Jusf21bw1/WsrdvIrcK91Ccw58f
p9lb0yxRO1ZO0+c8jPaFvvnnmXPiY7aOjRDjvVvfeyJUi9xtzAN1TW/kN0PaITAKPPqyctNgi2IW
H5JOhbE3YomIeWS9jIUff9UX4ONVXyNc9NqiL8jycyhj0+yDoa2ZJeWRTotzQ+dGRCLkCso9+ZIG
bNxqNn/+9nDJP357bCGAUICMgm3hqUKPnHffntFSUgWhE18MIO6WpXD52bFG/KQ8aC83tvl90AVJ
ZKJBslM3i1l6tEO2/mCnLjVh3zUr2ebGdd3f+TWm2g8MFSW5fuV5Kr3COEAkSCrz0wc7vQeZud0h
LoKt08buwdYNS5EbQ+WPkIfBGHBJQ9dLslKfrsAx4R5m20cfWm4episUG+4CVPfukj58wM/J2ry9
3n+61Ls3Ma/1YemPr0yO9O6uq5P7/L5TEMym+rVn+zu/+VXmZWbbYERPomvqjY+P7uApBUE4uqQm
hnbSAcc7dphtdPXBhuz6AEYFvQQ17/q0xLUvywgMTQ3CUL9b43c2ehmAAbFL/zAcgqRuURpVtjE9
4BvM3P8BzB3Skd703CQV+Ch40Z/FMMkD4JjQ9JNG9IA0AHgSgRj4pqVTkob7P8zC/ALe1OlZuP3f
k/QmpSyGbtMU8ow9fAIuUjPJljKrJ9S/IGBnZEZ4Ub1zNul+PurRvFVvo2lXRDSKTHH4QBOmNnw/
nzwizGdIyG16V0WbAbCKk7TsZJl3oM6uIjzFB0t5p8hsrce2tQE5KspX7A+jrbJRs92Psni1MrET
g2k+0vTRBbbB0W7zdA//Z5qOLFYIkWWc665AO9Ng3gqi4vi//sTYXTF3NOKa1qaUWbvqeJ68sLq7
yNoS35FovTMN1X/iIOZZ9xlvwCmduafUtsN1WlvJizc0s2sZQ7KiCd0ntyz4xaslCHka8H7qXiJ9
G0RLE4KFYjTZEqD4ck1+NEINysdQk44ZH+wTtMaXbKymtdUDi2+MQXPNcs2ZsznB1QsHO9IUmxKd
JLvmz8ivs4HEa/34bS7N+JAc03PxhIEAhxFuSSpQpQYKJ+myQ3qtWZhOsK6bKD6QLS88lL7RQCEn
Y4/nhoA2y+QVAN7oiuLSKc0DXTm6S1fzQKvrjzuqP6ZL8uZUNkxOKKVGBfE8sy2TYjF6NQDW3tRt
ZNp8c/SuqzT7t2bqIqgqUZ8hxlctWi1+OY8PeQJkQwp8TKYrKKipdWlERfUW1B8AWVtYPhNrpeEr
syMqCI19gMD79X9M//nIxeZG4MZx1UpM9R/k+kcz47cR+ksBj2Iu40ajwro2P2ZN8taUvgdm6blP
w6OlwapkpD7EXaw1NoLR4jryP1njupqoq01sMFud3bRIEDYGEa3hed4tYqX9wcT+dD2aAHMAqbEl
ADV5lPit3Fou6HjIg4FAc1FUWboCMsA5gXJ133tdu6ceNZ62z10UE7aHMqiAc0WlYMGDHPUhbFiP
dluWC+I6EVE7Hq99ugxLJys2dElNijw3K3N7A/LYNt+TjVajq8gvNGRcr+6A3BdhVtGcshqH8rgG
VuaORubXoTkIU1cA+PVGvKx6M98TzHIEhcC+lNAQJ5Qm2fpN7fjsga4dhtMdubua4Bw1UO/dg7qr
l8JPiiVooz1hLdqu+z6ZNl4J+/UtlShGE+jHqGtqpLNd83Td6NFJd2nUipN8SxWMY+qn4Ca3/jB3
dqa5rmMd8iBxFxXKfI9Kf884IvJQj0YWHxU/2sqKKUNqDHWIS+onqK5EPZceoia20m7dBw6ShNqT
bH0WBWpDfVp09r5O8ftu9eetmcnkh62ZZAIJJg+BVBtb/H+c9lVXCi5xiz95Vb+YPA7K8g7BDiO2
opsBXTorX+Xg/xOTDwKM6xHZ0x56DZLapZmWDclo7UG9vizBwVvnx1Gx/ABUkNpYoZ+8AFi1E3GU
fbMZUI4CQvB38VDBI691dC17ESG7m8KyvushHPcQWeGOdu+4B7JDYU54Rb3HbwHoRCkrV3vqIp75
bpIZxLvcNgyNvmg2sdZ+mcVQ6Ko2J1Etrpd4qO+cpj//zm+2lSw714DUiM+h0YBIU6POY8HtXZlN
L9SbH4WESw/1oIn8PNCZ+WWGqpMbzZwweLX79h3whsbCbS8EfHWn1l46nVFdVBLbJ1bYw6rE3vTr
pK4OtWHby1CU1SWU9Z8dhF8W+8nzVqDLAcpw9+dvladP7u9DSBJSnygboR0/57bz4WSfJWPYjK4Z
QlzMVlO/6KPukLbKfG64XLgxax+lyqcHP7ZAPWyz535EWbRVZl8BHGTPTTV4B2ZmOJHoOV6KYkVX
qgpl3/Ady9QH2f8Y764rOrjHMGcaAH7HXChzPzPfZzc/X475cmUPKDumMz81UT5MKw+IhvVsSzxL
3CBOShYKFNBVwqB7PrvSALnW/ZIiCV2PdInDofKCn08BkHLGUWfZFaze2zKAnmvJX5uu4jdxj/8L
K6AfAyv2e/wSdBPkwIGK/RTjybWbTCAsaDT5dQlUYVyXaM2BljD1EhFnb0vQHFZLdl0iyNri0/wu
lFv9NTHIKjp6sxJqIBCQf7eWKyqtVAk0D0T6JMh69KhnJUgHclCKaNs8YIVq++fviPuP74jwhCts
YYPa02Kgofg1oiDKkIupmOoDaFEqgJcBAGktwAlx0i6PxItf/9ptvPht1MmY/c65rvhXj+FYHhc8
W0OULdkEvuc8eIYPsB1Xn3AzdR4QsHYecMY5S8j3XsiEgtc3fxpUHpKacRN9ot5P/4xzcbkuWFY9
wPojkDO5aE0gBf1oR8yAVgKp+3awPxMzYIWj1Q3Z7SqryU693kmKi9dFSxt0YRsJmYiHcvK9BTTj
pi+jtHai4P5f6YgdPAMA2u80DDxV8sEylLtWopMn0Up2qMFsu02BSdS3QxyvxBi/2ul4n6G07686
+RzmcfpjwE144dh1/JxEAmBUD4E2FFkFSMVJ4xag05emMCSe9368YRGT27wb5EvS5HsjG9RjEAvj
v/jIbfvDbcE1TYn7CXdwdvQ4s3RA8F0YQA09N6cMEGy3cx8qTS/bmiX45MMGDE2Za6CCFra58Vsd
beXR99lEVwYr5AosP+Wqz8fnHhUGP8CnhQr4aoIkYVGvmlj438fK/OwHTfhqIRWzHDLBH6YI5T51
W6ubynCdbdcOyTFsivg4hjY46qzQA3P3n7/nwIz843+NiIfEF9CWXKJY68MXXTl2Z09pXh15PoqT
rF25a+2s2jdBHlwG16nWhmk2j4YHZA5Oy/FXhvKxsizaYGEW8cr1JuNblk7ZwgJt6bNlG2zF2rq8
yURR7cbRdQGNl+U58RlfVwCdPAy4Y4K11FJf+OQeryuFLdBk4Mn4MeVpiDOz4z6PgVOsIL4Z3jKr
l1urizvw4QbWyQmjFKwErXPvK5To+NAX+OxK88ZJHQRRLeO2c/3wLy9Jv4Iry/mEgh9/SUtEQMhV
N/gldgBaQj4hR5ngci7+MazyDzaqDyJn8iuiFAUKuvAIBxR3WVah2CDcUt0X5daZKuvO56q6F7iV
7xVDxTKNhcPoXpJBKcS8veI5NFW7SMXYfcFf86bs8hR/Uu/JNyPozSHgto5qt/uOvP8Xv8T3pPCt
aOmKoL8AtRYvwzT67OhsUKEzRHndGYfcUp+p11Lm6BdTpjqxzgGs2wZhtcxLhu/ir1exrRjoefNy
GaB66JfRNeAGJVtbVV/fd7yznnQP0Jt3PRqrwCf5lOXTmmvPkrlXTxqrdU+P0TwaK9D77837+eo/
59EqYLz19l5rD+sqGsejNI3hWGSgop3awrraAnC5odD574b85i5dka1LAK3hjr/rAXUvF2TLE/Dd
ghHHWl/9xvK7yyTgAXLI7qWRi20UhvWSut3kZfcK8f5l6E6oQ9UujbbhJ7BAmUpxS6bY84tjxOtv
1GuDODrEzGRbxJrrox0A2Ap+kTM1ViencUGXdRaX27aU0UIWmXk2komdGQ1TvzUhVumOdQRU4885
80KgQgLZr0yiLQfTzH4wIQZnx315Fr3rQ1QNZcNOFS6SBHvOvFPBuG/agm2KsTSXygNTsy+bYk8c
Zypwk3ObFVcONSJGmz1Czcyaao8aHuRPDe47v10jlvllTMKn1omir7Zdr2Q88BcQcTgIEXFnV1Sm
eoJa1x05hKhVWgxmad1kYD06TUYTrVDqHn4tzWbFsCt4SSNLLBG4z/fYfKAWJWj9jWQsxy4SXZMH
0UPqJiu3SrtbMuGu+OZBg2T71YPWGLmTr7pEVZeKiQfg4XsNqOz2YdxUt8Do10s+2O5X1MksQoUU
vFujCBy1NwXKoIY332IMQV/XpLsoqYblKLEn50mzM/LA+FFwfla+X742XhOC0dAZb2qmkj2Kb8qd
5RWoWdOTAPIRn5uh3aEis7kXExT/fKnUY26kYHYSzksnEn+rnCHcVGEukMaYPo+TIYEyEsWda/BP
ZA6q3kA2ASBMlHjceEm/TEDTdmfFhrgDNlceitz5XiEHEC/roToMAlk9343dfdgn8asCZtlCHC7l
0940K+hIASb6CrGp7znYr2+Noqtv3aELFuQGIBTUQJGE2fPJjjA5m1T36c9PMJN/TNS5loVDInc8
6Vie6X0M3/uOj4pBy4Rqi9fZabIAIRYwoWGyRpmRBFIHhFxuOLjfhPLVouK19cyaPl0FphpubYRe
to7N66M/dWhSu9hqSozbhicA8EGHCRq89RN0ZeMDMFzZEgUL9ZPspu4IOChbKN0tZW6cwC4fL7ws
aJ4a1g4X7Ls/0VQ3a7Lb3A3ONNPgjnHnN96aJrYsdB+y/ntjj9GqDkO5KgY7P1LTTkFx7KI+Qp2z
NlLfSqP4fd9wmhMTKLZOQJ/QmUsShCH1lwblktuwG4x3IjE0akFoy24gPTWLx7zzBf3JBbKar6hj
8RZxFSUMPBtWuAlV7C8cYbMR20ooeV45SADRsY8l7rczt8gM9psTOZAtsI/gC1rMJprwwZfcHNQ5
r0BnyYyFX5nu7Wja5zo385OLvYOBsi3UKozZ4G4F9YXXAD8TD+PbHOm3xq40FJDkLd7nIsgL8+z5
3oYWu87B4XAZSCiYQsfRu6UB4C2iBYsye9/497xxvQtTrXcz9ZZ9aER/f60bI1vGp2rlpIievzO2
fX9AQZeByAGmUeVZWhnXubOJ7KWvCTZiaf0X+Wo6kbw/1brYx2EDi/y8JZAHFTrL9W772oNoOrCb
MT6iEA38vCB/w7OIpzinhiWykll0T+iu3NDECxmCuMhUrlBHpYY7EJtgxp9/l/zjCcq1hIlMLPOk
kAzV2B82lnHkOIXXgckokiw5jZpJhxGdzs+GummO+J9mdQRfLlxwp2k30DMBs3c2AtloSnapQFZB
vblxRXuXRiGII7QXNXE2ecsqDuNNlNo+2A8MUewyotLvgGFWpWceOPRdqkXVDNbOUxzY58jvNgSN
m7WpZr0qztnfLiQqrLGGM5iOEHZ9aN//+e+m/zgftuSelC4TEhEK18F29ONfrq79ofSCpoQ0BPa/
Du6lIJQSrD/X0Jp7wukEWAHdJSZpuwIgwAah5rnxO+y+QHKwUL7bQ34W0SmEMcNzHjdLWdnp0c2q
EMRtMMVMgUOI+iI17pka3Luw8D2oEHXZunJa4xlFgc1KgdRlT11DMrUA90N8oW4CxHHhudVjWUPq
FMiWnQhd47nijJ36HHdG6rpQL0FR3Y6HVbKMawgMC4A2bvICAiay7h7jyuke8SNbRmFr3JFD0BU1
YNZld6TBuDGRl06aYUOjk6mgYGJC+63OjMWgoxPFYPgbSKEnG64DD2BUz5ZtjJs5jeLscIiKpLoP
VMYfeCbXlvbC7Qxlmzoggrp8+xgmVr30VWzwb8CpfI97yKkDaVCvR0qHVZ/ipBL3lNqywZyx7nyk
28vWXokmCV+TNnkOhG3dqS4Lb8O8x2ZqtINXqKMm65EF6d7VbgaCrxAFij/VXWQei8oylzQdkYMQ
NOpVhA1ZmzzJtN6g8lAfDI1g1/U+fq5QFDhxzW8zGam/a6M+AZYHqJAUkrPuwqzVqzsW6UFRF8m3
aBELNwY/lwexjKQfX1zF7xiKp+9Rr2/dGs3wmcwoHuo2PErKLThnx5cuFXd2FETYtMIrbIfPvZ4s
U96BAQxrteG49b0A2mRgK9iKGmyChqb9CDUziNWsOMeXiTrAqyQr3nfVlrpGPWbneGifFBOoFhha
40vf283J16QjrcnWjgC+ZRohltHYbfpYgjz/ImLzHikH/Pp911h1osjuFPgqH5mX0/ln2nvQRXxs
6qLbjj2wx5E7Xq68e9AK4cin98+gpIKco24MFGjeQg9zhwoH93R1SyM7Xw1NOK4TpE63uR05UYDN
f/kscd7dZD5KNlDoLl7B2vwj92J1B4gz8L01HxZ8qOUrZ8jxBNw1To2dNA9uVN+ipk++Rr5ZrMEO
1O7TIeoAjHiiZSJIIW0NWwwb6gY2/vqe6T41fQ4tRMmBTB3FiCifSBYIHngmIsGlt+m97Nu1GzRF
iOpP04KwWBM05t5soZdaJOGIRzTyonbbebvI9yfITebmo1uH7Gzl3iv1OLQ/HsLiyYjhSRb87E7A
plo3NNnhibNIsnI6XN1Tp0JxG3jgmsxaz1xYpkCyDPixM5mYCIZTxvJHhMMYoCEKGpg0wRMgdGsk
fw5Gp1sgaoBXCbLoprAmawGO0PEzDcg8sG9GUPbcsNp+P2DpGYaBspAPM+aBSi+lOm/8XMdQdfGq
sN2jJGMbKuluwLCfX/Kc/eMq/jk6iKTDHzsXYAjnLFpiC48Yv18/lz4yNKK0ynOgquCImD3fYC9Z
4ANWIHhDwdJ3afwYdBo+RF4AihBvc+w8qM42VBmwias4KpNrzHFAy+XXfJ6jGvWtG2v/APk8Y9G4
brPxXV9C+LgSd/j+tAuCLzdueLTAIv9p9uBFIO5Y5H/0qBzw9oBi669qQIUA6lMBp3W4bDZtjaCI
NMcHQzDzRgWleW5FBYx267DXOqhx52mBHBhxKnqw/enW6DIgn/xsXAugundhjy5kqkHK8QpW7Xjv
mkDF02Qcvu6AWAoeejB59VZjbJLabjcKldQPgYmPvJSO/V0kZ/ozJTUA6tgrOE8QlUG1Tg8+gwlc
5sc6zUHKPO5A55jgfIcoaKebGsVGKKF2bsnktWW+moRVbynSaSPOdhylnSyc3vwGFfl4DVE3kExO
PTSFc3s3QBf6oRwq54GZCHdIxCZ31A190BWxrt85Xn2ji3tqFLP/Dcq99kFlA/lowuuirlQtfLtP
wA811Xg/fTw9WzFOC5THM/x7E+XOj5Sny+wHqx3fOlH14PeVrlFiVvm1qHu7RO2AhPx31ObFc5Za
gEq2dnhWGuVV5afcCfhzlznDRXRIupFZWmC0A7I03QB0PuBdh0D52rjFiWIcL2kGjRXF43hFXa5t
dEVNw8fbXnng/E0ijUrXo6Gb+ocKqqJXWwXk6t7pcaA0fcfE7hdn6Si0HhvkCh5bAxy1tgQtNmvi
7jUWUCDTDjVIOVbQKERVqYjz286zlsMQ42lslO1Dn/Ygw8qRAqpaf9iZlowOQZ70J8gtM1SNNfld
WRsAFqJC4RmJfNAo56BMmRpwr8d1hjIvUy1cnsZ/BYnxbAA+88qTOFmmST6cy3HwAdnHpiFSRY/9
oGHsIr19YDUgIr2hnBWNOgmelcH/p+zKliPFoewXEcEmltck983OtMt21QvhquoWO4hV8PVzdHEb
d0VPxMwLga4E6SVB0r1nseJ0Rb2pJvw775HYUpf26hC51mPPUeGQUzuA6Y0sLsyojQs0YU9ZX6f3
URH1bThp7kQz4U2qmnOHB70RuoBidDCncYfK/3illszAB/RA+gU8w0Vdu2kNJPO5eM4Mexfp2vgW
VpO5d4sSnPAsHd9so/2rZK9GxMInr3D8TQ7M5BmJqPCIjQMUK2qD3VCMrQO7LJsfSdGdgcS2/zbA
Pu7qPPo1OALAXmiHH43Y+cW0lj25P0sscZ/o3OdDFnh+lB9c1dXHcjjEbckD6q0GvQv0TpM7Wv8q
A8KgqrAPXRbBtOC16w4cKQ81ZV5AjpdXMWSXRPFxFiM22HYUQbCxWgNOhLNl3L97Y7u2V3bUNztX
NPa+zbSHBWVPZ4SoJ4C9nk7WoXbZnucgMMU1BHTA6s51AILyf7X7EDZpjYXP9kF8nmAOKvLo4g/Y
dadwc7o46VQ2a0jwYi3ruBegen8ZYVK/SjY9W61ePpX4e59SLNwg+YPZBLD6Z33A6x6MTNRhc5iG
gJwNI23mWoEbj9zH16CMftgQ88u+SWG+T27Ytk+ArIBf4XdQClcZWIsDEAuXU/i9sgRV6w6SZ3tg
wiE4r7rnVO0SIxg/XUNj6BZeDDoSV5IgInFA6ePl+MMXqEJbYJKBI8OivQM+2LoOc/uUt+tcsQ4q
9UbrFAnhjyZ1LLFKhnxVGP2hgaoKkDmD9s1vyn2j5mbWAHbQxxY/DtL/Eg9HgBWWuBcVe/qTLeN9
FituC4wrQPGz1IGH8nvjieFAISL7fcYlCrAHCplx1gLBj5ySabgJkg8tBxTeTG8GM9/7ZBTfQZ/L
NnXG60NKWadmO2QAkmJNnB89TZ/WUo3CJlm5ZA9AMwABx2qjQrrbSB+7LHlHJgwOFzU2F6Qxl8nW
Whl51J9IZY56qYl/CoAYavDSS4NHda0VQVmamkNYt9DUcqaAFqZJ01gbN41QDVPr1An1lhMtTKkJ
TaP42TlUiek0gReLbFUWOUz/OJJxEHbPN7GAa7kxhew0qQM16VAVAt6zoz9tMsAN6tXSQwPpkoxj
yk3y0sbK0Kr0GnsuUL9fWTz4F83XVq7fi7WTY8lI2AQxsosdJ8mdC27dHQfFcIVR6OMmOeZhEq9p
FFMXVYl4BO49l7d5qZTqniLKTMWlQpp8U8WJ+WzkXrvStd7/1UVZ4GA2+9uynAe9suX3tgOBVTYs
uaHsLndNp3WQbCjfoVrAkCgH+pDULvzx7Ohj/FOAnQ1vCADRXBlXQN//M6CpznEyJD8nu/nXADO9
y8nBW8X3i1ORlMVzlPYP9K3ULSD6/iNu9HG3xvcGBmgm/lFqPH3rDciurSMPM00ZehNU+1C/is+D
NpyQfQYQTBV8qBKkQlZWQtqI8CifTZKhS1njX9vOR06ly7viIiHWg2/JFP4EAGelG53zu+2VDR0c
qJ46Dc7qY+d0oMvwYj/y3IG2LKsdkN8gTa/cJYqvM7uZDdui0c3TMtnT3J9iA3TIjfKF4ha3/pn2
AeA0A0zl2YbuVLiZwAvYhja8KhxBHQjLO3CHN0vl6I8YvYicz3HUpMF/xrDE3JscVKUykuVhEto7
FqLwsRsGyVa5io2W95+xP3RTElHqu9B66gt8c3p4mv5ssVAlQCYbJeDNcvKfOFTWIYAL5Bnyl/YD
0HpTwLzqwHpmPebA8ayLUbSPPPUwizopmBkWJklAeDRsScf0QcsGvik70TxnVgeFynBsf7Sleatj
tYQ22MeapGj4qbP75Gc34jeLosH9JqfsRYa2vkpk1oELDNBW1AIP2gBjPyO8qEm9tDZcmoTwahL/
Y/D/61pacy4ftFwb/fvHoM/Fn9C7zgvPBklDcOibbkuwCUArwCu1wey6TOH+DyTFDLmQyOwEsazl
mnAXPrAvp9Fu902jsefJQMpMdNVtYiN7bhyRrArPl+dOdSYQxQr6dtL31HQ9SMYMsoIblxrs99w+
2GFVBNQ0hty/ZC3e4KqzTQrvnoVyRVfSRymxhAHCDx8qAI777KudPGfYydOZlznvVW9nR7evCiSo
9VrbpAIyPSGp7ztWOl5Ac9s2vc6OwC2xADZtcs3Vyit3LRjROAXkbODd/gJ1G3zV5PiGlJxzyFJn
Pf/1MNnfyISqFxwvQ+j+OccoxCdASDB5Kkpl8OC58Wb2t6KRmX+xwY2vKi53AJ6mj4AhQ0yaRcUL
qnTlqgBE9hds6rcDQCgcW4147Qre/i4hroxnx0xfEwHbc/j2+o/S7SEoiKLFaTCs+ET39HoobDSa
756LMB2CwkHWCbaq5sEQyOSg0j49pUYqVo5CMBsgrEZmOdxyfwoD1kLB0S36K3GqTLOq9rGL3Bfx
qehgQHzIalh60aJKfPNT51D3vLg1uWl+G3T34MVGfmtUqnEw7LkPpBCxjVs+BK3E7j9zWH6auG3e
HMeCa5vaN9S+91sb+vBuNbw6uu6AarLXVu8avKJV+U9v4GeVu9nNKltjfqSgLYF1qGrSF5+a46ij
qabfpUmPVJsl0HeNWrEtoRtODEjiKIrYuYUWNOMWxiLmplsnx+g88yTVS1CFjLSKzq1al9FQFaIL
kTKsHmojhsaN0QeOUw9RYDZlssOe7F9tyHP2K61H9UxLdkUzIv9WjB8nn5GvJxqswhIsmXdaaUMg
J5XAhJvKgEKHE6v6QeinoRDywBDaUWvI0MAI1Vx+R8ifgSrocfjBROYaCPv6DNSZ7a5BJXU2LR+r
YBoMEMDMbFojJcOG+WJibDYJ7D14P8yfSDdVodqB8tPyB1IhunD5A0WxmEOR+jfBoms/hEIG2G6B
zRQCu6eyg3tqwnLtG7J4zmMIzuVz5WVbCsP+IT6tMy/pHlqI7OCnTe8TgHH3Ee/WPcBAniLDpnc6
ZJhOg8602XaJeUI+xhAYO9NVRZSUD9C82fR4DCCtDlHMQKKQsMuVMqEPovqDr3GVJvNX80KmK7Mb
lCLxhZ+qZp/LvLml6tC58iPmx259Az0F0rJJjeSULCLgBRssdSwNMPwJCVqUOOrvbfJIaaha5mwO
5zKrv8OegMI0Gsk8j1IAOsTtYsP43bjeKu4qiAnodXPSuJa/w8TIR6pslE+hBym9FrvwSwVn1qNf
xvnejqH/JFy9X9uV3r80CkLVa8y5mnr6twZa93V0fCQP+tDdUbMnGSuuafrBHLwne0R1jzroMIU2
pPhT/dkr/enm12kQcT/FRhPU2NXAhX+cd5DGAAE6xrx5y8jMlK/nTAj2M1sCzhqp6+8dkONhJ2DX
Nzo42fQRI7gtYXSjov6IURM5b2sHW/hoX8PGEvhEFP0Xf5NQT9aZOemzKUqowXeliezbYorSDkjR
ygEalkvMKtISIoPmOkNVdBsnLUjy6gDe/sdZn14KHkNrzwZyZ0WdpjAA4YTs0NyksZkfo7uvUAgo
1K2YncggGzK1kg1hGVYUmTwno7Em6ZixsQbIxDTVe2ILfiA/u4bs8/Ko0DduDGQeBdN0dLY9E8be
d+Nkb1dYtBiTXj95PeyEJRRUrErIW4bt0pMVYwsWIlm3oU7hhsnjCN8t6qSLAECOA9ZY8YFGwN3d
OiEfgNXL5y1zL3wxZQTqovoATX0o/j3nUsCQwTVjfeV6rg6hzrZ2A4EU+clteNdCqTvKTh75fVCU
DhSki6yy6oFiCAu4hwBJoh9gf4BfUGwyWIXEebuJbVCaYXQcRCkL/6py9spsHUhSJp21ViX82nK9
PcK7ExkuT+vvXg7XobRFPsMZqqBrqvAve3RfzbYoX+Ey+3FRYe9hobMaLWavG3CUHhOJWgQd9A7P
Xak/UIP6bOwqN3nmARqDpMGXoYaEaEBZG9flFlHG/U3kDg6UAzA25AwgaSMHeh9g5qeydwNCgMpM
fml99hEcdDTt31gGYVXf4fFp0t58ZuM4bRx/TC4SxMPjpJX1DnJDw42VcRcYeV38yA3zXOrc+FsH
SsGyCvZTj4S18qGjjm9Dlm0nkZRnt++7EyQRrW3SAUgpay8KfNsc3htW7UPXmb6ZvH11e68LYCCg
75F7hgR1mSTHydfJpIg91SrWpjfP18w7NZbxvNLsJ5idJ8fYQHaCeifLf2pMHUZPFgozTRo+2IoK
xkoAJowsAg1aNYnyJVC/GSBN8UChMAPIrEnyCLUMxf79j16hememmbo7NOe1lVM27xnStts6BSg0
r8c3P5/M34bJjxWy2d9LAFtWHiA0KwtLkX3t9tZrDkmMNA+tR9hGpM81HGMqFW4gRALp8H4IoLls
vXqRE66R62OYDvLWQa1JYKkCCPIrccdyox7wpi28PVHMWPZWVoP7Cjtw44iHCShOxTyDYWG1yluv
ecDb0oajkHh1WPUGNZRX0jotHRAS3Hq8d6GXP4Iy/Zu0TX3p5mBsh9OuL6NmleUWlJT7a25Gzp3e
rij2tvhZanNPzdzl0RHGDPZqsCL2VJYOe8L4Ytiipi0uKUllN32Wr9OmSVZmBgwu/ZJ6BbYCXMrL
Hf0JKiREV6Ir4KXFBv0lnq4URhUzPNNFkBXbuphAhxFOlWfsqB+F2aOWKKy+eLRtAcNMbIP2mc4w
S2EtU53UGMWJCMImgRW30RSPsPt0VjAnGHYLJB3Cr96piz4A7XAorA5zYaZ2anwjgLPo1YJvSjRQ
mbhW3mFNbx9zG2UsyjBDxiYs+M9Mw9Nbprp5RCqzvtOF3ES90S0gWdnUXn2/I6Pf3g2YCtwBpLH2
FgRQVniEUIWyxQDlMayr9g6b2I1FW0ZQSbtCMi3sL3M+rkITojvDhXazk9PZ62qCoLqrnJWBsiqv
dIbNchrEFrz0lpj4dFSmXhgGIfGjrlg6aDD1uqqXOuiwaOUvvcuddSc6WD2SKHE5vHlmhycoTEBH
4zZgVCTI04RiOKcVjNxqo1tpuV3PgPR8su1VJyJUJ5SaoVt79txL7y5qLr00+P9wbZ+cgS9bqqgR
Xu5dBsSaRzuuKNOAuQNMekvlVRrXeZ52gOfrL2pVrEjB92pu8HYC9bGCwx9ckDzIypMogadHyJ15
/plUNGGVkG+yTssCq8mhbv6F+CI7lPi8EpV/TbJQHmTp1qDtkLeCTNIXgjM1+dRCRgWYRWr6XYlv
b9XC7D4tsQdI8GjCEx4U/Kwd96ZRi0vfVt8rs/CaIBmBtvSM6k5F5alHahBYneZIuTuOhNTWH7DU
pV48Noe4QSmFzOKgTdCtCwiaBJqXG7OBXPhvx7gY2sn7xrVuME0PkbrxwxNsiiGPnvvYsAF4ucRF
b4p+S0Go0pbbNDTS6UWa5UNXiHADolAIcyy8H6vQOJvYCjx5Ndj5juvzVWnbKClwjYHTEsYX4oiY
FcySXAWeomd2YZBUjTiq5/PMXFHsba+PV38kiCmHTLHS895Q3UpgVPVPbnkZK1sGSCGSl2tguyHi
GLkfCe8Qy/EHSOV/NF0skdjWSToXOQEO94IKNMO60r+NadXd2lqvINvUvlC4QkJ77SJfnkCv1/mm
t1b+1Hi8f/TLbOtQnS+JWLwqR9dRtVbMd3gr7moHUvtGh12ijoIqcw9veefo32poMNP7OM59Cb2C
3FqXSom6zfH+lDIcLwbKHsoaEJ69pYgvlV4GlSGhg6JXOX/wTVe7VuH4zQOc57CEWm/gD6Hr9ms8
qMOahlEvdVjDhIW3MXyzAdkB0kQNpiFDU80fQ2OB3ODIlOKATQPUDJ2MbSk2X9aodql6vgQ/f0i6
KQRxgs6AXWwK+91KaU1NSnvqRqdLkJr/FftjiM0cEw8lxFSXDu/z1kvsj/thhS732NWf494NV8Ib
7M2cTpozTpkOkyWYL4GqDi7PHJv7aXwUW/bcNQeJ3UPXoF6/+SAGqczVkrFaPgep7nELe1l91fTS
wCpm4DsQDpw7XpFg5VR19wtoNWSWsK50Iv5DF5P30oQQ2GvLwrrEjZEDO4l1YS0q/gpq2F4zJgbY
H+ynchPGmwoQNeVZeLHxClpRsx4tf5/kyEVTU4o23Yjex2ZGDS76fESiJ3GgrBO5Rw5lgQ2H/eCJ
Dp7u4szN0xV1DFBlrpAORnA+nQdlGdL+dOrKUZx8dfhyD68zoM9U8jUmX+j1fBpDusqkEEShaUve
kdTRmc29gWTrmUJRym1Af51guagdsACiG012dIsBRTnTrMgTJDGGuskDzVb5h6XdUb2K2lVWoiAG
D4wrNi9rShBHdTfuKL7ki2ksnKnzgG79x/2pJubVCXLgKNfvkJk1sHsQ9TaCLiMSHCkzDpPm/y1r
MT7OscbN1kakZdcuV25i6gDrhytE9tRUWWlQsqIjYzIN0txvN0PHoHxLQbzcrAu1gacOIqSgT9Sa
L5wHmqAP94YHFxmM5TFAIVbe86AtkB65NCC5r2rusU3uuHG0iXtHwvTV1jd/AgsITFBgBj/C7ikg
ZbAvQwroeu5LZvwNmPO4E2YV7mq8tF8M34cMN+xm9MQSQWSK4aqHkl+tsZeBn4r4J+rie8vTitcy
LxPkbPxHx1B2ZkXqP9uQynmEXCAqLIP/TKGx37elnz5TxE3zKwAC4wN1AQzerfoh10/UySC7AHd4
rdpTb8OcejuhCruhXqOpSkjhmUNAvQIvqDNEJ6LVfGPrAMhEFbq3SUptIx24/IHl0rVYwjxWfSVP
RJEnTrz0lKIAtXuB29VqcsF0uEu1FLAV8NP1HbU9HbtaVlqVtfZT5O4sqwWjGqn9w+h17AXGFFBc
xpccQBY0k77bF1yXdw3/mG/4Z2EFi3AdJ+MDKOlvSBayl9Rv/COEWisUedAZRXm2q0TLNtSMu65a
81hPD14UPfM0SbBd1NNtmkVKGAwIlRY6ZVcIswHfghZXlL4wGl/qtqsvPBfdyY6bH6GS73UXRV7V
xC4RakhjfVriXwR+RR6l0P+NwWz6vDbvWXWwdHnqgQRH9UYR5edTIrTHQrZ7wMgO1GrBVC4P8xis
Uk9zGtuaOrnlcES6hV6a7Nqqxwa+4UhmLm2gI6xrCCs5TVXOqXxOh9zKkiMkT3ZLWZ3icMEKlbJS
uJ6QcHhogWm2SQQy5h0/ctuBu4uSfKSDZ4bWpmwqG14i/8SiDCn4vqn1PQ2hjlZEx6SfUKVXw5Kk
dGBW1v4FPWEIL9nQpFcHGBVPijKff6jaj1q4kyjbXak3FMw/uEbar5Yr2gzgMq1x60OlhO+HESTc
oew2CTeTU5wY32hNRquuL4vOpY330tnNkwYkSKzdljjrmLcB3kOs9NJH+sb0pFjXWmYGldIITJWM
IAB46OlM920GWpecA59t+96Dq3yI6jjCPn+yh4CpJsWo1/Oiv0ERLA9LHIk78H8SP6ABmGxR3tDl
Nc8HA/vUoroW0Nc/DrXeYgvepncnNXkgYZb+Ux+jdVHK8C+Y5X3zjYI9DP1oBbRxo4WhCWjZOrF7
tl6WiNQBX1LkREbhnw0ATpCg8tnebgf7Ok2tv4YmYv8tQ8F5JZ2o/2UM0QbA3ZoD42DtUGVvfnaa
CTWNLpfPWgfD4KIGsdBOGFTPhgjWCwaWXQkHBkwJz7AKf0039uZUgqeNYudkcCgDgkeiQgCU+XAw
w0ovjp5uwdvEwNKrK2qrOJIZZTqggq7LN2qQR+XQQHxR5EjltLpltgCZSxeSlT0U+LMCEpTw5QIg
SQWlAMNyrS+nELp3T3SgIHgW+1DE2p5C893odL5wPuVIiJnxdHF0r6khsP55X5aXLOhkVK9NlYW1
vbgPOGayDaViKUZncZ7YZ1PKoKXc7ZyyrbNfZmI264F1w8aVzfjd6/imi6LiF+YHHlSZlz0C/Zee
/mOEdDMemKnMHhXpEl5XkxOYoi2uEoILj3WdaZjUoB1HTTrosmuwY7LuptInXuIT/MBNA36pSxxJ
d7kCQ6Lb0zBRplcThljH3M3Dq0wvTB/Sa6GcWilCBy+DOSy0jIytg++iv65QMtihdANvvqKQ/rrN
5Y9505MM4QasmAorLBtnVADR+H+0nR6Ch/OCpMMWbp224bcR08E8tUAgpsrX8yyT+2UOSO/vSIcs
Rg/Bg5WhY30JqNEBj651xPqotta0T8c77aCrmKFNsOZbsgImBuPNZc0edxSfaIi6gu4SW7mw5jzC
552Xbf+/7zR/hKWBRWrio8sqh8IMZn0TyJzAzKPsag2svmY6iGY064PjdNRFjylLOM5O7ztz5/dZ
/Nq76aEbvZPemOJmhY55jdP8bU5O9jBASKzkS6vAPDiiqre3lHq6ZoiiwdMPk3KdDZAOITGctLLE
eSweZtyDdOEfF09YVpK7Xob3xdyG0hKcrLrP/hkTwZj5MZ4QEyA8lY+hefVIMdtZbNVpC21Hhb8r
fOuZ9s1dB6UjlEcgxmaaFmDdRgvNClQW6AdZYtQkyAXF2qxr9/PPqgazFnJ/FKMfYLnWbboOVVeF
z5ig4H9sxVTBET4etrRHBDL+Rz55AMDjF7vzyr/lIzyEPpAZpYltdg3oAfERBNKeexABFacPoDFj
MswrUMW3QbUoNGq/uRdqd2rgJQ9s0lRWM/0hi1J7HdUwptKaAiRMoz97U4L0PSSiv0wQbi3ZJRnl
PD8sEweHOPXWGfAWowli6Wibe1LmhwHzzr20M+cmPfsREmLxG1pQcAtHpFJaP35zSljx9gVUEuu4
9V/zQwlf1jcBm85z3EK8n66BdSloDDHX99SLkj5mTtw5rJ7nOlrrDnZ6cZs3eHZrO6jQGc/M6r8D
ypb/wmPyYwBQ5HkCxXUf9tEU5Fb3XqgVmBFm5Uq22H3TgqxDFSZ1DfsOEJj73I1I9KuFGQvB2k5j
7ztdE+M9cxzcqZlXbaaIop3V+t68auMST3dcmdUBr1+O5V8HrlWoqS81EAbdgHWB5EhhtgqrkMdF
eoVV10uvWmHWp09mmq24q0EOe2zELobv0406Myj/rMqyhtSVGpsiHR4MEH7c040sVxu29DHAdY6B
lwEVQq9DE8vtFZeuMTcpBvIaNDw9VJOWt6glYAER478PRJb9uMTd0kONtWEXCtFbuuktd00eOtEk
3vOksHZkyQNznzTFnteL9tK0X2lESOtOMlqX2Ciusapyg6jP3kNsDnZfHNhpdJ9i28sT99WNPq17
5jE8Kt8jF7a4s1k0vBlXpgkxocOHgRFt2uBBdxtAkzzPr2lpZ7cayB0s51HJ9nwUpX3hnXKACYAW
Vj5T8ykAA9VGkzICJwQOVHSA/viHDdU8ZjRziHXFmLu8PjvVnj49DCLyd36e5/uyyepn2NG9kw13
ZE1v9dg6z4BGouDNwLj9HEAyNRC6ewuzrLgPfg7TVSUBln3qgI1kUUeaX2AUJmPen0Gu4lGe/Eb9
AJnoQr4ZhQbZthB4UdvA96d0q3StGZn57oMZUFVG8nuErMwKnhjGDcmB9OCUerdzCij+5qb2t+l3
4SO0qlDjcfkLb4GfB+Q4OzMY9gZ6YvIfGXatsDO8NqmOWkw7MHlEIfBKsXyMMJN+HtxuOMedgKPp
Z4iGtb7WrGEUIYEHxQUWZHpAptg5NmzkGr9If2Xxew9jnN+GUE+ZDJMnDdJmOw7bnIOB8sejFk8C
2UzgrIXTX5oxrJ7AuD/46qVR9KBZmFAQUNbX8RvS7nXgDaF5oqbo35OkH18KaBxcQpyCg4ZRIBn4
G0uD/TeNcsPw1bF64xFycVhAuNPrfznBUgzCD6+DDn1TajE9xh+KTlGU6E9fzGJziOSfuhhS1Tyv
9iIEYD6AzhmDGFz7r3aBtMI67gE97gYbjou9D/s4BSqJ4J14Ykyh4QnU9dkkeCgNpl6RcwvrnPgb
8dsTX3tOsFw7EwE+HaD3HpbIvVMnHaJ/RlDL1uLh4Fj6x4goa7t9KqE82vPpp5eK4eQ6rLlrUW9f
9ZjtOj1r7xQCFKDeispp10tMXVR1zrpvXk0/s197u/uOFE72CGK/85w3xboLhfWaaYV+8ke/DLTW
tl5tMOc2ZiTBkIwMF3ZJ0GUmN1UettHW0CE+zeB1Yqw46Bo4qqjKTACBLEsUb3GgswQ8A2fM+K5O
JoZ3uaG9QP5n2pUjVqrULNUrWUCb40BNRwDv4OrAy8+D4RcUYUf1DNZDfB877WiEPX+t9ag44/UF
+z64sxmi/xVaqbYTiv/Yjb6+hhNKuCPCY6/FUNWipoIoUVNCcG01mXo5AvUnsvuy4KKzHmsRJDvY
tKV1nk2/6NIDqXEdtXEUczLY1227sjBOAuL8Ex/enTCUG7xVINaaQIHEz+K/abFmWwMUWmLu3aoM
MK3Jb5NN0WOhXmcQc0TWAYJ5Lx3LjavWeSlqZr716qAkvxtgUjTDYYYqtYB0G8Iz9eIip6+8bRwq
+zj8PR5h7WpdE6gfUWvZpIUtxAxLhiXTHFOFtcSQYI2gghiWmnFwODzUZ3DHAMMqaxQzOcDxtSIw
HR4dOvFeWX67gzi1dtHIXItOkS9vg77us02XWtqFYmZp+dOqQt1vD42B14+munAZo0FD0sm74VRG
Id96Lu9BV+vEqfYrZDrpVMdiFjBsHCBELU7/FRs6VBwye7z/Mbaiu1AwzM+VqD1A8+swcFRBoRp1
ZNfzJD3DFH2CGvaxUql+jwlzk/cuOydmWjxWxbASxTBeqZVRSCvNjcMqvqYY5DFVFqlHwalD3rZs
uDhJStQubQqmfMLvRKfzoLi2ArxdWsDgcQ03QPlZAVn4cQ8KinQr8lE+VJ0Lw46yyb9UUE0zhci2
KI60+6YNOhJpwxbJLH9Fk/1QBDDe8s80b9OBwkuz412x5tCqCpaOeS6PILz0D7jZt4t40wld/gko
jxUQfTnMoPMZZU7487Su8IVQFwLraxeom/VRssmwwXbLFTwOR0j1pfHm64KVFqd9ChxknXnxhprL
wYUGiebCyViH4oALu6iCHfUquU9RWsOlJ8JeV5dqhysffaP9bYyud2gp56virdZmoOcl2GCrJjD6
42Pa2O7F+efKaXD6gw2Yl7+DNXz6nTslEoZTXG5SjmWMG0avcME0oG8eOrtwAGlRC7MjIRdzLMAC
gB6aa+PI9DrKDl4pBFlM0wMWvtNGi5J05yV9e+qsSQ/a0ZVvUYOFLkh5w2nQzP7NWTVMK591xnaV
GQ+PvgT/VVFrUw2Z1WIAbpj4uJNvPA5lUd6ZGzaYqrMJ70Mz9F40v/0JQbJ2B9WDejcoGsjZdrrh
B4RHgTkWTb0rhDn++E7BXOoD3CXBr4UsansBI1oDU64S3yGN1GDxC4BPJNv6mwPT4Rn04DXdbtBj
a26Kojy5XZ08gX8z1xBy7HqguWUfqWKQQAv95l6X8oJs7P6IJUYC3LSyqgHzAKKVpVdvaHxj2fIf
E8QYFaDeyJzjhIQv7fa8z1IpNWk/SIVUagqV4olq90AYseUjTXzl1gAX6UA1s+ROHQofRkAxCiHN
bzwwHq2XiwhiRjfqhwgW7gR0TT3siUQEB8yXkHN+B+VjnrujadwmwAs+0LRdC6vbQdneD+Y5XYnK
JP/LCFoJCEjNnrFoOM9w46J+9yp/fOxGM7uPaX6jsIMK0q6th3Y7lNC8UOz1NQl4jGlRPILqYnXN
8ECVa4pMSthEa3QIFatqdo7Ju4BXxiXl8gXK38Z3L4zjTSFy86ADv/nW9ZepA9Wz1qJuX9k131Kz
ZP1ZpEX8bI6MnaFzDhazuroDGhicF72+wlQtv6u7VtH3om7z9PeAV/QWbnHVvuUu1pdg++2wDi+e
OxdG4dUAeSpq2rKsbmbrrYfKBXcbMKO7V2IFW1tt8dyy9jQQmSQPHeuBtxo8SX1PHsoEm0RmYurN
zDHbkHsX9DnGE4yT6hX1GkJP7hU2Z7MlmLoA1jZniZ37w+z2xRSeFsJZ5mQZ567NxhPJKpOaMhAm
YF+Vyd8U+hBiFhVycSz/njlmdBglb0880p45j0vxDTxuEYS7qqvGHwBfi93Q2d3OSq3uR7jjmEV/
oJYldpMOuTuKIqHF+78mrUGB3/WbbdnG7g1s3mCIwpo/QtK12rMYXlJAo/fnDjIzZyg7YQkvU75t
Gh18QdXRO81wpjMADsA5oPZ8Kpz6mLlmcnDMAe4NdIvlGqhaWLlji59DlLg3vbN+E6LGTcNi5Xkc
omReXZzwnuUbwuAwb2t5Q/kO8LSxSZhVHhsASI89S5HlbdJqRYyLLsEuJBb1T9maEkSlLHwYbWkf
whaKtWDNWE80tuquYTc051Bn3tlMc9iV5w6v1/kQJGKSZwbdirOlDs6kl+G28ULlaWMBmtOyqLlm
vhy2RoTlTc962UPDAsQ03Q/3sL/LzDPW7A4kFzQgAdwG9iNVc5o7rGpsTkwdwto6xshP7uIQ2a/A
C+vkVGqT4e3plIURjL9Yndb7podCqxYnJ+SoIW5Dp8zPOkxeU90eUAr9kr23DLc7jYa5mtP4qcro
R0aFjD6dfnZTvp8OqMlDXINOM3AWcz5Bgsy3YQ8k+7fcYuKyHLDVbeSK2qOPsm3Wo2LD+q9DMiOp
5ytEO8LRN8Ha8stly73AwYLtCuoInZuBgal8baELByC4JapXw07Lwxer2szPC3iZYSAFyeZ2huio
0bruFQdLZaqplw7D0BX7GvIxK+owI3aoAfQ+jroOayl18Lil/Gorf5NBwOO6dNBZGJXHtMFulTqj
SOuvdNbqmnNiGjQY1EUUp/HUhFeujtIjRKioSR2eiPBYRqD51UC8PfwPZWe23DiypOlXaTvXAxvs
y9j0XHAVKVJ7prLyBpaZqsK+73j6+eBUiarsnmM2NzBEhAckSiAQ4f4vcPy/uomK0l5Th/dykP4c
a0HguYUPVu6fA6pa3FhJGa+uwXJmxHj8YlScz0NmXgal35nyG/ieO9x+jZvf8riyhUg79VtKReJG
WnK47jm6YPqm26m7H0syCC+mF2FYM2YQwxM/enQbJ9kEsxXdKUkZnLCvKrekxHBP1+Oj2/jRm9ax
ZQIsWrxQRO0RQG3iQ1dP+mPnjfpKQhABXbm1Nv+Qq5GIrdft7Bf7InC0DepLyhdtjnOcJbv4rQqt
NdRoKjQtMCobCv8PMwMEX9l4p6M5MW3dop4QPVexnhk9Xo2lkd2nKk5iwBcPAaZyqzjXXJj77Lfa
SaCC0edm59bAUJa9mgRD4/vcnGttXFWp1R+RxtLWgQVPbOzLtbBVAB6yv7G68MX2g2gfgIo58niI
jnpAdXEaM8pBXXdr2VZ/ZywHOXO1PrtNZzb5eTLcVV3/3i+DdYfbU61Su5DmdVTmBxq6AQ2aTrvr
6PUqHz+wZrvZsS5/tu1W2TRO2x2SReKlrlGxwB4g4zV+63eNvZZui2cFawivPsMItl6Am+ytRQLG
G0drDxAcVNcy202jF6VVw6emQuvCdLqEZAlhVoFYgjuF98ridaYs3mZyds2R/Ps+Cc51tOqd0kbR
+CNPMnSP4RxrVNKgkVgNN3QxHqnosOa2Y9aMrAHS3W/JZB2N8CTttPO1P08R2Vuqk7KCDyxlR/Gu
Os5J3FVY3NbOTRG65z5JAZnDRy37VT0N9ilH0HRlpeW4u0TqFpas/ogEBmqZ0wOC7Y9o/7a3Qu2S
Q57nyVa3Qly6Pzhf1JCzk+mjHbNMuhC9Cqaay1Tpu07VGlfdxAnPAPZn79Nk9Bq3/NRWLW9KJGdu
hVNX+iHStHFSnqVZfzSFeJR4mLTJqDQ/jS6cYVXxo09zJVjN7OIsLKVrcKKV3XZWJz7dlJb3GHdr
Sh9uvWIo763Np0a4n3qlQ8EupkRH4oHte4Jn9PUwN6H+uclvAULgIyYrSBlNhfdrlgEVe4RN3lQO
hECVGsVjqI/+0YTBvEEHZPoeB8NZ7RCabuK63stW9bedq2x+wwXJJKNysJss3bath+rax0AvW+Vr
WwJlMpakSMSAtkXc8m8Lz2b2/Rs2EXBH3AH9S/p/8/eUiN5oH6fRxaLu6ucpccqs+ze9hZSZWH5e
51ZTv4OS7BzIBr0IWt02wK3zuuOL0SQtiTiaZGzDc+hUL9KSA9KMlEZmHJdkVlu04Xm5xjVCroEu
yPs1JGK5xvWnXK9x/SnLNSCnOLdTaf6p5lrw4qXuFxsQxLmdgJpEFQT7qccnRQYjsLK3mo6chYxK
nwJSs6C28SRdHrtcvCuj+dAv82vU78iYAcuV0SosmoeqSfcyKNPhhuyx3VwJSzvFCNDKw7+QiaDu
pAX9VzXWTIrUrXpXKFPJtsubABmV8z1fRiqxXqa9xvP8h0fK8GgiBVL9bAJIhouduOG8uoVJesv1
p++VQRV/npKXuELztJ1j1MTmYfre0O8oPv1pU96qyIJwS6MZoBl+jkfhVD+mMbxPQ9M8QI1kFtbk
wf7RlnHXHjws9SgumHnwFJoO3mZDCNHYr7LxOJXBo+kXfHH6qOcRh3kFn0H9MjgpO+XaNtZpU0c/
bc/iud/br4qTlvt06IqbLLbCr+xkzxLQAu5fsxNW7rCUnM6mHhycFoaKy7/p3IXDfIs4lrNNXa/+
6sbz6zC1zltn2Ac8Y5s/HKWbNv4SqtnZfDt1/qdQ0Qr9ZyivTDwJyX0U3JQnt2jLreqX2rcBEkSi
tfGb6xgBrOMuf0GQbti7/oyDF/KVjyB0UEJaQsrEXaWhM/7IZytl+TOEdywEQ3JF3xozx5UHhZJs
jXXmd6UJvdumVcanTHXLc1gp9xZv/ifpUrBj2JSOHe3+npBvgeCp9zIKchFpmQL4edGrOTu4Ed9Z
qq/GjQybhp2z//hxmap4WgiyylXWMhi0aKo01KixYCyim27G4EXXtPi+qXueCUnaq6e2QUF76cP8
oTcvw6qX7Uge5KfOaiKFZyG3cGj05r5HVPQ9JspUldUeBjSfJsqPUXqkORSvuAkRpju5qgpdmAzT
ASdpZMsHjX35kk9KWrPEMNcetoq/oA5zlfWqC7zcr7A790snuo+9on1A8QkPZ83rDtKcYDM9IJKj
71F1BXwtzSVOBhKMexW4NHfX/kCN0KXNYJ7ErgshUeUGOuUOPq3L1Etc34BubHIXcH3feemumlz/
qKmzf+xQhVpMvmijm34e0rphdfLRFxnVe6BES9yn4YrKobKVoeuh8A3VWntNki9foBROTsTKvkwc
1V31i6WzHeh9cgphkvnc5Hse9qNxQwqDRAQv+vWkx4B6FcM5y1mk2T4qTPPztT/FV2Wmotw65zay
w1WWZuPeTnJj3sRLp6ZNlynS+jQwKG64sjx/2MuIXHHo2AnZBXVskmd4PMM+K8buPOTheL70pLkx
XNpAPHKnO+PqOp5TiZYxOfRAGBmTedded+7KW8v3tq2bIniqWBRZ+0l9apUqQBhoZxQwkgDOIR/s
B0oES3lpK2r/XOK5fpJYFYWh22J0fuBWo2ZrdiATuNGm3cfDRjI5kr8pQhzODTtRV5L0KWfkB1co
gtxPbdfeSki75HmsrnX3WR6qn+Rc5SpLbFum77GQ2G/5LN55bJNmZeh2cpRfRrcG7Y5KziFufPVJ
ugYLxhlvHRN2IR9tQCPlybTGTWKXmDcvXYEDoMQF0rq6zqIM+6sx3/J2poCjp/5j3YTfvHZS/yC5
4W+swUbFbOqKb1n8pVg8F/tG45naQE6qliZJDsQW0+olH8v5pEVGu5bZvlFQJ4Erd5en3T1G3P6E
NbPIkpKr5cYMHPfIFlpZaQu3BRrle1NfnBmuTRm9Bltzq39xoswGCDwboIFmY5+lrUppGovFHu7Y
D8VstrwJccCNJ8TN5/xbGQSIhgwp1bektw4jKinrYgYoMbNXOfajVZ+jBJ5x0FvOi50WzSrRvfgN
yYCVYxbmX3GsPTiDUv2Ra562rrpAgVDlqHvHQxvfsRr4+E7QHXnz4SWVmu3vZwl4vWNfB8rh38ex
XCp2AzJTe7vW6kdUkGH3/RwF1IlD99IIy3I8s943WPEHjWUgXoVSMZiv46XodTk2rXvqvDn9hGey
PthPWuKfymXGdUN7wUMtAylvnB2W58t/yy/DL/AWd6EeWH+lYXyMqXD/sNAmXvdWVz21RWTv1NBq
biHL5qe8UrKdRm7refZda6WaZJiW6Q7Y5y0Vp3yn2pA+3uw4f7LxoyhmzzrYuT9B6KOZInC5SikE
3LG6q5HVXvDFS5XsetCG7jloHcD3S3+Zmv4u80x37QSgPCygfJdF+bUpy31pVkkYnUV24Nr8NEoR
+iyrfxntC/Wvdy5s4yjUu53M87e5a3pHJ4XGciOn6dIesHO01nLqZ7H7HhWgm3NMSjZLsTE/DpiR
5CvpG6zQPwLasHfFMDxjSoZ4w3Iwx4RFvpyqpvveeR2WvkEx/tDLVsfI4+9prR3B0jeDdHysWZUc
YVNg9O7N7e2YtPZ9paRQwEcr+xU5bBLUCgc7R/8JDFe7d00FCUgX0pkNOdEGzErnMLB1CxLb3dVj
qd9LnxysObhzbfbkVlXyvcHEVL+z7UeJaj9CUSKGOGzO36+zZbC1HMqLlf1UdDUJ0r9hX0mLh0qe
tKcL3EyaS0RWF/dtgfgNkkuwLZaD7DYvG08/zSmk9fFO+q4heUllbHVtIw0N3wsmz1YCK0SwKRFP
HpJgPjBJNy3Mo67CNHTzItsOiV8jK5/EWzwc0IleDmBHvPt+no95mSu36ApByIk9tiWmFpjQLHn8
/pnh4DQIhjv0SzzKsEKcbuXwqf3pVIacQi+O4yL7NALb8YZhU5i4qi4+Er0CNMVywVNifVDBSk2a
Qwktez9quvZiYj0mEY4DIwix+G85iJRtXhY6mc+8u3M0TVlr+A0uqqkA0xx8HeG4lSfI7fWrnSwO
TzC0jEE7xhl/CWn+16gIGsE3pFLfo6JFSlaiqMtVJzDHci3p9gdLO+I2EiKoz6WvUVX3kEJjOyTR
ED8pAKywOtDCn24OAMemus4aNZqPKIi02z5prR/1FzVIop+GkSAPrBvu0Zw3dcRuH/ottDgn7uDr
LYUlOURKCzE7VbzttY8cm3qSaOlDonfuVhIY96m/9YvE2Y+F/+X/qW2e9ypQbx+VqKuuuZwh5Bqc
LwrpUYVmjMTEi5NgNwT1rYFsOuJOqTEAEyI/He6cJVUNppz8tClZaukIJY0dleDYrZgFsYoiwm0r
GetkSV5fJji6BqU21nVg1FWunxAR3Ct9p95otT4BqV3S5QhEkSPvQJ2hlVSj0Vhb9g3sMtY34/SN
F1F8mFGX3AYqAoVeleAV1ubpHXqw493YeOQojH4fDsjfi2aI6IJc+65aJa3lv8dJiARf46RPgqVv
YpNA9m8hFV1jrte/Xise7HFdZq1OMXH6bPs0J1q8aXMo2kIpE8bYhTxW6ap6jn5Kj4yZlZ+tRivI
dt3EdhfaF6aQLkYcK1+x2q3Yd0vf1chbFaduaV/Mvq/hgZ4X9UqGNC9Mu0VS7U+WKdUuXCrnckik
Ui6niNDx7Z0WTTcQny+8NKr97zF14xNznS5nMkXOPuZdLssm4P3HONn4qxh5dbAL5P6VWxlRLOe4
4A/kFpeuy6hzQd0uNz4MCueYQXy63PeXcb5YDVl4/Goco21usdXmDvp0OtrGYxl5WBGiGXQrA0aY
FfpJTrXQzo7BGM0sNian9virhFmzqns9PA1Ri7rOx5nLOliBSnf4rT+WGde469zY476thiWV+HGV
a5wSkHNEjgXpfyQs3sUq8hkpkKWtpk0X4XnpeDu9UZ6Kj5hPWhfoRRHORnBc9/KGDPlGbH5n6HQY
RN2S+75wc4SgkwjwstPwyxgAvG6l08WOYvuu3g51vVw3CjSDNujzGylUolZo7UMDbxJpDsWUYvzc
/rTmrH8J8Mx+YU94rXIqlfbqDTPm0EvNU64V+cqL6mrGtutj5dWuinUM0vw7rOl4N07WsEnBY2JE
oe8hm1qraNmMhjiP4+rAbpSHlnonff2y31RAQmzCZTcayW50XnajGbvRBMFebG+XzW7ZaR3gWaJl
3vRxaY83OJYE1kEfNfNeDnwAe1X2PTfK0udolXk/t4F17/nm1vQwUr/Gpshs3LbmeHvtkjMjJQXm
9F29liYQmRLjLKvfwMIDIgniS1+jAzdhmMK+Tg5tHFinvNR6dsR6tBI5eKrU/Y0BMJmMALrvfaZl
m9gep4M0Y9N7HbsseIicuPmqFMdwcafD3rwDeYd/83fbjcg1ZmgzTwnF3N7owbR7HSs1s3V433KY
6vivIUqNo7Skv5y8dZK77OKWSagBOndkHLaNZbX4iemwV0KtQNZsmS4TqBmPu0hHdlFmuG1P0TIJ
Lbb+aR9WhzpHH2w1xrAy5XBpG/DJLQUGOZDKPN3IyOU0mcOCFTZWwVYVviUYS7JJWfoignZmmeu8
tdCWAASw5FtF7TXQrWrTxIinXfuubgeiDysh1RIy2xn3mDs+hWTPjrELC1UkvcElfgGnkj4HxRye
MkwMkXJEUfWjP3WQ2fpv+lHZCk9hm9yVY4CqmgNZt3P1rYjBXgViG6msStv0fG3llbz3FBDwwf4a
KbN9FuEbyAMuuSCVvbRwMj1wk3q7NnO+N8wEYysaPbANqFik5k/pE52eXkR+ah9srznpJ7uu9E1c
TuYRG4FfReCVP0KrvJzEf598DC0neIFVP6RHt/LvlvO99IeLYUNa1+3D0hI0Y/6P1sdYBj1z7fN3
OlyACkY+/qWgjo8P6aLsVcSo0U6x+U2wDJFr47GZ34jaYqwjuQi0pqshlJt+ClifJcDl7O9uiZFo
CSDdL9HjsAg1/tcLSGQzgk9wivyvOplZuZpQEF2zTG/UvsSFQ5umWzkzjYDRSwxuE6mylu4mT8yb
YlCgqxCuM5lMSYrbKnZ77xf8NFGCrofr1aUPgh1ipNm3yW/rY4Qa6EaKaW2kAzKskNDu8Gh81tXy
LP3hmClghJKQW4Sam2k4p8ZHCJ/df39X2yN1/KU/Cfp6Y8xVe0QoWfn2Jp1GyG9MkXuPMnwMcZGF
LWtprCws9iELqOW10L9Idz5BCUmgP18+r/yilw8mp5c/y/WDXP40GsL9a8fgA0lQjzLTVquafJUN
0dCu5sGsT0aMRfbO8KovylSrezeMmlNasjuxUc5nnb9DBcV6NiwDrXPDc1agZ6yDwjvueaohqOeO
Xa5ltI0gOHTlloS+7dVrBKkQAMco3E9OmuWba99vrHVtqKgGfwxcm2kezM0KZ5X5xgm0Y6AEhb0u
8ym4/XenLqL5oJmHuFiB85+Pc7eVLnvplzO5hJxVyOLu0OhEGmhGk/ud/9JEOxB0ykkqjVKBjIze
PqAl/t00B7ZYMtDjcg58ujS2l84iiR/Msr0LIQ9G1QaF3lUeb/IMn6YZKQxzFSLcfB/P408+enBo
xjS9r5aDxVfpXlNr9BSswN1K02ktsNoFPibbBDAfhQqHGvAUG7gCm/6v3yZTVrBB76D3mADgX8mo
XKYavbX8BtJFyuaAnoV6Mjw9vDUKe7Gx0B76sdD8leubm07xw7tWmmk+p+syKdN9kfnqg4kI4gMS
UhZYRnZ+/TJPJqe5698hp/PeJXPLsv2ROkN5lDA5uOQ/tvBItM21j3rq5bcAJbNwpryvY1Oj1esZ
+T5eqjY1uglp+V16MVz56DVsvfieqOj6Sm9XRkvsrPfKY5739aopEHhpxkH/Xvb1uXUCsAwFwv24
yWZ/9hEoBFCo/te808tNHLvKfWT3Hl53XX0Ma9U5OXoN7gLngWe5komX9yrt06qJQMyCpA6XkkmC
Tc3OVNz0he1NuljDWG9tMa/zbrZ+DAorBS+Lx/tmEd2N4v5nO7JRrG0dRVTTBsVnROVjWnSIH0Uo
XC0FQVxXkHZbIqT5ESEtmTQkhrpp8uihwRTl8mgoFf+r2c7ZI1+/4TFKwsujQW/xRqgj1drJRnks
7a9mVuWPEfDQ36JQrrJwP8J9IYtTVmPLszzMgictyRu0WmhJl7E81imePHW9X3/qz3oUsJoBs4Fh
MRWcpsAeNoPdjWf0hcezl6Hhmkc2CU8UJ7e4DI0hBnvOYxcYxWV/ct2AfNqQxJmFa5JsRi6nWbKY
tVDWXnkJltUT3PeH2iVvp0Kg24qMqJn0ZJB511Ze+GzWXYJIQjjvcVAdt7mhWTfDotUdjz+0cTRe
I3c2jnavFQCg8JMLbd4hbtKWFBA15zEyAfgstnNtYoESGJQXwwZfYZAnekz0RcnHJQWoZYH/qPKR
L7qnKQpF/vyG6MJ7ZOyl75EoCwFfNck6CuYEhwq3Vd+aeaOTbjhfeA8XioP2dbCb/IyXWnEXCBPi
wn/QvoZ+lOOCgkMeontnwRSo5ve4cKp7l72EvyrdivcE6639BaKgdIEF3mrJ2120auNY2SP3CQrD
s9OTsJfA4+NORfLiKTJT7ZDZw7yDUZa9kqw52aXFnlNS4qgakBcsitcMQvEJQof6xI1QnPrCecX4
nVoEZizWGnmEZi+jtqXOT29yKgcSthUIqsRZ901CeKJWr6RpYELWyik2AVyskmHO17j2zFtPSWB7
eJ2zHtR+Edag1puTyHmA7RjeaYYZrWXtl7Tz+4BOteNuYO28NmszwhR20ZMtKtT3c197plJTrpCh
dt7agaR/kbY/FRh06z7KqEAGoXkotLnYR6z1NrAy542WD8OtqY7lRh4vZlI96oHhPEt/y/6GpA8F
549+MJZnlMXqX66Z5q9l0Sv5oXUoUjlqm58BSyOctpQNyMTl57EGByZlg35aWQjH3AEU8W8VlreC
4/od7rUMBi6s8wAOzBXpFQ1eeURRIkPhajss3Cq1oSRr5F6JEWoe34xlat80RgMvGOk5NGSo9TzX
fom81zBqd45r2+fSoDSqtJB/MWLcW13RvWJn0e9rNJCWe6f56hhAWos5fwB3MKz6KS02cNtNoOq2
9qpVv5pZRavOa6ybLBgnqng0DTSVSBi7j8UiIlX7fbXSxggw+DK7iRAmsqDCvJN2I0goUFS6m0uW
VbXy9/aF9Mvj+739KV431O5GzwZjPbblhCBkDBYDSPqm19Gec7oi2CVObe8mDDe/GrFGGYI38UFG
yTEkKLfn1llGndi8MfqkfMoGx0Zo+0aCIF05D1pV3UvLsKMJTHVI1W+5ftbX5FhTtHdzeBGd5XTY
NnjZs/oLgGr/3C8HM0feUkenai/NvnZnkNnFd2nJFLeJXh1TDXBRIx4IU7+PkVncRIVn3OD+RRV0
qcNVRgF9IgmrtdTrpE/qcINnA1lAI/7aryihtltSoBdbRomV0TwBeLvESlee+mBuq4nNP3/zNcj5
L1U+ThizgmfAYzi+NO0ITygqByOI/Ny/s8rmq5QgqFD6d65SfpVyhRt6noxJtcJaIh0iBX3038xb
riKRfgFx1aI+tovUbC/LR1k0+gqK9Y4dxidZZoZ+GOy9fBw3MsqqNH2YjddBx3VHbIiXQ4ms9dnX
hv014Wejxyddl3wfXhAeVub93q89FGySIr1J9eLVX5hpaWgON307xqAg4a1ZIRDyJtRqMp80Ichu
zSbqX3Iz6h8sLCWq6A8WP/6f7vBnAnTjLVNwWwpnq3xGo9rYReDYb9kAofQWWItzRdp89e3ylxdP
88YNcGJAFrwAvop7a6xr9t4R0Rnw4/9oy3i6jHepzle4gi7yN/11rvtiJYS8KuyaJzxUePqU01m6
aqVAXjHWn4XAJ4dgqbyShkQXduH5XQ7/n5PKkGLjuGBIKW7de8XMr5PFzjZuOvfgit6B3rnt5p2h
2wPi3jmxx+6uaCuAK5PyxYJDLflf27XNA6o606aZWLNgxhDNX+sQdGBKYmgjWiciT3cR3uunDTVa
3JZtw9rDpH+2Fz2vKPLg2yxn8KY4VDz8w7Kdtr8NSMhAnQX/JmcjrTzDWS4dEQlJJ9PehsizbYVA
If7CnrlDcKQB4bOY+JbaTUO58KhhmDatrjCvMfcPXlBGR8GFzTJ6hZKRBgDcP/5j9HKFZUTmyaUG
J1a3JravrPYdXlKqApbfqfpMPxn9r5GXOyLyZD5ZWbCYN+R0SZS2WoEUIJuMBtCmtmoC6OFZP+mb
y80k7dEz9E0BgFvdX8cvN9OQ9HcXwYts9OCeaAh5BH2r3Mazpu66xAyeVLxH4eIazR+D4T7FohrN
3y8pLPUv3+n/UJEm/paGOfzuOgoeU+zz9uPgDDejpf+ax+65FSRVYzeYi9C8fA+tWLduO314jkpl
Tan8oiNwwYOO/L1W/C95tso+y1Xi6A7n2suG69KXJli2sNqpERg3AF8Gzcswjuprt+H5abxSrNPx
zMg7ICWe8YoJrrqLjMbYyWjtYrNlhhawEasDo22WaCp0XoRynIndgFGwbtSm8NZucY6V/7709XUc
rwwbmLw0DdV5D5GmHOQqe6DEw402q4m6r0P7++yNxTvqlU+ikf9K1lWSjZsqRcgKjeo22AsdXA7X
kWufnA1CEZdTrcMgAbFjaEyRdtQH5xCHcLEc1/hTV9RTUtnBW54AgYHBCdIs+dmniv7drnI0Bvo8
+aMOoMLPLagxrQFqBGMs/hr4SPmNJLZfhlL31naXQtXUWW6kKTuqOeSxmJXjneZZ2R0FMMqvdWD+
SHt3n2Z4rqSop0Vdrf7oPdbletbYTwCXxl3FL3xbTDzj7ZqSsFietUqXHBR9vBE9MumSQ7YoPF5N
0S6xi5mQxA2mkR36NLkRTTPpqpTpazi4PdSZrn+eoMp2CbbT3mLtCOEp2fqhD0pgacIoj+/TsD/6
lBEQ3gI1TSkZo9w0s/tn9Pzqg68tReXlSiVZEPaJxuLyAeRV+wC6XiGvQeXo1SoGg7cz3fyPK+xV
zj7FJdxXLeIb81cyJsayw/NQqaxzJXyULV3SI5cHX43bYdkRSp+OcKXuzuGjdHGjIjGY8eqTwQlB
9RME269IquYvkZPPpJ3gzfcR7ytXx812Ys0ifKgcZ5Y1GInqYHhq9hKBf92Ps5FtFHVQdnplF+tC
CbwC3leEeqjf7VCOCo6XPj+tn/N+MO6dVWmYBcI/mYWFhk05cFnD2Yb2V44TLehGY34YLOtP6aZa
5vGUdvSDkRfhS19V+99siK1Ig2kTzHB4l7q1HJDD6e/GMMEW13rvkv6sDPRdVxvo6hpZD0Rtsahx
yBmdRAbs4q7lqjUOM6TZ1qISFlgRT3E7z1cd4g7Uz2HWl0V97mYneOApGD7Uy8EsIm9tWoALZED6
ZDQCW68u6I4lXi5hByoPCAMc/2/XSAr151h42kEmyqChD8B+0ATWepg4hYuDn9RlLofMKs7XZmI3
DsAS53DtkrNr7Ueag6X/VftPUIbzm8sOTwuTeZ8Ho7u6IMy1cYoecnNjYzTWbNGIQQByie6dZv9u
2WmwgQF3nVvPQxPYz1H4rW384Ul60nwYQVc0w42MBeWUH5XSJREegLC87KHAPs+7K+QjjyZu/2tb
oB6fwCFtk3+l6BTsryH6iN0y1jfpQQzx0IG0gKI/I2aLXk1QBFjyhepJxnLfGTdTOTd7GY1cVOuj
cMLxD+D4i2Kp1d0UaZep9aTVq6xZsNBjYK7Rkcgp3iyeLDY5jUPmJn+G6GI0W1I5APJj5Xz5G2Kc
uU1ntE3rQrOpPwPUScE8PpRBWd/FsNal69qv8kngoBHroQryKZZMyKdYfzHHvcZO5fgXEG/gx0hM
GcUdXOxxr0xKwfKQlK7mZ7+aYKweajPunsBR3kt3VMfvUYJ70Ofyc5Sh30t3SJXCR3B8E1aNgazP
6B11Hw9SlrcG+ImyWZPxLr8HjXnKEoz72n7YGLoS/woLd+bLEYUvWdK5W7wIi3U9oS6Jmm37ZKPa
eAg7r1msJponOYy8XFl19Ooezggq17ELMRLl64d4QbN3tm1e6m12zEY8Nuf5RopuUj+TGlwHcHVE
v+vaPZt+gD9y/ypB1/4ictKthnnV5jrQY7X9d1GzanwIcWXhbnxQFWsUkDBAHPBYuJxp0XSHQ+xT
aiGXe+2XQZ19yK3PbR6aiwOD9MkhduGMdo7+F3vb7j53QCqWNqwu8kyvo9rPt6RnkjUeHOVrNaIL
aisRZht2U7zCkHNXTmpmJxkNZnPnaVP82KVoclqbtPCTraRo5iF8s8LKPwj/QzglM+zLneV41vpy
R7qBYp/hbVwmSEg64rysIFuM2TFmUrntO2c5i5TCPQ+Bhn5TPLvnaTkj8eB+Ho3Nr+SbgjUm9eY3
lEg24nfjs1bdBPXonkat0u9dn8y90M1HhQ1UrSVfBhc3DL9prV0ARBsMfOscwNGZ60Bp/L0f8ILk
tdCeBqyU5d0q78womr+gRJefpWUs/svaCK9Q3q/G4s7MbyBjcnAxvAKeJa4mQ0L6vbbCfZ93xmO7
HGzXyzHIVu1DMPMGXTeZeWqA+54vTU85UAb0HyTWKnh5+Nawk+kF0M7HuQyDW0sbf76HR4ufNWnL
tda1bA/ISU1brUY22p+Wq6eKr67lN5DZdtW/TobuQeqiRJmRIFs7bRlsr9VJqUlem9cQ10lIfMoI
UBsqAVLvdLVG20xzpS9Jtt6oXsN0eGSNQEa6no6YaJd/zVr7oy1HNJAq00eWPzERASsXrAJ+nJFd
ZZRfIZTkuVE+QfGt1mXngJLyipM2DzVOg6R5bRZV1n6enN8r2tNQRJsk4CEo36nrAe7KC9vE6ihd
8k11Av6ahv8mPRR4EDEMakz99NkrVtJZO8pm8HzEsIwR1lU++95Nn9ZnQ6/tE3KuVb+6nF6GDUwp
e+4HVEGWcBjkVOliFLOD0gnvjTmsV4pS6nsDAcf7AZ0+czVPCGfFhoJ73NJ5CVzODKq/R0XPHz8F
y2ljIfQ4J+35Guu4inXTuM4XgTQJhCnOAnc9UHNe5wJ5QuArvpVhOVxgTYJwus75BIu6hl865ZoS
njXId/PBfuAg/GbLPj4i64uC7/imLrv8GI1LRJrINdyN2IfIwCUu+TvOreboxlDHt+FDHrjlZjlr
FM7PSmS8mUAa9zIYi4ywnE6Rnp7aVl1dY3+b74RYXllljlvYx4WnODxo9sICd3rlHgcTeUZd+Wld
WI2r0vLLm+tAw+piX4JbWElf53hYAiVnudcL2CTYeU1PPhVa62jUCk2te6pxby72dphrp3/9x//8
P//71/i/gj+LhyLlhZ//R95lDwXi9c1//su2/vUf5aX78Paf/7J0z2U741i6jpqWa5q6yvivH08o
5BCt/Q9A0WMRBXl6BNudba0ogULn8iVfcqOSQZfMuQFDl3S1/jzi9NLo6fii8/Y+4BrmbrFZn3/I
gXKluyVFoR3ivJ5ePKtGXmehtGpauh4pvt9pPvjwehiRxjVj9Qfqp0/j2Ok3ejLb8NkGaA1H9PPM
I4J2t6VDXg/7csu4y/EJX2FN7+/sXFV0rP7y4IQ65I6SNmUk3HEvGbpg9LELqGCAa3nUg5VYmlGK
3JKKU4RTWPGaVESMYwWHZEIfHVhZugfukFz6oik62wr3v0QU1WzfjTgfXyeBIM1u5EJpivP8v/9v
uPo//xuGqnpIs5OtsVzL0Ph//PO/kSYGaRdwF8c0AeczWUH9kLp1TcFQaza47ZZb6ZMD/hHauWzi
Sxc6crC2OuDXutnEGyqu6Luk1XAPn6a/HDDkyMGKFrx3AVYj7pKGAyjlTttP0dBE27ap3tDt3fgl
2mGw393GvVPaMViHKtllRLGgN17bFBqoYM1Bc18vZzKgV+QHpM/NHYAIXYu3nnReZpdWq6MYsE8t
w4eKzIbxssXMUcyYi/cNp9Lyrk81433DiVxgDOqoPkqoTJrMhk1n2BlHeQXCqWgO10te+rhkWnv2
g7Tkkl0xxjtpoucX36NYdNmzynXlkmCljcuPkUt6uuKj8camV+cLdPPv/9Wa6y3/zE9fPV58mq06
lPE06/9Sdl67jStbGn4iAszhlsqSLVtyO/UN0ZGxmPPTz8eST7v3nsEB5qbASpQsS6yqtf5geqpl
/+ufrQ5Fxs+y17djR2goIMF30Nom5AxIDsEmTPUN6vq66ZPsl20lv1Kz7Z4TM4KHUQkkOIpMu3fB
x6wVdxre5iw/T475c56HBHE7PBQmDnCvKPHGG/SUxF5WTYdPLuI4w06HXiMy1zleH0+lNmhXEwyN
bI4as7ozB5RV0UOHgTaK+dBMX5FBsp81d+wfu9hAnk8tX7FaCg7G4CqrZNnjRUqJvnqmptAN6S37
+FVXnjokIp6k74mmPLTjEF1lC3Kx6JSNc0ioUOQFB6dbpzpWYh+FoDo8PUtJH/+nGMvxteq1fOem
8JjC0k1unQZqDY3/WZfdcho6w0hVGaGzqazC8k3Nm8+515irxo2K52ESYiVmy33hKaKjlpbNyA4T
CS4R2f6qtMMPldTh90KoTx32ST/LMjhFahD/Jl+11dUxgQHlkP4KzRyzY1JwoypeWjWrfRR6h1cX
0QlA6B0snEK5QmE/yGZEVCPgCsqLajV3fd8Pxc6yZ3hNgdAOS1s+92x9dCjfPuTudNt1O6XUgh8o
FrLjyubkApTU2ydotu1Vl8XBrQwVJhuetJqGAKD4X0PdUSS+rZkgW5bx4JH+Nd6JIMjIW+vAB/d6
1H7c+h9D4S9bX8LO/RHPtXoXiW7aqKS0npXc+F1gaf3LGl7QuM1/Fh1rdJKp2RMgyd4v5/h5jAzW
O0f3DnXYpl8KCx2WeDZIMJlZ9qVHffoMRuRBNfUJvZk82jdYlD+WJNBWOrm2XTN2wKCU4W5ZrE6y
5mjRZPll2d/ZojV2RDPes0xRX0hHf7Pw4vtlI+7v1pH5I68LA8XKLn4yk8rddqpwjlGB/r9lk4zI
l0kI3X9zlkkkE/1yHD4mDWFvr7MWBTEZlkwRwkH4Mb+/1cDRHrxoxl1pCXX+c4SeImUfK9XjZCja
XUZy4JZu+1O9ZeOitgSbRmYf5eoRxEmpK/25iLXyYnL81Had0gsQgJXDb0O1HwLEok69I+5kU2b0
NYeOrJk2RIW9VdwpNs81Cjk4d/iGZiJDFmfIGscflDo86h2cCSgeFynVPrjFUbVCjktLk6JACYl4
+Mg+2WSGKDc0LkGgz0na5JmbOuyMtWxT22ydjgaijU13r5qB9aAvhbyq9Nbmt9cYK1YmbT9qYKLk
kwCvUW3djA6eb2UdPbl6VF2MGD2c5Vkhi8zOtLXnsaeSE0IUgC4BdNXPEfIeoiisTS/Ar3raFxe1
imM12ohcy2rbiod+bB4avqLdCsverrLSL7LPtNPnDjbpWdacGrFMtP8PbaBVj11SBhs1rLR1PrRo
YcEsbhEqKfXDrd7m79acuo+TqSRE8s35lPTW+63vc67szZAGvX7Ol22kZKYHGL2+Cmxvmlz7+1Dw
lhOYBdc2jatdi23DcZ6NRXebaFSOOdHrXFkv8guKduJK/TNJGGp1DTLwNqgAPFS6EGe7VNDjC8yr
LISbFPhk5wi6WF191rosfYncZNUhOvrUjFX0Atqim9IXESnq06C1K2MZkmN8f5mxu5ATVCKDDzbr
BJBdJMWgzeNuWSIiMkNrltWS3eWpLtOfsjYuIwYLn5WkqcJTYnFSxj1t27rklUd0Ii/sM5IVbinO
Dys5yGfXmKOzaNRWf81nXdnJoXZnR7ehBea8P7x537VwZszAeWoWcRJ4OhFkGLfbtYuSSU6yAdiN
1t1kJmXvZ1XAlv578DIXRvl9Fof2qe5BnQhOSu+GEaQrHsG4PMRl/ZTkSHQt7Yo2DpvazSFgkJ1/
x6oJhaRkoxYFIjzwy1fVFNXfxkLZY8Wn/64wAkH/1frWpJXi52PlXEevnrbWmOgnZ0kNdSOOH3GY
7ePAyvZWrhrPphv0a85nYi81v4EUDuuxnj56M6JP65xDADwSPV1POU4t4OmN5zEX6V4Z+7+r3lKt
VVd/Lqz2o/ezKueWKEk/FSWL4xC5JwNxYkjuEZhgFGff477ahdUw/QSR8msKMudL4EX2Ni4Kjgp1
TTS7I6YhoEd9T4ZfcqSeISQzF5wQcrjIO69pEJsyy+o46jEmgl3crsqlKttCMvC3q//eVhIIm8Ox
W7HLsHFcJOeuohAV7ubl0rXsajXkI2aSzRgRMsnie3klC0GgfuNMrb5Wh4X4pcNhU/PibaiwRcEd
qN+0pVa8OUSX/cVt+16IOn4xDMOXw0KUEI5Z07urfkrfUeBolaehKrWthZqk7+jW+BV5MJdTtzqc
9VIt4PjSIaX9VDKfqFMoHx2AfipfyvvJjs8ZssOzXD+dTXGJ2HJfgYwf2Jy5Z1kLQBfug7BPVrIq
C6VpX9g6vkw85v06Er/tRQRNSqRJNLEsBjcCRtJhLLp0yqYmTh8Lh5ipqpjKRlEd/Qvc9MLPVNv+
Fa0nrQh+WRY0m7g33S+q0o8bI96aorAfvd4zIT9HyhsK3FetG5zf3vizwkzhp227mV/zWT0ro4On
gdvl58KwxoOOcQUA4+5oiVzcx2HksicV8xto2LsbvmYoyScV6Sua9NVKi+2jEZXQxooy/zH3xb6d
iMOzgt2X5kBc20yHx6nMgq+9pql+gIHWc4Hn2XpiP/IoRjBNequ/4pVePMqi7itUYLOqXn22yasZ
CdVZAGD4bB+tTtvkJKjX1Z/5steMT2hKDw/Y2mFLDV4K3/Am89nt6ytNKeEge172XaiDcUL9Z74G
MUQQxYwvs2HPV9mkjmj9WXrYb2VVdlQxzqS4dzxqy7A6aey9ZYIbbYyoRyCM543oSDKWifqoDt50
8gISrAlJqu/Rl8jK++/xGFtrxXCdUzRW5eNgoh81ANr8rg72/RjY6rHOmmprJgFiy1JN6HYJohX/
2Aly/L9kmD+VieTVrVuKFN0Emo0sTPehkp86hF82Ock3/MUrZzVlsK/mtFwOh3/q5JtJFDigfCqC
ur5AzfquK+zkFTU1DIky75p7k/rUIOjK2pe8oo8T3jt9NPqy6qQaEZomazb5lKevOAkSdgPAjx4+
g3XD+IpFTv8gOx2LqNiosLtJoksOptNXsT56zht1BPmvFI8pm7PdNOrpXZBr2RH6nbrP+hKt28S2
Npo6tVcxRyp+LGJ8RXsm8dWpKX8oZr5PRmfiC5hxKCyHRVxFPOiTVn6zRTb6YxSbz3GjFOuh6J3H
2cIeWhkG9W6e0d0aQjc68J/r7pOCTTzkF/uSRLazGg3vUHVVgyBi1NyFQm3u5NVn4QSYsaPSUvmN
1+MngaVDu8b2N1/3nLfUXc9+91YvO7UgabkMko24ZufremnkxNDeNXX2JVRLPptAda5q5NnXHjmD
WAwcZAjwXWfH6E+plf6WNVm0MAvBZZLqlOOTPG7PgZHdxitK4VwHrJQA1o7xDpoG7DO3HI9NUk1r
tVKLY66a/ZvV7NMFBdpYenHwxjbf9BIrWsTfEJ3JL06CJ2Y7WtM2QIHd5+xQvGsj+73OBgs8grN+
i9GqX5pnpC9xiEKZ4FZV299hH/SP/awYPJXqny5bg3e7E8QzmqQ/hG1TvPfWBhiG+pYbNYJ14A7X
srkO8J41e0cjUqdOlyId3tJOxS9wdIc7F0m8zRz12l5wFH8LAtSvCbs98/PCoif12CZVs/U2OC7m
3w6iW1Cq7LcJmpYbFm9VrxYnF+gqkgQ0NwFYxc4EoxanAArHXMk2AbK6LyOL/UuJosDFnit8B2ky
Iye50zlb+bKKcEKyz6MivE2ImxitR5Z+XIIZLMfZBAd3jVO1oDLmtziKxlMy6ny/liKtcj8Pu+Jx
WJhLdodNTISi4ueAsiYP4ZTghT/bAtx0tpPbi8VNnL2MBtoQ6R7yjvIuciB8lt8FWi9HWZPtkVmv
cx2HhtbEiNyI7CFfB2ExgHS1EbeEvaBtpiwbfNPWxxyx+aC/03KiDlt00/aaNY/o0dM2a8Gk3C7l
nCABGil75N3k1UCaORGcYGJ37B5DASFhUqLhq2GJeMUfHZ3DQQsec83EK2zpcGK+ZI6mAONqov4C
Sf43Kh/DV1eU3UoPlPS+dkvlUsf699uNFtEsVTzhy5NF7nzuc6BMToK6qZjH+VyTY9N9eZmU7csC
CTj81Yb3u3XU3RB+KHNhqGKTjetbtLYc3VzLaaHRu1uvBs0sRY80rBy0RkQPUjHpT5NqOeHDzet2
geKp4cco2TRbjUZADWgjjjgF2/FG8/VmBgHlZuVTrVrZydCRaHMdLSGVYRUvmmKh9yIHO3mzh7fT
rpyoS0vEpXTEaUSPABu3EqUToopSpZvIaKlGSXY1zettKAiZ7/E0vKJGUt5eWRh1dzZjhGeXF5Z3
qIvy483cbqjF4vZmZFUWRVL/9YbqLGz2QLCw7lteUt7pn2+qc7q7sA3v58hLHxGfxC5cNdk8EM4C
7QFw8U9712jDCgX/cvvZ4UZTdY4L15fDZHuWqQkMGXeJIPNIrHQdcVZYBxxiqBKPF/ekMq6YsveE
Smu2ncSD4r3sBVsaPGA2BUGlPRX5UB8FejM+AK90Y6EmYB5EVY+bKImcXUf2eh0UUbyV6geyGLMg
W1cI4P7VlnkaiqE4BG2LyCaJiGxubY71tjXq5sVu9afKCeOfZqyR2Y9zoivo9wq2O0fPTeJH4BHs
q5cRA39QWag/tMbCg0xvO1xKCXLYeMFsY1tXXorEeKyTASlKy321iEo+94h9b21R11s9Nh4rxNGA
vZc45qHA/ZbH1iO6U8Gv2qi3Cu5P3wYbxKzOluKiZVWwmzIxHeSkJMBmL9Pn+S1jkvQnw5F3C15z
+muSMOJgNyyTclj0D0OsQhZZJv15JWeCJ7RuJzN7h/StbXQlRX1D57deAZhDvzYVPwY83v/7iIkR
iBD83/eAEZL9QLTrdg8YJ+vZDrP7oHofM0U8ykKH1/FYQQ1YFxATNkJLkfMx+y56YFgyd+z35TgR
CW+FvzFWfO3Z6kZ3bRZt9qJkIvZzRdN+JdlR5Kbx29Lc19YqgldrVmF4mmATNNJye02p+oOc7fyZ
7S2zVTXT/8z2XAC0E2EPHn84rXW240ukfF7GoDVmI3vUQvwyZYdk+ZSjyncWHWOZPFO6xNpEzpCs
Wgl61a9NjIZOqm8jq0n3qtam7677LI8s9cgGpsgXYNjkpO/2383/GC3PMXJ0Mmi2PzTVexe2lnng
eZrftUthFos0keewJ22KhdjhcWAKeXywv0uzq5Y0xs4ac2tXLSfUWSt+OCpP8N7s9WdkZP6q6dTQ
5gjJGnHSXUbKWlR3449cefI4ijwYhlY+e/CMZ84Qr2GY6tg3TMWt2g1ZugEcOO5lL8zx5zQbyDWg
0vakd/mu1z37NTa06Yj8gr3qsoS45Whrq2F5v5KyI9k6slDbuN23moFwh7bIPZaG3dzqn9wevcwb
WLnsXq2wSwgfZhYBLi+B2lKgrWmZT7LJnqYC0IwoT8kyQhU9EqP/nADeeQ2fHW9KK6oRyWjSdVUg
9GhG6nwXBlEPdwOBIvm9bsXTYGTWN9Ll87rFEAv2cNOf+QKwYkTiHU3/BbABBJewBUBhwxu3MmSp
w6y6oLvuJ7gTF6vPXlfV440N3HOnwSnkJNWNOwTiyreqG76QyKovo1CVi+sEj6NZlm+gDLxdryjW
Ro7SOR75PTjbc4OjvJ/BHjsNk7GWnXZuKQfVcat1s9wxzRQSAJ1CVGSpOhePm8HLWYYTJTyWGPnd
iorNU+5/1rXC/ujBLJ0TYGWIDYd/5/g5L28il4jQeNZzJIbQUrMPaALW154T0MUT1wCm71W2ZOAH
97lTJCtZlR1zFEIFymN9L9tkkRdb6DdIUacwToTbTatBVEW4mtE1OiCBjOcvCq0XWQwu9Mwhrx4S
NyxDokTN8KDrbL5kFf25Ykuyr1ipZmOtjdiCnajH5ugnpdfey6Iq8u5+ntRxF3reT9kUlHN7/9c4
J0jiU1EBrVjGyiEZsZxDAh0iKTT3yElxRhcuDdyjLNw/V//ukcMje8pW6ApBlV8GyjZ5dRs9xZ2x
C9HzMsIiPgGCjU/y6v+q/r/avKSHjOZYyfrzfnBCAJcDJVLENNzLgpDEcF8soJKSLCrPWXfz2en9
GSbbJhXt3cXjXo6XM8HTITgnL9WhSu5Qs/HlWDl1sMI/iBoRwjMfjVoDGmCqd6ExB+uujrDKiwF6
2k2sdr4T98h2KLrGtRxAfDC8DTAroycUbbhQ2POgvedgI66xqqQXs7mG6AamiHeo4hCoturrJjqG
Cet+ie3HLp4aY+N2TvSGPB0os9pDC49A6iu2VQ0/zLc61JK7Ql+ClVEZv/VF4hLmyqODrAbdeJcp
sMo6ksCXIdWeLNGKl8b8GhgjSeGcvIxdoy0hqxamV7YfdMob+jsa5r8McQZ3eAAdymCjPCikOU6y
JtuBmIqzgfOPNLqJ4yoCk448nqx2teuuS9W19mxUDVKQ6hcPEMJjgapp4ahrbcrcc9cXiOcgdR5A
KWuuNRrFhIcA061j5J70RRPrLxiksA31dEnr/rXrFQvc+BBeZzUA/NMChHHDax5n4RVDnwjRP/FT
9g/LoKpLs23vwqOQI2RHlJw97VImzjMRy/LR1YfwpRifJEpNx1zr3KhFRnSXhOaktsV+Qgh7I6ve
EoiIUsO6QdqWWzi2CpoIqN8mriA/mp2pvSnpeNs9wfDaGsrUfxsb/J+teC4u2D8rO45g4yHWjfgh
/TMJ97rbpGIab5MMwjo5O69lAZArhkDPRPcicZE1IxvidQsslXwoawrq/PlJNbPSlxNkW17Hf02Y
QBO0+J2k950pntsw+SEWwZE6DfqVrbfJfWh21oVQ1s+ywogEsTuMgxT4dn1jqpcuMn7J8Xqr1avQ
IL01461zqVzsDmVHpGLbU47NeK/FZbnYJkQg4gLzPspdb6tJQ4GlyHHA9pyOPOPiJfDZLquNVQw9
tLi8XeM+gMXeP8fE5ORhgw/wOGyB0exyP4EnzeEDHDq62vdpbl/U0RRv3WAvcSN2ypWGhqHbD+pB
xIo4h1iuAjFIgmfRAZZ2Z7f51apskE3z9z9nO7UZ3WZjNPr37L4Na9zotWktgzAIixfnGL3aMzha
faVgD7Puux4qiQzHVG1kb1pD+9GiPLKaqsB5gDALMUNA8GDDRErdiFin9ab84o3WecJOoxoHwrFz
fZdFnvZeLxPndiYR6DgfE6Nu6h+9hGPr6HrFqcA5blVL/ko0RbwTyLUDIejDbe8n8VNLW7e03faH
fMK3quzEYcw7hGYybOx8U8Wu82jbNQy2BLefz1rnrgGSuI/pKJoLKg7NhZbJ6F6bIS4fCojeD5wt
hG+E9fRGaA4Ooz1w0FuqXYDNCJH3JzksKMgaFqaJ9Bj6wasQCRzkBPVnS/DZRsY03Mk0iPHPquxF
EX24G9M83OhGxwogzBdMo9Jn8r3sLMGH7NM8ib6UufFDmgaKcX4xKv1jgK7YwHVjY6NYYXOpyGU9
Tu2TvWgwfrb00dONwCf7qcmuRuuCnTFMiu/GDsNtAkNxH+X7bPkkLLX/aCvjMt/LavBnnGzTY5Xo
VXVGes+9xh1WzyXJb1lDFhtv4jFmCWwRWFxZg/s+B0LcyV7daUqI8TrhXMxyQcmxc+7VSTvIqtxI
yyqOn9Pqsyp7c3t7g58bhv5oRTrIHV7m5NTdvlnQO7JJXkVerZxE2O6J1LYLIbPiUZ1E+5JFZh/b
wfjF04qv0ri4yHD0bL35ixygDlEMZxTcF8e824BMC94rd/gYIO8QDXrqL74jd/971KhU0Z5T58dt
cNH+Kg1I/9zmc4B8I42ov+qGKJ84WdnbGltPHKGzOTihxsrJTLfAa9hsv06yMR31bYmT5uFf7bJT
tt2myXrg6jvsTnXIgkLTLpporXuoFYpvjI3zXnqAOYWOl5TXI/3P1vJtICT/3wFCuuq5/wLnmY7n
aQ6YPMMCFqbauvtPOFiserlta6V1YK2b9xFyrPPK00R+bDh9TLfLjH8DOZOllcBpfyjB0Wl6F25N
5Fw32lh5X5ooWHIjMwgB1TYJ7tEWtXlx14xl7pOR8r4I/FCIGFrHzkEEdyV8rBLcL3JkPMcnR8PK
SF8GojSaw60DqC07kdOwyEy55l5WyZ0oG4JSykYOjkfEnN3QfXdQ8VoFxWR/seyJo0tLlF1WDYu0
FyjHbdXjGCub8JT12yLKML5jPA6vL6jCF2dZwxAxWsW6mRy7bgKFTKj8aIbeeBgJbK0jBLT23QBK
yUuKas1HBHuuhYUsatbtYk68W68eejY43648yMFzaaw0F5uFAoWCQ9fO7XOPzCIskFKQcKbqqZjh
8b4yYPuifQafEW6joUOKbunVsy7YFmKoOPdQVYzFyj5Mx3WiqTEYXFRyiPol985SsFdO7mdb9Y6T
161lDWGEj3Y57LONwyG60inHCdcpfnWFWtzLwo6L8nb12aZp+uMYO87+s4mAE64FSyHbEIcBxccz
iADGPzpkrzIFMVy2uD4SxrAOt7YAuSEvxGh9ttKnGFbHfZ6FAUh6uANbI8FFVjb+1fNZH6DGeI4d
gl9l3mdxu4MhFrk3s3vURv2jdy5cCMwhOsP6LNTrBHO6MourrKQ87HZTZE4rWVWXAZld/dCQ+z3J
Jpl3K6z0Yi3Cx7Iph5u2BhZN0n1pa9soeiz6cl3yBSPa+WC3IrkLo2G4Eo7KDrNoTWhrVGWRmjro
otqJD+gFDVfb5kAnxOIl+58REOkhWrOWw/imzVuGxXH5yxpnPAOXJh0juHOFT4qsyfuMUL02jpMU
G9kGnZQQcWl5W1HM9w6U5nsRl901wt7lDrrYs6yVrgrMC0M8EPFQ8WWbLKCHH3qIP2dZa4Hjn7y0
/i7HyyYEjMs1n/WLkQ4kjVS3+dqbP5WhM95GJZxx+RCtL+BT8G3XYTZUrvqcOaOxRn40Wneu+GrV
hXLEPSrfOUU6on/TlUhORN1Km7XHeGCnoBgz0bK2Vt97Lb7XXOE9xajco+c9f5sVzNFqMK+8yDBv
4C72+3FsIqhaOYYvY3skhoDW9Zjs1Ty070MrSLBatlVU1XvnXHvGc1HDvnJbjhgeb8LTmuzQoFa/
8QYwwkMtdpVtNndKfo9OsViOW16PzKnGOxrsvZYl29Qo031SWcmuKjL4d+Hkl9Mc+8DM7Isa4HNn
qMp4zKOYjKSrvVTO2H5DlI3nS2mqZ2wyLUA1Ifsgtwx3plNrm3bMzIdUzKty0sOrLKBFqYcZkAM3
/08bSMt0U5dWDQTzP22Dh5dkpGTBAe/G6DY3bAxCDFn2KIepQNnuyG4/fE5SK2Xg2YNP+OekFLj1
StOcZCfbJnQG7oLIO/UmGA3faKbqSEoUuWtZLxbkhazLwlawfAkn9a5CQyLzb6WOPcRRg/R1TJVe
UzeyrvdmeZRXkEwYOi/9jZwlWz+mquXoB4L8j1yJ5CIVJgFqkksh2z6rn23/GpfItUx23y4/+z9v
wY/V+VjwbpdC9EhRaL6FX9JxbNqPIg4R3U2XInGsKPNlXXbLRnn12fbZkcY1dOXP7n/f4nP2x0gU
DneVUY8rBKn9IbTci4Jg0FOc9Qd4YT+BD84Pao8itNmH+roB5LPtNRE8zZkofYUozi/L/FWGI6CH
AWMpnuJQWsPO3JdeU+6h4JiXfhD438Rt+jN394mhJb8qMfaw2wPxpLRlsyu0zDwYSqYDyUadwwXo
+y2ZnPWsYphgeXFHuKbGfgY1mBMmmtkzeuIHCz3Z9yjr460b1qD+BkwTmEC+OEzCZ63jl9k1yfeW
POCz3ouNYwqDdGfWvqdzuhk7U3kemrnax4rlt6MznGyUl0/IbmLxbW500U4HL8uXlCsRDwKV+dqw
a29v6fkhnhPj0IVQu8CQVafSNt4W0IN8sCdL3NHlILgOnlk9p52wW7QSFC1+T2oSdnyg1yQu9xFa
A2fCpsgemxka7PO0y0vsZl0xryelbTaVWBLjZQudGXDZzghDlQQYiGm+N+lhUqDgOgDhoTG5Ge6H
yVWptW5vTuxwgoRAPxhs+zvymvtk8RqNxmi461KgmKwrK6FgAqBNzq85TC6mp5jkEJKVOaTPGRS1
bxyxNknoNj5h6exclOFwxguTlNziG1q4yimIu/wFl5xin6PcsZsdjvA9QDavJq/uxt2PEkyCP7p1
fzEUEnzZlIzbJMCdGcTBOR286g4aRr4WQW6u0CiuT8g7Z2/qtOEpqK1mwRcGpQhvbUVA+iu92DXV
mJ8yl2S2UxUPnBUxX2vDbNXohrnWSCU99JrprUdUhzy7XA+Nbey62PTOtq6+gfuDddYiolIhT3xI
SJetolD/6dhjekRSABkB88nlMYZVR37sE/DUSqkumLqwPBSG4aL+E1eEmEp1byviaA6Vtmrs0vfi
rF17el6tC0TSzo4dZ0ebDV2CNa3SVr6n2uDGRjd47SpkflrhOU/JIWZfiTAAcf7aY3NiCcK9MdBP
TMZ3UzI9G12VP+UHa4gvfWtjqQeRFTVR8DkRcaetndZs5WfF3dSCXdikP2BJphwDoyG7I0agfaX4
JgR06cRLCH+q9V2XjBfdTuBOXBR08P1JTDGP+7S709VVGCSH4FeXYMzb4B90lEXl1dl6wjBjKtzE
hw7bHqsSVcdKeBD283RvKea2NjPd3thp1a3K3n5XGeDoiH8P0RM7oRbH7rE4ykL34vJ2JatKaRdH
bylkNcTTisf4n9H/6s6I0JHzH3yDM+WxXpxBONpN+a3e5MX3yPruVBbfg8hZ4UihHwuR6cfZjCyO
6Oxvs+gZNa/AB7D8Ff14P4WhRJCM6OLRm0ZvXslLUM/Pth6V26gc4bUltnF0JnNYIw80gn87BGns
+UXUEyEZkPxPhLKLLVLsvudyh6IuV0nSserXYIgrF+k5NHcnB6KshxDcimc8QCMe70ZCmnoUF3tQ
+X6rvqpP6aGu7VxbjZl4cYSDicHyDlxvY3tqeZja56rMx6MXDuNRWQocyLMqQmml6PNjsBRyrZFX
8F6jXTcRwvTtUNHWw4DegZoM3ZEgELYPy1Vv9T/KuviC5q7tV2rKJ1AtSyxROWs3sSJgFVHzNR+C
7RynZ8QKlWO92L3IIoghEiqZSdg/Rc+jmQ5WzB8m/3+aWb1YoHk3eJXkx2Ga8yMboE7J+mOj5+bB
tAB42JrgjOaQzeuNLt+Yagf/ESGhY+GJr0bRWJtcTSaSGTiYbpMqfwk1rz7yKz0XywdrjsrJTrDu
6aZd6njOTv5hEVoEq7wU4D/wXz3GVTsfrRaOOOFz1ALc8ki8ojqyl3d3ThKzIcnVY7o4R4i67G4f
08eN+JjkVZZX/e0qReHt0Bqc+wKIe8DxdbEKCxcMqVrP28a2LkYhUMkIPWQzlag5ysJVq+bYpREc
pToBWwlJwy+Lwg/btjmKOPiKvvulrsADlmHVrtD/WYNCO7l156uBe9Ks8RjG4ppUoNAMcCCHPqyP
VU5YXnOs99pWgvtk7OdVm+SXIhEjOsbad3QikTdshpMgXYv+Y4gQjp27sD2Qk7KBJKRqe63SJlzb
NjsirLSbbYyQ3CpMHTKvlQl9Htwk4MWXSQ/EFlJnstY8p96EFiq0SjyEnPzMdaiU/ODMbJsH7rdU
IQBu2e3TVJTjeixDlylesKp1PfKxiM62ESd7ezaHp8ghuzpOPSj0JQC2JFdTy8Yi0YFODq4O5yOn
xcUjcfxpYYS1lr7REEvdQpAFbcWxas2PCh1pt7b2YJHVbeO1bA4s3J4jL2KREBdAn7jiqEMPY3q0
9hCQHrxwjXVwCLuF34QW5OMOhrHBS486OhH8PUk0E+8cNT/kiY9VmM5f2bGXIcokgscsDRFkyjxl
F8bZ45hY7d612zs7wDs0jcpDwpp1jIN414mk5aPsnZUdYJqUYR7gI8AvNvVc4NWtK7gbKOE5jQUu
8XWtbni22hsM54B5OdkLTjDqxk4gFyVKhY75GNqXGMvlwdOxqERkZZO64YswuwbD5toPnXY8s9g9
8BuqT3mE2ZzT3y3Lqu903ruK9sU6JqWzyl2sUWt23WtXdchWatrX3hUQRts6OgLcXlm1PWGE1sBK
7eN043Rtt/bC6lxH8SGPDBACnvmAJRRkocIzYdlk+sptgJJ3WbPj94kiWVNc9KKEoVA3G/5Z8952
hbXL7H4zDnoDC8asfZJIfKkFhqtRzP9VSTBZN/jK6cZhJni45TBxXnb/d83C4sum8X84O68lt5Eu
6z4RIuDNLb0ny1fpBiGpJXifsE8/C8n6VN0989sbBpFIUCWJBWSes/faxV4zOrYGnUqvktV4Mo1I
91se9HQ2ln0JzMTCH39M1eh3PLYZWv3ZK93BpKMuS4yISZaCimEYqS4pRwkPP6+/BsnoLCxlwt+K
+v2UtrdmAuavlvz9xZj8ZZVVvtZcxTgrFjlfVGB+e2aMWz6tX9hMHadGh9ZnNf66d9VrHEdw97xp
qyve2UzDYplowjtYGpL3UsM5msTuJoFjeBHeeQi0AHJcGD05+eCz/Umtnat0zooakoXlR9xi04Xi
wf5Mt4m31SL4huFcyPZ8/5zaGuhdSmSXqqqV62RByEfaqxfVeFDSdtqaSvmtKIgLJnG5vvX9S5Gm
0Ft78uVY8Glr1lH9sq6tk52G1g6EJVwnrf45jCxXIkojR55Glzi1qt04XAFlWAtL9NW2tpz4aKcq
7fHw7HhdQ0swOdVd6V7DAc6sUYt4K3oUSQY1+EXsJ865mlTu+lNrrwBPaID9WVH1XeauAi/Tl6I1
yoWGAG4zlN4CKoLziONIQyVfrDovc+YHt7VsE0Kwqw7ielARXUNpC6gVmj2MVwCGWmv+oeJL2OU3
Gi6QRQK/WWs6jKfE43uS2bQmlSQKaPU5NoyXA3QE/vqwg6fKDZfKZNLbD2ku6y5lOc3sVlPpvY6J
ziMa5MM2mMoNgTjfdOxeK58sZ54fqEKLMkqvxYDWED30MlAHwZ+XI/PPrZK0beQIwH6SZU/pZjn2
znDoM+2mB229yXg8XzMvx1Vh4RjiIRDegqB4IcbmBODi0lJevsCKGokToNFX9hvf7bwH0+q26cjz
p8oqY22rBKbWVZRdR2U0Ft7Qzn8flqJ5ZY+bWi2eEP43a9eo2lWhtN+TPBMb2yX4NMpQXBgBaR5J
CBTCMEnwzdg58R/BZt+f1B6tUgHloiRfuunxGibuy1SYyrMXKzd00kcdjuSZ0ke30dWYDZDd9Bct
FBs3KbVjOB+1Iuovdmb0F1UJrIMNd7lPcmZEIWpn7hDLFMfnlCkYlDz9EoWTfslwr60aDMZLechN
+zCMcQNmmHRqbZqq98BEXy3Kqnkvy75ftEbbvg8NP6VnG907Nd0O4WQwvAc8sxf4GHFDsiNZRG6r
vmv52CJ3oLnpEZWDoLUz3pvWFov5C/1uEkNB4EjtvCOXahYgQ9x3lh/sfkrfWg1CA3loUpspUfu/
s9/hG1UL7S1uJkSvhhm+zeDQheFn3WsZhlA+k959qSMFYSdxR3Vbvdh5NCyFKqznsM2NpTUE5XOU
cVcebfpmjufnu6Fp8Pz2tvWIBY4doGkGKDDOeow0WKtRaFsasrKpdvSrZ/fVJtBxg+JGBMEd1ePZ
iyNzG6diPBVO3e9MAuGOVNmrvXAa7dAiy4flQ5iYi3gAf5Xr75QxJRHDjtPd2FfGQSCmXGeZTba9
5ezxEToryKr8SCq3xT5vyFeNVLaxUfuQjuq2CJrshkK73gkgELP/w8JtnT/XCTEu8VS+FUFUrxAJ
qcuCQM40N492ZJ7IEtDYBWk/u8Z4RbX7O7cJ34U1zCK42iesHxABZ6uhwk0xsBFvQ37Bp7D/fOkS
5ZDzsxAA7norOqcnywuHbe2MrzBK+pXl2/N9bzA3US+6dZlm1ZHdCXHR2Cs0Rxt2OUiB5QD5Y+Ea
pMmPBH0tnXkrEVtGvzf77NH0PlxHxY6ljL/Cjp25yfc1VHatEsTXOs3ZTHjOu489cVFaVvviBji/
fKQD266uNnFASVepdWTnisFmvBGXLurdTeDl+sKxR4KSqN92+inT6YbA/lZZxyTvGvrxVeVle8uj
tm503FCjLAw3GbAgIDzR40i7faGl4WvpNBgPFkY/obdpD2WkaLtQiR54cK16Mx6W2ijAy6r1b2Br
ml0XaEPEbwqyPU9zgcpNjQgIDkzrkE1at57yNid1sT6GupNsC197Z/Q2JJA3iCx6shTllDpEMpfo
JxUWgfeuTT/vGtPihQIAW0ogMBQEXUqg+abu0mirmx96kRkb7o/PVUfmp57F/bnlC0/bkRhh0IRb
p62TY2YgVO1L0lZju38Z0sreBr4vgFV339SmoKRAFu1kh9z7Br87R5QGbL+BsYHrdU2X/iOzBH4g
o30J/DFC4bFIJ3x+be1TH4l4MilluS6ERuqpw4O/an8ldMzXaFDpdhR2+Ny4myolLqZQOw+gdc5W
zbxMJbGiph0d4tCbbgUraTvufio60AHNTWDR+O1Cs52nTP8xOBTN6IWz4hzajwcnTN2/PDxpMdhS
lKwYJ/Lg4DdagtFpIMWvn7wHKC72Qejjr3rMjW3Sz/8gkVtfRwe+x7KJKHpC8roGXqRv+nxqDg3p
JIjmAFz1c60gq5qeUhElioyU9cQe6quqq3zBI499Rzmy5chLcgARVLd7FsLddpSn5Zka0xNJTU3M
fDlw/4C/nZOfomfqwYyycWs7v5PKr/ddq9A3qd2lig3lYJBlCY8ba5pWqvYOJPayxJ2+LIE5aWFs
b41xndDEegx9+5JCDVpGokXGlUOjGmg/vmBdhYrd4VkiX7sXWMOVJOdmiVqI+s1WyW3nZxDT+yeU
iAdBMa3sqaCG78PWjQC7qRShFkljsM8v+2MZilXbtTfaayUx8gIPqobA1Dbah3bKDOQhpYmRTKzD
YB8GSc02l5yoMTGrhYrVdG1mCZHHaIIAJ4SPRcrzKi0vCmlgo2eLXWlaBgSO2l/5fvhMTKu31J2D
6DrtpU2fVVQ5qyQO6ktb9L9Mer4EwlbxrlJD2mcaz7cJaROJBmusmsayGJA5KMp48T2oo2XdvER+
TWfO/+33ef6s+t139nctyMFmMwb+zLDjd7Esk4sNvHlPLFaw9Gx73fnqB/twaHdZO61bx2ez27jf
yAdKd5MCzdqIO1pHhj8tssoJFsC2+V7Vr4lpB+yfml91D3Deiadnq0w2Sf5eFaH53a/E2a4rALaQ
rrLxLciyYgFlkDCbsXiEkd9unMh5NIb0rcjJfYyaj2TQXvxW/MpT1qlt8F2Nxt9uVOesKLyWzkEQ
0JeL1CNZQVfPivZN1W5Vu52+A84FzEikl552ZB5Vi0JQSlFyrdpolSHWsZXjw4/+EuQq0LgqxLnv
4NFkahojFqyg93j9WouaZqXoB/oIWUI2W2b5v5tZm2U5GAkAvam3rqXyxjc3cog/S9GgwvnCg8zq
o0Oy4U2Ow97a/6aKnsBha3QXbTZ9S/mHIWCS/Uh7KyrD2wxZGd78wbRQzF0Kz15FbJzfnWbYW3bv
L0yMc1uIZy+Km0XX2Ua6jX2FR5TwdpSjPfJbg++Kk30UqhHsc98vHoM6+QnhZVi4GumWuqEcfzjc
IFg+OMUhoNW3AMZJgJrXpUt34Aa/Y9Wd7JPEvPQuK6+CktqyIKSGkkKOOFY1+JUAC1sZZb6KlD7j
9s+GKkJ/s5kouaxU3YT9XZjDRb4zBOVWB0ea2hf4Svy6w8JTRw8kFu6DpnR2tm0ryyIulYtR8Fd1
IExbgKj5CqfGpYpG60xbKl+wQFJevRHBnJUm07xeUl6NScWuHtjpTrea8KbERYzRNLQBk3mpdkUW
3VBX8ShrB/FUr+1R8CcRTiieUBJA70vbkwh8ejzJJEBbFCiRPsH3BNAXSRee1Y67sDml6cmNbSw8
WFmXhTP5Zzz7K2GHUK6qPv6lYhRjtR5S+9OADZFtEJkYCudo5XCkIUX9QoEyG1sLKdapg6w+jglu
JuloLjy3Oraw7BdS2aPGFKq/Jsuz8pAF5dKKCXxIKeTOjeEO2HhQZ6tIDftNNvje1daKz5feh3eA
auVrWDc0Yl4mlGNEU8sMx8+ptULUZTxiW4GRCImv1WkVUinkBokfHb/D+N4A4KS15l7HGl9iPYKF
mIflLNtlCUEiwn2WyzbrOjWW+6hb3VkO26whHY/OX4JHjvCX+oHVHoqoHqJTmiRHVp/sO51ahZ6P
SlaeRIzePMiheQblIpjh8nD+DCPR91j2Qx7VlnOTL3r2qyKG4ApjkGeIyv8JioHo8DUhc4x4NbHt
WrPkQqRipu6wDQctAOQwX0JjlWQBIBPykrycypUdJzSS7PidVdX4VIqxPqiUXe4wJ80/13AMvznh
2GwqyGJ7zQpGUqG6M9+96Xs4qj1lIdU851ojrsSpOwt5AhPJu1s253ZA0DF6cGTTJqE/icB5q3jx
W9d54XaKVZpEA4pJPw/zVyOq32XcRxyh4pvM7qMg63iFg7g9pf4bNz78OFAFlrbd4siMybCmHSA2
aWo6F3k2IEP0bKXNOdH9lvxTDPxbzVNh2c98BhPI5wUVz3On2isFeeZjNSunCqB18kj6CuajsU70
R+lA+DPzU2Nlr0xSPlexMK7w5DRKF6F+vINrJ0uQB5EZ2nHUtXz3OTif/xfsNh7saD8niMjMQdS6
9vGeSUiCQbOlhP4kT+A/LKgx4pY63iMKiynCDn6P5Kt61zndyXiaky/DpjaOn6Cw/xxCqIOqbTub
pt45juvdfJikG0OftKU3H8oXbGrJYSyyX19DQQSYC5P4EhKHqUBqYS5ZXmunLjPEmv+5cmjUcOHm
rbWnk+7fVCr/t8mlUkeiXAkgmHnyRDL2LnthyjDfYwMTSBlmw0OSRfq5nzqxyqigrvSwjq/aHBEv
3w2RAfzSHavFv06M9pSfEivdyPH+HhU/X9uwB69y5ETyQ+C2kT3vzyHxuRpElNeY8vWi2KpYlfhH
Fm07/JLMyXyYrHXpds1WinuHUR8WFQ6cszxbhf7SdpTuuZga9cFt4wsh1MVbQr3/EHQ1whgUu+zi
vHFd4M/fVD1ASxlnIHJKp5GlsOab0w1Aw5JRaVrRWR7y73PSW7V9kEcjj0e7f9XSTnuokI3IwUbU
xTluYAnIRAU2RP3eaMJg1Q6x+hqOeUeRjw6b6do/dQ8gcdZ0Ff+h6FcATWXPSThm6Gfg/+klePw+
NN6LAr2unKu6E9WkNnI3cq5lZJ+XdjMGWV7K1vLz0q6z7pfGQ5E9O8KyaSE7zuY+l6oJRviaJuTc
NK6clsBaP0iunjtci/nIKyPtecrWMCaj+0GWqy/cotKLPMVLsywwhuzlxXqLpGrshbqWZ6M8TA54
GpVF2OLECygRXh2jufRVn75nmRYi/xUuvxCBOCFnrNfjNHRvJd80F6THX/+carv659ROdat/Te3H
9qKVlyrZRWGJfK4Nqhs6Ohu5UPGXOlOarWkMCKpPx33fYgRrf2fkjHyUHfirnDXNSk6SF/vExt3w
uNo3wlf/djE+03Evp9XsQy3oyF9Xy8/UcYAv5NVWTcWuqxJl6Q+I1BoFIIgW+d7NDZV22fv0l6tJ
39pz5vmgGxdvKqKPGrrD7K1prirxGgvSIumjzJxitespjky9vpSHY6ZEjxbBP/KI+4j11CX9APJ+
wscdKLRwYyedXpP0iuWsudqeUe3MQE1xreow3eQgNhNcXUByFwZ83PvEsTYJa+gFz3BMjougzaNT
3XvZs9Kn6lrEQlnLw7zR8CsHqGD0eMiegdG4Ty72h/lATjBLqnT0+05j3jQHS4W9jetmehcBC++m
NvWDfEDbWJwbId54klQI8YR+U9nd59qkXBDsGy9xF7/ytFJw7nI0nyOmSrlEJNnsKyICV0FikX1t
+b+qafrQB81naW/4VPc7kydYqh7GZgq3pFGYj9YInjdV2uanwU1Gy5tb2ciQpni4mc4q4K6bLHJ9
Ffa0Jmk0U67N7m+Ubh4paYX8tzkqYQWbUngw3J1e3XUNpfdmdrkRB6Pu1KrMVqOXl8f7H2XadscN
5XdtUCSSVPLJDH7gmgvOcih3aQpRLkHjN/8i67aqHYbUnnBhc8FsYHqE1kP8UDhjAsW3SJtt8VmT
n7xEBLcmS2GlF2HzY2hdQCph+lpYrbulwW5tbeGVr3mWn6lpNj8aBxlAbirutUnr6iTYIK8q02uP
eYcVQBplgOZ3u0ZLH7s2o0LulL97K98Vel39VqmX/fPNPEeODLzpHeziCiE1N4dMqlUGMnBfzAsw
Wn+rqgSBJ1R6CgkSsYX8GoxdbK/iPmz38vCf07CffU4bmnc98t56YfXhWiV5mzL/BBVs6KmVKOyA
Z2qCVPHLd44InJWpqSBnQDqs6B7Ue1CRHnFGuf7wr3f8eJ9jRt6XR5dA4VugBJuJfddjM5OJ5qOG
sNhHrCU69nKdNCXSWAnKI9iTeDbTeWbRYwEkRGFTzO6LsB5PWYjuxpiTl4TrKzuJ1dZ0ku0iJaGq
3U1oVFrMtmdKQhtJ2I5UyP+JohrJOVdD4NgyaVXgL9s2I/cdyA84n/JSRIgs0PQh1xDqTukHtjqh
S4t9QG9+AhwVL2hL2+U4XgQ2H+RvvJMv7GuGjV1CGzH/jH2dHRo8jSpbsq0cK8lBu3+AMXT22YhO
hNbpkEl6qBBRED1mUzkeBUnWlaBaXPc0q9E7dwuZ4FnO+Z4iyK0D8hpcHo1/kS/3ZE+ljC+1OY2H
r7nynTpNw2qcn/byECmTt2udArho4foPudFstJ4NYDsfRXS8L4Ss0AjkSL5gWCn3hk0h7GsMbVUO
1pAXeZU84VKyWah5VsEk4VrQD+nV6fK12xfUuDrjyo+rPk5gtvai7GhghoWaLZu2Zc9V98q+Kyrt
MTXB/ADk2Ql5NsQhvs50hQQTtrHZcv68RA+7a4J8O1VImu1a54Sm9qoMk4NvISfAVlPwBScRIoT5
UJ4YCKXiQj9eW2lLXq0S+h45HbjtA4IBaWKaPrgSczjJ2d78WfZDygb3/pFRHhlLXBPJBouoUgjn
0psdvzVW8r8+Yu2DeIFainx2RMoYnYqCvI5tojjhqimAZjSsCVfOAKlh5QCpoa9ImECm+9X9ZSDJ
mqdsd/wa7+kAdKuynINoPKPgn4bJohhpaHxd55u1sy0z/dvXkHx3/5h4bZubsK6Dm9B/fe3P5Ajx
hfftWdsEwS3Lfqc5iNPllAOwteyAWDfUG4pY6xqsHyvslZVk4UJP3FNz9HfEeEzU7XUyjRJRbRpz
JKB0PkwiH+h2pFWXUtODt9HdAL813gxcMydrcOrtKIB6SHQXD+zn+43gHiQXWIO4ZKn7Qia3TWSm
HT5ZljXuu3QwFtUcbojigN99qlUrzQyip4nS9SoO+mwbzd7eqDajG+zedSTNvPbMasGV9HnWqOL4
5vMNlXPTFOpN5xnt3xyOyK26jRZg0pAOx2a2Ocp38kXe2+vsIyN6fK1Q6z4MmqGfReoq+KwAaWZZ
+E36lgRaHdZp3c+k76gMRL79GFM324KIO4om9lcBd/cnE1DkfgiQqiWzBXqYnW7CWObIBJ/kCHX8
fGmz+91nE+SPIjBeKeiR0j38iI0BOCp/v3OTA/OpadbTlhuznynrQicY/zahE5NyNgO6RWo9iscG
7gSpXCZ10yDokn12abEjXyfXZPOICuFnQkEZ70f4Dapiuabm1B0xU4QrZSCaywcWxOpEq59CFvU7
b7Jp7Y6a/TK21mM5DcnJFezBZQav7rTdTBZTtzKlV778TyfkWGZBWaRDbm/c3IOvaahiEarjvE3m
UI7Jd/JFmRPg08BUEZrn3O1pZr3Gsx7dsf8TSJWo2lIpo+gmU6yGrhWHyEHNJWfIMaeCV2PNsnLF
8T8C0xi/+V16qZuwf1aCLDriWhtWGA6nb2GV38fdWSCSNMrnuMt8Mc+35/FsHo+hp+4zR4Cy8IJ4
gQjMuZSJUr+a6RumGeMt7CMLQgBAVidV8IfqHely0Pm21nyoDt6DWgb59ErNw14RyIcdTca9ABJ+
IhzFS2EH1VTORYtDcY+axkMYowwioKvr2idMcRNVvRJgraV/L0gNfKybzPnbuMjU+3ikcn3foUu3
cxuEsectocGrH65CWOO8utZ7gdYx6L9lRgUcRi/6m9mq3W60a2VHhCUxA47Fn25AiUnsuLmi8LIP
mWtdQG33ZGIMYEsNwAdyjMYbC2ijKSFdqEmET61U/jL4ZolnxxDWo96zSGtbcXeXIsxQj6OqxEu5
PU0zv97UU2vyb8U+lNYf5Lk8zU7y0MncjWbV3plwyCeN38VTU3rxSiYRgnRg5URLNk9oKQFQpNFU
9MGLWjgPblJFP1R9sBeqM1hXLS2iT6dYGObjLtCFsWYTBIbbITVgqaZmuYAJo+w11Y0f5UvtnSzV
QD5VF8lj6/nl0da6H/KUHLIcMbc6sJzIsLxQB5xDtlHIHWbIbnJM5u9hqvmhaZWL9wTkipcA4o2G
kWoGlJX+7NKKKFWyrO5jU4FXIIyiQ6Hiew4SzXr4ejdlpbsKh9J6CFjCriZ4yod4zC6RZmVAU7xh
XepOvMKcnd9iPfl88bAElEpgX+T4jKRd6l7tA+xiRRrFifYwdkALwtSoNr7pGW/eLIyf7zhfM9Jg
+JxhFLX5lhTFfYZOk2VRNOqxy3LU1tIxbv/tlZ10v9G8LEHK3KonMN+No1K18slqnIwx2Adt91FP
lnGBrGle4rzkBNluv0DHtLsqEsaOQsYv+DDduSGQRdiGUqxTRemWLrsoaAVErWRzLIvQYm2hZbAP
4xrHmGMYNxL5zJs+v4w+cSlxyWNZRLCv4RUhnGn1GkcG8+RLJCp/k7smMJj5CjnmK4OJcz0/pKaP
DBIcBdtLn1Lv1p3Zg1Sf+GkJCF1ko+qf5JjkEUpsYdkMYk1pelzKMR0uvpnZZvUj6cR3NyJHQ4n4
90j78T2AHQbgK/NX8lChY00xyuTeboUAaielODQ68YY1YLglBgeya5qGlOjIJwFRRvrQsKApUHXu
7n66HsZFBIovw5+Nl1r31nKNoMRd8/A19lW1LeZ5TTfLSmXZdhpmgsV8/LW2kNd1Ze2uhKq5N3nv
0jzlYo2TczbnO1nh9SZeypLfJ3k3G63wKs/KuWFYmjvhC7izyBTQp9CALb36FJp4geVLNh8mKPCW
gDD71deJwc6a+xStG6Z110IH6PW+BY01rlvfqx/CRKGFcL9lhlVE77ixDKTQAS1Pr8yfp8KwN3go
nZUx78dpK1TnsW4+2nkj38wvWTUtrKYpIfgxP9Q0AzugvY31VsG9g+4/BExwm6b0850ci+exYR6L
e6vYDEgQf1YNmuDGG8KDNScMExxUnRCgf2RkGj85lrj0lkqmXd9zzySDbDyrNBq6Xgn4qvkoQHEV
b6p5a6+RvApqJRw2Egr7dSihsFj8nfU40Nf0BH6LjrBSuhPdQzuThtlNAVsCsrOShzFe8SeQAXQ6
UgBrs1X+M0vRRHXhiXRqyfDil8pC87aiUUXY1/wglo9k2zA5Td//F0tPZ0Gd7XukTe61UsLkBYHT
HY5g2SWxIiOBCN6cqNfS+Ftbika3c2YlELx8v0ho7f/TRWOQa8eunv+CFcAXubYMkBLt5aEEvypD
8nkoz4bjPw6TyqW8MF+b6ArKqCB+zWqzWpUuzMRs9mjbBbndUT29qorl4E9Cd6IMUbYxtSnYZwq7
S6806sdioECjeZBXTTLQfhRsMXnEkLhT4glVTLB5VvHojawMvPmEh3lVqRVUFRTlJ3jPFzXU3uVP
WHSTenEmTORYFF7ggf/7HEmN72E9kIASOTQzrYbuS4kp0SxzrPpyMd+HASL3qVP3ksEl53Rk7P2P
Y+7cyJFTws4W265H50iUfaRBY86qKzUO9yoD7OW7JKKIncdo8/51gkzFcwuc5Pg1XqA0O5pjvMtg
ZshaqqygWkZzgLhLW2Eu28YJyjIo3/1OFmpj3W136HiMpbxgVFrtmo3GYcqT8gDRu19qaQIe3Q7C
vaUI6yn3dW3PvgW+HA3np6KwrSdIp6WaVaCBGOG5/SNGuBfAJfgR2UtUidnPsAcQqka5d6bBnZ7T
uK9WTk4fRcjvv9D5N9Z76oBlFZ3pbILt4kguZeW4SNT7uBwa5K/rP8fkNHnVn8+Qc3uUVfcPAqOz
RodzQ12LcjfKf/ZswxeDJWoan31w5Ls5rTNTqT7mGZ1rXO81sVoTa1xpw1m+REU9nIP5RR5S+97G
FvLzAQ3owkREDgTxUDYZipSZrNfN90MflVzYjzezKZsHOcyImznjTcyn/zNiVO4WOANlYmxOrJBa
lH/3+otalsbOwZa5kOUZWYWRL4PlY9WJ24M/em9aP4bH0qSgl0fe5et5ojvpyqc5fpGPD/kSYZNK
reZzSE79c+F9uzofNnpzEHqNMC1ThttQV+NNbwrsgWgqNnLM7rXxhu0A+00i2M7N8+5tWwdlDaGb
6kWvfwwj2RFRyIK9UrUXOjTFgX1VtJY1qHlca/PP8cRJozUO6+nbP+fL8YxV/g2NXLxIQvUk0tB8
GoJOOysjunlZ9bYVE0Kf56QnAHD6i8rC8l40r+lhA7sZNrIKPlXUvZRUBTaMnFJUEM9WXXNArBVe
7keWmOuCNkxxZV4LEdL+eL9VN6p4gXqsPoDMJFnp6x2VcMDm1Xogh4aK5Ngvp0FT36M0/9BiPf5t
dx9qm84SD2RyeRob33sdBUc6WPZz0xbKqug8/6IoaPWGyYtnpYFBPzWo0KZ3CElcnK6/+csk7NcK
Ozk304RUrdOs19CL/Q0xFpji5aGaJCuvdZu9PGv2DqzlzNXPVVlYr7P2vcxq77FzQ/25IypFXoRS
NbtmgfVNXoP/aTqoZdcuLXwbFy+E1ehk/oWtbLXqevKxGt1HMC8HVQHBPU7qqzySL7D8KKPNV7jG
cKziTjl8jZvkEdOQRidRo5W3kI1vCEv1rlVEmqR8F4TGIhrZ9H2NW8JwdqQBxQs5hjzUu2rzi/yQ
yq3pZQTRjfL0WLEMnLUnSpruJJNYooYz9ZiMrnocXK3awvN/r2sXUNfYm/UpVlIsFZ3S1qc28O6n
k56m5EqOmTGG3U2AmmM1jl0JPmTV66p5aBWfQmTcqcnx/jad3/adlxzlO/li9Uial/fjYJj4DZ4n
3UdJJyBV2jz4k82PO3nHau7ty2cIMri4caKH/z5yf+SUv7tojB/u6etMlkfyqfJ/uFyhWb+LEkFA
Q1OHVy8FSBtPdG7lYa1oIUVFTmCiKQ+xiS7HnKxgR1tkQXh0ec6nnsyv+7VF0iAa0qft12XyRKrC
pbTDbEmA0oAQXR1u8sUIqT73EKLEfJ/4GrfaYE/zwzkFyqz4CAIIkV+XysnyUidOXuVV43wrku/+
XOrQwQGhlsCJlJe6Qhv3Bb9xLOs8g5K44tA1iOP9/VDRiqtfRPTEOWkJzXzkJwco5akBTdbSfCzm
F1IT2pJVupzlIp0jASHUl/KcnIWC7wmLgHuSRyoM+qOqt0gY56vlVYk1/s5wSFJ6MPe9xOzVDt48
AcZI4pMoSaZP8KPkOTlCWAU2oP+f+WnX+zhso2HnINhZ231vbfQZdmP77oippfz74ddZOVmeVefJ
7jz56+zXtVqds0RydfRIlWFtrEnoL/+69uvw688NA5TSle5s47laXaUqe0BB/LUsRzujk2+EwGpZ
9OaYIc33T43XuGd3ximYsWUdEoDbC0MWq0uvipfgd8ZdD333wXR+GEae7zSXjpQkRmrjNxhHynub
BH8fjsLvbZYr71+zJY0yCL//a7YcHrrvOC/8+2wzdI01DEO+0TPnOXaLNzw6j1XpzXSiqHoJ8AfI
YbtN9DPY12oh2rJ8QxvubEffa4geaos3JQvt5f0zsm9OTaabCdQqBqXBt12YOC0sYcYX4jpIjOg1
68WcWLUCuy9+WemTpHzmmv7SBWH9XkUJ9e6yT24KFdhdTUF47/y5WvtztV0O+S93eMrTwvw9Xx0D
I3uPA8qMU+kktwzb2q7vyP+VVwcaNkdflE+a1ZOX44doGB1/+HA0QphMXf3V4NrjVgsvfyA0atJq
7y/uZN8UuKHvYiDoqFcR+vQWTYyGQtdFM3NlCwXdOwgTTZYTG9OWOE9xVdlmrRqRpM/J+OYhM1vE
moj/giKwQPSqfHciJVjNVc9L3unmUXXNdp2UYfFuuuLoNj5yQ8KqYFQNzyBtym1F+h3uZeJEYtQE
SCGTeG8js6ZnV4bHOCGOZFY6pVrk3NAE67fhEHkpqqXREwzr5XPoTMXxPgaWt1tODb8s8uz9ShOu
SdEDD0nkddWAu8gO4FkSUatE5rfA037LN6lh3t+gSfmtqarxbX7zfz1nvnyar/rH5/z3y//MUcds
3Rlh8Gj5TgddLXzX4p49M4zK54ZdFgjv+FEe2Qkuodix84Opx/kzFWSWDdjFVq4/dGcE58nKSIho
mkNCCrdrn3wHk+Z8R4hp2z39OUez+X5OavHkOY3r5NGf68BvoE8ZouJoZRVhqD4lJNQU5os9NRe5
KZtKP1yWJEtcE9or5wJM2TKARfhDhT5CbaZ5BVm2mGb3YVoM6C0Kiq/x/A717Oc7OSbPynlgD/43
Z78+haIO5qVwFPsR0zhMDu2j8xwKpnpU78yo1z4a46GKVfEehoq590f+ZDmrGts30hkj6hJ6dwlS
bIhynMZNA8Wy1k86GXnPpDUfe48s8TSttUevJ2bPLtrmZum1AnYwV4k2UMuPoNSggpDv1BSdsgbT
O629/2LtvJbj1rm0fUWsYg6nnbMkK/uE5cicM6/+f4CW3d7+9vwzUzUnFAEsdFI3Caz1hq6sd7LG
TL1jP9QkWntcBe6qvsqupegQaN01TFasRRjLbONxtrHPqRE8uYbNHuLQiZstVSU0BAyz2BZoPf/X
Z///ODfV1CPupkunMYotuYz/+SM1KoaNISJFyAY2dw2+IssGtbVN0TZYa6UwFBfNhJ+FhFgEYdZv
5fvXw/Ze6ZXqEybU3T3iil9dzW1PRkWd01Ab7QRX96ss8MgiToChaqgZUAZFzacUzFYDhMlGlnsQ
b+wWIWCrLVQFoJqmmm9kmU2iVeUZ6OviAs3Hxg+j+3NU+lPKOK0x11OPurCw0vI0i6yxYiXjWbYd
hRyACk9skzoFCVH8q3ap6QVneSiwaj+TKlmqgYcize/+gQT3TjNqKhtRc5rFYrSS69Ii3vWKZh9l
lzxobd+3mB2qwcop2hF5H6CmmLTVj6bGZ0YaA729Si/vtS5soZfUzlcF8kuv+Pb3fnrUc/2T/Fxh
D5Mb8+Lp+jFHlnbHdq77VPRAiiALfKt0bDBzuxM0MPDS3uZWg29iXfgQaT9l4V0W7VVY//rCV+tk
WdkFmNnyVxH/FpNzncynwjvJUj1Gfs3KVxN7a/n9s945xstc1/oajKNzDEouRUPUGBTWdeUNGNqx
z6Psi+YiHVrC3EHmMVtahdXcuUPkTE/tk1VhiA5EHYCraavBtkFydCklA6V4oOxLq3xc9lO4gebf
ndRpLqxz0leQSGV5B1UEKG/sCHbGnNUs6T3MssVh8Ovubja/ZSMc/Ws/uqgvuT668OgL8xqlilWn
UQApu/U1bezuCordRfVTat6p+sDX3UiscBeGTQmTEoE8QxzksByIBJxchWO1LJHK3Epfr6bTtZ1u
AH+fBNJU9pVez+0x0ijTSKgq+OP7DG/qkwyJsGy7GxykQ8QEHIWAnksgEep07d11ez/N9STIj/H8
UkX7uk28BkfmZNrPTb7GZahHsnFmo9JqpwxSxKlGnPk0pXBJtc57wjFr2MJmHJuF7JMhtoRXZLUf
7cbOeZxkkkZXHP3gGhOyH0LJ2rMS42DZwx021c1dpWOFE2sJMjHL0cFeVX4S4hPzEZq9igbKLvlZ
iX6vQnzs1vU7/u/+CPSiTTp4iScGn7rfN/Ml8QXVjhfxuyVewzgq8QIfoAE1KKA42r3M2MQR9dkx
pJBhU6z/1aIK0KyjQmTnWbLc2TZ6BEqX4QslmlmWtkeAJcfrO1f9CcJF6O+lZjfmaPdX2EKm92eZ
g+k0OAEhqbBdLrOInm9SI2idfvcBGBDjrQbGSeZn+Fchpd/XobAGKs522EK0lKdjPCcr1+hB8okR
p+yLszy7HWQfwGPVI40mglQ4z5uPH3kTeu+y8/qYKKqgbu3iYSA7/3o42fTEU6iYjIckTDFp//Ws
U1fV+wj6Q7TVMNCdYk09DLY+6nthULHOC51K932O9hX52N9/B24Eoj19/P097qL/hjgOr0ffkap2
r0j1PgMlGWW5t7oC0UkKOLs+0BqyHKzxZCCy+97Za831Fc4eiIEACM5E2eOMhzMrP282hZSyhvEV
6rpLXDDtFZAaffhi6+nnSHeGTae3/bEdk/4IW7PC6LvKSuhBJa4xw6yhg4t+sDy7HRSfwqrtTLtb
17+FyT4AQD24sCm+IpEkkkgvfC7tAGSXsnk75PnUcm+I1rcuCV1CucG/pE0BFaaOkYICv9QFpr1H
0gKUg89/ITYxrTcrCHX25ON1rLfU71rvJ/bW5FnCuQ7Xbqaoq6wbMSlCuk41RvuuV9P202zgyKzm
c7KQg7LPS0zIK66LAbwIqSb1DQ8rl/r07HXDFaOqB/7a8qHZWIaa4zyEboFMw3UhYLIMlfBzbuAM
GLjlKRyGisSYAkbZwM3ODyZ/YdmOtZU35ABF6F01J6+3G/XtfvzPwVt/NdQbn8LXoYeceWWIGIi2
nXW8Mj74I6TUznJUFVta0tx/jnaieZsrR9EwepyDsv2iY5EBfRLOuVx+sfombRZMn0YF8cogir/H
E0a1dT+Mx2Bk63Dqhzi5WLgJLlkp7r0C+0+18SGWRuN7J+C3ru4Y+B5CgAgav92pcTvfY741kz4N
1c9ikj/0R00jAy3zq4PvzOcxVGAZiyzI79Rs6KZfRx+lJNklD0EsltLZjKmNUQ6XxBtWUYm/KhXK
D1rKQFnFsvAbkWuDUVcwgWjc4mI4zTVMvstgiAOkguf/CFPKUbtUAnDpo0vpjA/ylhOPGHxPkf9d
tuQhIeW67kqhiCzMKmVfjcvqwlH17PDheGmuSxP7GB+K+jWVLN9EHOavWZzph1BmhzIEltazSwL7
9j7jyFBOhYnqn/hIzHryVr7iuCt5D4cBdwdEAvNBfvLXG3buQS9yyb9uZIS8axdmFO5A4RjX27zs
GzQWhTUCj7cVgd66JdqImk71udaSedsjV3IBn0E9K+3BtsTAspKp97Zp5f6QN4aun3Y1ZfajbF3X
AW08/tEnlwGwP+vlYLKpeKghFkKAWBhm7eIpNNj7yeaOxr22f3WLBh18AAH/FoGHXf8KceWPiKYR
OqJWi1KXWNFEseKeCk3dG1HCkka+zXyOd02KBvftbZYZOCWvA9J564MbE24tx8cORix9Eu51+9mN
4Q0r7ddhyOtnfSLDDtOcckjX1HfUbsH4Yf1AFm1awM8av0+NyzfMbmE3YeBK+s21d3yk40PLP+wa
Ihwz1dz7Jh960HVRdHDhJhh2sCiS6C3TEXTEy6491PwgD3YVNBsHB1Gk+bL+qQ/78ZjhybWo4rl/
qtHe/jQHWKAWkd8u/bQ9NVo73TVW4kHOV6eVbfJtC2IzfajhuB06DXBKHqsVTMt2J+tEyNB/RLQi
ovmfRSRdVqFj0P3xGN5ctmsVp7glmItk62pxusxtOC6AZf36Tonfu8mBEZdM0GL9MDZ319EONvXK
rJJNphek8VrTeFVQCl3GgR2ddC81X02KT9lUdM8T0PQ7smnfZFQRlN7WMjom8RZ4a9MRh0SWdEWA
j4A8tXuFrz3eTHBchLcA2hmbPhLcdCE2rhaKt+qCEuEX0bzhl6UKeapZHgJXibm8DdQdEGeLpNnK
d7xs5Q0whDGx3zvW4AHoBkUC2TkPWDdihgNJWQiCYIaD5SKSg7n5bGhdv0cjA5V7JyhfhxzkTTGl
0y7Mu/JVjcHFaZGhXuRoaEHfnIcXeIvuXW/ab50b4VOD+cFCrfAJtZXQ+2L5+sG0MrxUs+F98tL0
Z6PNb5jMWW9zG3WsPM32U8gGZgOQNjy7uWbv3VxVd1E/DFBIjHSlwjKI8bncSBctaZKlpzlXVdGH
9gFrxDxoPtqDqOnJQNlnYzdxnSf7fHtAT0LXu42ESrQpmBS9tVhIO65/mqPZP02VHqyg0ypLhCLs
nt1uppzkcKajJo706HJS3c8owTl3t0Nt1cnKHrBwkX1ux84K/EJ4whheO97iUDGfj3ncIjbH/DS1
w0Xhu3OjL/0YVZJA7eNzZ5friqzMHaJH1p08G4Y62bKLdYXI3EefV+r9oY6t71NkLXUkpJ/JZuAi
MkcmelXe+NZNSKSavaXuTSHM7qEiiPDX4wd4R1SKZf1YFpaNWN/yUwjuZcvSInWFV4y3kUXlegQx
ninxT1mSxsLxC9Ux56yJgzxTW/XNz7x2F5L/a7fs0MOd2nhfI6f9iGjVatog1cXe02uGXcIWkgXj
AMnCLiaq2YO2jcBknq9NtOXJ2xZFvZIxOXoO93bd4qyTYZ2d+w53YATqxtDO3vMpsxA8mMdjnQz2
Szmiopk02Tsk2mk3D4j5mDqGGpSfxgV0nWY3G0ydmgDSJjKk9bVNppKvka8bj6avvU+mpb+M+fzs
NDqW63185AcYvCeJr68SwCFna0yd4+znOtUbVLZUzzA9PEjtSgFLNnbVagyxZC5a49DltQEIC1rv
ictEsg46g7K3jDH12j7BnBm2XApnaAIqcki6GUH0Lp5YN35kL275ClLOCfp+gKVPvvo0WSiHOfEa
ha1+b6f8jrazo0YgJRJsa8zCOV87oUNgKk7MJoEitCirbjhLE4+Bn6hp1K/ADqJL0pE5l92lCnFM
651+I5tyUqg19dLqR3cpN0+5Uymutxj5n2zItnX7OdUeUy7xj2nNB1OYyKEIgO5nuzIeJ9wh/+hv
xH36n/EzO+FV2nvX/gm1ojjf6okPuV/uclOxB85/H1D/FltfeYS5AeEFs40N/DTkdu3+uYOycvDR
HFvJp9Jafz848/CMQmX1R7+ID6mJCOx0c85rNu2Gbz5Yjhs+lua0l1f21vSgznUOoFFq+K/oR/fs
Odll2GWaPHyArNCKB0WkWSncLBxk2ghAtWI6qOmkDQWtAbDsFfMnh+XBTnMLoHymV1/90vH3FdoH
KyfLhq0nBA7mEJ/yqbbAhSYO/KnSTR8S/CVbo4P6J7pSraJIxtpHxqtoNet1eUhJFJz+vsfINsJs
GgmgGrVNX4k3qt4oyyGq9Qv6oUguajFpacsAYKJ0ww46LbbOY209plY7fvJdflU0Zojzh0TVv+WO
GZyjrmiWU43DoGzeDgnF/7Ns4m+LpgfYxi3KTgNEAZdPwmJrvqmoJO2pybw6Y5TyQ6nirS1gc7kS
5veq57CRERjgQtG/dnanoosP5EOCRG+HOm1BbNTOl1uXPMMgZzyjvTGebSNFxdA0rxEogTyGpo2f
W5ntW62Z3kdYcSugxe656Xq2mRpq+lGuZi++qb5hImd/p2JFYSM86UrzqhlK86ka65bSYvCzCOL0
KLsKLN3u2jHfzCJAdtmWr27iRMlWedgZSNYNzToYywRXCStYSjxsOau4zsWTvcejqjlFiBy4CyP/
riAWrtWa88DWw9lXkdNt5rHBlzEtjxK5DpysW9iiOICEG1fYILwkeQNJNDCea1VHNI+WQcX+2kLe
6ZsRItUz+hOCWxLw07CbXYxqfAxDXf80RcB83VwXuGLQaqhh7msEtAAW04zGLlppqRsd5A9ATLIm
C7UK00VveAgB7s2eXRzZUJ2uDsFkvXilYXhClie762SGb9A2SEUKXTs+PfkJ6Y4/LQ1PGbe3j9Uq
RyDK7nwvuxD7CQ5Bgtzh1MQVqVtQOznOIyCnrWo9TE75rjTzu6cY7UNYa/qdw51gIfvRTkQf3A/b
Qxvb+VvTn52hrN4d96nX8bgO02R6Sw1eugJJ5Azd139GHuvabyWVuafGgEZD7KzGQq0v+Qg+9kVe
VgLEKST6QYkKh20a8hegIGSPREbEmuZt5ikOl38N5CUKS32t1js5oHt+sPMt3zzo6KuNQfUs6zdW
ugwnGnJfzAh6l9UzkpTzRdOAu4jMt20+aIGLTxU/vWI7GLiUNFql3TdVlQo13exHjdVDFpg/VWV4
tvnmvY3orSA7qaf3HlpNu9YwjT0eAfFlSLF9waRDuRtzNKkslDHOFFabUzlUz2wPEWVVzNBfzU1t
rXts8T7Jg0ZWwU5i+5zlHSkI1w93bmTpyRkkh7Y1M/cBuoZ6J7+RcWo/8PVTybXyHRRjsgXkzfs0
a/M6GLJNbXHlnxwFy+GRtaWW5PYhRx1qo5th/gxp6fvgZ/Z3ETqYTbYswsSuvmLwk+x7UmGXQotf
rKoMri1cX4uL7B/FoFWHLz71wr3sT4ARaws7+V4b5mvtTQ6pGA4G91BYlOJ0ALQ4BSqfMzdQOeim
fTcDcFKrlY5n6qpAq2ZzhSNdaXhOUr/gpl6tIo8lkPxHOu30Z/M2Kgt6BnZ8y34MTnqe8Hb/8Q1C
pdtYAd5FNeifA7leXnovqI+3/iZ366N4DG+qi001Y2rXd5ZxHsUhq0sFZdOYgkUKh+SPvmtM42S7
YFLe5YA8JHKGPEUWIl/msVOuu7r/eMBoizk5qKDQsOavTmeZO18oHIV9g8Kk+DlGoYM5lKfCWmnc
8FkNp63sJ31P0QoPr41sotR1iPOkfsKDID3L6bUTvFwFBLwyOKuDHjrvU+g9ekCUSryXj4lfFke2
6AHSRa4K0LfvgCKwUo9ArzLekj4oF/L0j/Z1wh9jnqvqC8Moix2Smu6do7T38nuZhJ17B+TtXsOE
8TTGQ4Z4H2J2WVaW52bM2QnV9dKtLOsJZ83moXRmFMKhaExVoB5sUmpLw1XLVx9F4HWLxcNWTup+
6h3ggvkoMcyx7ln3VQIZ0u8p8XaTdf97LPAL+9riEdiRaOFlKKGOtrWSHJBPN0g8aAdQ4BY6t2Pw
Kc6ySyp5aJUz7w0fqLLXzc29W6HsYM542r0paJ42KApe/Nka72M767mEh++KmUz3suvan3Tbhi3h
OaSgdu3nrcYrrvbkgxAAOV9rNOGQH7Te32HspbxZc5Ku4zwuTh6CqGcU6suVSbH5i2UikBtmQAla
eHOewStlN+LuuB1qW8NScI3IXJTVTD367rrKjtWVv78ug1rH8NYs5vxDm4eP7YT631rvUV8yzLbc
/bFVjcjNjuZxbtkYHcpRhwlq5dbJiBGj1tT4Ii9R1Ojik1pMr/ISJbsKVYMERa71eiXT7Lg6D11z
qmN9R4LNeG/nqCNx1QQXt/DqI7Mx2IHw+IL54bvcCPwOrUDPoqIefYQ2vh9sRiMJX9Cav4V6feWc
ZiP5IVdEGFQH12WRYyoXWPjO7rZSksulydagp0wJ7PrfjJVSeaoCP7mTHBbJWqkdo147k1eA0oXX
UubaRVFad1f7OpA5J6iQasaQaR02Dri5clD6A9JHn6eB/2oYdv3j5Ovxowt8MLN7QAZh/yjurct0
jtytbHqJirPgFHyRLTmnKZqXKZ7is5zkZX6L2FwWryhnqtjHzOqavHRwbmc4LmQtcO8UJVd5kAPy
jLRdeLKzDEbX5E0L34r17/06EOssM64Q/esN96E04bC6HiCqWcWSLk1ZFplDnq6TGpQ6rkJPMISC
b/84wcwjlD3sNK4nblk5r1aabcsOb3auNtZD4rbAA/FaXw9+G36t4fF2LQ4KFnV/iyXFQbcQV+3M
8YcclxNt9LGWZaOndwj17h3Whp+cYOgeNSGdKn//M/fCEluYhWI3xWs3C8hXh1iBHC1S5E3tNuMC
MEbRc6Ga6zYHjwQJD+ZZuK17PHKNofXe9fDarSLDulWT9KOb6FnxMWrztQEZtOdGXDnYK3RPNKQC
gmxEJkqasCT6WJcjko/+qxH4NdKUeBU9XHnmVlcApLMh5GCT+tlNEVxI2OFcHJ1LGQBAQLpobT65
TfsTgeTpi6X5ZGDG1wYzpd1M9fBcDKDVtxN9HbejhOT50wQ2CcZkWJwlSk020W0uzhKlNteIi8lR
9qb6pouTbGVa2DcNutodHTxlH7NYua94TuUpqrtrU0uc8bMMK7yv6gwGZi7RmBXJV/5V71R4taco
6rFa1Lt4F9Yq4o1+O+5sUxsfBvhAckchD6mXWCu9sspNLfi1CEdPZHk/ImoTBm4uInJ7KlFqZB8S
OtUTes/5g2GiTdIYUXNmvRU/2S5Sw0IsBIcVc9N0abttZrAkoW1tXFY9EFX67hRnNfJ1vd2gNSQS
yoWuXcCwhY+JyR7A95HnuhrxTo2yCmpMYeRoJEYDhVHp4ZsabvA4N8F6ruzkfrKbfJ/45LxfqNQn
uzBFLMZQcSu4QlILxP6oWdB2JG1JtpFP/dWee3PVzag0wwV3AUDCxQ1KBa3TDGUn2ZQQSAu7I3wG
HmVP5pUIWor4WMRbGrYQt3gZ4rb/Gm9kebKIQuxAa2Hh2juGvlLyZiZh4U395oqhLpIhIi0qarxa
pJzmNJ9OuAXK/W2ueumupLK1jMR212idHF6Gc5I7YLnndfIZV5IqvZfxFmaBLFhMe2cjbXukoPyO
wJLAEKvVU1zhZesVIGiRaGzwYJySep2r2ry0G9Zy15egZ/YMDYNViswwouMEYw4BAK54q4AtPHJe
Wv3gIkJy6VNHQNt43YofXZtyUIbJCCWzVjVM6W1t1HD3xcJyrDGk8DLTWEeRR27m9/pSnvEryo++
Z8JlZ915XXJep03NXk9mmwpfEyE/xqfZTgG04bkZNyaK6JSz6fvjUAyogOVecw25DUwjClcLvv/G
yUzNr35GrVvWRAoraK8wiC7SEO8XA7Lm7+QQRuFw0un40XCNltUSOeyJ4qkc8DRMtn4UblrhdIzl
zR0KIOZ2sKA+yH9Yi73uJS6ie/guDuqWTrlBSdC6/usUkJ3LLJzK/ZCMwf0UYiIyTNP3UFWQWRdr
+AhFf2Ol5xliza9RDFbqK5jECaYFm/yQL8gqViki/5UHuLJI5XBDTfE6fEsOyOgqm9Wli8zYdXsw
hUp97Lltyqf9Y8eAKwsrggjxG/lSXHOBdUqMrTyiwG5eKRvTRlgOXVWxxXbGb+Ce2Oxi7qlZcJSD
yn5BcSZYj2kT7wdECNex0N2RkKw0dYMzmNvVUJUoMMimotQrGZEC9nfdTGjHRuZFHoaq/5mTvtjd
ulSwUZdgCuM91Mo32Z9nGhwCuxaGvsHZrbLwLM8Q95rXZoZw1K1PDpi6FS3Lspw2aR5kRz3q327f
6SZDtg4huLdI/BAidMohqUpONoQZfr1K7x5RtkyopxcUgXy0d0d28z9sxMWL0f8RWVDy1MFNngcj
t9Z6YTQnVQMq2pjejM06mgCaMSFo4drxFTPmIRt1nuP6RQLKJIzMxz0ty1HzgCg7LtKutDf5IwL4
IVjforvLhuiraUZiqR6me5Qy+pVstiB1VnlQujvZdHzlu+NO0Z1s5Y+zZ+FFKNMic48wVGsjzJMZ
OuZnQjdpLgoDfbl7wxiSelkJ7aRM66ODVFaijJgvu1DfqAI6JtkKktEgz66HysJFW4meZP8tTNH9
em3kVQ3Bq2gueNqvr4WMv5ppUO8G08uWfdYEj1xQ4iUlg+kz0nnnqQkbSK9DuHCATf2YjfFnyk/j
FeP0AqKrElHgaZ0t4qbtwUg8E/80nNL0Usk29lD/SLvcS/d2Ruo0seovvT6Nw5cZYDwKUbAjBbqC
ZeTH4dYsoolEsWzn/oSrCDuMf4uTfXq3RkEhOMvrlC0uVlDOdS6ApbuQF6bbBUyOymbgBfoaM4iP
kNtAY6Eeopl3QTUVax+q7Aol2vzKeZZncXSnRE55d+vmMvRnqDIT/yu0s9Lqj9A2je7BgF4wRZ0e
kl5RN4Nr5SdlHqZDqLY+920sEbq20FeUePvnvh+6xcyK7GvLJf5KLvItbWHYeYnC7fjNxV/utR4q
c9nVLm4BJAXxdKjsZQi+4KuCMEc6kISsAR9u/Kj393qhm5/YFLOnFhHwmb6hkj88Jl7Z7T1/RgBa
74y3zqQ2IgKmGMYpHh3lBR08/ezYXMuAkysnl4vmWRG4oNuha9+7ZspOtx559kcorK4VvmPj8tZH
lmrlUBO8j+qm3HQeYBXLzufHHm/Hew+NTuDM8+OgOtNj2Vg9O09tPMimXSrhXmdtAyowbKul0b9o
+lB/koOm2IuMKdlu2WTVxgVutr5eQ/0WnU4F/pEcrB3WZG0WHAH0Yl5JwuuChBfCzlHcog+MfzXc
VJLeojVrEQcREs9Dt5uT5Lvsvx7kLAxziuU8JyarKjU/FGCmFnbBFtDVve6u4xe5gmHTvyJmDQop
sH6mydJS1PwnKuSIx/jzi+eZOomg2rwA08PXPVb79TX9NZOOzP1VIpysvKFyEWYHbRt73vRGQR7R
eJw5j3EXTW9uvM5E1ORguX6NEt0mmZJ/RilRpfz5WL+j5h4pb/lYv56xjsKVn8FzVKaVmyGdO4+x
+akr4niLXjKUA9GcAQt96mGq4wg7n6O+p+VMGKtpdrnAswa2uIKHOR64ur4PxHAYDP1F69uDnH+d
UTSY+MCx26QoWTJjWg09HjhXHvVYgHope0xzknEkhx+T7xHS7wWW7nIJDHQffRqUuOVwKoZDP/wY
JuMDi1LMdieMbmK9euixctUQumuhVQ6UJP+qBYD3Pdp2a+3/urXfagHYjBzLXLf2cr0gw6pYGQ4j
ijr/VrZINON+7m11V+MGNixkCLAXXBTkhv33sBzQ46LA5kNUROQoQpXXyRMJ4V8z8F1FiZ2dOVq1
yXEO0Om+nsp2KTrlWfeO66RykOemEqbXXlvJib9FyeG/YmQzUHrIbWnynmVefX1rQ5//MGJUwakP
fqQf/u0tiyyFmvb5dZJ8I7d8hZwwZDk60M6EEmQZCHcm1QWVEBT7LtLDI4CojwP2HIwi+xCEm1tv
7VYavrUi9Bogh4RiTOZg+GmU1rYRQKhlN+cvqlnYoLRb52FKIg4+auMsFq+NiO9t7FqHa7g/Bvke
mWo07UV8LA5qY5C6aiN9JWfIgSBQ8qUjnqavlH7nl4owzgG3IBwP9Obo5C0WMW7vIw3tGi0YH9Gb
2UmAU4virf8esWQ8JAtqQMPKT5ryrk2MCkxInH2rKf3ncal/HoBcrec4c6EjUDr1gBbvC0NfVKoX
P2BpagAywl5q87G+V4YvyBckr37Sl/teWJhIiRsVn3knGLNFRZljkw+OD6amzpydPqWHueyphWqu
tZ6iBPe5EVuzssberrBtvrCOXPi1Hd/EwUX2gRu6sRAmIiKRwMI1wSQSWja5g9jXWZ1Va5k7kCM0
biO/wn7NgQNICiTJDcpXveCGtuNCYnclnbqa4IsOEULkvingGePvGDksmdi2nv/HPCRIsA43mkef
lN6THThv+lRn37ypQO+9ap6ynvoFGCpvWzRFsLAKEHvUvaIDGD3s4NrJfZ1yi/sOOYIcfYyFa1vD
w38f0VnZc1PHLRaXXXN31fAZ4S/1PagQVwsBMUvpH9GHqK5y+itOFX05Ru3bUG3Y3IPe3+RaGZxC
ZSxOLKqddZ/UypNhwCPB/tz/YeHkrRk/jNFFpVOr1KdUzJnCOTihxVOc/MF0gEr7/hNsiY853emv
OfJ5vAHPydiNXjQu8Gcwqtoa/Q4MPkURoBs9igDo5hrkOmnPQ/4jHBP2ZqLlIzAyLeQ8NvP5aSow
j/kdK/uvIaY/XFAB3Xtuv9O0zv6e6NZ7gRAQmptauGkqtTp2xhDiDQBKg1qt+S5Cq3yeF36a/aQy
5zU4Lzt9u0XZdVpzt8ZuQkNJh6ti/RjX1pdcc8OvJe7yi2HUygesdodjgDrjSqbjIu2e0oD1OW6M
9yjuTXBL2rRTfYRlInFTxPWsJI2BkwISTfFT7pE/VOJmH6iOCSWV8ht3LKTgG82pVnZYsRS1J/Ol
7cBCg/xGmbAI0FVMpwxxRXCHySrRyZrPkYL+LwNtZyUn4di2nN3SOoaa+dgYfvRpgO53Rxof9xZU
/N+HEMOeyp+6vWza5buvkycLqhxN9BSpSa4o4Xs4kNR0LaM5R7FrPOGTs5X9aNRxHUw8NtHiwcST
uKCgFoim27u66P2jPNhu6iMKbX40qymG4dPpmGv9DqlBbUQrdxwXA698PZV+99hw6Ti0I05ysqnP
es9CDq+YIFEuYFb6R60oMyzoMNORg9gFkZSz7KUclJOSXg+wFFOKvW927GDMauSrNGOQ5/TOJ6Ua
kj30inAbVknzYtdsQaq8ee5dfTg0wr1O6BeW4uDafnTggpFyq3DtBzmQqwoYcQ89C83Xm3gZCpFC
RF/C7bWdudr3pOicgy/lDMU8xJuXZhurd/JRUDzTL0NcbAalKzY9NNkDblLf2yjJvuE48BL6Rf5s
9pW2bW2uHHE8+4+1UfxbQDVm3S7vyUxqTrJJTWxhofn9iHwf/KQHFtLsfZj8qfE1GsC+d0GkPw8N
NqxBxhci5r61LdtcR/pjjE/Iq8MVMYbmYYZsDlhN11/RSfmOWMFwKUXFR16Pw75bG7HXXfVErWlA
PWHoHuLxGU39CKsfvQBZnbqvvW3v5ZuCicJOOEUOuc9xFmF1lp9UgUJwYScVamjcy1ZeWd7ejWzE
8cUgYI72EwIN43IsQ3V768Ms8O9ZlqE3CzlBhlmjjR8Q65f/clafU9KBENwIOCkF5NuMa1s8Rz11
R64W/glwZPg4FN68sTwYM+qQsmDE84ofk8NXj/0AiJBY3YTkUljACkjIyCiZvOCh0dYDCclXq2ff
EaoDTkmddwpdRK16oSQ1pypFMSNNcLTkAmEQZqTh+EeY7JdhXYbkA9Xb6a0CICvDAi35eLTx96M5
4tFkU4SV4M0XM/Dis2+yh09lBZIbxqtNwWgzOohogcdjK6CEwobXDe407AuefT1dyn4r6ZvjhKDQ
MglZ5bftpK30qSz2cnTkzVSoVX6yp9F8sP0RWAwPpsfUXSF9BWvZLGfq4Ypb+0fZDPqfeNZW4Fd4
QX5grUrdsRd1jBrzHGTxG2pqSDuY9cuEsNoFUe4WqcAqeqtHxGvzvpi2yElEb7qbvGuK2d87uUu9
qEz2srvVqmmfjTi5yElVMMIlLP3xKEf/+dhqXLBkF8/ZZNafj43M/nvntP190hbDvz22Ll5BPwue
4u/H7vI3dSDHZhin2TFCFFo4qGr7cWaUXEccQ5EiZuElG3M8G2UgIhj+KjUShP1ENAKrjMjZo5s2
+6jrHmDeRhdTazttJafACVooQ2ieBrOydgi5vkSofiLzqaSUD5FL6tXawluoLfOdUpTs/v1WW8kY
y7Pcs37qMGLPjobmvuOZhdyDmC4Pye8zc7bTFZmXPDPHTS6kl0KXtUvvhA+OOWgPZqo8sntGFyls
kEkocUmSkE5qa39FyckySkXdHh1Ux1ymXLMOblV/zwcr/iJOyl8nJqkC2SNP5rD7Lk+0Xyci+H8V
8989hXxA0KVnPlOWiApaWMpQTjsWAONbkY+7NG+jpy4TFSgtKheyX4b5BkIDNounN24uu9BP4ydw
av8R5olHk2Fq3/0RVvUKm6YQWenbo/1+0mlCrX7856O5ntqu5ZNalLlWpYJ9cRhhRJZM8BtkIUs2
LbNVTrLMlXJ5uY5KuYXbqBRymBT7/3SufBnyif4fZee13LiupeEnYhVzuFWWJdmWs33D6sicM59+
PkLeptu758yZGxYBLEBqtyQCa/1BrExdXDrOrzu/yfl1xWj38TaGoG638AqtZWTYYCYc52SEnX4j
S6Z+I+7CCi8UN9J7jFqmgbYJrEXhqPIiHet+KwJV0VmVxSo2y+o0T/5vF51ezcti/WZeuE4jjGzF
a34sfOn7/ywq5scA6y7v9tOiCkhi2fI/v1tfQ3HA06TLn+AS+/Wf//F3EYvaptxvxRuf/83/aeFP
r5+6ZrLWmpUQwG/96LnJQxnbQuT3JBsPXbKd/lY0IcMB+EhKnCu7SY4vr91zHlAfmZT4RESm+p+m
Y/f5r+l2kX6eXpnZUiz2MR0HknGRh5V88hqSmOYEco60b8k4BD+oknKMRZEazUgbOiEGjtvcbaN7
j7LzX0Ijs3oP7U34OCJ0UIpfUdctdSuIH7VM19fxCPUDL1b7APAP+CludQ/jlHsry6HjRLKo+bH/
laEHRU+SbGu2RwtlKmuM00XLW3epdjrmYlMdxChbuHOoAeo4vd6LMNFveQY2O5JKybTFrqVBlfUg
7uaLhgcCNUf7PWQe+BIsmq6t5cvEAgtIFbg7RW4J48FzvqMwXCGM8k8zBM6dgV+18PtrpXGdUVFA
QyQGMRSkw2QH2V2xeTTuXZTEgMrhwK1PYm4ISMZ3JOUhI/9GIzF8gAJcP5TSkzh2i0YuPYkDeYZK
7Z8j0fAp7OscgQbg8/fvOWKjqeta9SBXz2JpM/XsjSNZ6N4PT/+fiX99T/iDqUu/x8lTlptsKZ5O
GBZIS2T99SvxDEPMkw1Z+wwMLTk69sCnc2Ir+Ln+OUpRTnBq22eOL+9R8lh+j+sxBQUnBwhY9sre
kV3jPuzcFwpK/vdGBrI1ap2N0ilk9mFEvE+I34bZr162s7d+mggfU9lXiB/c2779IsZBsnyeGHoF
ejjTim36W0zsQMFuAu2pGo32qopczMzRVgI3o0CsMnhk9u6T+ARLgfOzzr3oiRJBsVbtLjpxWsKi
8y9ziv5JWFN8zGmnObWfRqe+yJKDVWvjRs12lS6pGzYdBW5CtnFok1af5BOQcy/5jvlU1V5jGSkX
KCjewikXeZ650+fpJUdP4AWbeX3Zyk1y1sYw2o4RPshaMomvguVFeVwenfWoT76QfR/dVFavUATv
wh+5vhdILimIw2UQ9sMt235n36Aru0mwd3o0c+dFRCiGepNpIDXz5puUDtptNDHdxhxDNqwAKN7S
Ev2Zn2FMMPJYzeWabbqEz+RGjxV3KYbFxZQ1qveJdC5FSBg+9ybG3oAiwpNWZea+aD15R6ljuDYc
PV7bVlg9VAO2OD6ovW8ID52ycjqfRZzjdV3+nWfDk9VG4eswKOUyBtl/52n8b9aJjVlJ05Yb8d0W
l9TMe4Rm+apb2XcjSOtjjgLbXmYDsfBIStT3w4Dqv3MjtaTyviNPmqFSP/F4ha5tGDbbQLHHgyWY
vqjh5RurCSV8MEf9mrKyglJr4B3CEnDk0NSPpQdEMrLUfheiaHav2covBDKyWy+KhmWmtkuorZT3
/rzL9AEFIC9q8Iyd7v4cZbtIH4fI99E/4zK54ufJxi91mvU11mdWKOb/uebXV/zf4rz8mFieXHwH
YB1DdNHlO57miOxVXY+6MU3TSJqbPsPnPsYOdOkWY7sO2FOvuyqijVfatuIQeCOCu8JDs0smsVgW
kXKHUFey1RBaXefUWBBG/EZyz1lnkdbu/cTPH9XROMGwqb4ZdoTAPLJVJxM+4i1+T81CDMQJP7ZD
bzbnFF/UY25ifS5Wkqx8Dwq8Qo88N3Z1obebKra0N11f1QUgPjRjim1v8syBxPdIBhYJhbj4KSDx
qa9Y2ywxxrVgjJiV50/nu/go8PPTpArEVOZT1UM2amQ3drnz8hJ+dEhfL/o8sKyfRiOrom5jK+Ds
1H4tl3YF5AfcOo4E+3F0TTwDKGLDRkZxpnKLe7zJMMYpfqVmZP5QPOlUFBW/8IXOV6zVQCkMQFzD
2GEr4cl4SoWHXstBgbims8QPsrw2Rg/MPgmsdWNqxWuu+9s0Ca0foypBmbDy8c4aUS3mHKVsQ6Us
HvDy/mWMoXtr+QkyxyGsDlU1vldeSd7ZKe0H11PjdVdU+bUqe/FetSVv35l9w8nUDNZGqgaPRq5h
I8uf5Ic0uth1dlS0p5WqOB3fxd8DDDhQVauipaq1Jomq3r/O/AEdTL03vxkcfW1+Mp+okjc7Y+yx
Q/Qq68WnHKXvnOQkoLddn2sPjnkSasGiAYxNjIwIqk0jn8KSkwDo9u8jf8xRIWPCEOMXMerRRsmN
Zk2pRX0lrb4S7IyuLPxlgYXn7f8dMQZZegBZX/o1wlEL/GExC0kxjPawyuz4myCIsbFZ+mWAC7GJ
OnhNSqrXQBmT/hIRF91BLvz8ucDMfkOKrWHH1it3kibF7xGZea7T3H7EfrzZRjVZU6XU3XvbS39c
XqQZX2t/7B4Uirm7CpDiFmF0a2lM7EFAfreJZvl3nhVX51rrHqjd5i+ygpQYyQmeplNTga+36NLI
uU5s33goSfCK/kwtrH0nKTUMEiN/QbWAEhJ7tKMYdV4y9PxeGgUwSCHjEu/bTvbSGEKuru73Yg50
so3aScUDx8T8RrLRFMbWOnnMlF6HNJkhm33mKbrO8LDE/5S7Ue2481PzU18YVdix50jFzYU6fK/z
VZIN/FR8lMZE4Us0zT7zj03zoEBNOhbqSBIvTR6aPoewMnUBZq6pu0y3c8jcFHe2hJN1A69t9WUg
lrMObXVMtjG6hReSFnl/QMS6P1SR1x8MG7bhpTMok2WhqPZeDMwhYsYlToxYYso8PoeDHLWRdPC6
1ae1xa0TR84CxcVhFRSKceBHxTiIu/ky90V++EjiljqiUabl4m8hc19Vuf/E1IZ3mTf0/c8a/uZL
iSVXga/hWxYn8k2un0OpB1+Ta/o+RQrzAtMamwQD+ijBHwyI11zKFXeib4owQV0dRT1X9IvLu3fA
P6PzwNeysXP7zto0XC3ekxPSLkr3uFxiyVPb8mrua+APQXqXvqkfgvhisFI2Ti9FF2V90QNfKOIH
uar3YzsJCJO53VQ2KtbQpNp4S0mrWFzaweBn14pVZtf9x4jog43uKbgUqtm1mBPq2E9eOn1Yvuuw
QWMdd5kbt2r8F9vqwrVcI3XRN02HG1sEeRgM07PhGrcCtQ7f9wYBpffQOupw5vBJaFtwRP8SWiqS
ueSsC2/WjSuA5111Y/iGsbRC3OJnoeeLvjMpL3IFDMzBXwbEAnEWjsuqHSJE9EErCpxPBzRsOXbg
buEGgkwUnTNc0VCrfml6BUDKvwAcRd+8wryqgAt11tAfOCOu9DxutmkP8FSxzfQOnk96F0G7xb9N
MnmWJdmdHbXpXTl+r0zPuRWNonOMqyLB0sIyVOT1VYrrQOd9e93ljRQtqeTfm4nWHcVyAeDOa+hw
G9ESC8yvGgN3XxctpPNZwV9I+89NJ5swfo4eLmdpfzFaoUKZJG5z5TulA9tWMNbL1viB90a8rz3N
XDhprGyEtm+DvctF89fwKn2LrFK+mEV/xd0lrjkZchddQuduHWzrgvKUeNj1gFSX0aBgpD0Zm4mm
U9bVXjwk9W58H52bwRRcpbKxt9Rp6+eWWKD4/S9wT99jrY5egsRSlsOY6GdHqSfcKukAt7TrK9XF
C9jHahBNKlPHF63JH3E57Bbj0GffhxKDTQUm8SIvKRvEAX4+AsreAguwqvYhHvNmrTYJUiKV1wJa
p/gATZ8a1TSqwIO7baSSry6DlwkkxRu3Gi7TlcLrKFDC5Ex8P7lVJbg0RVqg5Gz20PgynC3L1N2B
yxmXogk8TjmphvIqWo2aN/e1TSaDSC9SlIdMa9EzltWbS3QEfDZ12+EqmAbVxi/WZdXr64CKgJBQ
MHBJWOZWXV6JJpYQZ012vDNGQcljaI08x9BdKNpwPDUZlZO+G7PnNCyMrTP67brl+XHUuvJ36gOh
Ehcts+t9n3BsbFEZmPvjjwjRJ0YRLsVWU3bddTkW/C59zBADX5rzNEB0JOdh9K++xImQ+YUsE+TN
IumVVxcqwHZ+L/OLz4uKpS7NCnRJWiHTPb3l//wSxvSvbWCyIWna4GcHGqSSSvMhGVJz2WiDsmsr
ySCxIpcbFfubtQx79cELJHWf8luwFE24+vZJUs0X0cKd0byLWnkhZtbTdNkDRe/ZxVkESK4LYkk3
h2MwGugH5vw1CmkoT0DW1xj2YbQ4JP5tM10iAFerUfeVlWiKARGiju1Gt8HqzRN8Beo1pVbIbdMi
l0uPDFpZpzUmKGG6E31ipeyfF1Qtf91eXAz6qD4iMhUsL+VSx8aMjapSv760c4enEPtqZzfXTytZ
OYIIR9BsqqaSWUjOyAhc4lMJvbkiVO9FcVYEeBX6eaTpkSk1VOkaitGSs3F5FMBWdJMnSW+yH1d1
YV/Eu8WoWrdoJ4rbS4y4/QgU0NhSTL4MTGBaL8Jfwxo9fdX2ephvQB2g3FB7V5rmYZpb5d5waPQx
yDfiFujucPAlBRI94mMk1BAk3UD13Ga2Db1rkPhNQHHFMLGYzxAyKcJFBq02QKgECHtbo4859/UI
N86j891/E9f+Ze60XueBwBAWyV6korbKsc3LM+X1y11WReprL+vJYizUf432U984jf7nODFKwuI9
7strzK/7NS5Agy1DiH/KVQodkN6oV9gaBNTZyVfivR6tYHWjXTk1q7SC/dNYmNv7TVIup2ArVf2z
UBWZg8VyUJTfg8WoWr+x4Wpuc0Xfq/h6P4Vl11/D3PiR20P1FOB9d5DNAU2iaTDABW8vK3YM2ZPR
2IwsSvKKtRajqWNg25eYiAFMwU0/TpgAP79iS1k+paEEwlPuPX62p9GwvtPR5L0Vra5KoXgb/b3v
WPUjeB3Rm6W1eXZRzWkG24FHi5SNpJXBRkqD5kiBNjlgbIZDEoXKOznIONNotfaGzs7B0jr9t9a0
6xRt2u+Q6LF2Iu90rxtNsK68u0ksDwtzLz2mChokU0uVEFEBXwD/WLTDQa2p6A7h+tKcFFTEXddL
1lUVaNtLdsmTumFVDx2CcZ0Ccw/taDz1mms9GJHpHNF1DJa2r907VmSCUFMKf0P6gG2o2Gu50vg7
kRXnir1OveCcGR2EA4khZ9mm7MZyLZpeLbVYhXa/R5w2oDQZByVx83vhXTIONyYE7W+mw9YhKHLz
MUy0flU5mnHj57UO31MxrqSs8Y6GD1a/VvUMWlZhL+vM6p+L2P3VIZ/7s/Kype1M1gyK1W3dvDYf
uo4ttW0P8G6GbC/yKE6s3iJg259RLs3vx1Td+Q3yBKNtd9AcgM2KXIyYlOJMHJXAbsulX8Q4t+cV
DO9atU7N4NmnuZnZxcKNzPo4FpI+gmskrgg9bx0ZWrcs/bRbR5lsLzAsK4+uJ//UAg/nvn7E9N7l
PHw0xe1gqjnGyXGxji3eR9lbJwA+vNp0l5VeO05/YJ41jldBp6bTlGMeOH4Frdzhg4t4grV0bfPN
rIv+yq9G95xRObnuKh20VSGdRZffOtZuhDqx0D3JPYsBK26clepVnLenPnHJC7NYRC4wuJ66TjgZ
Jq6SIixvPKS3l4nMp7wcSGR6+a8Kj9pFY7bmoxJhtV0UdXStoRW5DyuDA5xPfnbl22PxYufWo2Hb
6e+2BPy+l0Iom6gMjuhXyD35VLTEcgO7PMUI/XPlhlhSkU1AegpgMWixOdSKPYmvaSjtkqj18SL9
J5RVNcmOHwJ9HBZR5nabIMOPqe3LRIZiFyxRIrk3sWjDwEQu12qhDKeaGgtSZ42xBTSr8dSNjKXr
kuqF9HqGR6X/lhAedgOp/hlPlJQozYttVSjNCn+ygnM8rrRWaZeQYLG8F+mbRDHvZIt/7RzhIbPy
KcLQ7bua/6zHtFPZuuELsv3EE6IqAN+DUyK6j/g2kBZ+ThVLQ4KokFa1H+MJ1SfGQ9MGfK8mAUdk
UrUTH49jMuk/iq5Kk5QVEupLX3G8NZTI/k7LyuHOlyTSDpZxEl2gK5uDrdU/+SBmCZpWqDuZtlNt
RawIQYVdqXmsi4YXDsVOU9H4F01xkcCtotCIsbyY5LRleGNhyzBHpCWcVb0I/cv7UBv7OZwAEsBK
W9DAZnxtKFJxXcFOXLZGEHz3XGkvow3xBA3C3GatoW559HnPsQ2kdQoQMzsXcHAt9wuHb/yHfqm4
my9C6xTdImM5mm6xmgc+ia+SVtWOar51a1PagNvEmTgNPjmN5njZIBSYNVdCprpCoGsHAVJeCkZR
hZ/OXQjfIvEoALXA+FByQkYFaRcA+jiTb9WpmeNOunb5PeEnDVmVeVRoB4hRVGxI134Ei2aUVNmW
ZCiWvHZ2suVR/TndpKBtxY3nJd59Gpnk3hYBBw7TWGXNaD9pukltHWXM02gH5RGUTrhugyp8rcBD
dBLs+j7EPd1SqH3WqqttQaGYu7xMozuzxexOhHAqxaN9tB5Slb2Npqn2KqD28Kw5lrYaPGPYieZQ
Q+ZpIGKeRNPR6zW/u/J9pqrFvaNX/C8p0tOI9+MpxPd9IZqu3lY7sWSp8ed917ENNLs7mhAWwALK
zdmMk/qQdDbOjQ2q8pIKFlaV3gxkRtZhJwVkMov0Xtec7zmCDC8xfg1oWzcvIa72lJrk+rabLo1R
IsFo54e5X0/LlL1zqEKtIFZc2j6wb6JsM/eIuz4OkUss4HjOAzElkSt1zF/SRh1W/LHrpeop1pgu
4lLB/qT0gPPj0Y6Vh68H2wwp727YgEs1FkIJGKGU4eBZ2aNoDUpYnf/sKicbGakbL1Gi9edENSTN
vvyYJE1OhEPey9dJ+O5ojazeXTqo7l6IzM6as7YzuqsiQSJIDFRZjrNfbAKniy3/a3CemOp1Mn4L
fRLumny4CAKIhxkAuTJZsSWNkKrZRHb3G08186DajnEop7uqBLG6+HQrhoKuMw8u1cFdplcn0eVJ
QEaNjt2MH8nY+wZNskcdAOGYkKZn8qiRn8jqm/eiY6wbD01KbOm6PmHjgXdb76/0Ms8WOjarh4jD
O6oQf9xhbf3eB8DmX6PzDM+NkWyUB9C5f4nr8tu21ANKjwT851DxgnPcl7cjXtDTjBeEDfqrzK2k
k7gUDvJFilQP2K8CK5kHLk2/Z8cYZQAsP2Z8ieNxiselepq7MRq3liVOZ/xCFGUoAS/ICwq1Q3EQ
d6E35ngeTu3L7TyOGUK91EJDu8wRA3ZMgnghbsVlUAN7F2TKrh5H5yZv9fIaJsPCh6OZrGNcDzdD
0OHNrGTOjQgRd36P2CcSrNpuHqii5jK3nVaa+8UiuVWmyy8DSVuCjZoWEQNi9aKNyVqgaG2N8mth
YZUYJlW+i0o/XwsjxTGSsmUVBvJBCNM5RrLypdh80HQY9H+ZJKJcC/gL397/dZJnlPo5N+1f1FGw
KbAd1Euo5vRYkL+FsCtWjmkVJ1XutWOJrg3fPF951XpnI49N+NMv+eFoA3wAFMTBd5FsISgOn+Mu
1yKQpIpVoROSjPumw7Klm34iyyrRb1J03Be9Ok4yRu2p8cz4SVZzFxi4o26Nuh2eDMc8iIDaS/xl
nATNTeEP5lFWs4RNdlR8R65okfKib5TZpfUAxWWvdL13z8/lLzHTmKiERjHKd3Wb4dza1wb61VH7
piPbIyJIdpVoXTII0xudoMx/CHvj4oCRKkG/U1SsX4oJRDequG2pNhwss5P9hybSd6JfhA0aPlbG
BNWTbQXUXYP7jGtanljtS5iQNFam1f4MU+Pkhc0pptCcXm6iAWE5uejbFU5i0C9EUnnuFEllkYue
BzQA7Yj5kbOek9ROiIl0UkCG12VUb/mqDNvMKLVtEfvmc9Boa9L94zfJRb2pgbB1lCUpPxt+ki38
apC/UQVCkCBDIbdRdTSMQcStxIyhwd2d7+QLxckCdZurwDJcFExM9RFShXNpChmvuXlRhtI4dTmG
4160sPsqrK7a7r7C3WvRhHZya8ZDejtG6FmD6X6M4nK4mvs1XBJ3Ipb/VvTj+j/iLn2Nqr3HdEkx
QCHTgrXbG+DuZag4Gc+e49wMMd0TTSeweNJOl6hPqjMf7qUel8kNRGrrzIbd2OcDFCkjbmBpxWSO
N4aTFiuvjptwOWZABnF+yLeXtlSo36QOP0zEI6wzGy7rnGDB2xe+fysWhG1eXCObtBVjCr9E68wr
3G2m1Fs5y8ff000fG5eb9p+bfw+JHrnV1mPfBRenSfHZSPw+23Ou+yY+EKNwQ/joExEYiuLezWt8
ihPBXW3xEXKy/6IfaAqQD8cqL8ULUXsIVHd6FCu3oiZxOX6L0kYMsWLvquOt2VLiXpSTTsMo9d3G
azNl2XbJsJAtDI1iw48f/TBHmQ0YuzBELpGLuRgim6q87n33yrwS55UCq8pVa1ryyW2U+oQhCUfT
oPF/lHvk7+rF+8Mjg4WwCwHwZAsnSJID0J+pMhnU6JBMnV7UJgdxwdL5/U40Pw1/mj6Hm4o/bvQK
SJw/SCcUqnmIYQcpnUaHtIuX5tJGjNgmlgYraxKB9RI4CyLmEi7GM1dTTlTORePSo9kLD0GUWxeF
KiR1rGtBQPABoh5Mo/kxcxJK1JtX/K2ajYgYvT6/spvkWs3RSEIvH92KqYyBCto/zYn8lgTje1Og
7eamQMh9Cv6Ym06GU3Kqp6idBjGZTqhDcQGjMc/GIV4pgZthEcB3cIMXnrqICko/NZg0c68PaX6k
EBwBiR89Z4OExfdLU51G0HeKzT26b2gOuOnWsgtrE3iB8WiNLhUgMBiJ2jy2pW09ho5vbkATaXu4
3/E54H9vEU54jhR+owOK4JtXV+jg1EpyUqAvosjU9ysPXeO3uq+W9Jg/8qHGtd5V0nPRJere1npr
M+ZGv+9qKCFFk76ZJA5+mnW260zXfC0lxCksyE5ojcr5oWpIhSGc6Tx+hAJ0uoQ2uv73UM3NL6v6
xntoNYU2nfy+am72n1aNSVVxBgHpkI390ULMZ8cO4A5RVSddBVOfGBCXXs77I6qt/TExtbVS9TBl
pi7Vi6BXfr0dosn1Mkj6lZj8t7UuE21OrTvscJao22E73y4G24sno0HtMcbfhCNjEx3bybV4HhUG
x2I0b7ToyCHiPbh383DVWqjdTV80CeQjwLFYTw7u9G0Unane9Qsr5xA490XiyymGxUWMfJn3KQa8
fLvAz95v9nauatt8gk1FEGi2dlKyeWx0+e5y0QHrmfV4FC28IKRDpUVvF1DW0AIBbFRl2IpRlPOz
O0QmxWKiJ04ThEyLRFoi3iEnIBDjx/LP1QpWu0C65tXEAnkzQEwPl6HAf2UcrDe1fbajrtyWWVHf
xiXaFUFg90+DBjfX8QvtR1jU61oUAU3fXJlG4f1UXIxYy1w1nmQ/ixFnl+XbNLWSrRHJ7SHXnPxA
maDc1pYJ86PPMDDkqHEjLkU8WDjPtul67vNyy7/JHMnemiHiyV8G+DSp/L5yjP5YREwQTcWJ733T
dPeiJfrrwd9lQGquksg8+9BSqmVTeDs1ANzTF4iBjHWscwpyih1s5ODBUaVwP1pmvhSjjWsVZ3Ws
ObCX4UMgDcGDO0gvSWBmAEOJDwfePEZn5UYMNobdH9Sc9x01eoURmg9As2nvL4Ogl+H4uDJ8U6Y2
uuptVZOKs2haLQrCKPSdRav0g9doEm4PqFht3DgezwN5hxXiuGiLkzJemIgkvLFXfkCDZ/xlKc4S
mBKcosQPFkrcub/jprzJ80T9NhZ6scgQxHnCMU0Ff+4Od+w9+7Ujl9o1Fhwmcuao7JX2OF517LN3
neNaJ2965VCD49RGPudDiSKn1ubWNZLp+rbQ9AZDO1K+egtoUq8N/ZRkerjB9r09t34Yr+yqUR7r
KEJv326KNysbH71qbH65eYoMr8d7rfufkSMF3kKS9etByc1v6KOysVEj/zkE97DMQ0W9E6+cJSBe
JSVRVw25MW2VszNHwoMHpFw1h7J2/FujpXgsdZFLwVzzXvUgM8nMwFFP87oFvj/uDJySXxMpk9GB
ydBamcJSpMFk2Sju2jJtbqAHs8mc+sFoWatEDeW9Nc3qDT7VivlcT6Q2TfHBK8WNthS8tSFD8GpQ
OvWQ+Wb6YuIyPNHcLKfNDkqba0tBghNRLURE6Ehp9mJg4PsRRc1MWwo22xwl1rKTC4MObGEGfp4o
9Cjlrd/0MZ9J4CBpIRvLLDT4v5m22+LSTrsmcyBbNw+IYG+aMQ8MYismOvO/LBPCDj7A578VpwnT
iKxFZ+GNAZQwesqQExH9bmNa+8p0O1TDsQxB1LHGsNdrH3SH86qjJXcwituHLvEhu8qychCDlgp4
1LMNZSOgACi1tXu0LpGomKaWelLf6GZ6EoNeJkk7FHKUJds765L3SnW32bqlNa5FGqyP+VGPXWXY
i2Ypqb+KNjKuRUuLs4VU+QkbOdk6jxB2RYKtKxr/mPs6kmuZSXW/sAy2X2ntF49K+OhSffMWnT/c
1CjWvSl4Ry/rqlTuFIgDm0rPu6OCFOAVyrzyln9gfavVY7gq2R48a63300qS9MUivYVDDpkkNNyX
JHPGql3Yqlyv2hBGlOkNwULKnAYVvCDZUF7KjhYCQAcSttamxIvibsR9hwpaLiHKm185qq7/ttQQ
SUO7/s6ixsJpcmltjaYMNzq3N0lOWlucWChKYDPRZ8muqEL9KE4nYkDEWSjuXOIycXgZxnTnqwac
vukUI849ZY/xd+rb+7rFkESojFlChKzkobD5a2dThvbiEiTi58iu5APiSGl9lUIIvGnQLPzT9kLN
EG9APJXs7mSFoSEpdxWG3WuAferObjnaNYWGXGAZBvfjOBzbwMmvRVepaO8Rvj4JYwSFfKz04X1U
8x1v16qmfrD8wMC9KVKekiZrd6WhkdrPNfkpHQp5HeBWsxWjjU8+3dL09kqMJkH+G3WI+loM5nje
eKHm3WsRsrqB9OuyQlYlnDGy+0tL4SGOlgSvJlOPs0os2pEDaa8kJ4mXIo09N0Ua21J4NTEq0tif
miLJ/Ze5Scj3TyS5PwX7MlvraaloGhUvlGLjvfV5K1bim4dUojwhqnMJLgJr8LvRTpT0lDD5FlWW
cyPLRfBolew6Jo1928k5+vmhtwFUpD+3oXUAENtRdOnzO7mfvJt67dkNcly2PDtdGdR+ni3bihDm
1919XQZX2JpCNZS1vWUa1R2s8PouTv1w446RAneVPnExde9VDmTnIFqyYSKwzKQ45UuYZs2tZLvD
20Otxv2bL3UIHWpauR2S+DCaGf7pOIagblUbDyZeQIvC6J1fPI1QOxviLl0YuWc9BHDs1lE6xkfU
raPjpGZoD+PNEFvNOsmBqHTCEk+0cx+JoMuhNA/deBvFfr40zfSME3lzLUQOuwwj5KHmt1g0jdCp
96kjxUshspdi63l2TXWdhzzhUVrMz5EzUY91TDftD4fL2etynIAWigBneKOmrG3DQtFq7hS35LFI
FYvblJ3hJWhew5LxEdAx0Ea8M1v3Ya49q/wwLt1MHg+iGcTZCkkh46HLUSCX2/zVCCL92Za1fOd4
zm4Y7HuqklfhxBMR1kbiLhiHrR825WnuT2SAJ45Wlp9ckXJddjduKcFZm+aLC4wK/diG2ZWdYMXm
h1MKZ9KvpKKjryzf1DZCVE5vkOqsBudHYttwtdCewwoEWqIoDc2xYqo8UrCbYsWg6PJRlPNsU7tx
tGK4vWA7oqF2jiKJoCeOuR3Hqlpc/ot9U3lvi+FGA8KHKtNPoRoPzSxeU50pLprfsQWBd1Ga4X3J
4/+qUi2afhIHRwVbNTGjCAznpsxKCHeVXu7al9JJJRg+nXumwKIcePK8dJntnkGNuecWec0N3Fdj
KfpELOAg1DgzM92KPnFBb+/Rc2ofwQIWGnxZO7tvvof47kVyHU2ZaOk3Bf8ppdKxIeAuG+xuG053
qNO834m+eRQsT4gYZWQd3JqDVzWW9ZqMv3VbYmNwa+ESQV27VdnQ00dNnYFCDk5eke1FFyIgtcSD
C4/uRpWvLxFTrJbDtLONsdrPfble9piF82uMsR/OqpChw/KUaEaByYNcIpcwtSmeqVctB9lPfSKm
EDGFFz7YKoqXoq8ssqpfXCK9zNZX87qGhut2gRSS3HA01qVYunF6Tox1VyQ/XAz5okY2XvM0wXnq
LxFSh51IF5iXiErmE+Cz6Tw3TfjqBKr0VJh4tjlhigw3rKarQfWAw6tNdl9o0FydDMMIB3mRZLB+
FYXKOa3bL5Rcty+WBEIpXivZekqlDQ9HfK5EpyOHysIwjBFCGPLz4jMlBi6zLx+5eaYYF5Hz7Eq1
W4SH3PJJ9ZJVgazSc6zYwb5yMRxunHCShxKypRxjcuh6PqI2NYDV1RDq6RF8NRljNCIXVVogZyo6
P42LeOymSKkU3lY31W4vQi7RlQEkPjJ80JRWfRAXvYfPshjNUM8XoiOREVU2tcnEWnSaIuASdrn3
sqE+6F3UHD6PickBx5A8U7395/gga1A5AyVSH7qSg++kcrQSkO0IWA4K6Uh7WeC5Bahb9AsQd9XK
2wRIy+FLv4hQdDSDpplicJ5e91hjSIbz03Ma5aBFmEiJu781RZ+UW5RyxW0eOc4q9PmAiHlS3OEw
NLi3PHnbQ8/T5FADybvcib5qGphH/9anqBZWG1m/+RIro3OiksPqC5MMsVzvohFUNXvL9KbRO22n
sms8GnZrH1EnzNxNXoNYSnD5Whq14aN8aXbD/1B2XjtyI8GafiIC9Oa2vOlqK3VLuiE0kobeez79
fozqUfVoZ7HnYACCmRnJqh6xyMyI3xxx3LTIBORT9Ctz1RjxPf2L0Cl5162xsst+WPOCBePH9Ayg
GxajOQ+nup7dC1w0d4OtRc7vyMw3pWfFz3OL/ZA/V+publiRr8sieFYaY+YrpJgfYnDyUJVwTZdY
OWjBYB/AK1sraeLA7G7CHnA/Cpc8g8f6ASSG8bmyhhc25/WDvix6ljFpyRgMyw+t32MSucwzK+fS
92MKANMYLjfOwo3fgCjMr2BWR3g1RMjhplcnzSWireHhk1T0d4nuBsfUae55/Oifa1XFOCeo7+sl
6RTNZf74e6xMnPgOewBoFyRpLR1H4k51Cqp7Leqr0pk7uXLR66Tcj+QtYcnQvA1YktdVcWGzmhwN
ewavXXLaRAE76qPoNw36poys9ns3j9M2tJ365GHd8awM6i8Z97JF4DnI7acA5uYZT8JoWw6QfXCx
MNcOKoTn0XXRFI+bBzlgHdk8SD/bk/NVmUsGfvdJxG1CpcDJQuIEgxQEW3OMT79UGro8XmW33KA0
Hcc+JpEKjC3ItMcS3Y0hxNiwVQN978SjhzI0Uah9L9umjltMjyFGq9/IpCFMkrf6WS5tI8996MZu
3lhLgbTojTMgEPNcmR7OEkuXh37XydV9hGzokkO31EfrQO3xPFIo5f+OJYOsrk222StQrMU2DhQg
mFG0WJK11tc5Mz5lqTX9XVevbOgo31WzdWCdav01hBk13XZqX8chWFJhrvtomLwmhqLP7oomrE+l
A/SHIqx2L9cu+yhaT3aYj0+jE7YPyGz6hwCDme3AE/EbGfM1VVXtjXvEP5SKw1ZPt8ZvCv1xUScX
pNm+dC1GV81ykDM5OL2y6lJXOYkBlnSNZqeiOEplbKrVdCd/fYgQuccq7iJ/vPy/K/1qOEbR8EO6
8BNSUZ2wUm1dJpGylU45mNY0ruwo+2wABXyom2DjOml6iRYtZenCKgEg2uQfUKg0nU1vDY8QP9kQ
sPV0gAZHw17RQP2Rsq1xV9xF42BhUqySpcna4atHrQp/yS/ogkSnxvTRnM6U/mtjhD+1cVAeVbVG
taLuWN0v4ShlphtnCqIziuzmq21Pa7Szh6/kb8z9jH7TTqYXYXPSa7X7ZFaKcQeJqlrLdGRseaZh
/3UpOiV60X2MZ5fLypdScndGO93WucWwBlu0lte4ouHNtSg4yQFm6Yx95LOYKo1xrhySKMFF4XfA
f02aneskifJjBUcPN3+fJBdynJlyc8+KXvfiNwVHx3MT99Uzi7hfaZE137vOwdG809QHHDvci8dN
v27YGX2Pk/45VZvqExzx5FRWUb+VCdb8Q/EBLgMBC/ZRr2UHwPPNW96lO5lnhdG4UdGZOIctXPMZ
DceDuFKiYW1TIogtSl//squsVg66LI9T3FR315Ixfpz4Oi4vX3U5xI5/9gDCnqQVqK5z16CIFeYx
ax0vd7bTEOADtTRrWV1nqf2981TtKH08wrwHV9fTi5m2W+malmUS21k22bOBo5eCAJR8STlI+sDu
pmcnUZSTfNvrXxAExSFBNNBAKCANzc9CmSkCP3j43arnInyIKvuzkG2khbfAtTVkcyiRM+gP/OKq
HI1XvVGo/Bb6hJ5IYX6RdFVXVyDYKTDdSS7Ljz1t45nIfsqoRQ330GJhfs10ldg63NslcOSFJCMH
co9t5iQvWTcHZ7sI+1ULKojUm8Iuqi9Q6CtJK8mANAFCVC+J011MY+IlPqv1iz3WIbVQWCEyKGHJ
vkQoGxE7rmAHRbuZPfyxJNwp4unea8a72/XkI4uY8p2C3uwQhdmjkZDlHnJzRiw78T5piZUf4xh3
Omkuctx36FiTmV9GzbFyHxu9PEhLDp65dyw886RBrfQeWer5QVqW7bQYZtWsrpbJlj5FG7/tAEku
Tfngadxb5pfezZHpntVE3fcFvhkL7h0QZR2rewdq+dYc43qN9a/JcquwEcRplBM/baoXEJMKBNAy
HG+6BvmGFpaYUjUwU/sqwxjEK87Dgq/jBf7oq4776Ght/lrD+U4L5bWYLPiRo/VFWn02FyfD6vW1
NLsuXBxTyb5dY5cLRmN9h6xef9+Hc3mfK9hiIu7VbFs7BuIY51gKhsaIwD4Hrwy7nYWVFXJr0fRo
tdF00SnyUT9ipQMBgNwG4BUeAjSh/703JVXU1cr/1TQj7T34j7kSLKN9HlsYupn1lq1tdkFPN700
vpVe3Lo27yZ1I93ScxvrlgDp475Pdhqm7SsZ/eMatzgAbhl6w72++yNuUBvQ+Mqwz0LF6Vkr2/EM
hW9q9q1GkUTK/tf8y63zA/hED+1mT4V/Xh6gXciWGNkCYXSUnePjHbIdLD+8DHPWYlT33spHtZZW
pXoJwhrjtkS69QKhy904jjV/GfL5zlrKrWmuvXRVE73lrjds3VqL7wolmzaNa/7qF+s1VzeHLfbm
cIyWphgbxXH93OSOdSddBlS3SxAa9zLmuSF2QOK20xTdW6OAde3wQZsdT30toPJfKDinq04f1Ney
ysicKZq5ltGuMazlvgp3dlBrr5VqYGjaOMpBRstw5i08u/PduFxq1pKHwMu8RxnMkoOX9u7n3x/X
wyrkkX7KXC9AF3Eo37pfnj4or+nk9w9klL6bi2j/bGHKGKttt5GmMpkarOkSxHurFW9ON/xyLMU5
Us5WtuWY2hunGCg9zmaOIHSn2Sz3prJfhcjbsunEjxBnRbKxQWBv9O5okNcD6p9BJBowwThbUQdd
KIhH9ibLqeO1mK60ZNI8T6NAVupvYs56NW8F01pvYbvbJDGWz5OhESl3FohKif+qvahjd9bdXnIL
7oTbo12kwfpD9kBO5TCRPTiz8l5Jy1DRu9jLaaJUf02gC69Xka4P2QmKW8B4rrrFNg+fTYuH7pM6
uuZTl2GGnOmqvivTBty43eTk+b3EOV7bmZOeunbWLhLdd2UDo2Ad1KCc1045IWZWOJdraN4Chylb
6sgSKwckr4qdZ+UFppx8mp25f6Fe8n30WhI1Ib7oKPdcYi/tWP6FvBbVINMPWpe4jxISuEawjfiK
ePlazmOwHBZCy2GoTXxRl6vIQOfO/mJBub11Sb8WsjDd+lSm3toprnZwBkL+nGp+wqFzWGkBWr9h
np4kIourasfvMTgBcJifEhUDF3Lr+f8mIsxgJ0QZG27L1bh3VWeTOhrAlutxMqPoaCnaywe0y/WU
X8K+yI3gfEW7CIwltXskpEz4ZEqx47GffrIN0GgW0k+/2ogUd+H/agsLhfQm7z6zNgXe45O7R6xM
O9e1VeyCIs4+8cx+n2QjDtua/i+vhr1WZiqm4+yutkFlzndDqb1P0hUrO1swSa5MfeS0yl1GgvrG
0f+Tx68t9H/h++OvmdWrBHl+foHKHU+1euOHpfXa9VCiTUMJfulIJfM/mTw5AIq7qqzdb66nKKvJ
C8qXvOdtAQgHdbrUR2LfHYIDNqjOg1wJPhDeI0GrnmIAyqcy1L6Xw1Q/Cbs5XboQVLl2iZW3RC1d
0pJQ6dI7rKkabmXpmrL8r3zEfRKGyE4SVbkku3pL0bc59zd1JxZw1845ib7Faescb7mvoeQvbfN0
F3j1qbB9fQAAaEdAPq/aHHirJQfMjPda2s/fee9GOK/3812UmfqjM0BzlYEoiUKI/n7y7DYRuaVa
NZC+YEbq43QOsfRLNqBulkNkPtSTHb217BQ0NKhWbVPEmJ8b/WM990dhnfYL9bTAmYc09ov02FX1
klLKuxce6pSgEwKduj7JYDUgBFBlprOTiVHnRAf81gGLLoRYnr7u2cxQXJO5yHHkW8eLsVWL3R9N
pETHa9r6N+U/ba0P/df3YGPo174rnk5gljwxfrTT/ClXIDI5bRhe5BBFypeqKqz9rYtlVHiZEg3B
k7wAOYMeAJgKtfDQKb/ZxRWGsrO6Njsli6Gc9PdO8cv2eZwNs6tu50LzNiisxM9yyFoedkkSxydn
ye5IX2ocrCZon6QxBVp6Dgfrx23OZA6fHegd4d8JKgmrQUy6lFJ70yAavkR6SoUAeg2CaCULONMq
ATx2PKZMNXyBh2pgZpt0ZP6W0XSqIJMYNmoSlD1bsbtlLZcBuSxcVFZG1Gmd3vqZGnfVYgg0Vn2w
aq3O/Kw60bAFJeDcqS5cHr0Iul0WtoAtI/8ezTh9k8b1tNPHDv5RVycP9gyUbGnJoUgTY9V1VDik
6Rixd4LhWK6kKbM0W39UmsS5SFdvhd3erVzw9stFlDaqsV07Tn43P8+aXb+4akX6ptS3XaBPe3Gd
zF3r0c+U4Smdk4pK43wQ10m/TcaT1lKwkmaVwtWrF+na/+8kN4WrNy1lotuknKozrypdW1fo7OOS
C/5B3KdRQIuOg57mgOBrvKm9pnmBtG3PKOH8GTs0fXScUUlcBzglvHShJbFxbJIG8myehIi3KhsV
1F6VPwJRdLcx+os72BQ9D1+8UhIXw5C9sI5SAy/xtLaPMmCHLfXEG/+I+mO2U6B5rj6MfDjlW5+K
hnyon1n/XPb2WWqNWafhjqqSbWsFmIDDPv1wxbsb2ed+Du3HckCe1DeSnXRbbhGfMz8c1wKDT6fY
39gNZIffk9Rax0w0x6BOm+M/J0mUm6KaJZMis9LWqdqP59ABQK+NCL5ie0Iqv0xe6oWfl+WZcTAo
tT71MI5ZUxGC7MJKo7D5l6cOxrrBTPih0COe33qR7wwYVq99730elKD5ybuZ3F03vXkjBr9J3ejn
MjIwqQX/tInxK/q+fDBVue7glLzQnSyBw+SV2dbS1PF16hOMByqA2vqYI5FnY/GSNWp/ktG5RwHI
jAL/IqOVGpwaT3efZNDel9PYIvNdJ8+sxY8SYlZNch/GaG05y+XnrNFOuc+WTabIh4edqq8rMz+Y
bmp8K33k1BdTStfqfiUUlj8Xbo6Ki+8Yp07BfyqGcLv5HTpMrfPTJ9Qha/KfoU6ufrjq79B46N6v
qvTDopNnf7hqjvavriflM0YWxU5vc2VPVhIPa1CrehiVr2CpjDO26gZGg0P1NUs6srphmN6jiZO9
YAD0IPG36eFAGGr0/zm9tsf36YZppTJdLut7DlyrBEp4U2zydnzXGBHhEM/oXIw80xdpNbpvGiBZ
CIkqA9ZGN5xloLVnSEpj0eJBPfEL7KX9HogjH6oJLx8my5zfV/jjI3VcSTcBaLjrdzEzqH8zFf9V
PM5U0yOzRV3vz9NkLIYVVrTmRsYzTQnOcjbr+vvZre/DbBn2XDQF3t9X4GY3lZtP94kfeNgwa1tp
3Q4WEPl72LjlNrWNiScUsWCF+Q3JqVPBnrSm8Mj9NN1/mBb7CHu4A5lmoFLyHvZHNGo8lCZ20pQB
Qa1jSP9x4Ppezhv2Jl4Kw+jDflU63cj0d7fLyiXc5dr/gwEJjnjKjV6mnDPdry5KygqpDPWTtOSQ
qwXl1WVQDs0U9Nikqebmj4HcVKuL9CVc+ICk8gsyUdRj2wKmzUom9wVWK5Mbo7a4VL1uh1v9a7AL
yly39i0G5inS0mFcXycrddXsYGojHbNY0cpqAvmkxcRnWVhkOf9KtRGS8JAFiHTmipPB16kbbK+1
1L/O7P0iOZlDv4Ns21CmwxdGzGGuFjA+1KxQzcKTU/WZfifDVzOZ63hdRvcdFGvcw1I9BOqfx2w8
I0wzDDKbZ4Banr32O3plqEKipIxxe+i6ygcOsoRLoE6u8liM9coah9beSXbdVBrUPpE62EnGHXT0
1K2cJlKBPS+J91tQ2tsEhblT4Nhbf08rJUGmxsCsLPbYDc+t/vnWFGlraWYeJEZ94bTcRkXa+ta8
+rtGIaj1nDwKkppF7j5DbU1f3WfbHppXLXO657it9qUZN6/k4WOss70v1zHVXr6IqfJnMDijn3BM
qYmQuGJmExigE8aRVdIyWo5kXBR96PcyWiYuzz5nYumwjOYGJkBh6Hd3Mgqb5BX5xB6BMQYXCXr5
YrFReMe5VoZ3US6pwUZdg9xm5Cfba3MR5nrX6FpGnNJ8HykjDRQof+l7559CXrcRKfzK1f7zQjIy
k+VcXz2zlBjmPa7Wpv7dU92nybaBwtRuuTEmdCWlCSfJfMwayz3EKNGsjKUpA2qqdnD7f0jjFooV
6ivwVeckXeNsYZ5o4zFjkeE7AO31z/bg+mfdKhFQNOIBeARJMIjpI0bISx+qn0fVKn+i/rIWII+q
5MqZzR3iLwuAJ50R73R6NndI9BhvuT3+VVqa8dCqbfl5mTRUbbO2x7Z8sUp147tj8b0Cq7zWEHZb
Fg/A8qgQ73T2pJ/U2A1X2Pa4iwIHIZPdkTPFzQX/3+YZpg67SkQpI5jl26Ia+kM/YTjfIJDUhWX6
VvdKfI5jO9xIv0xPYNDkTqwj3twsisvhGCBDbSG3hu0tYmZOOr/6nm3f95V+itVC4wSwnz9oyUGL
Eujtkr79PeqDKntBqzc5zMuoBAfW2LD0GGnxQg7jGIrTq1IP8P85ufYwFDZLz8eYAaD0tk8VnEgy
ZXwkWZNSAvE14NGQR9jXw/pK5vhLF6rjo1v5mb+qQafHhh5fpM+qKF0Afzn35OW2jm+oLGD+qTJe
i2UmKp8sbo+3/pgnxgWiJEbAlCFv/Y7fbSawRDOW7EGHXFeWmMmuDdi9p/lYof6izqtmgbT8R8Ri
o/jk42Nxi9BMlMD1NNQQ9s2qS1+jffCbGCqEz8Qv/C3aRvqVXXpjh1px8EON2ukoJFLpp3I/AYvJ
w/vYLH5GvT5/Z+MKgaqsikcj6JW7IFacNXWs+bs/DMcxKUf0lzF4MYzU29WWU3919XElAUqInXUZ
1eGZVIv6rAXxQyd7NpA2ILSrqnvR/Oq7SBVAZm9Y4ivZUxlTBvNNtOjaRcNgUJ4TJ9S/6Wbgbct+
9I5Ime+vPvapQf2cstOwRnIi/Zp1QPhFmZlsoVma3t9WnX3pM7P50rQISGRkd56Q2EjAtFmw3PXO
PscqdjGd59lXhedyTNB4LWa0Fyk5v+SjXm8UK7F34bIfNZEWe6xUUW2uLmk8tNvOsg5wmLtw7Y3+
fHGQEYGiCPcPus1/Nt1W3w28Zj4ngEURJPbnPQCY5FuOlFSCCTfp0ZSlNZqf0s3NGFL3+fZH9HKP
UmF9USCgroesflCtEP/z0e88oB081K9t02QvhhlWf7gBMOKg2Oo4wT1IVzNawWW5QKbGyipRdHXv
TXr2GCxun0DWPrkdP9lUa/JrV6L3/cEdUIjzx5yKJL/OBOgEqjrLiz4mBYgTjbKV5m1AmhEKcGhk
edpuKJvwIWZxs8K2COqxTqHAyIAySdOtcMlWEn26w4vCeMvMnzPZhlcv17a2HVgNYkCRhtw79Mlx
SoCcYK+zl6al9u99+dLnLyFRo251cn2bYXG+bQfFh3uFvoCbWOaL9CErWiuN+yw99eDyIC3YJVpF
+Kj1fXgHF6w+2cDNkIwop2+WHZ/aeAj3jUmV77UZUJDQVXxfATFMe4RsIzRgdXU9G3H/NayTxzQL
zL/HOFrroef/8McOfa4mND9VSjlufRumieGY0TpvWjw6zfI+Vm1cxihNJKvAN5qz54T9S9Ca1mGo
1GLtlyCj1wPw0QG0/VOa2f0L1E9j41kOjL8QNsoQohOyXMrHS3w1+HAhb+SByA7cLW40w1qIATJw
ZRpMtrMNnJFfE+/wS+aNa5TUeW01GaRLiO/++UO7Vn3KCnaylz45WKWHV1bCDaKX/oM3WzxOO6s8
hdb8LbCS6dHpSx647qDtQtJOF4m4htXsWOI0d7GaJW6wI30fmyqexXrQn50elerlfpTbUG7P2GQd
k+iJQwL/n1sTzFl3zpr8QSJu/W6sqasYZO/1zpaBwbSS86QfvEg7kVcPLpW+2E9mizrtCAKPcqze
DUfy/Cfpk0OyjP5XyECt8A5EOkvFmHK9WtxfOSwa8lF34PRWfRf+BUFH25WRXi6KOMFnZOc9/I1I
0MaINX/qp4UdlNuv4dKiGpk+u9CSZEzi9fGHiRb2SxMOyidnSh9ydP0fZMhpkDrIddSZJVw1qbfb
Q+4B+OdaqgaN1V5E+WR0srPw4GZOuVFGMpHvgiLzVIcoJ+UYNih4sWxitQ82FVTjC4r/xvWAYAr+
doqb3eNDMR1lwG9U43KLc0NAs0alnq6xt7lBW+zb3DpLAVUtVdJAjs+DZ6nIOmO8r7MWVIbqODxy
TWDXdI9Rq1/mvi9W0pzRZj5EHTYD0kxHwJrKmOeANDLt3rLB1vhVW6xkfc8yF3malDzgZEN8vjZv
C/wP7Q/7g+sp3CBcg3XrjGVUcicHM42mZuWOFYWgtkXwTNoyNPNGotLZu+a2ih1z72kpZDlc/85i
txVGMJZA+8QraQ4OPEBEy51jf3LnccbYOzHv47wMjFWBowpAJd430hnEjNTs5u+BVhSXq2n2SGqH
PVDpO5i4OU/hIiU8LbUEOYulliDt66n01qIPDG5/3C9zdEp1m3emchyGICx43uWYfL7WKIfsHb/0
tunSxIU53fhTVh0nfsSvGMTnS51qvkizb/CiAy31XLqIQngNnqDLpMmuq4cgCr9JEDR7tNCXDwgR
hTsWIJ13HnAgbEeq/KI3KMeuo6a2YAJ0b4KsUwar3PSR3x16WGeovvjvzdtoUevdAXBosM6TipfB
5NX2QRZ2kX6Hpor+cF3WDYMWrPkB1ntZw70v5Jz+YNVdt5IJ/bIclAGmxlZi8HNaVn/gAIJ1OSc1
LLKqQKaG1ffBJ5G7cmTF6PJUepimc27XPMj6hmos7uU4BXYbK5uSvZiZm/rgkh8Bj2CInTn1D/wX
imDrqGnA1D46LPxlDEKXj5Bvkf9dQ6F9vH6IUZAtdywszeVryhe+zbp+UYxBeVj+4HdZXv8OiQp6
26IAG5rXv1ymUxqLDp7VPKVmd4whIvHCXmTwRBFPJO/wY1glUN7uCnj2/+jjLYFs7pVNpLjD2gDL
coicziCbWiqIgkVpAAXNUMpjs+Aib03558o7x7yOCk7y1pTRW7DNK/TN9d1vnVc5aHQ0O98ysdcw
rGRXDrP/FzhG1nPAiCCSwx+qbbO5R5k2OuqVGx+Lbqju9dDFqyA2vU9B6wCVxr3uqPspWGgb5riZ
uPFFoKO+rSY84dLkImhRGZXmvGAvAofRW7AVqE8QJ7H9bqwHBNvrJ7aJ32TX05KpALQRZEd7KKuv
g32ijse7DQXQYSNdJd6bK8OO7aOupO5W65y+2MPvwgQ3o+zNpn1ijg93cKrxrZEbS+6CdNggWRu/
3wY427gUnvL5w22sgAJmU8Y0rQ62oVrAPQd9n4Ubq3KSQzKBhec1riOrxfoF6bB54KFZ6aBpUEtC
EK+7q039Atqh3UUg9K+7GTVKgQKSS4di6lf+4dqO8y66BytOQheU5bVPJsJNOkfT92wRsBApi8no
3qYOUKm0gFQ3T1lQveVjXJ2vchhODRJtafqKlh4Rh1MB7CA0A7i7dTeZUqorQQz8CR4AeYQej9sZ
89YdUCGN6urQhgWocL/GliTTFXXbo2D3nDS++uxA2NXcHu+QpTWUPMEUQ0fJrwAusm7DulvxpFaO
AUWQ5yg3nfvlejlW9BtnGHD02OCdAMAtcdRHNgdwxrT+kxygwO76WPUepeWYlr5SYlc9STOYVGtr
tpW/lWZeV91pNmZ+w144fNKbptnFQ2OedEzhHlj/BusxJNMNNCwB40yfHAAs6tsiUoe1pmnxQxPb
uK2wzByOfdS9Sd8tOFCU7j6reZtbNu/0IXkAVj2erpPID2h3CbZ3girqx9E8FZYSXFljAg+S5hVk
1NgfR5t/N7ulWaKZvM4Np7xLfC2ZX6lnalsU7njXKz65FXR3FjUj39mVi+bS7dAtAk0JGJsdgLKe
dxejilpT4pdTc1Dti3X/oUe6ZZZcU53g62gDxQ3IzOCBssS/RKHtXbCo0nEwqaiLy4h0popCUJ0g
hQEp7GyUc6vycyK8jcJhA4RIAXbTe5fbdWTUVFm68kZGh4zYD5eS08pvq1XokCGWpsydyuZgK0az
NycPRp3TIAtJHcE22+zYWLa/qRejJX8AvzOgsHDSzZY92zRG12f99QGett2af6juXn75clATb+Bn
UY6763ss8oKOxyvV2yjM395l9NkGWZfS1LI1mNz80C0gJTlAqiT5Mz+ledc+J5VTILavw89eAhIq
dndV17uUROfwWE2W8my1bbLkgrIfgaI/zuD7Xq0ij/cFwtlp7rl7JWqbS8w+eDultgkOw7IX5ZT+
u910p+tzWo/xRM7C5meDEwvsXa4RturiU280D13Kj2tIVGoPtoLtvYMqVpXEWBWrWAenXgc+1HKh
kNWpe8ooSOy7wVef4OK1eLd62bfBiC6yg2rRsChM8iKWDi4MzOBXdWibrZIE/G1ONl1c3RsOgTnX
dzPwnLmrd1ObGayJQYsvBZPrmTRl4I++0rcVtK/4B7oNVErt8y+/XEHmUVSmfbvs7dpDycf6Znq4
DcplNHVQT07zdxlgbJwtjsfd4m489167z6YBHdx/9ffByHpSQgo/W+QGs09OHEQXs0/740yGmiUh
JRbpk0PBfvAiZ2nsGVgODl+l9SHuFqIMVFMTtUIb5Y/L3K5lBZ6zsfW+IG/HB98G/mhqU2usO0cp
N7cBNRiitZlk5oaqhA8SIEJHHR8hNC90VAt0zzzJgBxUWAoI4ctROqwlUM54whTnCrlsd7LX8LT7
taWygS6wHwcosKjo3DQ65Oz/LdQhw8j+vUt/3ObdppD6jtZlCCbVrsq1WXCvBw2aoQudLyD5+2Q6
x1hJ0HydoepFlpmftdj/Li3pD3VV3enI+22kTw5zlrZrYCITQFauI30ZvEG5NJZ8wcpxASlMO8vy
3RMsgvrsl5SC9ZnNANs68158rjzAPFiKJMPOkhHS9tHdrKsAVs+dhd1JFd+bJSmAK744V/8ex47V
7MKyT3V9gAHtt1dksuY78yHTMWGRUUq5xb3uKdeZ8cLhj/qLFlnGpi8Ld4NfV39v21Z/j9rlcG/G
5i/HtfKDdJlL/3VwCUvLbWlrwTXyNrFngXNQx/KLXEHz+W8lk3xKfxs7m5PN7RpK94p1Civ6ZQ+1
npQSgRADy+LcQi8kb/yDNmlgQAq1If1quGvDeJKFZF+YazbAyYtsGXxuSmn5veKuTC0w+V886m21
DtAchuwyjN71lDo+GlvSez1tYl3fql6NovEtijJjc2bpOR2M3ijWNxh6l+v9LsdWYW1kgBxuA3qO
uVJYVpc27F56Db6dlBWH1oFmM8FZVUP9Kp1269cqw7tTIu3aL8VAKST+7peuth5ReC2BtN1KtT3r
XgeqDm5gmX9/6596qilAdcbtrU9CdDRqAPcoX2/9nkuCCOcSjd/Vgo9FZ15HNi1PvtoePslZ7Y6X
UnPMszkrxtZPxxmV0vTVJIv4cwldwD4fQgc/sc5ANN9D0SB7LQvDltAAZPWOX0bZv2K4F1dacSdY
M0GkwafZj05lX/7dZSosEQR5Jv2W6l2jbl2/J95AakuXTJxT7FTCui+30wgcdTUpY3UcVfX+ZoEC
0Hi8iIKY9HmJXR07a+Jupk58nSWncqiqqD6O/nBfL5pit/4Ee4wzPMCNUuupuvKLPryf2XVtWqPs
Pna6y4irmOEh6tOf12iEdhYX5UWYy2/hcxPhASG6D6MUQVGZsBxaL/2isQw+3PpjP+t35ZIVGLug
uMxtCbpJKdZTQ3p9I31eEi+mn0AV1o1VRagCEHjtzGpeOKtiQtRUZVKg52myl3E5DAFId4g36KnD
y73cBt5nm5V3yAcf6k2wTqIguZBvTi5lH45Ufn+3YxeTMQgSxar1yuQiA6MVwlCQ077LFzktGFrX
ifUSNOVJ3m705VeEdMHRT+EEXS/pyqnSLH/nvz4W3Yc6K+pTTyH6PKlzdu6mMDtLU86kjyUKelD/
FYN3BvlzowX3zAWi0SBOTm9X0F3NRd7dzCl22QiWz4N2Vvumuy9SOI5DliZ/NcBL3caPflq5Z6Ph
o5ZP1EmaI4ncfG/rhf4pctKfEmHn/rnUs+QLUuQo0bAGkpzHuOhVIYuDTxd7av3fTXVpgsJ4H/UM
9z3YsOv+iFKozm84cvV4q4E6P7mIYe3LvByA56VU2SIj+KYOzsWySElHrbK20Rv70SbaiH94Xn6q
MCzfTl3q3elTBVDger3GqMt1rwJUddNlNxWjoStSu9LHhqpCx2HZaY5LjFLRvuryLoFNDUpA+nKJ
kTmkj7BKv4qtWpQn16nXhMqGmqS+AhGo7PRl9xP5FXuj5WxC/3Cb+JH7HmggN3pQ9ekHi/z3EIlT
i0a/RH0GDNDqzZX0ySFmt5q1fX6WVjTr0E+b1N62LbS6EUzVXRdFrDeK9ogdDKYuv7skQgYxJsko
iz9nrHl2mWeZm3kkz7A2O5Q/TW18KhfWzdh0i2ECmEqo49+gH+nryAmqx6rFS3NQET7wuwbbkihy
1kEauV9JoSKyF/i/QOttgmS6y2elxqkbYmpY1OOl6ysUDIXFGqPVFZV5s/zo/umTQDkog/4qc2+M
1+vc62UyhFCWK6tzyd0Gu2wtOAxBbAxJ9Y7/lD52DA6rd/hzoDlukI5bU87Uj1EfkB23MLTvbteR
z4gSZFKjQZ+3nhTNRvD8R3YsNrsN/uBODdcJScCztG5/Byjb+QSn+Udk3kW6Xrw2VR89mnnzlsVu
8ZaQLz8GAGY2IGyLN7sZFZC4OQTppdlZTbzS2ZfcS9MJLyyOYsprjrJCkxUpPCuy9qLVpE0WlhG1
/cwzXHnwy+xv6e5hM+7G31HIEn2I0ob4Q5TdkgWOPG/6wgvwAib5/VqdEfwt+k/Xa+mjuisNH7Oi
ysg+FRizbsz/Q9p5LbeNbG37ilCFHE6ZSZEUFW35BGV7bOSccfXfg4ZteLTHu+b/9wkK3b26QVEk
gV7rDYkf7munSFAgc/1TkGQ2gHJG26awHhxMGMWgN3XFdv1qW+Rw8uJbDcxin0Vpt29ggj9X+uit
2km5fOh9NGdC5SNk9Xw7joV/zhQvADJW80aZ/fAZ2sIcilQAiqFRqj8MrQ4MtKlcHtSmhzE7bONV
MdW9YGsCpvYRzx1ifFrtFKXg7LuHziLOqu1DFvn+tu+cH2fjr7NldDlDoqh76EG1b/9FXDaAguA2
vHcTPVc/2H24pio0gGUE+y0jAbEO0TN6a5XkccbJO8V+tPr2e9pVn0oJMzbVd21wFZ59y9F7xzcb
GinWAAG6hayTSXKx0pPJprfGnGNVtsB47xvzaS4yt+yQDb2pUQ2NqnPjNNUL8kI7nuwx7uz0Zt/q
pbqzgce9TaClunC85wBt6otZuhS7pn45HrmrD0UBnDbrjhq2KQ/jkJ7VrDBeNTuQzyiyTwLDGnn3
IesO6JqCDp6a2HzCepEybS+Ch6KjSmvi2CJGvbx/TFu/uYlBXd01/ONfqzbDrsr2n5GVls96O9gZ
TwLtsW8tbkSpI59NTR8bSuSgfceylIp6k0FeGv7yor7cerJ8yMpU3dUabL7YwVILApiyCiIreTYV
o38s0mQlBoU0DjSYz4ZHhlV0KQ64w3L02IHr3q7Nq+JjwtbNLtvhEzhcHiVc1bgjN1LdV/3Adst2
vZ0G0WQ7E3D6mCQzydSnRUtE0HNyo6Xk/ktfhMTYLkUI8fS7YIgINNqkW0dtrGGfY4CUmw5inhu7
PMNQWDXYpWNjusm6ynjWTEW664w4x5TCMJ7TshpvyAUeREsK6MJ8Ogua8Un0yEn4LOMECmicIVVB
LMUy/ewk1lJa0pElvoE70RRXqv0AuhNWdlQUw9SUtwPl4sWkKcLTM2HDBXYuS+JxB92tPAOjshFO
m9SB8M6d6sXTeG+XqIRPnSIolODI7OSpLTrVJvwRM89ZItPYJNEzRnu89aK7uFXbmoo3p6PH5xFQ
oHJU2zw86FJKU4yIg5MaunNQdNU6yBTn/aIZ7+B4YDAuTqEkw+xTWny0w6Q8vh/+LXI+7QJL4vY4
DKu57XbaeIdWwyCtxalbYH+BidcxNX7ZXmpdmvmbLC4Bu1UqinpTyYsqa+7PRpqiLQ5zpDgtW4hr
ejWGK0G0EX1ontrVDumCn4QIDxb3jEFrpHA82EP0SSDF3gmHqJU8iMEZW7aM/hpY4GfLoJ/YwyEO
00+zlaRYWMQ5koqpS1LzOUDNCnwQj/1yg/4n+TMp2tpVzHenai5ar+j3cu0Z9zDVUpJP+XWOUK3I
22H5PqyXEFsp9PtlKdQO1sAsNsaYsKXv1eCkk2NYOYPUPludFd/CbDyKQdHV9NnWdszqoQjH9tnx
TGRiHIhVYnDokn6boV+wa3q5u7YqxDPdnOTDnMjfilI3/qnZFegryYTpzIjPXh9A+1l7fWrdC5eV
1gEW0+WDg1AY+mDCfsVzcnQWVUc9zCFiYOUkTXf6YQMxWL5ybDEzFqpjYURCPfMiey2amhn1mzDz
ynlUbuOba3bKQxZI6oOeT9wb66e+s+sj8jBJMeqtj8zRpO8smu1YDxjxQQztIPujs40UtJ9uhRT0
HDpAfwGIP3y0faQ6NcVwyUUS9m7FKQwPpOHjIiydK4gAaaHJ9w2V9aSTiotuaMYTtl4RJGuqR4Jm
0TYIY6ISMw96E5vCtLvXvMnLiwgQ8WAAAdBOtAwkDPSrM3YXJJmNJ9GlDCROHMVfVRlL+xPOgu/2
cINKqKOph4qOOyExxEGXFevYRMG3pUucoXe0qfTGvYiWWCPnSmvDmtgX02piAPc962hU0l+iS4T9
mq4NJObnCyOKnCl5OcOYEX4y0S+EEyoAyTMOeUEzy3lUnAf1w2/I5AXgHE1QZwRtUNB3y2Q/z12w
zlFCATbngwFEiqxvlJ4DZVTustxBkSSe0sKKcxdNXWJceIE62QgOXrQZlO1iZ5RfuGUod3OxzLXL
53fNRoNEOo8WXfrcaFZ0jHtNfagaWDj5BIYXtcW84NNVWcHfmiW8HVFqFMFiVJQayylYzEWN0H2U
FSyQAbcBsKCghmpDEHyaUigwL0L9Ile9MmwGs055OvYKdvCMSIjdD6t5TlK5a1RwFZF2meckPFmt
/aREBPiYB9mTyCBFbQNBJ47C3cyrXtoiFyVixFlqDuWaXVfwI1C0xUQxvGSuoFEDeBOpIzMmO5vb
FINm+SEhR+TKhn12FTs9IRa1i4RgUefIjxOl96AJWSLdwF1tnocW2xHg3kmkdkQyJ65qDX5k3hyW
dE8R9j/6fCNk26mY06er8ZuDpE/t6td4o5i0lzXet2eeY4KImOk72i43eEDKa/vVbfCZFQefbPhV
kmzrOqj+faUr5QlrOnRQE+Bv1wGjla2tkJ8WwaJPnFUZydWg3y/Txdm8boV4C1vFchcVJBVBrHAx
cWnUyV5bp7lPOlnv/E2V5xpGdYaXk/CLszv+W9mdOFsOhev4P4bfxZRmyYjXKtGpnUQWpxWWEC3A
JE2t4rO4Ny03qKa2nmTZy46/OSOL0WlAI4lz/AGynoDbvwZwhvs5Y1lKAhQhZoj7IroD2aFUAQ52
meLiSh4F+C438ctYoBFFHu1qNWjxj7GsPmJFt1ZaX8EYLj1OGdpnEVlU5AejMXkQLZA4H5I+L+d5
GIqgE46MzJ0YxACqQ1kHzUaxamP41sZuERUQo1KBgL0z4aJEU9VRh450FHcz8YKCAsErtWR3ODXF
yy1HVJd9e0TzKUjP8J1AGiHHFt41rgbVIHHHnx121X9xoRXufgtSXDm8m9tzpONyx11jhRaS45KL
taWm+rmoe/2sxxjzBRRxsqmlSAp/Fvjpn6ciRgV/j250HWxFc5k8VHnQrpZOJyzWgA28O9E1jy7R
kgzUT3IUPv57ayBJ6WC/dvYtuUU8zm3ns6VPr0r4TFaMUXSY4vX2x0AxWW/vKPDhYDSt1CE0chyk
akCtv0FYyjCOPkn+AVmICF8Gw+zmw69RV+E2Ro2KgVAEggS9g5F+5gdCq3aIhVawWjL/yTa/qFmo
PAh4bq406U6GubkRY+Lg5F/lKUA00Ib9ESDiPaV9MX2yvfVm4oivlr+6xotlozcJvnDT2wHKFtHj
5a0Qgfb0l4mzUbVXKvoGp6V/nrG0lc7blF4SPXamrQwHZ2iLY52OD600cd+06hoPZfIxTnAGDBTP
OVuWV5/tOiu32YiXZY4QWYs2zlrDd/yS24bx2A7mEwLO1hulVg9MzGgfO/j+HzCoWlXjaL0lWdPv
Eyol4A4IM8HVOSlmN02iKCc40pjUT2FBpnzKDNQn0bslkamidCTioXKGKC1G3QX7nM1ggAFv3eBu
ptb8dtr0jr/OJcRyROcMrQPfHP4eOvfyANRvo06WDpqOkWAHD2GnTUVzSa6/27Lq3it+aT2SI7rY
TlM+VBZqpxfPDlyYNIl5HhPQDcC9YMgPffhUBam90hw522KMOKYnGW/h3YxOaN2B6levfZDV1QCx
8kNoRSFKRbjZknDVPmh1Ye8akKqkrml6ndatTAV3oC40KKlxc98OoTbx7knp+o2N9VSIEBj2cjZG
7t4qynm/Bof0AoJeq6ooSy6ne9u20cJ7x4q9Q0jp5qT4tnEHfi/au2DFJ5ZJuUF803pBoKNGcdmU
4IalxgZitMGzSEv2tFDIfiHhgiOYOBWHsFIL9khusFn6xJzAcrRVUdjN2sUo+tZFinpt+SVa0LLi
rJNdf9PhIcne/ieMtlUK9dohUi26FsisNITBb7FoA+vHAvzBQejPeRmOyY4/nBfBuiGYlO30Bped
Aal5XOtbU96I8aBwgUT61vd3GneiGY9hsk2GEgfWBQ4iwB8OinprMN7NVjTFYY4ZGj+boIGfa7PS
WxI5gEl8U127E3wjLgBLh+yhhUCpOKQf4tSVb0uHAXRlKFqJjAZyqELxFIGHce278jDP0ydNVICO
5k712wZODU3Rl+hxcRdZ0pPoElPhG35K9BBZosQDNe7b0muHDP1uHJpqJ5qNCs66aFFgEE27Ul60
xA1uouU8Irisv0Zu0dwSpXkqjUZ6DaveOYn1EEtBrcxHVD/qHsaqlb9OJ1nmzSf9f/T8lxivq+qP
ATm00fbQ4A+LVxMA4FaDLn+OjS4921EAPgww1ktl+187Bxl/De4ySuDFlyalLD5qroetUQud0BvV
g1s1KABnUrXW0Wb+nPPJ9ouo+RaU7qfSTpur1oC6Hmw24aGtJp9dGN+YO2nGvWSyi5IDC9AIRoCf
Zc98ccHPo3DVokdhT+Y7ZZx+HgJ90wMl+2BSXTwYYGT3BWoPb7pxEwuWkmxt9THtjqh19y+hD7lt
ulAuax7qJ2WDB2LRP5gOkGwHiajnyOuPtamZB983q9UQ92xlqwa0TyPpW/HvFJ8J8d9l071Lw0a/
zP/r6bNiBF2DUF6vHpa+0o+8rT5QhZfFcuWv5Y1xpNDjBsfZf2ipNYYdLC97VPaicrj0z2XGabQb
SLSKUa/R74FdZZvKk/PLEPv9Nowz/dnKsPOT1dD7KyHDyA+S/n2s4puXO82bpuryOuXh6YFaBchn
viKnxtSjdaQp6r1uuMnKb3X72QPdsw2dMTknRRKcEbuRtrZsqc+ZXVAFLgrrm7dBxih5Qe3k6kxJ
Q3fKJo41ulUBycWtXcfkEF07UeYRFNVpWyKymcRQpqBlInmiFi5loe8nWZ+lNDc4ZnSsexnWEmW3
pdaWjzmlrCVOjCwxookB7M9i3lLhEyMpBbkVgIe3rq+9tQBfCBhGwldoM9ipz3fUgF2XZjl+4SjP
nUSMQHMUkQxG04xuoqsPquoykJTDMc/CTIX7zYHbj4cfRB7tJV0prmkmp+1fUiipn7REbbdYKvqw
sQbtJg45vM2LmqT7Egm5uUv0x9ZwKnjCOweTmrboMnWMlPGeQLpsmi4GCieq92JJfsowD4GH5vWu
Za9yu9uSEa8vCFwlt2HS9e8Gt9q15FrXTdAnt2Xg77FiUNYAB7qYs6xFmNKm0BWlaDwjsjhxRsy/
skk9p5P0HFE5qd2nftsetaovbpFN0j1GefBRtpSntiudU+lUarqyCgdSQ9Vb7lau5Z+nImDuFQFz
bE0ylAJp2G5EpwgqXLc01liBZ8cY2Zfaj4DvKYXhnnP7CV6Vc8Edzbn0Hl65G20SVx0UbvqpleMW
UfZFdxi14qMIdChOA8GYFuhL+84r6wDjvSkuHrpga2i8SSJmhEjJ/SvtT5KRyrsSSuv0kNK9pW2A
NmiYfO2Rw0ITPE1uFnoQ+JF64jFmjhDgOdNSfo/IwQSvNGDwvtUGHwNLbyZFbeeCdW/3ajtoMtDN
jR7tcAV9O7t2go9uawybwumboxg1VO3IZ6t4auJGvjV6+DHLguAjLl3KPrdsqNsGRow/BBmV4K6z
Ku++LNTobJe9vdHZCX9uwdoJQSYJqhu7Yh+eJ78fW+GNVzYBcN3QuvJH46sUeh+aDiysMjGQZSN6
N1ZLtXX9b/Pw5uh2Cs/iOABa2dXXvfvaC2zyd312NdUku4p+cfb3QS9xfGBBU8g0gGyOfaynWcvU
rkqUQ9/Hb1aKEk2n5Mi5g45wJkyEr4XYWk1niKbCzKt8Z/NuQAQHXdbssUKKVsuMZZXp7ztHybel
hw9Eq5Bkjh/Hss6PKKhlm7x0syPOjYhkRtF471epuh+rPLzLh7a+i+S82ff4gqN5iAiuzF/yIodY
bNtD233Ow/SCDckkJ/taYK7hrUojus9T2fuMMZ26MkHAP7c6/BawyeyJy1Wrusr9fKhk9R5fuWEj
qY2+eTcQgQCHUkE+JZAczYRcNkXb4VbrwO/NfV7ramcbFVYUTtV7Sx6xKYikMjiIK4nOQUu+gsfJ
14CngaBJQdRcXV5XnerXuSt2bQQ5qjjfhIE3YsdCE0H4AbFodOB4PI4H4GETmEZR3a9AwVV+66dW
l7GbW254WEl81SKwTKJLTFhuhKEef7C9qNiLtL2vqd8DBbNh0SIByHOxOF0O78W1wrT6Ubmz6sdy
kgEysJ7M4sD8nJgyWQ/J6B502zb2A+qqR3NsrCsA2Io9oF1+7GrpAXcoF6tsVz96gKHSqmu/Smhn
Txug4ll1MEBsMaE6y06rnrCXgmESu/UDSXbUGBBNfPOSFFlAXfse4gKA+PZjXPbqpRP2E22grN41
q8JP946sJmQUEFQPSc8f6uknXfwuh5MpZaXoL+IHfvlZX2LFwBKL2tOLaC39IjYK8JG0A7yXLoqL
fBLqAPjSJP64tgpoVKJpKWNwrizvm2gNsMCeYK8/1qE8XFo3bZ80Iwn3FvRwlOUZbM20fwy9ecyG
C7UegXzupVgz7zEG2yz6uG5lwJgcTGdNjV+O4YVMjn5lJJ+Kvqwfx/Z1MPz6Go0eYsO6GxxI2+JT
7KuA5qa+ZcDkgWdVFuWPvno6K1ItOPg4fq+WYG4Wthv1ZwFdajLDxMXH+zQjnt7BmQSwqRo9/nO+
O+OfBoGfIgGx5XkyXYmqu2RGEmzMMVoNWWqhxPucA0x4MqjrPXsdNqbOGMp3IrTXIweygqRMdB91
i1WssRX/FFNuXy1zbE+iJQ4AYJSDa/JXLf/iQdo51eChIGBw9zj+BkgEhwqLVgHMNaMW/QjlrJU2
wRQFllGxeis8kqG0MOLoxlOhJ/LaRgxyjy4E3kEWisKJUvY3GN31o5zrwam2PL5VkUzTGfT73EUN
I6gBXC3AOPFNHcX32KirYkd1o8O+5Nf3en58FUNipqEgWR0ZUAWnorE8Nt97o+7OokKMbG25DW09
mwvMZZRFd9BrIWVN9eYyQ/xKce+y2IweKAFtGtzQQAVZsbtJUh/I0i9s7IKSjYfHPlONi4DMkljy
963QGeNRVlMgc8WTJYkg+yZn1a3HJ9EhxXK0buwKmdtp3A0Cnm+mcBV1JyjvUyF6ui1Z06Go7RSN
y20c9cZFHzLuWaJLHGI8nKd+0fDwcZ6hA6XDtyn3hrvlMLY5xLFQ6++ysskKqIO0za5EtDvPTiJO
dC0zxJnTy1SS8mtXacFdY/kFOFDExxsQU1jCpP5HP00+AQ7reJ9/0Kd0q3zs9aR78+2Jged60WNf
DsOuVXzE5esmuKud9lAXur7C5ByxoekQQ5q5Sq3l7sogV+YB0SdGM8Merg3OQwGezBvRVTsGmTEq
8ftMd9ID1CAstoyqfMhcHafjjrr1XDoR7ajMf7bDsktPom0VIKjWyRQv2tXEUir0FqeRyit2g0wJ
RTda962yc8Q80WMM4/bkUEH41FeTLgly2bc+GxV87DBUlvQxuP19Uj8pP06TEnJ6n8ZpkvMPk3rU
ubFKCGuUScmAl6qkXsnUrYsc/xNZTUnbh2wiEWHwLhCX2BNOh8aJAWybXnRY+jzgiQgWld1G9IkF
DChax9aA1V1M+0nRp6STxahFEaHCQgEiLQdxJg5eomHZaBbcMRT5x4DSezJwhp9NcoqT8nA3Ob0w
VwyIkGWV3EjiVa0D7Fz63q2SVx3CInkNz//nwssiltfZ0GjPS49YZ3mtRSlFx0Abb+/6o47N/5iH
4bGY/qO6OYFS4LrM/2/b7X9vamxmuq5sriK2Ub8NWhc/AEpsTzkE2NXsl+maaNYFemvBncRv01T7
8qZJ/Xr2v+zgFO46vbI2i4EmVK4TQon5lc20/Mhe5qhlsXGcIRICPDEjMIpNhhTRjKwou5JUgaMc
RiVAYypxlFWo1CpWsvVwXQ5jpw3XzNoWThZcRagYE90jWKF9WEAWWeIDrA9VAOcsFzgJ+Jhp/jIs
Vuj9nVhu6RZnmVL+vty7iy1Lgsq/8Z0IT3NlKbQd6ygF2uO76pSoRQEGfYxFwFTdWspTTaRLW893
kvVSzlpG52rV0halsWCK1hpX2ooLiVGrXCP67d4k0/1ixp1ymmttk/woJfCvokuU9MRh6qorDJjm
Ch0CGnNzAXRDG5Ys5ZZ4qXc/Spb/onfsTqn0W3eBkgUvUYmxswZD5ihGrXAstl5Y6jvRxJmd2k+v
GBsRrIwUsiWrzNZitINABgSLj6s3LdWWnQTuwqCcTKvwY+UpNz6JoXkxHFWckXuOaBV69SheVayA
ZidB+aHn0wWJp/D/0rVOBq0xNfGwDc7zKfZMnKJceBZnaFEGZ8RAavLYACYz44via+YJOvGPgzY1
jbEpUgC4dMqOZCL1auc/2l3plf95KkLnWWKBf2wvVxIxCtCUNbLPLUmIny/BEhcWbcsaZKwgy1Ut
ud45qqhZO3rvn5dmMPXl4xBBBlT7W6t09v5dCEXHuFrNMWIJMcfqtRA3FqxBpqXFFDH4bmnRtwyI
ODJFXyLN1nZLf06ytppfZZ60485WEjREQdKcQowQT+Lsn5r/S9+7lf/7Uv6fXkZc+W60Wl7gf18m
SjruJ/8U88dX46g5rNNhuIlZ8+XmZaAB/O3Sv4/903LvX+rv8b+NianzFX7rFVefr4iLGMxe0fEf
r+nfX/f3q4tlxNQqavAzWNZeRpa+96/q95X+h+snMaCH9/+g39q/Xfa3U/Gy/rldqiO/V5ZbsCUN
0lM+HcRZZxjJ++Y/hYi4CU92Emd/nLuELHHvrvbHpf7F3HdLLa90udofl383919c7f99qT++L40k
PSDQjej59Nb/8dUuA//zq5VwU4lgKvztP/0v/ug/vqe4+5EB+7fvybLM8p7809z/z/fjj0v98Wr/
+H4sr3J55/+49B9DloF3b/eylIkmWRB5iLo02N7Zq4EHiOvA7nltdBXeo+DKFWCHdPoTOqZtoNtH
WeJsRaDoW0a7NoTrMI0uA/MKIFkZ0QwQt9MyiDX/WFA0PZR61kjt4SYx5jhWVOWm0Hr5Inlpf44y
T0J+whrebArcdRqoLw4Gw8DnZO2+nQ5OYNrnMLZQvqclDgE0djb9ybBPvXBSVaokc57hDYDZIr1R
5mgRKKaQg6AqmeWnZQFT6rx7pJzfretoIwpqMT6gbu94r1WlmKu0G5u7otP8V0rABfXk1DyHfeG/
mvbwFbVmPIWmVhoi5gDt8F60wMGjHAihSLRybSQDhWaQWNWLn+TOCVYZ+gS7vCwmoynEsE6/nequ
V6rrHvjQj952ORWxpD8qxORCBGMCcIWAww10mlGZ2NimK+3dj57daK8JZs7UhfKnVo68D31t2yff
D/GBLzWEjFy211qf1DsxWuV9uw4iSTmJUbUPXnoKajfTNcFfUNRUpnJohsTrKgHd/hli21fEl5RH
Xw5RUfeDyQsh7T5bab+mNBHskxIPLFfru3sLBdt7TBhOQZvqd46cq8FWk5AWQGrmukTkCMNcK+Wz
6DEJMJFzbp27usYQdVonbycdYVLdByw9nAuJyVcXGASuUnL37CIMJGXBs0XmAZO7M8kGa6djen5v
OjrYvRodvZGEjOVn5gtGZypijV2CQSBN0yQdjUwUoKKpWfi2uwd2rm6QljdeTAObTAxa3B+j6Eru
Ry9KIQURrPXo6CagcLciOB3gyiChZPwYHcZiF7Z9sBPB6Qh9QEGhZSeCdV3XtqgYqPMoMNRmqzit
hySszMqyEm9jJED2IjjLCmejD7KyF3+CRlILPyXJO4iVY9WpNmybq4OYq2tgs7PW0A6mhGuXUfhk
/Hm5+Da16Tknn/DBMXFtsdlmjmkkPTmSgUXi1O3r+SXUe2q24xh+0LoqOBhREW/FqC9jNS+hPn8U
o0jo/QXbxr3qWd5dnNq9ym0fbixbcTEAl8rnBrLmwdY6hHemZqbVyjVN7JvUD+Wz1pTVczskay/M
osewlF51oGZ30NTGvZ5F2bqt9R4nug5b8jbtTpFjpliOJV/RAowea2Di+2QCz8dqDmsvGLpwB8Yf
nRXHUD60EdpIo5qUZ9FsNB3bBm6J+uSh4w7ZcwaXNLcAeOeVlD0bcoRiKCIIpziCmcX3xd0VWW8C
/dOuQ1zqaBGp+oMGxvfYmogriT4fivGDJXvtrvDQ6BZ94pAl6FHVkUNCaJor4tSCrDzF8RghW5YS
A2rp3FdtK58DJ/Qnh7PHUeuQtlBgXUTWSW0CPs6u2ZNcdjKOFmr/d+IghgK+unOzlpPPQ4UtmQ8w
KRgxTzTCwn8Cos3uz6qa17jPKH1gevkpa7I3ZJYQ6hkMHHiqrN7Wnj7sqCwUsGZOy0GNqgr/6qmz
dqsfIy556lXUoB/Xa1l59dq/Gr+NLri6v/Wlk+zNEuW0MXB1EKDqxkeGR7HVM4aP4y00+k3QmPEh
Hqpyb2W198DW31irUq7fsli+pvBONz647H0bm6dSr6DZgpNYa1E1Hho7O8V6bT2YpWE9SBFwZnUk
7yv6lExHCpOfnFXlD+GDolj7EJ3BS8Ib3Hexe0RDUkIOj0Ope8VesrxkhYqCdLEMs931YVOtQF3V
NXrbcFTm0yyjypy3bbStUQY5NxPbRZyJGJsc8baW02jd+uSTFEAPaaffJ2kg30QPKYbJ0MS3QMMR
IAZKR+4RIURdWvTplhJRnksxr5gq4r3+NcUW8rrY3ps1vmIBmJeN6BOHNHXSm2a94Kse3duUsW6p
tk4xCX+2I/05RA7hWsR1+dJNMFADQtpFqrzyBS09mN5wgJAMYnPuZl724Chl9sC2Yz+EknmxkTQA
C4CcIl+6x0kA8jG3RnVj5bK08adq4Jj36THywGDoftBMcr8roITl1i1tc217Xndn1+EpLnr7obGd
HraEr27dKojfWin6WBdS9+APJW8lwqVUQctkpUgSFaNUG1CkHD7rndvsDcAyj9SAfV3etN5ofrMl
84Z9D/IbyVQxLDVk7FW9P8Y2KQi9DtMn0Qe269KqBWqIOffAOMrSgxYU41keJH1PWSR0fLAciaHd
mjLLNmgjBq9W1VUrnOoqkDvVpbU6bVXaakchZLDO4iBXeAQuTXGmZ1ZyICv9lBYNMuiirzWmwp+p
9ZtYM6zdgCvZGkL1cB5svL49R8UR0lLij3gyrZ1IStcI2lqHqDCVF7zHwk2nIajh6ZLx4MbSGpOo
8dSa0ztU4ga3LaQ4WUlN+DL4U5aa8q5a9v13Y6g/a2ajfsg8B7xdHQcHZFvSnQlg2OzvsULt732e
v456XfcYqvvKJssjbW2iXn/RktI9DRWC9aN6RsgXMRQ7fwpkfdtKFbiFwfykt1p8NkYyla6H7ZCV
5emlh6S47dpu/CDV2Dkoe+4kqrRKU825WZvI6M2bOIcV69wKQ7llUm+Co6XluSUxoe6sQBTr+6Vv
KK186ymVshGzxIASjvKhV1C3XPpQyMs30B7fcpmdcg4w68WN429x0CjfDKdcjVlTUf7snBVUlPSx
CRA57R0Zr3eVTFzWSlD4Igcn1TR9SzHvzJ1Qv7VUQ252bH0bbCV9qxvF26p62x31sqV6kNf8nLkZ
hN42fawtQ38uGxtsFeg3q7Xra81jBaLboOmMLoBvHtXZRoymLm7m/lioe6mr44ta9MaqBbpZ6Uhs
mu1JUerqFiMg9DxmsDbNwOjBJln2we8Kb2uDCNn0cm3e9+hI7uUxzHApdkxc2iAZ1X11ULoq21tF
ljz4UAsRc0u9r4lnnoq0bT5EcUkuL9G7o5wmw6Pd8fMoIuRgeDC8znmR/RrTF0hFh0DJvWekgb/E
DrJ6VtIOVyznw21cNeGdYlTmQ21bPG0iYvclqbpvjt5Zjy2eMDxNIkJeymbxOc13Fg5pKwUnw2et
Gy6e0ykfFSNVNsOoGRc+9dkd0knpzk4DgPM+knlehtVVnvXrpLKiLymUnklZobrZIWocVl/e5XGd
kcwPm13eKtWj6Ws5YlO19Tb45m2sfIgCiXlRzCT8PhrVF5hf6ofRsr1NR+nnFqr4z1uVJO9RbENA
I0Cn0af4IjURZHZNAX6mlVdUy/PvrTbJ08tIqA0GKlV58qTIpfnNiIytZWnK58zpijWOUcmDbIbh
QTas4phnarxt8iZa1y4fVLUx9MPEQLoFZaOtayWtsJLqAUcATuORD4XauHzjfxlsAs+p8cAuy2PT
shpYQ0gCpVHwpX+IkBh7hv1oIX8QIAhX1NlWQQviXs0GFzX/zD57KTzHhP/cKYUYzw9uAcq0825o
VwNXV9gthbhb3xeRMeycAPl4zzXLfeGW3sVS8+SAwbtz52RReDR93z4VefDdNJGNkXvpPGFdUVNQ
EX7Pi6NoiX5x6KaIJazxzc9RpLX7pWsJ87222TpRz022soznRE3XxZh0j+nUwnvys+arw6UzGoys
fLVca8DAjqJpD/Id5bwvo6onV7zd8hseKN66yapkL5qx1OS3WAXfauqk2KcI0SUGqeiDGZQaF1BC
XIAxRpAoDbx2UwxdvYoqzT53Qdu9tPpT34TVdwh4a25IgEmCNyWzhQoX8hFU8G5jWH9JOwVslKP9
1aCebSU1WtehcZ9Uwy3rfOfkdVcDYv5aDs3HzPYwF6QuaK9bzOUn2Bt45WTqnU+5VQzrxBvzHV6n
zdHQgBdkvV28qpaD7oUGMlc0nT5tt33FntlXrX5l8VTxoEKyeLAh1q1axRiOS182Rl+a3rJO4+B2
D6I/0v0Hwywz2BncpNddbx1iFAYvYhDv3b+Q602A1qYIz3dV+xojDHLqUTpc43BcsYMPX7o2xqXd
HV5cK0s3tl99EtBIFM4UxJokbCREWxwAqNGZ+94+9zVM6QkR/QJriW2jfVSc5lLIjX+nSaC1JZff
3v9j7LyW5FS2rf1ERODNLVC2XbVTL+mGkFnCe8/Tn48s7aZ3H50//hsiHRQFmUnmnHOMwapmcg11
GO+tqpCegtl8YEznX8se5l/kbgh3WbNO7+wCVqWlfiuZecxqKpnm0xKHT0hZFLeR82+ZJ8nNkOjF
7WQ0FyWp2rsiVCw0ThWw6or8KjdO9tCXzUtlQhky2tVlGat/BmtW7kqjVO4Avxq7RJIarw+j5DFI
taeqlpWbcc2JQzJn/D97OItwKxs5M6S41ziuKuvPhqIiSGuU4BYyi/eJJLFlMOK7dLw0yNb/UCo7
dkOEPx6KoP+njzVzPxf9RB/I9Lc5a9FTnJ2bwIiLXV0HZ11Pp2PKzuGmNAzr0HYIyE0ptgAL/1GV
25YfDvnR6ZzHpCyd34T4DLIB5DAcwVwArvw52Ro7a8KA3kyQgN6Aj+lg8jtEhsCJqwR6/0MvzDep
gaILqn23qEqockP0QlSlX75bgfzQMkE+2U4AtZTBF9aF3ZcQz7kOvaFcwO6WGBVXpomdZJstIRoz
SnSa3NyEZYBbNK6dfxYNRVx1X5Tx8Fsaxl3B/jN0pfK7nj2A0zZuxGGcYvMGnWomoqR+nEYozJdu
jDwVdMnPNNf8NJjVr6FZ3ZnwzLP3gugezH9wWDLbfCMMBgD20Hw3K4uduoJkbt3P2tNcNz8AjgZH
1nLKMSpbNwuG+BcKF6M7xFW4j9WY59nXw/M0Nd+yuCGIlEjL52BRJfinkP5lrjmBiQmOaE2V9wix
VjviYqAQa5OLJtfwA6jR/KblhCg6Wut87evmV0fcz488GR7jxQLHVOfqvRwjX+PUsXQ/mF0OFVv2
q0w746sWxw2b7cA5p+gIXKwoerHhJEahT/nSRKbyQHjfF5Grx7pl8ZF1bqWWq0exedhiiWIZMtS4
LZL9nLNqlmfUqfJIfqn0yXbl2OluesQ7/K4IDFRqymBftEA4SoTsfBi/pv3qpj2Vq4vT+TUhnfwI
62VgaNZ9GZqOm2LL2juFxaKFqbp92AqNNRtEvenjFq1cE0o/5Mdg0QM4hfp0D3XvQPiaXI/fiBw1
vxNzcU2sJe9VpbUY/91GTifzu0Vj+GgmD82G4n5Sp8hlvJXEjpjWJa/1n2Mf1F9lOYl2odpOJyFl
BUjfbGAyc/Uh0n3+AhYejegohK6H4BQhTfDQTACEIO+LfkTsCsu5dl5Nx6yBvev5oY5t5y13QNy3
TfwDA5ruoas13DUgN5rGF4zDgoZYpAQLsaSN5m1RfvlUvDVl8eTBkQbF/RC7TrTqeaghJpphbnfT
Klpu51ZM18yy05zK+UXN6+KSxgZqu2n9XbRgh7tC3yObaEXgicU+1ELwGQgHXYJaVTBeLvUhKpz5
OagbpOtX2rIJVUE1n8sfLDQBiWI9H5fybXYwcDlWjN3NCqu3VM0TPwgr/SRqdbn/IrUd2884S75k
46MoDdS6vk9tOIaDviTuA8qN7uR0RK2Boi38IdcAp6wcmsAw9J9EdbIQ5JXOEh8uKZCyAzdaPolD
o+mHeUiUe5Er1LjdIyF9zCLkwBzDpCsivvdNDY+SFHXfF0Ml/ExTlJMRBc5LlQ4PkJ1334lemzzA
LeOdPYfW7TLnsR/aXfrVKsO9CGxWFTBWCoFCqPhpFqMLetr/brEYdNExLo0z4MNXVYrVG7CTml9q
bfQjk94ABIzfND2WdgBQzRP0jsWuiXvDbYBPslkrDG9Axvq5hAbxcYYWVpc647m3Opb0WvtdKw0C
AtWm3uVSAciZf+nOGkCfKpMr1gI2fF0C5Num7b5uo7MCQ8L94jjtl8qMbghJmR7Zqndfcv2hCIv6
1cLI+cwIA1RBqammwcMSzM9VwVMIzWzw1XCqEZ2X88rtFKk8DHZt3KDNXID/RAIKNMqTOCgOVBVt
Ak0Wa8Mh9Wygmn5YT9neXBDHFG3q0SauUYbnaz1tnJX+sl4kGpBvR8MSCYZ3PJYhExC52H3IIwKj
JQ5E1SXnIHW+XiU5evNBKpMSOHLEI5eM+C1OA6QyIGx9E2WFiqb1p5SoLUrzYzupBOdT2oWrztI/
sVBt1Br9RnLG5IFwTAPbZZrsIpAUe20lLVjGJLpb2xKhkXiVOqZ7Q6A9tjWLAIdYGQuwuNVtT1RI
soqpgKWcNPlE5w1PImVh2b2mnPfU32phTL6zxBAZQpmlo+WacBP+yguMdnKQms/wdueHuWIDV5k6
ircLpBjWEpc/1rYgznX2hatChwQERut1Ysw1jYjr3lweoB8emVdhNRoNaKz0taL57wpxhhrLD8mQ
fImsjqCiONFeY7jDDiLb5qr6yn5HPdQl3nTwgv6CevVZIob2InVR5ZWVkvzK/jUqTf9pgJ5ATZ5t
R7fE6jkmMm9vW5r8JUiXJymErkkLxtdiYbpoO32A16Vvd0Fuv8a1bFUgJCMkzSVZS++KIonutaxq
H3g3/Ulqwm+DHJATReshZKtwiu34myjKo7o6RjrqAvRLBmZY/USuIL5LlVi/UYuyx1Z5Gc1+uosF
1BZI2nSH5g15okfOEPmaOYPtECGcBZEbtvQGRK2ndGwQ90wey3kmWnJYASOxCgm0Xjn1s6XEw0EN
UQjKAe9fkjWozp6BF43SXEBawOQNTFB9rdTB8sdCVw5CCW2GstiXLXS5hdaZqJ3WxvLauFkbty0h
8mo6xQ9OGbSXNlSPk9VCdLIynuZTgBZslj3GDXSm9NhVs6q2zqKSqGfCcVs8B6K2G53ivLQVLFvr
qc6AFweGWq8NBu01H6Rs32VthmIHbx3ixXy/hE21K43MRSWT+crpjRuwlihkrlkxh8lSuIeLe7yI
ojwcWj+NbDqptXLPlECDZCVpH+VB9/nYqfcbk95aFIaZdl9ZznhJw9STTZClmGqKl4m12mOiIX0r
oo61LPgidbZ8p69xxzod0K9aLTqI7GTG6VmcKk0wzxWga90IBBHW4iW9lTUdduEtn2vd4hOPA/3B
Wr1VxFpeARiBRlu20Opok2S+MTCgvRoKkzCcyNgutBwBVByelVVFv5bwt2KV0r8Z4EGtkJCI6zpi
YrWwudPmOLzJLCKxjDaqnvMyxUm6mOGvdvzdtRW8d/85R8+XfIemd3MnN6V2itPHIXCaR7Z1lYcu
THu4zvQirzhExHVrtaNbE8uSZfK1ds59WTfjvYhAFQecdtArtfKfMhFbKtqNRF3tl/V1iHZBydZS
1VqDAYbv1JMkYkGLoCtfQp34U5GK31NbrTTildATGdMqWLpu7O2HyigdVk/h8CPTLYwJrfol6cBP
LX1csoQ2m9e+CTC502CyENKDIzB8nNKxxDKELt5sxBqfvb1ooAfqDDNcIZ1162VeZbVBgePg0E5o
GebXjCjGN5EctVLHybS22pp2um67SVxlB1EBTz6qfRm6mJVmIR4iPYn1qnjQvE77RhuApa7PVZSL
ori1nq6PXmQNWohKfZUEd4LOuglANaSadSvWQrGjR+fAURxPZFWrLXctRAZHsQjSJjSk9RkMqKi1
+9+5HiqvSu0sl7k3nvNMGk6FE4P8zkZYx0AVlFjb0QwO3lN5J+N4abQbUS4OWzORzZMUAqS2qL2t
AkrI7KDFS+YKItywD4Y7HJzuVRBVlAlOXL6VMf5vqI5F2VZhRxjbTCLmva0Mo618GpPkewmvp+K4
cmc/6B3WFRGKLiLURcB6DFDvjF7kvSgSlaJcpEagFdD3AAP5QP/8foZokqtlpLlb63ptLa6lDcW+
WeFrgndxCrL6rEEXvVE6ivJU6HPBvUb8N2g24j4JlMW4+wt+geUwodF66PVwetP75XA1SxJy7oVx
atwVfaPfW1pPVHuloGNkhbcLUWRf5GhJjs4CMFAfnD0LJPkm7kv7WMyjfCMN4f9KsYW2j39rFxrh
bSe+1TNUU9Mji284e8pbqYQPSSxIrNUvERhzcBILEjOu9GMYKK0nakfJgn3OmR4Q37LhMuNbwXIS
UPyaFZ8OIIQ9e0yy4sMyFcngtS0yC1oWxSsEhfB/CdlluNySW/ETRixL+8xhbhG1mlNnl1jOD3oV
6g8GzrArA+qs30Vdq9z+IUAlKxHjcCsq1QwK8BmOtQOWgvapdzrAVZkTwaZGFgan7qlMH3HsNY+i
JO269XsOu72ok/IcolrHhGouQxU407+2+PDL3aCumxA7D08C9F+Yi7RX4qIHkYqDxEoDmMQ7XXsr
4wgWtHh4qWUNgLkxvHVBrb1Z40owmGnJLuxp1TRdj0Vx1Oof1086pnUZioO4Dx6vxYWmPeS1On+r
2ab6Qe7UN0uP/HVUJxe5NG7qPzyu2cpfYCxOca8EvXSordncJziBv9noQI5oTJtTpe3z+faqbpgM
qMP0EJslTW7cOiBU/TJJnNdSh/Wo5wZQCH8RxEooReEL0ZNrbq0TOdXotNf3loJkacv9p05VDB2J
GEiEhAKTNpuTN+UIada6iQBlX1r3fQOp1co0Lg4jq9U/LUBwIlEJ/0/f6tcW4qTtGuIES4K+5/0a
c6prl0nFe6gAFwAwlJ6lRFFemrhddoE0FXsMIApsEXN9IjSk9UStWU3p/TAEr1FKWxl9xBfF2okq
0bxrqgd5sLKHa2sFbhoNruazHHhhtPISobfodtaUHS1hX6gNoLFKL7d7YwXgaeuhXtmsx8ieblhQ
eSJXrxTW19RaKZphx5tuANH/abGWp3Xcu3GBFO4cV7ZXRzVs9DJSe4NFwMBsN9+hlVvujLCQj/Po
vPRzJt+JIgu0wuQbUeJAtZcYzDcz0JV6WA0G1SPqMDNQxUqW8zsxAJa5lG5ZYT2K/i+KYHyDu1TF
77MNmr+chFvkOoZEKwfJy10gT91OLTDNev+vE6JgaZ+2X9l++f0kKy2HY1szAQ15UZ11kKDn1hyq
s8hqsorkdBG3Hu4EHbHmiQViOxc7k57nG6in7aoIJhEMtV4JvDLfjYxA12q14ahOk2phjIyXe8n5
95rT9Dm/tcfhJGOE24dqzu2vX3Tx9RYffyNWcrfOGx72e8U0jv39wIQhWugZBEqx6ST7Ht/WZZqm
cE9nU7xFxqvRzHl0ERWzZlxQaY1vlNmJ78scv/swxxe7TaSTI0OIGGssj6e1rMWbrzi54w0w8Hi1
2pb2GW4FfG952e1DGT5ZP9EC+S5fISRxmdxYLCKgctAK1wjZq/uZXGu3rQztL2i1YECMb/xaMjXd
6oCPfTPM8B9XEPjgQ7Cw4Kb1vThICFBeU12nHqwQjKE625MHEru5nwsDi0oUAJGJK4giLbZzPuCt
5r4L0cwBjASJ9SAtfjQ19bPa1sg8B3L1Kqla4oW63ryVBjtBFrrdXZrFkRd1CDMkhL0R+tHTkfUZ
yXcbek8MRziTgm8zgkH+qCvVF6lCTaFufwZGsFy0TpcPNkQZe0LabNde9P4udazn1ARA3E5VdSgw
EflFm3pRWM5gJjmkuTLt5RjRc1GG8NT0lAfTS1YmMj4pZFZrgLixlBBrKHdN+8DavgoTq9gh/9Dv
YltK/VrS2G0GcXI9RI2zn6whuJ0DtM8NB30uGRb1szhkBBDD15mXdyG4P1/u8wkmHsP5UmMKcZW0
ye/UsAi+JEp+gGg1BNnIFBw4kS9ahTqWlQG0o6uViD+GylSehnIur7U6gB1UmJKJ5QPXaFLFdq1x
qt1czVTPUvLiHEJWf4Zv6k9qKxMVSbmCs0W1pRJKRwwTzcVBtNxO3Mq2JiIFtX5BSKI173p1+DZr
k4mpLeYqZW3+dxIvFLdix0TXLmv0tMiLpiIlyqS5A+j7CuS4O6hOXJ2dehpOZle9aIGj7rfbj9No
8poZXqquJAhxkm50dZX4InzhPK6B/toaCm4uxq9SMSuCNyLDdYxQ8pgsunXG6M51a2Pk2/JJa0JJ
URT5aSTUATMvCoKNjA9bwAPERcdFTdp/lPXSeOLwGnfEoJwrZb5v8egTXlrvGj3qIV3rk6OVsK5L
SmI/PGMpwAyYYQXyF2mB4vpGxKMTj1gcro2CTuWVXNOiWLTfmrIvNI+ThGpYOhT5sV3jlGfFyPOj
eIAlU2sHrJIXMPY4fRE1XR87HBEFqlaFVl9m7W6Me3wEa/n2+MXLFGXXV7RVbzVbmUhtB/Fetuyn
dn0s8867yAyOOrQMaFjgzucFb80k0StEvieqaL7edEbk5+zh2alhpckGYli54+2w3bsoC/ve/nOi
yIsns7UWqU+nfMp++OPbecrQcPPIEbJzTaeXRNfsZSd6QGep2eIN4Pp9aDWwQnXGlO3E68LYXZy3
F71lRdn2RresJFUEpG0vXNR8Ps+xHb+ogEzFoVoSVyNXMi7WroT+g0ODj47+nEvt4okCZqLuT1LP
CW1GmeVlHjALTuXZYO4+N7jv6ZxrUhxQnq0/5vMYSui+g45UvJ/tcX0Y5tfk9ekWjbkbnGBnqT9n
m8X+EPLVXg/J+jy09Xf+lv1bmThDVIjTtqwowyL251LyiHNYlsbfQ+rcXkeqGJPi0K8TgUhZArQj
8mIg/63N38qgkuC1bDWff0HUiMtef2HOiQ1s6sQj0g4r0Pq3t3cqBrF4sZ/KtqxIfTrtb2X/56W2
y386LXKsGpNNOLjxOkfGMpqTf5Jrflh7kJgzP9RUbKozuC2omvOcpDhV5K8XEVd6P30m3AI1t/dC
kVKHejm0fXYUF69hDPUXbSdBd3kdz2KYiqlr+yh8KttG8tbub2WlsiI3RFcUDbfLiLItu11GdOkt
K1LXEb8Vfvqp7TJ/+6VBUWEMDF8zrYONef2aXme/z0lx7ofC65f4c6lo8KGVSG6NorgelutEPoo5
9sNviVafr8rKqzgNwc9t0jDWoLAtm64Ti5hdRJnIitT/bztxrjgt1TN/SdT2eJ1Wt1u/Tuvi/v5X
UryPWMzkIhkS6kQAz/ftQYhPjejbvYLyjzYAfpfDkM4sprAMh1p3IyYJkc8JW1wDKN+nuBqlkb57
3aZWca2/Trfrh3obaKLJp3bbGBMVSehI+Ldn+fqR/zSOP50b5BJWLPl8vXmz+DlXcnlaF++LB3kI
jHYjjgt1yfY6hhbSqNj/Z7H2YXkQiQWGuJHtIO7aChNUxbWdiXNjLx7GNvOL7KcyVTxFotfE4qyN
Inknxmwhkjbh0Ucd69dBmvRvM4HtiydWW6gIScD91lEvmgdO/zJGsKrGrf1hDXq9e/Ee20GR/iw1
M7EAvb5TsQAVyWtn3t50iyyvFPTmUXQayPoyX1qKGfLQ9yci/vH1VYrCD/n310g8n9Ys02nrTNc+
9r7mFZcXP7v1VpESZaL2b1lR9rdLZWqrQ5vi6+veXtycaNql5T8h0bDsGWr/Ot1qNTs8iAUconjZ
wqXD7EKf8m+/ru7ETCRSqEZ8zJZRnu/MXPkdamp9TnuskETm1ecARs1jEGNpuBtqG/adCB+MIi1w
Jgz18cMnjVUxX7ftKyk+jVOZpIs3liUgV/wILtEHP7cHI1Li0BpE/2tFt2/Vhz4Bvb99oyUCmfdE
Kt6LhtJkKD66veyDgFNz6fWrnBFVeGyBOsHIRawxQglxbD7VrQOUfKoPYs5ZmoylTAmCfDfwyETv
FSPbMXo+Rotpss/vw68SrHVIcFa527et4YsmSgu3PzSIfICvB73h97tJ8cWTFAfWQnBnWCdxl+LN
XKeqGYFcWPPsZ1FWJ7HjYmK5mMb8KwJVc+K8Ty8mG6Ucn/gvMcSzMtopydBxI44nT+pZDJPG6Y9p
j4loWaYbFko5VjkV9c3yB1+MdIe5ETb59XVv9ycR97yD5OI7ekivBHdIuxbJiMXrkKE4JTLmOjTB
Mhcq26+T42g7o53rMws9fUcH+Efc/Idd3XVh/aH0OtTEcnvr32Nr12uoBJaF9zXb9hQVK8Uz0nVH
Mbyuj2zdW4q+LS7yaQ66jm9R+OmUSsJtG1XQI7IXnxF7QvJGLEyDYl/qsEOjjoXvEHEpJnnQX24+
2v1+nqpHfdCxAxElCmz/aIz5I44zV4HLJg+DWzNJvXzpHs38UsaOtRO/mkLpuXocXejS92HFvpse
RGdZBxe0Uq5hVAj3qUepbNmeZPpJjxrtukm97mKvKwsxEMU43xYHn8o0sVsQba7JT/Ui+38vMK7n
iG6A+3Yvp2VwaONxD4rMum6X/s/Vh6k18G4X7eE60Wo8xuyfpouMw9ZXC1P3iBkaj6IIjzrfEzGn
XJOiVORFShzMUKJRiIIF68dxr6sL5Bvo+eitsdsmjusyWPTe9yW3WprNKW2mEn1arB/vdgjRTabE
DN0eaW9QM9mHAbjNomJQXtczziInR+YUzIuG5+TRdBQ9kgCYGaiB6kE0ERwUJduL4SfeOJ42Vx1i
+yi6XrcM1wbitzOMbn5RNst1qSju7NPv/q0s6p3VNRvfdgNfZq+aTHlPFNfDdTprxmEPd+VF3La4
mtmG5SHv/phTxBWtqZUxIUXf1KhQlp0lLXjzs8MCT7Ko//CFF/d9/VBeR4/4ql2Hk/iHhtLG5+XZ
bHS/a6TyuFk+8kFT/X5RCvfDglhWUcCsdL24dusPXfBDUty8nhalH3Zab7otLHDHMrf4SBBzsM8S
eqH4xov9b6tiU5PwZodVvAd32Z2S4bleYvOQtfpeKyzWpqI3WW0WAbzpoE7vfgTNqkFS1yps8+vO
WowI8cPIVC44fgjG27qf6Fifu2g79k95GfjI0x6XJlqRd/+xWn14gtcnun78RUo8RZlAb7edOvRz
36ctvS9nv6xjpr33lQLRSOdBz9+Y6bEFwbC2LomMwoyPEwEF6EcyC4s96DUpFnqTHpm4G9ZrfEgu
QYWRoA5ihPziow6jpS9aix4chTWPVuQ7SORX1Nt1iSN+78Oks436huWen0+hen1I4tG0Udz5VaFC
by129QaGhLlOTwNoucXTE3XaqziwxXDV8u7Z0BMCYa7f/hETAtoU3z4suWbC13ZpD/sXNufZ9Bwc
wZh61ZaHYaIItv7DP4+q/94tDQy5Yg0quqV4zNzVOYJ7f1UUcPrD9vwdBUdSsn7vtrLrWrZb/xfk
iOrVBlIo9S8DPu9dhp3tVOQPokuI3iA588KwHr1xASR0RL+FaCBmJPHL5mTFu8iC6fHDqBHJ66E0
3EytrWO+9hgscs6uRv3mVEFfvC5gpUY+aApgoGnG7I7svH7d+xtWDpoyklmVrZOceB0ipTawMkJY
/z6TXm9K1F07jZLKy04kRaE4iLcmUhq+bC/41+5y67HqSx8P+FdUktTrps6O9YJwNakaCQrVA9S3
xv/Y7Ky+kw6tVfWqN0JFKZ7MdWUn5iO9JnD9KJJXQ6V4+dfkZLfh2dB/dEE2nra9HooHLMR0s3Y/
bQLnLoCUdclg0VSWZ/Cf+S7MZjczc8LuMClF8m89eplweB7ng7G+R6h9CCIQ/URMW9dXbBGH66Y3
vb6aH8QacLWjZuuhWA8LJHi7OMy+iCJx0OubATWAk2heRBfH4ZazdRU8rSPS7BrEJvJXefk+RLdT
86ACAfWTYj9U+sPQaUS2SLhVLYvYiFaZPMUE5sJiIczqo048OLSbkas3dB4TR9+OzVbvSo2CdibR
hA+abaYP/aJpJ3hWL+GqxBUnxXIIpPgXwWymX0iD5Ds1bMAhgUkY860WV3tYvsCdanid3vzJVhXO
LLiINC8ODR9cfnZOejs6apomHcwgzoHX4qgoF1t77Kum4nsZ40BdsyjtvMWq0ezVJXYRCQ0uy/yy
aGjlFcT9XfKMcCfZyS3UeHC/DdLMBQnMc/YxkMXndP7dEjd9qYbKvBgdfUXKmh7odgxTsx07X1og
rD5RtzIznORe9UDrMKBLzeBQpRAoZjffolN9U7B5aGXIVVRYAGJJ1olTMO7tZHG4UT92pmi39NpR
CpvkW6W/LVokH5D9Nf10lJ6UNIQjTgI3o7V+UVTamxl9HUAOtet6GAUlpAJWpyaytjj+f7djfoD+
Eqz30PzWkJWTvERhaUukpU/A5+JDaRZ6dZbU/jLvlVRdzrKdfIn7CVBTjiQSfO6y2yTluDd1Pbkd
FJSrV02fQjIZq6V5X4ShW81Mjr1pQ+ZvJN1BQRrRz5JKQ7g4LE7ForxwP9p5Iqzg7AS4Hhl/ZTCA
wMzFkVA4CVyQ4SCw1vB7AowoDmNGYHK9qINnrlcQl7FEa7v7tRQgFZBsz16d8vtUAcyZndF6jdv6
i6F24Ee7JH/oxokIyWix781xLjw9Ntrd9oG/bqMgwU/9BfSD10OuavVVcQ+XmzeGPASUf2/U9ZVq
K2FFaEWZL77bvR44Xm5qs2f2znSfRUrgBdBF+vaalTX5AjqhIsRHPUk5WvCoHuLuitV5h8iP6rUp
sCygCz3RxJWyVws4JBdkG+pD4WRuZvcKeplpf8yrAQr6eEr9sE9N31oaYKZy7KLgG95vhx7s1dkp
coLUeLu1js+M/emKObubA0NBhgcut0FqHhGCAMfXTBoyZR7s3bGnOkbkdrb56PRFcoN3JXAJyyWS
WhrAI1htim37MeiUBHTHlECHeN+NRNteD7NuohZbXpJMNVDair90Q4ZwdlcZbm3np9RKEQEILXRR
USghrF6K7u0q7B4Xveke26TZDQOkdCKnFZNym4/aKa+a9DZdD5kFLX4zX5YSOI/uTMTihv8SG1I8
Lkt6bEprOk+psvvXgFOUgDL7lKiDdgMhfn2EbN+dprr0gARHCDAbfIPw3Oxnmw5lQ47h60E1uVK9
GPdGMxxMK29PzVgSVMaH70aktkMVxCCFtHRn9minjtPk2pBVXgJyXSDrfmMZJXy89kuJWBCRDNm9
Y5SN19iw6xpL6hyVWm59KAiBNhp5eI60wQsrW/qZls7ZRnl0hrKjk7vgJwT3KSEIDZiZcu70Q5Ik
B60sQekavf1PksbPSomGprSEA6p1LU49C66BEQkLCJYr2e3qCCrxlQRfKirjiAYfriqY/LyuLEKc
dTMEhHGFWqUpheesD72iWL41nRK4WQa4IBqhLq31Z91oqhfwsIDSHUCoFa8x781wZwWB5lZ9/20I
StSMsvSb1CQ72ZxqKDhizAJpH/O3ndsq6b/rcRnDmBGgLBPQl0wTn3tcmKephliYLlqe0lxtkSly
nqK8e5j7uTv2gPy8EYmDW1BuT/WAE1qSHDfBz39vKrLk5j1RsaB6V1oA5mmsJrJnIATbpZLlpSbF
sYbjswGR2/3bKbmnsOEDnUa4WBLYh25dB7RQCeNaWCESBEEc7RoInEO8C6x4iHnqHZKQqaz5VRi5
TgLlp9JbgIbWzkgcaO+qkPZ6hN477lKHT7Xazwcn7xrXLIllUdHCTQvLwCnO41OK/JWY+hxqeZTv
DL/L0w5VqOkRU+ukW+ZdqwcwFbYAeuDUjl1VNSbP0Ak+a/M7S0uqL5HU/VSAs90E5PVXlr/cKxp8
NX+3DpjMmk6Ce7aVRqLEwUqFahjs0sLFLeAWkm7shBb0ov1HI3oAqdirEwwKTesNqc4uMK38fhww
mOYlU3ZaWl4vAfuWAAQMWa26uqwYFyU03xxHN85SWxsX1MZ/D3LS7i1TR9cw9bQ61o9NjjUhiX+N
MDIjj5G/mfXYHI35kuu2stdRIPFwfzFMiXh2QRxp50pdVK+TL1lVdR7ToX2b9cqPeJhhg+gTgteC
NtuVTZm8mkvAfgP3P3YMBYeYolW3iol+dabYJ8JYsVloc3i2QGPdyopUIyEP07EyAFdagLXkmIVU
5Wle6Wz6vrmfylp5KqawOROa+zuFIKI0vAn41aE3pXsl/143pvwKse58ivKy9k1FGg+pgvHR6Abz
zloPhd4/Nn19UwaRemqbCFRHqs7E9Mk/qiq0gPEo2q4vcLZD2unKTYqjnCC5G6OFBsKQEkI3m9ir
0bz3Mg2iVq0sHI+xDCLXML9HhvmjDMJsnzqFsnMUe9xrSXdczKr0jEGPwOKNE8EeXe3b+eSc8qY6
tA2rsgYQHzuxowSt+y2L1cBL1PmSmVOHInbaoxeuODs5gSEFmHV3azESj7VkvnZDXT+akYRZaFL9
DJjNThpR91o69S1FvJUv20zspE6km9ak7Y5+0JzHzkyPYaHtVCyjUmioOydTn8tpWG5URKHczJjk
xyzEzxqU6m3RIPBgLNJID0P0LqvG6Gypv6Ajlu47IwvYN8pwb6TyxFdgeAM2C6Y3ts+ElqOB8H5I
7GppWHpSODtwJnEdQOXLSxF/CcZ5cLU2kfd5EGq3xowqazuPuWend3LUOpdleKx0YnJbYA4E12K1
QXTCH2re0DJp/Z4lRVbMHYT2GhppaAvvgV7hszNQnRoi+9lm7VpKGETjFnoZVXvNBgTb+2G0T6vs
pU88gUQnzk6lJt9LjdX4WS1VroFSDm8nPMayNzUMuwUBNF+ptBtDjowdYT0e+H5kPxsrPpR4vfq2
nIAmKL9HZ9T3Wd9LZ8ShZl+JbahE23WaTdTczZ1vBEh4rV7gKUHv3s8H9IPlmhlxKpsTWiGgm9Do
YnV0TFES8zKjfFbaZPZzLLOWU/9IFB0aIUAqrlMNdxJ6YY0WgBU267dMl3FCF9ltU7X2HZJ3NspW
abePWrhx0O0inFIeK+KednVImNsc5nf21ACwbvSxOs+j9mo00cCd6BNQf7O6X4gxPkWzRQi9kbfP
imI2zynrXjlXkwdRNLBeg54b+WNROVTp+BQYkPxEA0wNTiJ5YWtPmKg408jn5U5Smid96ptnYp+0
nTOHrKgcQBqhUqT7spLQNEGGop764MSMxg8TKb/G40s3/TjJ923yP5yd13LcyLamX2WHrgf7AAk/
cfpclPf0cjcIiWLDe4+nnw9Z3E2J0dOamI6OFNIAZBUBZOZav/EA9Tsl8lT8+VZysGzTtZU16C5g
UFhoCCXf6Y1S7R2zIOvbJHzlZt0gwFFGwarxq++DlaGvPbjpxSo7W10Mqo8VRh7d/9QmD+0kmQ56
kB9kTZ7GQ45HkzWesNUiddH13Raig3pvqc1wb6/ksSxMv0ZHtyd099ZWatbn1veikwuG674M1QH5
0f7pbUDfNf4qqRDgemuz2s0PrNIBj3dg4B1V9Q7CjV8QYvDvAUL59y2u2JsYPvbqrU2vSshrNcC9
TCQhSLDK2faeU1/kGVOuTxfWWltZk0VT90SVR2Fwvzr+veU4K2Fn4W1XIcchLD3eCzgu97mX6OfW
Gm9kTRa1ibZtCetgJ6tqFo2XYeKXnMcLUfoPTQtpAQdmeyvbYBO0N1AYtqzi5xEMG0uclODg5tcR
pZZWt7WBg9n1GowAgN2ujB6vb9mWZEq5ylLFW5ftn4XS2vcQQu17t+2GtZOGNWbv+M2AyB/w11GC
OzkkTFHmzZiwl2ojwJiDvz3VGctcC6Tbvah7kjn4ny3k4GvR97OIeObtCh/Odd7qD73Ab5lFQLe0
5+pgp+FDEW3V3tIfYtYzD+pU+UusMNq9HNCzidpHk4J59zxeDkE9JfZcNrz+YOxTS4T3SuFmB21E
/iCJq/A+motihpZWRpoTqaIqCydgh1oCqzwQEStibGWQ0oBw36lGvgRQaDwWmLcsU12wYqwy/ZHF
XL82NRxAZS9fkLubqfXL3J30Rz+28nM+FM9yLBZHw71XBte+uP+h8rWMU1Bi6W3Fp6yJ/oxRbIAg
XQWHyrPrG1Jc4mGIgnQdQGRNMD5ZRmPRPtRmH98oNhv+uSYLN59dM72iv7Z5vqFDYGXv4Qn8yJy5
aES+gfsd3V7PwhxpzQt6XMtOFVve2xKf97dLtm5mLcCTanvZhqvXeAhmdX95gmzzOgj+AQyu6wiH
9ECGTeVaVgcjLO4GD7bb/FtmWGfepEq4E60bLS3k8/atZqgPRQMkXtXZmFVOrD0Q8tIeBpd7q9Ob
O9lkhRZG65OVbuUJ3mB1p04fvrMo0h5kUxK5Z6PgwZA1R9gWACalW8tqaPFlqWW3LvNoV4pKO7tG
3d8b/YDSRyG+MDn297KYnAhnGLPR5gnzta1wneWUa+HtdcSYO+QVwNnr5AK2kY0AXdBiUa1pXvCi
d2epmJKP6neI2fpHvgBnpRhZfDFKE4m/QNO20LCbO6XBZS5vhPt1LIO9MU3FnzhXH4ZMCc+9Gz17
sxazyzL7ZM+FVdreooRVfKPr5E3KMq8f2iL6MhYKX5uvT9zlGVIcpbVS3DBYZVCTL/FChgiCChWP
QUvLjaoY1cIwU2XnVMtsEJey0xCTq0J3Zz+0bbp2la/gFI0b7BYrErQQzQdLyz/Whrvn2fQ3tqeU
Cxthhy7T7m0HgYrmuU6wdOpR6UIc2ib8ETh3WYf4i+HqBdLQvrtTP2U1wGFfXY2YJj/w0TeVZoW3
Oe/HKRb3ADzHFeRbl62jO5zNqdTW8WiiFDJFSyfQ469d3FubvooIN+QZ6VfTXuOqrGHiSMy1GQLj
qMMV1avwpW+FevAL+9mp4+OUu+FaTBMMGlEmn3xrqzqCtR1mWTlR4KUblepHNbGVTRCFNjnfNL5p
QuUHjEfUZMoQpT8bjGXwzLMhPubecGu05ZOhpeNjXicKXorl92JI1X08m0Cwn8RlExfJvWY3SJYh
jcZitBWLKI6j2wzKGJht1fvm9gfPspB66JL0WmgYB5fKgK5YWEwLuZxO9CrDHoN0YThMj72BrqGN
+Ws8ZNEFz52IFaKVrbVGqzc7REbDHzbiHku1CK2bDJGMOQFssWwrfuhjMHysR/s+Nk3/h5ZGHzPT
wV4qRf8LagmZB6MMjlo5eAe7q5JdZQzFBan2nAwKMpysQ/0HLTWzZQgA+ItrK092V0x/agjP2LPz
UeYlpJ3RJsDdfVz0UZE8OeVorKYwqHcoCWgLk60BhqxlXR2QHmRp5quYksQFnoKB1922Xds8Np7V
PI4zRcxKu3tZS0TGljRQp6OsDkIr1oUo2o2s9piH7RMYAou2ydrH2JonNPijb1crM2UTC9u8leO1
0LawqDULtPr4UaYRp5ugj4a1rLrwR4/4a7B3nHuDiqnfNEe0i6jJAp+xi2P0hNDmJsY3cAQQqJdV
q+mh5IFpX8kqVjjTySeC/3o1OzXmGUz2yd/PLOxPk5WJs/zdvd6KVh3J9+uIMa3YhbsjUYr5R+XM
F5fEzJ5krelGfxUYcbLwRy+46XBWuwG0EC/SqMmIOtAmi6jztJU2+kA+KktZjbDp8TVU/RvMgdHc
R0H1RlGV7GCXxu27dlkNYKKa3TSeuoYgwUK2+V3DSgVg+0ae35P7AWPvRuu2K93LOJTqthqIO9a6
zQ0tG2WBt9yiU3mw35oIELqXHED9shki+3oB2Ss7dIjx+yTpPuNKf1GromNjJXKdDHpgXZpgfBwd
ddr/1DbCUdqwo0VwYB6Sicq6aHXAKTbgBpt19+laZXeCU1HaB7t5+iEJVJtLYB0lu6/5HL3Ouwvx
fFmRBeI/dCJJgsHc2JBwkXXZJcYxPYYwkkQqrIsxF9dLAS5OF73Q7K1sbNHng59ed5uoTKYLSrfi
AFsNi1NqsklUYud35nQ7BOMeimWJzk5vPEHZZx3Uqtcadn5bVn3eXRO4xlNsRptysvJ7ObLS0vWU
DNO1Fo7lqg4n91orQOLiVpU/yJE4gS+qqRofQq8wn1rBxtFo3WtfUv0QHpvTyTWdI3JAxVORahs7
GLS7pHfyJwUudhtH9Y3sQ4IUjTK8s89VUqQbIybdYDjVfY7Xb2cuQgFOUbccsJ1KXJMGIEGd+PYq
7IqHaMLVrg4m/R5MOzuGSJ1Dn2O1Q6oiW6L3z/3PrZewuduJjrjK2Gn+QncwOtKLvNy77cgUqKvW
LQwk7WQO9Vmf+dPx6PiHfkC7U1a1PBfIylgs1kxgHhHmggNCNUuUFZ1VAHR0GyNjtlXGr1VUhc8+
678lOmX1rYuy4AI+f4wIoV1seYA+OjWagrkSZetCm9plls7kliw7FvDFUVtCGyR6KLXWfOb+2LOp
Mp86g5iCDz82SGLlEwB/eH54lU5Dm4XElMdFdHGEY/iLDofIyhHqS6woZ9fTq+fUjT6XUoZsxDer
TrHrI7Cq7zDGesa85N70RYjqcBmDEdDiG1/39LNbcGPPTdFcyCNHjfQtRJBo4cH0QlXJe4DBtVCG
2t3iZj09Dnlz27ll/i0ilwgjJtUWOuJKSztRGtT0tOYkRGWvJt1GtNguR1CDSkh0vvpkW+5N6m2t
NK5AxFCEmErBTVrlmaJguqVny6BLH5IRskteYD+eGO2m1ZxinfLuW/pd3+/UzLeXhRUJhEPyalMN
mNb2mRc8ZV2s7SwBfd8auxizjHKbpG24tvR9UfTVI8JSzDEtopVIrN7JWuN6H1tlaC6WbSVPY4gs
FGwkCNtzNVaCdmlow7gfRiKQjc/bs0/UT17c6dtsStsngZjHutYtE2xkbz3ESOoS7Jh3zBUY9e4u
DUXyKAY/3Pp2l6ytpN58+Nd//c9/Pw//23/J0WYd/Tz7V9bO2KCsqf/4oBsf/lVcm/c//vhgsoo3
YKLaOuaStqbaYu5//nYfZj6jtf9FnhmuRRSEu9YePyWqdZBSpuWkOnyDYvAWTC45prlzffCD7DSP
EWH+xTcn5rWi1O58XvyrPJ3U65Fsy43UA0ZBb4DfHn9JXEflOMQK0QSG63xV2xlnjZ0C/Vu2Zma6
k/o6smDxwKIjre/liNqxFr/54Kr+6ycnvGbbjmPomo0KuuGq6q+fHM8ZvRowA9uFhYrQGrwhEoLe
WhM4ZGXAJxycQ+cXmgea4lonXUm4sX9guWVeWlb9vEz4ey4tDEfX17obKvXJVaeVHbb/GVPVuMcO
EaFpPSswycE2cceLs992qLI8jm781dOV6Vmf0sfEd90n1Ejcja60HSKFvnWX+g6KyE6LYXND0EcE
9RcinQR62kg/OrmL35YLqhAK2vTs9MumH8Nn1MFJi1VtdhHeUJ9yw3RYwJrV11KPVr7BT4v92oI/
1Cu3/METACdlszPc5EFPE/+g60nEep+CVWWEQAAv0naYnLUT2eG1TfYOIuTpaiGqV2SQjIVsDHJF
P7SNeb62ZQNitE0nxB4ttI7saYyKArleoLwCV2U97Gt4JiXTy1yIACd0C2qhrE1wv86WOUAJF94d
CA7vDlG1dlcnSJVeLzI4aKdilGWv3y5icvctNLWKrhdOyrKEccUOHFIfSTjNHzcTt6a+yiKtuKRJ
Viz6WBTb1CyLSzG3NWnEO6lwrJegCaPddbTsMZrok2e37u567nyGPE1WLbyWld4y97LpehF5qOX2
XiN/f1AtnQvLNnkVV+gfcyvcmihO4lvsBXOA5bUQVh5elB5Zu5CgxuZdh6wGftOt/RIVR1mVZ7yN
M9Dk36e9uLxrf6u2yL2DYjBOf3d6b43Bwkyx2JQn2K2AAhn41hLd1/4sC+KkqBYH6dG3dKNHgyUY
3jq8ueOtKeu9aFyYZ5iNU6Z+VfJ0+NaGpQlItBhuNFCK56qEZCM7pnS6VLGTPdm8hfckAIiSIpL5
LSWlMp/oaCyZiduSGU7aS5zyBsaykIJXy9qwYamac9WJIgdNlNC3sFTwCXr7sQ1ncT5HLbMbHQ70
HhdPwV5hHm6GankJtvJysuHa55GF2BtWg1XbPEheI/ORcUCHz1nI0V2dJkyTeRw8xUkTPRTdzhbq
TQmcBQvD3Lxj5WHcxfquMLTwWomy1D3rhKhlVzsPsjoevthGXFieI9uMjtkB7Q5rKauywwhs4r2I
lG3e2kSS9QvF6LPr9eRFC82HNA8d+u1H9DB5KlK/uOWYdwWGa+fC7w6NFR7isUe9RRGeBY4xGIH4
TM4yjEr96vkgj5CTmxYWcbJtmAcMlI0ujrDs84zTtc1G4udEInorO69tOFsUzM6oKV1/gOyq8UFf
JjU6j7IqnSXkUZl0j8oQV1djCNmeTj2Rnm4Hs9pFappFyU3BHm+vd4gFy7bSb87/PEUIx303RQhm
NVczdNt0OTRM8esUwfte2HbBZF2rroWpdmKByRwQxC0+e3ssJPqDlljeraEAzmz6Mn02VFRth378
XKGRTtRn+nkEq4Phc5EG9SKrCMBLk2RY7EhKOKDEVWJ66O82rPHmXmmTLHunNiYIMvsrvw127aq6
4dG6dSYFvHrYh8xEjhkusfGc37FYOyP2Le6IbYg7Mk0eqVsl3cm2IKw+hn0ljoNjfY+T3jvkRiLu
roUKBqvWo4usyeHySF5Hixs6GEEMyLpllVEcwXPbR90NWiSeIwvgiaLNcyL5+3pUabweznU/sWn8
u54RJ4hJ/DxgHiWvPM2XlyfJqjySbbLakmRcex4pE9khfwJrPubZn37Y/+1apujvuixWt2/Xu/52
73/Ft8+BWEq9a3Tt+PZrXU95GyJ/L8AybM187RC5lnceevakg2anX5w8t0j4Zv1Rh52OSB8JdUAF
K8sdSbZ4anR0ULM7hp5OlEIeysLkbUUObO56K6YAtXAiVeUyUcLXjrdLDK6tB5t3PWYH7hOsAXnl
Mh1urU5/Hlk97EdsGryFLbRqE3tCXdqKQn0ykvEC82hhdfCzG+czMIxih1/vsCFCPn41u5e4Vexr
s9PH2crCkXKbaj2A1CmNDVLLg+Kewr7MUYvBcVlWo7lNHl1HWkXhnTCiRWIL4O9RTiq1Xf4IoHjg
5DbPM9dpoxXhyN5OvHiIGb/2/DUNhaZeLytQQ8uSdddWb2x32+lR8sly7G075sY3y7WBTKXCP3fI
Dt+WkcP0jqrmN+KKX3pH6x7gukKOqpphLdt5Sv22r76ZjkfID4HBfaIb8WOspE9xOvnrqSLuj6kO
ejpKTCKFRBPqXLanX66NDk/WEeroVrap1mRcGulBO4YqmBhw7RvZKLvLyP2i9+zek4Vx/UeKixeV
4qH4XM9OjLm7w4+iOgszqzbsEOM7XvjFCrvU+ilvU8DhrYi/Wmn5MQbi9lIMCbi0EJkOMLykeRXt
QthHXdtDzlLOVcXl2pYahmA5Th6Dt/+xacvXDhLqAm1uHFbcqeHuk+NkozyPoMazH5KDgv7oX6Lo
NM4aWH6AIKGHp7qIiHQsdRN4+VzNsq4LllUebife1xcpXxYwU++9yO+Uh6tgluYiO0WG8zaa+vEr
GAAiSLhwH3VOeZzb2yJ8bY/q/Fa+6v/rl31QLfdFz3kxEgFDT+fX6v9sX/LLt/Sl/u/5rL9GvRv0
mKf8/49DzuFzldf5n837Ub9cl5/++tutvjXffqkgZhs24137Uo33L0QDmv/s5+aR/6+d/3qRV3kc
i5c/PjwDxGnmq/lhnn147Zr3fy6bor+2i/PlX/vmL+KPD9sqf8mSb9mP8Nv7k16+1c0fH1D7+LfB
DlK4juqatqprzJD9i+yyxb+JVKiag0SJLYRlWh/+BQehCf744Oj/Nm3dVm3TAUJhGSpdNfI5dJnu
v21H05h2LYO9mW1++M+Hf93MXv9qf7+5dd/N30S6LPZ184UAxwjNere5za1mdFUzQpl0+pJgA3wc
C704InlAfkaBXZWVJWt/2SgLdQx1ZykPg6wtjm/nyLZ+PvtttDwqLGsj6qY/cY8Xu1wdfLQbshF1
ctT1jtfDmr3xMcpGjMX9clxfq0qhHm0FZARxFrp/OryelFgImPfmTKgry2hjsclbOLP7hSxMM+i6
az1FwBxxWdBNqCSOR/w11Pygze4YSui0S56GfiXPKRt9zA+Zo4m9CKzd++s0WW/ywwbriwUOnfhN
mK9Gft9lN/urhBYxdhC2B1mThWjY9AGYmnuLom3glGHRoszB+Hmg9MUtKocOOcYsw03btGAQihGw
ocCuS+3Oqi9Y2U5R8dUzIhTnQoDXvmMdbUJyKzSx8q+ISn61EXW6b5yu2g6Kh+Bp3KVHpY+cQwJ/
JkzZf8wtMbDsw083/N/ER7iZf10Dcg/ZhsmGQWiqBtrkfYDENs2oJr+kna0Y2kGqe80hnou6FToQ
0UA0h4JEwEH2yKo8IiM9rlwEvBc8BcVBFgIFm0MS+4BcZP2nQ1l388IC0hg269QHFGHGG8I0yY0s
2l5LbnLUppFKd/a9MJ2D07SxuYxC4Jq+vXVNAC+Zj3amP6pw2tq9M6jmV3iMCy3U1M8VL3g2zqoJ
x8fKniwxbaK+/TY2sbFFWgklm9Tx0MRMnZPpdM4JapJzeqvKNpDOJtpl4pOsvXW+jVVMAfLHC/1V
H1XwnNMRkad2PAj8cA6q6fHQvdW1tk8hO8391y45yqsxnemK5j9D9bn/7SR59NOYBtPbPakCNBMs
46auu/TMnmLFU2/cNFmMimtrxQ0mYw7p/94BCID5zSIZAAmOU/9igY6/awrSbUC0EH4eLOv4VqRw
CH6qshlgSzTO66h5XD/pwHkD1Jgso5tMQJzN14ycCA9r5x2ayPDA4VEIsp9Lz4YPaYGZWqOuFd8F
Y0IIzG/HO9NonRUeAspvIlzGvDv5KbQnNEc3hMXLGXFG3TQd59fdSzeotjeYenLWBI+j1fv11oy9
Y9UZa8tmgYYB4Fe/L8aHGIu3XdH7CTx/b8aEKKu+17+Vs2egyXpJW9Tz4YTVw27y2h/XNnZ0dlhp
wIfuAJ1WD6qemauRPOPSszTQ01MfdIcJyXzocqWurTPRDQs08u7LKmnOuj8EH4PY/1wn6SUzIJth
KdP4W9x//HOYgkoBw4oxFDVu0H9+qE37b74Z4p3MCyDAeazfzQv6iNju4CTJeY79e64SnOBJVCzN
m0Ujy9jWsPGulOJ0rctDv9M/xXFcbX29iKEIhT1rZaNYGCPE4DJqv8chWvzDqP4YsDx5HJT6iKYg
SrqT7t7GHUt1d1QOqVIoB9iyHrD7+XDQbXC48rD2VBfc2zzqevjTAD3r+qUYh0U1TATFnaa64CCF
T4roG20xiMhcTqF5bFGR3riO3d4gZmaZSDT6T5kPMgRPhphUa72ANoBDQxErr4ehimODVqDyhoBG
uCige+z/+et250jqzzeioQpoAsLUHdUw+cbf3YgezE8BXnGeEnoDtL6AJvxXUajKa3XIsW9avNXl
mE42vht+HSkbddPahIOGzOZfV5RH7y4ztrl+/aE1v+zPP6WoQBWrjY6swJx9qJu4Im9eEkVqO7Ve
9K0Zn3qt4L2qpWl3qKt0aaLOGK9kTzQ69Jjo1LwOGrAw2tvw6q5t8uy5MGDVvJ7z1kNGIAQgat0E
8jK2vMw8WokUFxxDEc7+chOzucBWktzwdJB1a26UVR5JLOU1qAhdMzVPIoE3bjZHovqKACiCTLid
hObe0aZshYGS+CSPZFtbTB8dQdqtC8ebFuZ52UTuqcp7Y6fOEt5zTZknAXlUhzAEf3NfvJ9auS8c
JlfNFZbQddV9F14ZkK+C2Y8ifA/saYV2urglQaOxfa/jnQ2cFewCbdqkAbqF+LFUswkRPBDdKNG4
eNjIOCoiSTZxKxZXczC28cz4NcCaG9iI16xpss4vLjLCO+X+n+kM4mxLMA3yCBCJay4RP+bR/LWn
w6UAdzKI1VhBTHst9ftsYeWpusIApl+4Tu8YywoP10M1WvbBalmPwBBiUJd/crEQxLh5co+KVbhH
5Dy9hRCRupLVt6IanNchb22sHdxjFe6nFt1RpC7NAhxnaTkYlTnDKcn1jF9pPmxGNP43BbrdA1h8
XuG6HxzMuSdT63hbaMbXavAiuM3lJxNni2OMIBJmOL6FxuZf9WEsX3ve2iKSr0vCYsAwnGmljlqa
S8idi8UrWsroXHaD122w++qBmYp9gcEbDIgSHOo/3yT2+1nMtDTe08QUsfMB2G28S9MAyQb/4en2
vrWgbY6rpA2q9RhU7jav+xRAmN4SX3GU01DE/rLOJ/bZtvtxIidKEAqeoaziB9FuodeM62tvVmYz
/bHcDy6i2aGLv2xekUSeyuDAGzW7yBo5GN6NbvFR1oY4Jx1lFv5aFNjnyTZZsLdZj3k+XgA1tAF+
e6uqSl2MBedt79/XpIR0mRnV3WyLpQ7urdrrq26c3I+pD67LDr5jIeKDs+mzo+PH2p3mQOyQfgiO
2v9I+ka5x73pMcjCk9U3xRmxYvbq5nArC+D0I1YW0xfbQzL4rZ0gAN5ZPaBnS4FL9M9/K12wcfvl
Tc8e0NFM1yGuomu6+36x3JDHqoSqTXuoKmjUuSI95b7DC1Yeoo7AIbN8dkIv0lsTwSVLPVdl2/vh
TiTIW5dOkZ1QzoP8TXxh836QPFNeozNKm0UgwIpp3ocYE4lrCEonTW5TZJss0j7EckoeWkFYnwKj
1skBpqe3IbJdfztP1q9nzFdFTeM6OJuq+qSkHf4Khb6OvLq+pBk53UVSubxuO541WZU9luXG5zH5
U1bKQq8v9VzIqpK4xh4mwa2O/du16a0TryysbIce4sVfJ7ydz+ZRgzAPAFr2yg55TVkluOeBemdN
KjtyJNYWEEW7Q44AMKi3yiG51XefxtD5kneFewMJyX7ysz9lqy3a6gw0rMdgkkFh6gbbYmpRsZ+r
ldFA1okznDI7wzmQaLJvxQAtaqpA5HQsbpUFyE0bKZ0c19u5W44pgMmDzQoOFn6NZyfp2gl0D9Zb
Si/wzZyrsqdxR/sMitw+Tw0CoKGPwjyskbWXuepJFs58ZPeana/MtgXnkDqoBWtADMGcAIvzynOm
5tV5YmUD1ztFdBtkH1iAuUcWTc5qfiEPh1GzYPvaX69to25XO1yk/EUC9fROYFs8aYF4RF5We+zM
cOUwAd/LWmGV0YLP3GJ+MsvyKmW6Ajzl72QVmZ96qzW1CreTXtF+8co+uTFgbZqa3h95UsitF5XB
1mpqtQWhz+y2U5W5sYGtNI9JtTq7lR0/jWvJDqZudRsAloYb0PYLa7Y7ZL+U7PA4Ctay6nYB/FIW
ZjtZ1XS+ytQ0jLOssr9faSqmim6PPnIyTw+yKOX7HFnW8KgEjwhTMWOEor/Xia1NH8OEF15iJu0+
LDXzCAwQ2VQS3vaih8mKx4X6PQqmetdldnXT9v1rAZYmxh3i5l2zjXriQLhx+HX0UHwSJdsOeX7S
9wCAm+bwZvUTEWA3eKQSo8dmUbr/yE4/a8dVlZv2zGK3X7vRhuO24hRjypKzHPfaNI/BZfUuqHhL
mRhWTKbVXwvfogoHD7tCnlsR6mB4G38fThqfXHdc8xgxJQWrRIOoKYrptmrrkdSdpt7LQh1qVLir
ftrLqtcb5Q3+Vpu6bFTskPF8XbclvkO5Seh3OfjWpqzEsDfsDtxW/Bg2hveStc2LCST3I8ynivBt
FZ69SMuOUeWMG2Hm00PuQD2Is6XuJfWNLLqGXYdm6bNVa+KtZRt/PHYic/HWIdtkr+wwcsJFb2fk
GUhz18Xm5Rsm1hABagsh2TQJTEjIvWAFEkbONgE7QSLqW6gScJLe8qpd5RfSZataxV/UyPUCDt+8
f5zbpjK3jjlqtfpKDp7b2nmcrI3zqfL8YI6p/2Z2Mn+dnGC3O45p2vxHAdPn3TaEW12pCge/Ease
6+fCmO5HIiAHdS6qOYQjqz72rF2r7+PaP9VDuVZHFIPheY4LNpQYnTWseLCYdM/BYDsAZzv3LKva
1ARHxdY3nVD1IxjnlWAVvslt4LRDk1XrMjLZVKjR9Bjaw0PQTu4unMzwFI+oyk5YXq8KFf6R85tV
tq793cd2TCKwoN7YiM04mJ8QPjhD+WnXwamq66zDVsjoHzzcZU6RXb0YpGlM/A1SAgLbyJi1MWDn
HGRhz0eTgpyUKj6BsurPxqwAHiTqd82b0Nvwp/GQeZ2G66lwSF220JLJoQQm6ooNShYnLU6yE9an
3yItjLBqYSkr17M+K9bffErj3cpD/nFtVh+qjZqbYVrzH/+nT2kjFuIJfgf49pqCposRXsy5KMfO
3val+72aSXdjHGDX1cHYklXNdxZp7mCYklfqUheuf0ScYly2WDv2AjHsyNcVDBw0viXWE3sXD6NF
XuPOIAs2IkfTKJyjrBUtxgKYG0CyS8r0Uw8jMMQj+KK3rlh4FduIYCrxcHRG7TLh5hdu0OH61rBA
+BjUDnTwDuJKPEMVtIIfXWHWcAlK9pYkl3/zJPzNLcHaTOOGABGrErz/9cvK9QQMkNM3G1g3Ac7Y
fnEthJfA1MU0fpO1GCvCC6wXlQtUkWaR2wDVM986qoOhLpzZpQkWt7ca9M4Bnh47t3QSQKlPhHa8
bahrJbrgfnUb8VIj8MNfxTDzZaG2n53oM6i0EbtpXD10TC2BR/3mM76Pfs03hGuSlTDmrSV3/rsY
D7hyon1O0bBidKEn6W1h8nIr+yWBW7QskDM9ySLyAUg2LZ/5rQ3bC22pmkA2/T5NjvrgamvHsXME
K6r6bGoBmQMLHdHQ25YpNvQRIu2hVQksadzwXAxITjbhtPHCoTjZGQzlXgzaOsnL7oIhWonH2+wL
44O3qCyMPAe7RZ/Gcgu0N5oW5KklngI/2eXIl/uGhw2mZ/5/PC+kWHQeFXZVKl/Qu1sgjttsGPHW
w4W9Amw9CiTUtXhdl9B6e1u7mZSStYk7QO2dRQ7MoRG7xks/xYiPqAs9bZHkh6e3ysoJyTNWdJ5W
gM5pks48hE68qhUAL2lhp4/m8JxHhf0wEJ/og/Gg5eWITBkMxjbUnurYH46KEyDBpil7L6jX5ZiA
GMwcPI+DTkOAavgSlebagfD3bGjZps8d4wX9vEspIutrYaNy06Axwz4Dz/nfbD/Fu1AhtxEZJPKh
QnOZwYBt/vo9TUWmFpUJ7rLzhbtIxtTe2PVoLlE1v8HEpH8ovPIuiON0VRoi38NuCA6Krv7gM7Zs
ARCAKZvBOBm1o+z7fJjFhoJLECbBpWC3QNb4T+Ds5imr224H5NHBFQZHtynp1bU1pMrFMadq88+P
v3wX/hSPk59J08ll8KYUJkGYXz8T65ewElMxw6FqA1kXB/oNMjxVYuqnOkeTP0cvcfBC5dTUqMC3
M89GFm4ykEU3gz2pvWDZpspwy1p/vK3qUJwVEhEAB8JwJOv/V+G05prFY7sUnXZU3VOvx+0xCvzh
BPUfQpc8HNViOPVzMfXVNhpC9N/d9jC0pn7GvsU/9Wa6SvsoIS/QlojOtGez01Fg8ZT2WCe1vWoF
xHEQBDkrr002q1YAuSvXruiNRZ7p3VGrWQ96TT9/1GFRz0FHxbPTFQx2ZR+kenDB22DtxSXLwEDD
4ECQlLoWVRs8a+oQ/+YNpc8T7/s/gyB5SuwTHKp4/2doSY0VCjf8JubrGlZxSjKkIuV/U+Cwtu+e
xQQRwa6US98I5UKU3zsorXOC8awfA5zWOnIagL14amxz/D7lwjjJYvjrCKXralGqpb028So4TH68
ajGrP/VzEVXjI4bu0VlNx/Yc2hX6I5m25c9Lvj8v735z0/3NpyV/BsTYZoYmH/xuzjHSANTkyM0M
XVRDGRRkfIt/ECFGJ974xxGbUDdy0/9D2Zktt40s3fqJEIF5uOU8iBIlypLsG4QttwvzPD/9+VD0
Fm13793/uXAFKmsgRQOoqsyVa/0YRfA4ZlsrNcq7qOzJJeFOUCaQjFHV7oIKhCFSKz0owHv4MrsN
0Mh8j3tt7Xc53FKpDf7DMbxj1A+vTpSwsyyRISMyXS2nrvO2ngH1CDk5ePA7NT4mc6EbdrM0ymRE
aEfBHTkXbWd6Gyd3nr0wL06yyMVYnNyiPI3TCEGjgVir0TfjgzGOm7Sr4idR8M7q3Q7B0BpuV4HH
F3BnurS9vlnZ2fSi6ZmCJk1eHHCaIQMQKETnZphnXpA4mJVgSmI/Kv7lTjP/vt5DTGDMPzr0QBz1
9N8f+AKKIbZ9ProSvb4jiTE4qpPV7wJi10CAEgjRtGHr2BEcG2SMNo7bPYSGAUbe3aCCkr6iKFiu
SoRp8UA4XwsDXzobvEWmdupJmQiDws3lbnoyhzyrJOLpj2uhqCPyYmc19NGEbLy9AUSEpPM2Xdit
2h4IFkE4lxs7SxmQAmlIe7A8vGh4fIwk5adRTHic7GzXDcH7//+tyFvPcTjpaPwof/qd9SbuiqJI
q41pa3yB+i2r0vZrbJKoqehjfEhU1NxJSHnQ/ERb2oPrbl3PjS523bV3Ve2h65ntSvJQCByWwc5J
pTvVtu9qz2vXE4RDBO7VRQmL6ydrQio3Tj2xGlSUPbPxW+Oo+k4uhBG3HFQZ2zEcjYNDSoFHeNZG
+pkEjtxDLsiIk/PYt9ppNPLgQri83pZ1tC7qBKinr1fX/VU/Gl/8ntMjWGjr0M1FOcSITA3KKSyg
9+BEq6wDjdwVr1T0laJr4zbvi3adVhZICGd0nyrbd58mCGlUWEvHTj9241id8jAp/mXjYf3h9J8X
H0szNQ1X7vze+3Pj4ZEra5WeUm70oNhb1pA+OaL6ng5WAsq74G0doFhj9m51Aimr7kkcOFYkcexq
xzIXaQtfBERBz2kZ3eGO2hYl2T8Jnsgdadr9LoxJ3Mzd8s1qrHjFegaTF7sHciAuGQ9pl5nf0txC
tlKoZ9yY4Wp0k3bLGvRatYlz6BInwpNAOuZSlMHGQx+MY6I4KKXrL21Rsvan38whHhbl7PlzYq2+
Q/TWg6+puwQiQGI9qlZOZOpbCGXioyzIn4I22jEgm9Bb+1/wCfLn+mMRcUxbNVzc+q7Di+r3RzvI
U9B8YKQ3U2NzoOytYE167qJt0T1QYs4hYan8hZr957zX4DAyI37hzmk2kI11W0SmTzpaS2Fs8krO
S51EhxeRRNs2haAD6eYYTbBSuZhwXKJ0sa7Z8a38qvLfUg4Wi3yClkSB59HQhoDVmjs9bAb7oYzr
U2N04lQJjf/VrngPAS/+74fYmjcpv/3hDvsyjdwVzwR+of65MeNpyqHo5D6yJ2ujZWN7HPrS2Jdt
ciKBNtw0CMcu8SJAUjOiCW0A1GHJc9UlCZVQgA1NAodMYUAp9zyjo7elWqS7RhjnJu7VRT96wGv6
ZDjhGrF3iF8S1feDzQBxxEOZVcU9kZ5NZHF0R7jb2oxtGe5V3qcNym4lwBwdRIY3vvOB+usw6asK
rLPFr/NeV86jGqYofidjgsBe2K0Dpc8uqbXQZ6RD5sIDaKYOAAp4siYYBvUyQI8059A1VIjIZ1G0
h9upW2lV/lwFlnlo0948NCX+yv/9G7t/85hwOrQd+bjaFq+eP85Q+jjVUafYyUZ4nPdhRjkVhKhP
0G+Va7+viqWssjOZEyAJWZ4mA+06/VGaVfINcX/NA2QBS1KyDJSsB2A520Berwt2j+grRNkj4ERn
6StWuzGSLiN7DhvRLRX1cl7LLqrvp1Zr0Q5XzNFZRXnT7O02m86xR/ID+0713YQDMm+hySs78+wl
RreCnJAEBg6jC7VRQS71hOTkFbksD7Frw+3wYdcNX8+u/Ua7/qF3Zv8wsoQssjxNLwEnqU2TKh5J
vODMAytI1pk1dS+ZaL/lTR1DWha5wZkjBOtXWI3E3hBXUowInG/XtexicPdUqe+8TG4HIWWn16cu
GPK7fLRe3Eo1tsLKIsC8kKllk43DYBarBJJ+gAVAw63Q5afYhVlwy/9SsYkQzMTb2wTDgk2s9i8v
Fc3426nH0V2Ae46lzpAn40/oiFlkhWLYaYjOnBmc0GzadA157EabVkj1KM5mZF3/bJefYKquvnp2
Oq1ZL/x9kZjTsxL659owqq9mPUGnRIbhSSedoxhgQvOjwFsbee09QT+WLTW4Sj9Pffc8VoKszqTk
fzohl9+Np3vRadYXIi9I66q6eBZNgv9T8QCdW80KV1VxCWBANNOwvJc1suByOFObZOX1OR5nj/d9
28E1o+D3X8foyi2LVs3vochUd9zVUEWglqSFhXjG8WN8mmscl+KTVhMPKZXwudPib+5gu3fXWj/n
6sU+P8rcqAydd1ShYFrIau/iMypTsnWz0Th7AGmgUXK/Wm3QPQgQYexu3YIMsIrU9rRQ7IMKJd7d
OBcWzu21F5CaZPSjepd4uEjQbET/q9U3LoCsx9roQY84VvdFCZVjw339o1X8FcKA7jeDM/KicTlf
RzDEQ3PrjHeNj2fK9Ntw65jDn8NTUnzl8CBqvW9mXZH7nvoJGb82tD5OCPgnzsS5gr5+A9Lfv7O9
TOx1XMyHfvKGI+90Zxt5A5gXHNVrqzb1R551GBLqtviUWNDTpGCuP0N/iPx8NL4TPd5zO2QB+nXH
BkX7kD80WSEVZv/l2+VTPWrVHd7qb2kdgGIcvHA44CGGVXC+ij+uBlGr/7Ib0ey/3emgTXGCqJyD
PQ3mtD+OJZkdTJ1jqv66Lf0ekUErWwyh4WzTuPbvzX4iqaEO43Fjs0viZsEVtErSUSGs8CS7zElS
+7J0n+sSt++tKOcqHPb1wYfG6mYPJg+yKdjYr31lVddDHxjoPELWb737IiKCrNUNbNOMuzWohQew
TaDrC2vJeOw+CjNsf63KBmlLFKEfiva5I3cVPTUR8j9g6V8TX492VRHGmy4a2SUUzdnVdf8Jipfq
3jZrdSHtFv4+8PPaSLBHDPfFyCInUKe0N3k1fu87aEW1TAdexD31HhgQhctDuCz61kYwWl6m896p
qPV6ncxn9GEAEBnW7K1mz3ID/mqZErFYwZ5QWYd4qBq48QTOoD6Px8VocniA3cquN5lbawtfjC+5
7mV3nZo0T6gsK6fBbEB1DM2TNDVa764BOLJeFJq+7UbTuxO9sUM3WP/ig8FexmqpEWuLa4j++mgP
t5L20EUxxM0qLxowXV+DLK138Dm9qJ1jczJUC0itzMI+DDbrc9KEA1p8ITShYZy+p9Wz25Jt0DSl
uvL7Ruy6WbWSLA/8eWxPAcMYPY9XA/SvIr7nGk0NwJ9CVUCLQdE5FAvD0eujNheyxcma+bA517sk
OPRhkO9kg1ZN/qJNAd3xPb1lERgKpLC2UdwH0CzflasO97u3aQyWXUgfS9zIKYwjJMJpfbUobMU5
Xi+1gKSxqCW+mUa02DEebdn8Sx95mcShj4zfgDt8MEW5lkZriPR/eSr/vvy4mqFDeKa6hmPbbGx/
39SyVoZ6LVRvbVlwTWtBxVFs6mpzYQ9wMWe6u4xq/I8yVRnUTTrnsGbnnlCXjjZxUkLcbPWuf5RF
rIzxlhR3NgwzmbgiJcHkpSH1YQod9TAolHJoMWmXVwMM1CA64c+FzZ5TGTm9c5Fb2R2/sLhAnwTN
uW/pLypQj5VtdcNZq3ux/d8bMM2aXz+/7nIdw+D1ZHg2vjr2jH8CKhQLl0gVQiM8JICeANgVr7ko
jjH0B7CDdQ7CeNM6Su0cbsBwhBgTYtB6yIrXrLHF1sX5vAm6gDz2OA/X5hwhBCL2GgoBHTNIbWvx
YfOq3NwHc4BQmqL5KrOT19BLFPwG3bVNmj/GyHn6xvk55sPuzHPdun7YbaNHikLGKZFP3yUK1PhA
4BvE2hqoGdU0f3IRAXzyOn1YoTwWs/xRlQ2WM5w7MCd3nDCzJ/7Tmvt4UneyJntBV0AMK7MQq/yY
aApY3eJUpHvZxc/i5zljAe9iXOKNpOgE1JHNXLRxJ5bp7GmUDTWn8yPsCwH7+rkj9FgTCIV8HZhq
cDFdiN0h8dD28mgO55lxR7r4C3xTIKWGMUU5FwjVXnaGUVbZkGAIH0LdGPBUh8ojuDSSmUntW8Hr
ABHWbIvmBGdEFsuFGZcWjyRV2dC3CLTEafUgR6EXEZOgZ+4cp+QE0aXFSmqtt+Tn3BUDsGfNBnj0
UZWNUuU+cXGqzT2EFdEj+k815yD4KLtJkzvpD2Zd1I8D4KLK0SDJki/gYRZj1XJoqSxYR7kd57f2
tak24XSTTdJYZcWQb6Wx7qdnJAW/JBFbtnuvBYVmtY9isrXs0BFO+bdHxlTd2Z31y0NjspI7AJ9x
MmgcWvDf//76wDEykE2VRtsA7qp4KojLTto3eHGsx2uh9dpWmJxfED+MYXryNWUVm+DuXa9NoqXZ
QzSdCzPdXdtxoL7Uc8bkbYqKbWmfe86DNEFcTTIJzo6dVuQPUa2ZcAvq9YM1FzUu5Yc0LR9SMkcP
uSWaq+nDHmZI/iJYDEfq77YRdd+2C7V9qAX+A6TpSB6oKLqaZgnT51y9NYxKDMtWp0AbqXsPOtnE
e1F0F7UjX1EWnSF0cikzZHLlpQlUv1wMY3uGFnAiXY7mWMXBHp2Vzhefx8AY17GPGrOs5sgHKCwl
L/zV5V2m17hT2Tx99tCgXuIwIupnDuFLl0crvaqDz/pQjLtiQHJLDh9KXk72d3UMmouiN81lUJ1V
p+vDOTCoubYyrNmlqYTb6aGLtDkHVrGWjdIEs5dYFuTN7aXNSQbegtXIW2MecC3S4LHpU+ckP8Aa
lXRreDU4v7mHb5vlZVpVfqfiDY5RP7D0sNzKycIgMk6onz7Knhwo13ZRmWfXUr5M4OVA46rWBfbD
fiOAcSKgIeyLPZjVQ6INsPXhrodMNPz6T33lUEOvvk2u5uBd6eZzdKq/wD/zpMLg8J3AwCfTG8MX
YSGLA0MarmEH1q5kVPKl7MHf2Gm9+a6mKyO2cdamqXueIN3ZQWCLcMRcDQ14rv1sTL7ZuljVvdv8
5WsRdJhTDL3ALKkHU+ddMRd8kWktG1Am/xapEdkkIQxpVRw2+0xLBlK0SRVZwgxCJvHUJWwL2vjJ
78L4icPLa+bn/lHWNGXqzi1waSG0ZR+n69hzp0e1tdIL4Ke9AkX4q3AV4jjZ5CxlVY0JdNhaVO5T
EdyTV1MeTZSV/bPbKeohMuoy+jHwJTW45i+J3eZLHHT2TlabuIbaN0QfCt5wv1jWWXE/CAf9ZjA1
l4AYyKZwMhPpJap6XHKaT0sy6efHTz6IbqBAZjZAHT1wJg/Wf9YDsNTbFiDa4vbcxkpurCv4QyBU
s+ADg3RZ5m3PNZu8jrNMzBa+dm2TWdtzWwHi6trWjMb/xzg5p0wF/1/jPj7h4/PkNwPChcK73X6d
rCe3zYpvJB0gWVjl1ikkzQfUf2qscH+ZXxqnXxI210jiJGraRa57bkYlRD1X6zY+JBUvVlydZY96
yL87Rlk9D6VibsfSGneBFoQXvY3g/ZvnyL3u4HRd8maak7U2iurTRNYvcJKOwG4VkQTKi+zRij0O
4BABv5lT88KeqxSLN9/NEbFSLeWTPXT2G/F5dakEw/AYKZa3Ubx0Ospp7Nb1r9OUZqDdpgF/zDSn
2zR5NYev1co7pkkKFSYi3/99Lq9Kf87lKvnL/AwxV61wsk4jttpoaxmnxLMvQczzL59kIAcExu0K
kFJmXfQoROsE+Xp9keM1RL3MC+7KMDI+VXgDFsRwf1Zlq6zWzuDOUMFun3m12I+TgdvPGpGXn9IO
MuEgheOgzJsnWZjT0ujxOEN1xsnBuli8yQ42dGAQ7yjmpSKb5qKC21NLP3+CjjS8VGH6GWED5EPq
EbbMNFbPXhXoRC3iYCUb4BjC+6ErL1MXprvcHuIt+EHvrfVYDueRphJypOg59+OROl0xYhpyhU6p
zs7QnxizD/vMrMPLs2f1klAygjYLC/rnZQNpFZQyHCgDJQKbSN7KV6jffhRdlj8pHtwvwdQDwudm
ucR1tPDUPv6kzEXU98B+jexi+xE1q4TvWPcfZIc265CVCyJxko1wQARoQrrVQVYVJatWvb6Nc5Kb
av3M+kVETaj2u5KwqwoM7WuWDcUKNXQd4HppmzBsQ4sTNQOSx7H9buEmAhLUGY+BjpyHb7KnLNws
/wTN12fZww6GJyNtTsDuuk+IKJPv2Yb6l+HjSljKD2n6uJC9AqvXv3yYrhcPsVnbD1PqBp+goV/o
jmDjDtXUqcmIg0FqWbxaozC2+YQs+pyR+tq0ziwPJrx9bK6ryTLu58zftVe6uPs70tq3xI4XWdwB
Q8n0ch8jAGLfq4Ug+AhoLwW+21SnVIt+FkWUs0nVmuPNnhj84LLHzVbb052tFlABID8KXvZjfNin
yraI1R+8VnxiVRT4F7R1r7bVSrGanza0LpVd5sAIIbvIBo9V/qQmwf5mkldF/K1PC+2B2LR3lj0z
238pk1Icg8x57fCLI1+iv7kWYhtmy+JRJLl/Dtk3LzMV6vgBzIGyqECCr5tIQKs6N8uO0HmQV1Z2
xUJHOQwVA1epT6Ef70B+eNdpQL2w7UsgM/Lde9Xr2vM1e52aPtcSCer/T+2a6E7Ns+L2LBPbZSZ8
N967E5vMWNGd7smOXe+hNLrsHGfI6rS9PWwjPc7Osqgtzz76lnenTuqyQq7FrB3tWUR2/QQlAXS1
1Aqn1XgBpztI8fSzrIkg4hhelayJc2OGCswq8ZJkK6u6k+Q7lYyuFcJTn+Fg71ellcZbEdfDc6Er
P2ylqL7nMe5cvas/4/9E2CadlDuvTq27WMHpkoos/qyjHCO7Vl72V6uk1rPbwVoK8bS9d8OyOXvK
jN7KRPY92yZuFa1MzYDJ2Yv7g1Pr2wCoiXWQ1VI3tsNMEBTmFYyj81UwjPh1PjrDrFdbBy0Feqaw
1sgu4Lg2ZjmiBYJX6r6YCx+1iHWuFvDrzU46aZNXWdm65FlDIv67XVYtM3gZYnXYd4iv4gqZu9xm
Gmfue2m7NhBwu800tsLclIGlb4DDfE3zwf9rRIwOb4j1PvHT8fZPowtIDAfoSeAeCpTicEUB9+yG
cnr5GNRAytdwcyIvAiRQDnLJ09604IHWvJG+G5Wqv0R5vjBENb6FSZQfVGLVKw574xuEwbBPJ7V1
9w/d9LkbJA2/duuHAHIpohrS7kByfkhb8WpBGc2r16xfJgPAFkGJ/r2M/HVO1gkAgBI6eQTzvg8+
SWVRPIhXXtrhqi0M61xAU7x1VGs6AjRNjkNGqq81hY3LYd1tz3BKnsM5eqIWiDCJxv4GD7i16Nwk
ugy6Mm5InuuOppq2d3pR4herjOoZYA3IyDiovwc5Qh96Wf+wRf2qBrn+2udJu+rSMHiIIlPZ2BlC
iRbO2AwZty+u9Q47qEuoV8shJvEH0Iz5+CUqvkuzH3h/mIfBE4tpmJonJGjqtWL39Q7OlOytStR7
H6EnPNF2+iiG8FOhW+mbV0ccE/VObGSVJKxi0XFQue/SrkQJI1jJ0Z2Qq48GBQ+CG29eCqWh10X5
sYuN7KkO8ZTCAWgehgiZqNzst5NTqxfygtPHBgUpi+DrawiEeh8WrbGKnOyTBlASVyPh+DTDqWfi
+DcXuqZFD2GewMZo6n/JWl11LboyXdKdDPyh0nYrSFSCqTuwyEYkOCrtzmySdlyJeHaVTakunLFs
DmEbjm9F8F3won4x6mG8K6GxWkpzK4J0pedTQ3wcaqN4fP+vvSbf+TlXOL4bWqC8ZHqAW7KqxU4n
uPUoHDfYwq7IIpa0fEAhEnDPQIY31zoihukCQrPwINn+Sz9zHsOx2gDk0u69WQCgM1rtoYcmSbah
arUqnGm6U5yp2Grs9Y+N3TXHrDfyLQvoeG6CFmweT+mLr6EjGMCk8m73IWhMn9udE+QaakfnPSWw
u+jqHelm6acKmppZxzi/z1Oh7junLnYT+7WzPbXRykr75C3R1BeyVMwfUfFgceSGjnimws+AEGe6
1uyVXP3b1fjR+l/7KZ35RoZvfQnL9rW1p/KpSyP9FCBushygzP+cRaT7Nmli3pdTET8ao/tXTJz0
86iPxEYTdTz6bSQ+jVBIyf62a9pro3Ztnhwz/9wQy4XOGdQkwBWRceQEAOVe2ry/J9trPVhj/DJO
oXIww7Ba1dPkfM7V5j1KwurR1GKLJRGRI0MP3M9922dL0E7JKfGH9MJe+LGc+7PipWu+6rRvoKh5
08t3M1DMzwR28tC9H5KG/w444letYTjklM+2ufCN0DwKv9xKk2y0rdq9l1d1QdgsrK1kJ23XpL8k
nBr0SOvmOvNtnByiw0Ok44srEoCrZjHWx1vBO6f571UNh+Zxmgs5Io8Saz/12Tr1QggWe/XEP3hA
LQgFyOiMj+NcRVTNXjp65e5kq4Dxcx1OIyH8udUiG3RTVWa2llXdjNydq7iIt9lZ8olfPiJTDP5J
2So/o8nF+7VW9i0pPvFRdh0t4PtiDjrO0yZZAB0RcA+hF9bGF0gISREOzhLaEukEsZPVss6DU2vl
L7KmzzIdCdTEiw4ioKO0eUGNaC0cxkt/IplwaRn1piIme76OgOVnAyAmWZPvry8sL1YfQtV+Mv3Q
e0t7z16ifKGenTRzt5HShodWtPqpHptindV58cmJkSjM0Ff/bnBmlE8N8NRfhrMZm87kT/0crnjc
8uiwFmtLm+mcKh4vJQysOyBAZL6CxXzRUa/YizBWltZcBcFobkSsiY1sNSoLuWdLTDvZ2pkKYiiJ
ph9la1E3b3kWIK44ZMPLQPpcYdYkRZSG98ymdNGrnADLZixR+cmzewQA0ZidE960Ejb01FeA5rIX
fI1Kp1yCMi2PsnUKip2AhuWCo7Z60nEJSHMYatohiDlpykFCZNl6UiBjk605WcULzYXEMRmSpzgK
CLJC1rSQp01ZTNNrm5XDk6zAV4p2WeJCYjsfQEUx/uwfWkFaLfP0dQj14cmKg0sf6KUC4MIJ9p4n
IEHOCnYqcASY9z3Ix7uMZI9fbArL0D2B9mYpe5v8oPf6XMiGCljhXW1YS2nXulI91uCi+jLInocG
otO2ce8ro8meRZGGq8wfva1sLNUp2icD3kLZOsapte/sWaSy7aE6021nkyj5ZWqt6ChNyix/J6+k
7Vb1PRciqluffxrS57q6A5fCrV0962GvfUbtqQBYnscbc64KrTt2kV08B0Om3iFk2yyzINQ+t0IF
rzeq432JZudjkiuvcrjmDcmyiO2aMxRxnrwQ/bJoouQYT7rxqsb2ui/05JlApXEe4+mTXMydMdR3
CA3jU557yUFubcdH2fr3QbJXSkZAOKeZI3D9E9HTzki+W1VeSbyPvNIDEe9sVB0k+sdCYQLw/f9x
7B9TXfFD89jb9EgGxusircuF1wFws7JORZhhvnQHdwJVTBr0lBb63mY1RF9OGq9NvwxADCxaZiXS
8dIoi6k3p/x0nRCAfL/NcvepKBTUj0cogtcWjA+LOiSjfBaSVO/TwEXSxkPSNEsGHGvpT5O01yaS
2bbI32/269Cg5ZnvHd5jRpMibVq0RX8PG6OsyKFQ5MFMN5KXT+SDD6s+ZiYy8LXVYsB/s+k6n6FD
IjMK/SmMEZGoGu6X2FNiqFVJDFrMJAOjb5yuNdkgi6op91omjEM4973ZHVWL79PO/A7gIdqZco5b
F5sfd4l+s4tH9eMj5GXd+t3KNMk+vfW+juZMA5DcaNCJk7PJT0A3LrmvM/uptxFMaomyrWVgXIbI
49qDs9uBBGUOnxtOKU6mKR5v4XMQo8VaDmqCREsg2HMecECnfwxo5uFyDrs3izXo4Xp9m+TjU+yI
zQwsw+OY7yNNNTdR4TWnMvHfQlINdtdanrUwqocmimpza+hw++Qxs9Zzi7TJIoXHaVhMapqshaqn
SyMbfm2Wvct5CGwsLkSk6E/JWaVNziC7hIFbHoMEbdPbB8tL2VqbIyIYvQe18KgtTcNpj8H8rXzF
h83cxzsCGJzCGscfxcjtIZVzDdM1u5VsBQnsovjolldNXWmznZRsKNkTBpkZOEha/9Uo239OHpJW
OXH0lR17Eb/AsQaUHQD6Jcz9u4kQx73vJsWlyYjuasoYrZQsBa3bFc/TBBT92jg4ZPT4qtiQNJdD
cZj1M5vGSjbKyfw+b5dAE6DBmWdz40DAvhO/yEY5yFcg8FGqt4aQ805GtbzMwdlHruHnsYYd8o+I
VldbV7vse/O+f/T/ZY7mP31v3eTVh/3miJf21HWuc8va9XvoxdJt04ewTKM7NmHVo/TCwHj/+A+m
yXVDwjld/Si7Nk77KE2yJj03HF//aaCcS878MTDtSKL8h7nkNB+9btPLrpZVXqf/fS4g5iF6idGf
30vO9fEHdZPxxS3nPeXc88MsP0LWPv6Cf5jvv/0a/zDXP/xR/+0H6gY1PXp28NXu8q3VOPBfN3BB
+bMIri1MsZYbSKWzvMc4+0u2SYuVK+bSDnqkKubtaBdXqFWN47OsTcSpLhVk3Qu0P9vrDrXE7bdO
myBAXbRe+nj3TgXOdFQF1AZacT0jdSnmbpQtMk3v2tA0pFazbWUxk90ThGt+joScbdoQNioX0pjN
Le4AznLSOtKHbPWUaPYBPQnv0QlCCjJ2dqgIQ5j5YRsS9vRFgQyG7CIbyFowoAUjA+Q6bB4Lbc+x
8IrxJE2Bi7ewRI5BR038UQ6CC51kFFX7djMN5IVvoJSyl9ImR7Z1CslFjHLDzTaZT74AHuuK7EGG
o0wktWVNhqo+arJNqftrmwwdzbUy07OH33teQ1xd8tSAOU7D53pmfA1dI1yVyuQeNTJBLhP2pPN+
tcdRDNHHFJ/AfEb3dapmpBOTciW0OrqXhRoH8fVKNHmzJpm6WP7ZMHcuqpDdt2V+/WXAbJdVELEg
7gO0mP9p3tnm1Ug7dzxS8otcu4mkOyqENHMCFinQdU89TDXQWd7Ro70mRfo/l9IaRSnaVbJX2CiT
vZaXV6vsIIzK15fgBXb8he52mKcKpc0RLk6VOjJXHdCmoyzqJPGOI/judnMzInKHvyVvN37XqAjX
Z7y4AXSFbKfE5OUAjNUekN1svbbJWa6XiQ/NVND0u2amdq0KEnng0juWRhU5q7Sa2m0bOCUSRbVj
b2Mn/U5Kcb+7Ng8NiBslUE9droOFGUSOLqcQ3vra3JQIjk/VsYAxSV9c5y89c20ag8MDSdJqrvfh
xkeQgjQDyKqkjXzvn1eKqY/1IlfjtzhCebCqtGCnqzluHZGmJr6wPnjIgh4YOVmbN1NQOMFDWQ3P
bTZae9lrSBEwQsGHvCKzn5P8xDoo7GYN3WGDCHXV3ouaddAyRHstzCRzFzUJYQTqf2uQnV1NOcV2
mBx0YEjaQto8PTdPyriXc0jLbbbassl0dM2X3gHcHwfqJ6VWSUicC5ErKKkUzvhNDxV/+4tNXlYj
3C/xEC9lzfsYJqtK7gIZq3Nl2dZsoB180oU/CZQ92YLFpifAy1O9FbKbHsGq87vdaVJrzVu2XdqN
WxEy3GqSqCmFK3Ktsl1bg6oNLrKxR61TNvILjAu48L8m9bi8xi90qP8e5uo11CGrljL9WnWT36p/
jPVp1SD5RP45iA/E9qYLwWJ9WaYt2u1GMF10PdWODmv0QrZKW5/UxxiK1QdpAhFkrtXGJtDlMz4I
jPah68v9rX/ag71EcDIHds2Uvek14Mk5IjXdZwsHvrawcfjcp6WDSLXvJQhdFLiPxUD11jBfydZE
gMu3J+JlK9nciShdQUiMce7z57jfJ4yJRy0DfZjaVRwqxgb5Ag+BlLEhLWNo4/W1Liy0a6ZiF2pW
er6agGf/7CKDP1bmirUBQ/tSQ9APz5hSvwe9625QNK3votGoroVAmmoB6HAkSbAP8NVZ5UK3S/N1
yjIHtTFkiUFjG68+mcMLsxbjyQ3Rg3PdCPFfF29QpAuT8G1i3ec4H8BPVuE3MdMz5QWh78mNd6FQ
6m2vQ3Lt+e//B0DxP3VpjaHfQDjxVbXRRwOlZNUcfv7cIeoTnKaFccVIya2cLAg+/2InqpCuJmgS
D1nunSLbLb6KiOCsp2vxJw2SpRUgFJt7pxy2+lhB1pvU2RFn37htat140FIfGV6f0GrXCW3RVkb6
lWj0fRDpz6oG2q6tNNI2s8baSM+87ZuERdrOP2nO0L865+tpHZKwU2/HHTgyzvJyTMNjtwnn6m1M
Xij9q3uPR2xaaF3h30dJOt1ZIXTADewbz23e1RcVj/9cuRZGeVFCUc/RBNpLoS9HHT0uFbf4oRKk
DMVe8ShcpChBQzaEyPOd/KIRru6DBlJ9Kb/SLCe7qjsz2cuq5VXXQeGYNJfCKHbSDMfwz0EaZ+67
NopBXiLScAyM4TVo0IVFNz54KpFe25TQ966kTRZhokXQJhnx7maDreRgeIN7kqMi1xFE59X1bSIf
NPJOF4EOvxeTy0KfpVqqgoXmZmsS9cfUeYQIRQGdZifSdZnCvILfDu4JckbFnazjeLfXAApmCoYs
hBVs7uSY/4+x82qSG9mx8C9iBL15LW+7ulst+8KYkebSe89fvx9Rkkqjq93YlwwCiWTPlKrITODg
nKyZl8bS70FGicaLXcCY8EuQGgYFP44lXiLDjFdxwebC22Tjl8You/Ng9kO49aLkLCb8rJxvzO49
7Vg0iGRV/iyDn2v5c2ZkW5I5w1Vcc221p2AcXkoLJZOrnRfWLgTn5hqJu0ka7RBZUBlmiNrt6K6b
vjju+6Ix0s9lniYHkpTf3Xn8vnM6nn41nBKOSmY0017htej41qn+0V7MvlPcJ6DMB4lo+1tb0y3W
Ik4Iof/Y89/+2xD77sFCPXzIg33X7xynMf6xhw8tz35ynHN+8/M6/2LnQbYmq3tRlTHfjto/6mjU
VxkU9rD3q9ALoo2FdO+GJHB7HlKQcHCB/frArT3y5ZAN7+K6j6Ez8NfTQo3jDhc2qikdU6D393mO
5ngFznYrk6VpgJNXI607ec58FJ8S2Eu/WETrGMz72cXpvA37IPNL59bGGs1b/kv1OnilGvOtCBTz
y+ixh4TLCYLmLAcwEDnpShbEaufBs5wC6u1M0FpBq8KU7CEoUIJ9/WlOTQBXfYpWuczGMiumVSrX
u/kzOKI0+RIMcXDWAjjK1ciDAnEItjRYam+db4bnKc7nlY9KxJvbOMWzpzpHmQw6XEHTrcqxtV/F
lSXRt8rIk6tYbgspGkvOeapGG4cnKcUxO1B3YZcWF6dv8nQjlzQBz2pqnO+zcLlBXRypvBgSXtlj
Hds0FCU5CJvqL9mf64D91v3ir3vYwlKaEX4RVrir8qBy1MJfV0Z3bZ/c0ayB7et8SX2AJfz2umML
3z8Q+6xZ233m/U3Jf6Vpnf3Na2CShcCxoGRVUdz8GZtTjKMhwXAlFky++b5USVLmTXvJlxo6QKYj
CZT+C8UDoFr+1D+rCI0fotz1D3bs27fGpECdDnn/4tsNRU5QWSvBVxm23l/1PIKywO+N92LKbJvp
+t30FRqOxsaorlEPUqLSk3qnRDYUI92gvcykA2FjjvKvhd+cLITsPv4pIgst5CLnHtWhJT+eDh/5
ABaqCwwZJB9uofYBmSFNGL9NSAJ91D7IIjZJIWIRy1IdGaX7Aiui3tnasbKapDxc8/a1LPrn6Pd5
1+fzLl3eMybdZHSlw8AaL6Yy0gLpR4ND2XupKf9YZBiZ965p1V8WjZC8Kml9KxeEt7Vguj0b5FDi
Zf0mFBB4FdT/bStp029kzQDm+4UkqbEVX7eY4nvcB0q9gDZrQpIuSEF/NeZT2SBmjmzGePOcKrFX
VdABZSuGq1Liu0+gmvOUjpf7In9wh9tgoDg8pvMhCms72k5jox0bL/zc0jQbbQ1NGfd1AmWCBN/X
2XBubo0OTV25Myg1/ppLpW1DC1m4zeJpvEm4DEGnfRiz+QBCIKPxn49D/idVNXJYBF5NTPmfNPrM
WWmmk919Eixx4pOPQIK1n3H3z1NsY1n3+Kwe62SJ3Cv/GzYBhY716GIiAXoJO82+BNNEovZhy5Ve
2MUqcqdqJ+YYZMjlyWW0HhflK7Z1/RHsxzvVqKgdmbSjPNnLkCqhsslySguTzIhThgbQDfzAnrGv
82R4qru+f7qvNpzPpdeg6Gv5kDiqevSp7p4btfEASNbqdW75/MU9U4TeNmXl3qPI4r/vklShDDgr
r2qQniWqj0sUqXR1WtW1W27CPkWT07aNZzvMzOe+8TQ66Dl6Ly5zcYm/9rL90KTdVfwylHAErb1x
bPdUhensjrp5B39kx6O7RqAUcckXDxKTl4cvGbPmJVsG8TUNfUASIkOSJv3aRawd+aWgsp8Wyv23
KmpV6Pwa9VoMo342wtHaenExfJhS80NVGPa3MqWjD177z/9raDnYHxTIt79xBCWH234PDQz6YB93
zRB0/LCEFstd6/++a9kOHhoNBUJms/Oswymwceo+31Zlwd508RVT1B7KVJkoxvzwwTTSXCfkAIwl
QsJkiKqRzmmlfEKkx3k2sjA4j0XyOs6Gs4sTRDBSiBaumVVo16aq5gmKSC69afDWhpq3m7rzfzgz
+KSuEj7FoB/JBYwo5xEtvl9Wdwt5Ruxp52aisgYQe7lvunAg9Jq+o6qjnW1SSt+xo451KRw41sag
P6kuLT50yeWvNL76lDU0by2mTGi6ilyQUZZH8bHHyV9T7czxsHlxFgMyFbToYZpcyZxEoayobfQu
RZV3CZGJTFVeNfSBLxLhFbn/lNnD7vHX0T2Z9tqYDPe/Lot8k7a7Iminw+Ovq42+GjT0BlUvfAsH
fb7KUJvgZVYV4N5qXCgOlwmdD4F/CmehXI7g2hdzGgP1viRuFPvgzeE7hETUa2OjyED37cXrDHi9
Ydaaw3l8ksHuvPEpKqgTIEFBOuxffrsKtmqUOND1k4uUdF4em/2ZTluUgmqUxiK/689+xrvbCOL0
MiqhfdGX5xD9i9Yvpp/33saJ0IeQkD/FPXw15QZ9XpibltvJ0C9XLs2F8JOjjZzCUmqRpIL/xg7f
hUNUXNpq/HLPUyzJinmJCNgonMT3MwLmg/CdF3jtMQozGBhprno2cyNbeWE2f6laYMA60p1Padso
h6pXWpf+azLjK6SIEM4wHPfqeP+I0YxwOMiVu6ihz8jXQWZdXB4uuZqL+D99FRqH3/zuUHVrxTde
4GUAu00XDnXJkuflMOxKkEA3HWjYYSrSbI9mXLWuYV/ZpVZiPdvBYD17sLntzMyr1h0ZAGXl0ut1
8SvvIiEyACSMIa4d9noa0IxjQEapl5xhRZAhmsLiyYgjOi9644hCXWVsNBrunlSCxSdhIUhJesYq
FwFaEm59i4Rh5Ddvv2fcourLrPItj53JeAWsUa7qZtY/INbirweke148rS92cWHmV/rFITjzm2Cv
qjU9PzMH9My0vk08T5ctB6p/PwdURLsLSD9P36Hb7PqGepZJ9qfqLtJhwWlc7dQvQ4CYRwb0ikt7
mr87syzV7yb/0UxPsMXsnDT74AxIfRmk/89NDQ8H8MXc/n7p1Z+p+qJOuzCzogES7KNqgNSVz0vr
m+SD2wX23o0Mj7Yg13vvaunNqYP+b6/kmJo1yfhcoZRy9l2a8hya9f8OtjIfeLW9cebWOhcUHKg2
oR8KSmGg79jqL0X7Oe+n/uwN5Lp5M+Lq7eb75CPMRyQY9UyEVCXkMQGHQTmr3ek3tbaHKaJv9r/l
3zJ/UeUCQkx6NDLaTSH2b0HDXL/4aLqfSaUEr34a/aNOnn8Sa15O+3RSaHk/v4hn6Hv1HMXeJ5m6
B8Uc9OKpSTePNZGRh+uhDkhqLXeVIdaaIzXz6Eks1fbsJ18rdo8b5UgiH2Cc/pg5zb6lknmrl0Gu
rGVDRz3LvE+4ow+BwJx8Avumk6ir7VuE3OUNevP2SLMS7FT/Wj5BJr1x8gkNliX2vtw1jOcQJbXT
97s5SBlEMRgQI0D1pIrgat8UDc2T/kIgrUzzdz5pxc20X0wKSm8j/JhRDluyG5jzJle/mbGqXTKK
SdeZHOe8KdxC21i8yLYCyfEay3/KEREXvI64XN/9OId+ek04gu957i19HlAIJF3BJrEp/hZLhtSB
WnUll5Pfgw7Tw8uUu8r1ESJXsR5miI/Mw1bXUP6o5uaTiSC46F5PtWu82IvVh6mzhj8FGNhi1q1i
IT8yXPN+bNYQYFW7jC0EQrwusiO8+bxjbVnYTaYAZLb7p8hsnRfUp51bxfP1HuxxCDu7SfI1kckk
cl44hKQwZ1fvej/6kDjQIa/UpANdoI0fPVTIT9NihXns3dwm1y453wL6KfKMsos3bPkqB5v7MonJ
QvWPy8yp3ju5z8nX0o+Vr3scdFtg836tw8+6XOqmAko/tw6/+mRawh2Nx7GXe/pGomXwA4Dwdxuq
R/IxXcG2YbmZDA6tMiAnqF/AOH6KnC65urSbHJwJCNxiGUqSgFPgKliGiQoG76+R6k9Ivyd8Gjgf
gT3p1V/MGNI4WBxiB1Dmv+JkRQ47HG86nn6V41tnpVhormeUdGhRorHI3CmhOV5Q/xovuhbyjftp
5mGu5IBe7XgFPLK/B3rLtMRYaZ51wIV/rLF809qm00j+XoUHeSW3pOu78qvi1s6zd2t19c2G7+Zk
0+N7k2FqYshN9eQIIpF/cPH1Zga5esd74Rdn4+lvIVmhEyR0f14L9najwH2SRE9xo5abmd6M906Y
wy4DY7Zv1cp7emqvfWfNz2WZs2+ZIh+4VgbfKi2U9pDZkMqlzQvMP/UR/dVi3zmx9laX+jeJoBPx
TBkt+xRmXr9VtMI4ozHdkGmwHfNQ+15z+CMT0J0UqF94g2pqivnKATn+C4+QzPzCHGQ7Den20OP9
8e/AOYYxqfJimECo4+zj1vpbWQh+ZHAXcp+HKVd909GtgN7Sb/5HrOdX8x71p7/FFZFjpxYupEE/
b6frA5DP5PtNcn94asYOUaKm1J5bGoM3TeEnWzFpQdOeMwedEdre/3q45KoeJyS92B2HcJYjY1Kg
/A5pobUvM199lhAobngEcLpbiykTasYrwVWMjdzcmLJ9hvgO4L5cOUZx/GwtOnA0hI9PlZuDvFsG
HmzJBp0dbaNWbamvZFoCjak85SPkpKETfJnCBE4DETNx3OqgehOZKrjrp0XKpBLu+izzezqTFuje
GFrjpSvDTw1VpasFOvbNL8NgY8xDdqjiuX+LxsneF5mTb2Q274z8qqf+XzJZ8Xi8aEr0l7aIoeuK
Hd/MZRg4lPH4t0uYuH5MyNVYT/khnvhti+nNcN7LFcKn9mXmfSo3QXAK+L7cqpvDveIgVwO6wLp2
8acyn4KzCxXS2V4GufqT708hIyKvxymeN//30rGDCiXX9W3aIYjTLoI45KaV08OUq05UcGRabImR
IVuiH0vuPrXuUfLRIIf7971idYJq0IUjPBwNq1jRuVEcw74AzQb5+HpU54w9mxUrh26usjOiMNlZ
ruZlBgKBnemA4fY0u9loKnwIlYPeABqnqf5Ep9mSVcvqxLmUXQjhfZm/Ttr0plBA/Jw4mrEdkqVv
dcAkGb/qUq+i0a4PztBHJZuxGb3XfLb2LRRbZ2TH6TrN8qk8im0NKoxdnT7sokGPjo6YEqSFtg9t
9BJ/v6yb/INhJ9NR0yrKgWnpU4cfEge4gcpRRFhKqiZD/cTyz+PCWSKuR5yYVmela8Xuy3OZucem
tLoPABb7gxItDUaN2X9GcJJzQ6z+NYAC3bZqrSwsOsYrn/tXL9Xmv7K24F0RjukztaaVmjfh8+z4
NNqrep6vYbGZN0EQX+5V03apkEq5My7Y/o8Q5Ykl/oAj2oqepWLdGI62Nmx4qYPEn94VajOf6deF
9F31PsXRmNyAdFjnCc2oVR/U7QeSCxHl2yCjBouZwGC0q+kCAQOfmmvLnYxdKl1YqkoTZZ61h2wK
/SfxyVWWaR8D00N9JARU7CyvHmsZKtNzb5Y/fkizIT89/Iqx8Mn67l4CIGYejr0O64ZZK95L4AMq
jM2kJlEYDCu3GRCDWJpq2yhMDvChf6ah/AaLnels5jKyLxo6IlQZ/HnHCyPcCCt3WRj1Sg1pYLLm
Vn8/+WAzxHzM9r3bXsSUWTHVlm6brrCT+D/0UFR0TeT+wVL0eSNNna6bDTDN5DHSD7R8FpHx9xi5
9U3Lu+RjfxiHufhoa6ayVdkm82r9Ojvgh4R5AnAq/UjmvHtQU7QUA076AK58mALYLUpvKuFFUSmv
ea11Z8BIgwGuxyBGtEYYMMK6tth2DvNB7mOlPP+C0HweYy+kHZdu8cAqo/fgteCmXnxBEIyQtv+Y
lSvxFb5CB4RD62OiFz4fsz6sp3Eed25fQvFLXrA71uEcwfuiYLvferPI0OCZ6wuVT/3YdtrO902E
RcWX0bvUQpjm1fcYcWoWEqY9gb/5h9qBHDXjR48sIyose2OhESib+QXKW9hO/Uw9qJkTXgEPJdsA
ebW1EqTR1W4Uquao20anNolIMOZ1v8szNX0354W9UqlP/O0paI3Dt/cfpLWv7ejF4AxMk1cIf6FC
P3pNbbI9xBQRr7FepOu+DZHE9jho1GWCauZEZcdko3ya0ggEmb28+1y+ESc621Gscqenwc3yAwK0
yTys6OEZOGWZyi1uW+U2OuGnKI+Tk1jiD/PEPsWcXNEEKRDY8Kz4FTBDAokrom/aCIZmbqo+WUfu
mwHt03Od90+BammHsEKyJbHqRZJ7ufxlCIuPuce5+eFCFNNCfyp3ltaGM6pT860Jeba4sTLsLTXq
4m3oTi8NXBCneJmVEM5WJPjUEExCB865dZ1jEpCnNvRJpTgWqrRuzG/QeVFMa3c8LJUXM1D8F6+A
4iHRtS9iiT+rIhOSYsdfh83s38OsfuzXapX3e4nrq8a/9fQ28zB335kWbD9xmGk7c/LLT/HU7Qoq
7H+HCqITdmTOT4rn1Ve6h5W1HO+T3l0lfBs/N4vCgRHM2alLs+5M78mnQNEhnTVH468iVo+NlE7T
Gc50yFS/tVFKdcqvgg9abGqbCVjPLems7jD3pQkvUATF+Gi8b0wT5juh5HHDOD61ID1W91qBN5EJ
+93ul3nFXAh6koQ8mKwHvmxvy9nPjlJ3jrT0yeVUcs61hBeL3fn6vq4pL3VOBJ2fOwane7kJyb93
Np3Ix7bqbGdjw2K2Nyo7grQQle1IG7JNl1nKtWNDRpaxLQBs6sYnMzaOg5LF33qDJFcbZMlbrQTT
PgCQecziOdiUFocLkQgxSTCzE88s9SS2XOXUU787xZYBTaR4C57nVtFwjiq7W9+BU2apFhtFi+NN
PgZQ2k3uTeUgDJ9q34KKGJP5NCyDXMngGSgQ2XHYr+4sVpVG0rJzwjvF1UDv1p3Fqm14kOfOQvUI
ccEoLAU/fY8woaQS/3IPoAIuUMFuVy5bGBEFVFWISyGuw5bhbod2426VpP1qzZN9quCFyFf6QhMn
tsZ25KTzAX538tHbJ7/q+eymxl2DdkHMDr2QjTmFw62vm+EmV+iycPI3OmUrvqBSkQTJ1WmCnj0a
9o9AifbC4mveJPnxNz+Zpmtl9uY+8Obnwi6/NFrecjgOjPdOmX8pxiRauVrn7+rKa85BHIx7+Gj1
G9Uxa6OEkfEGngAUBJRw+6HX1F3QxeEKcufhi1zlNJLfrx6+8uEzGlggLQXGq67UXrxkfEJzsPno
+dT6eycwwZxjQsYCn1YSw0CYWc1HQBQLnW7WI36CafiAohL3g9dm5Y0E3jdZUxs2z7DatTcSBINp
vAl8HndiNlr3LgNwH+ql8tQii/ocT2oGTKL5JJYMeZP7IAEN8xAovXfKXdM7pcvgUVPkxdLvaVKg
gE+aa+fF5QI80bQ3c2qdo2ukyVpm81C1nvJAfRHrvuApdZv+LfSyYuvmINlMVbOeOyA5u4xu58kP
b4CMrooae/saZP+tXAZ9jsIDJHDFarQRdF6RAy1vhhqPx6ZXP4k4i7iq3POOqWZ8sasUZW4zggs2
qyrgferwlGrapaGA/05cvT/BvOu64clr0wg4yYW+kUTfumrVnGRAGcLec5aGJiWPT25dfhxqtd+B
Emruug4wC6DrMGXv81LzYBhG6kEGXlzdNkA4gufGD19Zw35WJvpRFs3LSpksWT5k/n8tp1xSb8hF
ckyO42ndxjCtyYAkeV2uqhBJ1Yx/cOgbmAH11kCr3wVM3QPE7ZDd7HXwk9JP0FkJbxYYLziE/uDc
+m2iD+iVdlF7GLImUmid4oQxN1HVX+TwIeeM2ahcnkR2v5pa8mpllqwiK5+eK6em6S/XSXjbNA6v
IMYLr1aZH9rJiRDw8vuP9cyO6F5KLGaahq1UMT7abF5Cs7Te57SB3yZd+Ufc6kwiELiEsZ3Ncdpq
eRhv1CWHn8P2daBZ9DPqXsBrwiXX/5iw0+6zWOIXTS25klUQmX8W6xcRrWW5TEKDsg6m9tAZxXCi
NXo4tUHw/Urrxl9Nrx/I0MfRq1vPjofEBtAitG0+hfVUHVO/n57L/o0aVo9M1rKjsyPgYXM18/qd
XN5mdvPWlDnM7SQe62NcBZQiC2PYdYByeDOZ8Yk21SP4g+A8QL67agd/eC46/5NLo+UnkJLTnqYU
fnitFyF/obcrxFVCWhOT9kMFpIO6afTJLbzpPIZhC3CZVR48BZveBUg7ReGb4aPGMuljf57HgprX
cqUuw8P3MNM698rVw2a9a+b6atbfl03e3hKlLHndV9nXZozXujmNX0hmxdvCcgHbqAkbO37yaYcO
q+8DOIiboH9LWpB1XQaJ5H22QTg0s72VTIpLG6KnJLWyJx8QU0/GMa6rPU3uef2CtnO70g34Nd2B
EqkMDrjCtYrgGNSC1X9ikKpfAa69NWo7vC8KYDdj7LR7Rzfqk7/QbpXxt9m1kw+x4wW89uYFJ1MZ
H425G/aZkXvbVoujrQeB3aafneC5LjYNSos3u/ESSmb2pO0Spc3X3ZSFz06X41T7+GM1KgVpPBbI
oKWmckKD42X5h8y3ecy7rK7zk7cGT6eErzCXFvsha/8KBj8+a7W5b9zlay0lLBl+Tszy7S/9H1Wu
mA3WeWaFlLbmVK0PvWt9u7/ty6b8yt9JjoMGRo3Gjn+bVU42w2zgO83panaU2rpayyBXiRta1LUR
8YV+xlqnw5zOK3E+Ans3O9QhKEvx/xLiwZa+Bzv5TY11Cz5ubvVLSK8hY1HbCDI/ZgKTCso484ht
07lbkXyG73ksD2MBm6RYRj+5xeY+YSAAyU6qODQguo488OPLpO7buiqu2QyeOtMANPt0CY8rccI8
xSVMT+NljC53SyYic/oISQbQLei72OYn3T9Fcnbsqv4WOjVJp9gZX51BG/a+H1nHyXSLm8/DawPL
d/jFcJqjrEnj6iUpK35vMFSnfvJP1U39q8fj7jUx3G85uZSzuCyyq0+u7R7FmtBtefVtaIAahDK3
1djEL7r9Nzhc9UWve3+rUZ/diGmzq1wpBnLv0cJ2GV3ZoFsvyXI9Drly1lpzr4z+NjPq6OMQz87J
agZ+9WXfrb1As07UjNExMscQTjuFnSpEnndeT62m/pq4Nx9KiZNX9PmpbOudBdn90c/QZFE1vzxq
kA+ui36cyQpGKOHAgjx5h8aOPkymU2+zpZ4Jfra9zL7rbGoXrhOQNT5qX8vJSYZ5OSE9zIcvaG5T
mYT3OW2J+l9Df1teedQ0y3DJp4RnT3GeHE9xeYKTAEu2U4x+ezyHxUWu8sKghi82+LLiwtl6Pjs5
WoaE+a0HavAxeV+LiMNRs5S/Bjro+yD5qqEgD9Z/Sm5B5UbnOoR4t83s/CNgy5ucAqDZ++TwVXsf
wa+6C4PYP0JE0MINivirlk79xyng6Q7TXHX1J6X/mFvBqusH+30PVd+t66fPEmWYjXeIHVjoxLQ4
VG9c2nmOYvYJ4CFHK18mp6WLcfLuUZRb653dhsjLQVgWk3U82q0ZP+VVEG2VubDesykD81mO+T9j
9cY7z/qPG0/vK/ScP9URvGdKmaX31eqoGkfSN/ET28zvq2s9SnlOB8WyOkuh9IjslTmXH5M8i99o
Vg6PVhZbu9rihZTNsIrSu/x32dH871S99aTBOXlNYJUHUMdEwy9SzYPiy2ypJiydZX1y3No7jGNC
d1Sq65tqMvtb2vXKfiF8JgGQlBc7KdSdB0DkJfN8Y21Zuv/RSeqvoLCqf0Jg73d2nlGlttUZ0ckI
poVWpWCPbNfTcO5HZzgrnKAoBM9HsSywW5B0B2VcrR4xd/s+lxnJeJapRtOgngkhCBDzHiR38Uv4
EZoBkSC/t0IYkxj4NYVP9nhT3Ci/ivFwh0ATnsIZdokmc/X9bxMSjGCgvhk91Jrd5W6OVWUq1ago
PNZJ3LcUGNrIWPM2uaaxa30Iiri5RAEdOxN5yA+pUVUH2+jhZl5mPSi9tmU8e3uZjdraXQU8J84y
2zguGl6u/tx4qOVGYZEcEocvTVlBL97oIRoMu9aClAdoUOhsvZZu0jzJ+0tQ1lcPgqtg3RmlfvM9
oCBV9NJpWkSygyGBJSOG3fLpHpVb5QvJQecc5Q3N27MCLabSGPFRgmUthyC0LlrT3D3uYlDE2g69
bm9sVHECHkVhvkeepVxTAWyv1FrBHy0ppnlI3W2MkNrWh8jgnROP7fMU9FvK9/D2TRYVsHRw9aME
Kxz1ToYKi14JfeHFL2mghi/jW+tU4fHRbyE75cVv2nz24n9snn/6s6Grz17sHkxEYs4yzE1IGecP
ZmDGOoceN1vd46zWWLiMWTc/Ln9Z+HDGbqlvQdtlK7m5WsDeUiEAg9z7j+IExyp7HY9xtpbSggyz
nMsfdYk/2xIq1Yp7MUNsNYPuOiXBXkQBZV90YVfDojdndY1X76fRaVfaAFhFo5Z79RONdi+5lKBk
NQa5DrK4Ts82Bz3awL8T6gUfdPBF/8Wfh5DCSMOOhc4VFGy7B4HeY6X4aNifd8XID1cmarVGOtMr
tGPBbvfWRc57QW/VScPrwTLvlsz9tGRuiRTYF6yp90jp/vwZWUeZvQVh4W2lJxeNtMPURONN+m+N
dKh2nhF6G5m0syx7hRRL5u4DPy7kUqFLlVZd2+/7q29H72RS1iQOqmC5Z+Zny3C/8HB91yWGArC/
+T6wtSNJ3lzFnSu+rZKP1tRV7LfNTsL0woBqSOZhGx52LUACtk7w+/ON+CUh87v9S4JGpsTOl9RN
L6WsX+blknYP/7usgNVCMUYqqoKvEq0F6lKxxXEm0mzIZfrsjBwc2RS59KKMApU6LdBcyt9Oa7ew
rVBxR8u31hfG/p8EQkIl9DDNhYvowUCkaICp0iR01hIiwaDZfDCD/rSRtm4DecJnw/yaC/egWGr5
9dGlLfWdoPh25yZEOU+ipWX7X+t/83CPe/+f3JGyQqe50GCovbuLnNYB2mA4gBW46pLIvfbkuPIg
zU4P/1BZqGoPejfsDBVlh0fw4wbacpdlLfmTDATFjxvnXueuTJUsZ+Zk/hNKG+WaahZN3ouZtyNg
zOUq8yb1UNvJP3S6Ib4hvhShCLDCIfLDQTQkiAyFwVPQmeprilTdikM8UhdVor3Wy0SoVpd6sSTC
NSd9k+Y+RFjLAhkoaazKjlp2P6buuk778Z4EsRv9fRIYzqkowxLEQab3W7Uyqo2rqhx9werAlejV
R4oUpHgLfdz1fgUwS7hp7pd8NvGdz0aoa35nsfkT041w3tg0M62Ljka1dh2U9GPBC9nyYCmMhSPx
hzW7sz1snIAmgpCK4/25kjbmlqOldZJHyJ/oPL14atctgMyNPHR+ewaJb6bEdPAL500sQstDZwMv
mDZOqCerX3hAZfU8PRsgli4S/aebwnQLE//Ue/dnZSMPRAlMFjJRugJOIKau6DDTk+ckTw+A/eIq
Ftc9h76YoTIkT2oGoaQfxS3t8Ul7mdrm272+p+XzodN06yblPZN3yQZWQs7iOThnyijebV7wSNkE
Ti3X3ovn4bbNztvF9A7AjkSoDFk7/TWrirsX1H2y/NuryOBsxRTgvlzJcIfnp0FF9l+rN7/40Dt9
Xyumxn4wKJ9gDmMjsBD1ixkW6e6e9P9p3msEDu2w+0AdIWNs+VebTCV+lcEKzQZ2EYRN0kV7Unw2
jTqmVydPYoUGAtj0Hh9ppPDZtY0xvxUaytkCC/Emr331bBi0ZMmX6qfppJ2/6SGDWjeKFt5kMKYg
uiUBKeHC0a3dbxN5Gma70KDu9dvEAPsJKQyqGD/vpNC9tPJGNPIkXSUJLbtpTxTc55NYmeQBJI/l
MhFTgDkWw9dU96urDGRW6vuVmIHafS0U4DC/+cXMTLW6mj57pWEAuf2n9fVUxOspIaMDbChYL9uQ
r46PDtKYTp8z5Jm2mg7nE83X6bPm5P/vCNdHo6mwhucycNHJNMGnIJfV7/qmHU6+rq7KvKXXKx5T
Suw1HKPmwpsgg1VbxrlurY1Kd8PdJX7IYnvW0Vlea0p5uZuPZXZpffI7gwaXfy/TFt4FiOITAJ+W
un0seMQVZlBuB6oZa5mViUZzn12Ak8cHZWsx2FSps/h0Z3ZdTJQsotP9SSSUrcHC78qx9T6RkfuZ
VuKTWd8zof0t1x6iM6AYK2R4Q/1a2612rbPWmFZzBbsYHLhr1GHwLRM63KvTSmyt18J9NqLgXvUk
jzcyL7cwVdVY125MR+GyUIaxSKNpobv5FM5FzWuEm8nE/Y53u1xrbGC2RjV6R60dg1fb9d/cckg/
FyaapPo4FsCwovTzhFa3RrGFPGQUX3gWUqNFKGCXqWW6r4qgWRftqJxRQrI/zhCgL5yaMOMq0BUb
HzozfxkdgKl6FKMtkFbz0c2raCU+GfxQbZ9NqGlbKAXufs32v3oDRUIJ0KZ241quRQMKaSRXcklF
SKMW+yXY/3/45IrEP7kkAbSKbS2Bvmt9D/wN6frbYgmWu+okC4/Iee4lXZc/EnRT9tfQjzHN0qSt
ZVJSeGL+mLtn+x4RqfbXWAFtl/CHWxYyJ/d7zP33/QY1p5Zg5HvNdL8nRiU7KmaiOlGwkUu/dXY+
yi3HEShqtXukUf+07jFrqe6vy6wx4fQi021t0OIml74ZjVuX+seqrF2y+7Sm1pdpGeA/qC9RWeIU
20zIK4DDLHYSI9OPwP+h7LqWJMW17RcRgRAIeCW9qaq21eaFmOmZwXsj4Ovv0qa6lJ2nemLui0Lb
SFAmE7HNWiSugzDAERjz/YSYKYLaGKyoStYZoMX/R/df/WJUdAEpQxxou6j3/lpcx9ujoqV4GDoc
HAKa0mCjkLBiBXgLhV88aD3NSLe0Ic7fRXQk1f16cukTAfh+pC+RkMM19FqaSbokjlNBntrmxcE7
B1JhYK705mXb8ByvCigNBIQJZihc8auApjQgqwCMFYAHV8qq9W860za+Su+QWe/6W50V8TgwE9TC
aWdaSysqzoqzM/7AIdQ0NoC8WS5gXgzwJjqeLSoBG1QJWA4in/pEU/Kx8JTfOg0qcFoJcgW04OYm
SIbgOYJLL0ADbbVTTdlnV4b83Fjsdqh+Fcl6p9PLaBdyudPlA/hJnbQAOpG6hhmikzx465p6a8Nr
qx2wC2TgKhQMx+DHqADietN75SOqPBSUgqoXaxZrNdzqlM/QOceumzyAgCo3paKdaKaMLJ5A9QGe
sTFDCEiOPgLTmegThUSbXZrU6l6meTQtgMKuVa6Rx+gh7UBQ3ZuAFzeNGfD9cWUwlO2ULl63p2k+
CJ7/CZRpWHiLk7KjhhfPLjbQVBS3u3UN2V27BLKzQsyj+zOSRaCtpxeAmfnfGycr0BEFgEHxE9Fg
zwpzxEZhBer5YVll/RPrHe8tuZEWQYp64D0Qq/tL27mAo5XZsM7S2rDqgOR1SvZFpHaN5+hPf1Cl
/tU7ab4nK+lXF5JbCTKKzTpVu6Nfob9MXnqa5yk5g3g92kZe2GwnFfIYJx9NhAbFOFpmgZsbiTyy
DO0IUEMVASERaI3zyctxFFf6KkE3CZAzdw2TzkUPTuigWn3MvqAYJjrc6X8rosTdudBScvGxPkYB
27pe6w3fBX6EhS5ZuWSAxU7sEf8DrtMe2nZEOa0VgywOfe/+NsFvcHujZEg9HHMbIOPkA/Ko9Imr
wUJu8SGaGrx+KqI5pRKGZ16irDys3+de4yBfhIzTRn9tA46rW7/zSbc+DWjqo5VyO6dGurl7OCwV
XuZYNTbb2aynK8cFgAfQiMBHVvgMsKgJh4plQs4HVgfnxXJLMqoKvKAasnSXKjPpbszkPplRfcjT
6TtZyw7VKzXQRAmbqVSgTTRDXSeoGAHNA4SmBYytG6Ai4iLMrTKcmtDqE5AbDYTohF6ycuPZVrzN
DYZKUHSEgLKDGdGFZotlRRfktxR4qbLcTCuvTFHmS6togRHZXdCZaNdOXTQ72KpxQsHNrDPSLUUS
nie0nt/pY7VAr6onXqCJLAdu/K8GctFrZ+RGkBcY652+mHTq9Igm5O9U89OZKg0n5FeqD0KjiwQH
l9KZ1fKVPBaqGXr1+62ONiD6PMR0b/akBXMOdA8A7YHjCnBoOPYtn3pzlgAtNP+hLmkwpIT7MZPL
3ozr5GsIBIegZoguI/BQongg3nZlln41osg+x0MnEAtIjc9j9cXPFRMBXh7UGON4FKoBfQh/m13O
dyStPi7yis6GFHoQtJBkJPpfVmsz6dbNtY+Rhd56Ga1LgcdwMNDMTyqn7Vm4Wy8LnlizDNY5GXNj
GI8zmLKN2gUBWeQP7MJViJhmNIDt5zsYeJY96aWofvrdLPmf6eui1Z+WOr/uqy9z40NX7H3nO1JV
KKNVt3Oz95tL1tXTEEVoUfxouSi+MozpU9la0UOMHN3GK6z6G3BzkEAXzLnaUyk+ocn6SPoyNNCv
7k3eFoQ9qAX6LkFrgq5hFFa7eGFXyCr1tzD13jUegHEB59A9mg0ItkkvugE02bWUF6f7mLs82xpl
ap5p8MCPe06KSRbBvUwm7anNGUA+XtZon3UPLZO7y5PpZWO9XG8Z6eveuDdZ5G1idDBsImtywdaS
euj35OU2Ep0D1HLoaKhn4Z6l1wwgV1VKkmnWKgvNYgZOq/s1ZKHB7gfAdGj591uSD5hZUE1kIlyi
1+mr6m1urkq3cuezmhfhjyck3kCrO1jnXFjW2carFt/QtDctUYAtsHKL1YG8SuVFdi3SrDEN60wz
GtZ15B2yaWsPHT/SMlJ1ANzAq/DrElK6ndOiyg68hmDCDHwjRshJDTSjSkyaVU7DzlpcvWsq3NRr
Qtpjtd376v1oKy3q5e7CD83YRqi7Rn2odossgSy+a4+bGeU0VSARLUUqTnbJJUyNGkDfI0suQg2k
ZMnUVAFQb4GyTwoL0eR9aY/fb1bqNajT4S+O6/43O9foUrygNIWjxGX62kdIbXVu8w4f5+oBPcUo
tWjxmAy0XOJDirhhYuy17saHdgBbz7oDufhUokFTGpYQxbL4VgnBgIIL5N3wNyiym4PXd/kDsnpo
FFJNgCSObFn6LZKO+QNv8bSfihMJTGlm18PxlvzQ7l2gF5EbQECuwcWpzCbKqoC2aXlBX5nVw5Qg
VC2dydnoG6fZevd0Lyp84eX8qm/25ubDEqWUadI7mxvl3DXNsC2Lwyxn62qB5KcrJ9nUe/TRhltk
P+dL0Q7gmKYpDSiIni+VVpJMlqBO+XTRTndrSFwXAhN7Xh1JyXlUN8HN8hvt3Sbr+ogNCMmY41cL
0I0Hrnp6sgU1GjTYqmjQAQzQaqiJjLMFgNGNkhx7pbszaB256P3jnO36BV0FteuVKJbAINrlZUAv
ctQj3Q4Zof4FTUtgfQ+bolp95mJE6YZ2B1DltO0FyzYWndPePK2hny/Ct/mMhht1zqNj3DD8AtGp
RTTDOScE74V9lCUoLlqkcEBIH2b4XxBYTdNI9jgajjVgTss2X30Qw8xAM/rTm2brEhvw3l2gvLs8
ffG+3zEpmhp06mi5JB8vKxp0/KktATQ9oQmv/+yLAY1hJUNJbNICSDga3QX0orUfPy7DsGysHB2m
MQeaKrh9q+U6zpHj7BFp6RGotdFcEQkOVD8wzl2LIYaX2fZIVcrxed2ELH3pDOeSTwolEhvTNchQ
F99soO0AMEztkiiWvjlvTqmYAHCghtHnGSrjULndgWShD0h5M2XdwKAN0TnDTETn1Zqqql5WZ3gT
AzDgCJ5hUvLpEcc9diE3Mr6sV8v0RW1Qqx37KLvQonU9ed9tP/bAiAa7wR6FgsimF0ttnUGBiyfK
rwOSCda5dcAJT4am8H56//sSsqICysZTh9asc9ruZqdVO2X2RbgjO3D1RV7lPb7YO/UdTzLN9KB1
Lj0ByLKu0SZHbTT7tYcaoCLQ+re2Id1/cLm53FvbeDlQVuWQ/UPGG+e3p29tcb/SpKcZaVuZh4Ev
hxz/TD9/Mb//Rd1cUrbolC292g3KHIgr6HweQKMNWi4gFwJOQrwO6EOBUsvkOY8ImwQ0peVkTizA
+6/bkUxmmulL6H1u9r27Ivnc6e4uxYba3TstEB7Ufepb+O0lyWW9QVpyc3V9ufXnv7tUh0w9MAbM
zo6SgBt2cwRJsbgIFW9YzGk8CUcCPAKSHnjC0B5FMjn3ryvMMYHl13Wrt7kgDL9f7auGvFw+rrtH
Vlm1AV4SUAMSsmS3/itHDKcfmtJQqcNJowaL/kdIXuiIpO2os4t3Vi7bdeGs96j6pIv35NmyyhEg
6lYfPLUfzdadSL7Zf0QBjAAL1oY3LmoJU2SnaGgEe5n9u441MYA3yYdP4X9a8l+3vvO7E/9fd3m3
9k7UW5ng8NskiWluRRrtEehGk7M5AhyrcPC0ADh1BZi2MkAFMBC0/RS98TQlnwzYVMdF+p+WDKBX
wTjnSGmrxTQIB2TCXQfYJ61bd0UuegRTleVtaS8jci0QGNEVuvIfhKTKbZmA7EGdHmno1PlurQTG
MaxFHY71N+kGZWhSnHm2jvMnjs3OJeUJGnIR09SNvkLFdttlDJFFAkaEMpKHSQHeDhgmVwEDuZGB
ZoSsTKt+3XJtI341yKFcDlwWP4CPgoCuGlhmdvuuE18B+w8eHKNEYJcMdSnHZE9NBquWG3G+riF7
2FzCBiRHQ8Pjj4i3GqfJGGcFLQz0qNhxDxlQLQ4ATCquAwJW18hoEJPMiwDFdvhfJh1Z0VX34kK6
1SxdP9uFUlgB+fizAdpVvRmt0SItXJb6zy7LvT3pMxNBqIGjyFumLioUuZ8Pjw7SZUO91BcToOuP
HirJHkkfdXK8GkDrvtOT0XQ8ELIloJ/SC1p3dJiCarW2HRpOtquj2tR1nLMZxUAE/jVnpNNFd3kk
Ej0bKLeo+QIwb5VctK9ON91t5xTlE7gI+0M81g3QAaLmYgw/Z5OIgBYFMqRPoinCPVnJT7vc6Hoc
gz3QCPOJ2ehn7Yy9ZY3hKpp95DyRQVRdASTxct6TqA28sU8yt6KrVpluulw9UDoiLRpkFfPOFACj
GQ0UqPJVtIpm2nDnF9neAoBP5Ug+d0v0NnpXHFBiJADjGk0G1E7OPaPeEx+zBHTWQy0YAIwkiOGt
EIAUKLt7GhorR8ShlHtj8O1z1qBAx6rQfhXQlAZwdKAu9XUgR1Qjvej0uqoFsUzbTvGGdKWBrFig
zXov9Fb/tNA+qD+oznVyavEIuNAQqrIE4eUvIuksbrX7Ss7/sJk7LWDU4EIG7feW7nXZv/uuV0TY
Gw9YdV1Q1w1bv0u8PcG6R0XdX+sy+kESob+jK+VJAM8PCJXAfS/w9og3cTNegeIzNCG8Q7f7upr8
I4bqUdNwpjMtaJo0OTVpD2ySTCwf8wW8dm5eH0Bhl70P0U/7lIQW4uHoUPoGvFq+6aIOtwU+nc9e
C2gAWbJvWebN+9EGShW54c0gqKqp/WJ3/YA6qy1zRtBtv/brUKK5SmYELkkpY/4zl3yTVka9cLQ1
C7PZkNON5X+meM85hZ2ITg6IVq408NeZxbqkD1AwDQ7XCGUXysCk1efApXqdukUPwoHaMzc9sEz6
IGrxqnljp2mMfogzSN03seXEfUC6JlpwOiV3s8HDj5QLOtQDa2A1gAewz+pjDvlycmTboM4dzIQP
fuOjEiWx8L+q8K7KUSR7VPmIFeCKdCvgVebk4RVtA6Si4Q70Cl0iKfh20f56g5D1/9nUQwLZ3PYs
/mP0C5Rv2VJ+Lvu8ujShH4OcUE1paAU+1TdyNg7VBTmzfgPOY1SlvzqSgcQ6BERTjn6FtV9E5NJH
n6DqGkHBUYr2t+YPw2kc/1QrUDzAHXL0dy0h2ELrNFkdS2WZHctFOzYau660mgYPnacNqvMPC+Ht
kSPtkwJrcs9AVxqsVCQLkZmoYWU4WfIOwT/iNalddI8BbbxEOxDsxFWymkleuU/I/WUp7fLKkEL+
gNT4SZvyL/7CBc5f7gCbh7XTmQbbGX20l3SotUZhZlbgV6VsojNfHLQr6UCQAE/ts8qKZJJJIHut
26E+72W171jc3q1Ov93z7hJaXG8IAIbTGYCYJphS5KmkV2b1ekwzGiS9TGs5ezV36hW6pTdhbaZZ
rvahGVCJ8HI9538AYouv+9MyMuqt7laRqF3SBdQKRjWAadTvEVxThQSmVaOaQBUk0MxNEkS1hM38
gzCHhzuXbBbjS/kCLyxpbNaNerV8GWY76FIgo6U8dvChZuMADA1luvWlq8hv3qRS1XQb5EJb6NuY
50IAFkctJuWcAkI0sRMUd9PmpLy7Oe4U1q5tgHzQOmXMd3WSAhTeBpfGU9GJ/hz6aSL/Ii3ahFBb
zh10Sdoin7agEO+t6IlsqMsazswe/dNsdPFYoIwKqDfnsG74Q4ISiIe+BlROjcbolcDFQHUkoLcw
ALQM2LOW9UBkLQnRu6w+Q8xj0Kria0tGDjiok/QMfOTAQQi5DrhrdRdwNHQXpmZavDeTT8LyCYxO
PEEZrYnM3v33TJqOX7LIBcG1+prR3zA330wFfR9ZTlQH2u7z+jNw64sDsNKjK5C0oyvN7sQkxzM3
7Ydllych6BW0D81CiRzjVq/xUeBqzzNQP7DpumLAmQfr9GqJo9ylno99L80zMn0mQBp649D59oEk
0o+vRq2j2Vsi4rQAdtPmt3zudLS/vgO99t91622xAZwO3ESBKcpQwDRJ0VwK5FKYF+VGQAQxH0lD
A8WK0/KCTtllVesAMDbxQArzOFYt6gVYe6a3BDdP0AoJmu3AoDcM/S6iXy7u3jV6ZAKDvMSh8uZF
5ubNRb/YtF7ML565Jw0NVpYDrwx4bm6CF7G7YHicFu2pbDJ06/4m8E4LKEKPbxeFvAr4IPrBc6f6
HE4Ab6Of124kkuVN3K46/fsh66sv6fXv9FWvVWATbQ/WAIIogOmbFysHXe9mnTZm1JxoKvv8GgPO
5ji57YSeIuU5uY1jbICxj1KNJvypDWs1BVSG2PC5kutOsQAA7aQKsGglOIqT5oTIpGK4X8Ij3vbT
D+ArNoCNnA/HSdVYk27g/S6r2vyJpKxzkofcCB9JAvV2/RCP6J33Z/cB3dPuA81sg89n0DNjV999
ANvxi97LRzRLsLwCg7K5cd/73ERqR1EQFwOqW6Ux91emRHzjfrAtN39ngQ3pmTlmkLdi+MSsKfwY
xSY4FeCU9zk4bozpMy3JpRtdWbZwvFDBiPoe4K3Kqd2S1Q6Xozeg378CsuMYsM5zr0BScK8ixRtp
kqKdAQKpHSH6Ww+yDKgCA7JMOO70UjLodTSzHKM6FpnzgSShNtVud74sc0HqY3nHuy3thJ0zGyRd
DR0Z3dJ4WBIgwTgNOrNigKOWSkWDZCC95ygO2JMvoEzRL0RTQA0jPdV3QF6Z9pyn/ZOXuICL8OPm
PVhs43CIN70B3mzHbP7IooWBWuJ9AfYw5+DFXr8vciAcorNgfqQhB5ISmNAyxLwHq2MHYx7mi6zY
GbjrzrOo2lNkhtUHYM3gwzCAij0Rz14eO0/Dwp7Jx0AZ4MWYYxCmj8x5njy/PvS2hdIptQP4T1HY
2xvh0XTMpylaslOpEiI0AK8qA54Yu5p4jh5JJSk/c+eCGv6XFWSIneVau+4AzrdXvZWMwHQWCEA6
5tiij7EqnQdP4CPWAoBizO1uuwIAUHd/b/VHEVrySiAAnUICyJvSO87oXQIuo8IEIGXhAeTc9tAZ
r5EBeLm4DxXj4JmqzAPKAUFYnlSo6Ub/Q3ahoVazMG8bCxQuoGAVhRFt+gmFUM2P2XWA8IockOct
Fg6UvnVB19QQbWmaKplmZO7c2AOFIzlVeJXMcmYEN0py0mucZgQx3r1c2tGnjpfVQe97d62hTf1T
U/DN3GfVvLdTOe/mzMchJJ/QBY3vReSD1kSoNNiJgw+sQC0Rcvl4T8R0GSp+vpdXE2lvFtxMyURL
HTa3O2AgxMHNfjfrOwDCv1yQ5zsHVAEoGg+Xm6FTj+fJtcYCxeWwvMhv+fzU/buLDZaedf9/9/ND
BzUp6zUBP7D1LXDkvHULtGHFgDzL8/Aj79x8nycFPwrEu3Ze4jgbEy/CKMzzHuvEeYEUjlWbzpiX
DM1MwMLqx/iY53YBL3TsUZsezUAujR4gmmYZRytbenAU4Hzi9e8btIc8kMSaMTnhiYS6MWV89eCV
/fdky2WLLu74opE4aUY6C9U8gPB5NY/N8DGtbbw3jv188apsviy97WyG8Bh1iFyhOakfApqyPnnw
7NE5ApI5Ss5gpenR211W21axVs1JN5wt7gck6cFWvFe/FcmA/0FAZOYjKgwT1RMFHAqAHE5gau04
uuilexFlMT1YYx+d0fF8GXFyfDLrInrKm8k62NLES8CrjmaGk5Qgvb7eqUvLi3csBzgS9VSunZZV
L8WmmNCxu8rUjgmmM1QQqh5O8pyibh/7OKMDmHo4hQ5qwpGTfrBQmAg8WzVdZVz2wfl+o84UFXOi
BnLIcbB3C8s5aRV5kJF0Vm3UIKysGCrPfm5Lhr7p42ubR88i/QPxLnSGeZH/xBcWbo0Qb97+MLvA
sZXmJpN5v3PzfuDoq/fdR7NGl9dU+1eSyC8Zk/QIEC1/C1g6/9BP43Ju7BwXOBZGj2RBtzQmnnw4
O+XM8XZM8TzkilKDDJL14caxQzC2xDG7pHXDLjQTaC3Bt6yd7LSODEle4a+U0UiKwp0OfW2fbXsS
4J/qAIV+MCJfvIsWcCMEXpU/h7EXXUgHRgWBQjN0sCKAtXWFyXYjgaq4AgEKKxQMbVMSdGgC+SLg
AroOPkToccQncQb0wkPrHZBsBkf3ssxfwOX220TRTY6IfG7kbALb9eZuJTA7s21e8Qgsd4C1QAly
eTWsrNqjTTlD5cZPHRlaYEH0KMiHDw1O0lZXziJU2kz5UcowbAIeAgR6pilTU7vmQF+fAGqoara6
bsErOk31kKkSLURQUaelfEjkM8ACBh8FQt4o7UB6cY7vhCjd4MzIN1Ue4c/9OnBAVyFP/irTjPvV
cgY2AA6JnfXTXINxJ6m5c4wZ786GiSFDTTuAKYyhO8/48c40W5VkJ09Sxl6Crtd1erecnBLaSfvT
dviUY3t9uSjemxWC9GGbyTMlx2hGfxaaxa95QW34rY5cKm+MX/KCd0u0+Kajvvyb5qjz/E1jNx6K
e312NFxUqETg8dzQn8m2m8rd0bShyjv9B73xoj8mWVoqoXtTRvIP/xVkKqhcT/0bIJrT8I2WRYzi
EpybTqs3GVafu4Vltu/C1L1IUXRg+wDvQsSjI2qUJ/7lVTSyKOk/GMz+boUtmnUcM0XQ0UNFmMt9
xBcwjCa6JVY5KuNwVc6JBWjaKUMIJ+zwGNTuJfAt2lU22hROtGj1t8bU3nuy+aNsw00/D6C7Rof7
GHAFgL9Omx7kCQKYRDnwDE8kGUhWXWcvYyPYtzElZTrW2cb1ZbidQqPZA6YxH5DDlKGxoaZOauek
WYk/396ZwIWnDboVVFs1wBnoWerj6Lo18IdBnzpNQ7OLTW96VzA/RBwfLYFlaAFtTMxfCDlYdqGD
RjoFJ8wA6sPQwnJtq/qnDt/M6G0d0A9CYMM8tn94fVvvUdErz5OCRxvVQDPS3YnaxbCwNzpisM5S
OGp6B62Luvw6tssziJCHK9BmQCepGEc6OSV/JkX/aR7t6ZMAut9+GFN3A8T2Cng3xjeJZ+0FwIwo
CEgrVD+mRpKuMilpIJ/51dEGzS6gVdJp0zRV/P5g4vHynqauucTv0XFwQuc7EsTK6itV0nZ/4clf
9G11wCGe+x964YH6DXG0ruIWip3S1t0DzT7bNTGi1njUAGpzfd9Ow2gbdwXaien1mt7McUgCofrL
+7l6VV9t/gUN+O0KpkknAHr462OA3ZkHbuXN8U6/4jxov7vTA8E63C0h3ZAcyp4Djs7lpbXhVTOf
gTtS4xQZLTNgJMoG0WilJVko5WonpR6KBOg0q+dqJ1eX1ruzPR2z1tmSjjaa0ZkCClK1Hcm00c09
kMV0Wnszm6AvRvC+7xZUG6jspVDF0X3bvcy0LrSLYesxw0RqGO/zgP6CD5A8DXtDa260JK8m8mJ2
igVhgUMnjhfGjnvsu/D89GA1XntF7cHGMtAYjMQ3anCa6FSi7ICk1nUNIDY0QD2laW+Ue4NF08UD
jU2GgoEr3no8oPfjaERDyplid5vMLYlhmYw8SFvbvyQZyurVaWk9OCFVhRrVanY3GWpvCoESV2RM
mnc05J6f7KcS8OBaV1aozi0nlBGb1hOprfrLGPvDdeoAICKWyNsl4PdAWazsHhAF7R7IQDPSIZMx
oYbcw6cKHnduVj9NE4gdxoM08kcwKIpDpMBiEzXwMAeKV1d8wMGvxRZv60sjn5HZVr5AtMcHCP/p
JNFAG6k9SA/eunFTdIO97YwwugKDni1osPWRe3DmD6RDIZjRPdA0rAQ4z7Py3A1gPLILxJlpILEt
AZWCQ9ifa6agdFHLp/ISjehRE96vFX1KQSmGGxmU0dZ5lVdfWka7yHLGcxR4jct2NMIfuS2+FkPG
noHgXl8a0042cc3N59GcvMPiNuku84bvNnCsr+UAxL+JfeYSTeMk1AB3Q74+/ExSByCtD1laL3u3
lwgzK3fSRZNhACom7Y6RWX0SqHoB9fwM0smMFUEIgsATicSmCHSuIigT9qIjkAhwU73oNGbEXDkf
qswdgWzAUPxSRO1lUFiio8KHEwQlqmUyk+UtnV8NTb1ukRmSoe/eGjc+AZXqNeuWv5fJUoPr2bWi
k21JsBB0Rga0YjPajU3abVe5cd0EBNdcgDJY2T0DXW0ye7IcD1HXNHyK0QSCVoI44+eUpo5qICWZ
hlVsFQLTjazcSbxZzgxLHNGCutV+ILJFV04bfggN29yxAbmkNVf/a3XAWzqb0vllapi7ruiagCoA
7h1FtWyXFjAgvmODfRKZ9xKnTfChbGjqK4w+tM+AoYTkxOPl2TM8vuxuXGdP2lsfaDGbPmXgbslM
uW3q0n4WCEPtZry+7VsAY72LEPZ7D4qLKMh9FEXztkvf01DIxQiaUNgHrTOauN5y0Eztyjl2t6gv
9UHs4YRPTmI0aHGPd73IjCdS0QCMqH4HiADgrcnIA7+Dcp5t9q7yANlHzo5fjkdb+G4wjY0ZALxm
vNYq2tflxpUVYnjPard6XhB9VSHBfpHA243N94Ikt8zPfhl+LiKxs7kzX/tKHZhuplEUtqh/HsKg
9bzwDEbC5cp4Ax1OecvVVwO5k9hK49vkDgDcftXf7LjulQ6A4AEFMUqiae+7fVZ/F/gTu1QmCPnp
21r9SUHXXQwDf5ocrX3aR9/LzYWtR2CTISdOP5y+tVxkxSEDzibijfKhnd15O5iThYaRDHA3pNQW
sPxYG4fiGBIHX9lbfA+kyf4dohH9qRMsDoCRznzUwEEppDyXBe+viV/17/Dy3b/rCjyRUFNebUlH
Ay+S5bGO3XVRzXDQDCYJMPgI1d8H7dfPJkiMIxkHCQBT32mDvs6r3i3KX66jDEaJmqYWwBhouJaI
6pfh3yUYjT+mBpuPIs6mw8Lj8fPc25+AwVP8KAb3TYcUuM2OB1RLs9zk0yj+ihKk64FaGX0S9pwc
4iUC8HEj2ZMbgvatm7gZxDkgIZxExbI9RKeGNu73SdH9SZLWk0hDHNbouaApguvVthYhgJIUrlc4
u3LbxoWxMcwWQXqN8+WD3v7s2Q4a43/B/yIP0i3W/GRZ1Xyyq7La4IyR7imQTMFldOegRMcB6dIC
1FlSVXHSnK1UPJNKB6fRjVxumMeRClOxarJGVWg+dXKzhqsnF4gHKg73K2Qnic3SflOt3EjP/kT2
JBhOLdLsbqnWqfVtDqAwrZoSNzzEBlKzijS5sBZH8exuV9CfqQidRymHe3EF/QnB+UvO9Oiz06W/
sIR/oGxEq0h96wwHqPsMRZLyjzLn8pTYaAdaExh9niNBa+BQMwMfRAABZo0AlmWc7fLJq1AGgM9Y
BkSobTnmM3gVUONjqSHkwFLBER6wx0rUxT8kUhmQ06WHUTTpFRWA5lPsALiwawCzSuLsLuyJZuUI
ChsHoU03qtmTr4ay7nzUILVz52+SOAEYMapfa9QgoC+ZV5euQzkkWqU/mSWLPhnllD3GrPmAr914
Vcm2OmUVmOkQ4Go3yViJHYjm5XUS4F4kdsU4y0GhlaMWU3E1kp6GDFUIYD/DeRYo6WdeyCHgiS0v
01g9/3vCmBLLs2pka+o+3phV1W1vcFY0j+DsghDUK4plSyAthK5CQwbk4QNOp1+jqinREIEw9VLE
SDH/Kt7oDMATR0bJt6SjIZMy2/ueBCi6OjjLNFen51buHPT4oqkEx2UyIBPnP/nmZhQxgPz9LgOM
FJio9NAn7c6PBdAuX/WOAWKrhity6AkU1neGtlPcVQPKOcjg5nF/KA1XBn4rmycbcNA74aJUKrSy
BkD2ids8pXXO9slYGqsPOXpu1+zQjTzj0TebH5Yy7zfN0C67Vj3E2joyryxp0bejZZoNE2qSuxH0
mwuZhWnB/XWNVcc/5MzLPb0uepXNQKFQJAOaepFjw5HB2WQq7mxbNjIJ9Jo4t4N/jM156yBaeo5i
OZ3564xEMpBOJj2Kl7RMZr1E76B1NOsz8BCZ5t93au1/d0VTxvN6K7RCL9MrgIj881bufEh86x5J
Z3mDOJntE898/KBqMMehDcDELEK8hE7mhjGz34DdEgljcBt8jMsKX70Ta4M6NpePpGttC0BVRoZ+
x878KBdAL3fuXO/JaEZlHrSjB0xtw8w/Zqz7zvp0/sPDgSvoAHr0BGw+E2U4V7uwTBR01n8u9mAc
uSKp1YMMrQFdZ+hk0zqaxXwUR8sOf2h9VLvxk117/iOiByAXOyqiBUDwJOE7w+nDd70cDaCEmAwZ
YYtj2rr1Ds9Ytq2j3jbQElLIo6gKIGAod1oIKtH52pbJtSQX0inGuQIfNZl6n8u0yI8UataR6OQ1
Ju14+AoeLeAPqYg06cktrTNgNZNcVAq22Yk8B8c7YMVOfR6iVxDlxJEZl+9o6AHse+Z59+zPVrGq
SG+rFxIbsfpjiIccQBQBWwCmmfI5Z135LhfpdJYlfsPo8EGDoTu1Z3yjolwe3eaXfPb/TOe6qDb2
iCJQba1mUJINrrdzwwbHVpA3A9eJqIP14NthgpQmYnFaF6vfvlRfCVVppNs7Q1fiadTZ4TPp5cTj
vd1kKIB4PXXo0wVoZDJgGne52OYN6t7Jp7bcaT2ezIIt+yVMvg1zXFzmBnRZYNVo02CKrXkXEakc
mSaid+gVi9yoBnycroCoRNV7qr6wAQ3/6KrCg9K1I+A2J/ED2OCG6KAMjRMiwc3SPjpos5eDz7bL
n2oLsBOAYZ/Flot6uixxfXCi1gdv3ICTlG87zVYgJQpURWEtj9VSH8sZ75vzwCexNZEuOLoSRYAk
llVsPjIJ6FEQy5b7Xi4jSIjVOhrs0+A64+ONOkVwE+XecsNZlZ/wV5if8NmNt4DmBFyA6TzMrAr/
jmSH+5/E99Crpk06OnhwgF0suIEDpylhhec9gJdDB0wDb5pJSeDh44ggXxhle14WW3f+7tn18pw1
oYdUWlGfnMowPzhWDQiKBXhwc5xXG7dLVD/rMA8oqwIYeG+b1wk9Ydc+SRjCHhaw9/0cf++x8QCY
FaMQpRd2FEzAxNj7QzFeG89DTawyrD6uUpJlEH119nyOUBNUWk8r3tKBKw5wcg2wCP6DM10SXwfb
eYqb892t6EvQzBhQ6+pZ7d+sG0E8GAvjU2JOAQdi4SWdquITB5bbzu9Kc2ehfvbT4kfJdSoZTjlW
LQDfOAcC8bWP4sk2gyRxraNhRNnXtDFQUAyCJoH80R4Uuzd6sBFLFEn5JSrH7bz+shQ9SGu7GDCC
INo4IODeHvGO/LyKzOvLS7eANT1dih9gmQkiRSFjoyxLxb79i5uMQDyq+QLONOBD7qfOHS7DlI0X
FG2M60zrWt+sQuQjgLRgWWAf1pbFnd1jyrsm/SefgP5uGqDQ4r0TfnRS8Q6cZvN3+X+Mfdly3Diw
7BcxAuDO12bve0uyLfmFYXvGXMB9J77+JIoaU0czN859QQCFAiS31SRQVZmp82pNdkvZEe6c7VDM
fbcHRqpBwUbfB3W1q7Wmu9gqC9+1WnxodJDikWo82ZJgfJAHmXSVtsfdR1vRJDWh1z9MvEc+7zFB
f9m0oRM6qfBh4YQDGPSctFnZUdBvWdKCobPqknwjPaCtEaxqLp5qjDlQqLp9DIqXzg5OkRFgtT3U
za5Pq9+ZgTIlaoTq5XFcbgGV6lfAbYH/eZmmnifz6FJ4n82p4kNtOsX8DJmxYuUxl2/JWFp9dfmw
Var2T9X+tB/5UG9eHXZjdGmtz/uPIopQVgGNnRmg8IkUzxoFoArJGO3AOBCCHVuBGD7jGWanT3gH
GkKXaFeVkFGiJXkmULobuQe3Al8XCLnOuKDxS6hF+qUjtsdGdvUB0a5bWkcmKLbV9Hs3CENEyMAT
ESv3D2vIKVblXYFVhzsaAqAGZYwM5dt/SmcnqpK1S9lseAvGtaVedvGhHjVUWPvJ5ZPfvOHi819b
0zaf1tEw7MvvkBsut14mOARPRzM9zd0k6jJEs0oPd+mSOX6vpuZuo951H6x2ZQQIkCsHc+jTU1nI
fpez4rqY/rU9TTW089xVe45QwUa1itpo/nEQWE0k55Ap+GfvLHYsPwyb2p8CrT2lgO6VqygpuxN3
nTTfkhXJhDDwvb48lgAp7otxtMoVzVDzYTx7kjVRmyS0H8QppY/DvPTn8TL/ef2HrZwO9F+mBgKQ
kiUa2DshXiCCprlqqJW56njh81UQiW5l6WG0W2Zi5UNDMRi3WlrOgVbUpfG+liY5eys7oChpblnt
Sc0+Ib6/WUzzj9KajO9xH/2+TNBPCiyArSLk+WMdVdSK0OiUmq9ZiaIp6ToIQ6hm/NOroIdXrWY3
lB5XK5qnMfXiEWQC0RjfliXLNh/c1A8b0x5R2GV6+Q2MthZr4ZaZT7OzI03TmPaZf5NlTWcNqY8S
LLzgJFDCHkcFOak1z8LMUPDUEXaL1nZQN2eyzeLNDJCKfZslPxPDKneBqPjFHMxwOzmBc7BrN382
QuMXuI3yn1o9qJp+G3W3hsWPfZCAMAsBsh9GAgY4OED1GedCwfmpKHMw2nuoyc/YL2lN1kuKisSn
wYrXTaNZL2Qq9WbNInC50khIhlCikV5o5Mhx9A23F4daq228k2tto2mNt+nUchyc8kNYaX6Lo/+R
XuJC5OmGRR2Ye6sof+mT2Ab60kY9jnqnW2DWfLKsVxqQf5wNv3Qzt8/0zh/rKN1IDnU18kBEGQKB
vT6uaDO8T6Fl63grZMDLb4abIyKkQe8OiUdrHwOneejLIriahYFgAhvsr43F/iqmcfjt3QsxmL+7
3v5hg+l4Xgu5lvKWaKH9YS13R7l2HG9eiz/KYIWKEEQsVdVzjOTzZgiycLNUPZs2qh5wuc4AA9ch
IVo1G9PLpgctaEfgzpPa+sH7RKJ6rvgOorLoJ5RxQIbqjfEDF3Idz5fIAIMHJurwNWlq7QXUiobP
JaufQfnhncLS/DsblIrGmDSv+VSYZxdV88/MgHZ2hMDnu6+y6a27yrqheqSNWz1roUT0ADxYG1rA
cXq4J6LeWEEr/IIFwcYqZXd2VDMoMFWhDpLUI1tg59yfFPSKJhLXgyqDGY52u5r75IW892HKxvKw
7EO9ZW8WWdMhRt4Qv3EJ4lckR3s8feIAobI0xtWLun3aixbq6WN5prGlnA09D1dJ16A4WQ3J9q81
NAU0KU5ZFkIsH1arNd3YQ6Wt1ffEu0c8fECvhCfqkW1h6eNmV0Laz3n9ZCff/1r6yWamb+qUempB
5D0gmG4ibITq99UgKtygTC+86IUXQ20EDNnzePEhG49SXPlRb/V/MasR/VrXeV+RLw220JSPUTrI
QPhuMlRqZpM4hokDcT51n6VGK7TvqI/MzqnhhijXtMURDKHvHo6W7phdVOIHg17OqkDdKIQTywSn
q9reL7cRPTUQ+KXxn1m6pkC7GhIQkeHi7x/fdMi1bnUkQe/0zQ21FsHTkRdgXMdkMhjmLhRpisI/
PCT0YOBXVNHcelRhN/6fpeSb4+/dF21bHOZnAL7HO01U6brgNkQPtfZYxHpmXXBm2CR17+wKV+48
x/Xu1DCjBnFXG7yxaXw3Gah4u6VmvyIHyIIhsKH17c4zNXBxq5XkO0IaBprMXnEoIGM47zYFIgWN
tu4i+QVqgsyNuw2BmQiyRIgmz7IqnATZejFRj9wcAkLRmOExOqOhWIJHWG+H4J4JGyjQBckGMeQE
t2/wJ5GN0DXyz8QMJyFsjW2ayaa2oVwdDblf2VV+80SY38Bgkd+GATIHbQgeesNJPHNVqGmjBEd5
nic/yQ8RWkxoWa2ftDY8LGuplyl8jnB3i3neCNrE68yS1pl2XH6qpmXPMcTvIA6K32GxTzJvVga3
UB/6ZyLqA7HTMqgacoNpp0yU3iYUbQZYSa2BaR82mqDh0pCNZslGw04rJ98MO88nGyBYWj1vQ+Ma
Oknv42VhBch23VbN9r+2BrtStykzDr52gSJys7TbV91lsR/IdHppY69DrD+MHwYOgFu79twLpLJz
aL1LcJEAxLIPeH0reOCsSqPP7xG3sjv4WPK73dgnA1f3M9ktPGw3UEOCIBep2XmKljw0GADHUPzc
zEbRWs2mZigYo+KIDkCZq/in8hRve/cKwNQEMlXUFKtR6WxQ3+nMGitQb93Eg/xBOiqLZsqH4Sf9
FZppJOIx+FdDewUI8wKVM9Jdx3E+gS5KIBLZl2PjGxaSzb1esyvZqDHVLH6d3rHFbCaHHEzIV1AD
gIgUDCGrxTbvpvaoIgQKBVQzyRdFi7HvIOuBSBDY0KiRlSfKbXNMJrpqm0m57QvcAFy7TEEn3JlX
oJsQlQqDHzwBdbIWC/O62GWA6kdhxL/IRJPkT71Whj8NtWgxkVtRGlvHsSGroEJfmQqC1VEfzj2y
4T9nVwhQANMkNYsvDb1S/6YX/V94EeUH2WUFpPmMdcES8QyqrSPoA+xziDzXGZHaft9wfifTYqee
Nk44x5OfzKDsmdjgBKKZIcwqFCGqbZY1Tmj0e4cZ/9deTSWAIgXD7VrT8tNcTyktgJfsKXmtTaS4
wjFA2LRP3Ow+gu9ZD8DSMok8v3eguLwLxym25FdKhoQy+RWdNfuBFsFaB9qkYnH/MGEs7Bh44oET
4xMLRjWU1SYIAggxKhqNZR3RY4DW90kEwG59DQWKJ0O9uenhWBnriBUW5ER5d7DxSDm4EJ4AnImb
N2qk4syoDaRdK6QC158mNMP9obNwOpDd4ZV5KzJgaTt8eyfjxyA0bVeZOMHywW2eUA3YPjFT1Kg8
t4Id2agJtS+TCMUD/IICRGg7+ijok4rCHmSvTnQgE31uZK+GIEYZrvyXL/gFZ98BgDbU1QsPMhhO
tqm7sNnbdWx8czh7hcp6ca91h79AFRVRmd74lte5tgOYHtIn070bIHphEbE3otuXmc0bBA3pBSUD
4U62kEmZjTPxN7lSk0UBMt4j1N/meU0O3bHOm5NuGdE5E1CEjIAHfC0Cz1pHoRCHoojj10qqovHS
eWL6ED/aXnwhL1QCBbuEQ1KZhkZVSFDVdcOlFyPeSVoaHByemyhsKcVuPmerwzZKhy4RDrIXOmu7
puFes7baCj3ooCpdtsW+CvNr7g1XsEeD+tyuQGuxnCXrupJsSwdBAWHXLWdevlpOkK3Q4vJpZU0M
MpDkilK7VR7a1uH/yfBChC/EBLO4TNBM0IaKzeQyi/2/fMnWQ5suKEF3Dub1kpsnp0WI1xhBMW41
qAJEoMe59obhXC0I0awgU9rtpiJ2rzRBTdUKsUeoKZmdlxWtWgbuTYAwbCWpi52oofVB6F1xfZKN
7jOUXKLR4w0wAwAwlgISaiYpIDpKHzGuRg45cTJ3I7QSyTqPIQe5dbopPpCtysr32XkNeZORQVF3
g7Ac4vQquufZcXKo6+wGNjrJjmTr8+Tg6DI6fojSzV1d0XAOyOasydEpYkRdmfus4xK3Fo5WH8D2
Y3zzOu82Fj1/9D0Xz05SzubKYc1xMEcwaSivdCo/LspG5+bVmf4I2nJeFGpFvIIAQZZ6O/Ao+Rxh
9TcA17qV3ZguyA6H8ilJopdGsvINwlrWxka8eS+VmzV1K8jnskeIJOOE0+1otFfhyO2Aqs3vARiI
N4NjcUiRt8PXnE/vdgfkVQDxsnUTWeaxU02fQd1h7rmR9XGoJvpPtk/DPy6ftvr/2J5ckK1t8CN3
VjKYN2qYZpu3tsXpTOBatf80ERp/lV3VXxczhJKq41g7L2TqEA292dX+k4SHSEW5q3PrdeGDnznj
F7+6VkIhOWqDdkYSvBJHfEk26lKjt33frqhLjgN3ZsdWfasare92UmujBz5962pK7sd4ez9GZaJe
DG71EEGP22JyjfiB9xQkKf+4CmYiJyNcRBaUjZopNj0fV5liS0P6KdU0uJuiMzIkFfo09IFurfed
Dbit2Ryb3j71SVfs3MENL0vjVFmESHmHK6KMzb/CjBc7shW2jcshOdaF+EbpS0pVUl4zaVBUymoR
oToBmU+aGDVUcjhtClwtTB3T8BpuSpxVk6qOoCmqsp72hCJkEKYc8GXAdCDhueyF3FR9aUN9zUXm
nj2FUjDd3j1HcdlBBHh46opin9t2dkMYNb9RbxrT9PbXYgzTIZtnmPR2skEt82IiN1SB/HKsAHXT
aidqyGNskXIGnRCIHNTEsioOo3ENXYtpvdjoFxDpNGzrtg/9ZatUrWW2HuyDxvo1ZBZS6OSMwiL7
BLGR/adN5n+A2XVAso3ToVHIPanQfK7uaNe+EoC7F161N0Tv7kuzeekjVIZSE8aexCGbakp7qh81
VWXp4jDph9GOipQhMMSBBTAL8RigPreHWgNunQkTD7LZeqpUZ6pXj6ftUQjzV6FcAUEZLyIQe6vx
kkcTTcmjD53u3tZ7iK52IeoOYc+cAFXhifCzpkfMDBVrvTmBUj0qrgsYhEAjwnifC4xHFtdf7cq1
H6UVO/dK3s20axOUMuBvH/UsX+bhEFT2rjby3CffOsidR12Hxjooe2NDQ5oAcnZEutRNDwbIllF8
nRbrouv4zbBBD9x2TQspBgy1wuK3qETjDp1cNzw11lYOUR3egNijVtiJLAgNpDFtF5UsaowzVLaP
jOEJtbvuIXZlBYkmkWb6qorD5oTapnHPx3qvpWVzAr8JKnx0dWGhMTXk17rjWM5L/mt6sWXsUWaA
IqSQAukCxPUDZMwuoaouz1v+3gvjdMRE52sZKGYASMUs6vLQJZ8awny4bTsHvUGJITSy3gANjZ7L
WHwLpeccPXXksqQAOgA4OTka9cVyjG5cUZer8VDx0HcN0WwASsIMGZGTRJZLNWB10rbQABOARv5j
a0z1v0DjiCFLlkc+DVBoicr4P240TMwISfR4SnErROCghPD9SvKoP2dF3Z+ptzSLDbR6+TYWGQCR
KAnM9fQ36g9wMAkb6zSohnqa3Skl3xI1gbkRW0ANCnNjIcCDcxVLQeepjHND43l5G2GKujTV4rMB
v0NXbggfGGrJLs8V3V81AFxCNm4FAI4QKtBT0EDqmaybjgm+p3oG3P1S8eKKWG4heogCOlV9QROq
bn4Dye1kzSuZ+kkZ63uc8KNnXO6CC2qRr4Rlbjj0NZE5AXdXMO3Bu5Wg7DS2T14O/tNytNqNtA0o
4SqbmWmoS88v9N73dEC4e6/nd93RcRGOQKEAxvTpO004UCaF2lK8axsXNHdCUfZECK4DMqu6RWz1
znONuuiVNLoQl/lIA/ssAgbHpZnizgU9poJSkRHXxniVc94j4VIWp9INPzatGYOnazF+8snUEtk7
LurbUecCNJo8ppYzHaOqleCowXCxQbsDnwiNC1Hc2ghQkf/yW2yiroxD4f4oc6e7tEXeXdg44TpF
4zpBgN2uQX2cj8g+qwZv5vwC+lnU1EMMD495VOjUEZpovOQkkJeiUuYSGI61G+3i0cT91vUmSDzE
WvPc47QAwclkOJANVeLaEVnqAgC3cpNC6PQiWg0CSUYM3WyvQxG+JywWbwKB0/cItcY6G+srKrBQ
/Nf16ao1nHTPeICw4vS0hDsoTAHkXH20pXH5FAGhYaUKgMaR7ScXsZwKdCjILmdDcQPWZlg3VcTW
w+TgP9gbE2uD9/7g14UNnJ9m5oc006wnK3fDdVDEKSIMtf1kJaH+kP0LDcghQWH3RqD0YlP3FV7w
Hlj/VLluklkZvlOqG6kKXRdnhJ1ptPfFlFk1qHlT6PAecBfbEn8oNZEAL+48bkr3JfdCcUz0LEEB
ATBPUBBvFG3I+2tJ5C4KF9z6hV5SZOd5NO1jD5pNLBxwiakC6Agh6i0mPJqo16b6D8tozAOKDryN
4YGvVe818YCkKd6LRab7ejh8R9y2RBmKGB/cNoeHY+UGyB/Ta8s9Yw9c4ODnzM62bsMyVCOEA9+B
5T04eFpwzOqJ+bbpvXhO1qsi9p+u6bDXvAJFQq9rfAdxz/QpiMUJesJ8nYMPZ61EWW6Raqao6W8Q
dgASjtccZSqwJZpRnoQG/ECf8EOmBdnrJFFi5ES2uLA4Sx9N6IhVpOPMDEIToFZy81xUzPjQtNDy
OAf40C3TqU/LJPnykAfdKhucCroP4YaeqZ4rf7M0QPJYPWHp4UjP1omemMtj9vO08q6FfTV7sYZW
Kd/poZtcZZGJK/WowU0XUBLRhxumZo2hRhWrbeU7JKPGSzFkA865qM5q6Uso1BeOZCnrGlA4g3fB
rcwzld6VwYkad0Th0IG60GgG3zyb7bHyCJZJoJCDUxXifNqNyWvLyheClTY4bkPsTkB7dSqCneh6
fiJIKjVkrwLD811gQjdky5UvTQCbahxMu34h+9gYg7cesEmmNiGPZadlk8rt1xXz2ier4AB5DhAg
hD6s9iVChfU5zotplakhUMjeMddAH9pYiURaAxQ7KM0YVUM9E5XbIApLss1ii1mengugMMCU+ceR
jNlop+fKnB444zg7mlzs1DMZHpdaDSgz4nKdD+R8vwYJh3UWCQCvDASJeenV4LtBQ+ho6uG7/9t1
Nb79ZMdf89CucBJAS1NZ0r25Qs93y9plSWwbm5ED2UyIkXDqcYPJiz0q2cYLmT40oEy6kEfpZvvZ
jpqqNTL29Xp51eIPCwnjcCohzIzXr6almbliJoA/HdNPAxSqTSQGhvcXs+Ykm0EVWS+mIRu/W2Nc
H6wROk8BH7r9ghQkkCHkft8nKEBOszRBK9B7XzEjD8noBcW/tqEJ18lSlAL0HlSYFNuOsbAv09Nx
JGIet0KMETX6IPGwHTx7DYG7Au+aA3TQjVMkPeNEPdy17HpbIrIKNq56TzYbfBL11sKf7OzT5zE+
NAQ2fAJioqScbRD+cFYz1vITOrPMS+iCC/CTBGUcXMfK2yAeaB2hGoQ/E0JrEm4zi025ShuUkOLU
9BTqerk3+gkZPZTxQw01alBvGDvGtgay9kBph8DN+HmeJTVUGtPM//b7kKmg2XWvDjaVMx6An2H4
9mTZMf/WA3u77dy8yDYtilZKZOgvXAlJk5p04hrpAfplKHUkl8AIe58JlHaST+pAZG01mQg+47X5
n+uq2hProQabJeFFUsdsL2nLDzMihIZ4FB1m+AgNcUA/zJrRKFb9l7NaSzuh9nYFXtyVVCFuO53y
O0NyrZJOcSUTNVlRuRvWWo5PQxTnZXfqDWX6wZfsSWFA2ApMTY5K7tBHNn/e6j+CPuSkRja81H7R
h7987DScXdV/jd2AocexkOfygp8RdBUv01Twl6lCeX6oOXJPQwcaVdCokfGGhjyoAxQbjYjmohrk
xdKYuA9DC/VwjMhDVjm0IoMbt2rEz+v4Z5qWfoE31Jvsy2Ebpml6wH+ufAl4+kIOIEDBHUyvvJuZ
X60eHLlLkoWSKdSEqNE0U5y2lozKmGeoRBKBtnHNMTonTREBCmOimHAZRwEoyZvuL5rUtArvdup+
Hhe0LinS3B+ZtUIdJ3iaLTncgUYs/ShJ019Sf+N4lP3l4IG2KoIKhJOWFqKk2oueJTdRKYADyoYu
aEka8rPnaYXAszUFLEQVUveE88KRKko1a0cjakICdi1jU5Vn0zBiAzjvgRXyKfHDe5zOW8/EJeLf
eSOyLW4DHrxL3miMvXAHAm2AbXqtOXeBfJ7+SJkDedCD8ykDy/3QDsIHfFBHwKyG9IryIX1zxCMg
RCgenBXpeVApdlemlc8akR06NTT0wtnx0EvAk458fFxY1jXKmhuNdP5mxbq7S4SYbkZoRuvS4OXb
2LoXRwu1v3O33ks3d74XdTz6CJJqWw/q1NgPfJcl6I33I6B6eITG8bh3ER5dVZMF/CAZHQnwEcNx
YsoC+EDByV7HPHXXVte1d1SRdvdKxx0hB7Qt482m0ZAtUKnTD00ndiMLtHOp94hmud9KnnyD4GTy
mrRxj8RLnWzxdolfY4k8sEQJzdXK2uxrhKQm6tDjV8UNf8pQzuWTW5pO3Zq7AE/TbOKN+z7UTlbq
mmsu4wfu5fwMFkR+RgEwohA2lWuTIUzjaq98wG2BR+o8T/4BiKFTXJageONBhUuKsydSSKCmgx5f
QZqkmX+ZBr81ph7e7QJFzi5r8wt0M40vZYnYPg2tnH0c0uzizJTzMowCQ+xwcpTrcqzbp5KNAzAL
kh2YoTVP3gBQb2B+pzlwAzZPYggDkMaFlX21M8Sh4qjYgKG0f7ECozuFPYpeaRh1mvcYMtunUVxb
/UtcgapAApmGRFf/Mhpx6nd46Ozfs84Wt/HH9idzSz1egUovBpnEBpil6QRFJ8AjAdxEOAE1XxqE
79xpk3tBu4qg6HqhprSr6oJQQO9HoGtck43hF75MqlmGVs6dQ25oB7KTB01+GgKa8wYF3QC6zdiX
PJY9yLcFl9pWNvjgPk3QMMhKkHhCnG1EHWlbJn6YW/k1jDt9rfFEfsuiCHlJK/jbsSHkh9vaTy8O
Ea3Li+42ifj7YFYvk3oJEgsbU71ClDkkyadiQ7ZlAszWBzyl8vNsZ2wj0oEfwKvBT9JqUXVM3Xnc
RPrJYDZKoGWqqDngokxhpUQjPy/5vHqoAMkOqvRIa0wephsF8faLBtQTKHL43qAmZytQmbGnYYgk
fh+8hY1e7TWmFdtU7+Lvwg63yRAVX0F1MR1B/It7lbIXlnwJJ626xnLa1VbC71WA4sPKQXKRaR2/
a6nN7xZ4Aw5Tbgncfv+xUQ835Q4CVndayWwTd8OCAcwhynVbh5A4Tlp+VIQrP3BuQuAMHHDPBmjv
thzlimcQN4anEtKwO0OI8pGFDvNznvdrBhigTx8Mjod3UWfI8DpQHKv0DueVycUrT40gN5OuPSUz
JklhLAv7bANOOGBySJCMvGi+xX8T8MBRtnYTs113mRFeu5TVpzoIwi0yKOHXqjPf7Ea3/7IriRO1
a7yNtffumsZ1Db22FMc15WoF/K0WZbN2q7bZtIoELlVgPM4icIxkjQGVFdV0Zh98HEuaJ1ddt7Id
CpBv5LgsocnZzxqhtp4l0RdP8/5OtT5/GmXMT2OHi5HriebH2LTb0XPKb6AEKfahNyrZVdN8k/V3
mu8N4CixF3iw4r59Cevg4XSy+SGhH+CLWu6S3GoBvJG/bHBcHtMxax5EphkL/dcU2IjB1TXbmdbg
IngeQ1ci8XL3SOOoZK+6nvRrUHoeRFNHN+n0XbD2pr1sUIE8j6YWpZlTnrX408TjA2+n+lJM8qvO
RPDUjnl+LqDH7Wu6wa+NK39RNIQaS2T4M9URyVoCJnFqtOsSCVR88Cj4V0LAAan/UrdV2nDUw5O+
OE3lMw3Ksk8Pg2V8aQtufplSDRzzvR7/Hr61Vtz8Tjr2u4KSxVckbCM83yb30ndWemxbKXc1lPQe
UYdPi4tY/z70KMhTi4AA2UvIUfzA51H4VR/aDyOIgNvLdaRvSw1itabbALLkAoUu27G+U+P2sXHK
obhdeEHnrcgGoFGMqGlVHZrBffcD9XsN7jRQJCw2ck6CDHK/0jkv9rwcGLjGOZgXqqy+08RQsJ+y
LlEWBv6Ag9WjbjkB4eqz1wC4YFmZIupjbbVGlvRLV1v6qkRBL24eUXZLKqHAZFLbo0wjumW1QHaH
OcHXvjV/GWbBfks/dwvta9RxsLODFRoRoaZ5yDZFMfiUnTQrbB5k1+38gwmYsxKJFnBTU5qhmfja
61OIPiZCvwWqEZE2nTkCfJ5VmPaK3EBziMCejWwi+ZFtblIkjaPUsvF9xtrZObUi/EuHflcMQNJ5
psCdWAzXqusRMLaBQAMLAz8UefyESMq7aZmsGTSpHVCJ+NKoNJDx/vHhPULkDGHCXWdlIFgOxN/0
lrY6/KwqA9KU3uDUCGh/ojrMjo807EEbeWe6saIRraog6LEDjuPjqjIDjauGAAK4lmN3Bxi4syu5
yA8jEkorx7aaJ2okMjN+UaG2omNpO9uGep84qf4gB2TVs4Mu8QS0ATFM/WyyUr/V0/cF6ZT8nZQQ
ndfNSJHBKQq4D91S0QPOY7tmwL4ab+DvlU9Za+K+67D0VzTEPoACwOax9jXCOQKvpvSuR1AuAh9c
qSNQ3kJ6XA1jpOF8vM5Nf/5SktJjpr60lZtt0hwEbBCnRw0FfXE5TZcJ6EHH3PDLMQgA5cr/Yh3O
mvjP5tfJTvkVf+78ighCtw1siTuoss2+ecy+OG51dxsOjUM8KADBRAKtLJx7GZUTsq86KJL/2CxR
prvaCx+6K9vdgKDyN7MFKWTnRD8N4Pt8M2LmBQzSxjUsG5BCGk30s3S1UwUqXT9qW++oVQzXCdbE
t0DX8B2Th6RP4w0eOKbwoYYC9SN7BAsWbtxPWYHYaVA+ajUgC+SzajBmCyB1K1b6UBRgT8ZvqZvT
34kB8gAR2cMLmLPjrYcvlx+YUzZcuZODHbgwum2rDdmh0aYBdwPzRcYMxemlzhGV6AfgN+LXOZoS
W2AMCS3Aa2cmTERAoxUPpn+P8Q95CiwUytiJY55tFSCVTQk4Vt6O5lkHO1rmBcaxVCMH195yTT7k
nbg4Fjryh4WvLsIzelkdJ73PD20KnJij4Rpa1cWG6SPYotSw6oDyoR41LB1xvira3jdEVVx5YIDr
W9YA4NrutEdEKV9zLzS+QHby47CNQCuyzEaAf2+SbvrR9XW/GhzDuPM4Me+ZGMPbCOaBxWQoe1VZ
zwh0jfs2de0Lt43oS5VtK+bqX+JBxF+KbNuoAeRT5dPYf2ma/GRrwr1bstW/SK2YR3pv619yK/0w
+jOnCUO8TEBBFKieqg3tazmVzs0eEH9hIvzW91F3dHmPQK+aHIqkANlLbG6BKv6pd669Rpml9gCm
+xdzwum7ZWoqCjWEF7Lblfgleu+jXXpA/Q2jN+BBhuSZ+tDyMNeeUGy+1iOmf5lCJ6ARwJu4uai5
P540p0Y6zq9fGEJgZzm5u350uN+6OACFqEN7Zfu6bttX2eXTqQQbMKbG6dVsBQftgdWgrh5DJDyE
6F+lHo8nkQvph6mYXnUNVxaXh+HOaDRc8KC6AXwVKoRONJb4+ziVEKGGEoWa/zBu9eglxdsPyj31
mxGL4rI0DPUeH4YARLy1YYSH6P+240YV42UBrUJ6YSEA1wNNLA3E5/55iS225S0mRxAbO/nom+AD
eas9pTmh1z8G8Dduurirj5Co154jq3ihI1dUDYXPbDu9gsC6RoF3aK9oQo+0n1CUZU82PtcTC4DY
D9QZDnrpmyQw7q1ETWGLUOVl6Kz3hgNyf0lq3GgBB5m2aV1q0OejlpyKUzGFbF5AS2sDRyCt6edH
Kj12e10m5xN1lwPSh+fuh24lPLimU/Z+jFr8LfDBOMyEMkvovmXx0F+KBImuLDITAJNYuK/U0Bub
EGgXxCxo1o7dDunW6DtNJjzJL+bEcDjyc5lAS8yB+pVKEVDTE8elrBH1zSVunwMytyuaCVpIPZlx
Em1oWPStgxpDDYgqk43+YPbJPtT79Llw8+hq5uwKGF367CEr+ByI1lnFeF0eyGbJqD3LUHxHMmBt
NZH7NHgoX8x7CBZolWd8s7Og3jr4V+xoCCg+AKvhhHoNM3kFZ3EMFRO3OsfM29u88G7Ms5mDx0pf
bVDHCIFjZVwaIFq/hJpuruME7PyGZjiX2GkdFCTE7txLc8lAfCOc9VBZ0FOgaXJMh+Q1A8exn2Qy
PTcg2jt1oW5ugaxvnizQgPqpZSU/LNs4OGZh/g6yflvrVfFzUlKyeTUyQKCNHqzLVHBCjTAYP/RW
f1/YS5dqlC4prP2g9b/tsMgTsRoZ1LL7xq3tK4pBEsA0EW4DZLl/BFIV8ciyso7Slo+O40hUhF66
r6QEP4BCswR4kAmemjcCsmie1+ymCaSsC9SFF5A9w29/ixQYhjxyIwv8mc7hz/p5N1Nvdp9mncQG
gA9JMn8p49U4kmLF/zD2Xdt141q2v1LDz83TAAgC4B1d54E7J21lWX7hsGUVcwbj199JbNuSXdU+
/cJBBNLyZlpYa4bMrtcGwnsZmJzuFAzl6g3aa/YqSMxc5pqmFbZ6C+xFt4A/GOgziBa9qI/InUAa
/7qn3U618aHnRfnYyqnZ+kEabnrl84/KlYtqEM5nEeh2ibgjOE6QkL0JZF17kCAK1gIZumUzZ6dM
RspsVBbvwirsdm+pKz2LCphB0/fWnOemSGns3rrMNHPKvqZ/1RmWfyhlz7yOMoL1HLxcpOdLUBwc
EMEcL3SDatM4CUH8M7fdpK7PsHLlG/hw6ktTzdPNQGFl+VbDw8gzfdIcEo2UYWEngvenUAnJdnid
fTETzT9ozqAbwXZIuz69ndT05zbP984U3F3Oafq6MYaWRX9GUiT7FJZIXgA09LXliCM6x3fuHN0O
G8QB6W7oxuIG9R/Xo1VUfyV6T1unekGmrgXtLnfONvRK9xYUdMAlI92DzOpPwXwyLOyOfTZVH/2z
tTbaJUa1ZFKq2mrkyN9UT95Jb5speP/mQN4gPeeFQFV7vQ2RykvbDAHKVy3GyXW2VTreafwfbqUO
/VMxIF6W1kSeoaiULqxcZidHjcNdCIVR0z8ywEPCJuNbKIDRZ4QABc0RgtbiXDdImpv3ezt/CS5v
fdOGMM2nKMST9vaJuHwNisSlh46qy2GXPlGIdekQ/1jWc0xgWd3CaMYZVTdaSOgqLZ1R8ArZJFcv
QqvA72ak5aapdvbAnDwYQTkz38/T6GiFYG3O+KK3zZsdgOn7pfnWN9RxCLxo+qD8DUQQF5mjG3It
yiK9QigJPzgJgRZcJwR/P/b6MVgIcPSOv/RXKSuuihTqCPOgmZ+WfkA9s+tIiDO5TncZqPlgrTIu
6AJY9uQq8p1jZ6csXySVZsDOVWwzOJV7W0uKVUxKlpfRErJyy8LJG7yjMJpCN/d2lKAuonHpKQe+
KlQdrqzPRtqln4sRZnNpDhDLvYjL/TJs5kjbaUB/cItVZ8GOG9//QziLykJhRF5ZlgJKnEIdypLA
GJq+bNanNXtRkLawQXJxR85HmMlmwDTzwlpIiMsck8oGXMYMtFacL2MV2aCQ4My8Tc+jFupYVhkB
qqh84VlPb4OWk9uEQGVUxVJuTDMIa3ETgmM0j5mNDXT2Gg4y6RJAHXpLXGh5dyF0dkM+1UcdQiMV
hdJsLn2bHrPxfY4FfCjHhwAlNgodTAJdKz8uu4PlI84ze/B2nINBBhNJF4rEC9Op5jkXLbW3tqDs
C2UlYGembMPg+wN+XLHtYVm9g08aoCzAA8NVB0Wdt43p+zEtjIFv4AOtVlDimxakRZHDeKW9eaiZ
PdNXw5CKxEAZmC7jvGY82ExTaSm2U6fu3vpJqYEnBwTHIlkArcxpvOphU/k4ALJASe/fK0js3A7I
F45zd8bA+ESMBI2xuVmC1r1Rg+pWVgloVORb/a6e+cXwnDmCIcrvRtaoNU9tsqyG2rnr8946i1Bu
TAusL+fu5/mhhMOvmW8Gg1r4iFLcy3xz0Dw/mc9vWm/z5ZRE66wrYHUzZ+Rzty0HD4DBF8wlG9OX
cQIZj3mUc3AMvJYBTAXxIOp1hKFtht42ogeR6lsYWDh7neccBaB4/JbOM3Hqu/YlKwA+M0RL56lm
/BKyToD8JCjMQw9VQ1cGoJpiJzjE4QMn7kKsqH5u6z4sd3hL156mAuNv8/0uQoBtW2Jrz9mBhgbR
KeAQAppbQ4rr5M3JmtQFR86kEyrhy+s0Bsd/yiDKafrMZFdnw5IMg16ZvkHRUwGY3rXW+LwV6gE/
UH4zAGWBYM96bEkFrOqAG9E0yQiZ71SMPrilGA3TQUDWrQ/3Y8YBoB11+U1hvoYYIsL+45vefGZe
f10AfJwLEblf0MUmxpsHnawix85n6QbIVWTmhxhi7H0DWfZ5z2x8wKIvfUNOhk3Uh6e3wf917j9N
UW4xrMM2yQCQcRG7tyXILhFptmVEkeWCAOSxJ3m9TsoyvG05sFqZm9cfwxq2JYNmr3xmA1UZHJGB
QN5NjaIbHjZs7/YKIjJkfK46BRduKDlDOdFu7qO6eiBBEn2JNTzG7Nytrgu/q45pbNVLM+AjcihI
Nj7bMHpYN7YowG6J9duRilMCi0VkzeqGVHvLme2bSZB9ykt91jJoAhiHPIApC/ecPP/aMKKfGlfE
y9Avmuuaa7oZBovssR6Aklxo7YPMRUExzhl0hENyiHuwIXkDA/Ag0v2uDGA1Vc5stSgh2Dh2ha8U
uGymz2zS5l7neI+A74MyXKtvICodrOporKGGFSEAzyFOs0KS93v7bXxyBBBhIhlOpAdaRlK8VSrW
D3DDFPmGo6T1MWbl7VgM/k0JjWTc0OrZdL/N0pB+/Mh4fWtNqX8jovEqjCvyUkMr7yxs4l47izvf
r4NHCCVVJ+ZirWtW/xS5gSWKM86O9Ha/TEk/HXRPXkPwP++4PyLl0rjDJraIfhCWC75ukr38w4RM
8NkolSCHjjzfcUwV2Lc9Uhl550P1YG6aAbsfyTHN3CeLxDDF84dxRRDBg61MnLusy+QJ+vK3zST5
3SRz505U3bVNcD+WRimKwKhrC1PcEM43Kmk8aMmFwI9hw2kcHlntKwjiDnz5y4Bpmilmcue0gEqY
NvQ9in1gAzBaCaglg1QzyCRcu32e32vU0Q8BQx4vSWR2X4mM38V0YcZMTxYzqHy7cXo0fRYJxxXL
6hAlPsx/O/xytlHYdxPsLuw2u6dx291F8QpxY3LswmYNabFxl80LetxsydH0myYgCXjlZgMYwuDf
dF41Z/WGhnVLvCfbBex5+JFawJ1fRuScEry0G2XfACRWbU2fOW40aUI5ZwxNO3WLaO8A1W1OY7rC
YRbCg23DspxygMEqy4eEXwmEOvMLVATC9GbUQG+2WCZ+tXPI13X9iyStXuQjgCwBB2hpiny6DkJa
P0x28tkCRupr2TQHpD+7j2KoshUks+oj6o0aUgPxtS+w4Jw4BRi1SvQztN5SaLA8O8SNt2OJyplp
Rk24jpHVe+wazQFMBX8tnqdBHfNjH8kU4MPROSlHBwszHzRTNvutTVcW6GQ3QPp/Nf11CbfRmOVk
TWmMxX4+ACbTTN0OXhff9py5D/KI3Q6qgP9p1JnnmbMQh5/SikGkZc5nNTk8MeJ4gHLejywYWPIh
ZNre2v0XDQ7m0fS0MYA+uSiDY6YL23PLVF8XUvMDVjViGSei/fIspd980SRTS6x0GELRAqjcFGRy
M8wbF+DU2nqAyKXapEwDpj1pJCpjdchHfR6RI782GyfM+LVKqiWVukS+/ns/njIb4Wofbt/6kEKu
oPva8UVXs1OZjs+G1pemwVNcCOeGoaZ4di0KFd2Z1uf2bQkSecf2WTc5Tyl7Nt08a+Q2ZaJfmeZ8
dCZTcYNVWH2uwNx/d7TE3793q74+Jmx6dkraPKSyWwOtXT0PZQzLhKRjayt1y+c+1weIIwSQqebA
u9cB9Cfm/riheiFtVK7N4aA2I1WLw6tYte8OB47+AOGF4H6iDaJiJA4KS0KzhCSbZLSDZ1W7B546
5K7JWHmVRxUYyXN/19rFsrH9YW/Jnn9svpjeTI7Z3kUCYGmakS9BAXAr+2rCfQ0lFWiKmYwmHDXV
KS5HSPLip14gZlGnbJw2b7lMM6OWZONMIxgPlHtVoUroRLJrAaWgA7A9T7LiMxki7sqD4vVTk/P6
Jnea+sZ0+eiq5q5Jlr4Hxg9gTC3ICbIfi4PrhGAxmN108vHSps3zuz4z8V37smt6nSyp1UKNsjg4
zeQVHIQKdxLsJWyXpB+jl9iu1CJCxf0qgDzS0c9ACCBN5jw3FIL6bc1eCl+Onoui343ItAZQqAk3
IF9Z91osYPNVAyzsxDdAywVYAQJOlKba+ZxBRHGMAudjQpDPiVHIA0Aj3LQuzR4YiW6hiFd+cRUU
7/3QHa/zohKHRECG0gzgbgkBvP0sh7QG22zmDyFGvYk1fgUzIU3Ys+RS3eEPqXcRHsp13HTWR03b
yxkyvxELv8vGExygISDrVzU4sfWVxJt3Axg+iPMOLM42Y4miosjKFL4yc9sJUC68tEdUUTf23L5E
gfA3AyB9ADOvrRT4W/40nXuSpWdwpygiSJQR3gYAlUjPsd9Sr067bwM8KadzOg/8coQZCHyJgbKm
EKBD5cGcSkWaLmtoTuxSRh9GyxLPFBj6JVRvkJBC0eaJA2VjR618bvuy3sR9EW2iTMnnbkROENZt
jzUEkve1dsnS9PNq+FhqP7htqjy9AvlAeHU5gpdmWf2W2NzagvA2LnpV0XtLuuzE/eTZtHztDHcE
cKh5yGxK2z3i5ydnS9v0PofovlfELlzB8JHctUyN89txONFOugehAHGfWxe9SVAGYEgFXsOl+fM8
7lj9CRanT8046auhj/g2mnkqBGSejxS3sJfVXX9kcxNlMF+7kJmAVyvI/T4Q1nM3IBbNCqmqamua
Q69uQiHrNVzauk1mmDQG0w/F1QWW7v2hy2hfbKIC9EMBzVGgz7DU8MtDToAHIkjP3fbgXkH+XxYn
LM3pDktpvm0rv7nCO7hcAb2Z3jsCfrDCnvxPTWydpAtoslePm7Qsm+t0RAoUFEAQIzu/vs5cVR77
MmmWkz1GX3whEd9E07Ol6LfYO2hi+3r+FcYAfKkipECH4Hd52wRxNR5LB/i7YsDvOwwg1IsUd++8
K2yFW69PaxSdc+1R1lo3mg1857tgkLoAFjwxARS6qu0vMVR+M6BpoJrO71uo868YPBaOtRVkx5ZN
7ioOM3nvpkXuDbN47F8DZJRf3TosPGYJGKOHAGANpfWYBr71CO5fty9S3ESmCecaaBn2sb02zcRu
of0etdUaeZN0wUjaryxXRc+xpT5nVexfx507Xcs4/2ozHj/HWlcriRzbFl8NNFElkl0WPzHcyHCz
n/jCHO32pfKgEtafWpm394P8Nl/Xtt4MZULW5nBK0nOFj85d3tcMoikomonbEQnH27Dr+G0HYxmr
a8TRtKqgAE1mgki0aVotZgyKK3ywunBnjhp6CT1zrvBa+H4OxOvu0tKQOB8byS8nH+DWUGfVmoUh
pOL49DGe+vETiXJnIUTRHaEgSG7T7/3j3K9+9M/zfeWPnwag3ReDHr/Nb/Ekp/BG2iNYr5dDp+FL
xhU0t+3eeozxFVmEDg8P+XxN4M53i7L/dN3W1fhYIuKaewuIJJ1HX12u2zB2VzTHM+xAPeapVSQB
AY0BA0Do+JjH0GBl9hOjtX+M2wiEpLkZlT6wX9DMgfM3mrULOsD/clBr+7OeM05tDnJaUeArUv7T
QSh5iDufym2uRmvTOSH0r+LMOndVYC96fAA/lZKtoyFuX6F8+lC2Q/bUxhFEF5IkPWVFNB3ilMfr
JmHRgztUkWej0P+a2KnXlpa1cvIQJRJLOlCvxsbRnTgC3AVSGigmi5Gl4ugGdVUtzTCZ2xaRgPID
cBdxJtYu8lu3U92DTwqA5xc+DisC2AkUbZOrGkjE59qCNVWb9cN16eTp1radARj7hl71Rc88149v
VJrX50zawQ6K9nRbIJN6hjJ2uAxLwT4mFFZSZGz+6ikKvDIrXsYYB/qMtXcoceENgSSyR1toEY1N
oMKFTIfFhHcTTKjmZiKhgVe1MLfouxuH1cUNdP+I095ESdrd2DBhvc79AEuvuTX3xwR2OnalEaSJ
LSeqvgdTr75vuN5CPKa6vnRNwHdbgHTtzGCo4M8HkJVcmlEucywkSfCXGRTgvdx/NQMwa61xguzg
a38HFVH9GNK83zZWLGdtF5gc9Q3YEHr6nMPXFgoh1N9jYcFvOVbEpt+dMrgbDEEKvCJPdgBZQLlH
D/eXfBMhnBwyMn1rlrq7NC/ZqlChUjdPdhTUbYa+X9qO7+9TMtJjzLS7Sthg3WmBSIRXFDz9jC2F
DcHE0sWDxuv6k6vgHEHD4hX204XXKKycQ25D4oLSJ6uz7NuZ6nI0/UVbjp/GVjy5OXfWsumz5Zi6
WPzE4lML7wbYlfkJ1vydu+7hYnJA+FtD+B0PkU3UeOfqgHvcIux2iAns3nMXCt5MdwcKrS+QSuZd
Pcstjxno5Tq1Wq8r/GdTs3orYb3DaJuRhBC9BGG1XZjm2+xfKmSmmc2TbRa/n/yuwsaaCrqTcbMw
bDdDaCs7qCrPFXQkxa3GWg7gPV74b2Y4KPoWnuwz9S2f56h5Tk8zGA6LIVkgK2NPXhgK92Q2lYY3
sJXIYYW1tX+KSY1hs9tS2ewgmH39ru+yq3l/i6x8svv1ZAhoOWgOebAw507LsT918cqa9fttCO3A
WbV6NaL9ZjNpOLnXKgSRwXYvAv+mv1LRqoji/Optah/CyqfMY7EzJzMHZDayuTJ1yrXpYw1HEjWD
lDz4/QLcx/knwEPlIw7CSlPalfuNNGhGeGpN0fJt/N1BUGJ2FoVqOLiBrY34uvEPJQmza+5yxwO1
pPsiaHmyoXrxaAkUXkbIZG153doPTplcmwkatE5P4cV97ecZhGuUby2b7q+ANmzF7ESth5qhzBcT
GDyLaU8AUtubphNytaBu/FdZjYlXRrH9MJA8OZmmj0fmng43SPuAKgtrrSWN8vB5CvzGgyKUuJJ2
DwXGiF754Iw993Up1pqRbGOaSdejSoLIh/iwJ738uPBCCZKiufzU5mflOchSyI75u2iKnVkvQ/HF
5M4mRKaNv92h0OobRgrech6ksK3w5UIkFJj+uc9sqKzScxAn4zocXN97GzBHILRN9liB3pp+X+eO
19b5uO6w4rkSjrMHcYTuh7lluszelMGpKCuWphFlg76KkDi9Ms0+i61diXqQ6b/M+DGIX4at4aMI
KfcffWbPTMa7Llm6OYTl3/rMXtrAztXCH7KENUDuCYizbgySkviQNvaQlgMMU+aeK9zoZMCXlwEw
VtkO5cebmVTpLM0ITpOsHB4DUutC8+TDH//97/95Gf5f8FpcF6isF/kfeZtdF3AYb/78YKsPf6Ce
OHfvvv75wbElV44E9FJwSRnllGH85fNtlAeYTf+rdOxobAvWrVsoJa4dNTHccN834WSdWjcK91lg
u1Bp6pFik8G5ASp4kaWpuIUCab4OYGoF0UYbeWI9vNpdEj3ib/ZgVtBDX0JniP9bkOWWbJaSdMsE
YDpl86MLhc6llal170N5C9VK+gS1p6/JIM/QlY22SnTDjdkEwWeUtcprZM1aLyeocv3+R3DJ334E
15WEOIxRZjPUR37+ERz8BRLv+HptA91uLWs15YuxD7t9KHgLCGsUooAFA8a44NNe9LCvDwuykgNp
T10JI59aDBuZgpDKQtjQD1KdapnZFzaWi7eXB8hEt2mzcOc4k1pZnYAy8uD3EOPVPfRPISuGHLm/
EEXykAzuuJtY8BoIv0c8XLhH3H7PcG9NV0Eou9tYNaVXjDAFlo26pXQZDV2IhENpHwET5dsmRLDD
UAkPavsMMe5bnlvs7DBL7aDx/RGPp31mOUW01Qx7xL3FNYWPIyi76RHmP3rZDCU7l2GR7YDo/lR1
w3SSvZxOzrzxq1IjItWJxwoU8vLGt56gRoGLiyz/vkIa/CNvhk3XQhzCHkNAuRMUKebuvuYUfrCg
JJqDahtAGtKwAdkZK3+CTEcmeguxIRwobKQru9IJ7nQ1eVZbeKltsec0lTDz4wBE/v7qM/HL1VcC
MjsUFkHMtrkNhbWfr75UaVM0/qjXY0yydT+rd48/NiJv1GKK3XaRsiD1YtbEiyLq65Uw9nSDzEFD
9yphSeTKvm9YKHHpBvelrHgJ68My8XLbf9QJHLngmBNeTb4VXCmbBlc1j1Pv9/8hMd+u759pJfBE
K2jkM2m7wnbm//C7Z1qnNqJhZLDX9TRAHCpj8clswiiADgCwzB5uNLE2fUPSBgeXiBUITPldJcJ6
WYWtv66rIbsDdKoFnj/aksbNZneH/jjmENlWkLxYoErmQm7TlSfBC3nS7ihP9bwRWfyXQ6GsQy0o
aiJc5NEp7b5O0QgRUKLUldlr4V2DlI5C/XAeMBtoHMCeYXQlhILmQ8MYppAQBsV7onfCq/6l4TGc
RVsxXsNhSh1wSYKb3m2LNRR/Eq/qsuoOWFaAE3HTdLQDjdAusmPhjyJZml2z6VwOAzSIob/rQyYB
aAQ7h8jF76+GlH+7GorAFJLjBSYcJLp+uRo+cD3Qpk/h6yqIe0YyPZ5LEdkMMzQbBK/1qph4vihR
XLvptHKhdD3ss/k/R0aA1uVEipWwOLRX/Kaxt1yNUAsTyzwEJYH1XB2UjhrYtAk80H7Ur8LSPxD4
sm5JBvlfcMYWne1AaiNeWmDKLNWQZpvYGeR9HAfjJtSAtCC/R7dB41peOb/ri1LKbUj1Fx1Ytn3p
MwNOrZad27aopWCahRzDMkH1ZqECiAEFAK6vioSxU2qV3UoSGM1FqEaDmAQG7GQBQYtI0UMiIVrU
FDpQeQbIT5b0twMscDwoaNjLFnYTIIN27a0uITsrQzgpkSTbTplmq3ouf2vqAyE8CnxioqYHgTxk
gediKYG8cqumZTzfk+loPf/+Qv7DY6UoA9aZwcyUCMedL/S7x4rCoKhHNqZeB6raAJHoHmggWO01
g3IhZoK2zup6g/fMfdXF5bZPYghA9XWK4i0UM2A78n03ZHG9N52lgtQGZDrHpRXDmqbgAI2bPbNp
LFeuoYZ4CkIBKNhlQIfOxi23xcjLTShKtg1qfGpHDrcpgLmGcw0UJEpQ46pFketoNgOV2bEv4HUJ
JjOwrWQXMfFlGDUA68UsqWQJ0h1DiY1pinql4Ym0d6nKDm+bybcBIg2A4sabrvB8u9M7F1U72fv2
vmJ0xsX7QILigvcMdDT4xE1bkPqd//C9lr9+r5WAvBnDB1vhPacc+suV4AAJWtUUVEgssAgG7RNM
nBwfFMUWcjWOpYIb31adF1MHYuquaOD7AC06B2q/HDyoK6vx8bQEYbWCKg7B13nuBL0zvSqyGuWg
vnMWCNumheNY3ZYkKoI5QdNgPUnVQ0qoAyOuvIyQPMUvSlUu1t2sywYt9eAsM1pekWoHcdTihBRO
ccomEElzhuwTgswlbNn6ewY1vntbRnvEaQiYW5Ff6HPv6HIX8pvhwZneKsXNZIvoYJiWfKw3qsEi
voycb0RNN0wR19PhadZalZ6ZNugiWHapjTdCHrvnt8k/jpeIGDw4FIwbcJ+L6ywmp98/NX+LrXCt
HKKIg+uFdLdt/xJghi5vY+aKeaUFLg3Mc/01HXl/3xZTsAPpo19MczMOghPE+7fmC4JXBVtZIwSi
RV14Ri1ymLUkmY1qP3AA2X5wUVNQLtgeegXxOutOQFZp28Xc35sNSK7WfrAzEHAEsifgK7q3tgO5
P7hofAlJtGsgqbqDJBrAp3AGblCWAkQfMsrcrR8dXBYENHqZWta0FZ0t9yq0GogVtN3elen7TZ5o
F2WaH51mjq8h7gtKzSaa48dhjiSneWOab33wtpEpdKW+z3kbTnXyV9iU7S4cYoXEO75pqGKjWuvC
irHJwGxgHE5GraZdsXajJZ19IWWU5MtCo1CusDgE7USHXjf7lNYF99cqKsZFJRDpUYK1sCS5fwXt
nI+pA6AlAhO5I6WityKBRXSRf/r9XUDFPzyyWGBwVwqupGDuL7dBW4/pKLVq11mc+wsZtfZWS9CM
VpWtDvDfBL4uLQvYAAi+iOkUAiwCS5K4q15MjFyoqJ7T0Pcw/+33tAgHvPaQ4sma8RY4e4hYjtUe
gufhPoQizfwWNZuIFe1aVslzKPVwpUv8hAmEFoDhmk4qnTK8u+Yr15NoD8PKlmsA0dkQeJ0YpiMI
ut82ppnZPZJ0E+T+mr45jiJrjvioXodWFG3EkEP2rU/T24FCqB4qQZE3Wjbdp9SFJ+vEvqCqM6xo
vahmJgIo3kskwN1dgKh0i81qQgUXF0JsFd5gaZWKvZjXE8iZBvtgQi5zQGmwSLpub2ekO4GcvGFt
Oe0DZJSXgU8zZKfddjV0EbxgctAwwrBAQhz6PrVNkuOlf6LthnI/WPhZXC/baA7O5vuDRtZRkTrb
6UQP2RK+tw1c2cA6zSHMtBFFZS80YTWW2HZ+0LqxCoj0oFiUB+zYQdWxKiC3O/rQ8cT9uMsC19/n
AdjYXUhCMF1mT/B5E4K6sqfuCKQgIpIIX70DTwIgumqp60Mytzs52rtaI4fjyOY+rKxPll+UM36s
ua8nVi+hUjNtAuQgACcG2M/CVT70tUq8vuFNuYibGjqGRJ8IFfXd1EBFC3p4agFpaNiSqP6OAP5d
D0F1FwjIQ+uwmXYuJGfWwCcsQcau4CqOTYR1yt403T67QZqkO412+hl5F3DvEqnvdfiYz6aluFEB
UP3hv42wXqIMBRvBUMBhK8gYQgRsihhyIr9/oux/CCtd6QgXpRUOFqOaH7h30QikRkqkjvpmjRJS
ANHvcNxzDsdTUlTf9kwfssozra6HFU6yF5DSuGsBtMRr2l2ep2B+zpJp2uZA6h6USFc+vgV7Y/AB
qC2AQNbeJhVD6kfrbZ/yfQnAy6GEHeCGF/k9KuhiTx2sIGUfeWmNxPtklVum3Olcwzcd9EQ4xGiY
eF0igP/+KW/RmDzGS1GONURU9S/Nf9/Da6/I/mc+5secn4/49+a1uPqcvTa/nXSKXuqiKf7Sv876
6cz417/9dcvP+vNPjVWuIz3etK/1ePvatKn+nn+ZZ/5fB/94NWe5H8vXPz+8FG0OK9Db1yAq8g/f
huZ8DRVYPfzI78zn/zY4/zf//HB6bZropfjbEa+fG/3nB0uJf0lEYUIohTQHZxQr3f7VDFGq/gUl
Qq4Q2FLl4Ev94Q8kPHSIlBH7l6RCOkoyhFsS1rUf/miKdh6i/F8O1szCRSxGbdAw5Yfv//dvuafL
RfvnXJTzyzeCSBsrcEEIbmfOEGn/koap7Q4pyTysTkVW2qugB9Zs5vdm7aBvk8b27Fpeh5IPJy6j
8bKBN/G3PRu13QUQShayTt1mTK7ibopeQguYSoZX43kCVHjv2ggaiSbpY8/9hyCFNBy+Sa7XYDV4
QpwZHiCMV3h9Vus75eT9dcad5VDCyylLO7JCyDae/LKGsExadYupTWZpN/4ap8Ouy8FLkFEDVYnq
QLBsyUAskIBRYCXuBe4EsGBHynUxRPkCyrzNOWyH23cX+x+SeZD9+3mtSXAFcYHg9cAdmGUK+5e1
ZgR5uBCl1e4YiWgCESctqnNuwVK0DQe11azJTqiUQwwUhSLPJjq79pME/qRZBFOEIG6XKFyGeE+I
wMGL5SvzQwRLUGH2R9jVuhy+7wlXmwT4s2MJJOQSH7VqgYeXHiOOJTfeDvlh5J08JBGB2Ipf2U+k
imC8JSdPQ6bioxWdISdZPucsj3bVpOpVlqEkHzsZBAC1ozyZMAqldCAcAE2BJkAYVgddxeWxKVBJ
mhq9bZljYUEZjddjaA/XxI3ypT+wCZXwHsypovMs6GjcBHocNiopkMSzy/xk43ioyULvuWXkZPEB
pOW27m/NXlTa/W0+brrMVwtdCfaoU44UFwvcF3D3Vhd4gB3B2wAWmXsfMIRFmcbOWSJhNMXWdMib
sVhDjOYAGhuMg+ZN39JdbSPsLng7l1pls4lmmEIzxdDTKKPxUxcEu7h6sHyU6LkC4LAeIpgdwAWm
ZT39a0qba1RV9edUo+pWdSN97KK5riyG/j/kwP7+6ClbMiynkAvGJ+VvNw6kjhxNe8BL7alkZFFn
WBm2lR3edULHZz2la9/IgPvMjQ5W4ZMvyDE1yARm7d4VA3LwKG3cUzug113MkOpEi7swB+VxNyyD
MBeNRzolHtIOgldEQjKVpCPs1tIOGqBFFlWHblVFsXjtSoSBVk0ZYGdnEnXIFCC1+WCLGQoIdxS4
R3XsIYYu4g50Qbro9aqH7yGUOfaUVq7ySgFfq8gpX8B0hivjZOEUgNkUS8FzZK3G74JmVD7+/vGz
50Thu7wbhagcaBeQYGIKDyLeij9/kivUjuD8y4Z93vewXbSG5sYe7RBoQUBfOggsNX3RgdMN13Ks
LHt4VtkljCmaeqfAKfa0ruVjnUT1oi2AyLZyrGgLy1HLqW+yc+LE2yKN7a+MiTsIw4yfrR4gUgZM
9cc8SkHxdFNYtztY7FEUjIo65h8n2Y5r/EsZFjlFdkPdaNMyebwwojMxXM8tw4j2YYTg/f7n+P+E
ncdy61yypZ8IEfBmSsLSibJHRxPEsfAeG+7p+wOruv66d9A9YUgURQMCe2euXEY1/vfhoN7AT1vX
DcAzto397/9VoUgmagsMb7uTie/QgqN+ltxWnbkZprHkQNFOrxDDGR4UfmNDaH8ol5Bd/aWBJYlM
LrVjSd0bCLbflxLi90s1FEd4UEfLtttvTaOZv2FnqUdyen8hmcRkS0jr+1Ti0Pf//igPQOF/fLPU
WBY73N64KKb66G7++6PIuJf2Wt2eYjErz232Y5a17fsCL0AbECz0uwIlyRbpDIEnxQAWeWGRVAkG
DnMtiGVU28gsNSbSsLARNxgWpg5c8P+fdwkatS/w//1G2doVRXEANnCOlZX/jYwMGTYQDdhbYMTl
oVw0Nzec9xmyV7/c1VUJ0/EqmlebkNkuU8LegrLGrCPOdhCqvE0QbNN1OXVK5o9y41KcX3MrCTVQ
2nwbX3ut9eqWWls986+XkXI4XcQtY1DaDuKrSbX3JxxbfhR6R+JNHKXqeM1nCJhK4ooRDvl2oC42
v88geyDQtxKH8JhAlLy2P3E/PpLQFmwVud1THOAAro7xpe6Uq9Ih4TQOvaSdinH2W0vys7Hx1Gk+
pdY7RkqgX60Lg/ttUzvO/IqDzaWxAlyzIR3Q57owI57KqQ4KTfOKPnHn4o8DRQkd9/quZS6Z3UI7
E/Fi4MC/eN1yXF6t4pj/Yo5aEfRdkRa+Hqbuqbw3fFiK/kx+642/M+TClPUqjYk6KJAyPvfS06J/
SE6AtKh3fsrSa0ygubDPGGPnY0WURtiYx8JwSyY1JqbermUQuwCatkwHK3F8DTHZcKRZD2n7ryJl
b1lUH0Tk29QVkbxrzQs5anVeYTin6hwCXTybche0Welhp/ESm83bhGRSWaug1cEmsDAurJAxHxo7
nCwmYYfZlAeyNTwP5XZSt4HtWicMznrDgfswbfFhI8erLXGFGwYf8dmQjkfD+kok6Z6qtW9Vn22M
JlMhwS4Xz0mlu22ue/BDYO2U9itx2e20hIamhn2hHQ1ZR0UrqShfNOzZM4IdhmOrrAej+XQa0iKj
UselXvlaBM53tIySel82BK5JBfB8H/oPjGCR7+KRQpq4lfJk2fyZrIVnw9HMGZ+L+JLeyRb+SDbt
kqQZoQrF/LcUFHyO+TNLpiixiY9LHK+0MWbxFhFLzOQsXm1zYchfnEqc15XTJTnHH0PyzcZfVTNO
i85U/gm/DiP31Xcd+qb+o4L4k2nJUVp/C5TxlWn5TtIcCgYHBSy5RvkUdUZp+DqhZHFKGxzA0yhz
9Lex/14s77kTtsnXYN7xopo01/6Yk9KHiG/QaEqpv2ancaQe8lKUdk5Pi3pTd4+0d6SFrob3w+yM
gcqwCdZS7kRbjMz7ZHEwy86t4+/m9yY56RqZG9/ZL3qs6L9I+xyagEZx3F1TFOcIjznUu4bAOGPd
30sM0jVaKZnMWaSVoOpcHxkjgZZAJ5FV7sTogGQ3T+6h4I3DXcrUoJ0/MK+6WYQc2X/UnbhXyHjP
r36uEgBP8bjGcBFH7OyZ5JINhw4k4yMKd6prDy8pl8Owqk1Q66NHaQ9xnUdlnoodIc7irlGKqJ64
DOAhFyi0x7LeGV+RxulfxFTt+XPTdaeaqE5dMY45AOoyTEhZKbAdEUkl09kJbh+U9aLPzxaEilVh
CLVFQ97e7FqB6m1G+KiRYD1dhlE9oQr2wZVfEwLX0ZoFe+0yV+zdpXzcL+1EqoHo0eLWDKwQ3Oq+
UIzD0nl2EZXSU5U+98JL2iP5wE0adoh5iXfponwINhAHkvTkQ5KeVK6K7ZI6X3O/IKX4UItfmaKc
TNw1YNx4YLgBGjx30vW9lbnCz0FWtdOhlcJdq8nydkidKGCbg93nH5WFCdqgxPH3Gh+1TGlUFxXQ
gMPE+KdEhfUmVFPxWWbK2dA8tateewx1SNfABFKFNs8WVQRONRX+RsSsHS9+X1KvzFDiom6Cn43l
xc+iWct7ppjzq7PMUZc3+SVPDdaHSY8jxZEyV7YrYIJef2mL1TwMsRwt2UYQMxZZnpanMgOslFbO
yZAa6OKps5xIczD2nOTus7K7Bc+kvAj6ximith92/cX0nYpcoXV5QuUmfB1xzTGzpSDtjECdnP5z
HImScZTMcfuyHz5lc0I42iEwl6ta/ShJq388rLUn67RKIECPX5Olko9VNlBsjhIdj7WwwaznXE3H
b3PdE+/RZMnRyucPyMbVc7N0k0vx5kSLirxG77bjPMzm+2JvG1NfHZvMQp4/Z2ex3UUVTURrc1tk
ZXkZBiKR07F3NzGRCJtxVgw4EP/rRssnODxVjl3LfrZsjoShYJKknFgDbtv2alAPMUSX1zbSJ709
5Qnj1kwysqPxn2fqcSHsVJUjNhRfsbzKni3FuKnY1MK9wJ3ZTIofjbr8+zUf//i4edz3z6+Pt/XP
fatpB1XCBT7qDROnNJNpqisTX2xEypunlTa6PaNo0GNWjMNnuGrb0WKYz0JY26SD8afsPzcIA3gn
j9/rUePxzUB+wCJEjimcBiwolVKgZtrNlOoAOyS/FCOBGrHX6FqU988mT16lhEeYEl2PeVBIuRyV
xafGPlZj4qGvcIt+8aY2x8CGaz8Zb7OqsbEObl53R2S4x7rRfL2ZI7lWI1gEQqYmUq441wRCUm5V
TAUiDOhWgVjVIE6/cpXkoVH3p7L0cUv1jU739XR9AwWN5oqvoFYOW9+ycDovQ7NhcZgGXY2uf2LB
cFRXZjTTDAWjvL1V7QMOZjh01AK4d7BcYVrsdbLqVujNCEc8woXFTrXxBuZydnpZ1cyftNxrcpNF
cPBhJwcW4SKE57gJMESdb1eZ5hisxy3nyWtSM8BBHxnXfOjJAttqA4i3CKpcCaRYD1riSlcEYEUE
V+yrNUZobXhpic5tJ/z88vy6kcnTdBL7quSmmXnH5eXJXHQETQxeneUoYWS5OuI0jd2pkuqrLmuv
09b/6Kq70vffSsE+FZN0aG0/jfJdWGNAdX6xhmGnvwSVSqKONF6brL1npogScu27MhgtsoD48sRk
uxIL31SpoZRLl5nIbjBcsh6d42pZvrq+TUvpV8bgApl4RjX7+xgYBZSnJLHnQP9vWwnxSBFC2jlx
7T+BJEKmKT6dfH1t6jFU6iGQ5SBNmJo67MgAL3Pll39Qm54srlkkjQFZCkEWy34htIvVI2gpkwBb
ndQeT+rcRFnZniwWNNzSvBVDmF6zfWmoT3NKIgZ1heEEZd16FSkdo0PASXXZZMohDUMc9XvT5Ycc
apU6m64uehKqFWzwZIJdYAQ10iFZTxIUIvg5LpaeBIJHTiNOe8q9GU+BVcm+M2onAx1x/zkr9r0z
2wPWatSbTSBxLUD28OU5f1V4gzO5yiXmHHlTcZUF6pL5Ul6crdVGt1j6Vgpi07I0EOO1qZgL8rHF
snm1/SFTYShN7jmi9izdZK8nVabKXHMkCHWvVu3ZV+wBrcKCqEty66LDxGwJe3Hf7NZnuuiODusD
9bcxCFctCy9LVYJodb+l58NSx1VoZ1Gg+vHEaY31UdwHPRnl1jZz9IoIhgZfaYC0F3maHEjqeoEP
Tq0pv3RqdmaSepky3IX2yMzMCRqKeyrUSP8qyO4wt/bKmPWw81IsQ3mnM4pgAJ5jWfEFlFDWaW+b
ZcKMFt9UCb/sT3O7MOQmXEF8OZaFJoIcaRN1amzdVsx46Cg+5WZ8apv0vWqOzdw+mTi0TnrP1d68
N/Bkqm4NZb1BZ8lbntTAml+bLguZHLsmBIsKEXMPaJhka0jaLiW84iMUlMmuSQlZgV2KfNk6MlIC
enuWZJapwYiqfY9N5aApy5PRq7iJzd5ESLatJS/NSFLm+E3a9Es+3wa18nfYS99Q1SWca5pB4WPj
B5Oftmml6DGPjoweR0Zgmq+XoZ7fOn0L6q09Tc0HIyuo+ttLsi2/SrOPHJGdK/TifEOTVfkiNtym
1qLWiCMNJI1v85z21jNmHzEiP+WeEs6pFgtfa09oS3GFUeAy6vYmJfcIseSff+51PuP/ELM7V9VF
EBdSCHNQkUlu2d01HMmXbFYYqCJShgG5UgYVBVK1+LDqvN4eIvizfm49W3HlKZ30o3Pi0Nl2k7k4
UnWUvSXXf8P3yNq8lsNR9kf8o8oyPajMKpbDGHc/QI++d71+asR63dmVa1yzl5xKgkXYXrylOg4m
Zi7SzIo4BFYvH7YlRjfyqXGCQFsZBnyp5tzvrfXUzNpTvT6lm/Fnnl91lBZ0q8we65c1NaLMJk9N
C4bt3ulojWFZ9Prsb5nhWvJPmXjydVgiByCq0SoPAMEzRiPoGrQQNsG29sTa9GJCrywYwZBYGQG3
u4YpXgxrtwS55DpNQZip0KT16qL6aET8uJ+piX0MqULcD4Kk4gTe6idbb7/62M8zNPdE0CDmot1W
/GVu3D7WDpOUHk2YvXVteVpjHK14vMJwBqHDoUt05dXB+H6UZfRI2mVxUjyIpWNnN7tVH/xE7TXV
KVZirQ31+ajmt5XCQwdvMHOkPFX+Rj34rHf6S6FvT4wxD43zAvT/tM//q+WWxCd7Zj8k7upLTnCe
ay8oVx3pyDteiie7f3d+xvNzThuqGEGfv8UM0MrAloernJl+YWYXOWveJat6GZT2SGgsUOJ2ZkGO
YJed9LH6LBXr92Ql33UcFQe44ym68bKEkML+t3TitGMNJePw1hlDy+TNpPpVMayXWsznZXhtWTkk
D8tAr8VJZjcQZcpJL2KEw6suDRHKXHeT1kDfxsiYyxerh6jQzZFILQ9F9ps5fFfyzZUmwnoJhJfl
FQQEDvRQuJs1erExnQzcUSrE2jG9ZYoyJIZiktYf+EXebFX2pWlzO3TGfbydluo5GaawWr43iPiU
rQmluAwNNQmRSPmpZeK5je0YxaalfZSMSdnbjcK11XNd7qULGUdJ0rxvqFaWOT+TqHddHFJ8bCMo
5iKc4uyaK/at4KXhC94UmpysyrzJCCkm8bVh+yxBSGo1BKYhuDV5AYmO+nR6aSVEM2OKk00aWi/o
73XI5hIRwodOwyymjb3ESU5YaFDAZ5x5DqYO1dUsmNYiSZWkGHdzJWy3MbSTOjTsmoSE+E1S7A/V
0e7WZGGObD5lHbQdLXeZh2NKgE+gND5XlXOttDTcNJLIWuiBShLaeR6UknJv9365l/3Y2O7otMPO
Wm+JUr+v8fZc5NtFqw6lNCJb098YhVxKgxqu1CJ9pgvquMAAqlDtCMeMZit5EfN6zezmYqtGhLmP
PcHvlexAaZQQoeq7U40fdvyrTGZi9kADkuFJMd1pmQPsyM5lnYSDtZyxqo1mdLU6xCJlKtj3129I
D8OiHKFn1t/b3PjWp+tzJcfvg9K8DDa1175SZvK1omdcGxm14fIB2SowutitpMI15+7sxMN3c4vv
SSIiBTtcWn21GU7Yhz7Lo3K2079lPf/IGIZtrbiTkRNkE3VF2l4VlVg9FJdzTTKKCBPSJoS1uxjr
pyLJWQj0k9JZL4wLeZb+YyRYRBW6x0jiUObRqJvh3Mm+yJNnG8F8scKfkpzTkCnPPYoTgpS8vFkv
dpMfSrl+Ser0i3H9yaTU309xOU++SnOK0Eh4ymy9iE4/L8QJTSM5ZQginfmMRvluk4k50BQuy7vM
1ijQytc8Ayjhr61OTm0HFqHCBFiOhhhdhcvL6RRfg2GUqf0F2hHuNT9L8dGqVmTryctsDCTSWGcQ
5GHOLmwBVOmYQYOm5iQ8a3gufe9tzR/X9lLqYAK6ehZrCTo/wkzJMbJLv01D9qkX2quVwD7AYHnT
16fWeitt42yJDAqTGg1aeTHt+krE4kWGkBQ7KHUhWMnD0VokIghkV1aCSTO9WjE9p4M7/mtpVH+d
NQ8fJbz8cq8vtieRyPecyxjTCk50xkQaPMAVlLI+tE2LS84Q6YP2KmTrnNQG3P34WsCbyhBDJOa3
xrRObboEzkiL/w2KNy47XSBTwat2iaZqOxFgcOud5VnQyNLjHfMcvM6EZrYuN81m1c6DTKZo3UA/
0OlpWv8hcb3NYnYJWeO6ogQksa2SxsgcS6YKyqm41PPqQ1sIwXDq8qixhWaGr8yxt44dV00a0ftK
lnKHDXnsMsG2Iq7KUD9VBafwkBDRmESNpv2eMB8oUua+wBRDYR2QJMK7lu+DI2Pap72XpcI6Pf/B
l5UF1mEcWYYCncTyUco6wXTbky4XV5FN4HDo77q0C52q9OaqeZY2+92yrJcEwptCUCXCkxeiHeZJ
C6vytrMpprGAhTnTuIM2V0o4rWjrCu2i17NXtPrBqqi1B/1kGgSwVNsLmpsnevFbmeCWIpZI7n8s
WYrLkP59rdY3Q6i/rFENTX0N5ym+FLD0tUmcGmBZbJfO5M/D3PuGapVoABYxPkCrMfcQzLHzgZVq
PEcExpzxbjhbasu8w3YtqQt0gQ1ZWV9yOMKSjIH/8on38PNi1wRAS5+ZSO5SnHhgq2sg5aMH3LUs
1FuL1/4VxuK26xO53h6qQvTTm9+x7GUrNZCeB6Nq0ruJm2MisTPBFTopHKbUb7Q/UvV30Ds3lmUE
8hMFhuGbXeFn9EFAHZIVQK8JlnjwETKHiJe8WLaDgSJYkdRzsUfK/ujSJLKlhrPQYUQru032wTV4
ZoG6q2IIs0Z5wV41sAr7Jq8Q7LMb027wSMlXYsNDvBgmyRKqCxhSzVZkUmJs0yV3lNBQfixd/GQV
1TUeB2zYKFbWjZ6Mpr4HQKkxja6kXUmepLwzQ3dF8iRNRLY9IJF/0BDHEOAVjzsf6MjjL49fHzcP
6OafXwW6EZd03AWTXDxI/gfcgzH+f6M/hUM8bTyFlgxqPKspUMCQgkLgb6FQaDIJaIasBlbgpsVS
6SAhCnNzqfv3fY+f0IU5aG72xyDTBYfM8HBolSnboPJt9alLJDhRQqnpWOzlRBHe4cANwbgT4Eny
0LM1K4RhyaXcnpSl//dNi4V6SZjr/juYwV5Y/d+/x1p8hJuxhI+7dCdrT8JqefQ/D3nc+fjnfz/P
P0+xDQgRsHQcELJxNB7gz+MwVfOKw22dsyLvf8CT5RuuVZkv7+S5x03eaPFBZ4c8WjuJLNlJZDWi
xH/9VEJ04NCtHXaH5jexH5BxP1SPn8R+KCRE7VEZU2ruCNvjK3u8FEIGfO9snGv0GAlGXy4gKJPa
uIAMHNvHE9TqfkT/9Vz7U9tG/gvjkdFLE5QKh649whNwIihj9WkzjOpfL/v46XFfp9jkLcZo7KK8
pJPgKR5P9s9jH/flWyOt/3qZx1/ygQg9Ry5eh4LDD22cuaO+H+uxb3sft/MXtKwkJ+TrbWqHoF07
X6ytb4EbxSo27iNeDXAn5r8jfVK1dp4zTUdJGPQH+IcNnVcZlQdVOBCzwKlhIaB5fetW56fUXmPF
Uyb7kDz1OTHwJjLH6S9Kk7umwudrZ68BEyfKzpeK9bb+HWMmgNsW7ZJkIvt8LL1cwwIBKk4ktLgW
Cs61NcgizglSs55JKnliOhtoUcYgNMOjns3s3iA3QyN5Npr6Wvayl451IGlHRTtOA0X1akapcPxa
ItxDwIYcYvzN2YKK4tac5zYJS4mzEqO0tpFdYak4KS6I67o34JS/hoS8rDlPi6iRCTavxDOdRMv3
Jlo/04ywD8o8Iz4yPxbZekwncZA4HmXWBAziz32/XUjZisgfCdXBOenS93gynzX0bvP0ez8MW2x6
ZgXlcsZ5swSj2zovHlW3kG0fjkIw24LC+M8g98ScnMHXQjwCfK1Lsae6GBNVo5xBM44PsVG66IGO
MsXJOlS0XUnYGtKxpfSAGolFWuGOGzTPzvutSB0OrvQA8FOFVrjpRiZuQiWHT3kH91soeYAVuVdQ
MesOOl5IwoRb+KO1BsmcukjGibtkZDX4e0ZEykvgwBmttvmUa8zm2xfNWt7kagv1Insb9QmovnTX
jd42VZ7zLoP+bnnIjDhIHHLci4qB/A4V/7YkFQc0IWjj9gKS0cnGSIuoGXOaQx3/GcjS7BhKQNCN
1w42r224ORVQwaBV7qQjesKjjMKgBKEk285P+XhT0x13/ggjm9CUvg2yBDEVxIyI8SJ9U9DA0aNM
NWmamuOlOARV1zwCRT7IlXoobfW4rmgn6jCTXvQZo0VSEbLqd2Z8muVfDX6ialO4Lz16Oncoat/E
nQHXxrDVxqNUCjcjLY+g8YPSThTrnSfPlZdBl+zM2cVKwbW650aUULzmwz4+NbeEvjk/LlifbtYe
Kob1AJ9MFoXbJO1ZVTGrXkyvQz4rFcKtDZN0wBtTwtQCySxG5P7d96x2goEXy+PJQ87i6YXxY2sY
fuzEOLs75Dg04IvqyghQM7aUBEhPbD864CaL2ZcJCUGRDtoIaRhcPMnfwBCkNHMLh8mlyQA6cQ7S
rAMilODMRGE6mFbqzMUlA74NsdAEMyoYj1XLAm9nPVmp9ZPm7ViZZBAl7YeVWZ6wk5MxMSVo1Zea
RA4Hi3KJxVpRO1abZWcMgR7jy2Spbp4YbhHkv9ccA4T+SrirV8ab16aCIeXVTgscYPiyiPfj4tmY
8mzoR7KE9MRYZYueg3p1EFDFd+ZxnjZy+dgUNjMfIsfhSw5tKQlSB5yy0b0CEtBIhySmXxpPuvaJ
l4KAam1/0hwHGjIR1nZ1tMYhcBizWJPhrhgITvHmKhdljz/JMeXq1XBZ02PV9a6BLMmAJlFsMJOY
UAyz4c+Y9oDLuUjOQAj+yOJnRRCezUtPHDZRIn8/JQvM/DVnAAKnGyR0TNoQn/OjVYhwy0YMTalD
LHFM4r9rr+PNJIOcYbld850i4YXwsD1taxU2xUjyReGhQz8uSkpE2+oNYMW6QRnFepyDF5XlX8I2
XxaGj8QxoU9VgfCG0zRQcGtntYSAAoyZVuWprZ1bYn1qS0ogA/7BcRvG8YdRtQzwLb9lqJdmS1Cy
ZRiTeYhnZp6S7qMidhsLz0RLciWWygGaO9YeB0cizHusopjmpSudgA77hFl8YLe/KrRZo+YchBh2
bs8BW3TReesMcFKd8ad8S2UD3Fs+dR3OrIxSxZKclGGk1iULx3hWLKYRXfs6mEhFBcmIMwZq6x4o
joVEhY2JAxO888hVwO/7o5ENn0hMr83Bvlk8yRUIFYGZZAsxD1eMpT+21XCcoH1L64pMHkcbdBSA
NKy5zdHmvZtkDPRY6piGfV7N6djTWSoAgpYYUKd2XplqnAN2sBELDik8mGf5uKKwqa0nQR/a4cNO
psZzx0qfmSmwAU7Kqn3rcs1zNgcIVKcNaMMS5o8z4D+wNkcTw1tBxBFiPxBM5VnKjCAVarSMMQKQ
KF1ftRZb7MHaB1DGSaTah6GNXjUlkc6RzsrFs+FzVuo1wZ9EYQWR+vWzFdn7MtZ3ooo+kyb90sb+
lFt1VBf2J+NZJHesiDLdx94Rm0UCWodaucLOig+mq7cG05WGLR2b9PME2alV7tsiRQohNFn1qjrT
Nc/W19SZvquZ8Xvr6YIa452A0KMB+/6wbcYlVeWXQTKhm1ZQ/ZdjT3enPWOHj/VyTmFDwTSRipFK
R2Ml6q5RromT4SRjoF9LvjeS9GYr7C0YBA11jiO8RZo2cTecCLHhYwbnWqMAoCK3jjUUw/lAd+xX
BOyxeifp/tw1mwsA5KHqdnEA9ONu8Wg53RjAvEHCOOPEbeMKbrN16yi+G8BdxTmjAD7th0Fdo1QG
r5j5M19+puaMnTMv7Z/tTYsmK0oEFUKSQnloL+nKZjHlV0fXryyH+2XvEwrB8nAHBztqjFSSZQ0l
YT0ZDCKTrICdJUWFOp66BtDEvIJ1vveqeqkd5AOtcpph06O2veV4LfQy47A2dx0RB932tcTOaW1y
BHwCowDAxYTdTrO9Hjh8BvguCBITwyWXvmYNH1colsiA3NikuqDrEcVwqPVfkKIPkzYckhbTlte1
uVvKR0WFXpdQ1DxZh4nUf5rKm7LdK3iJ4gDvBuOxEoAlP8fWczP93fR7F0rpXYg/Ff0XveZBn3Ie
+6bNwaCGjsp5/1xbH5oEpSlaP5QYq3K3f1MzQhsi+U91jJ+az2yBa+QO2E7JR+en/sP5xpqCkQDk
tVt7M45dpB+WNzgBFBkdXxuD9lfBUokK1PYFs49DKo7z32k6aODnRJqaNNFm3rPfzeO9sKaNQVuh
n1FGJrcGjbOrOrbyJor5FRE3U225Zo3BfRaouDsZS9UcFFMZDlmimkxyoNvxQsRIrSkWPKsl4JxC
ilXwmAjJN8d5Zf+1zPI17GvelF7izSqE9Xto5FejSpabZCFhQlFN5RVr1uytS18fdKVBnWbaExfD
6M1GS6DSnFzRdYmR3VQdXV0yKFLrzPLzgtK26IuaoYSdxn4xac1x2enP9cJAHUOju2FhYTXhUhHk
SVGz6kn5h7Opl1IGc8OD1/bsacwOKG+m92JdN48FmiTZFMY2VsDYGuwE7vQ/NxIKHbVS6Fnitblm
ptO4mbFZFFttc33cV9QV6Q9i6wPF3Dos8eHZNp26fqlFGw0bwqFyUd6QkhbPD16N6uA5t99VKK27
jnXMZcSgWja75tjvKUgZvFh2Qumsgl3eHjd6WmTgUlCFSBVuk+aCXAHLlzzZbqqirETrxaAonf71
uIupMH1sld2mZtWeNgkAd/9mHt8W/SS9K56mcbKh9NnZxDK1qQsbPgmXUVpe81WBmsk8LbOZuTz+
83HT5j8yHCOe4wJtuFhlx1c6u7/g/jdcHj8ZeAKZS3nrsDA5PZ4ZEgoogyIwCJDbP1KO964YO6aB
TTq6FXXjVc8os3cVg2TgS4xfGVlifLmTwCJVdzbrPGd8zVLb5M+tLMXHdmbMbmktXtU2FdzkVDy6
t0t40/KYMcXFheRHkf7APVr63snb5su1o4d5O8fvsB3OBBp6aVW1L7LWx9de1/pDqS7at6piQD5n
f2CzHBLcuDIsyHGdnPsriLypg1Q5z/KiGCHtw/BKk5Ue8nyrfhH48aKrBkWcrWBMo08nqa+0C15w
2r1TG/1eaFxZ0sCEZ9h/ddY6aidZv8dWjs/ZONxKsJ8DVWHhVrq+fqYa+cDq3M0XS6T5N6n8cvpC
vda4McKLKc2oEuV8TGZykJPGys8oK5Q9Mll0hPZhQwf1c5srjkmv19HD4X40n9cN999Elu7yiF2G
Kk3tWbHy/NbE8+DifJF54yzDnsmWe1Xr2l9N4OrHGOb3kuIJzKdFmJlLJ6KJ28q1BjNHPyz9ZZBy
TYxO+93MxbWRocL2AlCrCrFaTa9oudPrhldMW5UM/POmq9xcFE9S7xhBNmbz2TA7yy33AOu2fdro
9Rjyq4X3OE06zMqWvHzVxcRVvuCeV6w1Rom6k1wLmUTA7AXMv/EciNuXHjT+UqR94TVd+mViIBRp
Fr69B2eeIaMBohXEKZLzSQ7R6Cj5nQw2xqGT9j7PhHTsE+9Bq0SAPSADXeAoPBz0v6lCEkSWWD/M
sYsP9Vpp7gZ24D7O7CTMcxt69aDCxvfHuZpfEq3xSOZRXxtw4oVciY8env4tcTAsj63Z+EgR00fL
NDGJ1jsl2BTNZrOuGXPj43GshDK9JXVsPKkN6KaTzm8jE6CDstbtkSyA6Y0K8w7HyLg5qzS9oaDC
8bexEgCBYnJx1YnPyUvBAoLBU15frSSdfywKQUZyJbp3rWaK1tcLG1A5sSvqOntMwhk8yKG8ifw3
bqn5cRDyfDcHCGYG+fbHWK1zyAVF8qbLcIcx7TN/63QLIN9ky/VsU9WAgLUnAo3p3ZwB5ColeSt1
RhY0OfcYzg6vW8WnUCFojJaB9KQxhqeNugUH4wm3ADE8NUkxPokqznAGa7ZIN+vFc2C8gbX2uNb2
jQVbZlfwYAUNAQOGsdBrZielVN1NJbGZ3K0yZiQETj9u5GS3CDbJIVttiGFaT8zJ/j3lTt68JvvV
s1noiNfSYmBYJtTMsJvtrkqvRrLrL8iVeE5guiRI1C/545UtddLdRlabr8qBVKHOxv+h6zyW4waW
bftFiIBH1RTtPT0pTRA0Erwt+K+/C61z73mTN+lggy2KBl2Vlbn32msIiswrBsH9aE3hZSBizTfm
CcONVOVVtYCyhVlY0LlRfiw58vcHWy8Kn8iGaguMwvCDxakxET71OMzmezkO4X5OlNr0yyxU7xje
xaNtXkxFRXH3SeEnStdNy7Ga1fyjHhz73YYsTgSqZ9zI2Rz2gjTk+wpgtgF2kdmxrlGP/5VmD9qF
zr4m8zyuzYYWpqayEuFyOHPoyLei6svL/dL9oRfGPoOqdvacID0Wdvet6ohqmwEtlWZ8LArWQTon
BLXlnGfoOoLC0jgEkkTdrXpB8Av5fyPecUFpMJgw03QtrqEIBdmpmUuyhJOifc/iEJVSnvwknQ3t
2P38Z7fKTS3EuuxGz0JzR1i4zoNrddHz/YGFPCR+1dL2LXLDfeS6EIqy9AGgHprTRDAQWOIxaVbt
8im1r1YWoSQkbmxbkt8FLwhpB1XgbG/cezg4RBS5B4NyxgvIAifdgaFZ0nLwMyZ+V7Uopuv9wRgs
2kBO9uVU038ujZ2RbuqBOpyKb+ORJkEmXzWTk+XmFxLu3DP/L5GkniMZwgbGHh2plvS/jQbUOXOc
ejeEJdTctVkjHiVVhXAaOZmEIgXTJjKadpegqHGaMbvoTPcv4VBkl/vT+0dMTzSUlub+v5c6rCbr
lIJgcRAY59Hu9HPXLklSy4NmlaU/RpCqNNubyLFTi/51NPDJKnjlzRKiXC0PhqbEDnzE4/2SizPi
3/X7R/+5Zu4IssvxdSfsk0UWIooR69xy6gsKJYXw3elrRtM8b7USd0sWIAxr6nVbN+qWzsyH7w9S
srT3ZUMH6X8v3V8BEDy6lLz+ft1qCnUYyhBRflD0zxUeyDR2hsf7M9Oi31GWwLuHLoufhPuV52Z9
E5wg/5swxu4HW6rBB32/li6vCHhFj7tuLUJZ7rOKkqMyc+q7IfN+4ZhnApDMxYPbF+6tlllFBhif
CLveWOV9/sdtNHsHaKM+91ODJm+MoLV5zRlhjreHW8b6TSn5pFJDfxqWglqAeTzOyzUrKovF8Bem
jCZD2mcI4zgmzfQ/XafOzlY6XICmWQ+2MsQBuSTOyR6ZeTiaGxLjg8fWonbsRNIfvIhp1v1aJLLq
DOfqcq9gU6Mm96exeBPr0w+Os07iMAhNbXsHFydm8oaTgHBJO9hQ39MTQfa+HkaSile2/daPo3oZ
5jZkLtUavi3SdCPpjZy8uNEeHL0fgUnb3VeczI9NSHKDnO18b3+bqdNAisjMWzN5BY3vxn7XE/Hh
sQcdhWrKtd1WIKk7zqIokqxXGcT/9zRe2+WYX0GG+W1e9lfWreJBGnLjGKF1+hcOGhd/wJloLHQB
VqoofzEzZnU+gUsay43ZrZK5Y4nnII2aWqTI4U0gpIZD64Ri5y20B85LuhntenR4VLB5cJi4Lxa9
jrp4hEltaZkpOpkUDBnsk9e898E5tP7gFPK7lcmKw6H9l3wOUlyG8Rf66Xkly5kidSCbTAJGP2ZV
V1wCW/JfdslTmrvle2nRhgSgGpzi5SlJh7sC0/MRMQaYxZkIUXN+IM52fjF79/4kss03yyNpI8sD
FI4FtLca/c5bPCVAo/lxgrLzjjFIyCekj8onvQGtcGKifRDPjKC9wpr+fTEZPEyVIXac7GpQgoWz
McG2XLW6ITsMLAj2jpyBs66neyyD1RXAGKpNKeOnuaBxGnUz/elSahdRVc9aL8wHS3OG16pJ/fvP
lpbiAibHPHQd9WwzFtV7Wxfabh5S4sRcxY+b/kZqa27TibarRzID93lBULMxX9BgEXkjmed4oHKu
dUsg9v2jMFySeCUSx6TtsVmaHepPsyn2CfvdXrYSdrRWmGgGu/pUk7W9rkMkybpMMcou1xpZVZWf
9BiOmuS5VGF9+u+DwFLw76lRdzht8hwJ6/KSqmtg7wL32Q53vHaVGNYG1J7nF3cEdxmbWxGJ4XTf
FcJSG441WH/yJidwN21l+tpk3IYxzPdO4Din2hiY+5R0PpXdYetdrhlVg09Ft9MXL3j+F3dSNMaK
hKAB6ORonFLCoKjE9qZDOgtkcvFOziAzZ0KHhU1Cmx6ALI3KndEU1mtlEnNfDrzyfutkjIFXEUDW
tQviGuEprZOy/88DyXnByWlyMpm6kGxmT6HxUxVgHssKqxrLS0e73mllQV+extqbLFsteangXx6c
Bc3leHFyBaK1vacAzEaiHmsgH1cSAv+fS7NsDl7FHdG75dWeh+Ax0dLg0fLmcG/DxF3dr90f+MW/
mDO1l1bY2SZeDk/p8uBFdX/QU9QmWjFZD04AmKaW+iUrrOEST+gAG3EdGMReOByM/y5PKZrxrkNr
mNDfmdwygMSvV+POtWxamuWcaRh5MFcPpGTtZ73tNxhK6mcmdwBxGSwZgtZO6cL0aCQd7KGyo8uo
vD9ZVGfvTKHydVrG+YMGfgfvURDTHIz/zOhU9rZnxo9YhHFVGXH5WckXIn2P9ijTmxpk/kKyGSdY
tlkEalbxaC5KR2OwL6oq9l5D5KxTedDflWbhN88z+DyGVzLpSq3KHx0GQdGildUlMb0cDpsT0QvM
ZqllPGW6P4pJZe/NxdfcAuPCREo3e66PTG/iD6+nNVrU8wvr8YCITP+rijT54N+lK0MLHXvvZlGy
HiPria/g7nU3d9iR4GztAlX8gQbFHTGwvp5c13rsW4QR92cUP/luztzPuyc+R7vyYOGq2cXKjlfR
Ypa/X6s9fHNFEz8Z4S+9CfOnKOr656SLhrU+zmJ7fzrLQiATih45DUgM2u9VHU47BthAeieiMNLM
frTB5Dy5kahviQNKNPNEe8JvAYyewOytndDGv/8i7w/T1BdrCR/OTxUN6PsREPZxjQlNE0xB2iyk
O7sclqFvEpsxjt67MwYHosWq/XT/BB0kTPJRibcAcPDD/aOkrvSHMYq5VocfsMjcvcfp6kgShLEt
o8y+iCb+g5z8RS0JCnXqRusZTNvJIaPCR7iqEZlY9FdP6BIaOUB1NoGY+Xmtgb6rntzW0B/Uwqsd
dHW+PxsdA61bF3orqx+MDZCGcF1bffFgGlmPe2YQK4I3mr2Y+ga63bKRO0F4NtOWWBLRrPLB9B6A
qouHsfF2Nlk3l/ul+wNZfGjFK2ACQVA456aeX+kuY0GKpvQczWV0DPtB7MekHi6eaPJtpOsDTfKU
nTrNkzdoz0trIiCIueognSj1aOcMCoilkRiap2DdhCq6lqD6N44O9z+TVrhWdaC9WjYdVUMO5u+C
1lAyud6fwexXyQhSwJhIAXMStOFVnv4N+0W7Ug6/h35JNHeL7tXNqAwD1bOxCWfApgD8jePvMYHd
uBvb3qZWHopdiTnw30fzci1aPhuODinK/7/XleVKabOxx25ivRvN/ETHrXicGoZtYQXpIkztmAN+
NeM8B30cVsb8XObdfz6K/u/a/bP/fV3pKudYujg37y+Zly/w76OpT57sfsIOGP1VXs/mrZt6v5ka
uuxVU6ZPgxWwVMRgziGUfca17ZxQgYNy70fnzPjweTAqxuFoltZdRqFd4vXZ35ecykJQ2gUC/nzv
Vs94wsjtaS7SoQUKYcB6vT/1lqdtbpqvyB0oWdN4XPcBvgkwatOH1vFTJg0iuYEd8yN0nptOOId6
MeppFBEpEP9yOGlkg3brwKiRt92BFPeHkW52Q2uvjLXsWMzx33svEYtw7aUKrSN9ydQlSLPWnWwD
SGD7r6WXmcwAraK9NIAafs+OkshdE+s5H9W8iURuXbS86w4kAXhI2UR3zcoBx2836C9VTVaFXorg
s0GaGwTRMyOb8rU18NUCfQueWWmpO0uGpZ1InZPSS+RZrIvP0RiZ+EDb/g3e31t203LYz1pblARN
2R143gUFXfNT901rXEd8mM+AMi/0r6Mtcbvpvp2Sedsb/bSrlgwgwww27OnT6wCf8dzAVlqR/1b9
IrlL+onbzQyEpLGu9QiTa+a459EbZzJyjNS3W9j+M83S3rd1PAo6YRRWa3oXZ3mo4ab4bZliEagU
eMdK67ZdZlYRmY6VuoXpyFTQKUH0uyxsrNTI0Su9pOrHsfGvodl4rh+aNJWtHtC7vTSl7QDPS9Fo
bOJLexrwG6dVmTIDj7JpNwDvYkx87+zZ5GuOFlM+gHusuMvFYbaCTU/wCZR5s1Xmuhza+gTsqz7x
Y0ixun8IfC3amUoziaJ2zRgfAx1kTkTqjGbntRg6fXe/dH/4b2fZtOC3og8O/Yp6u/ZjK12y8zzs
4EGrn/ofSybdieZRX/v3K/cX3B9QFk++OaeMCefcBlI2BQwYrdhgI25hpWQ5MHo3X6zS+fKhFMI6
358PIeeKHDX3LDpnL3V5ban6eZcOmXlhlSNPw+uWRDkrXkwftkHh3Dyn6g0gF3lJYWIUDzz718Ry
ovr+LB1z9TiJvIWjH9trbeppvACq+deJBw+Qb5tEpFu1HIu6iC78/bMNJM7X+2f/PTWZMcgs7Hcy
RqiM3wp0W1vd8uWr3y8pDdBVllS3+7M7fWN5VWKOKGub+bG00+QaGUzFhrCLfqWkwKwZvdqcGGT3
sWRW1r16GFPzKwtNB3Ww3jO21nRG4y3I20gU68mc9De77nGkycHgHbR8lsa372EowBAK0LnQ4o9g
djmTaeIFelF5Aw5L5/x+3eUfoeijcR1u/v2SNFVmm/vz+zcM2BUOnEkfodax8yeh9r8vvD9XJOtA
PNIoXXX3fH9wwuA/H/33WmNFa52s6u2M6A1ZgY2+p7EpHA3sTep33eVbI5xWI/RM+jHEExAyHNEi
IpDHMyPc1DQ/ZbGDqziA2yaGz+jeZDrvRGxUcILl7BfzYWwov0M78rt2QKKhOCwb7oLv8fyU/u9W
ad/Ul0w/23CdBc2pJOUjVzNcfOJ+5sZ46LQu9u0GG5QcYSy7or52lfWYVSLxnag4W10IMT+p38H5
bPsqICCbisyOOeKhcZKadWPrx3FK9c4ibGTVJ9YqddZNk6FSbb6Ckm59reoYIpY0SpDvyiBgeB09
CpvlJtR7JlRYaHREuKXMUW6mnzhlnhgkb81gLhlCVrgBk6X/gfIdze0oh3Nu4ovMRfHkSKQuYexc
HDSF/LmYz8Rly3kr6feBSx8mokufi1e9hE7r5uI5ysdzlNC1CAaZ+Ap9cMxS4ze1/BWUSzCW8bqs
JTs9kGtS6t7dseOUlxaPDrefY9mrPP1SRfgwht3X8idNLIsqssQcrqMqYgIY+h+ty/t5cOllTLN3
TQYN70dnnichGbJigCWsYS+T4G3ujZesgBwKbWbtpSMFoht9mXX/wXpW+IY2PuKNLne5Zaw75te1
bf6xIvdHKz/KcJr8vCapyqyfmgD2IsYr2ns/Q9n91FpG0jYHSznjiBAt8We9sXVD2ilaelB9ws2U
hduUzhOZuHSaTMe01hYjbht5Y7rQMDScbKpxj0OWrBbLc8A8PGvmnZ4OCJ4btc3d7KmcreegcK/0
zJKVS++qrjF+tWP8UjfmeyzHcANe+Nh7yKjb5eb2cvfBLDS/DrN8a0FmSoZuGw/6TSTjTUrrlpUK
VdVQrwS92gl3AWIdvBbijQmcmNpP1cs/le04CHFwmuP6MjxyTCOL8SnmhS60voSGFzIstrU1abiT
SefpDJKOzKCZKALbfT2WN1pGn06EqhJ1JducERKVkv2ERKis6jZ8oD/WobqpN1HSf1SOeDcl2FHH
yU6MklM/EsnBqNqjxsq6SfIJHRNHtnHRo1WB9KuuC9cVvYCyQkMtql1Yu+HaC9koZ904lTp5Slm9
sadsJ8ccjsgosbfE+S5CaO/3TvlIvXGOA/p8TdtiVkjJXFKNc8ETGTJy7pBxrSlF20W70pu0NKuH
1shepBMbJChBl6DFtnJKW5zCeYBk5OLudFNcPeRkYc1FV+WW69bhXi9r5Hxj+KdytgGy6TW7R0WH
LGdlYyZCoMyR93LF4sGhRdVPuojrbZWW1PcSt67sV0OOaRtlDLb3LAF94MV0RrMz3xrLTxxd2hRB
ZtWGSPQb4gvy8DFpvO8sVvE6nuXFGPnKBS21Yv4hJp3uTYUjOYKGoGiobzu0wqBnN4RtDP6Ek9HE
wjwa+8nBbDbWOrGrSN3r/BZAwV6VnnrXouaPYOC6YB4G9IxFXxar2dD+aK72USBCKUM0UW5znGiW
dc2xG90T0eoHcCkZzNaQ6WW+5LsV9i8nZTXMzOkrFCSiC013fDwG9caIOJp7toUaUdf44SC5hjIE
McuPXIIZ8Oe0J11eQ4jhtiyqk3qus/ad4ukPxsMnLwp+qHx3otTZ8THG26PZcghq5Nr9wh/1lLbJ
q4abq+n/0r7kjKU5BlITjCVJtLZKpDamhmIpDLH+pgkzZatcxh3qd9d06Xao+KPotek3scEPGM24
FNMvkik/JwkhBFO102kIlYzqN2Zc7oU+Qy1iGwfYZruy+XE8YKxFHj8GdrRtWX09F0VnGolpa7r1
2rLbFkB19tl50PoEWVn1lG2nFKlhX7z0c/oTVi3Ta1e9W+SW0SKw/gCGcFYFhtxxwi0pm304z8al
z8fnqFcYiaHCDNZepir3yaCzNomXwAgCLaB7DTs21lPpAh7IgrHw4yA6yRQZIPwKy+3puzh/tHF6
R8lOv9TgFULT1rWKhD/3wS0vusPcUayGjNN79BzaQEIjjafUXmdXWYpfnQVVhWHfjZLzaHkOKkOI
DT6Nvxcj4GuW0oC5lgUrHTSBSMwfw0CUFWF2N5d2eZ2MrwEJDMchZD5eJLg4QhSe4LxI2LNWwjLQ
TvQEFFqz9+24xLWCNHzVyKAWTSv8zG7JOOheOnelUiaJo1W91sUUYo1KdoYHPNwVkgDpMf4WrnQ2
WuRDhulXdiD3Xmf+CIVeV7AAYVGGPQ6viSi7+k0T7a0xxN8wJ9yvK3LITo5FYmdgGZhE+4c+G/4O
NMoFSbYcCfMPSo037p5ua1rN44Tez5h1HY9698eki7mqYP2OWgq5lWTKVZ6h5GPadERQfxni4EoG
1SprUJoa5VFz+3a3cNQxhf8xM02thzJn+9e2EfVGVmC+CixAUNQDtyHcxCOQorouOJSp3zZTeT/t
jDeJw2ZV8sbwx7b70tXMUDWYzs2Q3MIOw7Anqgbpnp/F204CrkWr1RDENuNrLWj6E4jiaVF3Lbqg
2Ex0YH2wbniRscxCgBrRwwtEwA7oLuoe1DrIPkCIhCQPzllxNV2M6kk6zrTtupceQcQBsdYw23wP
srhUKscJ3tAmiGLEZc4s37k9HSI096Zpequ2orWUxPp72sXJGjkmY9hq4NygT/jzohl5NZiI1lyi
TETkt14wopxX4oVuzXpwzOjqZfV3tJApC7DzR1fN1+TOqVweGObMOwQZLWm4jbpCUxLUvFd9LL4H
NTYvoXMFTaUnQG72bUvTIsm1b0BXeVh2NN9miEIlm3lcW5xxdckxqo0STg4pCN3qp5BJ9WC2RoOn
oURaA1FAlcWagXzMDJlfXh8jiQW/5UbdpxxtJjVw2okSidthuJo1d6jlTiy4lTwhOgKDwaKaZtSB
SiZEIlgPOfkuK1Fl+xShd2zlW1U52c51oEXHqI9RFbZPYHzJMcjLdIv1l9yhMvvKWLlNB3xS4Q57
2Jv6Tm/mLxXVf8SEAcTkVOxX5KTCSML9mUYmjfeorRHvEeXsAdUC8j+dQjbnqB0+Oc5h/A4gxLXK
ebVF624qM0MgCw1xCLUXAnQzuuE1NUD3kyFx8CP90mQR0DVH/RqV9tMsmUuVVaxsAVHMS+Jbf4il
xu49Cs415A9gTBjfk1iwAUgCLqw+fmiV9ReaGjG/v1K5dAXVvJVpbKITbNjlB+TKfezSb2eBsCHh
ECW6LzjZBFPubpWgUM/0bV7Fz2Gt7UQIiaIcxwYCmreKdbyDfV/MR0ImoBuh1rdK3V4ZNVOQGbT9
zL0OsI6fGGX7SvYzM8RZfIP2Ept5iXLuSkS0lR6IjRqj3xrhFV5Cml8w+5429Nc8ma9TVakNmacO
Rf5LtYT6VRVfG5blp+Df9fOoH8nTexgrXMtF/TiX5o9OhdbO3qdTGT+urd8qvEhYorfVSBXsTByr
G+2MZG7pGIeIMgqbuN/gyCBnH9G+WJdJjrgnLPpNHvViL0le9IZZW1GuPVgtpensVj/RRIPblA1s
Evoc0VYIYJgd2CQjDz6dXJv9Qfs7kRm30VV7g18KNxsX5a4NiPGse69/tbGhDsn0XtA2MVy7fWq7
+rOKon4d9Bc7cort2PoW2g+yVBAmOyPN8DREraNzc1smkwOTRj9pePTozGraam5ws1XDQIG3lq8t
Q06XKFC87UDrykdZtSRxpvnZiEK2YNG/w0vYTqELcykFbNU4mQCHgJ6zGN8GSX49nI+ZNoKBGNI1
ct+1k/fIqc+ObVsbO2scIFb1iHsCoy/JBrdSUfE61sEdKjDsFdRXXa6KUQWrjuPiqs7EW7wpiABm
CE/pi7/Wifgvq46RRGdnGNm8tFn3Bj1Sr8Hn4ShdbkybfQ6uER5d8hr2eQy8IlU4KvqDU6JQLh0W
WZZI/ACQoFrLZAyET7zvOZZBKV1cPMhpvQnIR13E51InI1BZ/bZK3BMG1/yYl/zEWqyS46KGDEuS
YUOW640IX5kmVkTU4yoVZbUfI4cEb1udkKVx3DM5/XppsdHrxOMMXR4cnbDUoLItMD/6LZnjy+yZ
ZGN6+eDTp9s2HYZuepnIEXtOwj1lv6fX1cHEz+a3Ds06tAnnAak6Xe6LO5TI5BWrWA7if2Jde2Sv
RqELeySwqFVDRfOQue/g9zWmYI+e9UFM3MkOYPODjGC2oQz1Vs1Dr0Mk5LRbMpfksMet1z2y4iBP
UUfRmAhuTaqrvN3DsdBhjgS/AQCOpvNl0CFa6e1IkNNchrslApXwIPMXBxSYthl+3rIOtqiESOXp
Go77bfGp9JlIwJTCv8vpHFr2wcwciRENlpSSTKCypH4YnerHHgBIVdLXoxH3C7HzPnGLL5nrGhtJ
vM+q0uiak31Q+a1m4nACxKAt9VkxtNlah8toCPfTZgEjht0+pWO2Mpwm3emae7WqheWOkHcw+VcQ
lVy+o56FFbhQ6un7GD0vdbbrJ52nr6CF7Iwc4wC4/Y+QQc66zQW9WT1/d4R48Xr76nQchuDQ0Od1
di7dRl+mbbnKZIlzTDfes2zEG+EgwJPJyJlhqYqgV8GKRktskUAhEMZrSNHZ0t+YLT7XsSg28Flw
GMyol5WFsjr8m0zeJYDoGrXS4oBi0ziiroM8S0Qs57IuhbQXz+qiWflfMSYYhHOKXHoOHyjRb6iy
mg1lquebHmsm70gMDWmEMSmMWIf3gc4NU/b2H7gbh6lhhFCRSNWEvIX7HmZLDxOp5G2/aRuLBFg9
HIgFY+hG43kJkQVQ5mSPDm4KNToICD3xk5lslKF3U5UNyk0cyIPFa1WhMBw97FLzrbDFk0cMAV61
YiULNEdeBFdKvLHa2y6TKSKDGEda3JWGLS8B0owgvXbERItBdxmYxmdGiId0Ihp2UDaSMPNbBN53
7EGxjLRT7NlwIUWNjL64yh53DY0Z3kwI1rFxgB+2u1URBF8emjSAdERPDMafavnvQlzdfhtnv0hr
wHenWEI7xvfUDsYn8V94sYO/jtFL7qfhkLicS/sWnCPH+M8sbp+HZtopFHEMVSnSOWvsbOW+qZwo
BtGRt0FMDLeIthVWp+1N2y3pQeARFN7vysvTFTknB88bgZPnWJIlEVlRMX7kEV0mLy+ZsrYOu1Jl
ElMRMxxRGTlLwd9Qy/eTYeVP94eEecIuRHG4uj9VnLTw6giEvJOsDxSXu5w4CY73mOrAgoTbMO+N
48z3eKwn0DOJM6F5ZSXFPL9wdkb4AhkJGnl6q/W8PbR9dCujXO6h2L1Ui7g01b7RunNUYo+gR85E
Ikj22VzNq7YdJYdAa0BTIPO1jjUdRBy5Upb+XnmVdi0mNtxYD8/6hHlP0zGmS6hf/eSkG2XgyQol
I34jbM74lHUfkm936B3vl1udQdJ82MUcrEWV+yNdpQOTlJcszr9HGlJ9Oz4bulXtI91sqPSHyB+K
+FnShd1ImFTzUO2glLCXjRQjNJh/5Xb+nFn1yVkCNTuXtTliKlB6+U3z2qsY5o/eEzs3S662BACT
NHgnLYGZMC2QyVD/sk7VH3FWPgDiWtvZm4HG8TJjfbc0K/InFJbsPBJJVnMk23dcxcwushE0mOdB
chG9p9ZGhF2hx2vUedaqgc44C5Itmi4/Ij+4Cq3gMKyTsMsfv1aYVYJiAU3RqzM9WDnZu8sQPQkw
fkTmeKvL8ndlpp9a45w05FFbNY+JD3rUQzAbVuGOWVkAwde21vrgIRNJ+pXl9cWqLcV7bWJuNC0w
vyWiUNiL9OLy5xyp/skbPTAa3N5wD7z65DVzu11+qM7LnS35sgiM8sfcTAIG9slXA3MbkXrWQCYd
4o+xAHVjGNSy4BdtvPoWVreYkwyUboY7w1no2GmT1ma1dJ4WKV2mUCY5BRHqWvQ7tMwNS8AxyfMF
VFdG61CDiQgZnVEhJpG2am2shBG+Q91IsHnRcJR2/7vHhpxWCuWY4X52QfjJ4fg5Vt0lLburGopV
aTU4DQsQ07PRv4so+90FnDyqgh7C0IQHk+DBPlSHxJ6+Z5II1vVgXkM2U5bS3lx5MMlAmPcifLHA
Q+qF9pI77Cba4n4crKckvWUuBW8TcEROZXe2SsDK0Q0H60nFziYOCsb91heKe8gW9M42PSO4NKU1
ZJif3PVgQGV/VHV2QO40rqypuk7xLvS6cEu3vFrHAkenas2fOo62sBWPjCHojGakXMwcBGrL2EAk
+zORlLfWG04EIX/oLm8c385dhdHNPiEXf5YJ+aJonLCQ9I9D3XyhoTwu+cx+X5Ryb9L3KwJ1MXSc
5IuXVSDTR7HNMlwP8o3RwDYc1LciK8SPm/rM/UNPPjxrDXNV1Rq/ojnIcMtJX3CnNt3VMPuDmGMc
fAm/7cYYEAtjQNWHGDgvO3PfOl96NX3UYtwTl4dsvXnPJ2J5WhDG84QmO7wErCxu5D47jvnW6oBc
O/UWusFn9TNN1vMYuGvKqbMdgH/kPcK714L/6vXnOYofpsTOtoB/XmqRQ6xWWAfq6QPqKhQxfJ1Q
FOjphu2jPRvnjl9WbW/qP0EUPoJ2e+hK1oNiOR7aDC0EW87YsDsFEByYgBEEjlJxsc2Ejv1SOjO/
hlbMG2e5QRKMkmNtfCQcuNdeZzwCffH8KW5AmtcavwjrDeL4b/tX07jkmUWoYynfiNfsfzk1SLUU
R6hxagP2H0n7duHFcUjFzl6E3Us8GO9j+t5FP1AvHh2TcL2HpLF3KhyhOcrxFTzyoZjpC2Mj8hXi
EruaOHWyHiCATTgUau2bo7OLRfH0FaEp2zrMTzfGNJznCS7p5GAJoO+GMJDqqLE/K6u56YhbVjPu
VN7f46lLnbcKdyQKzgtnzt4njvdKvPRfRE3bZEo/XRNUgOx+iwcVyX1rjTedhn8tNN61IWfvSWhw
c0pwK1P32U/xD91MB65h9TPLnHsG3xpOk31IjvfIQrub+R2bnInH+YcZscc5gkZkYdX73lrO34rx
bZpDWSyC7BzFPykRF2tNg/RsBw3DHBs0kUszs6DBaxZlDXYxIPVQz8F6bmnFc9u0he9kFgVo5sWb
oJT86qyh3E7FAJ6p/l7yPLWIdSaa5D4b5q9I63EuOfGWUDlkTMW1pmOOcvJ7rMTRKBC90hmAbQ2a
suSvSwsJguTEaRljWfxKb+GqvB2c3FQOCPcFVDU1mXSa6AtIQe9ERyKHb6/7cBKYgkATG5WyE8J1
pAWxs2F9bPoMLmA3HYK+s9gxsGpLxeyw0971PPrJWRVW0pIfXmlTzysAjyXm3rCPJWF+oCmcQ0Wn
cW+13c3oMbrTL/M4goXZztjUtYl5s8FuXH+Hi9S0oI+H3wt1d8mKHBUmxo7kaIvxIzMBA9AbsBfG
zFCxCoYVQrtDEtGUxIOXYx+YYio96ue6iqwNJEaWc0q51pRH/rBYFC5qSU1pup0TEaJFsmDhFOtY
Exp3wX1tSU5sCeOqRLPse65m+Z58Au380fVJAFCCQcjgPEpd7wnG6p/0riSOPZevgT28IhvFT1IM
SImik2U6t9hgIqCjl6N0af3Usc9GlV0ML1jjEsXZPlO6Byhrdnn8VGv6i2VVEXp7+SvsKVKgO1zm
JL/EdBB9L3YeVWo+i85XShWrHM/+1gshk0zEFpQE4YGFnH8TOLKCrcrN2n7T1f6F0eFxiOg0Gjle
t0lzv2X5g+Tso6ABx1GYa4G2tdW8VKz/w9WZLTeqbFv0i4hIIOleJVmN1Vhyb78QVa4q+r5L+Po7
wGfvOve8EAJJthpEZq4155jATkSRd5saI6NHIF7e8nF52UtdoB2JU+/BxCatZeWBdc678LJmVTBF
WvdWzbI8HfamReHfE/GO2gGCUqvduJYB7DOhmYJUU2dGuI6QKG1iQ38EiOutDQjzQ5sf7BiMhkc+
R56LHxCt4Dw7s1KcS5SdUjD19ekW6cJYM9WFIOOCLLTq33Qi4HIk5p8uCnFhgXoJ4Tm1NT3hUhu9
O2JTQQHXQAFGB3kkmrEYFZR/l43tEz8oCCSh+VOGzYfBWvBYgfzIJ8Q2rrbFd8aFCx2dVnERlphZ
aTxhN9CeHDJp0HlszeZYRO17EdNhDhTJ1Yn1ZlXdmfgvBiGcaqtQZaQay0unI1L2ywowisMqza+a
F6HISFefdL52fUM7jpJ5ioPQG6M/qZxDzsNyWNdxdqEhdQrU8DxAMWFiMNOVYvh3wvhRU8TQWny/
kQMlEa/7usrxjsv4SCcrWtVMhd02p/dQ+i+VdDK4GeGLXtNdraUGSL8vP4VZ3FNcexzrmMtI9QEK
He54H1xnEu2EB49W37iJFbwNHHiece9nzW8tc56TyTr7Q8x7dtfCCmCVZvQ//JDqa16y5qzwxIRA
Dm1TEWqdHDpl/aCF5tbeOdKrlET2qgJ80VdrJwx+Gm7+wuKGsVfDBhz2OwRzw9rJvIcYPNPOHYaf
DhV0O4ivgVLlwemu9FLIAptbWhZmQ0oGJBaq4cW34MnaxTzdSptjfUdR67cDpZBVtrOWdsoFkf4M
F56JZiXgSqPi9LGrtyCMGzqU8jZQcsHw/sNw1cabQ5ndXl0mK29XwlBfdqBPZKqzWPbt/JVp2WvC
NMb2WBF42H8Rf9sDDkrkzr6TnzPX3lYIyFBTIMoInYnKS/6TkvglNV+wzQRrly79ijXen55IUyPL
duQKg581WmcTVkg7ExQKU9w9WFqxK+LoZMf4WPORr7tNztSffpWMQSvK+ngj3vKpdw9dBnFRiAwp
SUBy0hxWSClqXQhtX8YUPhuXCwfBpIYH1GOAmkXNyz72KZKEoftkSI5QKdcrg+GUZLdq1cj6mXq7
tbcsIk3hiZz8X/40uLeMcqbdPrO2trEbPpqmOUMXYcBkjIH50xAPGcZA7M29QUct16lhg9ub+B2S
zdv0JrgW0ARe4ABbIeJy1TdvUkNXlGLopzSbRid+Vh1GuY3kpHGb/uxk1ZYhyNiyINvMJSTZ0DYq
gp44PLScrqmocgvvsQnFIba6dF973YthVPyqDOYDrEF/o8d/dicECHYXwB6JGSXaAAVN6nJOtBRg
+jeQ1UwHbH6mIeR3fGVEc6AXAfV0qMd2x3ITcZW6q5lgMpEN34RH+omwmfxKNJ8t3MBVHiU9qysb
EGoYf/RemCMhyIO5A//pdrhrqMKbXnu1+dKntHxj5Utgz9TfD7H7OxjFsGoJwcgg76zSongavZPe
jDYBJwiZXS/d93gJopGPUTlu9Bn3mlpxlerWScW0sh3yLWW2widXQ+1lJEG6dNQqgkvfOSeuVVw4
k57QEO2oj+lrXCYURso3ZmbdIRXDuxhQj+Eod5JjXVL0s/yOwh5uXR+QYZ128LXBrEVRtHUgSa70
IZlTaJhzRC4luCln/bNqK+1ged7OmAbrLg1mLGtX3jo/O9W5yJHUgCUCcMnKgNZzm/BGiGWjWdtM
VOOc34WbTSyX7Pgu7Lpb6zb8MZZZaHtS3ew25YRO2KK4vxtmB3ZCabOPNGQSyI4yUTxOyBbXvcye
RR8dhsCkDgpOpZp+ywrEaZy+kBH91UXGR+vyY3NT7SVsKMtOrfqUgfXpGYBb48GGdjCiHGtIXzet
dP8law3QtlZv0tKATJ5am2yk3kn1neU1M3qWZJ4+NVvB8pR1/AdVon0ihlfKRCun5HcTpM/RVH+O
P0RNeHukbWJ7JwpHp+feHJjmO5s5/BnJT4vM28WgWCFmgzdBi/nOCTDsgQjZDiBAivGGhuhND4yv
Yuyep4lqZW6lr7UXP7dNg2vWXbFmyFR8PzBMj8K5TFX6IVJESJaeAtlToMjL8gWjAE0AuXPbTO4s
0lYmOm2dHTk7axyOMjLvdCwwO6CXeNy0r8DOFdkJLbVzzCUra8A3OVc+sZOioB5YL2+6GtC7C1B/
8EHH+i0kJJ3JP2ReBCNptqH1eW2j8q6u7B+56RwMr/pTpcXFbRy1ajLaTd5BZ1G9LqsY/lxCrG9E
m7UkuqcK1AFf5pXJNbxvEnKEKB+YzsCDaqnLoFqmeMeoPBAbJhsweV5m0uWdThEZ4HpcXdTIbwmD
GVXWCNZC8O4hKybDmZq7B6afmTNhVqCpdz0jGu1ssGUtXnvflF+llvxKbPlrBGkXtbh7bErN7dug
8Dw4sXFrNWo0c1BAg457ReIGfXl92mQKQbfdjpu0t4mpbLI3ZiZwrJAZUtQkrNlOSazL5xdMipND
NKo+eS8QOJizhBMcoMzyb8hFoqbApeW4p1qGMEt2kdSrdaUIKwiwKpL6p3Pt7XV0LfEP023Iq4kk
pKt62Bh5d1f3+T0+DawOGphrwDGYFenKMNXf6O14NbocYpc5fE5J8RyRK/ITc164T8OQqg2ZdVxy
iWoDZDvlXAcdcENS8JXk+nDGNhSsh9Q7Fal6M4V56YT9UaRi4/jGn4T0RyysnbNugnWHHmaj2733
wwcTPc+bdAhHTX70qvAFk5YehYwPafgljGRgVf+ONPyXYVJcQIzzI0vHNzUwh2xChg1XD4gvKIHl
AQfLUlbdtUQUiLgB5O7rUOmPttQE6/IQWiOrLj8oQHXpSnCxqvQ1fBp+BpS81oVvmeswbl/FCHtO
0po3WjwEqIl9ukJtzWWkTaqXvsbIojPOVXQ+evEjr8dDMHnNnW1OD6qlbShCYv2QchQQ1/JtQ5TY
xo6R5kdIueF2vU5hWm5FpbqN8Jxui7f7K+0ZkTRJ31NjpRUBGJ10wKUhqXYjvYeWP+jH4iZ5AzB/
TOKePUrHBrMZuferUWCtmN5LBdcqMKibMwX5BdaJywPrDqWbiIn6TYdkZD31KBRE8KNKKfaLyv05
6Sxmgdzd+opZbmedewV/q2inntITfSCcIPJzopTs5xGcFptye5QYzCfaNzszasZJGuFERGE2kokG
hjjbWk2jNo3NwihpAOdR1LNELMn4YRk/jmQLGsMMUKE2va7BDa9Lo/vqNMe/1PKzaKii24aTMi2Z
fnM1ac/0rraNAqZOeTfS/nTcyffc4TMNaEL3gW6uZOiwsCy3eo5AwQV2Ms7dA6/RxWmMmImm7i3M
vXFvypzV8DiUd1abgi7Xhx22tHpbaXbCcTfbt4zPd66ffPZGQBhI5lNjBcwpYTg9FskOxLaKjGnl
+4AW3eiatc2vthIFhm2w06MzvnoKYrqS1NhiCUQuwOLbGeGs1ynbPS1aQBHgnAWTsAT19Rr101SH
b5mJ3tvsRUhYiDixeFdYEWOqkcREYxKJaT56J02L9ZXXex+tA8Qs7dWf1h0pxnJSafgSREmtEvro
Gm4LUPDW3KtKVqwJZLTVEfpzbuvzQIvPIQafl9dJQYmgO7Ha0sOiQPw0yyYCfCVl251sKFEGjfq7
kjyebT1U93EjP1LAHhTi67OU6UEfphctplVjmFuNChQFTrBylqHb61CPH8oWgLZBMSRAPbeboGWs
8G1xQQq2am7CoDOlw1S3+FKdN2kzwxYDy0bXNvbUxMVtFLRQEVoerKT1bwbeF8TskMnsHEC7V1mb
XEdHqEbKa1j2yETjmhnzwRRTGZ7wXNP9BlaxChOGSk6hSfd5MyK3VtlAJ8yh6mCUHqimVD3nuvhV
GMLf6S7xGcDQRsZLPruuYBI5keEF+mgz4Sqnnd04PcElrAAajdnb0eCUTKI4v5NzJHgt/4kCX3bt
si7nXLxHlzoyvGmTprc1R+x838S5VaNSL5Dx9BgIsNmhSq37ke0UuPg1fYvFe9MWyBObEwI5bRsH
Bm7W+dCyQTrOkk1aR7tD9i/nuJy/m3AOxomXdBxiKPfYXtfdjA7FAQ0YdLk1I0L/7hYz6MqE08wI
qLL7kl9o8n1TzLTRcd74mU/3G+Mlq1TQqMtGi/65tey6Mzi1879aIHYHrWC8KTPggUyeublsCIMg
30MWVzmza5M5mydmcFtRtKwQFtBLXTatn9fftzLX6/W75SAmuwYh7/ygVDcqXtD4mc0/ujq0B1jk
6j8bKSMW1cPJzEINo4/x5aUADh1eIcsMgtgpijFB8IBG+pqoeRF2z1eVKtKm6IzIrKDa2iB69Aea
WLUNksoYJoID5k9mecPLLaY6fAhklgrNAmuAJXQKUqBw9wm27XsUrVvbUsds/nZ7+VI3iMbCACXe
aK8dsyhh+CcmWIBA0qYhHBE6/nHQ+NRFRPLF329m+baWTTN/b35LpAPiIyJ8PpfzIBolidu6/Iwb
dPj5UfstA2oRig/J1p9GpKybrKjoz7EWN/VfFER/k12n4TXH6NryVyatI0rYdfF1VTP1Of6fz0XS
PhvTar98Vt93099m0LI8JoFVq+jFz5DeWljw45abQ2IAuq2yoSE60f76Ptaj0/m+u1tuBpVd3C+b
IZvZz5WNsGChCUdO6yb8yOYTdj5NLWNyiHhL3oyGhef3yfS/59VychH/7W8h2J0YI/3qfTkl214H
eVtAfNFVHCO4Cg8BAofd8pG6C4F3+bDVvz+N79/Hv7t5kyFVRYRh87VmoALul1tFMFG2q+kzIoyg
JFo19f33Rnj/ubV8YnQTaPfWdPDDqp3uUyZO96NK0DHNm8TSWiSCTElydDGsuIES9lUV3dp5Q1uh
W7sQcrbS8Vk3jpIowipnnATXFN68MebLNaqYRjZl3aiiNCLV5GCl9OwrPSTrNETjfZuZ5rrzwhY1
E7iXetlQ3w9pR1/+Pl5Hp7Yy2rg5LE9f7jBCl3gIgrLvlmctd5Rj1O7jycFcGOnm0TK9qy8C71o5
Bm1aCsNZziGS0FDVOEBfTSfrH5ZHkDfsXaXZfSIDnyOU/nlm1sEKD0qu1qORbkrKzjdLc4ObXQ3i
jpJQ+31s0FVw09ycmJeqMNB6s7tsiMNVRxP+zPKs5flYj5qHkUGi+/dR3w/FY5SXWXcJs+jqisI+
xlUnryRbYkzAFs06OZbXcD424oO+y2h6byaZhrBxmIlzIaw/lof8fZwdHSFAag/LHxomFsecANMd
mg/0u+oalZbx/U+WB+DCkaQkTizg8ElyFeTfCat0d1oaEJ6KYBJdABH1a1H41Noj+y4V5FWtUiux
rlLr7qvJN0/j/Fyu79ZVIwNgnWHG3S3Hlg3Dr8UUh0LA32P6GKeneT44Eg19UJX6Qy0yupVOMl7L
8k5R97q5EDdt5HcXcLbG1bbHpzgR+bFtQ/O6HOpGuoIOKVEbDanHcmi5M0a5frANFgPLsWXjmWPD
l/3fR7SKNV/AkkoaxOP8fWg+NNCdSkUPf37IckdskUXV2vLt739fjsM0WiW1Q4jJv6/KY/JFSZq+
/PKIcX7xWdvW287WwAOVTkVS9Dp3Lf+hnDe1C69WkjzXTxiA3GCwrnrhWFfBFXld2GOF9JBj4J+s
K4xzNZNK6YTNx5aNByni2AzrCXTE39Mr1qz0YkuPhttxoDC1SqrOudMmIKVVTzokcvkXZcfxUaGe
pyuMeKBz6A8rZqKwvYdrWz3JcHqqW+brk6M2mP5+NG2iXat5k9cq3IbEpM+lc/+63CEK8pYNB9mO
hY4WR4NKk7NS/WF5yPex2j9WrPmv33uxpt/IuTgOhjR2aauH+1IjaAO78XRBFrCaCuJn5k5XVAyn
oLZ+MGK9Ng0RWz7LrFhFKO8b2unJxUKLsVKaHm28ZngxcVdPkf4c94a3Kip6sUp3X0rD3zcAUxuf
F8xVY2XV9sp2UJI03nnAnzTidGtV8Kv0YDVGpRNtmsJeVWTsNJnvbaO0/eUP3SHWMYxV0ZJWntQr
r0i/VELIKK7e3FC/7SoVgMAPQW5S9bL7cRX45Q8ywc29GUREfyDe5hd95lJt3U9M1svOSM6Zmn4G
Gnmk/PaPIxqOCpMuN5eN3bqC+d3gaOvlppz3l3ustAAtBPm5TR6mRnHZWB7gpbH/n8cu+6We6kBN
eVb97y0/n8b7KftFPglxY8ud//PY73uWZ7hxQ9Z8Jg6VpkFd//vo73/aQaFGTTP/bd7Na1q2/nZ5
3n/98eXe7xc2AW5w2pi44vklUdg0V/VoyM3o+v+87OXR//Vnv58Ym225qcsI79P8zL+vV//73r//
5d937IVxjWXX+/p76L/e2P9+UpYY3b0kLQytNt/B3+co6GBrzHeANEf1VFlWvAPlbpVS3Yqy7B+1
SHn7YPSdFWkEM2NXIlmF5xYfzFjvH6UYyltPNWbeWY7ETq12pRv2BHNipKRXfXDSHl1CwxXkPPbd
eCyL4WqOu46wjldla/UFMT2BwLFyHr/z42ef7NGa6pEuUDJaNEMjqqYmy/Cx9pAe8fiNJqf+cbkV
5Oh36T7HR/TtNVV2r9sKU2sebVZ4lLcAz7DQ0Fl25Xb/5KEineO961THhlUSZay7g7eekJLulmct
Gy3LN0kjD24FIdUm/u5kSLoznmPdW0mfnCx+y6tKd0mCsSzq2zl6sFASKNR7ajpUQCeWPdITJhoI
aE3yBqNaAHzgIYLRvc3HHJPzfEsrgvgw0C/y6e25Hu2l7jElrOsJvKdO5NOMKxQdpjwsGAyd42fp
Dx9hxpt3cxb4QiAXLa3GPyIJIQrQqJ3XLHd2uFdJq4sU4U6DeablGqyh6zgfrkmfmD5wdpGJrd20
3Hsf6Cx8VKV7yYz01Xf98VPGyIBobzx5LAuOqWWUVBpL74L+AaNSob1S0nVu1TRWDzwZn0pKEYf1
AGU2a3o3ggwbkF+Zbw5XoFGT0aOn5SRi590MtdVBO7iz31qjGXsuUqLuCJCpKJ+0CfDK7milPYWo
NKJ1z2lIMRHL+4PFrHRfUtYD6hNul1cJEWc9GQbRON2015RGHZ+SF2rZBktHLvznElTB3KQbzgHB
pPf2KIK1zPRfiZWPV2q+6ntTJVTmiEzfDar5Aw2rNtGrK2fvCEowOaHZ/jR2gMtxXzjauKuEoo/v
ODH43qbFn4AQSENv7xEtdfm70ebdemiuWZGuuxlj1gIswY0S0VqYd+tWSM4oT12BYFJUKF/SLJB/
cDu9wKRo3mmCwm/Py3brRyQiFPYOSoPTrEPlYiInjPZkYN9ftSNtWoJ7sN3rrMSOvm36x7bv/O9b
ifwZ54N2CpOxNDcVMjYijvTy0ZpRdMi8X2pf824VPRZ+Qkj6tM6G7FkpHZtDzNzS910Lag2C2j52
s3sj84czBYgGL52/RTPQHlAKlW98YHCvCVI0JONmmUiYa8i/By2tbo1ZfrljEr5BVVQbZNHxQ+cj
tLNK2mBmqb4iNA5EEgBYCW1jK4eyongOcHUIqSQaDf0BqWOGiRrqIGPSeQ+DyTormZi2iXl3OQb2
5N4rK6IyZh5JxLghm/Zj8ADcp0zwtgkzKq4pYUjVrCYoCRPaQPDQ9b82af0QuKV7lB61yUxJiLbz
ZaSK+IXlk7imdlye+yp4JEKAYEhBm+s4mkDFTdJgHwhGdu5pEkfbHqrTqxYVtyRCjAzt0Qc11L3r
UrffOlnmm7IyzIe6tQgfCBLYDgYg2tLvTnWsWAXTAtoS60xstBlaT25YBGccO3huxkPuhR+mn86W
nnSkmVNJtRzrhHnWWxgTW+ac7i3QEBtbGJAV3oaTZ1K3kpZr3AcuseDpjLgJ/d/0XdxLK5migEgK
mQk5Tgt/jGK91Frrybfq+s5Fir9lbeecyjD6Qutd3GPCA82ihfygQSP+cJWPHJPSx82sUdyyqA8+
xQDQofBNCpV2dgxLRkVhix8k+OL80sL21suncnI5bWWaIDZxmoHVHd8alhFMv7p9iM2knS+KzGvb
/kVP/JGJv/s1kq5BpKneIa7h12sXJMozZCWH5Rc99ka9x3zWr9TM1TQyeAUZPNqCXv1mjOYJnOjr
mzvzBoqsp0za++iR5l2cH9aFVcGDl/rOOdKC8oXLNGNMzyTWCcQBEDSvM7eemsmRT6Zf/SGoKJeJ
fmpmroFlwcrWyz4/V/OuM++GIlJrDBbEEhV2dAGThKkrSrIvK98l7Vj/HGc0aojertJt7wP192Uh
10KqXmtAYp80PnxKVIJLWpcXf9CvzOI/hPiryIqpIWBZO/leF23DvtGfvCkxiQsOurXfKMLHzCJ8
KpUZUaj3Ck5TdiM0h0dBFhsYc37emr7WRb12LWsmRgon2vlC/TJdG+Nl3dDnlfacAsuoDZEjJVJ+
kMnZ/mBIq+o7wUtY605dXIBMqK0TITiGX6+G/ilqQbqUwgMGzl7Y0P7UAvzPA6dRVCdP39f3GBj7
AcZaAMjTbj8qqzw7MoFCn9D/zfOed82Zv+b3iNZ2uQJny9YbiJ4YqIx+Xw0xbaDWTs3bNNL/MAlV
u2uwOt4C0zlVWFRfySnDWpXhyF12cfZoK9SVULFifrnLZbCSQDpTzzjEUeFeSNTN9uEYZngr+hNe
NPEBLsPjv0j7YUotegFmYyWoKSfrOcfzQM96LvfO7gfb+M8tLRjVGvMfCNYZIeXCTNrXNu2JeCxp
0i8HSat6i0S4S0jXG6ym2+oiZNarlL4OAyzWYe7kd43ZZc85MmHowPavwSUXSA9K/Q5FRXst0Suh
RDFelj1RefSQt5rSxcuQ1dnJtqhIFjPGpdXw8QwG7ucBKeDDZI9rNF/je1uj1EQkXR4iKcKnWDgE
sI7xNlZiJ/sGGfgyomosWfuC+sRyTDYlYMFhrG99EnrbeiQTRANTOFTZl97bz4Uc0ntJNMU2Fxhp
qtqGYGnb5nXZQI4hSoRiE6opjoUKI4NLVvMyKRPSdPaGHtbrMe5wyuvk4oV9SmQGxuw7Nb/kwS6Q
GKZMpPA36lczwHTPOWP/skdQlH3w1SYvaQeYoNDd8GdnEoGqT1HxaEzKuof4gjdwGTF9+g4kunn1
DXqpt13e2bKrCxiireOBKEVUKlhDPpmh+WZJ3D057OWdBqT25uguBSf0yuuIn8ozWcBtO9hPUW31
z/zTX0Zb+6dBI2o5SiK3fxySiEyUwG3OpYcLLS8159kziHpoo7x6IMwWTa/TPea5NzwYrMpfdNk8
9taoHpYvuPWHx0Kf6mOVVleQtdG1CxKmOr2TfvkhlVGZ6x+GHeJv86L8GAgeUWsAaAkbB/nU0UjQ
uJqRjdd3x8BM9Z+tw9o91NweSYedv/slHHnlFsleq5v8vWHUdyQzg8TLxM1J9Udp+tk7g4i3y6p0
a9qowiIkjgTaNXeF5DIb5eVxsortoPkELxb9V2+jC2p7OFd5PpCSVgXyIrA/UpPBhxhVzeMo8k/P
o8CHmAEapF8kFxjGr5Q+9GfAleEz6CVt3rHxXj1ANIIPnB5RG7ZPfZV3D2h8YnQI16Gu099VevMx
Hf02+DNMtw33BYrpxpbDbFmKyrcgEoSLZB4dp3m3YRYAPqKl51Vhg7XaClRY5SUn25mIPUzxeX5f
diLp2fRuYOWXOvncZcxaZNldNgs/n/xLzJdubYP6BAvd1so5a6Xn3k/MEgPE6rAs5mNkgzK6MNCe
+9rAq5QkGtSkmvxIPOgbd4SEu9K0J7gszgP+V/bMbnxJpZMeHUoL1w7nx72uTz8pZeKlKWv41PNQ
t4x3NAMzSIIlDhQGvrKOm6NZBS9C5N0pG2aF7jw0Gf9/9++9WnhmjvOnV7F6bCa3PugTHZ4STR3V
dOh6y2noKEGjP9YJ940i52RrE0lmkXExStpWxTKkN2HJUGmPxZ0pqYFl9Ri/+jHp0DA/4tZBEiqa
kDocEojeiouLOZUG89fOYE5K3XuVFGCdvtF1okByX7uip3LAdUqn0fae9GO/QWkrDua82wfWnuzu
6TFPHogXch5yi1UI68PxPRuSK0NfSW9WWU/SMN8UYjQcfMFvFPoVglCwZE1UF0iSoZ7UC7WsTeBQ
NPQK+9EpPyKRwDcx+zfLMtz7LKRpnqm8ulNO2zP5LbQz5fMdkIf6ZscE3jf5NiDB7RJVDgQqe2qY
U7AwRI+Kbl0C/tSLQD87go66lgfxc8hlikAedwtiVKxVQ5gX7RD2m7gUa3vmKWoZ593ywRZdiEiW
1Im1jUV2ExS1Ojsa0SVUmH4iHEBP7Hxqsf/73xuapn5WViVPy18adfGWC1Ucl+tXg/oK228qzkki
Axz3eKYI1mhhE5TDJzplrsKPCVjHDUpsAF5uzXU9rp/rMnlmoU6E73xocCiVVZaJ12S+UzVlB48G
G+lyb+y6P0hSSLdlgEw1mQmImUBsMeiec5pgkryQ5nW3HLfmizwka+97NwisN0HZgMpzR4YkgtPl
Ue4ki7sCUCZlzbba1pFFrHMv3wMgq7+yiWW/Pg/AJHfVuYVcA3P3PrIz66vokq8405MPOtbUDoc6
3KTxKA8qrtGPBB4u9K6/pAYfBZ2hrSR3HlcbAHVPdd7PnrzSWDpPiRu6X/3g3WWakyOFA43sG3H3
29OAYMSt9U6SQ0lgGIJWyhpMiIdg19pajJWxG04z/AlaFI3rFG0C6KCKuA94NyDTAC2ycTZAZAPW
kX75PLwZkUnhzXGbB0/r0MLX0qXiWDTnogS3EeqVSwKtY2xnolwKijJMdP3Zs4cPMuT180giyPMI
8WDNmt3fC6fcTpzb0HxxW9mK0zNplP0qEo1luIyf/ASDUTYl6O0tyfLWMolfWh5CDvmFFmeAprEx
7tNKhU+4jZmC2uNt2QM7gn/FpZrZk1WzHJKVFz5J9SeYH+QmYro2k4Eg+p/lKW8BdKuuA/+dV6sT
8udtaaEoTpOSXCrTZpJV+PYPCqh0JWbGn3Bc+06rbRyO8+5YoQdyYaEmWZ58hE7x3JEDEawC4DRM
8P54RfCOP+Q0+Z46ZUmRvKilwpIaTc18q7Px8AP1/f5hpb17VhWBclyF/fem+xlGnf7GVJCFN1+x
l1TRz7bTHvosb198wxT7quyeh97GUVflaBanVDzkWSjWrTI3SZtaTxACLL4RXk4glMYqJjPWE/l3
V7xTEP857cCxbN2gxREGZuGHXX3FFYsAgGD6tmTIw6GeRK8yHNZaq58nZu6oBIm1Qfhvnl2T3gRB
uuQXIUuAtRbOSAUyTCYiz6I+yBEtBzC0RBDt+wxROJxQhyidUp39gsyrtiu9bao051JqLrUcw3gp
axsbgORarzmz5imruyvuJwSHTkD7F2c//QCUTkll7Jj3qqvGXP2qvD7Zq5zUHlGa8s4PXCYbVtcz
vGt7nG8zyW/qW7FXU/9V2jYL6WAyQEYv/4k8uTvpB6RaRK0f7k1ON3BReOWVHxIcbebFO/yTojcR
SjftNuNSwClqFRe9HUw6xu2T0Mv2AAXM2rpFbN9TGZKI45rm1ouZcWHNNtDpCV9rcweFTINBYzWP
3xuA75hqDXBAg6zqbRFvZETsRN9G7eOyUWlJgGTSTrswT38GSVY/BkkKdcksf4OJ+r4xHwkSiKWT
EfnI6YtxyyKx2AucpG/FsC9cj/WXC58jKGlO6DW3FOdUUbUPTe0UD32StVC4fPFz4H3syUolVC0O
Tgt4lgAN6GK2MUE46KIL6JAzeX3hnLRHQUrjowLpXesPEfIyu/e1y3f1tC1FuoHjghaih0bGujUc
tqjldkRCzWBrs6GuqAo8GkNw+P4q8D6Pd1EAe6RNmLq4mX7ivE0PA7MRqIfMfoPuSq1gvDVZXjzO
7wznRTAI+2u+Ubij8xUkA/U0SIWq659tW8z1x1buzNLxXkNzPIgm/9VPsXnV9TbbNR4koLTJ3PU3
LVMLGH+cvHyoGpQMC7TTLD2oYZl1DL8QV6oLSkCU/rNf/Pv0yUV6riJNI1WgvHShnqxToK9HKMDe
MQpwGS5pNKUPzrFLvfAIOR4dR47+Jhl6gCB6QZamqhNCNv1xvIrfacWMgHYV+bSV0PfLaTCOwBQQ
GIV3iGyoe1AZWTY63Bu03Di7zByeMP2dbWCq5NGc5+5+UOMTbhnbDMsgQGrcBDM008hqdxdBVdqm
hJ6cQfUhzUbb7aVVyP/lo1GIUuiC3MLE8n+3wx+MWeGvXEOGVTbIsL4zRGJ0uzWO4GzTJXGxJ/Xo
pnTu/fvizIziPQGv35cByIFCrIeImlPS9M0RxCTreiuKfrr60dRQ5tUJHNBWRI94cPVHeuQbzxqy
i+uq5y7r++fQjPrnhOgh+MtPvmfW90XBaogQipQZqGk0z7Vg5NNtDCpR2KGRnH9GtMt1OmLAm2Qz
C8PlfV8oogArjAZdk3GpEMh7A7cTl+83ZnZmuMPd6KD28tSuQuaySz0Ef3GCaaNIbXcn56k71ZCK
BPBMnlsCfJDbFXZyFsO+JjFnC/LP2huppb11CtMUS5fDWM304y4FBPP/7kwK74c5CfeyYGRrph/n
CsXwArhMB6qoKJJOTt/W6wKsF0ikFC3nKFLyCALjunzTMQjWViQhTbfaGI9hUQ33esziVEXD7+WX
k5v0mOI4PzSB650rGbsQaNwEQVb33maFtidyC6+5r1070AAfKRclXLWhd8WDZeykZl7LLpw25rzM
rwRRn55PG9iYCdoVRdcFKs8kFvLKcumCZEqigePdNxoVY09ZeKHybqoOlMfzppuZDFQs+mHGiXAk
SG5h5nDGYizfaI4cjyoIcB4muM7/j7DzWI5cydL0q5TVemADOHTb1CwYWguqZG5gZDILWms8/XyO
yK7b1WYzs4EBIOsWMwJwP+c/vwCQnz4dkKqndoK1rjgJwuNGKAejKaaV44ryiqklXyF6ixBJDobE
ea6xHjrx779O4lXgCSaNcfEj8mJ/VRgTwnFX/R6ycFxF0AR24PclS1zaboGI6vvcvUcyVGkSNQ5E
LTgajpbQtTBZf0oQaHwJP1y7em/8k2ds71pJvrEwyVuZbjqe0F35T7WWOJ8U20TeoDs6BE5hbKko
cqbRLiNGdjzNgJfpNu3msf5gBUiwQWq2bzbJnpEaTz89i0gEY4hBVb3BY2ivosc3TB0Q0CUuIhMI
nHT3uakQT/QSSAB/bWFTjrtCgiMkZCyrEhuIuJownhQ8x3aY3ubFvgz9W15r5pnQLikJrtJf0fBb
VdX6s4BHvsQXetEN3ohjIZVUr/H8FsTDYJFUL+d3C0Oy5t4npKRqdthCvIGHJ42OaTfEMumjibxD
heBIgtANMwRNGNWA4Tr+WLapreeVwpZrWT9NCNyh3z7CYqZh+KfKungz1OFXmeD9jSlgv/CCcYPN
P/WOkifvrfvWpc60xS8D50/hDftcIGtrslGcMDxAfaj0r6k1ae+QjbSl4fjlGYfNFjer8tTCWUI3
gn0eivWywvzK9xZDb03I2/IXC4v4f1baF3iducbPNF8NWOCeANWXpkxdGooxPekdHNOe1KL5UI+2
ewD5JdPXXGBREF5qM/31+JSDUpzmeqDW4a/2DQYRIEDf1OXKIm8H6UXeacfRSkjP8wkcwRd9Hwr2
IFljdszdTzW0eFXFQKYoFPXakaewjzvjYI0d6HVehP0zPvgmTNW0OqXIS5+I0BmvtooVYErgdm4n
9rcT6JCzigFn9NTDwcIvnj1SDlFHYSk5wqWC0YUnr1Z1C9TXPpE7ON0IZDWbIUPkOvUJwYYZCmEH
wXw7Nuq+CQY8erFqQmo3sGKWzWZeVSMfpzBhTic3rDXscWzI376Oz44zuc8TgStw0vtnxXLDzfwU
VUY77GO7hw7JBPj82FdzVsrTEDOEwFjKPU9K8e1Sl1Ms99hFZjXwfWrubQK0nuNcPM/ZP2aO1jFx
41vlJrdIZ1gT2LV7ffwHqxB0xA+rtUY06TK0QM8AN/SVaVWAsk3EAKf4GYX+wfG1dpfZhn8CudJh
6VKsIBJ7iq2ovrSONTw1rYdIiDwg++K40wRY+la0JYkEU27ZSyw8mKPJYsrpWb+oYEgFtFJMSbyg
0EBxbWTBZfkedDkBNmE4LrE6UT/oVX9FBrPUPMEpCqnf3fFql6YNJ+KkDfeDZvaQvdDa5WXYol3j
LNK7P2fBv84myCaDmhuv//ff7bGiRzuGSqtiQRqmHLcAGW7AFElBGgzePIcaACXjieg815m+GdpU
7NDy52thqPFHSIgYOt7uK2sF5PrOUE6lo5M/UmPBBi6je1r8s0niXTTQmcIbv2V64v+wbPi8AfrA
E3l43hqg8OQhXN9BnmN2mrbT2WxwH4/rqHkxglwSQbCzGhWiTgEQ1pnkSs11/3zAeJFxCegobiy/
vDLnm01I+jEjvB8MBctheCs0tzV6l9FQSfWSPJxATfoVmGq1iskOIgyaQzkV/c4qdafcBJFZYu6M
T3sqe8y0xR+qqSZU92mBH2wIwDIKQCLmwOIpoJfEJBXVkIZl7T5JMxRdSFHeuhH2M9IVfzNf4gEF
kYnvPaR7JUTLwzHaZmys6mP4FfuUv47y/YgtQARVbe1c9MD+aAhHhEoHs3e8Q+HJoT8c9dnfTHX0
/DSfzQcPkJRwczLDgtIIV0LHFE+fDHUvkMTO/8T5MKZvjM3yH5E2HWy5b+kQmjN8jL8MbKRGHyOH
dSZ6Y6l2Ojuol+xUgsvQ1vvi0MnDfL9O/6TIZYFurYkongBcGdzyBA00HzxWc0DbXL57RftjqMn/
MvHRMGMjuaLeMrEzblGvxT4KBIFvRMAULfdc+Dm5lW8zwOLjUMIjjxWkBthskbsgN5p5sRgC9+3x
l+oVMU/kBDo4NkDObavoMJop++UACl4lAocuDqjrtENdFOoqwUYf093YvClI8JivK2+BTzgo5t04
kMtLtJTeknG2uRo8MSDgCnVkcRPMtO1j6oNJ/i6EV47BSo0XkD3PrAiuColLTjFMavD6zEEH/mJw
GGwJ/KE/ZyKCwD4bQQmmWcFQpLfBiKFRjJSdZGdHsZ2+KI4ZLIMxgaHekPAWuka9zGrnpvTJ8Ovf
T3xKp0kJvKNBpgUDX4SXMzglBOoDyeg+2xaTAF9ND11lSQa/hpeZqaIsUea5ehvU4Ub3q/FHhbbg
8FgkS5E8Hitb1eF/RSrPR+YFw+Opy6Z+WDQV8qwhTQ5DWaSvGR8UHa9hE13g3IjwkPgF02q7LKOt
XyCZCAKD5oOo0KcQDeY6c4biMmOUSh5qZy1naBfXOwNOx2omllDkrfTKUd48WuhdhLH7Auu8HKcq
DZgdPNDbYa9EH1Vm1jKy7Xdtoqafpzg6xfg1rC283tx+WJnyMg7UvVrn5j6Z9Hrl/Mps3IR1WT7Z
riLuEXF4ZabvJoXbY6BVz4wLt0NU6O9unY37AGQR9tQvQku8g6hlQB9ZR5yiN8SOOQTVIEkSBCnJ
yZRoYfvNTI9SiiV4vYmld7AkylTHX1tZ2Jy8Apy6Bk/yZZ2E9WG7U0pGiTQhmJQIaa0qAlT/WGrt
mf7lZzVEv8GEtwfODQUxuMq4BmMEoM+cldIzokV0ClT2yD/TQ5ZBhXlOMWX6RaBJot6S64icOz/6
8qBIbdQbUfbit/GwblqVFqjUUyJ2Mn8Ju57vqKkZ64+qHmwHyz2aZU09QnhYIZNSTJ6tE4vGIauj
HIdmPfTQH+Nfo2PfhSNFN64JvRWv82UV2GKVYGPgVWXhLTD2OGbM5bcwC8tNVtfqCXTwzxkP+Z+z
7DTouFG6SsxcV4V1glTiwzAVdIvykLklDlOJpOeEZXYk1qS4JGX8oqqxtGZrRtTvgdeverljIsvF
Nk4lHffxCZX80sLW4EdguqIsDTcIjlnvG3QjeVjxd0bxyZBF3rzdJwHYe1Eg720xSIkNrX1GAZxL
5lbEa3E3NWcDxhbLT+fxEWWBcTS6/tAVyY8xGpVL4ij1W2zu5nEP7LH2LA6TV39rbeghG4BIxAQ/
1xZoVZckWeLwoeQqHhNp+Omk8bPVre1CC77MiuYf8nh66IdYv6FI3sAfZxpF0a7qxrnAtpf2I5x0
wK04flEE0zUzbdC/tXaXb2xNN3bkaXtoM0Nr0chOoWwzZ1t7KZrLueJj3H/ChaLcNKaguOgi5bUt
mgVyS9DdqWLg5Fp80uyL1hAYe5gR0MUGkBW8yfoSNWqsfklnq8Bf+bZQv6I2+5hZHI3e689EKzim
cno0g7nbA8h7mXJ0kcW6KGVrnI7cLtDvrms1W2rxaEtflwH8MADqFIItvXZYatlinlqT7Jhe57MM
hzxHWzWTRb0ds68UFS028J959sPiFUW9+SZUA/ui1ICf5YKKY2nQsoyvO7KmXn1H+w1Pdefr7AVJ
dcVRFAxPz3i65q62dcJm7ydRvWqoOnYIY0rkhvFmpopooK4LcOwN9UVy14gcWIRWMn5EU3xvbB8s
OBqpKeJ2xejd3cFiiDeDQIgbucw43V72A4A86/k9mV+b+dJxANdHI1ubQ6Zc0G0Gl7YPoKLgWoRL
KXCkbO0qOfJ2ci/ZPObj1YhY0DcuXlaK7Qy99/ZgrBExxav50glKe99gwkG8OXtDO36T30REtuTN
uVEEo9sPjUvkifqmqu5HkUDUTSvlkx3g0FcMNeXJODnjlZCFeDGphidn4ISbyKZ/PsRLLHG3ETzs
L79yXq1s1N6GyhIr8vusQ6wX/anJJoH0FGd0vWBUpWi2u1SEEp48s8+OmDndUxV1eAwK/aKQDAio
kZEd7BW7oQ4kug4LooLzQ9hEBcerB8iMY5tks6irb0J0EDUEYCX2XSCw/Fc2WASn+6YxbvMmHOcw
dWq90WhQkWNmed5hos8LXSv1AW52cjEYseG+bbpLIXPDQ+JczjAx8a+fymDFm5ntjKCC4qXy2qr4
W1+0mjwydVCb9zED0RTqsewUZ2cauU0KoqSdwv8AFFJbUqWM4ODoZXCe98kphRqFWOW9HnBlnV8o
s8ThsUbe8ObbOilDSF2DCTPNeH495YtaSTjlsQAC/4d3U7TahnZyWMzfgTMId5lJSt+EKeCKaMAM
kpElXiGxm0cK8ovWkNY8OIN+6k1KZGQL6hsjTZcnzDUgZ8vLid7X1yBe8c8KCXJu2iWZchPIoQ1K
Lbt2wbK/qfQWpbfE2RpDfx9VI9glkuOnVVW6d/S2XsaCJbO0lelCGmtyiVSev/nlmX+AqTaeoCMO
koLhyalRcIuYDBfIh4eh6yP7tVHYMNIUfxGn4o+1fQO0X3IwCIg7aC2OhoHTIty3odHpUmJRQFZs
EVieWspihmPpziWX9MnRqpK4bQYG0P7Gq9niQTPZCckWAhs7qAb8VLJkvInDmDEiz9sP341VnMF7
5drYpuRwQF4dlDdNye/zZ5DllvncYjAfeVG5Gy0Pd3A0rjtPNdyjb8OsbSKtvrcF8EgIpvqjjsx3
whMkT6u1sQm3AJONsXRO0HqsqsSKRC6q1YC4gDI1uSIO1LddOOpbVauC8xDkqz5q1SczoETSid/b
SDwQN6XCf9d1t16ybYc7NeqMJRky0aoix/qs+OjGXKffPSpW/CwRiSXx99jqDXJwFLe61geXvw5u
wUR7VNrvv24hslqXYVcenQTr1LlUy3vGmGqCC6pPObPMnLDbhLOWV57589mYMUmJIrRsPB59XmEp
0dY45/XtrQCRRjBtdC8acLqrCfteO3W8CzunWioWOt7egT5NAPjJNnEXlldkkBHg0SG2a6sTxnnT
Z20iyraxmttncUX2fKa8m8TjnjykRQuztwv+pYNYQqdAsoDS8tC3FERo17UXo3cdnAUqYswU56mg
+10MBDk+PeoXG+AfN61/PnhWY6+Fq1j7zxjYXgzOrtPrrS6nSxmF/xZz6xw/ey41k8lhCexDI1WM
dE0cxn+dTcbEyt+q26hxYRjZ2g8qQLJ5iArBtlWPok0EBfrHmFjILNTgqwZdgaHnLPXGbd81S3tr
8Mf7DRlrMSQjOaZaBl/bYTamo48+gdEU7w7g4wT49WrZAOum6ZbII5TNg8TT+OLmV/425Wk9JQ1r
j2TXlfLgjbpFLkq3mZeu2BTqUngE5URBBX2jQjDiuBIe8NE8M9yD+wXPkdmLce7kVUjA5TURWD6Q
v8UoR17OP/Aj94m8334VxMSOzX+Gw6h6PV9qEkWWjh6gpNElraRJhuyGcK5KTmkjfs5XJusrDTT8
pQz4eq34U3f560yJJK5ONu6yqCMcAgvbQzM1/cjBA+9+F7yPTRMteO9KqHicgT2zjcuzUN5T+uHP
T8OOf1rWF4/fne/PvzH/bhbiUh0P9u8a6GJrOlO80tzEeNcjAwwxwWW2z63rzGyIehPy5/jW69jS
a0R/r+fCqSSvdq0yjUhiZ5IZURjlSoDTc8dLqxD4aNthvpt/tanbEtC8jXmnCCz0RBccwrGID7bA
/iJR6IZGGoDXrsmVZYpW+IyJB/teiq9MoNZfZljX74POAiz5+mMng8ILI94RIBqSCjw9uw2Gl2kX
JNegGrujU2bE+ah2+lbl2l6Bd2yqTXkvjKh+Y0RlJ67ymoS6/+wAh8x3/Q4rXmdsXy1NVG9JH09H
KC/d09hN7etknH0giHU+SXa21dl3zWEFJU7O+cLz4bWOwuQV8xplg6uTspkvhyZ6nX+hcSWlyrRt
Mnn4n8//ob7sJ0j20oytc74GB72Z71T+2nUC6IKa5h2VoYCWQt7KZ+i612EKm5csyOv90ECjLDAv
/YRbgIGLH/xwkSBubQW1JZl+5ZsZgEZFcJaa/kPH3X5HbCljYXmpxM0LUSrNPWuG9tySKYnjJfcD
rx5xayjT4wi++qqlgGRQdwFe/VMpp7/tJJTdHtUtFXHB1EvA1ti1WdhuKwzJjoaVbpJc8NnAxFvO
y+PQUg9WComJBvQiervmPiYmJkOaGn93RIQItfnNZyudALrmxQoH0oaCvFkMkYpVVQO+kbSut3b3
ED8Zq7R+1TxjSKges5RS7XGt+GgePHzEi3Z4VcoCKJ/q/6oGo02noVTHLPaUHf9Yc0sSgHUaJ4qx
cvAPc22R5FV09QFe5isUZKi/ms4+kF8Kb4QivRdoFax8rO61XWlbnnxn00+sYAV944ZyzN7UTufs
hGFk5yHH8yrpFe0t04dfLY4c/4yIdKF5/z3CaXnCgyRI+uC1NzpI9iWbj+B7PlT2QFRGlpDInLMX
TUar/nY/BtWYVl1cKkeqAGrZVq1uLcvxMSM9a1npevWZatquJwLkLUSAtgVHxSMalwsoqT7NPY+F
RlqwJAiFjgktRxRsok0SfDCcJxmL41ENI0ZlJjliNQIQyIzRCzpGGUplBN/4suK3Htakkeivvgng
aZZISrA3HZ6MhglfyFyjgS/W4hNzYLJf4z3CJVDAsPQgue1I6mrgbhBs23r4uyHqGbaWrLU0E4yr
tKDtzGXHfK8c3xwXR4cgN5O1pjrRvR/UaWegPSV6mCHyfK8qy59FmMDzy9DDdwxSghXuGxpDL67x
GZWUNsnZb7Pix6wqakUT7Jxe2SqBhvapSiUdTMjEHIqYFiO3fNEUyaEsrfFMEJHCdMot99j2ILhr
07eiU3FCj0p9beMk/6FjGpTXxXDJI1eSlinO4tIxNjMjGB+4FbY13qtlyewFm+muj3F9Xme31I6V
m1WK9gi15F5JU5z50BoV2vHEOw/YTr3xAJ0yhsNfmUPLGvpJgczWsA+BqWBFkrnpUUlHIl/63H0S
EKNkFql614MoR2WJd14Za3eGyNo9jmEdQepFg+eWP+PnuUKlfs43xSm5T4U/rUUa6++ZjhOjFzsq
CVlNs2mGgNkHUs1xQzhkoEHDKZwjGcUwgNKM6OQolIzBLemI5ZFHiXlIUyn1HrL2KzUIdMWxGM9x
Q83nD469NdBSXKNYYH3os7X2uUj2ZNXnZ7/QfwRd6D11emy/zf8D+If2G52Y98QIznnSi8G4BNJF
yI/SXzoY1sLu9ObixA0Yax2sq8m3jpg0qyvmZunCct3X1o6GE9HO3UujPFe4Vb5GVH77PMy6Y+Ib
N71wqgN/DgoYPJK6ZQWrYpnO0d1MRhdUo/2tFJ+p7uF3NfjKfq5/DMw6GhNmcijYkGLyz5Z2Ehj4
bzgb0etwQ2213mi+dw8rqnPhkJQY5RCGpk5mces9FpQwHJfaEJYfbYGRgteJ9JLIndSPtVORQrO4
lWEi+SdJ16Pmgltp9sVnHFr60azJ+yCIMdh2vYXrZm6/xtTS27wmlWw+C8FAUDPY5aZD1bYJUL38
hNCSt/3CnYwA9031z49ahdWiguBHlTivbxjmxTh96e21y/1grwhNYBc2xi84wgXx3szuqZjGS6Ik
GayKAdvmSf1pwyc+GVAkt5Nr3gnOTLcO/OEnaDTaa26Vv/0ybn+bggmVWetfU8b4kmD24hbjz7i1
qUZqIrU2vNPFTc1hXKukb3+LaZnnuvU9KNDahD86EGzho8c4bOX4Ma9U7Es/q9+YRBWfRAr6azH1
/U600nq587J9qOOLaRdp9tkauCjLgUAeGWvYmD8ZMo/31OiIWsOOhjAYd/wRwJLM6155ESZkSmuc
3uDX1seo1iDeSwihqKid2arak4tTGmleJr2gDefSRja4DnvsjBdEzrw6Wr8FZ1PPqnCdUzFi2YAA
KfwqE9iruXprRKs/Z2UbrpD7GdtWjqZE15wNFq+74cAET1PrxrYZLJA+5vu5e08UsErEZLFBwdvp
6Ilis4+RhQBkSnVWCgUDFQBeWBlh05jjTm+K3/tkDFbqW+bDLFTyTz5zuMLWRDqJDgu809BYF64Z
3TVTolriZk0Jy6peeftkACgoQwrJzAFiTcQCXFz6FlrJD/o4/xB7xZurJuYRYgD1sJwTZjVByxFk
ClJE/NcSlO1UeSRZY/qwNFT7OCMCLo5ngI3VuRiq5l5MLGvWJPol1To1/eCy+oI+YB9hjoA5xaRu
s9SD6jportxKvcfnVfGqK5AB765vFTet0J9zxVVvUR/fLVGz+hIasQ7bECVDYv9Wh9S/Vk5m3j3P
O6GD/PBTWRWXiLhoPz7iElggjk392jLnfyoFZJIUahFKPtrOIiStBEdeF29d2ZTiI4EqO1MOdXJr
+0q/NK0D94hv9RVKHTb3jmF8tYkNXFllP2ekENvKmxbUZG+Q8nTxKk/fdGEaHNIE2nU/JvWm9cbg
aggM94eOZKISE7W1iIb0hboCYNJHAzlfAqnxp+q4xlgY+c2dnND53b8uVXlpVHWKy47hbtqpUTCa
94iKReS3mh+mEJQYeNXFDqvRdo8PXRPUe1M+KptZqFNP6NZ8Ih9n7U7FXlL4OS70MtWrkDkudqcS
Ha2YLcoSeVNFFc8ooSBDUl4KxYouQMOnSi+8P0gRLp5kq4v93IoZRR8faxLcCsISrkoZvfLBKm+k
34h955GLV5roivyWxEkn6b5Au5CJTGr13BS1em6m5GhQhRaLTpBJVltqtgcGrp59aqm9qHCHVEmW
FzCnzyU4gY3jVJjitR6P28c1GWEQY4iqWhQmsT5RCx1dYOZhrKsMvx1MSvS9xyZroL6CylEkKyVX
jGdROMrZJ0TLxVR0bgAfh1ihFbTTD0ux5WCLxnDuH5188Napi9JxGvBRIHQpWYfIwsK2wWusdV0b
xhXgXmwTKKuHofPBYHBrhyEu/JJFKGzearezET52qyBjis8KCnJgEwVaJ7W1CxK1Ws5LiJ+DMiRB
WBxquaJoncr6G2V3KJ5gvV4Jpymy2q1j1N5yBusHm6FaTxL1rnPt4Wo3+ncejIvWqs13JrbONoLB
vX4gIewcQRk4B6+eMhgLcIrJADK2M+U9TF9GHukljizmW2mQFpJZrrabL2smMdj4SWRHhNZbFZir
Sm0PhTmEe40y/SRYFAdIqKuiYj8IG4KojJClwuEBh0mrGDnyjCpL9jP+5Y6wV3ALPcxXmkTDHPyN
lx4qVcwUjf1c/swHTG33XVFU5/mK4LhmP9EVYUOfNOyelEqRpucAtap6yVNvIBO+KndlrSm7qtKf
DVUOPCV9r89q3i7He4+9OoUoUGJQJWczZaTg+Mx8+GbhsrZnMoHuTF7OB+hZBnGAGMYZI4HBrmDO
N79KST2eIvK/z4/XrHf5f7as7PHD+TdaBvo2s5HzfOXHNBdjS6JCODGTVUWGtG4IiN3oaYoqZpPt
CordwRsYU4jyz8M3P4E5MifmsVMGA+M/0QuycBGSENwRq4jczDRzF0Hj+PeEbJGjXWA+CUH3Pt/y
u7rdMJ7iq5e/Mf/AUDIVhtOUb+Z78wF2xNVAOIvLbZFg/ikad5tihjeUggkm5mTLCW2mTpRa6p3J
BMsOPH57BeEULZtDfEhH2kzPgOcVo3GEcpi7vWYqUpR5gNaNxmnGuiXDTIxRdTDxE0YxWH6arsDc
VkpIYF8ly7CKvH03BO17xv7RluQlhJlzn4n/adYfvIrhAa9S9+JWJmWkrjcrPBWf7Q7DYWpeKIG4
0+S4zcC8xp55n3rWtC2tCso8MDZulfIQde2fsxrTtB2G/AgnvU3liR66ODvxLJZ2iezYT2b/FtZp
uXVIF3kq8344PaanUiw/n4kyvas+UyqTgvBxK0wImZ1o1laNUYqz/KtwxfWu2exEZDbeVS26VSPc
8Dzfnw+KooV0oFSwheZhCBIyglC10AXcF29BnCs7BpXql5IP3YbwdGiG0ZB8zGfEVaSPs8c9wcoL
UPOkZlV9M0NQ7ppib41yK/yBFHlX6lq1ZcSjwnXsNsqYtR9T6HqSCj0eM1F1J9122mVs1OrSjEuY
C970U89QWMwLehfBgcG7m54uuYUFFM7e3qea5+z71tRPrTzMZ4h40pNVbB4XQ2ScsAciiCiE4iZm
9WxoFC5hHKgsZzSvGuOfdtXnJ9PJmw3e3N2KNEDGM5NmLgH+Cub1uvo2Wq795OWNeYgGRzmmRaUB
LRAiMSbt2xT1+k4Pa1YICSoFmQm+o8OyzwH6PViJ285iuhXUgYeK4KvqHIB8JDToaXx3Z4QXFubi
3YTw7jI9ecj0rcS6TVPi3/uqXROHpx16SrVyLUZ2hVr9pBMgKsSlQYpxD3jSGhvysDwYNNCH+RIz
U56ywcbzQs5rhyz+6UdGvHbdEta6QB6K7SyhxfI/rjItPLRd2+86Jjx/3dJdQhnnRlgtLQR2suyD
Zq7v+hBEcC785nt97JCRinEFZBzyxhAMtX6u79KwiM5dQmQqyJGKsZ9l7D0TsfxAmvbTY0A3X7Nw
gdSqfFVZEJhbzdWno2n7EWAuMw07Yc9Jx77eG3nSn02csqtV7TXxwjdhH5ZNf8UDLDlBdL46Y6Kf
jM5Y/JcClyljtJ6u1UDSWhC6eKjIGdQM8M5nmaOPyCRg3Qh5GEmuXpqqK7lfhWT/pKVPE+OF9jMa
WvHq2FKdaLrPZqbqr1Px5yqXIyVD7YajlX8zucJ5wbb9s+ZPGcZEXFKlXNJRs++qbOHS3DygBvCe
9bz093EGsTDzpGFkGTkbeCnVIq56sfKSCQlJJ2QAmhqaay1REFJYuUahl6JJM1rrz7VD3bI2C7Nb
aG3sXJ2Uhi9VvHY5gGle53v4ffY7FSiFWDB5L/cHanrMI9Uoh7POlslHejemEkmzofrbWHH/nPW9
8tthQLFlGlQvgQTdj4BhtJYRYEDh0F38qDgUvZF/jqntsF+G03PoTPjDjG23VqDKgkN06gXCK1SB
UsBeNfB7TlzrGqcxbEy43oQoWZFJaFAJK7uN1tAH8bfpCtKQoJccXHmYL+fDFNa440/eFVPb/ug2
XoevNGekZuLcVOjDwcuQq3I7UIf+qHg2pJLZO0MhBCOuCdJWSzj9uVeTifKvQxPryinEGO3YMG0i
TBK3SGl/lxUDxvPQmTH81paPldcK8uME1vYouJAGsceqyMTmkqshP3c7SkIh9b22gEFm7WcKTalR
EGh0cwbBfreafLr5dtxldGt0GW47fo4lfYli59qt4Pla5I6DiNAc1Nv8A0s65RllY+/+ujdY09Vw
/BakkiA3CEZikQ92ddFxpnsKI83bw4CoF3FOpCL5cvp74DFhjtP+hc2ouVopabbydkUaMiofFOEQ
q9c6u+k7Drw7gUXAV2MCGI2641+poWzoPpm9hP0Tf9U17CG20CCCATXgC+NIcxGH7nZT5q2zryy5
zDsSoCT99VnRS1ZTa3Q+jcYnUhdVmMWw0kmJRgr6geG2aTB6jgkOH0paQN9ABa6X8VWz5SBIzxRs
eKjsaxSw33n8EjSN+M2AEY5nGlSwgwtrZTWA0DjnFMeSFm1Fwlf/ynRTaghd8XvqPjBP8b+F5iBb
KeofXkrXnTDJROYUTzed0OJVYNDODkxXNrxF7tGbLLFtcGLcM50d9pizKFvCRAdIyla5iTyCHmjF
HIYfQ3KzO7q7oB7lbqbdmF5j8BnU6kelC6bacfPbjcjOxCIneDIwiodPJ36nSflGHIDzoYYeiBiT
4JfQacQy89zgCnoGS4Li9WjjoLdHcC22dnfKcsU7KBGUwHEsjON8RhmuH31Cgzbz2V/3wn+/58em
tQfMJAd3yHYdCNbWjKzhPA42cTaTlr4GTLghA3jxL8zXGZQMuEBOmMv48aB90fQOT0IZ8kupW5cI
Pd4STll30SMG4rqNmoWXxt2Dl/tb7EUcMqQxiR8DN7iUCI5HE0W8UzfDHqgLg2GbOrWH3MLzr6IW
QmnUFK5/V0seXdwZ0sfcj66nV0Ll9ve//c///b9+Df/h/86veTLSZf4ta9MrGF1T/+Pvtvb3vxWP
27vvf/ydtdw10QnLb9tkLKNZBj//9XkPcX/+x9+1/xHriSEK3SyOD7WLBnJ3x9bbX5aeZ5wQERaY
OaQ5XExDwEVvIG82ujete1xk7i0EGnLneK1tD43OfM/+guHZ3KEULAQm4he19LWjLmA+VCiH2evz
qxbrAMyjE3wi1QPwk1tLbAaEc7AYL7MsAulMG/OlMtQfCE4Tnj035KFEbN4z9pfeKGxJMF6yECOm
eZPOnNHFnenhZTJNsbLoteje6aF6yEVurCB3RFc1ZtTbsZ1feVOrnRiJgZ0rECaLEJHHUGzjzFr0
OnVPlU1PQGPhl4It+3Iy/fQosN2OVZ9cdiUfd0rU/P5v3KPc6X7nIG+7vC9O/+/vyfhv35MmwS/V
MZnZa5rF0fr370nLR81QBqEdiJErD2M1fhh9k/4TxycY+HX8HfXB+ET2kfmsNHDShd+QNm649Cym
KN4TrQBCRDl6SCInfwdz3hFqLzqzu6BQtZ6nqdeWTZ3ba8qCy0ObVTYALraSnRvHeDZp/nam9WQ4
uvdR+jlre1iOZ52mc09YbcrEbWvhsHi28Ie+zIcA+ePRRbJmd2z/Vtxa2//PZ+L8+7OLX7bD7Nxx
HNtUoSo48uf/5dnNwsAbiMHrD2HynbV6eLJ8tVswd8W41CEXHDMjfz0zjPscT+sBNcO6hzO40gip
3cxSKTMP3gPAn2th4STpJi3wvtwMLHsVR9l34xIUp9RJDvvD9AdSYbr85LS9sZsE4/TEMou125k1
Gvq0vGILHKFoja1fo/tBKFPyZQIpLJU69DdKBR0gJCgEEyJeGlr48Qt/gaeh9NOfRQElqqr67v8w
d2a9jSPpmv4rjbpnDbcIksD0uaA2S7bl3U77hkhnOrnvO3/9PHRVN2yl2joHgwEGVShklmQHGQxG
fMu77AwOmhtktfGFrsXwqqfTg6FYyxMTp/8+cRZLSKqWKqRu6+rBxE25ggzd2KBakbPRv6ObUZDE
lWOm7Y9JaeNFhrNfPoP7qtiEAxICo9RmKO+oz2mFiU8vtbHm1rHMp96JsyUNtXI/xmGBZlPvPKSh
STA0zlqZQvZsJEZONyPG0n2gs4L483SflsCJAiX2LyqoQivRiggCsIrMrU/M59BzvEDnAynEKrp4
P6G71naDxu8e5Ij/hG/WGFqaow8TUnqvX0+Rbvw2RY4wITfgWSMNUxzui4geZV2d9eW5tJHULxq7
v8W65iLPI+VJ75N82zSJvtR7jD3LIUWqKMfBIZ4QwA4xWqBBS28Eh6BKDa+lHxQIZPhkETJ5oN66
sSsD6H5lotQ9YiQ1oaAQqeuv78A8cge2KjS2dUc3NUTxPj9kLB2xbwCUfW7TKgWcTL9/6Mrbd56Z
h6YBzcryNhGQmvGi2yeOjaETcle27/jLpIXnX0mWcxUN002pwsbR5v6B6VvQr5squ8E8ObmwyAiW
E6xLjS40XhsltRKfPs+/8K/vf2qr3l6kWmEhECBSdn/CbVXZhw50aBg5D1rteGAhA0zy4gCpbEqJ
ECIShXILHjCiLIAONO3D19MjDqaHh2sIna3DFKaOA5h5cPAJnAEq2UFANq0GPRwlGW6Qrsazp6yD
F0Oal8yq+UvXMcZr9fqHtHGYcoRf3Iueqpxd4LoYlH2zTLuMv4ZWdt9VbMFAk+ofdMOX7VAmy6D1
i0sJ8goXx5byfqJaV7kyzS4UTf29LtEsqPOSzNKEBUwrpl8Yc2UTqbrme57ra6hn3ht4/OshjCIw
UX49gbjGX8JGOOYv7ZQI3DokpX/9FWcW43wAm/rXp8KqUS14l+pI8x4DlvnRvOOTuxCvGiDm7vu8
/q9PEUX9HmH8wPerginSHPz1vy5DbEDr/Ffzv+cf+/fXPv/Qf23e8v339K3+8kv3ecq/h1/59GsZ
/e+rW35vvn/6Cy7vYTPetG/VePtWt0nzr8ho/uZ/98N/vL3/lvuxePvnH4hyZM382/wwz/74+6M5
ktJVTuR/R17z7//7w/ke//nH3XfiL+U6fKuqt3+8/QP/9fYtOfIb3tD1/ecfipB/qrQ9DNvQDXZQ
qfLy9m//+shUpS1VY363dfHHPzJMVIJ//mFaf2omHznSIkIgVuBn6rx9/0j+OR+RpiVtyLh8R//j
XzPxd4z41yM8HjPqkkE+Bo2GrhM1oo6ncXxrFqTaz1sLWtS08bMu2ETYna30vN9j6PXEuOuyTi8s
ytKuCYfZrUSNrnAA/yBoZ75ktCi6ULpWpXZuNJSXalFPa1pk51Ib7yfFQYGmaDpXUGNxW4SRzIzu
uh6m5xM0iUmDd9vmyQtdINY0cdgw9Gh7Gkt/yNRlBxHWDYfoZxvpoDrMRzQK8RsxLbfVKbB5iM6Z
VX7lBNOjoxUOmpfjHcy6CAjoEiOYgpaZ/9oUxQZLewdrqZ+JWmMjh+EkPXbrldHfsElVVhjEYwY2
0M6FKekJXQEWHGJM77QrzdRumJo9hiPwtXNYjz9BcqvuYOXYKHv+kgI5lhVGBXPY/gEW6y7JpnyJ
pIW64tzzsNSepjOga5cAPgNX6rT4PAscnV48pu3P3BZrtZ0uzRi0sS/Kb8iwvjjDVoGKmZErNC2G
GD1F3bGz1lqAOyZKxa+BTH5iFHojPP8t9Qx/hVmXsgzBISB+KvnS1A6/LIPy1xuKZ4ukQ6wpj/wH
B6R5YVxP0+z7aecv/Sj3AMhRgVN+1U34E7ub+9Jo5Ua21s7GfWpCxmdJKwO1k17fjNht8ELqi8Q0
0WlDcx7hJYhVpgJCHugmOhe4eGkAkCELeQMFrzx+BaM5++9YA1cW6i7yO1td+q/s4Td2t6tR43fD
mOh2TIPXfrK2iHgXixLxITUuKGhrMLH78FftyX09patK11dG03jQxZJrxZmepr7Ga1KwLKwC6V6a
pm1704EGmkp1FatlvYgQEQbdgl9sWveYpU1MSJG+FUPDgimbfJt3YtlQNlgrGUXfye4xtr8s4yBb
9fTIuY4YglAwYQCPLZ2WIMhj5Ai1eMQ3ZjASQCoJporGTYH3+gryGiZydfkCQx+XvWqWqzLhskxv
wsrXlWrDaNEUY8dKfDAaotEEi+/IRpvYkx3AHqNZZ4OhL2KMeWS3S7zxsqnjfGnVlYk4mITpMtF5
yQaqoWl0p01yM0413+fsQ/21uhYGH+mVs2xzfCjSEkZFhu+WNzLHWQlB6sKPlXBRjcmtdNKbWiJM
rJ5nJv1uP37V9WTlDyaEhmoP8GrdOUmAGHtxF+DLHiLT5gS0kVVE/ijNuzSjgWZPyg6jOBxyiuy6
wekHpy/WgallL1PR9XBG5NrQvR2+PWfNqLpJVMFbBulZxv3jACRNL+OXD/vwkQx4Tpw+JMAGObZU
VRMLTUH6K7SDxEpmkGP91vI3dsKisHJkASN5JkKEKxXEer4eTDtI4/4aDbXKOehQ2T8PRutaTUMi
xfMRLcdPWHWuiVPuDabVLOW+DX/gt3hZq/FVZOU3EOG+nRj+IPD/a3jHUiWILkg74mDjzlLSuBxg
CXCr+DWrLHvhI9c5iMUGXBRbwvuzSGvkHJILOwMtNVnrry/BOjLdKHsIdT430HY7SD1MQ5hpKTR/
E3fdpamncAHltsRJeDSTFfWWExNuz7/v4PFaus7pp+lzjqgfhHmZodb4q/B4DXqeLn3ATRVfNUCG
3Kpv8I/LqoUIQMmBaVgENKCsGvNsDAZLPdi1Nj4rmOI12Xn+iCk5wA7xkrbndMQfbZSYWj0+M4py
D+5vY8YJW1HSLK0Rx6KJrY6M9CYbqe1O0ETBKL/WWrjzi5d88l8FPt1gY0IwfY69InJ5QS1vxpxD
/C/zahGO0x4RiofWSS5QwcABLei/I5N8n/pYXIG1alyTR7gKW1tQgKkXqe5dV/hyldW3CHtP9hCj
3hStdpOOYgnz9dLUBmrOVbhJfMQnc+A6emnf47T8GI/2PTuNQ8FlLEOS1MreIwYyLrTY2taUehSO
sASqSs7WjhZmsnhfEf8PIsbjweCnEPM/hp7/P4aMrMX/HDG6b0k4vX0KMfn+3/Ghbf1pOpQ/CPbY
v4jniND+jg9t509dF5Z05j1NUhr5d4Co2fwQP+bQ7zMdR51z3r8DRE38SSqkkfBqquVoKrvg/yBA
PAgP2bLQx2QY3bAdy0EF7XN42JIDzhFqvWmUYOv1NNWLFiuM6cRWMiewH17tv4bRiI2xK6L6o80Z
3ofyzziVOMFPI2AgRTlHSIfeS7DOcGYqAU561QLHtjE1tx8ewpHjQj86qlAZUdgG03kwasyt0TNG
HccSDucqnJqgbr859XAuxnGhOOFOSgq6flCyfyxpx2wcG+5hF1zzBFSXogfAkvaB0v+Vnurfwy5Z
ak740rbKlTeqt13xQ9PiJ6fx72kHbRUPTJ5V75paefz6Rox55/tt+mzam4J43tCsg51R6w3qPs5Q
b3o7epujMdxaFbfRIQEHmy5tPNgrse9Km//k7CIe+5kWs3kETnhhtpTu0T+bWnnvW9VtOd6Vurku
LETLzPMpNxYmSj5deN4W46oaxI0e3RoJQpTBtV7VIR65YLBRvpExRoyNI5Ynbm5+Coc352jwY+c0
hcLjfAx9WBuBKfIplmUNHcrav4PIcshhFRKx0X2BMDO1yZ+xbe0N5jhPklUa9ZddY20g0LmdWWxn
2+bKQoFGKdBtAlMVyyVL64Ji8CV9qW1v7zQp950E2pWI8jkkDrJj2ESjANbdz8DbZ7XP9l/f1nsw
8tttkRHyEqsGx/gcXny4LUVYECUtnpme6e4YkR+IGrG/WE40DbR2rwjSMUE31oDxY9EP1lPjGjcd
2MlkJSoOqkYcL3q9W319YcfWEmEUGR7JKoST+aX5cF1qaxcShGO9SThhMultoTk8fz3EQbGXfFOl
CD6/ddKQsJMPhxhnjiyyVZswW6Wqfd6O9Zle3NelvUiScR2r2l+VjE+FjI+tEeNwG3sf0dBNVCVt
g+L7wQsiGy0doyyoNxBRV6mOx676bIn4rkqB1gc4G4zqs6/dtCQ5gURtL7oxEufcmAzs76jzhSEG
yw0w43EJNuPW7vIrlAquRQLhPE+XnhfdOqnYOvlFPBJklO0O+aC14zvnuJYB6YYdY5KbdqL9Rq39
x9ezqdlzpPlxKc13h/ADxEOemsk/nx8ZUCYLt3kFHLOtUIVKbbrw+vQyGuZTpo3WFg+NC3x3cBkj
uVvBBN0mCNisA2mDj6zyiz69U2YTV9W4DkAGu1rkrAC+I5CObtaoTsES5dYXkGbhRYQOqZtHVbIc
Rx9mnJx1VzKDpLX13KbCcyjTqp+Nj16UxvuY2X6EeUl7aw/2s+zw/csqz6Y+nu0nS7sIkor17NwH
yMEtNaOnYRj4e9Rvz3NZJTjNhxtsVF+60X5DvPnMG/SUQkS5DgxsiYQDqzy8zbOJPmxWeOR536PJ
ECtq5dNCopwwqpQyVVtCAipJUGcIb3qBpgtFol8EQST0ABE9qnFdKl9iRUKYyWplqY7DZoq673Ea
YHeJDJaV1svE6gYXIZkYNL+C+G6VvqjKhrb/ZYbtnchrEuJ2Bk/VwaIOrR+is5eqN00uCHsE0WyT
1HSFpjclVx+784hPgrqul7YV/gQn8K0JL9QOOcYkBA6BN5Jbao9DpLzArbissdjLqHuiVsSeBrfg
AaaHLvufA0DzwruTlYFLLVYkRvLQUntfRWDk4ms6+wUiNoyEZw4VbaRSXDUWhWugZxKlG025I1VB
AUodWAwxwKwhQkW1842FHrbnaQu11sToNRgj/N/q4MZLskep2EtAMvjjDqR+yBT06bA0QVtSCkBw
FtX4TQSKAhUCCPBWvh0KpFRjQ9rrrniAwelElQ7qw1nJqr1U9CxbRE52NnbD5EIOf/X9oaZfqbDQ
3LKFqUqimOb596FzfqCtfZmrDYKc1Gf0eE0L7SqAXbKwrZURPmHThlc49lIaOL7FvLxGrJLhAJe3
GkpbX790zkH2976HCZOABYQHuebhHpanLdjcFLVXDO6DVd5nb3Evd9B24cQkvCKJee0Xt8WgbtVS
qK41hrdZEiSu7UUxYUCxomB8lmd6jcgi2Jcx/6ZZgGKmAKCN4rhZlF3C40URHkjRgCtua6t309Be
e4qPcp5pP9c10I6mjS584jMXyzlXGskzHHBq7b5GCafLl37Hc6ERf541+kPf4s0Ct+m7HmDhW9cc
KypwY8wsaEfT0rHC6DmjHCKV8oc+o+qyHDSmH7+BD0Ylo7AXjaI/09nK3DGZ7rQQ7eM4/AVm8Grs
h7MYCIl520p5VmSLMPauNNptCMQqjrOPZXdZ9d6zSIHQ0CmizuQvhiofkXTwS3p1yY8pjG5jOtJT
6N+2AjzvWLQPEYY42MGbib7pOaZRGLMXhWQ6kY99+PqBagfZ7F8P1BIGhVf2U904yGax/sBbqE6q
TWkWT2k/3sYIupb2OW4mVDhjBWJ2j5QVQJCaudaxPgPtldohvHVYLX5EObC0xVnZJm9fX9n7yIfb
u3CEY9A4NmaHgs/be6/ZTkVxuNogmHiPIi8UMNTZt6KNDdgHyISCa14LYoEOYDWYPx1v1C32oyxN
dF/SKhuRjIp2cPwvh6w564z0yonlN8+oZ4fdGOUNu1jgeqpgUvytNR1vRT1UsnHGOzWiPpnUWnDi
QNaOHchSN0yNw9iwOJI/35Nq5BXaujBf9CmiX1+oZ3lko3IAYNptkgSX8nHd+BO1XgtTVyvPFjC4
XhTnG1gGuDSkxWPQXX090UdWgKmrquHYJlHJb9fkTTWUQOB3GyBBiAhgPVwkJjpL9Qa39Wu8835+
PZ52UNCYl5zUKf5bFDRsWnvzJH0ItTSnVMCgTbDU1fxHblLWrg1rR636hjboLjHiB6/QqBFrC8fI
Nl8PfuRmGdtSVYwk9HlhfR5bgTmZoCHKolLGM+z2HhSegSNhr87oA90Emvn1gMceudRpXxKoCOAp
70nMh7sVvWI7JbTgjW4Vb6CewKUF11UEoQsdrpUj2kU0WHsCBpRQBowMk01tTEsO9LdG4wfS+ETc
dHQGDHPOoy3d0g9fK1nanVU5LMGu3qnZrAOyIpBamDWSXcF4IsHV5nLcwUss6TIi72I7eAEc9iid
NpGNhx3yphDqM3TSVdTnF4CDKTwrPyeR3lpa8tT36ZNNQbwZwrPCxzP+60dgzA/1t4uwsDmQVA3R
oT5ccBqYpaHCUgBUJlRjiAlu13Y/4+DMzAttYcimXcSJvi2leRdZyVlbR49WlH3PsLdeArG3sE+N
EOOGUm+N6rag+bJE3usutpMnE4UmXTjRDo2kBbK5tIzGSzlVnTslDfIdo7UZfEQzQjobZaIMrqFw
rNg89q9v8vg6c3RKKUKHEnS4smWrYOnjB7xVhXlnBRxkQ6bdAe9a1t0FHD+EA/HTdc0i+GGq7TWx
wb0cWfKoeTXBtM+1MjtxSYd1hvf33AF7oL/XSmnZfXrPaYJHoupRXxJ9dNsgi4SwBfIf+AHF+XNP
h22AUTPIsDkx7mEqN48L5BzogM0WKw9nYpSKr4K6KTfJ5Oz0Mn+i2nliiCOpnDTYuXiHJJYNh9mi
L6MWtfC+3KD0v7dzzV+aOLIsysBqlrXMtm3I65ykxvbrh2we2zo/jGsdnB++E2QDBxvCLln83Tfh
WPiAoezOaxZiumg6BBNrVaXHJJEvj9oflRR70LIo/yGg2NCqXcu8b1d9EF51Bq2kHH8eIL24wqGd
vE4Lo3HTVrmpqEm5oCJBiOIByQm6VVL/pbaiH6Hvs4bMpl5KD2ZS+qjDD3fxH8tHuJ22v9CG+rJE
YxHHsnFtBsmJHPrIASpNzSD0BOtHde6gfDDWWqZmHZScWOEdTYbLHsSGiIKbryf62NL9OMzB0o3b
NpCy7coNpZnbNItKNEHuhukROwA0y7IVPuih27cgQL8e99i6+jiu8fmVyZPKCQl3eWW67jqj8DR4
oLA9dAyirZcN68CuTkzo0X3j/fynt+AAzTtYUr2l6oGZoFmX4++jAwTLm+CeVmng2hsE7f2WbDdD
Vb+79GX+beiNDcTys86mu2QJ//br+9eP5BdSEojQ6YBcwb+fJ6AfQoTcCxZ4ahWLtvORIwSRgkZe
RZ3PhXa5aVNAs2gb0o+l5VhZU03IRjQ94vC1mHc2/Diwb5yytwI7iFhP52YHlb764etLPbbLfLzS
g9pKDo5UD3xo1ePMC/cRDvRP9dp+q9TOO5ltOkwEx6fQZgzFx0gpk60+QNkvNp0pzrKic+tGpWIQ
l/ukyW6kIm+xw0LVwjtHj+4tEKQ1mLDQ1yfDsC/LCFnwcljmgUxpR0MFH0yIgOWdqKY7BF1HtwrM
PWKTT2nZuZxUP+YXqVSj88q8/nqyfiv7vd8JDjycBIZOtnFQq4lwZxj0IeW5FtoLG86TUPAm0bM1
lmwX6VSetUqAIKgHbAHyhEDexUGez8dMDKUt9cKQNJBq/URr7a8K8UFkQA3SMfHV4tKAE36e4Dxk
KcZFVmzMgsnqU3kV+NSrh762FkptXVXpeGGjXrv0nekaLWf2AISNbI1k1Lb7X1EVqqtqcpCahktq
VgXYqw5UVWAg5FrCpATmAZjacwOTcoCWUykerOLRr5FmUaMyczvEqYWXvyhISGVRlS/7iv/rm+oW
zbWl2lE3gUWquo7hL5rY/G4ViChq5o9Iz1Z0mc96nbJGsysr7UWIFIO/nC8XCBu4GRsUEn2gTBJY
UfnWilN8KxT4LqOyzivZYDwDz88XW2yPKCJFxR43sGAZV+s0mS4Tf9TXqWKfR4266jgGlgjfo0Lo
wfzWEFcNU1RGPCffOFg2KW367LUN3boM76VJuDDVZzNrZrLMo/4sLdVruBaXqqQ61yXboevP9K68
K0yH17siODLRpxualMwDtG/jhp5+YSj2prKYUtgt1AYACSB9gvWNWKH46wZV+RPB2DiL9nob76NM
vlpasVaDjmfVniVKcIs4MhkEm7Qbtt/SSXZoTnGDoeTXtaMRIc6Q4EBqtShZioXfc8NJRMmn64Hs
qEhCuJOnuVXpbGXIZ0bbUUBHHD7/5U3GFYfCsqz0V0so/nIsu7WXFOIBYC12AI/a5CBEZJXPfog3
oS/Tx86L94pqnTc9DGYMVZxVP+juZFjnRo1Wp1liE0x3ofaUV7+Tr0OfqK5n+u7osyhyu32Oufm4
yn4hwbjXYaqGdbw3OlAedoO887ekBNVIKIYURtzh+tiBapf5srYC1wp+agAlF3YQ7bXZmO7Eq31k
I7RVg9eHrpxDSf/grBwcr/Tq0ig2M162yNF5jBTCPbjXw3QL4ulaTaEIto/Uhe9sEV1/b+KUTg2v
0IkLmQc6eJltlURLs3SEYPjj55fZiyBMppBcN7kGOCi1rHPSQIyEb4pKnHttsNO65zyvF2ObA+HA
Xnn4duIK5u3i8AoopIDHIOad8+nPVwCWdMD3oyw2ei9uAjt6yW1/XzTmvdaVkLm9NZ6Ft0ZY/Oyb
7ESmZR7J62yA0IYhEN0H7nswtlkFyRhTMt3kUMCWQ0z6TJEJk4lOvVbb4dk3il95gXW6Xv8KQ32h
YWuZSIpg9fdRjVGYBd/0rNdNvJFd7KySQHT0kXrcWEyowJ38FalI4g2ius1FCjPfyNderT0kenmh
jegziqT9ZSvFnQpQevZIvsVhtdqZNeLFWSSXoKAuqpLSqqaIWSBlE6qzzZe3aroC82fYnoaCvoHA
GMCeq6Innsyx2UFNishRdWhrveepH7LwEZLi6MAG39QF+lZF9BP87qIzBEXiOn+RgA5SUd7pgl7g
OH2D7IjiFGAaZLac4jzE73WBRPNrwqSdyCSOXZhQCWUt6gP0M+bPP1yY2ZeG1bSo8qQoYoqErKho
91AhYKNd9T7cxq8n4kj8DPByPoAdZoPW8+fhjLoo2j6HDqf49nbSklVVyrXlGKfafHOcdvgmcKSS
+9umJvXD3K8JnLKNKmR6VSNFeS48z7X4IY6iO7wZd2ntP0xTd9kaAk30CfulamtV+rmJHevXt3us
1gRUifhJFQIs6m8RVBwljoF7wAbWbwLjw15XQ3UdmjsBY2KcdTHzcdVVDdt21J0olv+Hwendzim5
lNbBs43tyqYxoOWbqFYTN/CHc13m+1Kkq07TrmDzuYaT/MqU9M5EKfTrOz+SwdhgFwy6mSAsfque
tmiuz773xSYR8lqJ0PgxWyRXDXmOBNS5Ylp3RinvMNc+AUY7etMgJkCTS80iij9YYQLVIGQztGIz
U4A1U30MEw+xDcCgobExEad1i1JbiREUUBXHT1/f9XvL/2Dd0Q0UtmMjj0WL+aDUg6FRWossAAPb
i0eKYBIt2PGK8ud1V9EvMGvxCqzjQdZ3jv/N19uzuujWYjLcUdDJG5QupJ91MxaYmDTWD1RGYiBR
tb7sjOSx98oEUuN0jR2gWBhnReDo69pwqJNrYlsWur62u/rZMgnITDTPM2G9BlTcXQpMqSsibwEL
ETFa7QkGOJHJz6KaHgfPOSsaf23E3Xetru6sWLxiG/Zc4AS9aOzx151uKWxOV0aMhWYIp8Yt0ihf
LieHSCIf2cBRCC4WSmzvuhZvVnOrqssCjtskCfY6dObpDgu6e1xQNjhLo22fusb7KVRjFQKTXHZh
eff1UzCOLL652je7BzoQ48z5pP6wqQksnQtn8NjULCTZ4qR5RApUmVn0ldvZPkWopFgqUbqGkLjJ
+0pfFonYRkUK/1mpnxsKdjAV7HO1wCTKhuqFggCdVVW8VlO2eXeI0Onk+g3nidq25Aa9cxWK6kxa
8RX50vehmEPZQm/wC0O/2Hz1xxwhW+zDU3B6yYg9WsaSgGs/mw1bJ/b0Y9kOxBu4GQYVTwNsz+f7
b6C2B3FVwNAK09c21HeIOCGkXz3QeYqXgGv2QxnuVXN8KewYdLWUtwVqHEFFb9fYY9w9Luo0VU5c
1pGOigaWBMAMxClED9SD4kmSDEKvcPpDj9Ui4q2NfTuw0D3C87GmEIqv02vZI1sGySVwdVYjzvTd
wqZBtEpH7xdW6JcizR+7no72eB/w9Wmo7yJTWwP3R+20ZSqhKG70un9GTBult655xp4GP7jHcoRN
ZCLnuPx6sR0pYMzRHiQnKrxwCw83HDA8fmm1Ju7vVbPBaUpZhDkAxHSyYOGH0Truoye43yW8yXCv
JWTRQcdqAmzy1CTGY2imiD+m3onJPrIPappJFAptCfEb4C6f10DeyhLuXZ9tWupsCe6MWjhDtgUb
S6Cx+NWtnwMUGJE96k6VkX4vuyNigwyFSVfHdDh95zrThxcQLFcgRBfmG1R12oIGyziuNHXXq6Ac
kFycGrmtS3GRCuOhmQsDdn+iqfRbIevgAg7uvqToGKQqBmJV3O6AgM/8Cbce2PwRBpSB2Mbod369
EH4LbT4PedjJtDs9CawyJgB2ussINFOcceDm9YlAW/ttc5vH0UwdoU+eLDyqz3OLAYlsDSztN6iv
b22YhaidM61quxMzYcGUS9sbnuxe3KP685iG0femM88wQlpG5cZReryl8wcB0xcqfGemz1/PgnZ0
5nUbZLYFfpFT+PPl6RPa4TaOths1UXa2Ii/qChHPisg3SBeJp6zUUFl1yMlOMzY/OmMrWFYoGY2J
f45wzNqsL1IEkJz69cSFHX0+Mx/IwpqBkPJgUyySrgFt4eebslB2M7S4aKw1kOZlMJRb0yhoiu9G
DIe0Orwvm3Lr1NFzXt8MMn6oqIieuJrfstb5KX64moNpihQlDAL6NfiIAx1wCITlcEkBHVu9XT5K
zHKNByoF18AWd5DI1kGIMHWIJsL51xdydDWZmgUkjNYUve7Pj8vPEJbuYycDxPQajLrb1sZZo61y
fw/jGbIFXW0AD1+POd/bpyBpvvcPYxqfx2y0LLV6XEE3pdMtOlt3Zdcue4EoAzrO/3dDHbwsnuqV
1K7sbFPjcJ735AJeA9bmVj/ZADvkuxLfz3clNOw0pGZSRf58V4bZFqUEBLOZUJJwB7tZRhVSDw3w
1vK7EWpXZj5hV7MwsQeJAsQEyx8QwM9jaC6tJ6l6pc9q5/8cLLE2pmeC64UV+fdKN57XTXkqIdXn
2P+3ZwAWkEK3rTuWfXAWpxWBHqDDbAOQ5Axh3s0AG0iJ63VRq+fzJtLju9dJ9TxQNtDPt0XgrdBO
drVUXxRN9v7aJgGa4Fn35LcLg3dqFCDJMK7foTAcYVuKprjnrbAzuCva9sSpe3SX+XD5B8vWQoOz
1VOWkBT0Dik31wsZa+ddl51l8J/9ZjrxnhwZcAYOAPeiuIN8wcF8YemuZnXO00WjbAeca1Xr69iK
3ZmpNw71Wmin0JO/BxZzYAzwhL10TmKtgzPMzGUfNaiXb3q/XTsw9Tw4EYiBuYqPr1otUf6Qa3Rc
r+0AvFXX3+JtfWHhzlN1r5Mxrr5+k45uFBw58EsEG/ghjiAa6UMmkZdtUGzczYDswjb3lVfvCmyr
gUgvUxokeRydOu5+68jMr9U724a5MO3D16oGrAaojScdjiSsUqYrbFM1xGomuHY5gnpwGZeF+EaF
H+n5YPv1XR+LZD4+hEPETJ5WHjZTHGdE7edFSdZVUoWP0XTAP6XV0SFy5iqDisu7o6JusHGK+uzr
azi+9P69Dg5f1VoZFOzIAtZBX14Z3lUQPdsTue1QrREO3etDs/t6wCP787wx2ODwhQ0y56BuMEwi
HrBookiTjauk8VaImK78KkNLqD0Rpx0dStNAVFMas8mcP2+avp7jkxtxbyVapeosu9oaZ0Edr2LF
OlWLORIAzOI/8h20q6uHfXmTkpuKHlG2GVtEjqCHErAnC9pFGG0UW6MkoirTVatMiywboa6hARSU
oYsWE0Ro6y7pqhNVqlMXdHA4tWZh9urA2YsNIvU9SZCG8iM6CV8/zuNrGOIW8Qacsd8YYwloU6Tt
eYVw74lcB1lSNRfRMlTjfWiJLT313LXpodh6/m1K93qZrWpaYSeu4siLPLNtDJgt+FKJd32WDzkB
OEuZeiNJKS4HF1UI6NwecS94rjB1GxDLjOEajKDvfbM/y5zo1PDU/n4/8uhl2qSgZMUaxcHPa62j
qJIpEVWBoU65YR2oc5ZfDZiSuo1oSVIAUAHj1jZGarpIGJluZ+lnNcFYUYoz3yzvFePO66pw3Y/d
k1YIe1nVtLkKzUDPqjZnqsq0VDDNdLVy20v9qintK7xwljCTQelMNUoXCY1tDBOWrPNtZwUPSuIv
u0Fcmk6Zo42D/J/j1IsZENmMd1mM5ISRIIBq6DtNVFeg1h6CYCC2tpeJEe2LVt9YjXkeGt4NOgDU
2Tl4C21Xl2m48jF8tVFWd5H12lF+pF1VEWdU4b2ZgkkOimCfmsgB6vojuuPBRtdMqk++sUVx8LWI
zhEUKzZjXgGPa+2tWtR7FBgevRF4fjvadyNg4FWh4hfXY3Y866Ni+3KZRNl4GddIfvdNcR4g0tG2
SbBjxvHnjQDnB3epkU+ugs/dWdJKFbWY4U1uND16MRQR3HTlTSJifFzKN0s2DprKQb4Yw2oTKMkP
W4RzDovwFc5dqyrrEUk04Ap15irz0u9W3K8ahUKaNeTRuqqM6yIw8XlJqlfk23S0G41y0Zb2TlTN
VqC8epUq+VPooTqW6RT+a4A0coDWXFTLIffEeoyfyt58hbhxZ2h+cobv8zOceUSqaW/UZNeug8UC
XstNnS0UbRlpzgjp2hywOu+zBeB2xyXlaSKzXA2t89a04lfZ3lqKvWrjuUSH14MrW2jf02CuuhzW
cJmHEKSRh22n4awz5WujPXol193EycYbyNVbG5lNjDLwf+xGlPghPieAGFkDr1m/APv4y1OG4bI2
1FcnlQ8R+Vc2mmjR5W9F7O2bLvqeeOWrcqaN3XWFWHOYyxcUgJ+DHkt4DMFExnB+yHlmWSNz8H+Y
O7PtqLEti36R7lB/pNeQFIrWPTbmRQMMVt/3+vqaIm8VEPjiyqyXeiETMJalODrN3mvNJQ4iUPa9
SBkrXFZv+SWZ2ofENB7ikt+sSelS0d3HUnBFNpjuVtXwrFT04/BIz+7co6ieU+PABIysHDmEVtH+
qviMbED/G8A3zLB6irZipuWYojHIl4B2MfZbvJ90IEM9uptr/T4NTp0pIz0PldHtYP5Oo9xu8rLT
DzJVOAS6GwMSctqkL5yQk22uMF7qHOmXPChMsfFzYCgnmaDOrG5a105hkkok72AlD4ljpziB6li2
ohcSmxc+SINsT/3azNGgAGUpRmKUah3GHF3nDWWl+z6IUmdoPG2FMyOeQX8kFU8gixoIJONjV/Q3
szJ7Mjj7IpZNTyyFM08M/9EGUmLk2biv4+BUdtb9qE13habcz7r5bF/1wxRuGgaUYUcOjIhmMwrj
eqwK8japIAGs+2JD4+2s9KUoyoNZY7ifKa+4S9ECwNf8znjps9zT6HIpBKxvpn48f1ceagFN+LCg
FtS3q4MjfQF+3lMFQvGrdONH5L8IguucKIvmdgg/VojsN2E97YzQOlB3/xC3d3qXYiLB+xwVM86M
jCEwEa0o2YNvdqgbKbhccaZBN5BlvdOk0XWpWAchxK4a5OKsxcVRYT/hqrB7nCLob/rmqjGJl0KR
kVARlV1m8V2VzwxLJGVWrlnbhTgcZ0isDXc5nyHGahtbDqhnIziRLbFtoXttxuZGTfTOGR60ndnX
mpP37TG0yLNKT32efc4muGyTlQM4X/ylCWHFi1zZiiy/hWs/ofl2Kaopm1LdR1ZKKiAvsWIPN3Ki
mmRHSFejwRCqvwHCAnmLJH+qWQDwUQ5/TR4qUTmwSyHLz668VE/89wmKLOmiajOg/NS+0CLcKTFz
sdY8D8AelC/03q/NmQRcvbL3aqA8at2UnkfbE7X8UFotsY4UKIRtvjS2dZdT2OK0ozHDAIjY4NsS
MT6Z1LQ5vuueQDXmqq2VuxWC0E3bDjdV3NrbdI53U6Uu3hpRVMXdOlvZmz5Kn1MRURUzmmE7tItb
9SYHOcs+DWmMcGGdZaZJrzdmWUwMew6BBk32KPY7YX1o63l0LTjutACESzE8dLAxQVaPnLDk6+qq
PC6in3fVOF3BlnBUjRQdTUtfwpCI1oTMaKQsoz/mkDQMWyd8otdVXBF5AxKlhlXScl4uO0WhKGPL
BynWxw1Wx3jDCh1RVOzS85ynkkcUNHDJNLSue7smvWPhBQ9QScBYjtTVTVdvTRo+DjTZyau1UaW5
kpzJLG0OFuyLpJ5fFyDyfkvUE6uzsewsFd1Gp4mvjUQ+wCx4s6i108AZHpNA/1RK2VOZItbWjLnY
5CPtZbX1OoZfyPOLwuIlD/sPlclXZMxFas7Lp1XfCGa0ptUCJZPeMpqOZk/nirzuTRs2H6pARt9b
wJW25tjetvr6ugFBMs9p0t60ChRvcHBqihBYKW5tY869wGa6giDKfm4+w7SxPAIwPAtr6UYlOD3E
C4JLIkZT2WK5aj+Xth55Bc03Wl93Uqo/gklKdgS7Qx+uvsk2K9KgMCErvVcpfe90qrrPWJyGQL2N
ewZ5yFrJ1jl+JX0QFoVWMcOUAQsdkIyySz9jzok2tLOULblrZ3PQOR4R47LDFrEZKynZjbbyadIm
6xh3LWP6BZV+hNsIKkwLXR4GTEu856B+GcQ0OCPBaW61BCsyeDnivJlP5myxOMpU9y15S1cbJXXT
3CZRt9USDMtZzg9jpeI08o84nn+Y546KXmN9i/J4r2kR255xg+t1XWG9UJrhZTyWlnRjji1sAmJw
u5kLp3DEiavl2WryMyE3C14YaXKFmV6bNa9En1W3cptADdFk0hXH9qnpmsdOz3dxSMhikD9KMbNI
W+ZHZWwfwpbNVTrVhIYGREoYhC/GvE3LEG8hgcaOLZIH0ZevAFnA6RpzcxromPq5XMESWGKvWJhY
ETKdAglgmJHLh6U/KkU0HxqLsFv6nQ4wrm/kFjoWHwRmJsg5HcKcZh4eojAnR2Lw8bGyUOu5uZUz
yAlshVfRrO7o0Gl5J6XJEVH5aucTAbFBz1uQE0fDeq5X+Y6jtuZEHNUc8mC37VIpfowN1mtEdQLr
wzJizqEXLM23nAO6M2qd5YLEqbqOXLRVfhak6U6Pee9EnR3way0Rn3Uf76WZRUyAVUHt1jswoZ+b
6iVrgU8GcaltVHU6Ak1DHkYzpRwyKLU4wplzPwKQ69hlpBScwvZoWHXr2RFb60gd2GWYt2aca25K
potdDxX1teiV6Kdh28vHjrXNrULyKpOWt1PAoEtxvyO9iB3dnHog08nr1OqjE8ivRmVGV1mRnztZ
wCXsHBmb837pY1qbFH5AtSibsTN71Hi2OxBcRNdTd9F44PwewJ8STkxzsTezzlmQim6WIoOQa38Q
vHNIp4ZDmUzVVZyj+Frahktm1U1fBt3OYsPbLanN5FUcQbpnGwiBZzMKaIuJVyLw7gl/QQecfJXH
1tzg/KS0GU0zuruD3aSHMSeUwhjtTRhKHxC3JNjOkHNSPoLLddPsZP2mGl4lcRskxxxe/uIa4UZj
Iu9Bg9/U1UMRPMEDnbWvGq8lUfJQeB5nUl/G+9D8Ag14I/J5k1Qv6gQzQzUwdKZ0fUNXwXYZJvSc
x09BfMJNaWogcRZ844vwFAjrVl/s56LbxyLah6bwM3mftO0Zc6ir0Z4llP3IKn81jTj6OMmUtji2
qnqSpuJ6AnK6EE2tQtwjUi2KUz8z+z3m+OswY6rrUMugYplup3SkORttEz2hKaKeFS06K5myI2D7
JCmSrzHYEIPQK1T3inTTD5FHTcAXnLqoLHIwhtOrzvtC2RBcdKgU+9iW86FcMUzpK8spx1ZpqzfC
lVhRrW5kVzh5egzlsABGZSxeU+LvDMJjriU7NnRomMz7eMDcXYC7Y59DSWkXWGSUafqWVCqmva2q
GLt0jgBRtw+dfS/6+lUaAoxh2nVohPfdsJyV0ubkF0C4G47Wkh30mngekVwJOV+PPd4cjM5MgznN
jbM9z3e0H06dyuwl5UAkJSLEtYGYT/Wr3XXPhT3cs7U54xKuhvasEQOfRxkiutSx4/5ON+sjOoZt
pKtXsUFmSbjveMmMNLyF1rkDhkuKhHVHMMw5UY2PRZfvhVUdQj14Xpr8Y8bLquThB8nSnsDXm+qH
vD2nGi0fnEflPB2CSNplrJmBKj/iwTrI8viADEkw8eieneyzRbzagbxvDM2voSoHpbTr2p5Z09iY
c8lsZDmpReGZvkgQqy+VTFJlonmgyq5me3EJaD/PfQT3LLqlbs1SBsVKXE8lx+1RdkxJ2mr5RG6u
5aeR5gR65ZGx4XOC39TMhZOJqDoTxzqnWdV1G0sIpESF02CRVMXgyXbmNAZzZp05sv7NUA+lUTuI
cPbIGej9Jrtskfw1tQnnoKd3+tbWpQ+ETehW5eELQX62+umYrC3NGxXSydT6mFasvTYR3ZGl3wyV
uALBVSNP6iNpP44VwkaxzbLlALjEneb5QSdPlbTuwK68vCcKTqC2w2wawGG1zC9hXfjyNB1qfnQ4
qV4rpfsIDy/4yg0ob8RIGBSF5BYUhmhtuwS8bW0CnIgGZBolDINFIyvDQyPENrDafceC0NCI0IkG
6CPXjout0ogrRUkOJiwLVSv2Sakem3SPafJgR8q2lZodHT8/EMWdpomHhZN1YxCK3Eo7a+aK7Ma6
MGS1Q2uvJ96IXVorsl0Rz9dmxVaSxRadibHJFJl6O2YTZrGANbKuTEoC3R4kLokwMPGUYkfO13bG
Vl3NVD6UyO2HQ2/v+p5Eb+xeAe1fS/osL9/6nBIAhwpsDU4zGluEw16ylBtb5AjUVRctqTtSkrIa
dWcm9VZOE08+WeQkzcTbk+nl0kX0c5RNK/bo0DQcbPTqQFMI47MEAlzZDMMLEeVuynV50KS2In9B
ftJJnGur53akVmyFHuEqnhETjGVagIesrar1PiBZ10wA3o75KdGfW172gA89llW22OFOCI3IFeo4
weKRnOPmsStFZxIdHU7sGzV8ni0gZGInWtNvqpE8eFhsWkCYouTkSuaU6l3WZ5RkWmlvxcIj8/0x
GAKyoDJn6FBTDPMhz8gz4Kn1OvMGjQU9NRzVkhwJjB+h7W7PBnUhi5DMwU0SmghFQmoFsQv9IEoe
jDLcLo6WEIWDkVMyZa/uvQCvUFf4SWq7CnmhQ0y0caVyiK3JklY9iXAq5N6f8dx44Aq9Jq95ZiRh
D+Vznjc3hLvPtHTkKyYaaj4EvK75yvjt+0Ld843BkqQupk62OxBXSgh+iC36iAp5mPsYVzQ4nZKF
wi5ARS4rLg5Et7eLo4WZxuZaFYueVJu0cVKnKTu2hmDsSmUXV+UW2hyQKuJ+ahcn16ZZVEdHe5q7
YGpn8roYDyx31PXwmAfznVJ8tiYFdI07hBiEA+LbkuOg2fyotkv6AVa0OxzlGUfVYYzd9GveRwSB
GLumYENUUnXRUleO8200VW6ag+UTHEC5NbS1myIakbvrbg30IEsrMoUWX66K1ejnCSTtC1GXISlk
ak1izqQfqpaUPZlwxam5y9qCrTLRFm0qu1EONgD5bVrHpzRcbuNa9VUoOr1OTnEaPyj5stNUZd+Z
nBqq6XmxzGvYc/uYSORqTNZhsJXWiG+drW2M1lf2a0XeyjKsbIJtqepxGEi8oIv9RhEbUI1oIkgf
nNkjcX9muZyyJduZmkIWBmbz2uuJT1QQ+Wd6ysYKWAPJhOsEyi7zpAwEYirMlnYK8IHUklWsj4wc
0tlSh14xz9tJaCB3tsM8HuTg22T1d4xOdhbWdg4UV58qj60iMYu8mn3sDsLwQuZ1r7JiTxrMW0N6
xox2UPJkV6li3zbLqU3jY07rLeyZ7/WVDwHvb8CLJsVuQbItlYyFRJWoRvyeHoamvB8nTl1pKmN5
yRyyzF4zQcE4ma4oIh/rUoZRxElRmnZkESHY/1RF1lXaj4D+6a0EwT6Ri11WWNsgRp88wltXb6Eg
WlSgAfF49pidazk6El935IxzQ0jgHlb5buhec6RH1UCqUWrcstHdx5SjB2DdFTFVdl/sgtbtsmob
sMdIRX0kG3VfkRVoviT1eCXz2ELWwrFCF0JDKRDRNYdsmZCoNpm3RJgTSBsMXhKeqe1/aevxYekm
p8PEV7Sj34Oc01owo9biN5mOjhpOLyuVkoQo3+6kmTB4TvR93/qQ5D2SSLZdV63p174G8zSZObcn
Y3/XNlWzbcemOvz4pUnl6mDJ6f2glPUW02FLzFlEv3H9vx+/jaJ8opD/n/76+19c/JPv32Yuln9/
w1ld4cw/fv/9r3/8u3f++vsXEtaygifNPQWy4WiH6Xj8/n8/frn4syqI8Yx9/+umo+igJM3i/vga
fRmp0v34/X/8PhdfoqvL3sJEt7v4858ud/Gt/rrS9z/8/m/irJb3MwLFH3/0/f/++jrq4F0Zdkho
MlY7MzrVuvGojEbvG5nUndS+uW01vOZ1lU6bKui+zdLwoI5U6P/cTHqrc7ZidwATIu5G3/xrK0eX
oxq4EF3Z0TD3ljI4YQpVSjLeURm81TmDSLhyFsHUIvJbW7M/9axkiBlqlXWlHzS5hwJ/Y8oD2Krs
KTHGrSiWx7inZ7k06PkigbmhtXjJTfGeif+N3jtXx1hBBrfNj3OhdijYB5FiUdJnVmObAycnvrq2
P8tNdkr64r43so1mLR8zmWSkPz/o3w2RcJBxLCAMUvG2EHbx6xOYq3aIp4beKPmcXm90vgpkmAVO
SR3LVEImDDctsZlpmbFr01XhPcLmTi16KOsJeZir+2Xp2FVxnM/15KYvdFxWBSraPE1Ig4ze0Wms
PdMLXctPPy+czF9/3koq0G8IHpVorf0qOQ8s/R3t1hs961UGwaiwbcgCl4MiXMw6g5tS+gb8/8Lk
LHSlkdtoUHX/88N/Q6OD7RJboIKaWRffxeY/jb7ctJsoGFmFrLShDg9DKtVvS3pHdRse2eO9o3V4
83LAAM0V2o+A/ULisrDDI6kAzSRwLcKzznNZuPYMQXO3Mmr/fGtvPEMbMLcKhUTXEetfvMBNnC2z
SpAXbiGW7iXgjJdtDDDkhn775yu9MSDgzCPEsEFuYD25uBKZDItc8WL4UwwYIaf0r3bWw//tGhed
5VCdIHLZCCYSnHEZFWEsZt6fL7H+mBfjmttAkGHgnEGEdDEFYPhiiR6kwu9sGXRq/HWo9F0kz/I7
L/ybHwxt8tWlZAJyuHhcA82RSTa5TiGWxyFPviAqulr5foBE/tEt/bjUxVMTejjURoX8ocosiWyg
wR0tiNh5+PenBB7Zj+us4/6n10gaZ20SNbckQ8GWhXZLKNd7ksY3R5kBA06DYWMb6sVj62ezMW0y
xHw6c14fqDu8mf/kk8HVR94Q1Qasjr/eRmXNFm16bqMeFwpKsxsQFqjML+zq3xEcvbHcINrGLwTY
0uCWLuZQeSCZggkCqdeSvUbz4C4YuPXoCKUzF+Z9DaF+sd8zbbw58ARyZg2divKbrFlpgsxkPBQw
iKr7eqHht5qztMxLhuEdb9Jbl8KSpZlA+BGjXBKN50wFwpOaDLzFvrIlTouhgsIRulNSmu9ofN4Q
b9mrgg/oogD8Iy7f27HLDLuUC3/MINArxw3BpmIJb8hs+fsThI7ODJT76oX9TaimNKUZGsOqz8tP
AMtfVhR0LuJ3/FVvzUO4m4Df4nLls7oYG9TLcyukOO9rArpiOTl1EzomQP4/381bKndoEFi4ZIPN
F6baX0d7XZBKXRRcp21XCw41Jq5lBvdriCPOEBBh2TGU421AHc1sa2oi5jfOboOu+eqaBl9jWFfE
cTQGFw7KO6/id//C5Wxs6wI5KGpIoL8XU8rSdosVZAzWnvLiAmsxrDwJsqaojK1E/QbBIohHA42J
SdEbjFr7nNIolhKDDi1SEsLcO2uj1/lmUW0/LSsXoeGhT/TNpIWHggOfJNJdQ+N4LXtZerV95/Gu
H9OfbuBiY9tGrWG1K94qHLCqsLGle6X6uvp10jAKaZSb9MbT1eadZX99Lr9d1sD/Ka8gdWSdv36q
kpr3Zlnz5hG9vbEW6i7gNSTajlP5KlBn//ku3xqr7J/+52oXC0w+A3eqEq6m9yqvNnbaXmx4/n++
ytv3tIZBsUnGAH0xUoso7VqLRGl/MohUgh5FjqMf6ie4Dk5pineG3ltzF0CO/7naxXwyoAtJqpKr
GcbrTMNPaLNvSI+R+s5dvf3scPCoq3UUzMyvn1QwUNnOK0oLljR7UnErk+ZKXvU/upsfV7l4j8hD
klthqgXas2cckBt9HgBtGp6i/x9v52K8kwYYD7PGhYY1gjt/ydRno1bfGW9vjgQMbhpHbBlv58VZ
iUXbGpjj1w1N60vjq0a2Y0n2mKRM6Ijsdyb8N0fCj6tdspgwj8R9O3I1Yry8KbSR/sBetVRGufXO
x/T2jbEfwNWDhPRyMJi1XGmyOTPdac99BGPjKXpc36Xces+6+OawW3ce/77SxYCAjmnJA70+fxaq
G48Hq+xdRHvv3M+bjw6AKPtpFmUALL8O7rbQ4qDoGQ1debuuL7BQPK1+jNr8H11Ix2Kh8MtvLuhQ
n0VhClb/LBzdqrQo6dCii9hN5e8cQX7/iGA7K9QIVtsnzeqLmbVNONBBdyj8QBLblcndwhbvsEoS
lC2Kv71B5GLQx0if0L4DMn99foNaRUqvMrGuF0M18ThklR8p0RU53n6undT2WAAs/vM8+/vQ4KIU
fUyyL1RQFhczUrrYGYYo/LdluniyeILWe0XGzDvv8BslHy5DrhmaTvbAHLV+vTdbQQcocj4yQTJS
5+UlMhsA1PEn+UTXP7D3E1uMlE6DyNp3dPdv3iFlAkAR5Kn8BomoYYoZYc1r1kkrHhTvPG69fJy8
f/AgTS6COdPCyHExF456KYUhbXg/DNDY0PxY6AdI0JX/fJk3n6QBisTWKBxBUL14kmmqBnYwZCz2
aoeeg4aPhMV9uSubc6H58hC5C3Uz8So/lfXfv0UF5wxTFZYd3LkXl07UMkujZM7ZDIMWL6UTnzRg
4+KdKVj9fRuFjpzmqA4oFk/h5bFPXnSpjVMr98mglJHL6KQ/VbTvCLaVZLrRmJ/O+rJUOxwcA1gi
KmJ63EYoG5AIq4mK6hMfeRcvL7GGRz+1rjW7e8pangsZnO+cg3+f9fhh2XnaCC2hNF5amMJiyOLO
1nOffK87/VY3KpfS7Y0axO+cedan++subyV7aCo9XX217FxMr/T4Mi0TWg6SGiG3ZXDDsWS8s6L/
fkhVjDVzF9cIqAW2k7++p52VIOjvltxX7Zm39GmuCQzPP+Uy2sW59lQa+iRQfvnzmF6/6cWd/XLR
izuj3IKwDLkFZ3CA+bAPNGNEK0j7nmOIXcduU7bPf77kGxM7nkLeVcYz/P5LYgrqLlkdzIFLVo1D
XIgfGAsp4bTZYhqwS/ve/LduVy9vkVwjiGTwWaiaXGxnZ7uNxkbOc39c8k2riC1Kg40M7ttYag/T
qiPIZ5jnXT8LQNPvnfveutufr67++qn2ZpUu1B2hpGujU8UosofJi2nehwjr09z8a574W8k5/6sU
xf+YivNLds7b8Tr/D4NzDF7Z/xyc45Qt4Yt38cvnn8Nz1n/z3+E56r8MSqnIqjF6qwI7zY/wHPEv
QFymQQWHeuvP2TnKvwCVwlvGZby+tzb/5t/ZOQapOmya4QGvcCTBgvQ3onO+G8x/HsDUWShbGYCo
4CxTC7nYQkr50svZbKdbqS3tk5RueXmUI+vtSUPyb6JB9ig4jpu4sKJTrBES0TbmQyS1CFHm8UyS
nr5XRX2jSiCatbhnZiHEzrQqi4787USuk0vPzy+Q2x8L2bqmHyB9FF9/euA3f/24P0dnKKhzL15E
E6PUuhmg2kdy9W/oIM7JWRvVnepVo+yRPZg6MiJgF9J5sJtG9aZQwQiFoeJHmNrOBHLpXg0KwAOO
8TGRB8PvhmaTVSh44L8fENrC3JoU221xtDskz72mqkQ7ODA3Jq1WJ6Yk4OL1Ptp2/FFKYsWVC+Et
czic82g5JWVLVJdpHOUQBn3OTpZdxCZhR3Yd943h1AOiA9Fgbe4zy0FFriLc7lOfqNUNUrMvcdq8
1kb3EuGjgTMVfgWF87GHGuxFIxqAkkzjuzmar61MuRVaKF0jP4KKY5VfdEBFH+HGfTA+2iAnP0uL
tItXq1ISQq4LVfzTqj6iM7HqE5USpzG/aKmp4ZhHa3mu2ZtsjXBGI6ksITEU6Ye41h7LCNl4RGRw
0i/JNjT14xzYDTKqUtlEqF1scpYDIWEVY3VJ9RFU4Sh8O479sjDSXV0vD5MJ5l0vCD2whmGXotUy
WxvrRIhOxG5hlbHxp7NPAC8623g7JHnqaH301FlL7BKfhg99Mj8Tb4xmRY0QT6YvujSInYV+ijoQ
P85ZjJbi1WP3hCPSIek+vWNv3bGAB8g+YtU44ukhKVEK2TYEN6TQYfag1+1MJPO6YRJm7rjY+7JC
pWpJOGFU5PGo96trY+nR3c5j5/dR49pNf2qD9EMrcmKivUCow8kcJRl1yxONaAJE4SZt5FzXUedp
CSYBdHpDDtdjBJ24yWhHbCo9SjxbqedtoEVInxVuQe9CR8pAAQYBFa+h026DpXxO12hdo7Kys5no
O4k0XQ4T5HlLeBMtJMPkcNSukvf9Ps6RQ4Ujdq9okPODYaSEFhAvnwbxoU305QTKHUKikg8ErjdY
f2juFFkV37RTjvgsbVg5qs4vB61+Njt5C6A7cY2ClqUWDZqr5mAV0rzYskNLGMrlt1HNP6TUgx+7
VyOK0NdpN1qpOHMALKrPw2SLAobRNsulJ4qMUBIrDnKCqfPisET1wLGkHIpD36/8YZWsltEmuaac
go3RTfbiNNnYelpjvMZKEB1rWfENocD3HC13Vg4zQL9zW2ntVdOEYl+0Hj6Va/p/qT/P2qlc4mfW
63OtmI8x4Dt8b59MFX665CRDjthMeyC85Tyba0loPw7HZolipzcQ/UYIgPF+1JtuwgwwzfZW9M1j
UOifK13+0FbFV7bRa9bEbZsMu7hTPqpqddP27YewgwNJA7yA3LGna6s4idyaOy3jwoKn3UTjh7Ee
d2O/8BrYwwjJxvJmcxXgE1naMAbsWznjQ4KzUff4K/W0O7OO305xWjssB75Q431XzqdOkTBw6+VR
tvOMmUp9WiN0AW+2d+3Sk6VXFC8CZizB5kNdPDa5dDtOn2izwHUwtK2dQg4WqN+KwOk1Kr4ZByBK
cYlwFKW8K5G2ikXZ6SFv4VRgZyvRoMhzbzgy5z0nyD+GOIARPlovxMlH1eg3QYX1Sn2mVLDBcjQS
fiLjroR9sNjixsxNNI8N3ui+3k2ZcszrhAa4/mkYq+u8gSrSVp0XNIm/OpWWAOh6mybdTpjtwyQJ
NL8O7CO/7OXSMZl/ELWOpwJ1fcWMsS2z6ssqr4jUBgLrLL6MU5DSTB8dLGDksln6F7kZPwlhvpR5
chQNhqK2VGFdmSmSKKMhVEJW0YsbN1LQX2G4qrZlLSpMgu1zLYucw1CO7ihaYKMxC+Hp145hOtS7
pkW7byb+olfhg9oWd1Ju2R5x95nzfWUkFFPbY3DE62+Z6TbBSwQ6ggQVvZsOWUws04DXaUNizrSL
QAvyZeRLEYIabssqO5Zlt3DFcbinyWwxBbX2CfoImTZTxJoaRk41E9gz5GITl71At1Xl+zCizSkh
v/iEMOpjJynNfYkRAVMSE0kjLV/TZGY2xWd2H0+B6cvFKO0WoZe3ajpK8MUDuONtGKIHUA456cDk
lGf7sK2mvSVn+VZwNxQ7o+tiyW8QJ/M6VnG4U2wNZGD3UFnKDS+TdkJwt1+MWbvJw2iX15VyW1l9
4/bM7NgfB+0QNoa0yhm1JwFuEuo/SfbIo1aL7ikKpA7fpUUYELsTspeKVQAL4H+Aue22aTVe61XX
cwYkcSNsksyRlnw+90OlubFe2Fir4sHDuDdfGyAXtozh4Zyhs0b3jjtG6anFobBMNgqe37swDZmd
KoVQA1TiNGrk4a7K5OWQyy1eRwEta0lL6QDp9qrHNHJXKCTSg+x5gOu2X8ZgeZyDBSEbIrqrSSd9
qA1rGD7ZjYR39iYeNWKR8NrvFDSytNXj624ow5sEW7cIcuVOKMyy07hIXpB8XaxSvo2XWr2TdTYD
TeJNJLi6OkDd67yeF6em5uKNdRRhaInv1DCOPI1oT1c0SnOLrBxpd0Hcj8hv9WzRj8WSVowrq7zO
Sed1ODf5Q6M3j3IVuhLBW3pVI5DWrW7fjBFO4iAxV58fsuf2NkN2CcX82NQfimqM93nN601BkAUg
bi2vm8ZtmVoBq+uaJp2nHmrvB2nErNlUVwxUy5My2p8BFLmlhHkrD+niJB0uvc7C31INpy6SsJR1
cMDk9QzaWxEeueC+mYtdtNi7JE+aTY5aaiOuzLo9maHsSWa6i3qNb4YIedbj3LWss2LFqzKZbcdc
PqPa2I74u+waXbXRzz731G8qzd4bRHrwmZHhFRo3xpTsa9FuGrtEwK0OBD1jomL9FV9atT8l1XIO
VeWLVbGbtKuvRVFznhvQxaZ1eVAm9PmJQSSynLG7GmTcJCruj6j/2un0nAcc425gYW+PpJhqBgZm
x6yhCbDPkSHrOmannjs9e+xJr1oC4pLTAg+Sylak70YMFzpn5GDRkR8LL4xDr1eaK6XS4bJOKIUG
TOe19kqOLEkkQoDpgvvPGH2oo4Gt4xoUPQ0PXZzs9IX4pGYikIe8M9S9vpW0KDMNLLAStdUULONG
lqxd2Nl3nR7f51WiYliO8ZdK2GRG7aBG1l7Sixw2ofw1GNqvKb0B8ufIFtKL5Dwr4nNlVhK2zY5s
AVi2x7r9tGgEbSXXU0EKeH/b9IjQ0cZ/wM5+spJ0V4YNaZXhvO2NijXGTF4EOh0MdQjfcUj05aw4
U9d4fVU+ZnqQb3I5eSLU7FZpx10z108w8HKsUsZBmcPP4q5WSqhYsYlXoAs+F8N0P5HCVTePakUO
AhUWbnR64LhzjTnlmre2i0M01vrZaPubZGQJTMOkc+KFuDUzZoIId3YqkUw84daepoF08OoJK3Ts
RaVGKFWQ3FbJ9SDXj4uw/T7jxy1qBRh2rCobFN07RcIIEZPdB0eSPk0ZMq9knc8pka1XymY5TeTb
qqXCXUT5I4039gcDSKmxm+9MpBcJtYX9YG/rxtgaUkPikLIcNL09sMOLXYrbUBcCfhKUKdqhsomQ
F+lrELS6o9LKhiqoOphMxgZf2JJ/LqVYJmIbR0kxV3smQEU1t9M6nHSLP8Be9DLXGW39kJQExXrQ
5mm5iVNW/VzicNIMyeLIdXpm58jS1ivSdmpPMl2v23EIZawNFsklQaAdu4ElOsgb66nThtBrgyR2
9VLbLWPuKaIqHbuw61Mqy/2tUmZncvk2c1DpH7OwNPcziF+3b3vtYyotfp4XTyifqvNYDN1NZWhP
JcCeMnjKUiU8owQj02D9bTAGikdE01bk0T7C6OV0BZxiJ596dxb6dJXbWFGMOrgNcE8f7LyLsaOv
eeEL2vU+LWZfpne3pZpUuw1ngFsQWPzCdpizf2z4ozp/M83/Yu48thzXtuz6L+qjBrxpqEOCIOgj
GD47Z6SF9wf262uCt6T73ivVkKqnTiSDZDJIAjhm77XmEsi95+gcOTqZcKN5nRmz3XlsXtrhd95j
+fA0erJx/zQ6UfdCrF756t3RiP0imjq7zpmnvDlu86o7Fez1zP2IGhLzcMjwo0h/l3kJIH5M0nsE
UZJDW5mhVfTp/XHfEBu+my/EoNHkTkwzDYxEqr4nzNBLjfpK450BBaW4kS/hMHsfdmXJMBILDrLK
vRG78DyY3s+uQGeDwf+rLlWmSPLZowUfKPZU9cvOXG1Du7S/6ix523mk8xcTswX7lQ1qUp5ruxu2
zqTlh2YhOt3oIM63n9XY2JexxVCnj8pHk/WEBg01mw0DOwnwJVs9Y0KYAm1wah9Pq7Z9rI6gEDMQ
F5l5yvSU2dmargRy0+zBWFaK7q5wGiEA4BLPpGO8sOK17THZm5pjcI5uy8IcDh1Iyx2Bma9pvauK
LCGLq7g6uZyeZgFrHY6+8Js5Hf3Hfy3LuvTT/o9Oph3z2L3qimSvOopxUPXyAh22Dx6rtcTshwMH
3RH6T667ZLPUuR10fTwEEaZCF7fenJWgiHWQ1Fo2PTN2kiWDyS+YcxNvkrMQNphmTvFqJO9ZNO2H
Mi0uotRYPMJH2gpc6r+aunQ2SgcKpDXj7pQN2qbk7CkL9Zkvw/WVjlKGEU9ZkNkzJn/AVftBsaGg
jK61MSLNuLamelM1/eatJRg5VWvaZYvl0IkuGjADgTAh0/edqdhY2Osy7Ml4YWNrODs7x9c/pNon
vTGeUertigrw9i7ED/wHxY+ybn9VjQXNjEtx3a8WjgtmZfCWq+RbnGooDF0S3VZZJP6Hgr+SBr1h
Lse5j4Drz0955D0N+jCchCmmYGk4smTDPQ79OJfFZrDq2Xeb9le5JHVQxHg3p0wr/ESSOKgJUl0T
RoAFkXjQy9XDU/PZ/zqOBouBYnKyE6riGLF+v02w8ONkWqBSKMQ6uTiFo9Z5etxNNDWpkovyrJGn
Aa+V88v1EM9pAxT1VNSTn+TWuK9nTD1aC2W+0LdW6qSBbZR/SHzMt+Vid9toIgxKFNNVX3IP5GLz
s8Ne76vKa2u9WqzAt1HjsS3JwVYYURP/dc51pmvhBHM2MK8FEQ4Sn6Pi5ru6d6edXS8yHHMYNCwV
qD01U/wytgkT60xdqoiHdyIsWCI0+acJdeau5pafpKbwyyyRp3Q2sfNpjXMZmvkYK0tDu1nCaVkG
8eSsW4OpKH9SjgTggbZij5NkUEV385DjQjc2l/V4HZyhIjghZ0sN+O+9rmLnOGp5OLBIh/2nH0so
AZ9z3oadtLTX2avGrYZvrhotfGoFzHmtV42r87g0HRJpihiCRtGm5uExJBSxTjyJwKgjZf5iF38a
4bnnx0WOdPPcGkV2TimMWTQCnhrT+6hbymZK3b8Qtod/yIIX0k4FZJkxHi7TQlxGYhCS4JkSIkqq
2QdFKX8/3r8ltO5ZSaxdUXxWE3uexEn6jWb2L07sKed+vXYKVLRAOBiWqskzt5OIeZ9Wu1Uqja2z
MiknLGCkTraZtkm8BZrgqBzbytpVuqFeUkMNEkWm58l+iRrfHQzj0PYuEantYlAG4kuknfIj76Zj
NpEXqFutd2MIx92c9uapUl4yrKk7R+2GY4OzcHDMLhzdnN12/WxguTupYv4lpame62jHxoMYyTxz
AQ9X9V4SkbvVu+guGzXZW4v9QjpyEU7rwOsufqHk2gH8w8/Hd8959tHNuvGcL826OwPdD9LqSW9G
Np9AFQRYgHyaElK352vkaX/A/lQY3fkEaMCNUFVKYkSczjk0mGYIxKsuuZLvVRbRz8ay7MoSdjYT
7U7XaDBb+SKvYspeoZMVJC/NPZbuOt0lDX2JfiX9RDIiInfCxN/qy3bIwaGk0ntiA81OhExPTHK4
iRm3zbg6uW7Mds2SkEdEZG4Tr18VB6tvIHLEXe/UDVleROgQfuCnhThkLmtROTbFz9o8rOLyWKRn
T221DcEBHeUYRnijwW5qpRTJmvwHkt36BoobRl2E7WIa51NTy5jirzGQZGpR4VtHCRZY9Vc2mMSs
W0SE2YmHDetP3hrqObOizyaXxKJESXqqB1J0nbmqtioxQ9s4J1qsHMdqO8qMLKjJ+G6IvLtF2M1l
q0dnY1ZDkmfbZ51kuVqZnh7jei6dXavmy55JpgaxlgzYuUa5fRzQxxWjsK5Ox+yutsLbz0Oa7w01
fTNU6pPQYZD3wcfXmIf8er3IrN47R56Z4dljQUrd1TwsyXSzso7zYOify9V+0KT4pbySeVDYlq/F
SkkJLHP2owA0YIBVOBRlRDBwYrTIgOJ+Z+V2u7HjpCOjztrFUo1ripcGO99ERWjvpiB11tOo6Ic1
l3uaQSeXITVCIEZpSUtAK364OAd3Wt5jW8zG+kN3jkKdsf/JLn0ZfxgmfI2+dOJXYXzXJFyUKdU6
+GDmlzPWBNMzkW6meA4F9S4Gdk5wAh8YvyCD74eo/pEtg3Zx1+XxkFOK9ai/rOORvjiE3LD3/+sb
VfqRvsBqzHosKQBIjLgqXQ8SKVq7eiJZ6/FB3DyP91ycN80GFh/LiXqqp7c7ZqbIJ11GO5IqROGF
psGpUSi8JbhtXhrOf06/qj5C0CkPCt8k7qW2ukolbwLCpE0qdcphwk99Kpwc11/e2uhpR7aHwtL/
WGUxXZrSHS8VVrZgKYYeuqjZh1nUG8DjjX0OkfSmMFbclbq9ZJQaIeaP5zZad/hs77dpq+ohpxHH
J+k+RNZNr95BrGNWZGpPDZSS2BXX2GEwoSBzS3THOc7RcgdUETwWLxNkJTbq/Ymav+GrdTwQIDy3
zwwJBxHp/RP8q6g21HdKZgDJeq4gKx/FJscJ9zMbfy8tQUxJU6tPYHsApXnKe1aTy7glxLa6xzNG
Ww2Kf5ir9bdoxQgowwSOCMv0AONw0xXLcnxM+PjZ9qmWxJfkh4FD77p0LksdR8k3CpLQY6lSnfH6
OsWVrpRBTin+6BmsDAC5YmcRUNsndSssMjRjQf3f1uY80BJv9eWO5RV4TqY12hngxa8cUwQWHRJr
kxh4qOx4L+u8YRDktHfiPMjxwOdtR75929pbopgqnySX9xZqRaZcqkSrn6VSvxagaGHGjMQqz4SN
15nGHxktWAO1JIilY7KmXhefSjNpV5v+7bHwJHC+O9FAYSUAM26wlW+dLK8VNWXQHJzmZRx5Z29d
PCpm2h6ITaQDoNTvqbvQdIHUe0iyNFSmufmZ5kzruMHO1PjFW1UXxNrExV2p2LwZSOxmIxOfFN+p
6AP0MIbWvird+FxSkyoo75+WZfoZj55ySFbnvg1J4caoynojAvUSN5p1Yt5tN81SxGFnmWtMgL0c
ElM6z2mdUUxEGD4YH4PXSlAE2a9opD3TYXPcPpYYmhcZb1bDH6MA8PSooUqlPHgJ4BZlLD32x5oD
3qz2nQwEGNKcYeeI8l5441khOSso+ummYby3RBN9PIZm2dTUTIyoOCP0WwlN3Wq22jW6010UvYZT
hJG7HabkZjbm9DRNUM4wOaCFSJ2NbuTmhX7CQF08Vf101ipM8+nx8c5qKzLfvbF7icboKaKoeUpS
/P9utjN7/P+PpVLm4Z81vegiA3M9V8xv9N7OU7cQ2gO7TYNUcMo8miGLU9dPxZAdc9sonsaMvpeM
CbFuzHyPSWF6kgls3s6i81I0jUXMjJowkdZ7ysqXYpG/MntZRblshcYKQJoCJL8saP5XCVvXrjyx
0zOCXOG8JMgMcVmfbUZx6rOWsB6T6r41qgtdwFnZmBrkxCWP69Ad320VdMsGyc6u6rsqGHMPf5pD
wDvo3mgG/6a158fi3aHRHUwu4e1jhKh2XnxdFKe2iw12hd0fWIV62JvOPTHb5tCAJvDNxBpwEwFQ
F604Obq6G5PeDTSKgmRcdm+dQjmD4YM26HqtKVoV+3QpBeUGO9o/1vA08VQqKHW/nGdbgjBJY4LY
lHxnD5r1brBf9qdCtmFvfaOaY71Va2+izairQdpqDgOboX0OkPDgstjr3Wg6eAUOSFNtTFBAXARd
Nryw2zcOWjM+m4RjKrlXf40W2/gBq/rY4CtOQOTtmOvjkKicmhCRz8cSN5YUZIf5atRDs610i8tl
PTrVSMxfueW0Qdb6f9P2/SchFVYT0vEQBaDkwWj4r36wJUJHlg0kymsrjnrSpqeWtoFlJ8+xPVv+
Yy0aGd4twwCBkRuuVLlOyMO6iHm8R3XdpulKG+0n+ldUI42jvZzmWhZ30Mh/iWT+W7KR/7PW45/k
IP+laOT/Q0XIauz8rxUh+/67/F18z/9JELL+l/8lCHERdyDiIGTaRfiML+J/C0I8/d8w6VpozhAy
rEZaJD1l1cr4f/4Pzfk3GMO4cEwVVRqgYV7wPyQhmvFvZOfyfAvZLKonIkz+O5oQRzX+WU1B3hQ6
cqBnvDnTRCK7ai//wQSWjeTSGUuZ7c1mgqhVa3AhVRka8XhXvD+FgLC0pi6EAEGpzMIDYU4+sNR7
G5HtHkRjXdOov9l2e02+lYpHz9JbbiK/TsIJV8eNkhU/zNx9cZWyormWfA03EbkfpUbpWdCjLDL5
jon3mmYg2yoH9oeC+dXvkYbHYN83q4hjx9L6WGF43pisOJfpJLL3PNJ/54V2mXURxL3JLpoGRjUx
Iww5TK4GJkFLY21DMK/cTuYbLN8wj3hBL5liWjQi3hpoQfKyeuVCelq0l7T3QB8jHd/ALKfzKZdf
IMDQcr2ZdvkTLN23LBEUAvZSJ1taofGnS3GnZQCQSabNZizyDxXoVmOPhBXQKKW1bDECVz8oVoOx
imgUenQwzPlu1YB2CWKhqt44G9Npki3SHb+PjApbzNzBCFBOzdT/RghyECwl/NnSwsY1fyklCZg5
OdabNrXurK83jtZ8JdXwIdKYTE5vvvdEYZNWQFMmtm5U7cVRS+RmSRiFkQv8wQl6gmHqsZNSX80r
tWvWPlkC5LJ3f/VGgMRnZiUejwdXVpdS1Tdubk/gkfCzu2GhZtqZZR6h2Wme0vUgCTYaEm1TL0bz
1BCUtk1dQNWm8wdybZADEAXjmu07cIGhBst0W9uZ5vcwGzau+lX1NcBQKld+r1NxQDvQgD8s40DW
WgthcpQHxYX0Sbbwsqmh3BnKtk6nkzLGO0HP1h8xP2W0gJXS897isRt9sHvIMfT5MuU6/cOu+ZSv
LFomdi/eZ24CSY/t4WMaopMC1zFNYIAORacETH8txbKR6lCagtBpISSKZqqDsajviVpf2VRgctmP
5S/T3Xr9CBaTFXqMY7uK4zOZ9jsBrGFMEy8cG2BwKwHPSb9puYO6ahjPHmCvmJ6K33rWOTPZCHkT
pFR6nTuTQvU2peszlShd46dF8bWuotDV3Vq6Mp1JYaJl9gHHYBnIDxeXqYo0hWukSstfgubdEiqd
ZwVMiIz0ZAe5F76o6aPp4OxUZbZNDO9XQRBP18Z30adAq4R2NATydJamCKTSLxodoClFdmmr7Al8
5/WFaebcW226kb27xxu98oSnUJBTcTRrJeiF+uJSU9HlSbTyKyqSy2C26x5+VI9NEWYlqErkC7fE
pb1kUbJKybSxO7xgWTrAdjAy0jCjOD8P6R2WPGmizP80xZIkJCP4S6yxoBgiLxihtL0+y8Y36+Wj
qKUfc/JCWlrjR2VoR4AOKrW+Fxo4R7td6Vdtlz63WkSeVG4m2zGxTiwlZoxyVnSyYboEo8JyMO2i
IkhGO91MoMA46biuIFwS3UX8R7hkUH6sNU/ZncT5kkmSwJbqpcunA9YFFp3YZeqFpIWhDnUnOWJ2
+jWg6eBUl1SO437rGlF5ghq2Q2D0fZklPI7MTA7aMGLpSakM6rTu9hGBIsRIpNtYzs0NxRtrIXbb
YhLC71qnpzU67N0e9lMUvQvbm+jzGA1ihFrQF9DGQPV6rO+g3eb4bllKhZxKObQw1I4sjaDOkkEK
/yw6Vx7LaxFX1t4w5wNR6NEmz/HblV72m+4+fbmE/NwISk8pGendTOt9KOQGV2h/T4Hf+1Mes7UH
qWaaS7krPPCui2CQQ33BwkM9JnzEvnLppkKWk52aXaxYG64x0TaabY7PdUJleiaMlzKLasJ1o8I/
00yCj5BvJMN5TxH5a2ih7NYQ+p5qlR0wogOQWm700qceCbgFxIRosu+siK33JFsYdJX6txynINHR
ZsEmAEkLJa61RHZqPbZ3iMcEyoFPUXnzqYK4CN94q0w6G4Yoszgmidg60jZOozuK16ZtYdLMm0JZ
zN+lo10RtNk3NRuxw8Yspy0rLz+YJ3U8iWpGYS5nk9oLHwO0vVN6iwzOSQeaaffBUtvtme855Ook
brPXs7NdwNAiDS+5R4YKvRIBg5VabTio7RzoVPlpXlsziFLpfXRT/tolk/d7Ao3l6dW3eXTrO626
lcaVmWels5xLkpgMBgoAcktNzqRVnlt05sfaLV+T+k/skqpbKbQmJ4okEwArH2bvShLkNAWUONXe
biZWqE/m52Woo41uM7TC4T2KctzbRXMEYEwZJjd3o0Imlnop7exgCJRPuk7Dfiyakj20wdwV+1XL
dwTdAgikZt2SwnuJ6M5QCiyo1xvvwNEX/0YcLEXs4lmZh3s36KZfpDQrYwMu1OLS5s9Efawz6wWH
UncicsENasoW8M9040QbOwopC0/npuRACBH7Kd2sd4izSBQK9aOx49TXkEN9A8YBILf6Vgm2QZ06
dXCB3d7X1w2p7qI5mBqjR7GnfzMXw7sPcfYiNblcqQV9N9zO2GUe+v+FXXpIgPi4zTEzb4rGnV9y
N3onqYdiXl5drMZww5xijW96IJi8ljgnpnW0mOI4KWMSxEt0TagF1vMgL6lsL7Mzp6E301wCigh4
y/PmPXMWKVTKWm9vXbEdEheEEKjEJhb7oVp3XFXxPhm4sfKYM0Sxp692GFmu9QvjYn1bTCO66t6o
hbbVfY/pSJ3chAxVV0tUQqUZWZooewXGDZS6GzpSyvV607btcJARYD/8G6wjKmU50QX6qST19MRC
jA9BndF25uu0JH8WW/tw2gXxodsGyuASHSyp+M/g6gboK58tvWi6ZKXc0KGsV355+qxLtd5YFPO/
lzMoFnVQxmfR4PDWmFUY5617qyB7oxxtPfXJu+zmMbBHLd7SlaJy3DHh5G2UnLhAX7l2ukNUzFUY
pc03Vo3muYo8I3QX7ZeXp4coI2hRpiCJNcKg0pM1MMHyXdM5QRI7zorYO3N8LQH7JwD+2x4cS0Yp
m3IciGxkYqqXPrEXg4Ir4ku75gTkdLmcBFzpXMi9aQ1bmdgnL9P2tRdzniBqIHEA+cubSgJBvSYR
PCIJyCYoPStIo0/WJN22LllTTbzvkTSDGmTZbDc/qmZFUgvK/mzGezROYB4EPFFq9j3Y64mMhITq
ZJqaPwqNq4bChrFTqc7pA7pYqhyuXzW0d6ReIP9p4a13r8iyUNuCjx60sJgXmKzzlc2Fb9ceF7BD
f1NLuSq6qvOXqvrKy7Ta6FqDWFmqr0mPytOCZS1XTFE/yOeMYMCzviKMPCnel1V1Z4viPNFx3yfx
q7uynB4/vEqLANbJHrnADN7vH+583IwrcxSQ6Xn+P9z863+1C+9RN/T9f3rkX59fPcBQgI374+L+
ejz61111If/phf/h3sezWuiQB41Bt1pRWM36I11xWY9fH7eWlXj1933/8pQkXjlaj4f/5TmPV1ge
kKx/+T9/v+z/08PjCvIigoSQRmpex6FLymNGEWbeyvXm4/e/H3ncB8VPWSJxaPEaIHFUmvL49zMe
tx739dSqqOxvPYs5b6N7pdx5Vvrz8YqPH5U+UCh/3LSLkecwJBNPDg8eKpFI182f/qtp62aXuUZ5
lENUHV2rJ75C0SnmRvVhmJf/eIv9+i4eLyU8+2NohgYbOxdfNWoFWoypOD5uKas2uBIRNf1qLQ0r
hnZ8/EDMR4TI0H48/hQNdDroxIFQzOOPKquC+PEAySAdYkokgeoEGC3uynXt4NSU/SwvAbW6qi0e
tx6P64vJ4487H787PdYkoiK2fz/lr5d4/P4Pr/P341W3TIcuJS+3sQdmpx6uJYCDhuLweNSXCFeu
TeLAJlu/AOkSZ7/NUWoR1YHgalwPaRspPF6uR/Px++NWq0SD7y0oyR73PX6YK+XPYJQHh7seDrOC
XGkAHkFhrg8h9a/Hd/D4kaxH5O9fH18TMgqd/tqmb7Pcfxytx4/HY3//+vhPJhzHvw4ouA9mhsfv
j0ceT0zBEm6FdhW24YsIwD2kb3tLnTHwWosYd3dDIjdyuNF48SRyvay4jI24mdr3xNPCchnODUo8
tdQwjbj7qJsJINNDoox2VaYE5BD6JfPrDLyZzmc8DgwB2p0uIsjH6gmn66lM3h2gjJnq7R2FZHjE
HLVZfU+RYUBTTeYQg+PedsUubmUorTaQJogmDcKnOga0KJosaCHBZPWwYxi8tWbjO/qfqPzTLUlQ
mNFhtnTfsvh043itI5eeEp1CW+7pwQVNRvoB67myT3e5d8Mc46/aP/CD7byF8CxSuVOm/Zo9Fu3i
PnqaS+VTts0XzrHnYfrE9xYkbHmzvDwbvROUVbenwOCX1A5tszhVxJeDUZWnCYa97FkIGu0+U+nT
Fykfgh1M+TFG5tEhp2GEKYx+6UgJKaxM92x3U4ikMBSp9nMq5tdemF9jEp+X9rvRT4csis+anl2Z
0G59sbAjmE5DZx7twiHK19wY5bgrHfPczzIkIT5sK2Qb9YT6Ajw26Rp5fh0GphJlO2n0IEdlNQyx
DnDuYnHfhqJ6dguEDXET9uwfNzIZXlgHI15fqEKaB3N6l9musvNwwXLYT86hKsbfWa694Ol5az31
RuIH5kqkZlDK00wS+ifvfQkyzDB+TaiRVSheedbzb3lDSHypExDoCCWFoz1RT1ar+DDJZo/lcJcn
FodpR7NtW+2Mwg1TfQncy4Tm2JL5GTXpIVf0fe00pOlGqB3GNRfn6Mj6PeqnU7WkO8rcvqklex3w
xjxdGzul7K+HZmFvJeXUxpuehV5fMzTCmpsfF6W8eBN/HRuq++HKbF+xCsDMflSsD2I/glTRwT6K
i4KYQarOyeiMl8zuDhW9/QxNrRLNJ3Y8l9l4Iy0nTFz9JCP1CZbzrU9RAIOO5eDuZKIF5fc4Gffp
DN1VJVivh2i8+PbEgVGRK857z0PObYpjbzlnyy0vrZGfS1c/2H1yyVzrVDmvszljlVhBLA7CEMoN
XfLZ5/EHWhRHZaiRc37oTf2Umfqxrtpz4xqB6xD+QiPQ0tNNaTbjhlbEsR2pBShbKZzTAEcRSNW9
giuT9e/m9EOfjUPSybOD0jKe9CCuGXy63o9mwK1i2zTdk1pGjJnJzyoxrkPJdOfaByneaFcc1NHl
MmCpOc0na63uDfI4GlQozJM6Onea+bvMHg5LGn2b9IEgHeNK+eDIK39ZU35nR70xJkIAqAKyeNlm
8fKsdO6a7Qxln1iEFDR3owaY28K6hYQDzR2UhqU1V7eViKPJs26c+1KbxxTHVV2ZR+m0z4obv/RR
j5yxZK0FADVBx8NoVUZ7Rig2pfRF5+yaleN3J/6zSFr2TYXSsTuS6c5XGyqcfPYSPcf98NVk3Ul3
ch9krV9LnVcgf93Uv3J9CtVEvYwLLhio1y2WjFwVb008P1ep9eEV5VeaSzb8IsQM8oGqek/ZcjvQ
6KxldWid6ZSVEa1VKnQTJUfSBlx5U3BHZLTzHfEznoZ3t5Bv7BtCrRZ7WAjHUjvjFSTJpTrLcb4M
TnQX0jp01ELM9lxG7LHGLIB1dcgsqNo1o3tqvmaKfNJRUqXLeRJ8xWr5VrM5yKjAeNbypPAVVzpn
kqI9OWm6F1oUlrVNB1IecyMO88K7IKp57pNyl0HCNTBMxU12xXZ3swfnzvL1SWju+yDEqwkm0YnK
sEI3FSlaKBRxGTLl1cqyTdUUF8RFMHnwyfcrz145ZIW3o0EdoOdG+FxmFxjW9t1R47CS8bFCeYFW
msKodojL6I7B8WqXerjkid/DHi5g4fZWSBLGTqVx2SwTROWBYBaXsJ7kghIjzF20oV6Poya5jGN6
mk37RmP0zYhTquK5iYXqVFngm/Xaj+9G856Mjd/ZbPQMa6eqeWDqUShEHqpLFZYGApPpS2mHcCye
G7Eca93di2FhflKDxyluZO9zEt9yrM1dPuCdI5+mPehVzyjT0QxL/VyTwaLOF42zQAzzQU2JKui+
hBu/omzezdZ0oJC+yZfyXiXDwajUlQkKzBw99EsKlDJF5a3iZKgqGNhRuRMoK+WJNlbRA2m10FnH
5oUOF4hiGWYVgVrkSkrUElrOvnwoznkZBVmWHM2x3KVSfNLE+mVG2aeNtEx05QHG+ip54JwGtu0U
9yWp3lIqiplrBqrbXMp870EATl9Va59ATfbGZ/eH076N2a0RAKbpYO4scjQiY6fJbw3mLIQbJZfR
1VTzjW3ot9K7WzkoKE27Eet9p+/63HT5azJFByJt2ZLovpZe6Zl6Rh2CR2YZv1Zch/itdquPqhaw
leOtiOmeJ8vRckm7mNOLy3gyz323loUvZmVtK/yeDt72UYkxexsbpFBUmZcgtirOZHj4ib7jHTtm
/c1dylvUJIGWI4rJKCEqgW5PB8FqQuwtWZ0Ty9rJQ+nYuya6oIzZmHZ/1+jdCYMlpjkcbSO5Wea9
1UkmcDvYKNkuz8y9Oem7Uc93CHf8qZsO7MdCW6WzYPmNSeUyZtSXxVkVT3lm7efsmEz2oRrqu4H2
KCrWhJAXj7iX1LuZ0ropnXo01SxwkeY39Vavp53IP2cceWpMOhXAfzce/a6YThSm5wLVgb1sR/s4
ESMjhX4o+/lSt+axGeG2i+Y7u+bcPE5EMFmoz919s8qtm3UMn3czMxpBGdiNo2Nclqe5YYpvlO/s
JneJ85zlXdCgqe7rkjr4FBBYkWskuiUm9XTKle60raCnNLm3p68dlCbLr+jQw/zGbulreh16mP3L
8ocbofrVkl1B9dwmvJI8pYsqWgJeRt9zBd6x5UkPDABktfVsk+br0KOpLHEoS96oYOMcVQFkdOF0
T8gRT1NF82GefvbpcreV6rBo72AbjnOs7bN+fk3s5Wy7FGapY9opmUXpmgmcHVvSBzTDOuQR7JzF
CUaiMKiAUWa+4vE4m/KjlPUZKy/jUcZeYtzBYduabJFmqtwk1B0wkDGwM6bg8SlXLT9VbNTEUWLR
xZGbSd7GhSAhswoU1FF0MXbEOe8Tke11BDKmwvCdvUzkNUaKOKhReckbFt/4WSk4vfVmu7dIqy2x
45HgVFXx21LJ22TWn/C5XlzhUO+MA7p7PrTFTd1/6/TBHzASSzY8DfNiO5JfPB+B/O+GFRSuslJm
5NA0yNuW9tam8xZbIOLomj8swupT0/sDoR8hKNe9bfyhmucbanGe0/hkpPM9Bny9RNOZF6SVEh3V
iEtlTQnImD7X7Clagi1iOToNQxfEFZ1sp/JHj6C7iZ6ZbQVxjIU7z4h9kv4CvaPzFtQenj+7ddD0
Tzm1/AJXZWkrvmVMJ9VFhu2OQZ9ZviUVLG4Q52t1Z2gI3fpiN5gJXbjmrWIympZd0qFViXCDg+qf
SnIJ0smvnYwzyT5jnjnpoMJ5aBhXeF0XDCrE98Vh9Rq/TLim2pE5qgObM6b7pKpRY9hPylueskdx
taNbIDXV+31v0YEyWON3B4Zvir0CjKUBMOUoK2Ujh2G/GCopAMTqTA3hV2SzLnMwYlvVcQ7r9c6Y
jJ3jnqyOvD1F3SEt3AnL29MLG2ILUk95pFKJnoMeCoh8tCWHOK+P2lgdIlceibbzPBEYOeEUhnZO
EA2vHzuHb+v21SFX5bH4nYxFgK5YeGQu6sa+w9ygNHvTacNYGV7AHH1WFWXWWr01LssGFrdVzSjO
rrHGVN7MSGcH1urdhB1F7nKLzIQJgdb8OpGk0aDhSjr0RR19tBQZb8EGp+VDkKCGrNTvnXyHb2WP
03du5cFkvagxPgtzuTlqSoIr5PTcOYuZMBnrNSqnHwSdvWe9d1Tb9qMunvp1e6QaLzkL+F5S1/aI
NFLn24g3fULraP07c2eyHDcSZdkvQhkcgGPYxjxziCBFagMTKSXm0TF/fR8wq6tSVJZktWnrDY2S
MiUwALg/f+/ecwfrrrDiuyCy7+2Q+I9KQ87LCxTH56Jr+DnKVaZClnZ1tEzzK3Fue3DT9M9rYf4N
HxkwtXrmlokzNvUOWSVFVGhvk35exojxrcdd7OrnOfyyJlbA1qiSGtZ2VsA8tlcxJPhxDDfUKKfa
OgKuXHdVdJYlE1/RLUYhGAvYaySWW+UpQnm3YWTsOmCEpdXsSpVgkKq3g2esprFckV67DdJg6xoD
Bxf7kSbKzkJR2RFXkrM0myFBKZW1EXAAyL7YtMh9ciJ8MgKKHEhOxrZN7EU7Sytt84JOaJtr53ay
VnH6FfzVvmfDmlpr0xhIIfNqWdt0ZQxzZ6VIAfJidsByWB7W883LGm2FvnEpO7I3YPh4/M3O3N7p
2kNEVqep3QelsbdCjw21QTQPmgCgq6DSx/Ljbz+aP2ldkWiiGCEWjUkDioFUcYjyLNbXH99+fAnn
3yQbyl25tZmAT0wQAk5EC6EEmP8IKcI8fvC1aY1TuWTv1ok9wcbPaC6IjO2IrfCj/fGpG/Lfv/dv
XZSoC7+plgvRiApeJAzrV/6gyPhQydfaMJK97OkO/VcDraIvv8SENvKB0EoS2LIoaQaQntam01pn
+3eHzVJ49f/ufnltSMpd4XJs+r89n4+WTic5vMNVr1d6QZyqLAfGSvLSjBnvdT17JZqsfwkcXZDo
hcmx72L7CX3y0tOq7iUsPHffF2m3qtMuezBl85wVZHMwRzROZqmrL3FJUFDhn6beIbMUVMKx8EOd
xK+ufokyjQczyJ3Dxy9DhkdJaIvnqh2y8wzS5AXw6pcQAttKVmm6//jPmsDa2oO/tdDMLoewbTe1
fsfBWtxNffMKhQlHTCoSJO5uvM2ooTYDU6gXBwfTWLv7kNPgnYP5/0kzg5VTEknoKKNYp/gj9qqb
9l7J2aI2NfMxUSn1ih2tmqD39x2JCegbyd4q424/0gm46nmeYl8p3wgwZX4zebwU5InPMccDW9xF
ygJYShokW0GXIo2IDKn4CR9ElV0ReZprlKGNYYtNMgzazRybH0Y/qnMokMNmMiPjw/dfSQPtVnEd
P/epC/0gFdNxyDr0iiJZBT7H1UaUq8bwT601m1b8VYnJPGPhkzQ4Q0FrNHlPAMnVwzLwmFWdyC7U
gkOhExFywv4dkSAR7Tti4Pttznln7pQuu2LtC4and66LFmHdYHoYNKwVJ5kTx8IZp4hyEBjxukRV
UBBzIS0WDM/YBvhH+sK4YmTcQJEhUalhfsnP3cm9Xkz3+EtolY37sT53KDLQWx8ngiXzWZYTT+gk
kaZmBeDyOSaJqZ9jLeflqqyqQxo/pH7B4DjG4Nzv2zRfpR3Pgqdtik4t7bTdC2jxBjwIV4VrHSdK
aawnorBGkGy52HkDx7U8X6fM/4Mp3CSOeehVuNPo3ESOu570etMxU6FZSytw3GXkijk/bE7jzFYu
Rf8Mao0aXN27yFjzCVQFmYA+w9si8TY2+sW8DlaxjtVUi/Z4QZdtqVZF8NXCsY/MEFOnqneJ8JYq
ZxIMSCNkhVzmX4HVokgsiWk272lyyNfMf00YzwtcANFhZFfV9zaRq+14DARdQFzMvVGttPJJGMfS
PGMQ4NYewIkOzGMjVqdwY2U02TaFG2/0Wzyu4vBW2/dcCx+DSp4G78Wob2yIoL3AryxicqLG9trk
rOziJY5mBYtcu6SXp7azacaCCJ7vTFiXqYbi0vrGd+KJWhoHdEp0q/VkyIOD0KsOvkjeqwOKZWJc
1HHU3VNujCsTrIlobW1hECVGYp/nUKlb5AI1+6G03gZ3JHKt+YsDlYn9XJwA3D+ll950T9LC/Vre
9diclGheqJHor9BirPDeoK5Q/lMj7kr2mMYDelDfj8iCGhdZVPZ1TspIdxJ3hVW8FHyYc5kfJhEf
qrlxNINToAWuITGXTS12TUzOD9MrlGa1w79S0KrVUmvlxu1DIiYmrCZu/JfAyHmztXvL+apTqxTd
MVGKk0GPhj9ZtpxCsU0v8si5uaOxz4KaPLnh4NrVw4h3YgqdXRcjMQvHdl3QlXWtfcH0XQeo10rz
7NnFDQcsB26w8Hq1TSf9ITD6na6OheVtp0TfTzz+bZUgS/W+xLWg6Toco6E5h8W4m/kVzcoOvI03
dAunLxY2J+NyxTKTWDt8RiBe6nAXoZFhhp5NnK4JZ5+uXftWGtvJ2JK12bGYBg/zqy2MbWrm6LV7
/Mx/hfoNtUdAtm15cbSLb82ezEuKnDZZRO+Aj/prCYy1X1vlTpJwZB4xE5IJ16ZPkfvqxq9d8iPm
/VA63CUwZICm7nJ3Jj5lMOyC3ZjSmum9ZI/dD2hLdxup0eOGaNn2yez6Q6R4cXV/g5Br0zUGUxJr
EQZ39TCdSaY7pTgXqTA6zd9gvN7OrQbNki9ZToYtnsA8QWVetmsJnHYh6ok1DGGStjQNG99+c/Z7
l4SZ4s6Lqm+H3tKfsK59RY3JfFRdSme6mIl+Kiz9SLcmZ7fo2vpaE3Nv9hqUqPI8mPkKU96G0F0k
M5KnOb60aBk69AjM/VdlJHYO7sXWfUzj8wfGRnX3BPhonfNUjngCTO/W2jiZWBy/+2PtPbpmrw6O
A6UNk7v+DSi4TfrwzsI5wiHP6FdpnckT+XPlJbPhhMjOSd8955S5UfTmlbj64/k/6AXV01BYRy2z
wxXLMM3W9OxNtvEuNEoXpPuCUXEdHP0ithEtOOGLm3iHj//CrpDj1J5VXouBd8Ul7mHZW6T3ZS1i
LMcIykPaOc66YUrHER3iFVJy51a5hn4xvfGKvPmSGqb96NWq2FYEsjGeL6vXovH3eBjqG83y9Bzo
OuvOzBJK0hYvdl6I06SM4MmZ4E+MTomZprq6tt1i/XLfCfINHoNGag80bu11lu+LMUSKn2vptY7z
9Bqpow705PHjd6RuNutBuPr648/SznZPZRrc6+wovnCqw+h03hkcA8eC+TsOat5Z2Vq3HDX5jQnU
WxsOcbNJpxjnZf7xVUeydFQjhpjYjW6uhghs4WPiOLjzl4/vAi25mLLydq2W9wO7efdXPQZMJ2Ms
+LYI1dIqPURnJtHxOU24USdlrTCNEwhq4/Tx3Vj4xiIN0mKD59Hm7C8RBTa1xjJXow2JvDPPBZ0F
i2w5ilyWsqnBXOr6iioX+wmTAYYFahgfnRbbb8Lgf9llfU0CadCx0WhbSrv69vFbFID7Lh7quxiT
WlxC0jGBG2BrnyOt+KVBqPUmG4Cvf/wSNs3tQ/X8/0z4/ZM8/H8CD/5/qA5Hm/87efjztxyBePtP
WuDH//G3OhwK63/AAkWCLUkvsS0d0l3/QzUIwG37P+RsR2M06oIImWXj/6kN11CAf0QMePDHHdMk
b+K/xOGawV9oebCoPTpMjmWQHvC/UId/ENr/mxgIHdYVc5IP8SqGZ3NNyND/qQ3HOtFzeEZeUnVU
wq3ysoVeRNlJ2JmCgwI4g4seL2lmXIRdZ8u0xthvBVOxNxDRLEKPeDVyyO9zPzaXhfBuho2zKtZZ
7Fus5FMZobTEBbRuSQXeiTgjmF2PaIrlNj6vfrz08RRyTqve67RljDTNbVzffP7HLfkXpOC//JgG
+RBkCfGhWQakxZ9/zAGUiCJ/W10LCyVmEdMOKv6qW4rSOmWvsWatKknP8mh43QYoX7EHJ8MVCryz
TTfQq/bEucYGskRk5HegjpoKJ5tLNBUbFcPBmEYaBy5gTp7zOCgQQXrQh0dWji8xZtAgYuCpo5vf
mIG/wfD/9Psf8FNmxHwfMX9bxCUJy7UIBvt0H4eKSQSm3OaqQ8Fb5YJg3sCMiYkNtGNtmTEyVHqk
ZDUFZ6O/BlLqOIdLh7hZtVbSRxMq/bOwm+apkeYu1l10Q729CGp/2P3hUn+GO/7npZIgge1FAOT9
nNaBtTHGl4QtPOOjX1YIIpdRSQDJEPQpE7UcrVq6GyeZXXqDXGjgStnGmPDuo+IjYjUYHpivvpUu
tlPbefjDxf0MYZ0vzsTqgPDQwTMB6PsTWjcZ2tQISB28+oHZncwE8yICl4Sm/oMU5AQ7DTmgnrLB
E/GgLak77VWkn3rXHi+t+TZafnQvcu8sI/ApObSEP1zfrx8eycUm5zKGHybgzk/Xp4+0q+06EFcr
IAqTLJQvnePT0TGt5hjR9E77Ri2bpLZPWsCBT3pOubEzK4b3IOGJwK6Y21V0XeJTpYGS+v3lffIy
/f3xEQVkSgjpILa9zwxb3e7ybEqNq5NUBlPnlDo+d5JV2FLxWi0q1lbQayzybW02+c1yEBsu1Agd
KUpjc9FWZdAsKhfVauGP6dp6dwNHPMDlVUvhE/fw+8udX4qfFz+WVmw5pgurGX3Up0AXJ4xzCSnK
vDb07I5xGUbrJM2OVmvHj5P8Oil7OAz6LD3KU/k3fpddLvhR/MuS5Pzsyvn4qAhRMx1BxoSuS/cT
bDiPTUObLWFXD/bUxtJJ6Kww2SOJqjYMVxkiD0AEzSmVL6TuNhR5KdwxUcSrGBDz2fOaal86pU5w
xF5voqMZehNHFGQDpg20nRQjZnYQOiNfPqOAzJduZj8NEvKF18GdcWJpLztngHDaFY9u8x4pukhC
Ec4dEFTP/P7ZhSPUB5pznhK3WYSDbJYFULGnIjHfEZWvo7hhNiyLkY6M9tXy9OzWEQCqp4X2wFM6
UxVNRN/Ze6Kcd85T9j08hN3Ypde0G7GsEEW1jFvdWFW+Uc9yl/u4TsyNHkElLYgx9mWrNmlVJUsy
weyNHtA11xwtXhUmWWNd0d9PhMQ9+KaY7lOVnDNyJf/0vv3yiHgCAq0j5wgDTzc/7uI/vFMdVrwQ
gYpzDdLUg08zQcloXLXsDVhHU/+sc5hyuxJCRSoOfUgV5+NNciGdYZLJ76EaZoijtHphJLcm7cKr
PnjLAL/ony50flx+epapB3THtIhA4r2Tny9UOFpv8vI7V72FndbGu8TRk3XpbOOXVNb6qmOqRgFA
fFYOAqY1ATj8/mUSPwPheaA9AVhdmFwDQGNhfLKZ2TpjkdDV/Wvfhf6iN+njuDleM+G1swEKNWzT
2usOGCwRXsRNRJxEVn+4hl+W7/kaoK4bZE6RJWB8fqlYOg2thc4RSGRQSYyozvWBzzUNw5Zk8BZj
mh0qTPALo3Lb9QTZAX17BmoVc89yHH2iel1lIQOpFrKTFZ6ccP/7a5QUdp/vFLlOruBURTYAW83P
tYjPJluMypfXCiWtN7bOqeMMDHxqOvZNM+xro+iWAGwxvfrWXQcQdW2CtmRAoJ34+7pNldFXiaRN
TnYVxouAbPGHbHbROo6lHXwNoZmt3SWVRavZA4TaTXG6V43zLdYb++LoE6vDGMKQTGZRsh7nX2lG
Xi0PGqfSjIM7f0neOXqKtdWVxiJwK7nrQgGRBWuW91L6zFBUC7iJ7tFyqow5kJis+jwt7qCDlMwk
BB2+CjJo7cXGMo2m6a7qnlNsJr//LMX8TH166l1KZSIxhOHw9M2L7D9eT8yYmj4p37tGdvutInhj
Pfa12lgQTj9mvaWUNACjmg80bnns4ZzwlgKiMQJNP8Ky2kZV4F68SvvD1uL8unDAB+dpMz3iYaT1
ObJDwzXvKOCGt3akprZqHGZ1SSh1D0iw75l8+ImLD06v1lXiTYs+1JOjDL3kmGrOjya1A4zfMcQl
rcsWpdYXG6cJyTsfo2fGvdN9aJfHSBmvsQFEuPFNe5uGuCBFoKwF/jQwFUkVgqHU7GpTZ6naod8r
F50/vUoAdpcMLvUlzUOqcSmmXSCrq+/C/UzbWO0G5C9ocDoPKUm9qSfchJB2kdPE340Q2VFF2OoZ
XnO3qiQZ4aNtm/du2T2mANBxZBV70wQdIXQ3frQReuhZeopSaZ+iCgKzDZBUFS4YsjDV9y7I5kVf
dsUlaq+JCOuLbtR4HSrw3qV/DV0Y3+gHu2PvFFfNU+QzO31UMcOV06VkTa1zzb3kTWot2yg7i6ms
/7Ck4BX45RnjCMb5zLR40Agjnf/8H8+YyXTQqwjSwRVWvCd5aK1CoYwlH8sl8kH1xQZaFQYU1n2K
DhgOo/ZsllQwHeUFra3+NOZWzT3SkBElyr94ClTzFDPrHg1n2VRBcDSbttl4RfwFHEnEKcwifz4W
4halLeX5fAOKnjl8wuBniYPc38QKaNs0Ah8yzBjCS6GufppvVFDD62G8echb09laNdWUpbfjIWAO
GVsIVdlvF5qneYsogI9SDDDGp+wQ+MwecuE80CNPoEOSHN82h1GaXws9kFsQQvvQbC4O09rHsscu
2sLmho45gDg0BhhyPVQtz4FpZYZpeh6aZF+6IwbLbDjYtfnWhWhY+4Iku+R7kRoOsEEzvDgBiVeE
yIaVT2UTTPkur4p6FSZxtnEhIuDpc/RHdl9meKH2TH+rvItiygHbo22ZBHa4tHuy4grPOOFKiR7q
uOwO0WS+ffwqaikY66ZqF03paceis5qFF3reBYPai3QLDZ/ZqgCjHpAmMdFCWpTekG4jJvoXL6z2
gZ3WayGw2o+Bmy1qXVW7qRmvGRYKZoDaIqxUhP8TQj4GyNBNvaVj9jsNAOmqAvNpVpW1ywN+pTOr
rFoAVvQPIeYZ5N3rDrkZYqurt1G6Ld0wVLmt36IdyN1jYkKQ60tcoF1OsR4PKNYCfLW+O+1trDgE
pSf3zEJDOu0FdAivG+hA4f3qpv4412LpaF7Gvox2gwMfa4gUPtThTleCJ7ZGjSDlFcXohPSTlEE6
aMVusqeOFI/Mu+O0s6rypAFPGc+TCgYkNXINzwWPbfTfhzEsnlzfj5aF3z1Lx5dE0TOUm90jeC+r
7/jOMprvScPo2rRBVKJH+vgiKv7mtG4udCajc5hV2jGT+LPYuDooHYTC5FbxAwvlJdwYgeqYEUfV
0gDPehHVXVgb7RrSgb+jSTwaQ3fU5y9w37AliccKt8GdizfdD/9qXT88peB9jlGo7yG61juBgQCC
0sS02xHPWhSJp8zyPHJMjKUxwk3OoYUfsHGOiy5I7iRd4+eBmT7rSbwOUe2cg+S9jFzr2A8OrsBI
w/iQDZLJmYUQy3LfYh6SB+DC+OXct2QQRB7yDdXek5qaYK9aRFOVcLUdNL9Xpg5iL5TrQGIO75SX
GEe7n9ChkU9Ubi0c6kTJ985DSv9wUZPhuquU2WxkquRS+p6G+pJWp9XW0QHjYr3yRWlvOkHinses
HJUEdOGynodotSkoN6el6U/hXWMP5r7Q5DUYjOjSWEF8sQKG0lUfJ4uyFjn/VlgeoM7UNxXy4ogQ
mxnjAGU77SkZK/tk519DN3YOsH2cNfH1NvDU7AclnoWwXFoPml9z7XFiHitpqzVpY6xuDvqlElwF
iZU5whOzOqNU6PaBH8/qJD1ftV5ZnrTJjB50F9B9ooH/wyDFlABQ7BnY8qPXle6jGAdEvEq95kFj
bisMXota+4GGCbkB2L0j3kkfeBWcxaFymj8kVM1Ehk+1Bp04k2xYDuB0kz4fvYOiqrl2W7tm4xKd
Qrfz8+aUlX69iV17PYx4cf2UhcIhgHRyQwNFGiUSDM1FkObWDmRRYFUEWWdUx5ze01UVgyVxwkeh
tG+dNyNojC+xr4lNU4itprCNWThidugbuiVZCdZa9Nb7YMXBPoYJuclKqB9+nD0UzDUotb142QsF
aNfFeXbshNH87yKf5gqfT8ChaKXm4ixkzZ/QP3bCWEfoULL23uQYrsF9clUdJHWt5sQz48tz3lfl
5Qy4TazOuDrkui9mu7fNL4mjheMS1X9Ny1FJ97E31EvHHV0Gen03ECr6N6jkfzxg/9v9mhsRRGHR
1zTodPx8tUOIrzxuneCW1524kDrmHLyG1qNd4t1lpj+8uMG4Q8Urj33hUbT67bFSpb2W45gvVTRu
eBt8KIJKQ8g6fK2zHOyBHNDh5BMDzrdxSlr0Ns3eDRMCywoGQHXdArFCNwM3kX/UDVLzYQoY9YeA
EUc7KJ809OfemHdrysNq8wH9ik3tdYK/AEfd341e7v4h8/cjDvHnKtmi8UmX2bJhU9Ju+PmTsMWU
xjbwjFtRmbivirc2Qy/N4dyOEOUFrbBPfvGFFI7mSVXMFcGsVjxQfrOrQ6inEEKuqvyuKgwfMHMI
AQCKee+AdWDzk8fK8e4KmTo71JkwNUYZHwLbScEjuKsab9lTV01/0XIo8Hwy8bZ8TP7SLot9V2Wn
0Gmcc0XnlI0i8td1iMdyREL3sYuYVfNcDU28dYW40PtEytzB1sywzNvxl6mYioOdFqgJZbGQU2M8
DX1CVVJ69jIU2rhBYufeGFn/VSpot30+RA8JM1p7tH/4LLwLsNoW8zzVOshUxF0u9BaLUuqtdNzy
YWvQW7DNjv5284fmj9B/PSzPTXyDjFFW5Tlx/udbAs7WMLKoLW91bCAKiduVNNhvDG3Qz3Vj7KnZ
J1z9xbAeoaJskk5+zxvRn+I86k9CrRT70GMVA5BnulAiAmgUXNfaPsq0epWhZc+ZB5wlu3Cvoth8
whONKCWXYKoatYscXle0UcPZqiJQLvcKf/c+jpry2Lveo9+38UPgGV8wzfwQMzpR1t3f/zS2PwCD
Y/vGzHEDQ3JlNmP9iJE03jY5FW7cCmC9SnJKTaGUEnsnV6xf7cK0y1XvJuOx6hofI8Ts1AALipak
On4cAFi8k6PTZ3upd/WDguYVJ9Vw8CiyQP0V4vhxvBjrKjwQFtihzyc03YDgqRvkyegtLqhSqHU5
UDgacQxxQ2r9GXODyN3hvjferO4+SJPxZZTNsFRu02xC3QzORVbcuiggtdQpxuNQz1FqIjhWbXOm
Gs6OaV59IZdgPEaTXq49oOoQRUxxqw14Y81ftjHlx8nr9T81dLxfOzoSsBDzH48959dWbyhr0TZ6
Xdx0cYs7rBOl8gqwFLBtnARANDXEczZZ9Vnzn1Qq9G1agkpx4MlLG6QxGSX1zULbXWXia9x2JqOH
8fABLkzyiMgLBS0nseunwYflyTP+RdhFfk4K1ARNgJyo6K1gjWEuWZsjJIQUVeUu7cDr0ByBqhJn
2qofp3OXB/Wj21uYChj1QDU61qnTrWzfmrNmho1l4V6Hg7kLelSoQYgwqvDaI+OY7KaHCP8DcdHw
OV6rKrI3rLxlM/iXvgzkjiSFihgVbBjCfglDd5kr6INZ4HPCykd+wukVxd9472v9Xga9WGeOaG+R
Bkqgm47F2Mv7DxgALnKwlbzVtf6KuQ2vjwdU3pTPrlaYW0QAwD0RbnlDeSAdHXRCwhMlgu4tBons
LTyTMj+ub6Bdx7fca3Zum+z6xBiOcn7EjKxSq7HqorWhwmSfKuYmDgZWDhZjcisSgwiQjtUmkEzI
WvNa9m74IvPpsanlbL6Hqa6CXdHF2s2KhNoEeeOglWogEzsAk/QxwWfI2OhUtnWxDICwbrPh2pVj
ejKYK64qrbgbRN4eoYX6g+VjnBiK9hTYyXDuISIsOTqCzW567ZwIqkiVQs9AdGXcwVPDSleYEHum
5kuEAv1hsJ1hneYCbRXtun0nYLiHIukfSQzYyxithm/33y3jwaWZj4Wif/fCHxXWiYdmGPWN3QYZ
SMuxhzFi5JDs51PFPOZrkZgty/rbxPxqz04pzwzK43UrOerSkJHHPAenW5cGhhOPoVqSI1xcWFo6
u5H6h8Lu62DhuxtNioUvRlLeDdYBO1Z3RRc9KzdPMULGm8kX+a2I+uK+zIzXkjgC/AGM9egyQ4Qa
Y0lWh5r2cUg/C2UdrPbiG0aoS6jp2FojHxevLu5+36T66OT/vP0yDBEAwqQwiTP83EAIuAdAoIf6
RubneBRWEF3jEcUWLq9ga1nV19Y2tI03uxWF/d47YBhUDiOTZc965bjQHr0+0i+D3mDkQPiUTob5
RfgMUUDs4hTqDKh4hrcyQTiukwr7bTd3VCD6SGTq3AvL19ecyNDIDI3/EC0tgnjG2Mph4IbFiSN+
iQNhaJ6Y2NZHPy31Qwc5dSXmdAw36Id5Kvo0ZVF8J3UZolQCjoiinp24zZbWmNhL+E/dMaMJuIzI
itoCkBXLSg7jdmoGtO2qE8jvThbVqYoy/CwRr1Uwx4tEqX9FIHUaHNXdKLsZMbTJOyemZK/TcT/l
em1tKgX1wSen5yAjaySzDaNU39vjqZ0q+BKaeGCwuSaPRlySoTZwCCFydlpzdi+wcGv6eP39Lf3o
I3++pRRSYNXmg4D7+SwQKn/M8Oqqm6XPca4lfs92DHDeRde898InxoLfZE8og08kap1o7iabPHFz
DL6B7L8pZwbIpDjYd7VxdFpiIUwDHD2hHh2dBBoh3I7fX/O/9EoByjFn8phv6jDnPpUcJMaFDkLz
5uZW5VzyFj+KoIxuwAii+kcxouVMdIWxyGs8lN5Fv7d9ktIiMXwdDdC4RdxnFzrvf0hm9X5t4Up2
N50ancsimvVTcVoGCGZ7Wo43RTuc0/Q2VXq/DtwYmaoWAi1WI/5Ysz4pPPdE9cijV3VwnMdj7k7d
Fu7hnd7jacRDQkto3HcNilspSOJjKTfJK6DyxsDQP4rmaBaqPFaNaXBMGUiPs9vwSHO0oR1M0lo8
eB4NIchajn7x6iPTKPSDcXHuozK9arpF8ky86PNK3ecd0LOGNkOQ6F+DsHgYPCzZMnN0UsJksg6n
wt/1wZ5z6oHz1EiQSi5XhR0mm6lBqxSkIw1LuohIrVM8H8cprLUzMc+rLkvKEwkv1rJz/ZmQh01l
pbf5i2aZ2X3Oe7JENPujDSPMwaN/8VvTuPC74Va19l1POXGPxJClTWd0HVL0L336lucqG9E0Gi1G
y7H9oSe+gQ/XHZeD6uNDXkobRaRmr8OydB+8ApJx5+AQiqnSQUS5NC7t4QsfjmzbL+ngNpcAH9nv
n09jnnv8851iZuyYaAIkahmLGfI8+v7H6RKN+tjq2TTchgSvIjkB20wX7WXM/2o4yj1HdAx7p1yC
cYeMHKY7Ggrnys7QCoxY86CWWpuhs67RHD4cNfGw4Uh09Uz87Xa/4z2kBHC9PzUFPtfx80XzPknp
GETrME3++aJbTmt6OI7DTSKGt4J8M3Ir7s1YPpmjW4O8bUq0DBGqTgKBLlEX7ZzRjm5pHO1VYGVr
VBYg16RvvcguZOM+eHElLlK9u87Unh2TcCPL7Z56VzQ3wmmRdiv7yogYvTawT/yTZCwWGcER7PZ/
iDL+0Dp8uiHM8RykS45tGb80vmGuTTZQWv1W1+jaJE8xaIIvuZFd6KYpVvrRms2u45qQmG4gqSIc
554yqRcBbH8rlSzCRcHZKjXA41VQs5zaR+/WMKlSub/GX0+TLDSXRkiOEP7oCPWMGNbyliSpC+oW
H+zvnzHzcy+f20UF6kFMsaROxvmnxYYh2BiJyZ1uosWp5lbaj4qUj1WgrWMzto9J2F9RxeiLvqpR
V1SRCa6l3id6F63yvuGpJCJmhdy3HYAQQPaccEy02rat6rchGO55qGmeGnaHZp9gtw5/LfkZ4duk
kS7ZNB2O+exrGpFEmQILxo4kqLVkgZ+9fa3GP0wuxLygf7p/HmPr+cgP9NM2PzVAsiIqIZ6byIJ1
gkc9mV9ERiJDCg+oG0/ZYP3wfRjYOoMPXGMEHAUSQtNIBGBofmkgjbmhuHriGDp4kAzxJy3LL2IR
boZnk5cjLJ4wx3I+XZ/J/L90sIXcXPeqDAukrepedYauXmN8d81hCTBNX7Z597VjpuemqI7vnRrm
R9xb30tPNou8/k7+GITvArCOHYWrlOC4P0zyftnrJeYnliVXMmbkvG5/nikr8OJNlug3EQ0/SNo7
OkX+TXPNYpEpXMIhWjc0L8ay0Rlql/pqQAK7cMIq58xbfMea9wY8/hRxPFoHFpoMvIVIbPOV+ZqM
ttj9/gnns/vlrrORepSZjqTedD9frgP+F2egadzGCcqdlVji6OrTJRiBSts+sW2N6SLoU9DIRr/e
w7DMjoOBLDzWq3GZu05xALcTg5RvSZ2pLRh0pYMVywqHd5QlHPGWeuJwCEWmuI9Ekq1JX8OP+qZ0
zBSmEdu7IvTbbRAqlBoVMO4gIJrBa5ycwU2e7gYoCRePqnPh50y2fNWd6WOg2Y/Ui44tLDS/xb7D
LgceHttIsxy7ZjOQmPfelFCZLdr6QpNbxiyMIsUxCZiQNpNK1lrlLYkmXLoQnXtc6oVtPQ1tS9R7
wL6t2W7De6s/84NB6DLq+wElEzoAH56VdU2gvJdTSXIgiZtnxlyavHOViQ6uUzmup/Bo+Pb7QOVk
Wwzw+gkBBck5bwMk9xVD+gUTWZDgYVytTFJCKMOtbVHhwbGh/Wt0msiNgi4miYXVrkXktKtCaNV+
wBJfJc5DOZishRGZYnELZFxrCoupUr0vhjbb/B/2zmQ5ciTLsr9SUnuEAIpZpKsXAGw2kmYcndxA
OGIeFfPX1zFGhnS4Z2VE5b4X4eIu7kEjzRSqT9+799y842xo8BZiInm3bKwuhYIWv3cHsbeIQORj
wtiOhPy1hNnhVhf6LfPeY5m8SI1cwDgaj7YEcu6YySGmg3f/fc4nZizu6444L5XB08iM7rpAhrSa
HEEepV3f4zWMbqOy7Wn0YdJInOIWGTTJAE51iEJ3WtmGTkeCWJmgZcZ5Bi98QDKXrRGlx0yQqWEn
XUMzUEYUP0o3/03JQH3462J3HNciH/5yCHMSu7/UDKIwNUUjlfiBBtlnKFUdlAPiqEwDERVOfjZ0
NJzanCCkhnF7ozUbCvpmY+kFlN7BEKdoktto0i8c4/Tr8ps4UgIRze0pW8IIY5rFm56l2G1ih77L
ZCsHQ8vTVTOhsuxwG8fiNhWkQzYtV9GasyQfp34jB/Z4trf02oRfuquBPdXkIhwpIp/qjKxAhsMf
nISsJhuNFub4x8nsC/K/notR2CdA5vYJrjAYgegr1hrlaWqdBxfwymHm/cDIyBf7/opRX36WHSah
vBj3oArozs7mjTajUSor/HCDmKNrBuoF5Cx1CIzIjoLCidwbUIp6WAF/Knwp9fny+UOCH6xmn0G7
mZo42WVT81iJN0lg0cNC/WjWXXNImv4lG2yLDRl7aI9ZG4cVfmMRq+IhkgkhdmC0yGAa/MYuSfSt
bolJKu/oFWD1XVwLKmk7vmsIgtda1R5mLZmvCYjY9NxZzqOjkxeNT29du+25Be24N6GvXhf4i/52
q/x18bhMIARbpWt9qz5/qd2sdoF32SfDQ1sWLrFo/QRQGA8jib6BMZES6RILLmVe+oUhVlPGgZMh
ONkOXRnYctT2uW1+/fX27fxTgcJ6tik5kDGh8OTs5nv+UxE8WcZom/3QPIS4SPzMwvGvX0yYwoqh
CifV1wjt2RsSkkdG/hLzbh8exnHYhwmdN7N6tkH/4M2ArCLRwBSMhu6arCK9tLv9Li27UgrWto1v
kq/KvfkJ3hmDW/LT4ml5tZw8BJERnioBuQKW/HTb4LlIpbvvq0heh8ls3KbuBW4rdDoGlE/egp7p
jMbY8Q0pbosCY8vgzsqxsXX7nIhKP2e7so8jMg9gG8xKIq5GChY/62s8yUqD4HIpvXjQyYUL6TSK
QUybuNbCYIoMjYnIVD83Zttcs0I20DNJUqdqiZlZRpXsHkVLfmFajzuHhn2BPYYDY1GY9pIdiCwd
oklhdMdF9AclKtKPoUs+meMp+MnIHvvO7lFqXIkUG6TDDh3JN0U8BUoIkuOvP9xvBdxPBZnj8iNb
kOIF4l1T/+XDHfTSyTnaqofQIPTUxfXXLNuS7J80Vk1k8nm7JjnKuZjkNXZ/eWdGOmllfdRxoXyE
XM2DehiNvt6DudtHqh1xW4/QIZb2NkXyvbXgaCdG3XuFRnI5R9Ff/wD6P9UWrm1jFWBow13H4LL/
8+oMq9i0B7ryD+Rar6a2mU9GDW+SHKUfFs4joplgNitTeQpR5BzUkhpILS26zpy/l15wrGfdZ5o8
R7hYDYvFQTogI/6RC/8s6MOr7iv5yhhOuXRiT1IlKmuMolArLicucsEmgUWbquQ7Dr0CFq7AuRU5
4CCkRtMKpe6EYej0/VP/f+PL/Vx//td/vleA19r59jNKqvInGwv3iX8di+C9tm+vH5X89f/4RyqC
6f5moNxHQq8jxrRRO/5hfFH4K9o8jnYR7akIoFlkf4Qi6L+htOL6b7tCs9maeUBk1X/nJWCJMfAM
uBZXBsTadA/+DdvLty7wT08iZbFL3aBzFWS6wnzll60fyWe+cCYofnwUsK1vh11O9jGDTy+8M9b1
ECRre/ent+f0+xf/j7InJTspO/lf/4nU9Ofz5vcXpQnsIn3TVf77+enprFADNGMqvkjizGPasnUN
akvIB9D4x4yI08jTiULI1aPiYDAQvUnWCp7LfO/Qt1+Ah9HW8hzGA9lyK+S7VM8wKTdl0+9Ntg2t
vjKSvdmEG1UQf1wP/daSrd+WmB9P45C9zsnohei2pnxYT9ippRveFmTWgqyMyo9qXN5cg7qyrgc/
khPoDgcu5SmeCOa0Kuw64caS2FbDst7NC8JFqslIIcstJdZBxR4uJVhz6FiL8o1gY92B99I2zWBT
k6tHUltoZlhwY1yx1XqI0E3n6w3UlrDZ5SPRzVXujz0hYa670WfFXwRcMV5IQeyC5XMt4uuUIXEW
qw+RTdbdTanT/VHI7CadWMWbPr8irfaL1AigCyNyxhMPGRkkBTL0p5R7grROmZ2gCxrWtU5CHHPq
G1muneZH2xCMWTgEitErT8xd1GRbRjz3Qx0/mDWyFUhNTMPvEyhVABSChnrICO29k4FeieogDTHW
OnQo3ToYIrREVetRMgRGKDdtva0LvsxcvqRGfZ5Kg1jt+sCFk964UD7iqfhafveTv3aDgTzw97FS
fGYVZZtZwgVrrK8WZzpmX/A0hE+FVeLDy2Q8YqP/IeBbo6WYxQVrGB3vkAN9AI1lflwaFcxq/JyY
bnkxeSc9y6P3XIaZ43Lu5uW51u6nZdhpwvAS66mDf94R1GSxlKa3S0LGRRkHW80drVck+GtoEl5m
b133rIaop6O11k8vWg9la35JoR9qnM6xfTb16JUQoXqJ9xYXJldtbivCM2HJoj38zq72F8P2FaxS
UnZrwVhG00kZQW/cEwELJwRKztoUzsEmgHlwfxRZiMJHI5RQ33btW9RG8PrNe/KpPAWeJO/2dNbM
4qiEQlt1EjiCCaYHnlCttldxN56l0+x7oiQ8t2puZee+KJaBlyBE6qDeIEpb6eKFeJGNTngxrYCb
ZBpvXJVvDZRXmmGmaacdxryDbet+7kYnY1huyTG8jUfKC1rl0jSDLrN2ZslNKypeSdp7gPwatvEd
At3XQVggr9Kg6fpNptsX4SVX0OKom9VOVuI9rtRdLTTiJJ21nJnLmMa1wQUya+XX3C2PYpY/DHXZ
WoZ1GrmbYMc+WHF726p7irtCm6/IzjikKtHZC9HMHcBED9MYNQ3Rbdk6HEJMH9otYdOPYWFvqBFJ
voYqgTx7ZRZ4vVBW2mO7KmgDeZ1tBjmpg9MCfa12XmMyp8DLb5hBXjMDAlU00GdGW964x7zJifuy
gs5FhgRu3zPQ8Wnl5Idq/UYf7noxeabEqc7xm9Xy3Gbqac4cCGLc1OBm/s2t8LJ3/7q3U6eYJkot
lTfjl729nwnz7XU1Csgq2Bb7bJPtQNhcpX9Xzf3Tdm6r+HasS0gPFk7XuhRLfyrVu9bt+yZCiWps
up0WHY1zuJFeHsTBe7IjYDtIV4bH9r4vl32yTv2/Pk5+uSgQEKSq9M8Ql9OdEpZxaf796dXbqKcp
EIso0PSKlfk20L/4foV/q+75lzFOP7l5b+rP8q5rPz+7q9f6//zk4f2/P/9R/v5nLFLBa/f60x9W
KHS7+dx/XmoR2efdH+f75V/+b//yPz6/v8rfVjZUI/+6tLlO3l/b16h//bm24f/5I/JJkNBE4WKr
l3EuxlmW2O+uXsWxf6O+Fxh9L54uPh8+lz+qG/O3yyeGJ0HojqAiYsH8Ud2ov9mqbVKPXFYTi/bf
i3ziO/vTE4DT2LS+bW3upb4h+OmXxqqdY2YxAHCs1dqCwtNyHWtXl/teA96QGIhDWLyheg7igvMk
a06aNuFg5DakOg7hIeNzYpe7YTFBeIsDYRzXs+7S7eyL+xBm4p/e2v+hLPr5af3+XmnfGHhX6VIj
Z/2lu1pZem2Sp0Oqjl3tmqK7ZA5u9PLUGNEN0ryNsZw6W/m7q//l6fh/e8TlVfnsONB4cFSXMMBf
nl1QcPhtEoDSglwVUupoHPdY/Y8RpCpEMXvZEegiX4jBCepsL/qrLNfvnJ2FVMJdklWnWhUFXFn+
zZvxi4fqH98XC4rZsY1L+deoLvrcZjv3fF9gjNbEb7MZK9clnUHZrKahWS3JsFNMLB6O8Xciwcui
+PUtEQ5mRIbDWNV/tdKYoIEJdZ1b9CHoyutuB8fbs4bkpndUstzD2PBCyHkEEK8sAneJEULHlxjp
xiSlCLJn/InKwYQVmHqcWGeHnJt0ZOo6zXe6ujyj7Db7h8GSVyk0Nj1KToXMISXQqNbJNWrRqShT
uCot1XclsReqRogPKzhNfbUAC3IpW9yHhFTvzEFo3oerMKTSWuwHZzY3HSh2B9F8aTU35NYcsMpt
itm60OsCWZkP/O+3teOHS3OQLaWKWZkfpqSMjTVAMs64pU+ClL/iK6gYNqwWxEp/yzf3aIDRsES4
M6mUPIrX90gSdj/Uzbp3Z7rFAzUN7T3a6i9//WBo38Oonz6Ri8CAIRKr1LZZEr8cZCmXK406Iwd5
dIstI0eREd22zL6jFTBrheliiLZulQtmtx7kWvkQx/78aIHmdlcgeQ2VqG4gwd6MHiFYsnsLrhoN
/NcWH9wTpgcqpx4iDLJcqoSEpHYMo4HoA9e4cekCbvPiXAAbXzZ4c33cAN6woGpqGnyQ+UrU66n4
ERrXCS0/LvA03a355gLntHwlibjk3GXJFfr6wbxRi3dQ0cz9SPrmFcFLdoovxTovd9Ds43YN2cuw
dyFQkw4J2FGgQVUJaN1ouGRSGjgbK1qVY0APMK5OvUPY7s4A3KWe20sVvOurm7IMYJHQkw7blSvX
IdTCmuJ73agesnjh3NcJjOKNaPcqntliRqW2upTyzZ7bHpg26VD/9ysbzwQ/Tw3uxiCgGbs/6FbK
tvM0+kL69I4RTLLokvoaVOvk3rbLj2J6pMsWcejzLqGPYygCwSgMFgb5lfAVIuoGmFPER2njWcV0
MFzP7cEa1pS+zAPkR1z7WCT/Zvlcbtg/P9CX5cNFmaOIXEJXvfz9nyqEKULBWuVOtkb/lLlP9njn
NhH54lgicy/RFc9aFh6mAZjdlVkQUyOEn4jlyowkib7KzcIEfgBmbc3sOxcLioFBu3uwCMlRprtS
GYKpEWswj85lR0Rgq41Plobdz/oEYkNvUd26/akpoqAzGHFWajBLGu0TsUT4fZpFWems1yn/VLFq
zl26cvNPu+m8ArPxkqFl07DrjJsZC+lADzbrAiCKSrYaxKZo700wuHOgGlulhOYUndPubak2qnot
yvNU3Cn2yc2Zam5B6RCCDDSb5PGGpj8AKW4ffX5D5gf9/ADUHeJpkkPMQJCEPupLoLsn3b0ewpMj
t5W5LfLz0jyo3Z0xPxnZTUsIDlpdzzaf9OS9a0BLummAMmGFpo8IQ8iZUAETYNOKJDrmx1RQQIf/
KM7+tbr95/qPkwJRqAv0QTVBB1M4/HLGJ06c0owrinWjLK9TIduVXQt7lZQ6ArnvuVqNjdvAsalg
osD7gzNsClnEKgxsbZ6PAtWK2k1Xbu++2SFBHpBxvkJT0DTQ6SfI8D0fwqMpqpaotYJIA/t9TAa6
E8aC1jeWzsqBBDkOuV/ifdn0pfamOEpAzl78d0IEdBS/rGVqKty8lEfmxXyBGOHntZyyNRtJQnaI
0+UNB0QxMHh3scgqBElKYyQGt/8oBLetZFBpMEx4nIewp8uBIcexagRtaUEmDlt/bX44XZYBrTPe
lFi7UiW5faH9NtF+9ZGUTp7CDc1H/+t1SraLI/uk0JT3KJJwqyk7NyXzwtWXDUFn2pox2EpmznoW
mFKQFJhW1UFmJWOgRKYuCMXLUwM5aLFtUm1lNnDWr1HSMroeQNPlEdMEt9rSyb1fJNG5DtPvoV7A
/+spsnDjWE88UVnH5V0bMi4VFXu2SiQjdDrE8+PM51G0JGsisEZNpxYZbSNuuHXmhARuTeuy4Z90
pQ7mv+FuXtUjwpMG4FdLMsKg7EkoIgXKbEPuEa5y3RrbLI3rt0rMfaDI2gmKvEYBq2U418vxLBRV
7J26wPrhKvkBWfbsOYlm3s8QufkMFEKLxVtxidsUF/8nitGgmtv46LiOz4hfnMLcFCdu9Q8WAtVt
48Y1lPGBSOgCwURv4FnqUkAHUmk5rg0HG71i8raa465TFWvPJrSGpeWcU6XoT2M/P/aafiyXsSXr
o9URwi9wZ5voGxZ/E+kNOneejrPdyie9kKQA6v11N+r1um6q7tZeaEGhH3c3TROD806zm1jQXdJz
7Q3OrHnkE/IYmfV7OvaVprdEdaqDH0NcCr5/N/VC8ZJkjI9KKqlLGC7QL+nXCpOrty5L5x22EtRY
i5msRaYZx9RpUX+U0eeQ9nhk6oTE4sgqfFuMzZHAxkdijfF39mgJmAy+Ih0lR6KwyELv43nVmZay
7hyj8R2XhqFbPLQQVvYGaBriRNpiU7buR0jDbee2VbVm85d16m40YhzJ5NwbF6lygXpxf0HhzPmm
zUTLM64Lz5xibBsSt9/MeHM235bcMADIpVu9ix8MdZ7RAVPolXN5aw7ZENgVkaeZ3dKqG3WggGZE
48OcfCDRHbGB1TmvAZN0uQtlK3pjtsd0ZRSCNJmpY9hSuBslKZf1pZQcYgLmcgoPgCk1XN2zMRme
hozNS4z+CXs3Jj4zD8BxMQRxsKYoeum3JjABpTuAWD6OOednmJV+moWdj1+PlhgE9Aq5WBlJsloX
vH59BR1eST9tpx8h3TMdwagDw/az6YvGS3XCa0XWbhMNoYTIta9ZHTAfDz2c4ktZkcOJlpWOYofF
Bj/RbPcIDE8i7zCIan1xwPBfAGfWeTYcg82mzqIbhHlOEEN4D0JhUsmrxVvL53RwY5iDObJwL8MX
fFdVm5E++LU7sP1kbcwjaYC4wH/wgd8r2xWTTQz6ouyrQT2Au9VWWecqpH/ZJLIrj4UYyccgaiQw
e3SDKYdnGQ7VJgyH27qdSZYugsam7LGq9awnYGOXZRMW7ryOeo4MgKhbfDfAIkMacQnQbjqzGjV5
m00kihirtieLvirItSkizBAmwXeObqAKNrUVumceKlkEZZRzbOr3KYTFOmyehgyPax3BtP00MvjU
AlJqW0h09qNxIA0S4hlS8QWMgNXqj2E1mhTT0wXNKue1mfXYmrvbLMmszVLOWJW6CrP0glvR5lc/
CjOS8iY2yVHO0oO/dlOmNVIPQKdLV++bcihxx+VBquD7r+HB+3k44hhhCRRkJ8bMBVtHS9dTDdTW
4E4RpA1NgfxCrmpmMkYFrzKynhudAFBDIjaJVZJP5wZxpdsjujDlYQmJtRe0ggPVoTE+u6KmmjWA
lVryw0k5YKPu3iVF0NPsjoFnRzWaWqg67GhruMozypYsmEpK9HaUVMkxW0mND+f7KyCd71sswKOb
epzjD2X8MNVEwykjke22PT6xbcd0WyED40fRA652a4HgYasQgeARVLTJiniHoTveRFP/QElCXhyt
f18xgHKFHfh3i1ho8g76FeZGiCoGhMqxtA86UEnU2TTVFwyn/SzOrpMGylIZaGTZkgu32ckWQ2sL
RilAO3g39eOPfJ6xbLjKqh5lCH8gWqEso7Bqy53UEdakpZR+0Wn34SDWqjLErM0Pc0ZvIe3lrFph
uOIuVPiIeZ/nxYXw2hjX9nSrxPH7ogJMMCkdY2vkRqFwhRxzDEC8Zdu2s2w/HfIeFrXNzTEpVC/K
sKAUFdhYWRBbJMJDTr2NnCyi0laTVR1J0hw4NNwxRLIxQKrM69KfFkhKHrMpYAUtqU+N01ybfYuN
KZE+kr3BrxG5r3rxQHJXtxsKo13rTr3Bj1oy2IaZiLrGuooTZJpoUQxIZv6UamZgT7KnVa73G4vz
l4snLk7rqBVIwftcs+HROurGMcKXdqDFEKqju9UTKKvxp6rlyh25kdxeeFvhdSr7jPviTW4ONt1y
1zrMeXJIHd1zlGbaTTnE+bBdtH2RLtqF1Dj6+aDFh875cGdAVhG6lkP3YVGDHBUdn8j376iz4bAp
J2kmGuu8s9n1V3ruqlehVad7sw6BvTMxGGZrXhEldhuGYXtAYHIfZ0IF6NTa19+/ZJSr11EztGsN
Wyu4FeDV7BOXpdIVV93ll+/fff+Cf+1+Ahqz0ZfHxpDw0stq/oJPoSGjblVr1bW5OOD8WAK3cQq/
yQjZ6NSy9aiDtmodkk4+p8mxbJ9BvBvXAkV1YJQzZPDKhhJck7ViMxMH5loW+3ji8psNS7hfwmZZ
CTAqO9eA9ZJk1VXd2u7ajAmJLErY017KkYtHnV9yVW5EFlXHuGgFks5o2Fhjk9oeBI5KHbiRupXj
R1Ha3vCDkn3qDtshQkMPCCDxyXUGX43mAbAjdGQs26ukst27souUK7uOD6nC8E+tstfevYRFytjG
XU5YbDpqSdDyeBIUmt+XmcQng/D92Ynqs6bXK2cqBbhgpOOjmx9I9I1AzjXjixrhnotiU3paPWpX
Q5IhO7YYj+jQR7JZTc8VNc99zdrlJyjHPdFlbznvAcGVbriaFLZqd1x2CQzpfVHO+EPxHk4yHreM
tCDxFwzoOoHqR0gwuUgBG3gFIVlVUUa1lHN+m/g2YHuz0yoogye7TANzKUeS4JQjN7rlaNdGGMQ5
SYVZu1wjI0bMEGOnmrpsY7dae85M9+g0NuXXqLwViMK3uCucq6KW9hVco3KbpvpLPz8jYcfgllUs
kromQ1Qa2EFS87bUJgmaliNSwhLPTKO975HublIiXRKz6YNiroe7vtHv5QWLlOfNyu7omPRhZKxT
joIEfkeyJO51qbe3c7NEu5KWGGV/aPmplJIRR/Ko2+O0SVIXis9Ad2xOCn9i8LCdgODaYYQwu1Ef
Uf9bWyN+yTIyUZY22SrzjeLQZpw0DcskoTvUYBtTVkeR2w+RO2PomtRXmVAXq/PTMpXtCgu5oo4n
t9Nd0vVgJlZatNLR/RgJU1fivBB/gQ3SSU4JWy7n41obCVZ1xoszNMQlP+DT52HHMxhfyQhZBQYd
bklSWy/pzESvY1QUWsVn5iTVqlxFzXJmfha7tFBasCFUoo4Ns2Q8xqlE4V4d56Z5FjG222ZE2Vct
pscl9WkZZE07Cv/FUhHoFj477nAO6wkib17OFJM1DaiZtOWkC8ZBj0EPK/VKDjX7pdF9TcPalJgN
jMEhecJ509v52RY/cNFhe3N6Km6RnBGx5WBu7M9hNHyjEegps+Io8AWPc04AM3EpUuef6JhlVayu
yxwPq9gZ9tC3ftRj5UlumFAlxsdas+Atx90p4r1q6zlhj+rfKFDbgUNR7Z4p+fYsFOAg6rCH9Q+F
+ykvsz179ewJId7LvnuMBGa0kozKUn9T69RPJtODZ2fj9m7OfJr0vCaV8KEq8jmHuFSsi6oVKzEl
aIwi9a5PxzMc4rtFqygbsvAT8Q8jePBZnk5ISTYMx++XtmfSl+1iYyt16C1g+j3YlHxHaZ7yEJbP
VMpHbSDXiHyqr+Uz1jVIbKnLJbYx9yNV/kJYnVVAL1NpLLOCpZKfSSIiBDR/iJbpRzojBYuAczlk
xtUYGTEtB8klsyRVPuGFcd0oXql/rw3NeRjL4joF7eSG4YMwoWTXsy8cEl3Gqdrq43Kva+GPxMnf
wcRTayzOSjeVzxAIjp8vKA7S5V0YqIVt860djbsJonTflqlX1O2jbmbnGpWIX5jx3Zgz5y6G8c1Q
y2Nfl8NehsVOofD30uQjtJNzqOmn3Em2eo070sESxKXhHY0mVMlswSUSy6ckuZi9RYpsr1Q+QQbw
IFsVTBUS92IafmX0hiPmdrRBOxrmW6rzKiaXcKUYdlbDN3I3ZdmZIJUVEjPHs5TyXLkg2InXmz01
5TZOx2K7NMtbDhLY77U7163IlQJ5TsmSF924Rqh/uBAdYqPYOY68WZbb/OJlvLxePc9Q/CnVoOCp
2YyN1bXeq0I5m9VjA4wUBGZ5o8ygfYEHEBk0HqEtsQI798G0khum2Ccziu/NjjWzYAhGrSsAAE34
UYjRkwDsC+OhlzyGdYmIVarxIc+nBNuGuCs5veMCplGZDvfoG84aTGIIguTRWfa1Bs7Aq0X+WFv1
GrLrPhZ8+YE7BYlc1qHujEDXMtqCOeUNpvPHJrfeDQd/dSW6Puizm0QBdLHkDS5tfFiFSvJ2x6R4
jgILQsaIasPzwggcQjLTY02KH3TVSy+Vb5qktHQcto0Z9cCsNvM6sxgUcJ5uqG173zRnPsd+4scw
XC+rsAfX+kgILdPrWTc3blbd5Xlyz7FW4QuFaGWI21FD5uGqINeK+CkiN49y/qvTSE0Lh5Gfv4tW
4zjuYDU/TIx8sHGkl9ReEh9HzAVzdoLAxy0f/ZkaW9cWXl+/kNmx6KDlkpTwaqvKp5Zgd4kg03uq
21t+xFhCSTK8Yx2LsOxXQMioo+OCGNe4ACyqdb5bZWQaoBgBFhRNHex+6Oi2QtythWaRvoq4Hpe2
YUKCplFk84YtEeKIoE8TMpvJM8cj5WmT4W/xC+exKMnEyqvl7ftND/Vml8r65JgIN/osupKElzBM
IRyQPcK0K+zFkeWu00YeuEMZRDtNWTBHMywu2EZWqp8dDUwX30+6EcKBq2czLDHVyTcTc1+qUcYu
azC7adqbGVkMtuXPWRqvBVtT6Shg35W1hWM9U+wf1ji/2G7/oajdBoHfCwSiF+S9rHpo9+qdgTXY
H6eXpFTv0nI441S/MWx0oYPzapaK5mFFpvqzN9owkxeFdii8ZCouFiW3TqppZkjP0Zv3i7jYTGOu
H6ncZ3b4VC7bVkKSN1jQtGq5rCLqX+KPDnhdbRKDq7j1I1GAn6mkTdZTM8pMHmXd0T4EKeSU1Q8e
UxwdzetwkULHY/lDxK2PDHVft8YL5LwvvatP5hjD1hySmCHH0hFioG/duvkstHWKYVlZ3BeJ7txb
l3guy4lHQq+TPIjc6W2YumuzoEUh8G8E0yBdH0V/7TVSXOkNPbPLACZC6IOhOfbyOF63bfHUbCq6
BeRTrZpezB4t/4eolh+pnT+kWrNPkpYEHrKvkugYctrYExkIcgbVRP/+ScFKVyukTEgEzwY3Yu5f
RM6Vl6AN6xVdMJ9ZsnBvCh203Ks6K19kToOlFAZbXqK/AbNreN/pcrqRXJt285K0btBOor4xGvUw
jcS/mUsNAIeAM9rJKzLO5nBaOaHx2Cb84BkNWNHBUkoppMespidDYi8+CH3jpPppHtXbGc6ANJL7
bgyPF7PFKqtBi0ZuC9DAKWzYGVhE5aZCtNbELuNbh8qrxSJKIPilvzetBxNSSZg629B5M+ZC82Od
HFHZAtPql6/RKW9ya3yulXpbWglWf7z8gYX+paKNSGEyAprHO+tp5DAYwr7qcryiTsO0Acf3KU1m
WP7ltkWsH8scdzKRreQlmLlfD/JKZTnEYXU7zdOHxc2Wk4ckTotpZkHIV2M85tkkbgyuPIFmMM+w
26cst+YAUfyD6BlROK7rG2G4RdKlBI7Q7vGy5L6Sj6QRCQurVJ5iZhkYabaHSYGENIRyOxi4Nxvs
SmUa3xoq8hT2k0G5JGukxJRYpSIQDcOL60vXW5prSPtSwPTpDfcwKiQKqFX4GEa0NlVm44493oOi
bKnOxtEfbf0lYgX4cc6fMsVwmStE+zqph5Mpu47HHcQibZ1hmGFFNOMjtOcnLMAEWoZKFIip3KB+
I/lCaYFuU4GsKoXUlXa8GWr1pHdq5TnkUPjRU92WDBXV+KkynSuH+zcziuHOXqqnywcWDjQLJUEt
bqKsInOdTtq7baerll4FaZe3STiSU9jYtBLrbG1Ml9ElrmucXr5Zpq/uWH/NA+l+qcocOSSQttCp
4N2FRctqfA6jdyNrr0bZ4ldXDGRg3aabZEWqo4h9BraMPNb0sMbASKLb0sYCZCu23A8VVZuhhV5H
JJpvLwpQk9Drez1eQawJPTnh+rGzryGcLsYdvQjMAj5K8bEMBvy/TVE59HJUGteTiPZKFt+TCvWm
NtskLe4swn1aIHp22OzNKK19FuYlDhyeX1JkfmL14BMkqrycCZVhfCpyjn2naEIcl/ODPl38yzTW
bWoB/FDJmbymD/CKQBpq964JKW7cen6IW0JXcP5Sj7RjQ/vfFheMK8teZfrNDDloRyqA5DDJ6KtE
+Dhn8tU0o2MaAopMy49Cn0/CRko6kPBS97Lj3tzftK3dY2mojoYt7/u8/1qsEqNFeg8n+C0e2uHy
dhJcZNMHm61j3usPnVkyabPjzehACKZBYRe6ttcd+nzyecbDpqN0Wccmp1ZvJlTwzINHU6AmHWhp
K/qbUnRkOZN5ibQcbyAMGg2UgEpN4g57zdK+Ui5ju0I/Wjbp01gupqlECpcGmp/NS75ql1rzbPEM
Q1S/6i55fHmyy42OwJIwOqttY3tmxcEwDpPpl1Z36zjOMdPUg6VbH4MWcpHQXsxpAA2l1Pc4goYg
L2JnlSjEvakTPEs4Am/R1B4xCr6abTpuupDGu5roPygmHlJXa9kPTShughiomCZ6RZ7LMlzMbzRP
0WQ4y0Ze/Eo9aMKlppdkJTifsuLdcdpN16VffYvbUJRDG6DS28lOvXIZnnih7g4rSE57OdPJV0Ti
0lrk8JuQy4JHyrwwaCEf9RaM2aUx/pu681qO3Ey37KvMC0ABb24mYmDSMmmSmXQ3CLJYhPceTz8L
Jek0K1VdnD5zMxOh6JBpCQngx2++b++133s1gKwAVqfOXV/IA7dgVwhYMOeThyChYHN2FTKmJxKx
59wPyZlBeNjPw45MTYgjjUFxmUFsRwYRddqY27kiDrRI+/sh8Z9hYGBSlcYjctf3bmQF1tT2ESAj
Sp6XOcpaBr4fupROD8ATdMr9CZMp9eQBV4Wr1BrGI87oBAT7NEXnTPEyxd+hx4KllgfdbTwRFmMY
WXEwlcV0QGS0Zg5cBZybjOttiPiPAkC41YpOuA7gVum1xJLQ0wOUmS9ThZ2KHxNg4j8RZAJMthiq
FVMXK2warkxsuEvX56rJ+endQgSbe2VbBj74bFYVvdB9N1fbbiPw1QAHRXexmLKowK/CROUlD+EO
eMurXpfPAUFpTDH9dVsJ10yx5xyb4BhS3UnQyUTJWYnKWxFDomtpEYcKcTJtChS3wAIea0IqO9J0
CGWdn6qFFjQJ0nuHCcaeTF60LyURlKf1rJVE69GqrmKLiKTy3q+jYEUbxzYTBOWxX+70rkm3hkx+
8iTK92UKrzsr8lvgh7fBPJWegeI2VoikTUunTAi1a0MWIL1hQQ/qdPIawCP0TaOVOBiELGtxbXNc
/SaR4kW1wjzkAcsAcU1pJI+uGIp3TZXR2Akh9GAW9dtApErOnr9qJ09OoJfmxnMWhdGKfvh+ShBT
tNZro/iNSytzBULvLZ9odoFvWo1oK1pwCgZtIteI2SfkIR+hFHNimyfi0YZaM109fSNRS8MFpIgu
x6fMow23Lii2VosIvhifdHFQlkyHJ2sdifmiLRe8Tsw/NGmQtvUAiUuRo/ckis+gb6YVjBKDcRrc
RR2g9mYWqL30CCYo1DIodcHY4/XXWWT4xsS59IjHQN+d1u+qZn2YipdrtEGmmZZFAQCSlL458Ah4
IxfywB4q3bI6Jhhvcl5SzXI7p9eigCqCJLisupmMjFNOKGZHMCnrQlVcBCB8Nr0EbE8A2zzMTieH
dxbhEJMu7+aF8kRE4R2u2AOSgWaVBJVyW5d1vRsL4ViE02ss1/tES4e9NCOfl8PAMULGfilSP+/i
wLyKFEpGc9nKS1FQRJBVk10a+VAfmWyVOro3pJZi64jDMLZ7lcNiNgxE7UlofwLhNa6JfDMES0f/
V7Nb95fNYvNS9L7gzQpYBasVHVkrlIOcmFdkLcEdxW1iZ2ofMaWwD82kBdoxvop9AR227W9wxLmo
MCc4cjfpqAPAWpLjJPW1qbB4pqwJscBKEXXy2xwDAUSvlpXxbTfSAIzUlEqtFsVOWMbPUk4mvYgE
Jmvl1wmJhNnT0kyKAYoGlL4sqgGnxckVMQd3YLQ5qLOnGsT+zTSiaxTDgRuIWcGO1H+VAnF29BEp
fTL5+zqo2Ky+KVORbyKxnxcUsDNFFCa0SnYnEryd+rsVj+d2iCMSlI1D4UenRjA9SUGtkKtuIzVP
RaZRrHqfDeOUFwi4ie84J/F4D9WXYC+feDv4DffCZL6ZsfykKNXGCBFyIJmYbSRthiPFRrsWhGkn
gXG1ZXR89IBOs07l1x/HlSnM55AUmHI6WgQjCjMI4jFvtvMP7Ep0CsVYoH/5YajtsSXhZK0KiJCF
yT/S9IWvVCCumTZq3RebKjPuxFGHJ76wkoWmhw/V3hgU1BVp2iaplq+iXGi8UYtLG6MLx3ACGXfS
jOhwmNNdq4kqzleyRpmSoAPKIKHLUma0/PjTqO5mPqPipox13HQiFMCmSdrnUjz0mf8e9GF0U5p9
Q05L/VGO2OKBMKzlIEDFOSFAM9rBtrjTBYcU58ZLPNfNdmhK6XZq2DSjAaR2XES3MmIJq1LGa2tu
9a3fBcPaN1uZMJjsg1PteN0lOAqSst+gV5HIN6ZYQLp1czWxhpp1KJxaFjkO0sEevOID1CbJHboA
Xhnw7V2b0dNXE+HGCgpIf5b1CnwJblqIWsFqCBmp6Uv2WvKA11I+nqMM574VEfNgFGm1jtv2ezNU
2bdOSs/zWOr7rkxK1BkBXNIgpAOsV/GzPmQTMXtjtIoEE67LlFinBsnKlOfEfVKGIE1edLVUy46Q
hHDg5MTVAdv2SBGSXU3d9GK4I8mPV1lUBOdIWr7N+jjeVCQf9AUbjkFjzos+Yh25n5keLd0VNADU
mbiHhEFqriFuJCXdSqFoKy2qioFoslUZ6RH2Hb4CHezdpsu0xzaWR5hszApmKQ0UEirpVoC6LBLy
UGWlep6bNiIx8kRa8ujpLMtbgwBUuj5kDAqBgqVKedcydglyht2KpgTxzwTbOFgDyk1PfjHb+jR9
6LMRkUnWnoq41DZjIBgnBKH3Rd1ggq8UczexSchRtJ1pCbKzLuQnbLHiNRP0wZzjxDG1PfV85HR+
wUk+r97yFKppQtPH01RjkTdWLzRaj+BC4WwtCYel8UiYPfG/Ha3BJocM2+rgzH0i8uSIYpZaEoJD
sf8qBulW9uqwZ3BR66W5CHthvyBpbH1ocV2Z/YMZZfI2qTXafjqZnCh9xh7kTJ6fKJzF6Kdzg+UR
THkmjuRU1uHaMBMZXBJgRmSRk9ST3VFStTZjM74RUNlpEruYpbMtzVa5ZNHRlh8fahI2+lkBzdRi
ZAnmsn9sBYstftOZpI2UCf4vxTo2QnsnZUL/jDdC8STBCtZNYLjY7uXz1EfHwuQUDhgF6Sm5d3MB
G07RIG5XApSBHmSEHAopmNVIPcW+D+5Y1o5paeZeZUjVOe86oqjpJrhKgFRI5a3vzai6w8CeQ1oB
EV0IxPGA16EYGFeOopCYpg5C5k6D8mHovfoAvbsG9rA2KviUU6jntjHwLcZC7ix4oxeDPSplVP1U
sa88C5FR2pleSTdCFSWwG7p7UbHqm4pyo8B2G/wcgVhdkV2j/liOe1MBNECL7UrN4SabJWhtgxmC
Yke04SCsM8Db4GqMH8hTIRml01fKrLxPo5y8RNF800yMdcKOZryxyEhHoYmOCmO40ZA/zKwmR2Ps
PnwBd1YflFdtilVtLoqWBQHMdYdzng/TTURYGno4Pg1Vp7gWWPRN6MPIL+qREZzn4l7IfshpNY/c
u8aVGu5tKvhWe5YuOxhDBap3czVQ2XCqOo+25di5vaBoN3pFkHTDTxOyglS7wGTnzB6YPIryWykR
e/cxYKGeonbeZBn/EwVoRUfzm6CiOhI7tpe9gYAOWNtNoorKfvLF2EHS4XuDyoqRIcW7ZkShB+Om
SKrpbzsxxu5NSmdBqGWPCBf5T+DWrWhc58E2inyk6prpr/NsEYBXqKdyuoUrgWgIJED5u6Wab23W
96dSH8It/XE7GXQJ6xOp9mkIMhQP8tkgqM/O5C4+i7j9PCGjCiG1wJXSsvbvp2LI9nP3XNM+tERy
tEQLy1Mx9o5cNmD0WjhBNTtDQaJcImv+qm3aDg0gBcs8jKTnAbYJijkDr5VGzIg0PTdmRwmmC94V
sbujvXYjWHN2QJYOo2SyHuV03pBCdYVdNiZNRimvKZlt5KgV3ZBKHadQhTIjiNguVNx+iOKjCl/m
OPkFgliJ09aPv5elub/J/fS7UOrkYltRuUPv8CgZRbvWzQrQliWcZ8Ak10OdvJvH2Z/zU28EzT3n
JVMaMiz6ZrOt+u8G3KN7HCSuP6jXgo4hQp2CK033+3UvT9/zJtLW6DRKRzBy664aZutu1sUKERSl
8jbJp7U5+42jJYJF6i3iGSjR3a7Cq3qXWuguDHW8ThliTd5CI2C9xn+IeMVX8K2JiYzmV/If24bw
2dD3g8OPvwyuCQB7DGq9vZ0iqzzIY/nYQM7uUhM7eiwArmwHHc+Goj5ZKRj8ID80cdDfaWqG6C0G
SNyPuacUyqb2Fwin0geeldXmY9PTtyaISdmLNaHuRZZjJCSAEh77ldUhMQqnOiX4JDlUfTw7qSDI
xNaG9VqexvlWhDlMicgeq9TYciD6ppikfw9SqV5hmAZxug9z/gZ4VnyeiGjktHwF/YzuZAekhyOG
mF11EgC4VMo/LNBUpRSrBJ4vgUpdwI5dJb3OKLtdI807dfn2SvCBBGxFk8XLUpS7oRqOucYAk3QK
N1mYPRTN0nSLxTs1MYT1jA2Esm2LbmWptFDOrjqC10WB6p2M2TKMZHbYlUTzMJ0kZwK70ImgQOIb
yqh3Uswvmclw9brycRgptJgjUQRmwq5VJDBwYczMZFPGAUHC0YCgRm262yhRD6Xho+xCOjTc+Nl8
gxHkFKYKTDMx+Fb55zRr2EuMZLkYr5XISa6UitzWj+IUvAa+RgsWs0A1VY9IdjeDQNiZSGKGSq4m
WqaHoa29lu6yoyTmk2FaJyFFiz/o8bdWo+gtCKBoYQxzGEw2KbyxyjDOfUaDJhOGu1T5PsU3E7+l
bF4oXEl7X25LR9JaNCyF/zoIyWGKkwKZoJw7Vt+8s6C9+0BRHUoV24A+CEm8Tj5Sv6L+QEKAmdwL
jXWcBXMTY4CyqwiUaR2wYIqgWeIqQqoZ0hCqRzK+qGNGbKFG5ihqEi5u24+4EE6amiIVM0gsTips
KpXy0fXiW1WB+BUZTa1UX8P2QXtvUFFnqxzHBKnxEgenkomLhzhHtT2+p75nN2r6oLXyYWbv4ugi
SuQo+9Nx8B/5BU9Fxh8/e/5++Pi+FeVE/SBs/+f/maXw/6eA0E/GjMWr+JcH8fo1g67wv+ru7Wcf
4X+5CHXrD1OH0bXYNKDT6xrwor9chIb4B/gXExaCqv5tMPzbRSj/ocvKAoXWFFHSJAXh/98uQvkP
leo1RBvVhIYkW8p/wkhQ9J8dYWTiieCnKZApuFtFwowueAX+bCRmGmYkyvqHJlqbk2jP6uz21GbS
pYLaNcdkSrxknk7EBhEURNknuKeQv6KeR3Pm6Eeq2w7UztrRvBYjWmmkmZtN4C6sQ8AxcCopqAQE
XM+H+lkTmKNIrSbX2qDnPwdO2xGXMXRMChuhpSttrKqgdZFCEfZc3ZV6d1YFulEz0jp2zZUSXKth
cAe4mbmZDhdzaT5K2yyXqY6jRqTjCuaJtv8x/VEVe1E5ATWYqMUPUX5RxfHULvk6lmZb8X2nFewO
VCJdWjfW30mkRuO/piHtSN1jILBvT97bmL9CIC52GKcOeqSsy/ax4qgc9qMbQW6oxJ1UEdQQEG8d
usB39wqyuxZJD6orOy7A4aaFo1Q96FLA9WjWSuG5KydyXZ7iQLrSyXjUM1oOi0CbCDBDI869e6hw
KPlKvOkR64n5SaivoCvEUk9SRmqrBDuLpya6j6yPkkMtyUEcch8TqmQTrsUs+pYjN5fLszHdlMHL
yMxJnUFGrVXcJhn8Losi3aOuntSiodd21xPOLU7YZtSrcfI9jShs8C0ZtTzNf24y0U3x7FBNtYO+
WoOoP+AL5MRMLllIXwUWgFq8CEF49ueeWPISLSWI52nyTBYtaUaeIqzm4hqlKSq9t3n6nhTPY/9E
yXiTSMTH0FZBy7vRxNvIKFa+qjhTeUiV21F6rVFgRvKTwKnMpy8iF4c0oE8dm+zaoG6Rg9XsFC3b
FxXy6IKzdddZtjbQ3mo58ard5EUi6h61i65kmn8G2m5BnW1U/mtBj6/KJQF3qJ2ywmvvP5nRWe0U
R+hp4wdRRFq8shNn40AtEmsm8uKAZNldJcy44QJK9VTJM105atb8HgcBGirllOcQif3ijte4GvPN
FOf88H5tyXdK6qNN8dGlgsxpIxURCyCCvJzWKUpn26iGOy2RjuwGEbbTOC6pWQFeAohMokxgWY98
3e6irq+DbaKRAKo9qjrSiS56Caxb36pRUSB4kbI13VMH1rinclwIMYkAD6Uf6rMNTK4TGXNaTCXI
vI6HM1nuhEcK10pWHzi621a61udjywm6hBxQZRCkNjLScKc0wpvcQssSgDYhxFcEghgb3dPUdM/I
Q16oMawqzaDuf6PK8Q2KE9BqtKigrCx6rOZoQnuuwH3QfVOdyTwR9OTNicph1lRe1exsiomrNiND
acxXqpDgbNFs7CdB68MEJ8wjqU+plXpa+yLOg1Mbw3mejcfK71+NlCY2fWHHGm4M62FW0x2B8onJ
xGRhDbWIelJ1W4OlLqUbjRFLHM3ezy0aBCBzbannwzABTE19ht5A20eJcUQrBOWC82JoDHwEliOi
q5J53K2A+qDZypyJEj/y5nnJYi+vWZDtZuDbJhkZlXgmb4SZb6l7KipklHog2h2A9mZWt5rx8Gmx
uf3TLPoZOrP4mP9lIf1rCtdl0hVN/NV4nfnnnzyAoQ69T1KoAAzNikIs7qh9Hf3JR/q3VjR5sWj/
8yLWghnF4yBdmqkxi8chcCHDbTxppZ6zu9i0lTe/c6u14DCPkLOBipxHds5uaFLm3+nC+v8ZDuHP
tUr/12+4AAEaFeJVKy8NV8IU4YZR7ZVskVe/f5qX2KB/XOXCdJelHeK1kqsIm/EbjLuV7wZrTPSt
J3kobhzx+MUFf7kEf7qtxRf36f2lnZZRAuPR0nf3JM1TnXIVeAbl/yttPbjFLR3Kg/S9PBhfoL7k
C7rFj1s1KcpgMIRYBuv85ytPJUFj5tjyQCsXubpHH4Jmn6dfYX9IH6VuVb5FDkgeF7+BYif0eeh3
lN7v7/+XQ8sUjQXuCAyPFvPPv0I051Fq685wEYxy87gQVXd87M4khKEMuBLOxnr5BSjTlW23SWEu
Hlh5vvgRyz7ncnx//hEXj4JcAR29LD9CswcPdLjTnKfzIsB8RJHppPftBg+oR9Ca5Imb6jGb3fL7
sIdv+vvfcWHo/fNj/vw7LkZf6UvGGOW94dIo3zROcqdqTmt37jL2OARRqPq/vODF6LOUgQC/iAu2
rmHPLo04Z9wYnrFWPIiXX4DgL/n0P0Ycu1pCIhVZgs5wsd0sM8Ekl0Zexrq6az7Cd0hvrnYMV5YT
BWt9lawQG2VfXVX+58vFbiozuhjnqFAu+BN+Y6qwVsblqr1b3uYrNjG8T2K0ruX9V8yYn027P94g
F9OYJzVtgV5cvMERWvZAg46RBK2qmj4ssfrinX11hYtXVqhpJ2CdMFxrfEyQbg1h/MUk+MsrWIh6
FZXn9o/Z3lf7ItbwrLjhOLpwiGzUHNsvBt7yRV18cZr16RoXXxwOyBaUFQEykmRTKfHiVXRuN+Eq
W89r5W5yORp85xTx3xnwP1334v0MkzXXgC4MFz+APbqqQ5V1HznLJFN/CRC6gH38NRo+3eXFu8p6
cKpWpBh/AoRsik+exjgXN+YX0+hXj/NiFyBNSjOEBRcyFn+25RHydxVjBciw3nzx5n75Of3rnrRl
Wfm0YGXRZGpZwKU0u3epijnznu6APbFQfD1lLA/oN8NEu/h2tVoD4DoxFGWLwAjxppW121KV95ap
3Mb6cJQi4Yvp4heDX5d0ETSLvPxhXAyQLC0AZ9PVcU1SH6vmIbWG8xdP8KtLXIwKWMNCJjUaYzDP
3yPdOibYnGaEIRlHA7y5ZHk21xMduXzWDikxsn2PoDQQ6XGkXf/FdPKrHQ83bBimKVGQIGP85/c5
FsSJNqLJfIL4a7e80OQlOANocIJ30U1W3eb3t788wItX+tP1lqfzafxM+ZQNscb1wOuK4SZIRxxH
+8zazbP5RS7Pj9n2d9e62FxAbpkrkagAFwXpnt4z3zsHFaxcDuU/l1Bm9QZECaCTnf/FByn9Ysus
S2RWyyoFHINCzs+3aWYCbpqBenpSFF4ozXusWK6vjxuSXT1Z7e4FtUbbd8TOsuc4E3zxlJcP/h93
/unyy1f86SnDDSiHYMBQsCDSol29QVC9LOlfXOYyOnlZ0n+6zYvRU7Rqh0uc65Tf9DU7JztfzRv5
NtqadneFw2r117b1P6pB/pZG9hO37N+WIpfr/VfF8v8NZpnKl/LvkWXbpki//w/ndcpef2K4Lv/W
X9Ayw/rDAKFBa2rB9yrSgh/7G1omLbBWmc3PvyqRf5cb+bc0HYOmAvGQLJAFQvR3udH6Q9ZlaoMm
lCKd7Yzxn5QbfwBLPo9JXYQ+RVwB9U5DNFXz4pPQsZ2XU0g68SBOe3gnLtY7/NBNh/J6Cm9o0p4i
2nD4bdLbWmpfzCneZcjwSZD9oWJb8h79LHH10gzuJRLng1kdnAa6B+5dxdMJF78RAnTJYpke2lre
ElaC78uMrxXy3mzZGnfkauWUrhpnEsRDQ+tkIYc7eQfwCahywd+mgjBRcS8AmjutThYWykHVUayo
x2SDHQtQh76iPTYAUGnP2qBSokrQPMV+WG+09jYZ2+3c3PKeTrKRoc+ClWRM65zLMJV/sY1a5q+L
Jwr+h8M/GlhO5pe7TYF+Xy1hVltphFCVqeKOaBXFNv1iQ/iPOjFvzpKthbWoGLKG1fzn2SQwegTG
gSAuTGZEneac0XaZX+OsW16Qwzx3MDFEtK0B5mKIn1SFNo4WHQYJ43lnbIspdwdB7FeFpH1vzRr5
/kDgeDVdiTMgnhI/uUv08p0Abh/FLHr3XHjRk+lBhXDuF+WdgYZQGRJsBNAB7aYMEMo2e2Xun3zs
mwSjA9gmFs+EVkZ9Jn2XVUCzc9N974M8W4mt35HMEK4lc3FK9GZiQ5C8EbuQgEgE05i4Z8JuqNJU
1SpA5+nIs77jLHFqZUCsrdSjQoLwkMnfAL5yTPa3ekTpciAKVpc5OI1b9DnhFyvzQjy+fL2ajnmU
N2twSBcvo4dkTdAHQcX9KSnhYBdguij3QQExXqNOexpC1PlDkGGQo0UOHHW+S6kXCnO5poleu6PY
H31Te0V160ly9qz4Ku5m2OwU6dGXUli11VB/lUUSzUXjfsJ+CtEf28OKPdC6QYEYJtdii0eZgArF
lO6FUX6ctQbYTemvw14H8j2vlKoQ6VNrLSoH2bJLRX7NNG3lj91NmkinPK25qB7fdj7s7iI374Mc
Y9NsPfM7D0adrLsofYoCHMdU7JMy37PF2Wb6eG3gB/RoXaznIl0R1L7nnMo9FQdlIDm8wIO1NDCp
uc2a78QSHHJzXKX40KdshPZU5NE6VQewf8W6w6bWzLU3DRRTME/oCWSqKvKaEdNHOlU4mi1611Zg
YLsijmQ05l07oFUoqKfaU0hplI2iF9AowdBva/J92IMVSjBE5cW6tdoHquhlOW/KKra1Jrnuc6xG
sXHHkyOzkYECYpCcTYgYo6f62FgGtiKETixKCToWG3QEL3PQXKUW4gT6etWz0u8DFBMUqXWcMiKi
RNIZQ7Q5GHJuupiClB5fd1Qsm/sZHFOGyH+Ghaoe5JmkzK66stqrtFaJl38LhCvfsMj0O5Sj4FLQ
9gY0KcZIx7sqdmZBu/cuaDN6tGtd+G5hzzKRJCaVhirmIxWDNaT4vSIZtF27t1bQN5ae3NPl2Bd9
uZ58QLsSddw2X8sq21cIPZF61tOZyG/4k8GhEydHg7PmE4uMDMIdqKaVWrbq+DDTTLBHCj4CEDlj
VjziEnddqW3VoHTADYp5tjYrqA9Z79W0NGahYESgI6GlUub45ERidIVsFeuVF+HPzNVprRWPfuiv
pNxydBKnI7HbR+rkhe1rI1SOURsOjW5aFIJLgoYbD1S6dBGlR7wm8c02kQUIrbwaEzLOUfBK432H
OKyf6IXo2a7W6/suzG1ZhT2dXkcxx2/Fm5DrmxpcAYTFiB/L5MNKN4WsoH7LwBW5IaI4kxh7EL0R
E2PPqXasVjMmDj9iNCmrmcZxQjXJkMj9xg3BFNe126mFdYXH3rQ2Av/fGMmwku1wPNu42OzI5yvp
7BTJc+BvffpERWV5/kNQPhrpVTq9TdfF9CZM+0WPOW9BsGOO2RcG3jp+bj1DNiGfUkJi2zJ5zSAJ
UhtpSmKNtsSf9u1GQ2TSIZ4ypc3SgAF8ZNfWJuMHhhwVaIXBr7AXq8KgAAWHLsbf7dstwCBglgTl
yLdDTm99eNRMrFqjf1gMyyjabXl6UqYJGCMv3ax3g19+n6XHctbdPGLhjhSbVdwN5NcUM0Q4nFWo
IhqB9BghW8kWxXODorNsLSwUh2KiVKYQSk6WBKV/Oyz4EATMLre9kHm5uo3buzle0Hf0WIBkt0Vm
6ypvDTsx8gw1EB1C+K4tKUP3ORTnoqZbpr0r2rUsWByGxCeLDyHMHypOXtO476a7MEfgDwu6ax1p
OM2TV83vPn2/6qG2VpRM2ETglzDvWl33ajm+FRXwq5s5bLa+Zm0aPd5WVulE8GqK7skILIJyQy8i
KZXJQTHzvRUsUlULQs+NNX8LLW7efCyLYWNWuh0zeJBYbxIBT3I5od/o8k3Z88Lm50m9+SE77k6j
oW1YsO0h09dtpa8HGNl6jJ6IyTucnpNgfgmTR99/F1F6N9gfpm+a8K30z0X6pg/fwnByZez9s4VH
dSzWUWrYATNsHGH1bHaleCVVDEqmwrBBDVWbbp+/kPmyk/xsLfsvaW9tqmqNthDxbnXbjg90KFyC
RnzloxiRn1V1TDOMS3d4QNch7IwI6TBmA7RGhSvQVE5pusz+XW0kXgTd2kzvm3raSxr7iSFDH/hd
xQo6vcnBk5y9GRIm3ahdlzpf30KwqjtAEALeJDqoDOoKbzCKNw/b2Mii4ncI8QI3BKwRajRiC6dp
ZxhhQNAhoaE28npOiLr84MfrTHiExopBN41dnHiuMaFO07ZF8NqS6mayXyEGYV8ZRFbC7TfMVWLm
D8G0rcrvMs8WMAvOgPuZFwVqexD3IQp/Io/D9pEAILsyqpVU3woVfnujpxfH82Y/kZfMMZaJQglP
VE/QpINWiAZdh4WCjHXYYMn81Be3FBIY8XgFB+InRc+ik1qL+37pV1MtjqWrguVr0Ek6zq4KXPpk
FAUMG6m7W9ggMR+03HyMFcIpZN74loIY6OvAPWdelQw7DMn3YvUhsJVKtKvWfAxEECuIi5PHKDlh
+8SWciAF2EFsgycMmQvqHbmcXVHz0r48IFKyx1Fx65XLPrGB+8gSQE/fg1mDvGWV+zeJ8pxNANPz
uzTdT+MdQQeraTiOfKW9HqF9fyI/Dv8PBthIeM3qyW2F9hmb83s3v+TVMRNPGWuLBqwlzdEuHSbk
PHn2Pnb7Noud0vwOUIAwbRXhngBWrMXjCoRAkeL1hOF9CvZRIzjYtci/fA25/YBPU4lvJSXzlv2G
vMQ7q5tW0QmrvcNavm5VYT0WEOH5T1bDKg3uQ3YTulJ7moJMnNk8ENUnc8w8CyOUKHRXsn8SQ4Gt
Ag1sHVFFRlsTOpQA5bIYT0avLfqKlWWdIsY8YWB0VgscIgqvQ3HqBm9svc7ISCF7ylGg4kjtW9si
ZaR5bSLqLNkNwYSkpS96XU/uTs9EuLH6EvTKbVONLN/3gj5vJOxveJ8yA0y7AmBCWhL/xJVknvAs
7BKRinzSXlkzcwwk+KH6yPn2ZOIcQ+MkDa+A7VQi+CQSHnrUZmzHlMUs+KijDShJ8kvGByEeEORR
NT6WvJMcf+LQ7Ypsi4IS/xj+OCLplX5wUY4C+7puyC2mQurpmEhFfXCHcmeq0JiRAGpqSX7WmRB0
pjDAoAbbcw1aWn1dmvTvG7YISpOjB4FfNxlOz3c3C6TBMaBTvrThPoQ7P91pPgFpT5rxIow3E21j
rVI8RTgJJrx47b4hlxPq6b0xx9dRsqj9OkceO1gb70KpsfuJbvGJndqhIvbB0+V1pPnuABEFXiRa
epg+qw4aFZHmBSDr8pxiN5oqAEuQb/QHpe1WPkwsAR6AbF0X4f28mOSz+8moXvnXXb14tvT7MRUx
yVmI5mnUdyurhhsZzds5Up8a4wWj2bNgZq6M+KSjSGRn2rJFn9Gczwm7u2h66lQNDIOytLub6iYq
Wgz441oCiUyzOrtpEF+Ytb9R9H5xZT1nWC05mnWOuuxvdRWoXR8/xOEIQ7hgdcib9g0IqG9HFvCp
IXweMvAkCRbWSD9U+Vac2DVS850Hr52fSqICUCmEwdOsI1tMsDcrN4lAmNSZwERnMCROo84MsLSq
MHTSL24Qy6nVh5z0kdOG2U28GOQhD9b6U92+GPOw6qZqZzbSNlQBEsQQmdOMi2CJIMpz1lF5Boqq
2p2M4iFF6hnEJ3LHrqzsOLVXCb18bRAhhIFHE4u9UYh3Okl6/Ds0uKbAicziVixvU3E4Kx29PRPC
L9JLouWhO1TdVgKhMqOC4ujuocgs5K1UBOs4LbwMui4v6Ytq82XdnqKKLhJ6Q3nFkmHNXxysK1Ow
VAW00Eqvg9UEadZMelsiGTDg0PapXHT7Z1Xgs1Dgq0td1F3ziZzjWOJSc5jfxSSxlhVbdeFVBn7x
+ytd1h5/3BTdLwC2ZCdo+kWdR8nFqCqhCq38roP/9z6Rf6LUtoxI0dBMOJSsYWybfn9R6Zf39+mq
FxXPsUx1cJNcVdyxD0QBSj8Z6ecuW0eOaVenYqVAs1x91fD7R1Pzz7tVaGYRy8dbXJ7Gp0orSS2+
IEvJsqfE8wTCwJ81h+3CTUTLXGiICkbSFeH3mOV+2cLtJSnexkboahmbIEQjv38Ov3oMVJ0ZUpIE
l++yZmBKyQT+OCMpGR4Rp+eO2KGA8Lj49PvrXDYxltv+dB3rog2EiB8IpZqqKynNnLB7zafn31/g
n7Wtny9wOYpoS/hCyo0IyhFwaiidxvQL7PAXz8q6GDKUkIQuJsdsZSgPYxStAXou28G1PB9/fy+/
+iI+P6yLz5ydwIifjDEyCaS9zLMnWQm7J7PnwIy+LutQZPWix9Hm99f9R3Pn8i1dfPQB9B29CniI
uI8/UONt8NWv0bKQXVI7ofdVZMlX72z555++BWnkC6EwweUk8CjTsAcMiwSs/W+NcV1STUrdsn5J
xi6zqTABhqgrK7+Rcw5+zZFNOtaC7e8fn7y8l/9N3Zkkt45lW3YqfwIIA0CUnWygZk2Jqjs0SU8C
QIAoCBAAOZrfzXH8ieWC3COdD2KI5hGdzLAwN4/Qe7q41bmn2Gfv3/OrnMHRSATqPdIREhvs2/Zo
GqD6WT7QM0Gevcf1bbVDKRdopFQV/gH85DadHKsO/mS4dV+hJnLi7jiTeqpQeGgUk1bOPhV6uwln
pTDbyjdic+UQD+tpX1uswJmNjDdkhmb/87M137UIQMcl33jgxY0aOg2FmQAjARjT6HRFDP3i/p6N
NahcnrA7MLwzVlreFbubAg5uhEN/XvSLd+VsjP7nZ/PJNvUh14hPvAPcAyOkb8zdfAPwE2TraPRU
ZnfVtdspXR5S0zHgrCOQ7d+HBDasKHTqKl42U9dwdiCFIjmjgAyLLa6bCUJNshUFiDs7pKYer74g
QyDW1w4iV6KjQK38UYA5n/E2DquK/lZOmZ+udm4TvPNQrZTgarHu4kCMJuqo09AVMzgqtCFvd6Ow
5qmyJa9ZxhN65PzDeH9/baSLmWvKyTgvhkh54hsqMSTjrxmMFL42juolkwpgVWvjCmeu5OhBeb8Z
x/bRo3FcfyjIPi3E4FoJ9qJ1/+sbvsAZZwepEU6Qond8Q070rWsn2MAA1ApRX+l5+PnMXrwXZ0MN
3irqBzl00w0G6fSutU+bOIMKVnJ+HuTii3s2yOC1Oijb/LiR+vnATUJvzE59/XmAy+bubISBucsl
uQxTjRFIQds0V9nlfDcn8h3TAO90U93dzbqH1BWnqV1NtBuTznZr7/38Ed9q9l+34ewjBk8WkUst
EIr1h3RzUwW99BaazU5joRbv1tORL/iNH7nX4JAX/bizI/v187PjUiHqGBY6k1dIQjkkg2IXxDZ4
nWrcfRpPtFw66Yfx77xkZ5Ptz/D5oFAlGujQKB6qHCHKADTmQuhCHJqk17AQ/fH49padDTW4/LkR
RWmdf60rmZ5p3rO/QBBrSTZsBfOrWL9rp3XwVHSCEhVhVyleMrqBLhK+hnqRaU/Hhg7P0srgG4f9
UrAOkCZsmvBB2pC2CGOvPPz6+TxdsgIawGUq45Ih4RX/vsJ5TdNpZuIr1PqYzGGbQ9oKYJwut5/H
uehqIf2pmOR5CHqGxjWK6ESmzoGPN4lvw2lpoxKn0LJg4YZbgnPN1fqGFe3vyfl4gwU2T2mSGXAi
e7Tv7y0dVKPmVBAJWSM7ca6Pd8nEnQ83eJahaDhGbU4jvx7Fk1Fyt8t3QX28+3kRLx2as0GUQVAR
tdtCLwTmdFIQblULG43In0foV2V4C85HGByH5DTSIo3WS47lXbP5rPeRl45gem6f87gIJPUaWvPK
sikDo53AvrsPO8ajU3gSpTdtVkEuvfp5UtK1WQ0M977uVCkReH/UZY9xqm6ktzqQbkI/Hudj+nfc
eE3Thh/55ePPI1+bXr+hZ/ar7ZRuf+rpHbTmGOjQEya1SlfPxvp5mIv+xPm29d9xPk4UmdpowzIa
8+YAUJ452s2U5NAEfhI36qFcPaKXxqWnalauUEfw1fHP33B5qooJ+gGXRhwCuk5FlMIe2l8AY7wd
3VfVuFDWX0P8LWzTv0QsnQOW/tePCKj/B7FNau99/Wtwk52n6Uddx01c/89//9ev+L/Wr0gsCyhQ
19H//O/0Y3c8F2r8+mV/Yp40hBrpXaThBghjL1yOXfoT88SPTP6oSdymcnawy38JNer/gOgSUAsI
bRHu1x4p9U/Mk/4PA3QSso9mD4aC4PHvYJ76X3Rub76ksQFPSgZw975lc/DqHvRTHB3aVqZzhvTk
K+zxPm6V38zgt5hSlnrvGwsoeb0o74AWvDaAidi/br2Hr9Mf32EqokqmkUUaRrIiDdqxcKhlx1xL
nmaXL910+wYJnUdHAzUZ+1pQM7yx3wYcWAbkP+W0jRiw9oqx1rcybC15RftVsa4fZXAhlvlau4JP
/fDxRPJ664S1Bf9g8nZ2kFbf057SMLr79iUD25FJKmjmlC/pm5fiKZSO5AS7qbogKqGfld5HN3U6
D8DCDb13Tu6Xc80ulvBbTRGzQ/gsQGlqnLjhhF4n98T/vZvTReeqXuaEruYkc4ha3yAftNW3Ygzh
+PhEhLOfdePR1BijJeGE49YBoPMhuSf76OzwJBcautU2VX04VSf7Rb5sp3BsvaKxMt/c1hDGWypG
7BhU097XVamI96z7POyxoy3ydftY+ObYnEA26otPshe+N/fSs0bBy4lcE+08iwZeWwgM+OCvmOIh
sPXbcg5cVpHsi5yMWE7FD2+PLkrHX2Dh3a/avyaozi0ZvGxfo0lQN2JxexztMLvabmqVIif3p/bM
ZeEY/sgZPW1sGAf8owtRXeps4Kk07f0SnuiIXn06a8fQoLycDn72Qb+Wb/jawwmuhl9ZY3fr6h62
8YTcF+ymkQ9H7FwPtIkxj14MVMetvsONObknhyvh9DvY/aIVsiAT8dTtx9l+bEBevTuN9Tu4ZTax
l/rho+iN7H6b6I8CiiPRQ0Q3HFvYfECt8gj3I8AX6UmAl8CFfnIEVdJ79KK8GR5tNnYEw58QiJIN
0+WSQlD5asrOroCi2YL9ZrL5VKG2hUTL0WtrZL7vY5cax3FBe21+dMDB9CR+j337Qq31zECArDSE
WDq/dGknc2SuuLRs018nxYZ8y/jYk0Xxygm8wbf9sQ9vEml+SlEINNfVzi1kRq0mu0917yYSeoyQ
ITlk1jrNVjWAEhb9n/pr9np0yGolHrRWwXFjn5YnT+57t2jmXSNTZqlPkI11MOvSZ13bW9kbfeif
iHI/0NscokaDyJBTvFRjeC0SyARt8FXbF9MRfWEpz6nf71/S+4rK4Q0Kz7doO4IjyD5GUBOuzefE
g/nfgo/TgJ5nKoyRiHKq1xS28KcE5BmLtvEPt+iOHiCeuqG8P65X0rt4Gzsb25ifvHaRejn2yD75
2bp8aDwkZlxzqnyCSIGYGiY6T3ShdL7VPjhbTmwLi+Pi8ApXx8YbnyxhIWysPeeQKnJ9x7mqOnBG
9iiaqRvOhQXJBrx/cMb7oJ7wxZ1onSFPDt2+pZowBVr1L+GtpNd6vXlII38X28oRGIADa5uuB1Ho
S/JnlrxQDhVpLU2deDumc5R/UciG1bUfn2xKWEU5NyVrO9t9Ofp7OKlcjokaQFbR7tZy65hjwzbX
0PwfUQW2TisarljsO+O4BIMDcuZ4kz0BGoAxozwuE8Q36Tn4ZUreaPdGnRXtjn3ilM/6JwQmL+2b
OtmttMKB2XeB2iDBP+VHDy2o53JdwzkZYqxQ6CSzIyOBCbzHagVEhm3KMN0dhe7HVrO7CJURZ5M4
lW4XHK7dYo+eIa2yLHJsR+/8kVOC6lq/RFDn9Qgk8kaC14P2NZsSAyuFfNDxMwKqv53BKAyNs7jo
fgnvxmtxnFanfiGRWTJkHlj9ET4Qc1FyhyECG2PeH0M0Jn+BfyMzSxbKFix0JWjoxVVlZbY2Onqr
F+IoTgYN8N7IA3vl7qeUyXA1iZdFXwog8xhBtGfJtEZM0Wx9PCwyJ5/Tq7mlH5uGiZa2JemDzMxd
c7LgXDkS/FHBpmc7n1aqC/oFBiFAaaidIuttRjb505p1GkMBagPDqF9Det+d7TR7CZ90zYb3u7rb
34JBiMFcwo5g7w4wC1spUkXIvaY3B4RgwWs1fr29JWlZQ+cDj1tM9zT/dcwNWSgb22WUVEXpgUb9
/bH8ABNtbu3q4/RYP+q34EAWr91rfvTofzaACB3tnpvyTqVN28oFByawCFoTaXxqYcw9rFI00mRL
2Pk0DWrLaLF9aFfaXb21m9wRt4uOj8pvRdQgagstUhl6Wy5gKjv5q2yDATpMQxBoldXtvPh2YzoH
UG+wKczKKfLHXudgbMGB7sIxQRkIupru6c7r19WkMRMQWg+LAkp4K3DVfKah3G2Amtmjz7axsgeY
/DIDxXobzmWUIlE4y5WZKgXpLWjR6FOXx9D5A485PnfKMiEjeXBk1VE+eDiUzwbGVG6siYEMj04D
3JCOJnx92QHBaUJxsemtK3dKNkiOVbSQIKMs0hMrgKGzlFWJ+wAQgYfmuQVgzN8B//NOnkX52N1u
x33QkjrCxq6npSM+SaARbLB8TUeJHCCHpe0d2dIemzcItOTa1u6OQJnhWgW8q3qd4IqwSTH8J9Vs
cRVq9gEOcmA0oaugvNzecigVW52mvJGZ3djNpwLPKjQ0CdhYK5OswyvgiymUp/IJG2PJbukb3LDM
i7Bx6fPBD93Y7mxAjVMEfgkcJQDvDshC70DlHASkpRo2nxnjy/C6+fE8tlXwHicoQy1cJA5/thAh
/bP3e+8YOXD4Qq1sF5oXwtHmtS29nV6iL9H1MqBUBfHV2PvM3ckO6DfQFjDjdWKwa/wjDwf/o0a1
gmIVvyGHM8HjQiFVaZwWaRJ0eyuXZ/FpEeJUS74Eiw/FtNGyE20heiS5A3h7nwex6myXIs9WidE1
19tV+ymsZR82jdTuHAl6Dwv/Dz3NY2a3dCFi6yAqCrQ7AKroMpQHvzrYBmwUT2rmHlbyu1I73Q0S
hgs46CE75ZhJD9CCiYuKNSzv4Ivr8gW9appsASnmIhedrajzEp8SQdmHQ2OlJyRi7P3O6VpHPq0A
CRmlA0Wl8IF1jyHSzizBtPo2mvZj90FT2IL1lOw0yCbZ6/ZBfenVklFzbruJgnCJghAs4l8A3tjl
rZfz4pvexgBv4ob7h920pR5Ef4VVvz/BkDLyTA9gR88g6EHCMEdbuplSajDtkVPNDz5A0MpGROGu
WJaLnbv7yCehK+BkvFG+GiugFi3xXeJdudkExjqRne0DskUAWtGqQv2ClYaWQs7JXXL6u7us9Sq6
naA3xBg1dlv2T1D9BLXWTTovnraAAd5HmCpaviMH4SUui7ObH+dNUE8q37gpbw8vJxgkmdp7sTIm
O8J8zdFaC46DsTmNJ1uJSxI9FA/QVmyUW2iYATRklZ2Zd+FH/h6VLuxIPCpFGRwSK30uJ3SbmAvx
ddR6mmIVv+TTBDKntrPUt0RBbwGVSguU34KDEbtbbQIv8G58HPdcTxNuYg9hOFgxOlDx/WaGvkBy
l017116Ds3qEAJbP/Yw0mMjwCmpfLmEDHAP5y/KJmgXm6RYuGf0NTKFU2XgALWwdH5lT2nuYvzsy
UPgkyt3B0Z5q/ChaOV66j9iBZ1DE4QRZcLAO2OhsWkYOZo7m+PrxwJuGwDVae6UlKo+p6ZkQ+DBJ
2KAScFheps7YECA2YOwwU9rWEugmVOaw+WdI3B448TbJ7p0IcM3t6I/IrL0+KTWsPkTd7mHrEqJ2
qYcXSgoeX+UdnpZg6/FbtiC/nDZ0sk8MNOeggTDkgPvtYY+PUAlYEHdA4g/iA6R07yAvQEi3IPmB
uvihVzgoN7a60x3cSEaQ3jkgFJ7aG+RfeJvozUYnbBLaHWQv/u6zR2EFQm6rnZM80RCpk1MFIx27
o8OsDKfdye4M+6AHpwWQw7BxBegEdde02WiPXhWuNtTn2HqK3m3APtkba0vPO4A8aByfRC+aQvnZ
Wtt1T4gOFssqPnvfPJSs1C94exw0s/ztJFzWD7IFBR7Uo0vlBs8RV3znwMCc0IrtwBdyuo+X+MUO
6+FVn6gIFDBNQm1KCz9EImGwR6IZ/vuNT3ggA/Vy2yCD5BxAzIL3SjPAS0LmbaNmYvNbecv4CBt9
7zcINbTb/LNZwFzDlrCRSCm9nZYAGiUebRxkVGzX0IyZyCKAZhRs/OqtBVWJFd6ZcAYFimi1j0lP
+AbU9cvVTf34WZmaz6dndZJ7sVM+9h/PIrkovrrytArECfTem8VuqY/3cxWSAJkIUwl2DqFNaeVB
YuUPxJi+tuCOk3jOveLFWOjrdi0Gh8CwRCd3thPxzawJbPNpvzJ8ejSm1eZkV2NYGJ1qKgTU5+DW
oFnwwNPC1JzWqe3dsg3iR8jyHIjCwSqYhNaIvdq4Tw78sycII9VnZZ689oWqeNE5iBS5x4m8EAIo
Bd3kswwEB+FBHEkoiVaRL6MnZ6HM+QDJd+OZzuhux0O+jh80N/QII7xsDJGMq9JAbSPU10dlfL0P
bTjU51Z2X64K/BPOVBTk65Nb+8dHHVfCkz3Vjh24KWaxQwAGGadlLGriCgHGDOt4q47b6Y77sEjn
6pgzQnZ+tSU27/trIAACMm63gn3YenBVaWuoJ/0entF0zNFFEzee6C6CXjO4/PytLd/s0wW+OAzM
H8JdhO7kdhVD8IuGlamtytnI7YqZPpZv2hpcK7nfvZ2so/IB22IVEILfknMYA+Nzof97OQKQOkST
Ee2vNxEZ1dNUwI9V/fLoFzqdBrMwSNxTs4K1qm/osnPbHC2j0Vg4BtIpULxRZ8GcyZrQHzQRHVoB
dJYru4ETvdAeJXl6wN9mTxsXgabddhm1bh8txo+QEpYcOFNFuvxehg8pmZI3waphqWx5EvGUOMUs
WQDwJYaAlXkUlBQBOzCaRBiYJr+9U55oaJ0UuKSwUcV4Yg4FerS47L1X+Mdly77IATc3KLi/e68M
4B9q79hJuHuEyd434YMoH8FoRx9tPj4YVvKEDn2lTxLUTCUblkcepTvTx4PG+bShup6oK8bR706S
s4e12h6tCYfNwivvNu/9dPQxIoyEq8U9vLQ9Uwi47VX+CF3R7BgcmR2Jn5YX7T6RrNjbzgWfLphg
KuLHWpxyH/ExzpQxLXzadn1IRiJjlk3wjloL5sFERorIQnPK6KYbZPCgWbOLBSvhCJOdV5DroDVv
R4JotBLG4ef+JV7SxE46qTcpeK82DTrI9D0RWiVvMcHcdgauPV6xbhNzXDhkBg5B7RkLSDmhNO5b
UJjjlWScOKjw/JnP0XusCvgdynKDRH4Bv27RkM9RfP2puWPPw88CheLKDpfJY+dt/I1bukjSWbBO
34bA8onJ3I1bTTYvZqA+5VP+SvsYv/V5GtklTrs5TVVyHbJ9IJ1DTOCinD0nYgs0uB3UHk1hrJtx
9A6z+RSmXUdEepyzjA7UElVAOqRoHbJyeIzwSv2ezwgQuEumzzo+pWvTJeaaVTMd19joK3kBxiCc
50aAdK+jefTqa0/VSjsR49v1Da1C5BncnxdtdCmHLBmaIcMFC8Lw6+dnxY9RbqRq2Yh9AvPkNR4S
6SnOnLDUWS3NloLdZOSULyQje8+dC9zZoR9S+Blhq3SovO3t9HSPvYbB0sVE+T9/3rBw/seWnn3e
YEuzo5hCi0WwZK7TX3BfO+YtuQh/Y9H417Mm2aEjXSt4Daq638YcFD81pVFUo2JJDpjybCwxf1h6
prjZ8xPG8zRv5pmfPF6ZaT+Ts+Lht1EHNdCRdtol0ZGZoi4+rtw9vCXhpLRRg500buXIXs716zsv
rlwb+eJ0USykhiHqI1C1v98avRq1Wgu1rHOcaPfbWfOEIA+QeN0jmIbNhi1H7edFeQoxMp7+Sh8m
rURuFKRuu3HqHKfncCUN/C8+SZdoM6c/9Rt1ZFfG8sHcjGSIsnaLyCZXdyu76YreTaLHdBqPteVh
VtvpJL3HIcSnMPAPSByMT1fOwlcJ5duumH99yaDSsIlMMQnBdTm7B9RO71IHvkVaWwm2e66HyFMc
8WHnopXuJJN8LqOCjWiUE3On23f1k6zGTTk+viOG5OF2IXb2C8U7VxgLuAilF02i+3R2tDW3AnKS
zRJrNI6dFBNTrrlLVzZ6WNT/44SdzWWw0caJEjgY7f6ERXeIehGPFG/m3OSdS9b/3s09G22Qyod/
e59DREru2GHlcKOyyOo9ANpgZ3TqQHfWuxxXLlF/SYbb1R/knrFOV79hKrNeyHibcXXTp+RBeN8/
07AP8SUpFGFBitsX7sWedAssI35cqqxHV86LQuXxxw8YnJfkIESbCF40R37pHdrts0zbw6+otiMC
PVIiUmA+HRawb3VWeFO8bT+jh5OtfhpL8f3owP1+b7w36Ajxctly0PPAr4U+BKB2JY3h3HR+Xq+v
F/Gn9RociQyh1MIo+8/1Ebcn6RLoTyJsjw/FqrIP9/WSzod59WF6X8klsn66m0/x9NhOTfaKZR81
02SSzIyn7YKwUVntA2zVE+LktF5AtUSGf466yRPIJzQe0LWgGQ/pNjrBLP3m5NIEf79Fnnc0prxg
kPbPSClMjVtlGgGIvGpXhiC0ryugi6B1AA+qsjSs+GhIWe2A8eAhHG2SyI23b8hWdTjx9Uy76Wbi
PWlb0oT7MVJHpDv3ssUfI3+OFlQJ5JYEPL7qJ92Pgpe/ktGLF6dZtOp9AhPkMzqVBCAIys4jX03t
kqZ/W3qnh7105Ykyh11ujif3dSM6nlqkJ1UvnsAKH/SZ/e1KdtUgxreosWczXh+nGdezHo6wXe+g
bNv5yrgHqvVdB/AhEtHzEs42y3gWLWhUcusJsZWvTvP7/ZRs2Qzda4IosAyIaLi9MyI6RwJtDZPZ
O4XHKRwqtuCiCkFglt8XARTyi/2yrz2iTujgq9y1s3aZ2YcgWhxm5gT/5IYeZ6c3tqQ9/dGkscni
BSPfvOkDNMRdXeOpdzcFlWxXTtYBMWk84807TTNdEM4zp9f0rkktBsYv+oKQzMWrauxtHzuALzK8
3Zq4BlTJbqX7irMbo539Kjc+iYr8mezqwQFBaJMIRnWD1iten2gmOgcmlrnJGhPb+Ljt9dVnEnqd
C1dbh8pIEg08JfmrGn/mKe31uI6rowx8j+IT6KHGUhaVS0EC7l0SpASr5Pw+Q7KLPWOxt5PucC8p
mnTdlGoiVZ1wgXrbc3RHKs8jV3p8iFb1mIJOgPiUY77jfiEMSolg4yfTfUPZx4WQgbpX8Svf2x3l
x4A0tkMqHhlAehiFpk8cN2sqB+SektI6LYRFs7XTh3ZWYFfq/vlx4/HGKZ3ec0N1tWzdovGQ8AwB
BahEVaejlc+yxXZhkP4OVL+HQiakZSESw2ElUclTb9c2xOYUIvakQBAI5ExsA/4GyMlupgbNtPI6
FypBztKBSvRxvF2cfGxY6AsTGkb5BXJA0oa8pkFzO2mcg7VP+70mvUsFI4n96FZ6HRE74SYj4wJw
sH7dvY9e65vI1RaU7AS/pj4IBJ/o/WDlbvWg4GWTxwGWnyPlcMUq6peMeE9ZBXkT/0AD8HePSFLz
UG11Dat4ExFno454WzjybU5Gem6uDUKB3QuE7g/qHocjb7zTr+ZJLGz6LI7W7racUOlf7R/p0N48
U03Zvmlr+h5vDUrsH9tHQfH30F3SZtnny47PNJXtYaO1lMfyTXzLFvtb+rfXxlv2IJECjp9geFf4
o5THzIl0A/E+dy9yd1fcz1H/MA1fgrM5j/o1OTvdJY2BVVsy55rTAi+AipOTTNMlNseCLpdiNuan
D/Q7t/olr44vxerwelygwXqvrc1b/V4N5+Hz5g0LrkEmSb9Le8Ur/INudviNBigTKINgFJJ6MqHz
bzyoHQSQGSXsHmwh34JNBNPeuuBebo5ue9tzRC2BvsyyGWXom3pVLOk1xoMObxusKI3N891rPE3i
Cfl5fLciMBfSI+iLh/iN+uwdaje+NmmWPcaiskZT6Un39GdkuZyRh2pU+xl7aH/iN7xAR/2K9pz0
q3qkNpUt+/pvNam9ZCE/pJ6wSGET3U2zmblEe4Kw7RZ51sAY5wuR4kBl7SbFSkIlnSJA5oZ0FEJv
Qnq6nmbwEsNGTjEHITD+qU4bbOsu6LMjdFrd9Ouv3u51q3raEJOOYA+lEH3fF+OlLwLA99YrHk5+
B6KESlxBrq2UgKRw47Gz6VJflI464SfUJkhmq6IVUcMUFoiKeKJTPFAIeqUU6fE6k59ASs5BU+6B
b3gEQMuaUcbxtWX2iPcSf2C9yfmion24idYACJI5csP7R93VLMPSJyj2ebHfTIT54f24pMJYuPm4
z3eMACWhtUBfJBVs0r18G1YeHGvCm3+DvoC1Qc3SPn3qL80eV03xaOsjmEY60RZeZI9KjyOME+Qp
sEyofTiwVCCYueywVhMQMF5DCQfJTp7KdlbOBJJ/obf52L8gVEPCE+2SZXnX5zLQhDw99B87cmFT
WUjzwg+X+627e1DfhfGOPN/uUUndkpBjDEM0+UTS2oE82/uG20763CBZrXcQGXTwv+IdtH3lR7bk
V2rJGleGbPg73M2KbtUeOd7xdhbdmTMSSqRGDHs7Ju+ydVP/EIJ2oPocALg4rcNFsjhYx7f0RT45
JLnggXiFAY20ffvUJ8CM6YkyETABK30dueFz7yo+AXqWPskAeduPiBd/xpK9kZEBANSnzmpfukEZ
No+R02TG2esGRvt3ZYr0NJp0izwAiWFFE+OWJNSv/AvdKPoZSHwyr+vmyfDTPi18zfccXQp4weTo
4KfhsVO/fn5mcZJTgcbXjtssz3PQITNppsyRxQn6BGPDlduOj64w1fw40B/RrdctSmnhBB6PgKLR
TTjvVKtKPY4ffM12z7g95fVHqnZ3pY32y9x/MzsA+USawdBH0Ee/m51RtNFyiMmJRtcIwBKpARCa
NOOCUlpn6bejRfiyuSvnMJDnHCTe5lWHm2fs1+iXsLHiTbjMg58d94txBjSw//ebBnEG4rtdVTXU
4WsH6Ae55wbB6PGI8LSZymuK0mDIIl56ZZlNu7u+CqbhBmzuqifCDVt7ok6wjO/QRmC7FfL+4Vp8
UZ/TfyMeg+ANWokRFlvStQEi+pRK5ikv+MyeHvdE5gafxds6fbmHBv0+GGzHlCqa+y25r2hy7YzJ
F3y238aXf9+65lCZUVExvny0oxWSeq7gljex20xFoBbLEruTTpqbvv+qN+5oNfg/b9Swc7iPOH77
gsHh2Yom/Aj7r42K7nq4SS/OKFqKY2C/2qXk9q+5oV+9XtKF6/XbwIMTkkG+nGT91HuzFIJBkt1s
nU+2njYevaDg6aST5KnXW74y40v3+reBBzHlDjHskV4ycPG0n+nejgZ5N5+XzmiS+F1gTL4gS6IL
usRWViOEknmoQGXgoe4/qXaavBH4RJRmgANpt0k1xTOcI5EN1uHf0Zz5/w7tTCLlB7DzQC9G5U//
k8FR+Qe+rAZDMRGuaI50NuafDI5Kj2YmY66SkMGz6mObPxkc5dE/ZF3TFFNBw+xPmZl/opnNfxgy
beDkDnVso/K39GL6U3FmZBUFE4Gl4D1AygY5zoGlaLuuLRsTFqusMAAaKQhbF65xeDxbjNUfv+8n
noLhKAN7AAOXZEbJNgHzMulJUMAlEOVe7fkcONN/TAYichOubh0ZnMEV2Bz2YtVtS+qdpBl8sidG
XwyW7yglP1RLii59HfJa/ePCoIzVY8FJ5IojdWBpwhaxDDWuEm8f6asow4/bl+7PyzcAzPbz+m2I
gU2RD1K8jeN94o0qqnDA4LYC0OUWzrV96+7EtaLd/DzgtTkNFlJu4yzTNv2AICNSGfflcKV1bfhE
fJvTIE+py1qkVypDUK1LbjW7vd9MRkCMwHKj4z3brFtE0xsKNVnQ1zjaQFlk6rV38sLp/21he2N+
5gsdxb2gZC17B40QMU2E559lVgJGpm9kpabYurwSV3Zz+ET8MXU42PurDUv9MKOR1wdUNktG7Ql1
cKYcsmGCVdmks6nyUeFxDuMtM25/0Tv3928iiTgkksjVQkA5pJJoNhtFbHYNM0avroibexEgqw6d
sVnIVxy4i4urqmgfyAp8puLAtOxGelZtqgMCAPAbHaa5+brNb38+p/0hGVgvSDT/GmJgV1jDKELr
FrtCflmridmEz22ymxnm888DXbyBZwMNLrnZQLIHH3viIT33sgfsdSihfzNiey/kJEpGZYCyqfPz
mBcv4dmYg1vfRWEvjsLkEgR2s3aVqvJ/OMLgmqvbCqafhFkdK5Cd8Qtip//ZFAaXfLPZH81MYwpN
9yigFqtF125wf0O/nQBN1nRTMnhhh9FMnEu6Eiqc5z6xe1gcTm6fHNnZhCZzHSB6H62CUnJIZ5X/
zvk+G7o/M2fGQ83q9gRbLYa/rIk8xZGT7ZuX41YaWT+v4rAa+4fB0DReGJqZMRqDfdplmgiz+DHx
TKFxkkSw89MdpHo2ytN+e3qX01+jkWBL6cpkmgoF6xBwtVAmrpGd/CvfMnDtv33LYEuN3a47ppsu
8VCYUShS93V12uJFj5QK4ISfR7toQs4mPrDP+rYp6BplMKXa26axBzpHXpYugf9smMFONnpnCkXF
+tYmVUDRAM2pOEnRXdnHSxeavheKZDS3keUcbONxm1eFdGy5bm212iJbClXXFYN4yU6dDzHYHVku
6C8uGCKqAllBiGXXTEv6OpqN7MpAfro8uXLFL23R+YiDLaqbONK6mi0y9bcDqERlfxNfE1S6dMml
ESkAEXzJCMjE7zetLVW5qlr2R2yAUEX7eIzGH4LQKvCOJr2TE5CcP5+ISw/L+YgD25vWZhjuc0ZM
BBGxsGm0Zbh4kaXXCpcXzNf5OIMjEeb1BvYOxkmNcpxr26CCpfLnqVzcoLPFGxyJU97ztyds0GZb
22EC62f1XHO+/7NRBscgjA4HY7fh4G2hJJVKapnl88kwr2yLdMH6kLmS6e7kFvWiPL+fBHkDydJB
zpBk0/cBLmoglqIj7/KVWqypE/mnDOw6BY1totzkm3j+dyeJFyP1PhtaJIgBDU5Fk8illpbpjiYp
mNHD/ZGXpmybm1rU9Gsn8Pu29WPhHNLXCfX/0FHDUhQI6hSMFWHa6QgZKQDd4iuH47tJYhREAnQV
PQvjG9FQti9iQ+hKGjcQvT5KUGef4Dq6smsXp8LDgccpS+r365snWrxLK6ihKwpd2keZvpVG4v+8
N98tH42wBnpQMnT233lwqvwkRtBh0Am6A59rGumjDumradAQIRtzs9FeDEX/+HnMSxOj8xabpJuI
UA3t0qY2IDdQYzIrKKvtDpIlHG9iI3F/HuW7LVLo7yVOUXUW8Vv5pYR2Z6QgC+w1ufo8asX7g7y7
V7fSutiLV3inLh2Hs6G+KnRnLo2wP8abWE1ZRDV/SPNsVpjh36Sb4hgoPScS5SR1pH1ruU/jNBVU
c5t5nYFk9RGIb0M7waa+chwuzIRh+v+Ysq6Q4/jdUByFfa11ETORgVJr2f0+vnaqvz9KCp3mMsKy
PZ0Yfay/j3Bq+9uptIxwiG7zmuJbVMCDuJl1xcNGe/35DFw4ab8NNvBQNmFS7cuwybzt5iTMM3w8
L5WhRD9G0jUwz+WhDBNHAVmPb4Juh7qD9PSAZGeqv2lHPzqN5ebvnwFm89cQAzsqJnGRn7YMAfm0
CwM9tEf0Zdei9/Oi9XwEg+Cg36K/xumnenacy0O9T5XylHmaSNtduKtecnHrC0UMD7W2HcNKflvL
woMYS57ZHp6ujP79rfp99MHDixd2iBL1mHkbGgNb6MaOyBPkx9c8Xohp7on1s5bR1EF5rQs/fh77
wun/beKDs9kWbcq7xNlUT7+QxoAC/5qo5gWjpH5F9SS80K0e6r5UndrtjZHI6deA8pxip5DeDqfO
k7el8/NcLt6zPn/w50jy75t4yOIwP6Eb4eXpZo4UMW1nx49QjVdtq80z7XAlqrvwjqi8g6hxA2eG
22GwdAdZyje7VmHXogbLIbZeeAKaYebzytxR4QxVGrBRkv15kpc2jOyroWkmrLHfxFj2aIJIdCFl
XtY275AszU5qEfw8xKUdQ28EohODlAwCJL+vo3GM5UjbMISyk4IatFt8BMpBX1ShX3FqvwtI4ZsZ
KkltNM9xXZSB8e2kNNMllTO+eaFKZky68Q5wBqwKs+RO3VEYpQJ7xZEZkmH07oWKpJEMzQc4IYb/
fXrmLlbDYpMDhnL0d8rByj150sSHH8CtM8f8KPxrUeOlBe2zd4hliToquoNZ6p22NUdoC3iCTM9U
vkVApgIeIIj/h7QzW26cB6LzE7GK+3IrSqR2yfvYNyx77AG4YiEBLk+fw0kqGcsuK39yNRdTZQgg
0OhudH9nvO/a8orr+d1geDvAvsRos3zM5+m5hAamgvJwgqcGNNtS9BO74pm6aA2GLvSVrfJNwmF2
NBDW+TZKrr5MDbo7dhAaDkPqCc0bc030tJ6L6Ketu2mX0F5CLS27cvC+uXfwYOmieBQhHvKTF0Fe
MzQqDIySJygihL48i6uqRE/pNdbFd8PA7UA5GZ5WZgDo54U06ADEeyB50mqWOnSHqHwBzOsVo/Xd
KAgR5jAf/E738gToyCbjNHCMYqNKLuhRr4ESM1Re/XymvxtmflFyoPLnOOHfMup/LjgrL6WvA4cn
dd8tfPR3GNOMXyv/+2wgPobXKx87DxidizWz6Yjv4Yw8MVDEYxcSJWNof0JR/M+z+WaP4+giWwzD
YZre3yP+z2yYbepACioTq4uZdwOxOyhh7H2UYf08zhe0FmzFp4Fma/zPQFRSL8qgLAasm40OaxO1
G8MCnbpvI8QzYuMwQ6fGdYP0yRm9Xdfyht+Zqk/Dz1/1n+HH0etbUWN4SD2t0PlrQpMlrQ9QT49r
iBmiFxXFqlem/HWneGAqQfsVGDss8N/nmH/GVNJFysTLUMTz6P1CHXEFjAIk2kGXc9sVynZm6gT2
zrX6tm+uAg/BshkiZMbdg9rfz3MVeV3YvM/Rv7VUKzM2V7MpCTczWQHE5JWLhsSfZ/rdRP8d0P48
YKR75UdQpEtkV72NAV+hUGBlhtXrz8N8/Yg4ByiVs2dKle3/pU39+xHJhJ3sEA9RWRL9nkvFwGlA
iS9/nRtS5+7Gn8f7Mi0Mh+g5QjUHLrgvXjkJymbibs6SJigW2ZiWJnyR7ooJ/mr3QxxyRNGIaRDO
wvB/XrycR3atPXu+RMMbkHh2/QeL/XO2HmI7UWd07s4NaD/P7OtpnAfFEzgCDpCsvkSEk4bngxPJ
wAUBlAHiSMRDi0QdVyhinRuOzCf0G0d/UNWDDsmraNKvC/t59Iv9MmQ91xnD6LP0bXus0F0JBSak
tas3GqByrYtNtKSRtXv787SvjXthU6Xfts5Y+iwR7HESIDwziHBcex/7evwu1vbC0g2+IpAfxygw
qc5ds/GA7c1dYLpMNP4nHUqEr3PJvpuZhaOBApzAx78XHrR2JDGbMcD3rJ4Yykf6YC7Runb+5u/y
6eEHrXO4vefmqVnj8vJOKloDYCMyyMQ9KGC72pQmeEV9mVFc/xfmczZTF6Phiv2LkAsCpC4u5pQp
o805yUXipmBOpHqtEv23bRx29MpJ/8aywGV2kbYAdDSwvzhCYydGYQ0BZpZ6cmmDTlbG9mmuS84W
6q45XPNjvwRYf130mSCNVKBjX/oqw2DLXJm2hHYPO2W8O7lWsx2sbDX1JIHK6H/f+DAw/3u4S61p
VTt9PxUYroailA8f03DzxPXE/ufz9TVV/HdawFWjbnl2Zi/cc+1muY9HWwkD7STJGyqm0aQxrez1
tcqrb/Y7LlUA+KA5jyzqZdVJBKHDJueuTAzPXsvpnbkZNACvaWFcG2V2nv65wPXUGaVuHZlEWiB3
0O4Bbl/KRv/X6xOr9u9kLja6tDupVIVhPJOnRhbcsrx9QvYr+fnrfDsbkN8CJNM9F+fq82wi1SoB
PR4MA9UwyAGCZQTH37x2n83m7eLYwtNC5tS0kXGMLr0Pp26NMBc+tvY+3EY7kNVQAamWYD2ha6ZA
ZfHVw/sl5TSv3z8jXlwnrZ7aJmwwYrFB2+S2W8896yQutuLKh7qEMbruxUgXF4hfMKVahpH6eErU
I4BhR3c7Fxv6qYe+MboMl8MW5Ccrbm77E3+53tn47UeECZ7DbnAwLwNgMw+521eRTCb70S+PfgmN
V/7080b51hp6/2eQS02SLDcrin0kEzMdQHFDXmbpbmwUmc+d9iS51oX8/ZzmXjUEPF9lKJrK9fOw
wZyUtNaDha4LpChLyAj8PK3vhkGMg5TFXJ2L3fl5/8uBiGq0MEyFFsMA8mpj9NvD29XPo3xNgGKP
/DvMhdEoisKv1DwbPIV5tFpl5gnmI/bpRnsvFeQRvbDfj0yvfh53/rOXx+7fYS+MSFRrN2giDOv1
w8EQfmIQAvU/fusV14pkZiv+01AXHis3+8lH9IGhONvSXO5DUm3MUJ9KD40WVT4n6xLPUVec1vnP
/jTsxeUyuDVRkcAMIdWYCvFAJmA7o5SKVNVmbANx9Z9XNIJn7rl42UJO/tKQcQeiycVIuoTSB1ue
i8lK2sBfaHUtzrgkq85mBSOhkth2TFyel4eaEDfMckK7pNr0jwBM5gm/K3fiAdq13nJGKMy9+P6b
9I5gUMC7+8/x2+fxL897Y8Cj9ZnRJpqXqRsA+afQ+XW1puabmwHhG2TLkQoykQ69+ICmN3XTIPMu
kQRd4k2/ETq4krK7bPz+u5SuicwksO7O19okoavKnSaMofR05FDtK7rQXHp4Ga9A2Ow4GjrHfj3w
6c1SdbSa3GidseHu553zzU7FRFEeBXsG19W8MAERZKMaKyo6HALgKgGa4whrTPOp4q9mQ+IwUFe2
6ndB5KcRL06/aZBSeTZGnF0v30ozoL/qgwO81B+gpNAHBTBRv/auvfbMf/biSMLXs1DFHGHrRpeJ
+3BkiHP4PNEIbVYGcU6V2Ypl2bLtqEyyFCT/f7ibMGToIRkKpZfgb/T1j0/WTENUBGGJmS5HtI2p
1HsDhCAujqDnLNHkc83T/M6efxrw4trAq1nEcr/qEoNNKPYaXkdfw61lNoT3UFi+aEiObsiwGm/0
BPiaV5NrXvXsVXxd5f8z5YvtNNCoL9wCv8Dv262gY7UwodyJbaTpsqXQ7PPJW5CDWqMgbYmO2bnH
PeyQ+2zEJgizax/9ay0tzAV6yiHVhrTI10SrPxh2SALWwQviezsmazSHBwlARme0WB/yMyiYS0AP
0Dr287H6drdBm2muyEMMenmBW6JpIHGLTz+IaqWyYlsJAte8WPgatKPmmin5dtn/Ge5i2YXf9XQo
MZz4U72DYHaHlqJleZ+BNoZm1h29Mt7X2TkQ4kIsCB/Is1AojF3wz8auSN6HsuddYgMUq8E6hdry
6E5Apn5kUL77eSnnTft5S2EFbch+odkBr0aXptilyBD63AJTHMhVRI7rtsz/tLl7Zet+O4yHelp0
ReFh76+j+c+ceoaQ1Jo17dsODGNnzKFZxEAOwQ0ebn6e0dfLxYEVmusbkC1HE8dFdGMOUA+kqoT0
J0WaTpDhWcu2uuLcfXWynFmRBBE73GOgei5usBz+oxauVolVo7sb7xANKhAA0hLeeMujj/86o/n9
FUkJ0J2A0L9scmBKOjmkihSC9fp1bNudVYI59/MY35zlmWXvB6gQwkMDNsXnXTdS05fKFjqhewjX
oqO4XaEtN1+jh/cMAiFYnC50ItzYekC14fla6Pb1o30eff7/f/YHUryyDcFkShQH9RdvUEb1dmWC
c/D3ead/HmLeov8MUQVV6ZIRQ7ipkwTr5g6lXXn6FzKE/pvEv/15vGszujAaso80NajUSdFFD344
7s2xSv77ELNvAY01nMwvm9AkVekNbafRcaNWOVdrbVj3Pw/x9dz+T/flfw1x6RCGrGh5F2IW9sDj
cKRrnnfrzMqufJzvFgsJPrwJQlPIRorv87fpSoN1Imh1YhZQZy9D0MabxrxiGL6bC5L3sw4FpGGR
H/08SBRpw2MSyyU0KMqV3tuqf5/Q6fzzkn03F+Re8d6CHjEUS17Yn1IWAoVIBUhhocNSP7M0kKtR
vfp5lG8mg7sXUJc5jYOE3sVkClpwKyyqIQnJIfSMBVV4gyR68f83ykWA180106XAKMI4k25clg6E
kfKrT4LfLNmnyVx8fpnrfoBAFyZz6PbiCIRyUhZLtMiuZpiOfKhiCDb855nNXX/ow0awNWeoPm8G
0ee9oxgbkrJvd+iEYgvhQ1wPFUv/LwPNb9EhSkm/dgO7lbadqeZYQgq5cFbtAmivkgjwi58n9M0a
ojgbz3wo9HQsUO0+TyjkKMCggwDwrwCOfASWp1ZXLvGvlx4eh2c0SIjuPvgMFzu7L31RZ6wHPnw4
GT0ECSBrz4chLp1rni4evL6GTpjI/B6NIBHzurzG+dR0crCiNmmn2rHWwQR18BoSvLgaShrRZCQ9
+WhyeN4rH0LBq5GUNYoJ8DmfhM7dKQ5kXW19vM+va9MBZtCvnG0IykmStx66RbxSraPGYssJ0SM0
E3on5qjvTDReIJad5w8rBHTFOlQgROc0qM+ezat7vGvaHBIRnvQWaN4yAekfszVRXcVXbo5y1AQ7
Lm9WUcn7jwyPrxFQtahViSOU6XfrCSZ77boM+jAyR6VzYlRTCWEI0FG1baD5PwzETra5mXKtrdeQ
N8CKBz1oALqFgOCAn2b6U7O0PEhHaNLSlNAm26MTayZMokNSxFMjK7mgBTDpvc4BdC+tQKx4q2yd
VGOg02KwizujrBUkPECvaqscKg5sAKaMmL/tzv3dhwF4wMAfFXTdRwXoNrXvQAoj2+gBgGTUI6Aj
MJftxpMM0q2294jY7wj/8Zfi1i+/AieXFzo26iFtjOaeZ+ad7Y2rCM8qANUXD9LNz01frUptpSGE
6FtDgBRdywcGtEEr3VudFymlWQQ6vP5FOnB0x/5oN+zDItOxk9Z+NEr4JBFwzfVdVoDbQ6bXvu42
XmGIRc+H8tgz60R6d0+5f1eX5tHX7OB15NATYKaiSOAxp7VTT9Rg7A/C3kQafOe+gd6X04Jha5RP
rC43bRP8sXgE+hXLzl0BNIxbH+0u+OOWY8wsc4PlASgqH1KZkZdmgBiEASK+b59dvzhFHtoZCTNe
2qowtzOPMvZovWoNH5sXWGwDEKOI+v7eNglbqQLgi9DaNEg2bUzVQaEmM6eFNUv65fKuNpvgNBgk
AKu6tmMZuUCrm5m7ygw1I/UB4XQbHzj7zuLLxoJ0QzQ3BBgCrNMB7Fm39Z4IU89j6I8o8KEjWNHT
qshmgYjCQlHT2B1lFEBEoRlB0A7955pbYm33Y7aB3/Rg616uu7J5LzKg2fLKAE+gq9Gt3NEiieC7
LQamHZSzAfsmQyhR1XCQsfc5oNcNSVhEXpWvXwejfSPWiCuxRp4Aja53vOT1VhDQuM0JejGdhNfp
yuHP6LsrK8MS9XW26s35xHQBGCIZe3SQVl2UCiR+3yzBbBHuLkTtuWiq5RQFOnZLlB2PHX+2VLZr
RlBT8LbO47Fy73tuFWmegRFMi7Po0dMUyC2L0Gfbhy/o9/PQilkaSFfwYEMnVWwsMQDvbAOwLhV4
YrV+gQrro/aAzg/rR1v5957hbweZ3UaTOENrbzMZwU1TsE3NxCkfJC5MJ5gVI6IGDafMX1lmuWuH
vl2MkzZjklnjvuKBs2E0EgjcEWVm7ZLXbDu5QMTY3tEBqruv8ncUfeqF73IcQ2OpWX1wp+gDS/SH
yqFZZI0+lH4d+4Z67HtoX6A/7o+v++1YD7cEDi4OCIg++nfvDbesNA52M66n3rtjof0L3Rt+QpV/
hKGD8ajLJ0s7wNHY6ClitHjNpy51uvBhHHxn0bKMg2mVQ4/H9p9c9BjGJQ/YQpr9Fq+cBzUaH1Pd
3hVdvWUUsi6FX95QE5B2uzblEsKUm1aPz6VonrvB+bA7qhbtGFXbCJJaC57ZdGWrmqUmQBaLRmR3
sqYPZoAvHSq7XY4hA5S7CtU2UzxLA1GFiR/Wt1PloJ4mbNd1Kd78oceGijow8HteLyNnAtu+J4Aa
GwQaxBa/I7AbLfHfuG7uXA+EebOnOmVugZdzKyWTf6N0/TiGDvR+9O00VmfT1jcIOG/RvBuPIHjZ
cxmnidpz+GiPzsCfSmotWhdaBBFdWwKg956ah4lGd1yR3WhDvIS77q+2AOa8ndKcDLFym/VY14cJ
ieyR0qXJ7SRTY+poJ+ER2BkRcE4BWSkLL6eUrDTu97Br1tx0E6hGrSRKwhzD2hEfQlYUxSlVmaW5
m28NJo6TCm+jiB/x4QlkgjWIbYSefWU+V5XYA366U8G4Jsx6zfqcL6ZpAhG/Ds7SzgtsoxwqEDSD
csks7kS8VxFWZ+lUKOXm2RpO6d2AKcPlSRpbbrwJzHNLLuscUCMNpWcPhFLD3oVecatMXE4RDIFT
IJAoawD/JjwA+t4tlyEUvAF4k9OeeMGODs2yMfgxs8INapqe8mBYVHm2zpCBj602e4cPtRkrvZmr
I8MBkFo3ij0fTGwodXcgt0elv4Mg5LJmw6+pkJCcbZpjF+TAMgdorym1B+Qb6A6QuyhAWyiM0wgk
9ETLu9pQtxNTJ6MLPhooTdQWAFXFcA46ayNIkw5sWuYBeeu8bMWcEGIBRt0v6q7N4sygANMNEjQo
wzkRafzWoZUDEU02AXF/2SyD9oXbbvp+vM+K5kVE7EGI/LYaNbjXBEVuhaGmJdoMAJ23Id7jEjDd
uanPWd89lpYRoVwSSPhIBAt0Pd1OLuoe7PDDk84aDmdMKioWZdFsR4pyeqmfkIs9WLZ/iEKk3wK5
syuc1dpVJ99uPwIeHWUO612Md1UD0nGYn7yALp2m3U2T8+IEYxqMfJ35XYzcFIiYDWjaWVCbSYmP
La1GLJuove8Chk8vjBWjJV/6LXB5pDU+SMg2UdGigKkt5Z1Nu3LpkvCJRuHWzsDC6xmFoAkWKfZq
RHlRFG1tMeyFZ/4aJT8USm6nKrLjrCqM3ZB5GsJivbOy4FUtJt0OK11D+6OTBFuqnpKhbANIuXWr
Ogx3yGEcRlFvcg3ofeutC+0BQRgOPgysAdGByIMyRSUPdcTeAuY/mfB6Fo7VP+dOc+oNP5V99Rxm
oX+b1xAVQJnIXVXnVTzVGs9ZkfVmcgD4JjmFcVtCyksxaD/lpn4amGntbGS1jvMYkDBovN81xU6Z
ZE4PuYygs5VNEBZRLuCQRnAknExbu2P1fRdW4a1qSwMyMMjVikUFPsFtAGVOUNEpgJwj0dHBsIm3
k76awk1WmiaE6WiYRkqDgSTsdggSUWSoFi7KRqOs3Jkgsh7WdhR3tgmnMtMg2aHX/IE4+bh15cS2
2qW4vDvSupDo0eZJeIZ5GgU4x7g7RDp4CPPD0uBvAezGCq3Oj0oqKwVT4FRm1jFQ9bJW/ZE29X2k
HBfuNPj9BnlTwfAbBfxJSYN9b0AtyLBhQZTEOpHmySz6XzU3/1R+kdii2QKas6JW/spUA5vodge/
MpADqBGiZxGEHTrAbwrGf9uSnZypPyK3vpR9vq2QJ1spk0IG2GieXVW/GAUKx4iQ3lJSaaQ0gLBI
G+HuaQpo9CgfZrZBYR2hh8Bqd4OrNqYgxyqHMoNo6MrU+dJFR49vk5c8gI4CM9dT0fcbAGBSEXkP
nR0OMeqK957oHrgbvMN7Q9Xm4ELOIMjtFfM7trSs7sFD3+pCTrwFTZBuzaaE2I5vdlvakJQxHIIO
0QZKp26svk6bCdIZYw+UWyjQM990u0B3KfGMNMfAcOhgOP2SpVrII9o8bk03goZ2OeSLwqA8LTIX
dXlDJXGhgbzqSO8l7+WBiZwt3UjM6Hzo4xDZjjGh5Eaa/qEouwf0hj00E5JfTfPOikbcerrZEunt
deWcfAfCHUGvVkWbi2Vnw9bwOrgPssJC4XEDFYcWoatdtPaiiMoOVtd30r7wN4YbjtAxg+CJnw+b
QNHpznfG4K0LtblEd+DS17ROyqqr9qQkW25UKS7SuyHodOxZU/k61P0HKYD6D4YbO4dJJYyfXN/K
odyAxuPCUhC1JLCliuRvZtbfW9oyY8+DGlLGNrmtTwDhQx7FQjIMNb7vBRiZGaK3RebyVeG6a9R1
Hs1J7bRB9kUWPOQi3NIe8lMMImA6zx9kS9ZmUL0p5f6So/lI7emVFUEDwZE8Ww2qPXlymFbhrEcD
fxEuUYg/rxneSAOl7/0G/Y7o8V3ZtQt9FM1AuA9g8qwuOAh4LvCGZZ70oaU3ZgsZkCKnXsyF2grD
SEiBqK0xATLrh33Wo+CzCoZl1eCNJ2gh7Y2TvMFre1oiqlK9OlhGt+Yq+MNtaL6pwboV8GtcZu5Z
gd7cQiSVhMiXD1XFkYI2TJ/tJkqsEYlwWIM5NASQObJxVYgda+laF7jYxzC8FwEsZW/SZOiAXyH2
toQczJiLO0cWUMw0xt+IkJolVJhjNJKdmenmMQI7KBVNz4GA8pEr7pH2HHHZVyfXBM2djmh64Qdb
R88o+z6yKH/uevN2aHO8+1oqdfqcPghl+OvCbQ1c0tJ5tcPmj4ymYME1lMwH5icIHiAihfris6w6
sofTBNBrCLelrYcn0dUPBvqBy6j6bfsdWXaOcYjQB1jrfmcznjSOj30ZFL8GXwP17xUPCKJWE4Rt
4DmA+iLTupiZo0jT+SV/IMh9QA2OQZ0iS1Gv+y77/j2s/RtWTocpCG494d74YwPxwPCPXQNKm+NP
6jFC74l/O9T6QFG8vOhyePnEHndGlsUlK3EJ5KBqTqVcTnR8UIG97/C/2rI2iFfTqhTHgQI3QmsS
xQINInEQDmcpgvvKa8z1MMIcNAGkwNoqe6Bd/zK25a1B1YrVTppJ6zHA+fQsONFONVkLPJ491I08
WwVflcMEtwbKRaOfVH30UnIKWTpYcbcoHztZ7MOmO3RV9eBX9sYdyGrAj+IUxfmu0X9Y1rDFW/rR
yqM0z/n92JuvuHfeM443t2ycDkbfbMMCiUHf8paMRQ8WrNLCm6CzFVjVAmiNPdCHu9IFC08U8EZ9
f93iAnJEcIPQe113aNYIBB5t+2FX6RzaPTk8e5ZSp0lqbJmFQ+m2tiLIXZJUGdNWiWBvT8EGBUov
NYd0nhjChIdl+Bhx6dzy0gEko4ug5ddN2NB2dydcdRPVEBm1BVDWQVek0nJjXwioFebhR+jDKDkZ
ntuCYTOi1i/u/aZbTlYJJbHRIe9qKN/DrPw9WcaH1fh3ZlY+IVuRtHX1YLSgYWPfNcUUQieT3Nue
OAjNvUXp4gM7uA5418GZ1fm+aSFJwlx7ZdF6j4h+2QT9vuzDYRn4oJyWjXPA2Th3UkKcpzXXWkXj
ajLxexjI1p4BWcw+bKAD5q1yFxW3nv3UIfIHMb39XZftaTJNcKoElHIcIs5Nh1UdOFjraJZa4Ine
jN0OzewdZH16UFq8PK1qZ1p4Y3Cfddkxy8ByZhDlFOzJGssbrDUULnna6voNTsnBI3NLTRPXNnI/
VTPdUqRBCLFWfePcsWF4D2yZUoCvxyrYD5UAeJ8gBRGUzs6Fw47X611AUXLo58GG8/zJZWCF2+W9
k8OymxqYxEhuDb97jkZUSIWOOnHEcgvuZ78Z4MLShiYW57YDgZN+ZwbkjtpdCRAQT7QJLyeMEhVZ
jzbaBYGM0I91hjUTTvfgVh2KybPgHnHfrpDVY94UqUYAHhJ+I3PoOQCtEvdanDoPOmLKOUWFt6RO
hB4sl98YHexjrWsAG8cRRgcrhAg5pYa7mbzylvl1Ikdj72jvyGv74ObTKu+Ap6SCZDHec3c+1E45
iDGjg8uA2ykO/MbANduH7HnIszteG6uh4X/6QcCZA3m3GQGI1GiRmsS2qSDL2lfgg6OYZeFm4C25
JDg2848KB7IN2vrVGrLnzhpBXMsaJLNrZccVM5Bd49z4GCmU88y8b9LKtXaalmWcjT7yM24JMGbd
v7dNbq97Ywi2NQ/gXnjqbI4Zdo5jbWUfHD0XVfK1CM6Zit5U5DxIx7wHHvTkdd6rQaebthYPFTGO
LWti9MtjSwww/Rr6etZL2NivBZzLBbrNtz1sYWdybDYIi81EdG09GbL5jXzCkbkKCX+qtn5ZH0wD
r6s9qPyUb9A5GfuqiR1UKoP8g0TCAIpdvhq5gdi+RfQGhlnkJnqsDqIxVh33dnDR18T+QFyXuWe/
pggaIIrExruSRwcHUp6GAtNB772Q7DhUgNCzVi4MKDNG2W3v622owi2BYhShEiJG7QoGZlENVtpS
oHlBx4+oSkb5yxnOdbcPW0jJBH0aoiirM8+yq28Kr/vTjTTaOOaEYq2eghqn0RrTWboH2USsMw2a
akjtfGkp8SLRvN7YZGv2xjEMiz8ozO4Wde/cK8PFzRfZt74Os5VRQT7NsoBuAzMMWJGsyhYUej9T
054KpEeDBjDqULcpvONV3Tg3AypTMoGMCZR1hqJ/qUdkmcQYuwZZFxzqB1W0HpBoxDW8Rwj9IPwy
NXyShN6wxn5HvIPUYhH5x35i68ZBzYVVPjJSnhqbng1PpzaFYF8DvkRep910Y9gthASHW94ia2WC
IE3nZCi0GKvtxMBv9kD6H/mtlLNYK2pX3HahkOXLIZmMZOPKn3OmY3RrIa0RZ/Yv1rd7OrK0M6DS
5b0rSF+NvkNiYdA7Fk1rjfr1ySv2zeQencndwF2BunOdqhFqm0CtYd7WGrnLsxjILx+emocQLApe
uggahU2zNrFxU2q/DjlNJkAkOm4d6cDpqoKenYNYN8qh3CmfQs5eIiXOygufB/3OJXTTQpDlSfMW
+dkj0vN//H5Yw8AnFRKAg3Ygn1fHnOKoT+6pb4aNRk3OMGIzzVFpaaydbIgz7d9r5NOHoRmxcbo7
C2oKUTvc8z5cu1FxwzzoxE0QWBN2jbND10NeJA30wIrhjok/Bby+zj6bpbNw4PWrHpbX5hkC8/ui
AhnYCqGyKpcSZ4YX1t6vIDAxIKHu+WvZypXBnxu7XGqzgDBasXStftth3VGSd5RsSP0epN0uWOZh
B0Y1ZLdc66Chr42cJVQx8LBZ9Uj74QV1svTOKfiuzTaqFPGIOiCzQzE+fJ0FQ0ekHUz7jEPttrTT
CTKHEXiXEWp1IguQeENu26nYoF3m2eKQGoRiKdralfvCu/JM3RXAXgsGRhqZbnJ/XJqI/xzM2qLL
cYR2bmUvwvIQBjKeOTCNfNG5GefhszVCkW2eowTjVrRxG0D8BVQyW6k0952dQMELkcFqDMpNXUPm
w4GCF8SekU5GCmtYRd7tMP4JCY1VxVIrB3QZQU8O9gzs6MJSGilXclR5sHRRgzXghYMZ7h9YiKUt
8aWzvtgg5k7a4bf0nBMyeLHZH3y907pD3g8KKaLcUGZs7ArCdL31amS/kNpfKYFeQCxNjq5IOkI4
r8OribRwJU2LcsATInRdcoAZ4UnpCgmhwk2ztovxBLOtA9AMeX6jVL7sWgt9lW9F0SyoqfBExpba
OXCh1yAR4WOfvfqWDWpR+hKikA4kpaP6pMpCwGHlS4RIJxlBLdh1DmXz5qvhvh1lLLMX0zf3A65q
+FeLmkbILo8L9BzFekQlhUauul41kZMG6B/F+TOQRFVPkbceI3wtPM4UwGHJgm7FaC2J+uUxiJTL
YFMYzaFh7TM3+1VpNJumAKW9eC+iZuMjwepCjBpAhLXXnwnAYL0fLgyIFIyds3R7d+vL96o20sy8
kdxcM/pOc3F0CBxb5NEaAj6V4e6qANB7G6qBuFoYqdZITrLhti7I02QXQKN20Iu+CYcOxdlQh/OA
GC9UteKQl3Md8wlcw1WB/tA8hGTfxKIFsby7FvEEDHFYHVpIHICs7ndoI4USQCV+T85NxIwFWBCL
1hT3TrdueZ/0kNGoyt941l8GU75uafuaBZCBZFEsB/+I2AV7sjD2fhkuuQl8M6mBaZl2zHbXHm1T
C2IU/raDXGkUpENtnCfyYVR4wrFOBcfvIZDBVDhVoMCb78C8Ls1Z4tQbTKQcrH07mSouy/JXRHq8
Kumq3UVIacU27yH+nHkg2JeQvPDYBBk0YuLbhXQ9uhpiCJ0IlyOv7xDfuAtK8nuH0U0V4C0Jb0Y5
UlHBC8oRHdzo08moIBjHohUDxytu7aKOo8p9C6zpHi9xm4wTREnBGiZg67TdUoRojJMyRqHsdpwg
W5pnG6S6Yxt084Zn71pMCxSOwK1BTaEdIWEL5Fi/mCwoyLH2oSQCoqxj3ORVYiEDgRuonWNupHxt
/lt4+ep/cHQm220iURh+Is4BinEr0CxLnu1kU8dxHOahmAp4+v7Uu16knciCqnv/0XQpBDeMiyy/
Uu5GG1CHwWZssDQUMhYDeLe3G9Kae2XdGz6YFYiGr/OtoOWiyLLNFCTbjp05meZvOWATNiiCcebd
DOSZlSSx2/Jii26ruTY2Tmk9daSnBtQFQMj9G+v0bA350QcbIhL7Mbg/UQaVe1VuvUFm0RVJt2uX
Yi31I3N0Tmmg9lZqfgH1PzfJM7mCgZgfHK7NoHJ2qRRHItjiSa7xpHiyPWq6s0ChgkSkZZbcLPn8
HGbzWZvFoYDgSmYKFuYhezTUcCrT6c+gywPSh21gdxIcmeuzCqHwn4NyOjRW8arYjFNbHB07P5GR
Fw0hyLfVPhWBpstLgsMuMv1cRXpBwHhDYbE1ZR4FNEJbKpoX+6NuvKtcqSaVTuyW47G1iCk09tbs
xpanX23P2PpuHbliefZr8ZyOmr6YwP+9LNlRNbgywLXzNT0XdtFviuaqmoZ2Di4R+nUCc3jTAWdM
B4vJZQDuTFl8QrFpTec0vfLl7GxsZ+WNryJRfPs2d7J2Hmw7u5Lh5S34gjSN3sYLK4ZdHjqKgDMu
KYfqW4MSkwFDSPeAm+G+fYj5KUydpzWjzHAAqSTLxbpXwU7JxqplnPq/eHRimdEfbLe7YUC0b3jb
cnLiOfV27Jzse+OhMc5Dah+b7iWw0mNaYy0Ue7jO7Vrlb+OUntiqj/0yxMto7AzaH7QeooIa6r40
33SpadJcfhbIOxjVnaeyvWmuJ5mr46CfSGXZtHRr2uq7B0/sAL6rXD8DhLOW64Pl0QE8QgIkThyW
zTbNjJM384Tn4EDKtW5Ll16dCo0Fu7gOF37svE2GIYiacKx4d2tzJ5KGQ9O55w7UP1nYHKdy+cQP
F8ta712RvaHF3ZZ+wRjamfuxDWkgzfaGM3wCgVC3myYPrlX227JMf7FrEdMkWspLlSmvs9dW1aa3
2HzKH2VO5o/lp8XBD/N3SZ5IZOf6j2rNbRcm+zK3n2U/vXUdKvqePQF4d96bRngeclrp7nIHUcG6
WJPJ6zT9qwz87ppWnboEiWhFhvigyFz7eS7UeGuEle1rfu6hHHu4cqFHQNyyt+yTbhxr601MO162
HenqWZszITxRUzYke5qRzn55qEbCbjiH2a3ufs38HSf8NbuwdqIm+DZYyoyVoqSZhiBKirLKZYL9
qezpcie+c/U923AKAoocEYcksa9rrrn6s/oPYCtxnZpX5brHGriz0mFsDJDmDX2sIUijvQsyJxLe
eEpE8IE8hkbjJ/Ki955CmgJI2mNP5FBt3eIYGrip7QVgaDzUcCaKLtiRRqV8fK/DNzUwThT9roTm
5XimnyQdzZ3VGUGMTHT67fmy3wWtGrY5ur2H2urgpYzGIK22/2cma/siw77iTLIop8o86OayU7vB
YKadm/pExhINPuFPOsnwIfHdMM59fz3KNZ0fGqMa4zyRiNZSBclYT+2pzDPa1oj/28ke1jetMieW
TJUb/llU0cxlQOdQtT56XWdeynEmGTsBfI8gsMeDnhy9t4MquCAqEGTpul9WVfxOsvZHZeZvMZJd
Pa4ktzprs2yzxLOjRhVPOG3709yb7EUuBzK8ynKYKKTcZ/PaH0sSYZ8qk1tISEafoLf1pRuKZJsv
1b8MgOCp53Dbt3Xx3YxPIFCbRY+xnnjulmUOo5oWkyrQv/wi3YtOfai+v3iDuQ+G7AICxVbAtlHO
8tD5iYzLzvwgKlBu3FpsJ9s+e4m989ruiFN5KwTQUl4IK56s9prnwIDkTPxbM9s4dCXlJzL8Ds2d
Wn58bUdLRkHNZJAjP+2nMrwZ1poixhH0oInkAewzIsy22lTCO2X8wqMEiQwSuaPu1F4vJbIHul7k
GrXSi1eMtW5DtOjAoU8yt6wfnRFgnBPYbojKAAi3Z6q4Wpu2mjlWgz6SRBGXfbIzguZJ+cOD3doX
lc57NZhbZFP3/hx6h1B6GC0tLZZ/Dpf+wCBP+eYNFQcLmDi6CScuf/SOwoUZ5ZLiNWu+4bkAr4HC
e3HwvJs7+rvAUid3PgeF2jTrjxqSf8IcL3XabO2MIleLd61P9lYzHcA0L8JND3bJ3OKMn34aUvIZ
pNuC9YQH7aKqdq950SiF2qA1o+Ad1QovOpn28Z1B0I7xlZsWzTVL3HuU2OfLoU26M9KBra5cRKUu
VxptMoxrRpgdwrG+qXHeOUDco04vbW/fps7ae4CCZgoK3ZMC4KhPQGyJykc+84QdGzHuy1DQlmN6
L8M6XQ3L+z1OkrPtLylq/OX9R1pAFFghZmcEEe4HMMOOw+7UBctuHpOtNiC7m7aLvbTmGpXHdf3j
r2dlj+cWcl71IRNR/2pPztlR5WdYsvqpWzqFsVqTOHO8o5fq31ajznnePeVW8Wssxzc8m/ukvJMv
gfvJvR+3PQ2gwcUYsnfWjhN3P4G6qB1o2FHBzhbI0xrIq6bCj0EJuEF1fGbufD39QJU9SP+b1K3N
kLBmrU+rmTWgLjgp0uRQJ+0GHg91HQRrAeI1bBw6luaZxrBVDGSAWXQHuT+Tcal5YRW/FX914lLr
S1b1H2LKKWnvy32jgc9N43NugKi7eyO2QwUBJc9dQUN8t81c9sgWZihwULeWpz47hXO/L4OVjLP2
uURpoemxrILiw13HQ6HWv3YWbEuKDasU4GX68Bbz4FUgdX11MZngLB7qLjA2QZteBibWmR5QLTbh
0G0gVOg3pOk9JaiEpKCy/TR5b832a5yeQh93cE6blW9xb37pemtxuWfJdunqUyvHh5lZMwcWoG7J
0vYha689cF5Km1yLaNFg0Myfhv63LVxAKSw/8/oVLAiSZi/ClwTuapwp1Z6yb7FGYzgyfi5kOfPZ
JjsOoCjyxD7mU3asM+Op9eXZcQFN6zZkNc6jXk3xaNDYDYhjicfVCMHtjGVfWlZcQbWxOaEr0ddw
RSKctGfXhxR0rFj4uCSbr6Ce96X9RYQc5XjptVz6f5zmpyQAaVzbWHWIWRym4fqUN9kpCfM35s8I
CRSdd75za1lCgzvAuiSPTXbhxbpVzFXg+JGZC/CO64zfmp2UuEHYJEHHKIEhEuqqZdN1xl038rwL
EIoyOQ2SzIOVmJh6eQ/qP8FCEQ7lewNtYMs5N+mP6PdgRptOFnuv71gK23jpmsdC8JvTLJbyajc3
kPpNPxzzXnDdVrGe6UkQP+X927CHPTdwJGp6y8CqrD9r+jkHAwCViKe2YeyE1URI37qfItfohsyN
7eb/upYLwHlFJghQkmKRcWMv40QZwtgz1qcunb6bQhw7ofedO26UEi8CTFp4AlKLG7TN0FwpQI7l
GCJXaaqOoLJjV9JW74e4j4sdmlH8o2ROxqamorJmYhUCPQvKnmA5SyxifpofDRnGU0/pu1Ej+4KI
msHLMvFPVw9setdCWdzJMw8yGhSyzpnRD6kVnHK/j7n335OB7gQHQ3z/kzJfZhKVmhEekxnu1+J6
DNZNadICOP7z/U9ZpXHVDpFeSV7paFn2nWhicgkZcts6PGCIgWb2/66d+Z1UOBfli0UL5OAwwJdz
JEKO6VRdiy48zWjPhgldbR/QzzHufcGUBby4KDbaUGUADmFUpTL2EuDO3noJYFaWlKoy2TinZG3i
PLAOrqcuBbjyxilsJIvzL5H0D1iA0GOpyBHF1TDy2ALB3QvLhy1o3tClnP3RY86hiZP/nqDsq9Wj
DdkBWBJb6XEjtJ95Pp8r6J7F+nRS+4ShIzaUH+ez2DQ1HkIYzyU7D3C8JQf/EjCO1OWm9vKT5fhb
c6kOK25uZLxsNmg1or7jpSuXejMn5Sa1uEjVuA9N2soBrXy6qVNUE4CdSFiAfuCcirMDmGg7SO/W
Li6HcXevv0hXrhDG/pU2SZKwL6KXxAPaL5O95gDF7SEdudyYI+SIPMf0WD1SyidpE8jLa+V3W2ou
YhCFGHJ+X4GTO3yLnCib0OQ0zn6nBkj6Mh8yFJBdYh7UPDFihL+s+o9wyARswxtqc+Qtj6ZWEfbq
7RB+tDzRy/RelM+WSeMm+EGB3LzVB6dl7Deq7qh9J9ZF/mvwEFAqhBIt/4dhoxgkXyKHNiv+JvzY
NFEHVOyb0Vu3HiOu26HsLl+C+TLP+ba4A2XDFN+ZWxCrXTYsr8b8pBoRyZDeWNvZYfDYJi4XIuB+
1s0se0F1DEz7TTnmo2Hmr6YzPVRE3E4FBPw8iJ9WuuKodHBzXQe/zGiI7RLUexNA1579eHJwHCdi
k4XGbrgX1SSuzSN7fy0d/eimBnoZbqIayLy3PYqTJ+Orc82jXxR/uXAf15wSWcRX2Q7d+SmX45/A
qqk+ra7LwNaadDVNxFUNGpJ0XylYMOUqlMSpbV2aj566ocE5EZa7LZPhgBaZw0uvf7zK2gIh7/yO
UNaSx8ZU54Exm+v8oEK9tUE0bF/v4FVJ4SwjJxwAaipqV+8Gf5d5QBXJtXa6l3RIH82c9lZfPSS5
/Sft+83AXYNK21mcZwueu02qW64ILW27gxny9bXUsOUZBBpNxKJAeWY/esM1F9OL0YZnvwq2hvdJ
zviJQvKNP1WRtTymtGp5w6mhOdehZyFk2UZ5ch65jejTOHTc+jVyuB7WecgXAOrqrmTYG73315q5
/lrQOVau4b4Q1R+y0PslJ6NgDOhR8I6zSs+lJn8u5ckMTmNivNTOuJnosxzTaQedQ/NlFifhZziP
z4Hf/2rAwVpEjjPfQYacaUymKOvQOlJPUvRrDFsSld1vzWaT3Wmg3qDXJo21IZkqpzM+kAjweRN2
RG2t4dbL1HuYTEgS9Sazqij1y8ModNRM5UNp0OfJWNAqQF1vnk91BexfjPOhyfJYO8yqNeASvFhU
15RCcKLKOn9cfHUsfKzuHinjKnFIAc/asyR5URPQlilCMxUh5/N6QAwUJ04fr8xV1OdgAOguKC1j
nV+tMb3KROpN3aRvHIDHsnI20nuaquxkV8sehh9F4XCpiUOUaJ7q9BGZyL7JWQYEOu0uCzfukL/W
VfCQVd3Nl2DA1XfjG4fByOJe6X+AE5d0LT+kokGUpnuVe7hLsscC6s4LmzFCAzFxfeYnd0TuGpq0
UdSBcQkn9spwjrr2htXnhDH4UIQIrs0ZmbH6EUUdA2NHiuor9GMotdJ9AIGztFvFsNu45dnkQUzB
E6fAvXghbu7Wep9HCiBVEJm+e9PS+VPVw2O6TLcK1n8waTqd8pfR6a+dmGIsRi9hn32RfX6TZf9E
/hZVnCa6Wb1a8N/TIWOKyxFwDb7/MHAYeDnUTcZsI0u7OjRF8jvhJGDe/Ee8+mWyobQtQWNems7r
xmxGdRiwBaA6tM0onQf0reDKhiUfZid9cof2OXXv3GPg76WFPHbwYUHsjE+S3GxBDmtBI7FsTzhi
NuFqR61P71PrSiB5I1J6jnv3faoBxFuOTt1huErrz5qtUmiXC7J79TL9Lov6S5vVa2CsmyrJn8I5
OzTapwJrjzVB5Bl8L9SauWzuPkHFuJhWejvJ9N2l8M5Arp53dL82W4lDIZzEczPdOTEEkZpua7l8
UC8gH+ok/yZn+DEnUh4dZQ20HjyBbfH4CJiOoXzVQ39c/PVqF3P1yxt5F5Jy1ZtA6/0Y2EO0jvbV
WpJvwQKXTcGvxAeQ0UFix8hsGQT65Dh1PJd3HMicgxyISqpTETa+uWmctDnaSLUjo7a8aF7N4cPr
E/c6cMbtnWohkMNw5EtGxwiB+qZ5Wdb1lhjV2bflTtTtTymGSxmYYwxqZ288W50IfoyNHB1Xl4YH
zqo+KoHQANeaS7iSUwDXwb/B4NxvJA94WrenIQ9OPK8sO55DJ+mcZ6ylU8B9ojyWmbzZwWCsyO+z
4ujzgzY9K0vk9/LPaM8XgAtelqY+Tl7wUwdit/pTE8+5oIPbBbO21zvYHdAGv7B/kZqrN/YwbkOn
3XW1eJROiGdBIrVVCu1bPjlE/bQjo6LM/i4VXgmo2dNKagaPhZgPBHkzc971Tgb0dqSDZdhoVcTJ
wjksVvGQW8khtLv3yU5efGPEa1KwYHre5zQjayjVTVT+yzLSLTxJIvwVl2poEFcBMxv52cpqn7EE
uhbhhIZERG+EgdppK70JjGcnC9sTQjciudZk59SjD3Mg0ARnBA8E3bkuUnSu1pLFi5t+GsFdEJH9
WgFzcJTdBPYW1gF1Yq5kFGqSf6RXmpdi8o33bDZEXCY9epdetPcvX+99OZp7pOz3DzLoR78Jxi3q
PRWN3dxddM21TPu5yMdtVVgmP9oy1d/ezPIHP3dG3klg7KFAspiHuJSQUWbgKwptr7/yp8eViFDI
7e7Jqx3wMPBPEVnDyAefVZJmtCsUkvL5vDzNhXOvX3cd2MFyqpNjkbBmY1gT78iP2EVsrbAFSNli
GnKAxUnN+lu7zJFG7o9PvZLBN9OutW+KwPwTMsOd+9R193mD1JlnuH+4R3ptTD+F2/ASbn5Ds+pW
ohKP5Asa+wID4N16c9dnprRWnE01I7HUvX+qZ8vA7mCsaDaKICliDwvptXEr52kqCvdFmdo/JK1l
XY1awDfdDWtVpO8rn4mE/BCgrmHKXcKXVZee3DKtrJvFzo2IJJUw50q9yyOlMHZqDeWuWJKFu7Nr
4qas5G7E77Lr/YBTnviz51U7uMz4x8WZtIbtPX4AI1BHU1Wv2u1iZDiNe6xwHVTsRiBgh5LOTlIr
8TgFbXeq3ERuh+ouw3QD9ZgTZnIUc9EcmgG9kVAsNkOw+IdgSHjQbK+vowFxbuw7JeNJP7TMIEBI
3wyGycFTTXIT0xxQHV2tkIjwcJoD2NGfaREOt9n36he78mdalKWx/qS1szxIF17FV1mKXKnLH/PA
7S+t4emtDKsl2SukvDtHr/6VidQ+tmaqHwUVd3tb3pvZdTDGHufYJsGBc8gpuGAhALvG3/EjFvGY
LcX6hG4cTibtkmc/QHzcQZO8TtMU0F0bDMD/hR3eBYkG6l+/y39l7YxUBgmhZcFB43/kExtbq1+d
Jw9d9EvaWn/zBSwvq7v1ucLavaWZBGQaO9Gxx5axNwzK/Wy/Vgz9NBzbY/GF5olu2EWe+XIsZnXU
JtqfvhfVY8pTGDzhiq510thxGPZfODz57Ydy3lo8E/uq6tabZ9aEZNRc2l6WmL9sqoIPVeXgsml1
cxpIGGAeQjrS2RbpSVNVeLzA7fxJSA2ojTSN9JdjpM0fEdRVxCE77i3hPraBv+DzoYAuYYxpXnU6
ckVUjs+g7cOkz2u2LbpJb1CjLAfAPLmXmSFPyvdgGOcKkov3IypDryccZSRiW+mWAmUOsJQFECNW
WITmc+nZ5XbIR1qsMzv50LY2DtiSmufMWAOIhNxkUTZQudzJhREG0ld++qnXIn9AMkJSq1EIlOPS
PCWoffew0cSw1H1+DLSFGmYcNcAcopltHjaKLQfb3cbxZ3kzpVp20p/bG0rhYY5YQFQaN8XgvK/O
yFgKGlD94aZo+Iq17LamabzrYdiZtSt4LudL1br/BytVsS1gzmr0Sg8WDOJlVVP/Vbg1uRjVgCbB
zkXHWAq/2HeptzUce47JQDM3g0AMvDGdvP8e2va5Ikn5GarIeWi0EzwI5P6bQfuawtwsVKjmJ/jq
cMooIO9N+8sdO6Q6cP2HEst9nLfL9GtRXn+tlef+6j0QPKed64vR6OCxbv2JxXINI+JTaXSHBXtK
p3rAqlEET05a4jIOl3Dfloa1t8vgryptg4oUj0vtzkwQXi7iZR3DTdVW+objG9R2CJqz7Q7mpq9V
cgqkrKiKKWxuddfhpk3ag7a9ZtvPi2XHifDn5zWx8jd3TAcPrS6eOX9GmDoVCAtwtnFj60Xfl6A8
bkc97HUPo29U4bTvPXaLZAKCSpWm834N9MkaevvNVjrcdYbrxn4/O9tCGZh4B8+60jrAjtOEVytk
+QYMpsqU/uGyGiB6wuar0HgWw7VYcBfURCktiX1DMcxs2FlokrO5Pikcro9jhx0k5v91nwWmiier
q/t/2vHHZ3yv6UzNi8reS0cPr510LKwdi8IcHAzmG87HFERABy813sMzUWo6WuYeUsIm+BwlaeBu
Z+qdtjyuw8Emv3HvGH5x61xLHJLKcR4qjFtoZGqmgGBy2N1XCyOOtKr1b96KL2xkdh4RhVFTEG8Y
4evYZ/bR45hDbQzTF5VqCneYlmBFlRQPo9TiwVpSuCrUoO6wR+OVwOsig3hvTYmYJQgnTo3RjVLh
ZZFYw/zqyNFC06Dz+Rs9ev6YaHyHw2zl2TlYvObYwfTvysKkxHR1jWwjkxylW4uPyK10h5ReVpes
xhnIXA+SkHRy+lSrj4LXNqFGqGRZ78JbvVtEpq3tmjbO79YhIC32jZ66P5Gxadb3P5qOwfpaWrr8
9Ie1R7ZPUY63mX2Q7E06Ty6+TNPz/oyEzfWwl2t9rZgJqMiZtdqaK5FJXhcWuFHbPDz4piI3dSzB
Z8ds+OMOJU8xunodmTNk7GY0kZGRzmsRXSYLPGv4x7B55MYuW8BduPxMx4Z/BmR07+hQFiTMqMu0
5K9hp8tTFjoyjyljgTGR2jtXYjL2bkr+j+dW+dlvQMPd1RMcBIVzHMx5fsrXBv1ofm+NqXohIf7r
rPqyvRForCvQPFXt2qF5H1CGZAgC9kkvAbMlahqIAbTJ5TQ06Pcs5ysxhPV7KTlpa4jgCPxrfGND
Si+upB5tCpifu0T2J9Nln5rnRn2RKVQ9Jc3UvC20mB8dsoPA4uYmSszUiUUnkluJNvFUYMg+CmP6
WxEJ8Jb2ZvHVz7aoHxa3MG92mB8EA8XdAhsu7l/7aS469zHtma46y0whr7NdWuXPYpia81jVQcS4
NEQ5HcrnpWQVG+ehPbnUm9YG4Ybj8Gzn4dWtrcdQtOekaR7MfGruCMOL78wo9e3HLAfzyP30Ypnr
tms1Oz7MGoHQP93K0t93xdXFxbghjw1w1i1ugzSPTZYeK2aBzeJl7Ia9y9Pl/nXK5dq747+mEe/e
4B7L+2Op3ddAjccsHGE7vCZOZ+fqafczxOUTWVnzt8zVGaT75JOqwc5EAMVy9Fe32qydc1fktAR6
rO7rwHzDrtK/zc5082cSBXplLKA43Eg9vU4kKMgM/g7Lcbo4CLSl/dSnZXEi9mF4SLPqfjmbX8Wy
VNGq7VvTuUfuMFRiJhhqNo97dCMX1+rvAMz0vPjwBaptJHr+8lywSx9X/f+e0pJPN87jUQwwiZlb
HSq/WDey5XkdqvqgW6R+rQF64QbtflT1lRzW7WIWJx86dxysl2pOKR6r3nQjnzBV3KifPwoWEB2E
L6oJzi2HmDOFH0GK8o3C8Wyjbf9ceP4+mPPXpk9QAtmcbL5P+Kj2xEGgTVta48Cn/bcWwa4c/aOT
8hdOhbHJhDoyVR+XotxzpPwDjTnm4/i0zACQy8yx7PlPdtF8Bz6srmwhuLEcR4b7vw38mhNWUVo5
9txsfXey8GWou2ELBHtZSg/czuaS8qutNeqbP3VqQ+oEshhZwnI6QB+t/zOgX4oKz9q5iFxlmTzn
oXwM0hIIsXLu3mRGvCTAeuS2E8usGXyxIKOSZLH+7BenOwdlvltT7ltiLjaggUHc+MF0mpLwvNpV
cp61dSrKEj8KDh7c71E/kuAxBOec5doZknNvOVuInM96Lf7Akp5w/d2qVRwYsK8ZsmCEk16CYAkP
gxd2PzaW5bsL8NmY83KXI4QlUUK+aVoLlY2K35qr57LrnkGR6k27JniDJ/9PluvvRnlHMy2THS0z
PC55yAI2XAOdOJvF9x58K3yllCNE3osSTQZnkaWfJYEEm36d/+ZG8iA9rClLgQBEATCCqoRieFnd
8rdVdcRJcA2oyjhIyVCU9K9IL95kax6rAXdGXl5cEwmQsBkOTAMHtjXw/Sh0CRXfXmpFC7eZ463n
MrSQ8/ZGezQYLLBYT9tMounMRp4IFJj3pOqDUOoRQbWxd/C+bboxYIyl/iseGXq3pWv+TQijAbZB
vJ0lb4lubySIENg4ZXud2b99q311i5JZAvpiSv46CC42A7g0qSzPHe17YZlmUSZyOI/RVKzweO4t
fyF3ZE6e1T1liXU3KUw+ArUj7FnmqxPU1yVcI69lrZbhyZq9pwFjXcWNsJH2/NFM5ker5IH8/Mju
80eKaH81xAPlYt2WAdLltTtb0DGiKeM87facODBf6bPXjEct3NepDz8zH7Br6N3TMqF+V910W5x0
d885maGZSj/75qR/oIT8ozHwG2c9lCI66GNtSGe3NPpxdf0bgjzomMmD0gtZVJF0eFD9ErpaVkjm
m79jz2KCCkLm5yr4YyM2aIkoSLMf1X0O4fTQeb/n/GjjxnKScFt1Hhc7dpVZMkn981rzrKanht8y
8i/pfRTBi/aY1hDQMoBfxoblHnGaWRtPSDY3XUlQqhuP8p+tWGwl1vxlO3p8OciUVP4FNRuvaKAT
eQYv5i6wtlZ18GjmbBI/SusxqrqXxGy3U0X5Of04yqsOiwR4RIpRl/C94f2izOB72TKGr4KrP/V3
lA5Hg0dgAjowQg0WcN0JBnM0lkdVKlAM1G1h8LRoCHr/t90E+6Czt9SW/XYL9+xBn6XTv1JerKKI
cdi73eM4AeS675WyTr79akz/ahNJdIjJS2zrCu0NYHpNbEeDvnTMCf1w/wyd3mGDRWT23ZK5gnE9
zYOda7/W2FjcDg0MkSYClHkOEUazYTewyn0K8Y1wzyYNSeBdEeZr0qMrk3/ajI3eEtiBGT5101x8
hJChhs3qVoD2z9Roz/eSZ7aOtwSuoTDkJkiyOvZGYizg5+4ERGbX/0Yo8aCivRMGsaHF0xyiUPwp
IHqVh7oL7TmYlktsS068T5gxexXUeYDH2fmXj9I4M8YbuarINnD6/zRlee7aD3cYceeasVNZD7m4
1Sgn0nRnh5fB/bQmBFvic8F1kdqIoCsup5LVqAgQJ9xNyigZg5BG+/CYYQtcUjQbYb7trUcs1ZHp
eCgEnVPe6v2qb0X5pKzkqGZjswbvzeLGOQ9zm2BDv6MxmPOzdHxxmNvSSbz6ArIyIVFhzm9rckci
JT/wQ9rhlrfwq52MB1KYtkWVnHoR3LJ+2Dn8Plobp9j0bOBI8mz0kGWPrpn+meSmgZ487tAWobVV
7UbHhS1oEJUNAJBomItln6n+sXZQsqXrIUvT2xA8jeNna38BpVywHuDR0DuOYjIMPkT3e00fUuOv
N3+01roVHpGWGInLu5ynl4+6ULiGmsj1Mff36Mhni8EF2HfJczYBHQdIZaWc43A8q/GpyASR6r/S
6jqN7sMII7okkDPyITDduJqvU/kqAj/iwqT06T0wJVp9axs0zyFT36rFNRlRiuapfcsdcZ1IxBhk
QFCbBIIsomA9d24QZdVHIt6m9VZYzwFIbudjHbZ/FzniUTP9Dudfkr2yLA/ImPfaLqLGL3ceu2Wl
n2ebJN/2pTSrTfsfaWey3DgOrOsXOowgCXDaapZtyfLs8oZRtqs4zzOf/n7suHHaVimk6DqLXlW0
IYBAIpH5D+5L4QO/NcD2mohEl9Rs6dfR3IVUhx8wQHglwQTRvE0Sk+TqBbzdXCTsUHTqzHSO2Dqo
J+gEfTqT5ZNt3TbBJ+WlecVeKPvPpL+uNah1JMO0y9T4th3cZSuduUtwcdE1ltr9hLTxYrEs0Yoc
FXp8enQwbNQxW9wZ7IM0DIpQ9sw0tA9VkaTyclaVZHpFuiThmdWoZGlULlMEX6p4kYK8LjQ6Bu5H
Kj6SAv2fdB+L5rnJ7/P2vkeWoOSUCcXhSt5mDllZhq4xmDrURyg9DsndYH3Y+sc4tZa474byRqtM
uoHKTTJdVDwArOLXqNVgIeK1M5J4BiMtvhAlB33Ve9peE3LWUSQYCSupr22ywd6gKb+yKNUEoOLL
7BniNUjoWTI8mvkupR0QEnOp0RSBfdcn1WvZoORRDHDZX13ExXq+jeIB4VBfFQPunj4sfZKVin5B
Rtl8CvZFCY9guNOGYcIBLNLoQTFodMHvL5FlEfrBr/dtoWzVmpweitvgvMbGB8CFJZCBuTqgz9L9
aOGrleqjrm3h6C3DrENWJVj0OmwLPfVnGoBt2VX51eDgRU2WDQhJHW9Kp7qv6VtvsjJ8z/8RSkw3
dKAWlRXddaV8VEz951jaATTf7NNQ3Z+AMwHDuN27qlZvcR8ty1jjFo62RmpuYuNH6eqrjG86xk95
/OwKeLsIb7cVmwSmA+7ls8r8JdDvTV+D9IcLalbVKdJa93RPQBfuMkg+dAoWWvuUqC0yBxZKPPum
3HcQmpKgXWr5ToxP/fDa97CKDKB2+gibJL7pwuqmkkjhWUjt9BGilYq9KgBM1kF0hXZDthgidgEF
LkoulPmGkoA/Fv1MASKa0xcJImfTcE8XXrHM+uRliJWD7jt7WnC/M5c+cOHeDMJkd4w6MkcdqDpj
N5ruyqfIlareIUizgyXcfevbr1Eu4Y0UchOrwVaz1AVUjZUo7fceEqOT2bd0F9jOzUdSeg+0Vijj
tuuyr/ZKkl2nXrqQarBTY2/e9PbSGrsnXYD9Txu1mltaQqUn4EqifBMsOnc8WFrHxVI1JJzG0iPV
5ey3v+ouudb8fGRF5N7TiAidaF98igKzWu+AfiqUOdGfQ5LKBx4nvXWVU25W7aUhO55E5C55K67q
hp1W9ZumzIAAWOIj93x/DUBmLi3n0Om8PQrDAlM5IJemi6fI5/0IXdau4FEOlf+U1Oaz52gPyE19
Uh8lZe3WkRpigq2vfBleiWSg2GV37aJ3o5uhabfhUO2SEPBVqNyFdXbwR7EPh+xRhuO2SHlAilaS
fvYBVZF0q8QBOZtHgYOdug66aKtl/l3RQsIL/NsWvHLr8uhKWuNeZtZd6VV3mfQ+0DX7OXrhg4Fj
At2vtedF+yhLfoNCBqdpafs0KG6dGjgkVM+gidylqqS/Q8396No+QBmArrdhDO9Wjilw61TxkofZ
YRQ6zZcCVqiBLMmI9w4uc7TYNcNf8JyFsiO2LPEmUifgUAJJX9c+kjh5AvZAEyetq1mnoUCYufKx
qPtPSN4ULWUBAF3X3pIJfItewsYqA+SY4Dx7Fql9mZucnsA0gdDxcBQN4P3IbwMgmBUKdf4e6csO
v4apEAweaqbFzXsfKI9IvICojj26hzYORDkCET/LjNxxoTRQjuiTvgaxR8fGp2X1RodX3+U4WN42
NaTfACTBhqqmf+0KDWxZHlKyAy24HAsYdkSMSLv1wyZbh5ToAMfjZVZzcSHA8eBV/c8xCWAjZFeN
iH4hKX7HXwJJybuvG9NXtatufbu+BoPcQo0Q/KFsF4YxlMlUeVR5RK5gD+g3JU5ty9Lu3ytV3GAy
Us6Ejnqcplg2INL2l2lQKbbryMaoQtOXbWRsw6TnTraSF3pNPasEhlINo26pWVKbZ6XdrIwONE5h
kyIFerfohuxOQ/irLKuPFvRIZVf3Sqx7O1/HzdW0dBSSM4H6S1tfgzT/EfTJvhcIGKQC/JsWIKeo
UehxDSCeY//aSwBcvmyeDNwkFzUlrbldcA+3fkZdwANAo0X5sEjlCKA2ls9xrTxxLH4EsHND10BA
W6fzW5SwEA2rR26gC5Wd0UXBTeYhOwA9rokXmqLpt6jjASWwPW/jVra18JXuzVQtZYlTMbCxUis/
fKNQq42naEZ/m6J2L3fVkJJc8niEQ5PJtd+J+orKVfqum2ODjkQZXZUicXZFmQWPGiz1hZ/DE6/9
QFKlr4C9VGi+5E0BEEtW+cpTYWgoxLd9IwISw9oDf+Xrw6OsQy9lguonxqrNVOwMjN8irnu8PfIQ
UIfmT7m/S1V7BQ+bAFGPtlEcFInJCQ7OLdoGdR4TYTqtGlaOUXX5NrIBhYFjzBuuYJr1CxxcixF1
qjFsICpBz+6yAhR4SdT7jNXeB/rUN0DAUkj20KjTaxnV6Q5kcXJPN4iOQVllm4AWPlKEbb4BHYnW
DzC4F6v2x8OQmflbUaViRTkYDi1wGbgfHuxU16vek6H+cJIQRxYfKKCokb90p14uQWKDvTwkkibn
Te3+KsZ+19kB8kURtS/FefEDa1O1lMpCudGT7kltx01j8OJzaSQs8jyplzUBf1u5QNspIJYzL0A/
xAisK2rcIHM4yfp465fWjQuwR5cVkZ/DQcIld4JnTzQmj4MSrrQS4BPnt9K6reUra6HrO55I8P5t
Huu5aXf7QA1+WhFof3ccX2hRro02uXenezwVPjUHB4gTrbgboClXfktftnUrCD9hH7/Y3JVXLu3g
YaYljg1LVD7qqTR5ENXPaeuQCuvpQonBErX6DTTxcO42/hswbpjB8gpzWvSJgmUeBzel/WoXPMga
+9OJDZ6xAhIYdPQFzLOFAoZ4QfiHSJzlhFCjf3J746Og6Oun40PtBc/CoLCjgggAp2s3yUuOBAFt
qutU6W+JnWDKLX0VeAUiNqOpbBzN8qDxwv0R0NM2Iwoss1L28QJ4+UPYtPeV6b5mEbANt98JxT3E
cRfN7LIGAOkDtR5L5yd30oMnoh9gEGSWrMJUXyd1vwEK3c0cD79MM0VHR1F3RtBRNOL/L9L+YAMo
kYZOOTVPtmYfa7eV0qSrgCgLEwLWn9/EGtDhjl4flIO+hjM+BDcOuVWJdq0TxZ9lH81RIlv7XrmX
OYw+sxI084flkPo/Gk38QtKImkdw7Y7wLU38hYNHq0QsognWvf+cgI612pjgoq671n41+/S2MlC7
z9SkgjWnwCOufyooT+mVu4Bifq1qcq30Lg06fVjRCloo5biZygQiV+5jiSV0Tper0Lk2CvAHSaLw
yP7UwcMZRRHsaq5zvRVPpgTbOVVuajXaBUWEeoYCXJq78Knw86ei4+lbxfmhNulpgsW4NYJ20kuI
ETiyw5tRTVY60F5iaHjT5eVeoyA6S2N9QcPWBhflvkVKu0e1uVjSrk8XbXLTTOpiltghg3Stlc7K
S7NNPtAYkMZ4E6n2tTOSWwbOKraSVZaYT3WQvQnAWzOqCQes0uchrCNtGF9Ht53lgr6mM1xHSBIq
eXtFX3qtWQpqNiZdUwFHZNxWqjlB8pSdN1hrC5ErQV27UCE0cBIK41o10d0t6Zk7tCBhcSfRuMjF
sKqLcouhJ/xgG2pEEGneqpbhvebFD2nrD7MuqwSwiuq2SmADo6bPivJU0t1lWlRrETXUETFUZA8N
yozWMkAE/VBa5lZPgVY3eIV3zQ304n2pdUskLmctSmqG0V7Xefjoudayr2yxtYpxulXWRRsl80BD
qHbUubtL6NOl+FUMyl4CvFYAHIP55v3iDYA9q8p6Co3iZ2o5P9tyvMu07k7NfGR3kuS9T80fpNJy
noOcnSUwVpcWAhAcwxJEflgNMxpX3Rw4CcWbYLwZnWKvUJ5DnnDYWVXckkuXOlj2jsIZzLT50GG9
NSDSE4/NOPfVbCld+7nxMDdqum2dVFdmHNGdVrOnlIdu6k2kYy+i9JM/5Fq1KQ0TlYwCKgoarnea
Ej/Uro/WWJwtYl9cu417iwIhjwq1M/Yltde1acEz7xB7grxCA1QZolvHq+81q9koXtD9hOprUpjA
b7QrnB9yLASyRgEgKYhndEX0N9cZkOQL29nY5T/aInqM3BRQkaE9+tagzJOxsWaG3t3X9AYPMlKs
ddi50CAQL3V6xFz0VNmldkLRyTXTNWIP2kuvV0hPozDhz4bAmHptyQgMjYp62M9zT5G3lZsUV71d
cGlCqTzoo2fklBsTTbnqikDwrLDU9N1vp5abgb5r/6xmIxvcDSWl9rarNgpyyAmyYs5UsoV2piND
igw/mpAwdF6F0Yt+32ujBnTN1fifSkTbfiRx7MB49Gp4CUljotuGxuHnOCrtJqZZ/yN0Q99A781K
3lURwsYhpKshLfLQfS39VP1dGYWTX0XaJC2Ap5RKF8AFemlY8ZPq9VA2FBhAMa45MKdI+MY0nY42
IrRtHaJRPPRq4+5ozRfJJkK2Y1uVBSw909dmSIOTQ1twa8ceJSMEltJNSraAChP0dhis8aLI+w5K
pQf+3Q/ie1qP9hpFFfvay3V1yUMFNcoJPE3hNF73CEO8ePCx3nQ0kFdOTXm7hAOw60eZAbJDR8AK
EhQqhB5uQaAY78nYyykRV+dZ3f7y0FW2hcuTVcOO58bQ6fyVlpr/MsIBloOXJxsZ5vU1KQ2SlPE6
GrvXllwKQWCzf3SpFPC0jj6iOnqqamdvWTCTCj1ALyATqJK03i4Pk8ewdz9Cr5ZLT++QKRxyj5dq
8Zs89AkIr71T/ZrGbZZ2c/i55Mc1fmvI8amLxEuaJZ66EwUD5Aa8b1qrXmr+jFUu8oLVXkg28gZu
SgztAo0ExN+RrI7TbG8WyHh0SjTSMkBPJAsy3k6+yOdAMHqALeV7nhS3ZWF6dPc4GJ4OPYW3+idy
weoWDs6dDu18W9T6M9VdtLFVukIZ5R2Jfmud1GDLUHsFYp5Xa8fB1MzqnQCefBEt8YSglWI7u0Gg
v9UqGjLJHN5VPMA2M8oAoqhToV+kIN09pM+glwVyjpJKTR5C/A+C56BDiKMS7bX0Ox9qTBFAup2s
vWykYHNu9yFAQjHIk7eg99+7lHZ3MzrJxu4ngQAJFTWPIGxWaoamRum/iJiqc1u3ECkE6MFZBXV5
iYJ8uoEBLZ5Kjgkorsxo5hhQChLjCTzoDPGrjxnEsIxlOFz5FUSXXLOyjRlkAH2tuLyn/Tqw3qN9
GExlJ3mib4Z8fEFZPd1EWtseSO2cj0p3aDnrBQaqeacXCKigB0Z3px8+PCokvIyLHqwBJo05sqZQ
VPtqQqelkRony0LryuQ6gH3/FncDBBVLFuRAWqxHV5R22FB1ZyMmalM71ZPJ52PQeACGDTX8gHTU
ra9QoILPjAorgBvE0c0JlUEutybLpSMJaBzdDbS/ZQ6RQksCk3zIfEedNKTz138U6aRFVXUs2gQD
tQgKBD0KVHqKZlotyqsmqfmu4K1mTRMGXILAp+yOl3Yk/HzvlejCO26cXreVhw0NLV2ZmMWK7jpd
RR8Vb8/MX6UeUueplC0ficpKlWEyVDsFJFJpAP6EOodAF40TBRGLPIkeDfQH4AhNFzDBad56kqwl
A3BbtZJQbJmfyL7YE7/nKar5i7VhPWhVaCIQn6EwZffVrVVEKhLCgAe4sF/9Linnniw/HcvgWI1g
aGJTyeEBja9kShGvDhP6eSV/90oMq6wf9xSqXkIBednQ5aHKdF7UEcQRDAVWkZZ7750bCSDDlIZd
LSq5rm1vofnWY6AYxP6i+k03VqCHLLNfTspxQZbc26EUH67HHP5pG6r9PEkza8mRNfi7Mrjxbe8V
0TD0+FX9lzs4Ni8x9HS0AWlG3kGIgCHptBCJCekplMibo1OWLambjOTZQE3Vfkrq2x4XAK2s3rrc
LtGwAwE64V/LhUXFhKu6Jmr0UTJAYuwbc+UW1F59A+a9OQGtQ1P14QsDoEYvptMPWdcOV5EKOsSr
LHpGXk6BEHkW1KadyN5FND3ewHU216GRqyhXWQDvpFVvsjaPdxpaaM+GpvWUahXz0cPj5YeBGwTV
sCYEvlDHm9GW+qrMcvvFG0S6aX1wO1pIL1kOqbIXakLtlSPwqy298cYe+R65W5W7KnLgnpmVcy97
hIoCP4aw5LkOmWxZPHZmZl3x6iyuMmi992WJdRhGTKYLFERBTgw9wkmEqbfuyziur5LBHXdOU8IK
VlNK60NW0imMhyaZtGQbHCMUR5irwBfgxzJkdKA/pUL0a512yJuLByK186IT61YzS8gLTv0c6ECa
53kFDpKSI+B9VwkpdlP+6ahAmXNlAjSiPk63I6n1qUkmnXwvPaXihkCpW+psX98ksUGOnDqm16zy
SEIjjQG1ahaSGq42iYXIrM4sVITANsFnyq1NWfuvbaIob5FG+b2NwTZResMPDdkw0/usfeqQau0W
SzlY1iIzS/dOE2AeMQHI55UvqjUY7sm4KnKf6m7Ul13D89ztk2Cu50OzrgvDgSY7Bq/G4KKIojkp
zcPAbOFWuQRCpAncNy0fxl9t3UXoBflBR/KOVETnGulG4VjeB2mhP4SyGzamNcS/ZWhUMNEEO2/e
lYF57fgiumpGLdgAs9FvlKjo0CZKnbvMKnIYWpWEKoxuFxVphPu6lDY6ySN2OPTpByh1iMSCxav6
Yd42dgi+fiC3B6H11FqavEOXz/jZdy6XuJp5OX273MrEvo/z6jWWFWIpaADq3FTKeDBqW9/UaY46
CmArr6bIHGuHDp3Cpa7X8kHTW3LIwaCFwN7IcxpQnvsiwzR1sVDJprNum3etbZLSBCgSKIXu7+sx
KRc2CpFLtZLtq1AnwWerVeu7wNCsHQvoLTwlM6Olpnriqmw81UUmswCoGQ0EGwplqXHV+TG0bb3g
iuZV33aMrQWoyfJgI4cE0a1dJfTaVkGm8eQm6zi4BGvaSElRwrsuFGOOZl3+K0nIn5Z5lqbDyjN7
kc1iXwPMootaTAAQsazC2FrB3hjelEgvlxZWarMxmfDRXir3kPzKrTT6CeiI6svYuDmWISNSctAS
PMBuY7BqkyYFZNprh8BCV8oNgnhT8U4ol8lgls+OIjOx+B8KWFrsx6i92PoqLcVccRFkDHnto/Ep
0EhT0J3gmYCM/yLr5VZOhFXLpP/MM4/w7SK96gqyKV55QXAfosSm6Y92hQKTTgzpF+fdg044PVOe
N2xL4Lqj43N75CcFmNQLEu5r3DTlnXbrriGD0OneylvavbvgwbowoK7jR3Rkx2Y5tkmhiRcHDoRH
ZkL0KKSXaOCIKRMvaDHNItSJZv27Y82K7o7YL2cWjvFcvOsatRL6jgsnXOM9oicXnJO0E9ZJNpBi
zUZ21lC1Y3NCayxkqtf8lGrZL+Q8JjfcI/rqPpBvGFf6gmbbgH7JBTelyZDpaAFsrgtHNw0TNrN9
5EClD06o0hHDPFNBprbx8pUeax+mOmyDvHqMZLXN8mGV9u3+/KeevuS5cY+M6YSPxbCPst9KL9MH
XmfGbKyc26b5B/dqXZlpdHV+wBO2UTY7i+Pu2NIyj780TvOKi/wYXzp2n6PUuaVzsIjS+rVEjuf8
UCdMo74NNW26Lx5/Qer3XhXq9Woo+gC5o36rVfTC0ja9naizdBwnReMiPJwf9oQZ27dhj7wTXXtw
VEVh2DR4itB0sG8HXobnxzi1Sb+u4vTvX6aGso7UA7qjqzEdHoK62ZhVdMEg79IQRzsySzxkcyM+
VGM477yxP7PAWJyfxaWVOtp8vCEHVGtREUXY4RqTkmcFbxLaAhct5U7uBMxpbcfBSVVqR/HMidGr
Rj0VBMquhPiOBKa/aFAYxsPe3oo7pArw7UysTbwPZzg/XVO8OD/Tk4vpWCjnYM2IR/HRYvZx5uiC
rHAFi2Ptu/kcT97l+SFORpAvQxwtZpbL3Chrk0wvSrjiNXQxga6FwQs2cwueOrcFXIUwzK7PD6ud
Xtt/p3a0tp0IlaFsyfun0I34QjVznymZyKdxYy/auT3zfoy74iG35tHqkgvzpWWdftuXYzBWSYrC
EGOHyAQ3obqWqbU+P7+Te/TLsh456VWJ2bhWY9UrW/wQFSwO963tLnj8noyJ/47hqN+n0bul2pMJ
oKZbap/6yCMC/VAfsEyZiI/z07mwYs7RRZtVja4oKhvRox0ydLsID8fzI5y6UUzNnk4ZJrUcuO+T
6QrdTN3YYavH5q/RkJDlceESib1XAh73wvmLxePS1IUlTc34wxqwtOyB3EEhTuliPckvRKFOz+8p
R73u/MxOrd3XkY7ukxhSap93jGTk+YQXhFsRggs5P8if+83QVNWUEkvhKcJPP+LLlvZBOOdV6jQr
+qnosUJRB1deAug4P8yfc/k+zPQzvgyjAVUwspZhRvRJGvUmBK58foR/gur31OL7EEcBqYCyz9Fh
CD2xH4KqxdGhuxJqux0jvGMCNBUsMGmD+ZRA0M9gRGXjbc5DRzZQu4sRqRVsF1R5If/4c3t+/1VH
4QryJsZDqtusQuTlJUIjbU7+kezVKj1U9qWgrE174twiHEWoGtehqnEsxMuRtI7C/qbNImSBTHzF
bgyMl5os2NL0vhtpanoYNvWXDGhPz9fBIMsQqDDrxwe+rf0CckG7SlXAPP+oKaVztPahBamztnXn
57/6peGOzoiP8ChVF9QxbGBdvGwwBsrnGZxjKz0UlErPjyamYHK8vLqlqRw2+F/Y+H7fxpVjOK5X
YBE0OMBO4xtw1YCApurXC5W7TYKCcyuaK1100CXRupOTJAOgGyCboXXd6cN2Qv/kWFsOt1H0hLGH
LjGyKn+FUPoTtUb21ZyrKFcWqrVwy3pOKY62I8YyeAtoNOLOz0c/dfp1y7JtDL7tyYv2+3xGHUIV
vn3tKkigD0zAiQgt+G1uPZkaskf1Q9qAaWyi6xKpfpT06VqjcI7CoRNtAzQqNHqXhYeCS0NFLZpp
eY18O6oMsbqmvrivVe/+/C++9IOPDjn6tb0wkhQt0hEs94PI0QS7MIQ2bdGjj6wjU6BCP+HFYKpH
H1nWBv2RwetWY9AhqIlWmBJQKm416j/43tHJoz9lI1GQDJQxDe1TasmFLOfPG9rgJ6DGZOCHxM84
+i5u4iQ4ETgo+bRPTg0lTF3Y9E3twLiwo0+s57eBjtYzCFqHBVXQGtaqA4JNyItrwFuq/37LfBvm
KAqi8zVIZRqmd8mDm3z4qUYQxuxRPP/n/fFtoKP4p5iwyeOCgVxbXbruR23+iPAI/e+DkIBST1WF
Y6jHGwSHSj+2qgyKS4K93drR5B543IWX8qktYDlCk45jEnCO6wK646EKG9cdSIJ24SXpAggjorIU
9mLtLzaBrbLLCAS6oR8/VzCYSzwPVN6qd8R97eKjEaWPniH+c+Y0+Tb/O8zRtzGcLHcataeA17wP
zRsgZ6wtPiOcJ89/nlMrZ0tNN4ThSOpJR4fHRoIJ2YmhW+XhTVPcR8J6yBLkYe1qfX6gE5cPm+Df
gaYf8iWp6dK0x5OagdrRxx/wIKly+yP3D5wDWATnBzuRQem49IL8E0Rr/XjTKbmI20xD3MuEYyKx
du7H1/MjnFw3jMINS2daf7xaUX2mBlcBZ+z1m7zhKRUeLBer3vjx/DgnZ/JlnKN9AFIv7FFnblca
bEogAWibXzg7Jz8M4rS8vlX9xPO3RK4nmsJnVdKqK3PYSLvEspejvBuyCwneyVXjjJrGdFQ5Pd83
gU02laC63KGceD8A48hAsZiGDmO8W/7Fun0ZSf8+UtnWiCQoxLbWfleV39X4+/zfP3UXULH435kc
vaRGZ2hlUzETcPxbNaMMHQJNHy5UHi+t17Q7vhwa4LW2QH2iW03tIhxCDIDhpA5F9DdX29fpHIUB
f0R5sy8ZyEaRM7c/y8xAC/3z/JpppxbNgYtkCZWWh3mcQal+jv1WFeKuMHdu1efhzf/wF+YP/8V5
44JLl+kdqjujuBAMTo4KA0RFz5AU4fjR24uhLyntQJ/RtLkz3KQKtM3/XkTiT38Z5OhLRXT8EGeF
4dSZ1V7C4C4b5fn88p06qI4kjzZtgjXSSN83g6m7ZpSCcFo5YaR/Qhfxd21o4KVeA/GNbBmBAAEw
fX7QU/GHXFdD2kHnBjeO9nnny3FQkogT22Nsa6nXaRVcGGIKYccpJAm1qqrSxI34+J2A73Q4wBWH
uG5Hv8MIp8Sugvbrv6OUtAODdB8jxvQ3e+LfMY+rOvXoagg08LkGD1DgiPD5Lk+f/mbp/ndex+Wc
kJKf1CRjVGkFSXNlKA/nBzi5sb9M4ijGUddL2gDYHaL6cp6GP4TdLVrzQsX8ZIZPrLYBxGuW+OPZ
AyoSdFledStFlLcd5meBPWEg8HUrg6dujLec9C3s+O1QZw+iRX7s/CxPxcCv40///iUGBoptAuOc
ONK9uyqMPfILi145KJfqlSeP15d5Hh0vRKLKwreZp2FhbrFHhDDz4byYztz7OD+jE99NqBq4BtpY
qlT/eTh/mRGi1GnrmWSrYF/cdBmBOuHTXdjh2p81Z+PbKEcRSU5qb6pPopr8Fh/RfX/jXUfLehNs
vW34UkBAn/fzcdmucQ81cCC8EOtPrCajO44udSF1qR7d9MJPvBhHAPzTOtwsIKK5w2uOw0Dm4iyN
NPz5FT0RpQTraNKy4g1Ib/T7HgFMgiEhTLPV2CsNPfPytUjdC7nLiT4oC0o2aVOr4cMdd8eozaZD
ZDMIuFKsFxeTGODMXFurqsDkZ4Z89wN6KgtIASt3Nc6HBcyBVfbyFzP98iOOzrwHUivHMY18XaB6
WEeY3WZ/s5hfhjhazNQCr5YNHZ8uCRZoydxVJUoB56dxKhX4tphHuzPy2lDW6L2urIduWey7HYuI
AuQu2OqvclXOAUh0iG5cuGpO7pMvU5tO5peT1xR2B+aHUbE9yCqJVGF7IVppJ8LVt4kdhasqsrJI
tRjCfosfm/3w1L67n/6LtWsWyjq/ktfBQ/EOzOn8ep487NRhDMMhi7ePX6VVAQBUr0dCCq35AihV
BpCuKfRZmt+mQ4ELb7zoQHafH/VkIEOpi1eQ7UjTOAqZSaAIPfYkb7oSt3APdws4OuWF98mpb6ap
0CSRYTOFfhwtQWsCWvRUDtWAE6Od/aZVcWnLn4pWmmrYCO9jGGweRyu3kWU2AHBfeX39GeXWDeLr
sNu9/tXB9FEEl+6aUwun6ULlgS8d/juKjjWmv3IQjFcZyq/Sj5AhQvvb89QLH+jUZvw6zlG0CBRf
Wn02rZ2HJriElzwDOffT7IOnAvXkC5vwRCIHYdC0JNgUUrnjKoxZJpnMc2bFgxmUCPJVk9OubBx4
29w1skMmQa7Ob8ETkBCDuo8wgWfQpgWv9v1IBzL3WzxrWcrlsPSuY5ipW/xC5oDboQHOQUf+aH+c
H/PkjjS52ChrGxQYjrZ9zHOiDBrAVYW21XDkTbTswne7NMLRq19WZgxu2SA6yvhDqNXapZl64Wud
DME6dCAaWrrt8P7/vnIZ6pwu0iv9ClnKdgFksFlPpqYzYFZwptFjWOChu4zn5vK/L99UM3Gkrjns
lqNN6SDJB9QS6alYTvYbzXYshr+5q7+OcTS3TseEpFEneaslDnlrPI6GZb9VVv0KAZkNCOi5u4C9
b22xW4Yvu0QP8v7SPE8cPgupUU3ohGXtj6SEkGzBwmBnCnoD6O7vcxPTSBG++blx6RScCCjfxpo2
1JeLTYHs0hkDkdiYdctx4c+L+agh+bEI5qDfN+DCoFOtjQtvg5MzBIhFY5dL54/if6irEjkKZmgp
FPcr52cgFAQLvVsXPa3zm+bkBE12jarSZnCs4zPXaAZ+B5wIvfwAa7uGVwwh5tKz8J8QdfQWpcNj
EE0caaAgdzSMQ/6fppVNdXc1LJOlv0L7ATdjuHBLdAjggSy8l/MTO7mGX0Y8Oup5IBohM0ZM8MVR
GzEr2ZC55z013vv5kU4uIQm5o031ROP4Ka+VPUKAvoc4E76maf6S5K8D1hr/t0GONmLqi2FMWlTo
PIiEsgLJjLFFaj2cH+VEfIR1Qq5j2aYlINAfbXdE4jDTRBGlbl5E/ZkCzz0/wKneMCOArxZT0Zr4
+H0ECMpSDdMAV6h191z+wIHoPdBn2twjJKbZXF5Ick59GzwpGNEGJ/FHJuWCx0gzw+/RSfI+BZDG
MZcbs07/4utQFXcMOmaAOY+hThHSwv0gon4lkmouOhOg33oAr35+8U59na+jTFv+SzAafLR8gR5x
sSQG4BIUwuL8L+pt0I6o2FFJNPU/Oj692lpiVLi86hEaO2T1BLTw+WlMZ/04FtCxMiTxhhD3x3vP
H0cxDilbQGT2b9fCvthCvnidY9EL2QWcd4he+F/EuQkNMCFchQ3Y9fvaebFE0rJlXpkeAYE+xHDO
OmNcnp/aqe3mcO075LwMdhwKdK7+KCurflUoyOVGOI3pmXoY46K6cI6mn/vHGn4ZaNoqX7ZC0aeV
l5Ul1y4yKp5X/k5y+1A2BSxxtDXrwboeI5gx2qWG4Kkt+HWC0wJ8GRd2u8QXDGcw2bg3ICqwa7mU
eZ4YgrcCoGATXRuLKPF9iLJuzCCwtH7VwP1NqwPCLec/0om1IyToGLZpmMj90cQK9KJx0BUjT0IT
OHKNHR65Ft6e5UfnoKTYWGsfb5dqtC89Jk+V/BjZMSyqzbbOTfh9aoWeNogmsvODZ/MqXQR30RpR
5YX2rG8uvYRO5e/fxjoKFnlDw6AsGev/o8uhFs6UOc7ZKF7N1BkWLgv3wsKeuuVtldIbsD66rOTA
3+c3oAWPKhp+Rd28XXT7zlj4KyDHy/h+eMznKczN/54oMaBwBPVT0/yj8dGrUaVY6uQxmB48OGGJ
XczNpl4mYnt+z5zIJmyV4MEFT15GIeL7zEw3VPIajhAoEyw5gw7zL1XFuq83lonXXohV+okH37fR
jr5dpspC1V1Gm+D44019iBf9tbXBEwW777VLaazYyYP60S36vb8J78NNcjv+gqm66V70l0tb6dLc
j75qZXlp+/84O68ex5UrWv8iAszhlZQoqeN0T/ekF2LSYc6Zv/5+nOvrkShCvMeGDRto+GxVsWrX
DmuvFU1wMGRKuouU5HdnRMe27pBd0st//5BerHwRtWWmV0dWy8qtvLN5uyEpOlTGZoq2tiRFYppJ
o8yPq14sSaGalBkjCta94z+J6S75kO6TnX9nOc0ekhhawpDkO8Ku3cgN11zPud3F8uqUMW0GEOfo
pznVh+bYu6orH7eQLltm5r+feekq9QQNFOFsJvqgHbtj66YfmkN7vH0pNszoSwivjIhGrGImOTUn
6dgcYdN10ZHcMLN6Hc52TV+8CMSphkGBdnA71z+iaCfVh/wJstyPEBfA6i0dS5KJb9IP/Q2mq33h
QHBYwrggQ9+KMKmD+to39DSQ3jrcXv9aps+oIXEltTrc3TLTh3+nTUtPH9y0smvSQ1Cl7+SGYrS3
SA/LN7gr956Bqs3GLZmP5+L1v7C7eP0DJWeU3NIIMxrkzets3/bWg5i9k33Nc45fbi9z9TOrGt3R
uQ3A23x5mnQGmf0KrWl36hJkLGpYd1FwZe7ZzfXsHeYfxFphzoFopmvd26b/5IVXK9VksiqdXEFb
9mZTc8yVNPMhNIK32IVd1nvxRlTBmsDMXnMo5WH5rI7Mj1NR77sfUo8Qqar9bIN6QgZp7O/aTBN2
WhMLBxN68Wd6atb+9m+cXf/lT5zbIwQscz2CisTCl0CryRh400puiZImcxDuBDdNaGwVAa+/wqWZ
hesoJlEsIq+WuNPmHaJ7x2rfPzSHrcu2Ejdc2ln4DlVv1TpXsdO58DihY+Yi+DzthPfgFQkxtxps
zb/bmoVbuUkXVpeuRNdSwath+Wf4TnLhCoOPPekoOkJTYg97KPuC/qH+mDnRxk1aOWCz4RkpTLoD
nG6x3IaZXLVW+HrKx+wB4rhT/1Q9h3e5Y+w1w2EEfhd/7R6Tx2Grj3gd5l4YXnbKW4/OguRBKYps
R2NH6PB9rJg636hNXHsKrDBhqJDJESAtD2c1tOjIBAOHU28ESBJhRTNhlIvrX/1QK26nyj9v34br
lxWDVI7B8oIXtPTFfmolI6AToopuzORu1CG/oFeINg47fZC/3Ta1Em5e2DIW708ptK2e1YXEmEq/
r9RZqCW416N3NDlsSX/qvU8ThFo9wiqtrzhmw0h99Hb7N8y37ury/12usfCNDTrfqpTkkjtZ8rFN
DDhj+B8xyuKlkkIohDYgfCG3ba5MH12ue1Ho1fR+hLSPdasvZXZIfjHmv7P22T/aE/yzsB1PL6Mb
HaO7IHeU7Q70qr87W7Jy+RxAppk3kZpJrji9hQ1TZXA3bWVKfwpN1/uqMznGOAgd6IVTFXR4E8ak
hGmfASvZgRIAasHCDV+CHRpI/2gvINUBo1IJc2DhddGuNO3w8+19Xr2hpgp54nxxruZzY1JqND07
vi08kmOGCvhGnL/S0+RDnllYfMiiRy5d9LFQ76F8aB3vxT9KxzlLq/55CN+su+opdrc8/Mr3m1Nf
hlHn3o64fM6LQVXNbuL0SLKBxDP6Yp49SOYuEHVE529v4dprcmFssUJBCGtFMjDW/Ew/zfXz+jF8
jz4jIuAKh9yVf2ytTlpJsul9kGXPFSxNvKr0yE2OcKQ5SqgTRt8Mf9To2yJJXeVQzNskcdWhaaGn
2w2tGH3xYXmED0bt900OhXgbo8enTx/UXG32vppUDkhibQe9nrcLTfhbkkJtocUYfnZFvUs087lV
x/sGnO/OK/3HMbKcqlLbmdIoAM8DmRzNNZX/F8yYmYzmui5CcDx53hdBnD4MZctrWiYvs0i1aqrH
WT4GZY+fMBLdF7n2KKmUExsLDF9KU9PuBP0gtCKCrAyBB/jYVgk+mgXEdDWCzgcECxMnAbCNnEz7
UcoF6MVqmHi74tlroVbLu+FJ6VNUo71shJXHQB2gnSo75w+OlRnfRj/aF0jpOU0v3nlC9igqSDVA
ZIM6sdUgHlP3PxAoPAmx2e1TeNFhzTThfplQTPDgYW2k5KG0qtciKB5E+AcdSfO/zNHjXutb/HAy
ulB0f7I0iNdUoShdz5NQV05MGNr6u0pDWbs0rXTfRxBMNYH8OEkesMXiF900YIxZ/StNyk+9VX8t
UWsLulHZQ/0BOz/kq0jDN7aQqBu+du2yWGy/ZZoUK68qNlMWyeUUybJbI7gFozqf95NQfL99S1Yc
jXFuZH5Tz9K1CQJWWFwxkuYS2hW+/zImaEzcNrLmUi+sLFyqNelMfsFo6VIXHPfdA+wL1YfMzT76
d3Nft34LP8Am9AAT70f+87U4bAV5a3vJdKSsMuzPaf4Tip0ts68stLEC1FPaFKXLiin7UZgZC8X+
4+2lbhlahMp+a5mBphuSO0B1CLcF3HKC/NbGibmxp2sfDogGtEaKSftsuSLBMwpATZXsasZvIzdO
jS5uPBFrS6FfhgFlLlkuGzLyqJWC2TSyW8iBrSP04MES6+fl/7AQGqlU0hgou55WgPJ8QFOvRVTS
gFsxmEIoyczNstYcjy0edcM0DASDmWuaOS8uz3khlQGTgB0k10BEGXmse9R3GCIYRxiVxdj8YPXD
cMhU+XPH/4DID82IELR8hTDpgD7HTEAr6ontR+NzQjUfqTPFmBVoDERJYuf2IVqJ7C5+7Pztz04r
7HBtWVX82GFKfqmQVIheDDGyBVSSd3keQSs19FVuG12Jnhl/UWjAiMCClWX0nNRZSgdm4I6WWrRP
y/BZzS23Qi7GDgv5x21ja2frzNgyfK7GxvP8EWNF/Shpd2F3B3npbRNrIfr5gpbxcR4HaGEk2FAP
xUl1AFxoDmLYNtp1dvee/P73QDRqMX830JAvvxrscv+xJ3eISH/XIY2+vaLVTSMqpdfLv8A2XRrI
lErze2WU3TEuvwdC99vMvLdYioMNO6sn4czO4k0whdFsQ6rAbhJBlCYq4/g2BU3L2x4ASBdr8KHu
7ZXN/v/qdlrGn2cOeMWy76JPY9VTZIO+q0+an2JeGXs/k8unRmjMB3WsoQwrs60ZgjWjlgTOiAeB
4vqf83N+y9qsMoVWYjvhRa/L3pW8ca8GKNxNwk4vNhqoax/v3NriTvt9NYgSNOnAtur7tOm/CUF0
HGQUYW9v5ZadxSGh9V15tLBkV8plV5iMB3ivI1vVw2HD0NopYbLPBN0v6dfEMlZfFpqvItahF+1n
EbrWodH2KKI+owG5+1/WZCoUO6HzoMezOPhVkdVw8PPWVS99+DNuSzuXtoCPK1hg/vHSf61oi5Te
y7KWkVMWhDx7i8QEuV+2S54LV3lI3PxdZRdtZrW+wmBcnyBWR4LkkDlbsdL6qfz7KxZZfWzF0N77
Gs+hiQAkF+6AeJJrFh4xeBU+GYn07+eEWDdDj6qM6Or12FvihxbSqJBuF+rv2uLfR7Q/bn/AtQft
3MQiKhrqtCryFhOBZH3KKNaSenTfcs27D2TzWIvDb1QDN0o0awESYI95qptcjDjp8tBoqDJM5mDK
TDFbe8tTMtvCs21cghUjdDqZSNSRT7uec0nkxtfTIFBc5sZcHeQxrIP723snrYQuAEjoFwG+ZyVL
IHxByNFkVkhFdDI/C632WRUUD9Xe7nsde0i4Kccy1z6jd3McLP3TbeMr3gTAFCRh84Q8fdXFaZym
3g91P1bc0h/4aEr4rRD1HrHO8MdtQ9fHnlxdJAWwaKkQzy6ueKFLSOJEIbW7vEZx8031u/2IGpOc
QIpejIfb1lagQMaM051n3CXOyLI2KcaaHqCWSM3XnVxxb93TcJc/ancarbfiMf28YW6OLi/ft0tz
i/MvkLB2coo52LRd6CU/F4jp7pGqO1aH8nP229wIIFdq2pcGF9sZR4XgNVEsueMdUt+O+RuOTEd+
Ht1+Fx1zt3AsgJMbi7x+ELCpiTzjMkNjVx0pY8gGJcqwKb+k3zX0o+6SnfBa3U8HEv3uk+Kg27Tz
A1v5umF47eycG148rZmYqUU2YLi9C95kx7tLnwJ45JByom3zc8JbN87wnrz/+1bY5YIXHgaWST9H
jYozO8Aa3sAMGLaQRSJ9htx21Gzi17Y2eP77WcAS5V6hwaYpucLRfLG+qLSNpx/VZ/Gk29GT8glR
2H3yLrzd3t1rD3e5yHnzz4xO/pQa/kDBp5p+GxDGpBsXf+ufv7gaCaA4rZDngpLY2kr2hJbY7QVc
u7DLBSyuwoTQtBIw7uYGcNykuBREuEiat8Kh2+vgObjcJ2UIimao+Thp/aNUn1Lj9d8vQ4ORg7h8
RigtS6dNKgSe1lLNFOPqn6nPP2Z6/y3p1JfbZlY9o2bRbwWqRuK/bEr5HXTd8kBXodyPDjhrpzzE
75D0n5Q9XeyNuGDt25wZWzaixoKsolUxFiZ3fvUtydEpMLzd7SWtXZtzI4s3DAX5foDQlmtat85k
wPKlxztBjg4yKu23Tc1naeHnJU0BZYXmN8MSSyymKpiVQAcIPqxY3VuI6na6/mwmwknRXpDPeUhh
B5YifWMCSl45eyABqNNIUHoa2L88e0GSe6NXQa77n46FjazZ6/SjfTSOw1v9rXTSd0Jz1m0zLCIy
QLTPDsqHntJGsREPrez1+S9RFrcgGyB6bBGudsPhW5W+m/IvpFdi8cPtbV47pPMbI2vEXfpMMni5
4CTTgwTRGkqjDIjMLPgH84Ra4E7tKJDbobvVql3b4HN789/PnKAcVrFnNJbsdkMeO0KMcm4hbOWj
W0YWz0mdFl1qpLMRxaP+8rWNld3tfduysHhA+kznTKaoAqqtuQutYGehB3TbxMqN5ssYlPI0AkZj
eRTjKlHViJanGzG1dvAb6SN6PEdRiv99nmsAozSB8hLBEcctbrU0NIbUJKjWyYb2OHSfoM8eRHOj
BLq2YedG5MvvPgRZo8o9RtJJ3ckJuhJbOJ5VCySdUPECCL3KUhSEk7xKIsC2YGEbh9pG5nTDKa19
Eqq38L8COlWZb7pcRJWbgzLMyliQOH+GQOM+jKqXzvc33tk/WfjC+ckkkcy/kwrh5BZfRLOayJCH
2QvJSLF3hdW8I4hHG7VJ05e0EJHBs9R4H4BwtSFdal1mJIT9VDfSvSwikiR4mbEL8zg8aZXc28za
0z2PRB+1iB74n21NYvwrzRC/2gnG8LXRh36np56yExujhL47HAC0ykX1lncIw/bRTGMfRBbqMVEG
d/Ekl29DUVTvuZSKTxD+jE7SQL4xGp3/WqRpMsvRIuvJrIZ6aode3yWCVs76DekJ5bbm1c8z3bEg
PkK7ISsedDRhn0SxtdBB0aEmun2P1hwp4/mMDswDkoTTlx+t0eEMF/xSgfQMSYGRymXV72o/Ihna
iitXwmeZQUyaIqICtdsyv9TVLEEKvVXcyhD7L2mCvG1vjRlat5npwGKW7zi8nnt7fSsvpSLNcNa5
Ygo0frG+ADekl4GFnziFRxqzB+2Akv02fu86eTYu7CxcXlghBziG2Pm/mVf2nKMQuBOQDy+A2czF
YOZmXoQTmrcws9f3wm7r7biufVz+gkUAnYZFEGoDv0DL3yBGdoZp2gtaYWf9Y2epe9Tq/gcXTMsQ
bgcgpjSGFgZjD2WvThg4OkVyF3g+31U5yGqzdd85gcvrfm5mEbgHyHcoY4cZa2Y3pPNiU9R6v31K
Vm/B2VIWgY2BEGna5dhQJtcyENHu7rNE2zfB1rDdqiGISqBCJ7y+qnMo0dSBsxMV9JEQfqA9Yet1
8KCNFIwKszjeXtVadg5GgCvHDWfQdRljq2KJZiWQbiDA+ad+X9c2AOA9Idpdv8vBbgIAPmw9NGsr
PLO5DLUDOc/bJMVmDaea3fsNmiGw8z+CFgz3Y9Nt8Y6vL5IggH8xUXsFn4z6uO1aVZ8XWZzmGU3V
wfm7lCFO0C0czR/bV20F1ILLPLO5OJMZclljJWjzbQdE+EyP+RnwhNO6ph1/UPYq1zvbnJhce1/P
jS4O6dBPplfJGB0M42CW6l2MskzM9N/GqZnf6eWFO7OjLmLrWiqbhIF9xc0eINX279FBcJmTgkAK
6DM1nYO337A4hze3LC5e9AG8jtfM26k9p08q86fpIzK2bvWUu9v49BVyk4uPt5whblrR73Foilv8
lO/ET8lpYJEKpNbjs77r7rQ9SPJTfdKPMDRu4QPWwrDzvV3ESI03MmvLIXbz8ftgvMXZllPeOprq
/AvOUojBqtWK+Q4qxXctcG0f7ArzyvrDAKmIsjcOwiHdgRb+dfsTrjyz5xdiWQRXULIV9Jo9zczg
XSzjHrh0ukOz4wji6hArFiqJ2rMy5a+37a40X/mYkERLcxmBIcjFhpphkuSab3IpilMkFT9jH6GZ
JGsPQTsLkn8IEn9XGNoh7n/myLIngOYTC37i2z9j9bOe/YrFpo960VNj4FeoY/E7hKm0SbV/3WaA
+QxOQlUBjME6F6+tP6AbGlq+6oooY8Jv0qCAlk4bT/oKlm22gjoIqlLIVizDwTYW8zERI/WPY0v3
/t4E7XnfOflJd2PGqcIf01aOveLWLkzOD8rZgZ1g0mLIL1DdqDeUDzlq7I7MFBmkr0qyFwIJysdx
9ETkHVoEBcYSJhKhRTC90frRVWrkqdCQrEtX0lO0fOnvvvzrb0tDkLYIx4z+7fJoj1ImeCNgOdf0
Xxp0J3N/i0dz5fRcxI6L16SXM6pkNZGbH4IKb15D8HO317DmFS5MLN4OjxHNEV0txRXvQJraTWBH
z+mjf2Do/xHyIduEx0C8F7KNitHGypbBQKxmE6AvQ3EbWR536uAjUCls5Z2rh1Yy5uwcNAvQnsXz
USlBoHo6i2u+1P9UzBwhNnHwkOjbz1E3Y2zGaWvmenVhZybnF+3s0HoIYqV55RF0jOHvsWnucyvc
eIfX7sX5qhaeDcXZeggjLnxLoYsUMvkQDfL9hCr7xvO7tZb572drEfKpFjxgRm7kwz9Vie5YMJpw
+wCuLob6GQmYYUDCMP/9zEZdZF6RRLHq6un4KfKll1791JafbxtZXciZkYUniYPa0wIZI1aFrHr+
WRU3Ju23DCx9cKEIIdPP+GCmESvQUcoWImv9op6tYeELQNWrRjFiondEJG73yJob8i7bpYfQ0Qqn
yvZyZjNlmrb2/0dcu7ZAMFkq+TKcTJRYLj9TV6CmLCUca1SxOySnnXQfPf9R+2gR7t6Ju3lgcCtx
Xb2/skzrV2f6CuTkwjkNUeghforVGSJuUTZ259VKlS0cZLsA/F48bsVha+fxzOSfXvjZeazMJACO
OrtcuD2B7NhyLdlQv98+kPPHWsS1dJr/u7A/MO4zKyQlqmcB9XDVtA1cQ28Fyxk6RT+RIHUvbdtF
j3kjKHctsoUbWfNaYHRhe+GhhtIUK0nENnypiaO59UFwpMmOfszzg+Jx6p1yCwg3/yNvLXfhsXwx
0nxrxOR4Zx4URk0bu9zlJ9+Jd8jBboRcqzflfHMXbsuKJ+QtW05Ns/NfIVw8WDSekx9WajdH1e72
pRs+K81Orzdc2VpTALEhRjZkuCOgdlh4AbVQLPDS4XxF5cqW99IxdYp9DRWQM4fWm9dj9aye2Vu4
BKYRkegVsDc3IaTdKdr1wh+iJcWJbCd8Rnj2x/9wbs8sLi5k5Wt9Wk9YTPRCt7VROQHP2EuChkQ8
6EPb6Bs397tw45PO/vnq/MAwMtOeUkdezsA2QNRzkdzTLVNN/GCJZbNTcgEsbGMw4SpFG8/FWiJI
HQbuXWBJeJ7lo9TUgaSBfifyHKnu28WuNR3zTnci19zltPBeR+XPPiPYM/shf3NUet3znf2CxYul
J2qTKT2/ADFm2BKYeCz2QrazxH3HVJ7mEPWqdpodb3/e1QN1ZnVxgK1RSVPF4vMGovTQlxG150dG
uLa2d77uV5/zzMzi3Oo+qg9qy+KCaodetbifyzITY8yu6B9mp7C9ofJaGZY+DbNMMCXQs1nEGXHn
NQZ8VvPdhJZsHx/9yAm9Lzg/UDD9LvDfGkc+0pdEuf2j8T3Ybz0say8odNHEtDRKQYEvfGCQDbpV
IERNN4LDZKmOOPwvsRRbRw8HpJRxVdUbSdCELuGaROgnisxxRrXTixsuYD4Dy49HlV6a6Uotmp+L
jRwiq+5CqWQju0Z/V/qSYkLtJ7s4jOGuyXvAIPLYbziA1c0zYLuYMXzXU9h1ATmep9cYNYrXTio/
h8YWWm/tSZ55sGH8A998xf2DnK2RTPGoukMW3zdJZnvlD806yt7rxPRLWikb2ePaXVOBfiFewYgf
y2Kfz0IAdJOrAk0XPlaj2Yp6zBMR9feNl3fNccKaCCpch+RbWjrOYap7jt1E4OupT7UVtnsgnA/S
lIQOjb+3295jpdSjELnAJM54w/VsnWb0VeENojormYBXLWSEvbNdqxRfpUR7KeRQYYAjeUg14ctt
wyurVBGagPSYCto1PrFl2hbeE0t1Ufv+LoKC+Q4bYIEkrNQ/Dbq2YW0tgMIcrAfzWbnm2Zz6IZyo
E/IInsJB/6a5mStEjrVHczYNv2tOtI9+b731KxfgwuYcYZ2dFt55ucwZlXGTyjyJY3PS8+PtTVx7
ci5MLBwUXKk1YDJMaLbojF7wOJFdCL49L0yVykdxF4NgsrckIVftQo5Kl5yLIEGAcrk0oqlKUlK+
nnin6sJBcyHT+NHYKDHJ8m5qX2UEGr3XrQ1dexDIKP5rdhnoE8gwfur9WW63K9rppBEQWiXCdfz3
+EkCwtL8QNbd6XX04SseiaR7kfbVAV7rrR+z1qq4+DGL9CobzAAtevaAyJHh6fzXn11gUhTSzHz6
nCkv8y60nzdj5RUvdGF4ca7y2NMrJccwzDqt9WJV8b3mtocU8um9dlCn9uhN1ru4i/bGh81Vr7zJ
KjRe82toMhq3VG7wLTkQlRAXKKSTZlfDOCCYlriZoN1nyqTf6XUxotxe3KWT8rlqhC0WghVuFSQE
dUZZaA4xz7LE/A6BnvoF0uPzgE5YmzutR8esCYWPM5SyZ/wyFI9Znn0vvPYgOyDRflt72P2tARyT
ILheb7kJFJXyR28UO1vO0hyIvFzv6vFj44Aa8DdPirbm63SocEk9+dFXTa22MhK1LfnJtdEF/8Ry
m7yiWJbdW01AEbQx41NryVNpDxJKg3bcqcKusqrwMMSi9BYyqbqPy1z179NWhze9aaN7I+wHp4Aq
6CGdBu3YGoUs2cYoeiMgiSrei4ZnlE5vmGXmCFLZPUVjKX/yxEL/7mmMEleiZJi2OnimLVrjtM/g
h3qCWELewVZPT7YzYWlqy9ypK1V/RX97+D3pfXGnVyZQ2Vy1vrf1OAf0uWf7tTAwTNi31oMpVNGD
0HvBYdIFj4qKJk67rk07yEjTJkZ9uxr2jZyFH6tAQCOnBSoxhj91pah+3vaMK5EB4HcySsI3qCSW
pe9QHUJPaTSNuTTfkVI6pNqPRv7WDz9Jau0s3ap7r/j6C3uL2H+yEl80c13DGTAjyPh/C8v3fkaX
KU4bkG8YX8397SWupa4XNhfRSIlWeer3qkaGTvsL/XXapI3d7jjpRMWHTb8z+5VFFHlhb97zs/es
AjCTRAN7OriwYzjh3mxok04OLO0H2ftfumsaFOYasDAmcK9Y7yK5j5j/YEu94J8gkmy5StzbO7j2
0c4sLJ+Txg/9CNJHaIHieBf23SFKwo2PtG6COAc4DmMKyxRG1MeqbgHAuyNE8I3UxswgxVvDsCsP
Ajv118ji8LVRIdJzlTVXneoPBqJn1FLeAB1u2dlazOLAGWPZ5XLEAVCk9HMC8kWo9C0ijRVfiRoU
0CJoBnTpar5O0oQUCna+SaT+6pj4tugIZfgKRfh9++Ov5EQXhubFnp3mrFX8NhsxVBe/IF4BZxvo
79DLO32gbGRCq9/nbE3z389MeSncczlprhtbpq1ngp0ocDJYmX17RStbRw4+zy3RPCWTXHyeMu1N
IZxfRrnbNZr3NRKbd9Pu9dfbZlZcq4rYlApKiDiP63G5GnHMyhwyVL6QNP4jJX5hN375ZLSUOxSv
g9LGf4ha5d9fVYzOw/gSkEcw5pdGEaQv6l4aNVeLtcHW4/hDSYCwu72ylfN9YWRxJNI2yszKm1fG
4H3k3bf6P//aANxrxCxkXOC7lr0tcvtOyRK8wdD1v0ZVOzWBv9GkWzkEmCCbY7dQJ13OKIW1oFcN
tQa3VkU7Dms71UEjNaPtxf8ehn9hafkc1HKrlIzNu1nxpjMtmpU/o2Bjw1bS0wsbizwDYSHoMjNs
oLh5auPPYYzcco8OVLWL5Z9KoNvZsDXSvnZbQeJTR6R0eU0oXCVN0YkFpyC06iOTkygCd33s1E1x
uH0aVohfIBaYcQAI1ajXvMLxiPZyAJccD3j5lO6HIwAyO3/LXX+77jxfkKvH+8zWImnoG01Q84yj
1zuTOzxku/LdeBo/JP9QLd2Jx2ALObZyly7WtriwshXqAQUYEpOqtWkcHz1dOt7evxVHdGFicV1D
Ue27HECtWwuElj7A4bZ7SqO+t4uBN9b0o5fWTIoNT/QnKrjeSbJqxEwpbC2LQM0wtkM0P+leUk3I
yCU/64b8MszVyJWlbJ9AfS9P4StP8oMWl1uTndfvlobq21+CwcW1yyWrpCoqDBBs/Jal6kWR4cdl
zEaodqXZbHiTlUQfayak1wp1L6CHiyTXiiOh6rSZMXPGVesiDF2GWu2UWnqImOW2xUb+mEbNURqh
cbWifj/m02ka4tz2Iqi84nY83f7o1+eKKg1KFVC+MzHIGMflQwCxbh4Gujm4AhDnZPhkRluE4msb
zG0UUaVUwBpfedAxSlrRYIMJr50ckp5BBP4n5Xsv6w5pu9GFvvY283pICnkNGC5d5tM8nXnLvOzo
BtFDGR7b9GuqvN/esut7gglSLQl/ho1lxqzlqgQsPh6hLIgiJ/fyt1TL7gzP3xmltq8K86lMp24j
GFnpx1xYXZJ15KFHFbGBQWku3hcn7659EUR7Oo69PR2sQ74LA9u8B8/R/GkebJXur1+OS/OLg+tr
im8YJYtupCm1jQqwttRVtiVr3wVFeJLC9KumTQ9TjfLs7e1etwwDDqzSYHWX2C5Y4Fqtk9LRHYbM
SXsjs7tQec6T7gnM86PeSyehzynT6OrWll/7+HnNfy0vXENkTNEEt9To6i9wwJEF7A1pL58Guk+K
Y+SO6O0g5bq92hVuv0ujiwuphmMM/THLDU7mYfw0K6qovS0rtv/+c1ZB8525PfPDeIN5dXfb9nWs
c2F6iW3NEe0yhCLjYI/6CWKJb0WguHoMJ8GwxZm6agpSI+ICal7oGl26nTrWw6AyOU4+DHd+7qTF
i1S8VuHWLOCq8zmzs3jTxrwTc2WY76qn/jSJrLrB23uNdedF/auWcnlub+FKEYE9PDO4iOaZhuoh
R+SaMki0D5z4Ls6d8BCfpr16bCEo+3Xb3qr75lbM5LiAPJeYFM9Q67CaL4ch41iH56DdKlOsXr8z
C/Lll8pGCeERnR3EsbZQ/MLN6pf9h0Dv4XOA+UDzI1sY5dQuqnJ/e3HrH+/v4haHRBH8KFMQu3dV
M3Lq0DrltIngeYOA9lOQbmXK6zfvbKWLs9ImVqV3Jp9O+zg6VD+DjrZs7RTP2o/c8d/9B1AMiC20
H7iA/bE83l7s+o34u9jFwWE8hmorcZOr5NFjGiTvNHF33YiiI/S1Gxu7ZWv++1kC3XgNVCA+Gxsy
bBHlNRCcAgSD6NT1x9urWgGizPfh77Lmb3xmamqnrhyN+dm661qHLU2PyS4sbXgFdXuitF3Z7QkK
l8dctLdYXOYtu4wsL20v/DfkiJKIZgpHt/zEVLiDMBfKZVvw0VUrlD5gCGQY9qquVvVNrfI0je40
fijV+1TybX0r5Fh3K3+NLEtrnpYYuja7lT+TWuB5/0O23kB/FtvbWIGNRS3BWZPJOHM9+xWxf5fU
xBnaH4OwNa2/egzPFrVwLYYC1U9csXNMVNgesizZ+KuujrpYbeC9tgwtHIkmT4ByZAyFSXE/0Fqp
EACipPOQJ1vaZKsO+WxNCydiRdbkmyMbF6V6Z4+T8LmuvNPtS7VlY/54Z3cq18YwlEWWMxCsl+Ac
dOatb5tYdb1ny1h4CKtrPJOEk0Nd9XacfYQry9HL32WZ2XW+JV6/7iRgeJ9JwOa51YWTiCxrQhKS
010CrPSP2S7/NDO0xC+IhEWJLTnF6zBwyreAyqvpGPyt/zW88BBp15bW1GM4ONFqCx3jGLn6B8Zc
Z66F5skYHKLqrXGQ9c/31+gywlO0oLFm7xsPzXMjDSfmdbdgMBs2zLnteHZEBl8fDXF+OnXjSx9E
jtFtdS7X79R/V7HMZAtq+2OZYyEJa0hnT1og2aX1Lqvfb5/ErZUsnMTkK+FkiHwiSYQQLhYZuph2
t02shTiIbihMscN6dKX/nsW+1+fqfJ9q2B6lt6h69op3hPkgmoQLA8Hqvm03KgFrywKgBJUaXQyd
Qf3LDxRGqSAFPblF4Ce21v3Mptq5vao1F35uYXGFIaeMFAllZRfCQNvXnwoIv6pkA1yzmpaeW1lc
XT//f+v4vypD2U77Yj3X3+tX4weSfr/jh+oTNMMemf9H4cPWbNzqJqIASZF+BptenUGZYRw1rii5
xYhgFUFuS7H89d9vI+1xOFgtk17t8kMJ8Wim0ZxBFNGDl9z7YD1HxuZvG1mNPc+tLD5WZJJo9nNN
QfC+S8GHTDR2vXyvdKdBfFJAtAfDc6GiHxpK9iQmu6bKnX76LcZPYd45cRk7Vr8puLx2Lc5/0+LT
RlEYq4kK/NPT9IfcqO5l4XtYZbbopXYd9LssUPeGJjh6ntpQc1CVfI3qxlbC5wbcnfKPHGu2qVkw
fhanje1aO9vnP23ht60q1YMesB0aFfqh6JzMnez4N6PkH/F4bvoTapmduFXIWjttBhpQaBrgJa5A
OpYqNWU1YrSuI9uICrzD1p6vrevMxDLMUwDaZ7KKCV/7atWC04VfpHHLMazAfiiQ/13IMrgDdyrK
cYZLNT6aYI3SvfbZf8m8Xeyotvds3UVH87P/XB4b13ezQ73lMuZoaxmWn5tfeHRtMkfEElhkcPIO
41PihhDj1K52CI7yffJ7a4Zua08XwV9dyAM8Q5iT1AfDU49lACV0WG3c4LXLYtD8pu2AQ7+SaM6N
wgqkP1+OeFywjpn+LZQfPCKn6CkuTM7Lz9t3YC1CY3Bdp3s3YyeXvq8Nh7q0fD5iYRqNIzWV5pRK
pP4YCj95nmoVNp5OVDfelJViPUeH12rGjEmUPxc+gbEJEqoWq1Tk9zNYSargjy+/jKZk57JvG0Pt
0PRzw3YDEbKyv+iJsK+Ea3ArLSltlLL9zxtdJdqjH0d3VufZlf4czm1twwm86J/EEzYCg5Wjc250
SaQ0maUIGTtPqBTDX68rg7jvLclzxU5T9rc/50rzCuzf3wUqiwKrVEF7kk/Yav0vuSXstaKBAVV4
a/X3mtx4lCCN0uQ7TzX2XSxuOdTZYS7uJJEIhGlU6EXragTNb0Q9lWPCkRDoyN6s2vu87m0DvXua
Eb7yHLWDQ6np6GkvRv88GeFp9L716g9tEN289u1w+N0FzQbxz+r2c7TRgKQ7Dnb3MkYSQ3mqurHG
UYSvY/09k6X7qdliF1pLrQFd/rWycEdQ39SBMWFFPQSqM+N+dt4OQNYOwFUJm98mzmjlHbkwuHBI
k2KGddNhEJG7n9NO2YXf4kN2bHfdJwVyRos9P9w+XMrWTs4/6SwdqJIi0TulxFnov7SJAcZsbPaU
Q/YhPFTF/yHtypYrx43sFzGC4I5XrnfXVtrqhVGqUhHcd5DE189h9Yz7imKLtscRdj90WHkBJhKJ
zJPncMm2JMXpuxqXJq4A+a1vOJpgANB3DDqz3Ebbz6n4K5F3teABmH1s1h/SQnGrarTR3bVHFtqM
Ppgih9bPpSleuu4RXF6p3YCUh7D7IR9sVmyR5mwta/73V8uS+jQvrLzDTmoiSAt8sDK5WPJGFFjL
cT98sEVyxqM+ISGHmb6gN0I3bC70oEyADhuiU2peTEydEobRMf0lYtEd0b6XTHcM80efYUCFv8TG
hDcefRjH/6I3gl+GcXT8jwFwzyIcy1lrdUOFUW+5qPYF4D1mW+7SCiKR9XmITDuE+DyGGLyv3Wk1
WFxZXWRfodlaglp/rB7BFuEbUvoit9zpBcZWhOE3UblhcQVvjugIwCemIE0ZOJnFl56AtMSNN84O
nLuoeO+j+GzFxrkqS1dJwktS3eCOn4URjjSiz6WMYv9GEWktR//wGxZuUNRynwJFhxxdKAGtZLvO
poMWoUACvkGgNqitVfKBdIk9dJcc8pVcedZ5YRPtNovCQC/kPWgHTTvurcevP8jatYyfhqkejKdi
jHjZTpG1rqsKHeeblrljFs2PWgWxlhyeir7ZjxhKk+hPbdpng7r72vJKFgI+dXRCUWmdRzkX34X1
rZoDOYUqANd3ivQwUOpQdmeCWcOyNlKs+W8t76hrW4v9N/k8GAPVTr8zbwAAdtrxPdW3SB62jCxO
FGmGWutzGEnls4aRUI0eLIyZfb1razcAgUY04ETEkD+9KdOiTiNwSUy+hbpT+YiZlQ0Dq756bWGx
V63gCs1DnBctmEWXlAOcEwSNJbjTEkdzuUc8620W+qlRVtsqDa3V8+i19cUmFg2VBrnH+rQ77s43
HH2ZKUzDW/km30OtFrM+0B/eal+u+uLVri7CUhmOWdgDQe9D/tSJcfBk8dJA8T2UH0RjbDj+Wunw
wxrnhPXq7lF4kRWWgLXBGV3taWA7vbA1y0N3PHZkH9m4eVanQ/n8tets2V0+EQWhIWC8894G/MSc
5kZmu5leqfNkF3PvXfVvsAKt+ivVAHVQIHsBKNfHtXKDtTlvGJh7ldFhZos2fLThsWv5vQIRA0BU
IQbxaQxB4iPULYxc+BnEpuShd9SKYDuLfW9AOUsWHh1uFHOL3WHttOMpit4JHm2fIZ4SBFy0mCOk
M9HaaLDYoQSCLORCGx9tTumWoevazsI1TZVFhtzCjnoDobG9iqHo6MwP5QnDrUFyJhvp/Nr3uja3
8M2GDFbRV3zyy1JBD3Hfx1sa7XP8+OcFAQjz0SMADmBRqcCCkQeJnttjBbiCCL1e2+JgXA0mfy8G
b6SPphDwp5jNOQ75OfNfmbv4u4ZmhItK0yH+Nez5ebLN1/C/mGTHgNu/fAOvo492mw78Im3Yzwd8
HkFgjjhSTCBwT/WqwPrPYUugzgPdMwgDFdA1Ld4EdaIC1T7hVLf0YkW/1eZnlN1tOOHqN7uyMXvN
VcRq4w7qTy1smA9p7YjYxgvaeC8ewlsT1FdN5wvJU6AMD134Df9f9ccry4ssAflxM7VMoCnWJGMw
kBHjkbXsb6xvy8rizlOzMZL1CBFZENto7GjHb2JPup9u5YfsKf82PExv6kZVYt05AWLRoB6rYiZp
ERnDtEmmtpfx3cB1B2gEpoBoEzTGuXnmzugQp/yVsf1Y/djmeFi77iB7oQNUB7rETxBuMYA00KoI
lpsCB6bGLmOJx3TAFkvlzuh+f727a/H52trCeWLSRKE0KGjRKd/McD+kpzxvT63OHVoxW2DwCLnZ
xqFYc9hrm0u36aMwtgrYNNt9IvZ1FEH08EKml6+X9gcmvgxmKOeikgZ2OVNfAvog9jI1JdNQdZWp
sOtpwhaWvjqVTghVMbOZHAjaOqXUH4xxPNfC9FWj348hyFHiwSloA52Birpoh50x5Afsb4wmKQOC
StmScFkZkpxJ1IGjnpnOQBa08LdJUcZJKS0EpZQ6UVTbGW7ispWdssTtPOquNJqgrxJD4qbVW0Mh
VWPaUgv62LTqDmazrbaJoPFp78APgeenYuAULAIXYCS8G9Rwbt1aAXEzv3oGTDfAJOsuljdyhLUD
DnAnqp3zDnxq9/QTuN4VgjQkMwdHVVM7H9lWEJkvro/rwUCsqluohWEaA2nBxyDZm6SBmmQq4HNQ
NS+og/6WPZnUNiA6L5PfUoYJwOaRSj+/dsLPvv7B7rLUyPlo6ZKFtYG9fS/RZ1PBW3ronEqONk7V
SsyCKe0vRD7GgpZvtr4YSxNCo8Ivf3N3EIA45d+Lzp75zihUNjHt9hMT+R46alv3wMoz/qPpeReu
riDaGgmPZ9MzgVN6jwlfOz1YexJggvM9drcUWD4HrY/mFqcl1qVIAZRK+A2Syqw27CGFm1bCVhIw
/LDelUtlZ2V98PW3XMnRP9pdpHtjLU+NCnq3/00dWidlO7DKhW7tIpj9Tnsb/TtF3rhlPyezsIrU
AUJIQFt/wlQmuZAFyKKEn0jcbbOfo37MQcu/sbZVR72ysrgIjLIFu3hXCX866Mqp2c98VCLgv+sB
HKjQ0xmdWddX436/9eLaWt/yOoj7PDFiWM5Up1FsFCwv+jM0zT2wBRvY3RvitQ+Su/nimhO9TyHh
asULpzWTUIZp2LXOzT732ndSeeZlgH5xE7TVYbM+vLXDC6/VK2bI1vwd55yijOxC94ynuSjd2daD
0aBGC2qjmv0bD/fV83K10oXfMswrSOjWCp8kGGSeHilYjAbpThagdggvqfQ6sm4jpq9UKj567SLg
8jYcVK7A5vjTYo40HBsMfwxefV9/5zuMvomdoqD7vBPpDgS76Otu9SNXhDs+/IIlVgZjF0NZF9Cl
ab0wyL3YC18LGbU8G1xZ4ogaNtllb5KH7rsjPMRFIxhap3weJTvauuFW7nf8FlQ4URlCNe0TmLBV
IhTXi0aAtyu9dN9SL3E13SEyajYDGOYSDxhiWmASfeszzK+oT07+t+FlWaGlKVOt4Y9hjBf80o98
l56kYIKQx2ahZqWg/mGVywZ0izFkrhjYcRNwhpfhqXjFzH3klEHlKdROzzUWC8aJ+rY6NO/Tjv7a
iGFzUvLVYucTf3UNhbRQJKWH/WSv4GFnxj76bR77MU9el0AzbUqBrR6sq92df9CVQUurKsuIO4Su
jPvt45TcWrqXDSejkdzwmKfE3VjhlsFFlLY0K+em/MeniW845nO+w+xicQtai0ANLNWRocDtZ17l
gGU9vGxR/v7pA3+1w4tYnUtlNnAyuxO1dcXhP+vfk2c4mT++Kb8AJM0GV/yWXeO47V3z0r4yvQjX
FqGZUqswXUmPY/psbklsbG3tIjw3RT3VsY6/P9IfcjzEwByVLiZQrOE4iVORciAMtG9ff8/5b35a
E8pUIM4CPg3qRh/9Rx+GsoySAYlMVCVu3A63zTic46F7gSTOLyJv4VBWmqIGsAxAuaDXIlsgDfho
UGPF1OoNHBZN0V+V/9coJbtXXHRfNtO0tS+GKRCUudHcQft5YWxC3zkpYllgQgxEclbhTL20lbas
HXkFWjgmJgxV+RPerhloHCmCYwcryymiH3E62kn+Mmk/kvpSdqZLxQ/rhAYo2pvjxgNz7evhKWEA
FjJX+5dDGrzFm04Hg5avV3eKZnfFIR53ItvF+kbDfC1zuDa0iGtqkwqraWBoGHObgMAmG1/1RsUo
8Qbf9gpaAf5xtaSFQ9ZUFeBlGYXfd6AgnJJ9bg22ZH6XwzuFAbHLgFyzhp1ODmVUbACI1g7gte1F
bCtZypQ8xCoVIbsD+xW2bhz+0C3JBuusZdkThGe+Pn6rDoopUbCpwzBIZz6eBtMYoIrD4DxGN+1M
gnd/tbGmtdxWubKwWJPWtqWasR6ZV3ZDGHEL45Ixxf3/LWMRlPuI8ZpTHGrWHXQUxOIthNzqKtCI
nAc+5kbM/OWurjm1NsvSyPBlRtPwC30Iupi7lrHhfGteDpF6MPCCnUH+BAXq4ji00tjCcVJFADze
fV60T8RMH7f2a205M9kNDi3BfOwyLvXQrSE9JdgvHeCi0jbpqePfvv4mc0q9jOzXNhYpd96Z04Bz
hMXQ0gEdXiA0fVeAba+HYK4SF56c1vuvTa6mX9c2F5+pSyWmVxw2oQsW2/rPCLM47/GhO0KLzpFd
ZQdkFTShvH+PhvLrXUUl56OTAL9lpGqDXbWGG6rsKDnT+OfXK1w3gZsSE80QAF1W02kVTTmE4pBu
6W3sJHr7mrHyh+hSYyNtXikd4s9D1ev/LC3ObWzIQm2oJvywzL9PY322amt0CzU9ZiEan81zpfF9
lYdPWc9PmmuIx/wNFZkbpMAnpW1vutF4F8R81tHVs9UG/cop2jj1a5uBiUQoWBmgBsQl9HG/a13r
ZA2lAb/MqVNjnkGIV6vf5OaeV7p0ZNT/qAoTKNBZ88+4OvtxUjeDSlDzyPZFDpkZdfDL0WYuBItR
DWw4BMKc1N9CNq1WlK7NLrK9jlZpZoo/pRbrDs8kh+zSR7CYQchKPEIAduMmWNtMcIGArA0j5qh6
LlKVdtCqUBXwrHR85HLqlgRCGmIjX1i9Xa+tLIJCRcCSUaSz/+bSbRoBoNsadyxrbmYkIKlAECvE
MZJogITRNbbENFb39Nr8wmPAldDrWQOPmTrVLuPcxcj7uc1rD2h/p+zaIK80u2/3FZTgaVZ6mqid
3tiIUmtRHrk6cCWYwQYr/qLtl8XFoKLUjjBBn5l1D9S7o6WPnb4FlVjz22s7i5xJHiCDPUkGngtZ
4ijlmTdPXwej1e20ULKe29tYx7KkPKgYXaUD7ivzoTkBe9c6zLXc3o1wSDCrv02KPX+f5VG0UCOC
tNtM5PqpSaDXUKmVQwF0vHVoA75TAa3eFrNaX9iVnYWbij6Je0WDnbmaK9w/JG2hyx3LJo7CbLA8
bCmbrlaLrpe2cE15lMVopdJcH5kPO0zqF20456OdB0jeUSBSK2RptiHc6r1QtuPNWgC4+gHLYhHK
VYYop/kHvHS+FQAtcBiGHUNtTg9A/CI5ww0goxtRR1k9DH/v9BLsPQB0Dg1oihNpuCqxy8yGzE1z
09e2eM5uqNdBzGP4NusP9LbhZWDkntyucpTM6SD5nW/WYtcODdgYoBVvGHO4XxxObmo8M9NW9uvq
vQVIWAKtx9enZsUCAcWXpSiAZcifej2STqKmVonsg/6qjC8Y198wsLKlQJoA1ILOKahClrlqnKKn
RwdVnrkuXbSxvKSIwMSd2jTZKq6truVvU0uhl1KnIjEzmEpkP0rpOd/kS1w58YTMOnYgWgF6ZtmG
NonCSjLM0vZU47tCkP6lIKUW9KP5VoYR8+uRvVeZ2XtjoYmthtIcIhfxBpgFsNmgEw2C6uVQAB8i
3nR5DGCeO3ig/Cv+1AvAvHmraRDR2yyQr+wnNK0w/z5Dkj4XSRNCzD5n1QygBl2V9x1T+ghyvU+Z
05q5O81FCn/L6oq/4OU30xfOk2bgOfiY34ygq1CmCugCdRrFc65Yj0zPb0QTiqNhbdWkV6IMRjsg
MD4/pkCKtDAmOJiezBC9/cyMe0fvnsCteG/ECKpfn7I/dDjLTzc/18BIBJIzS1nkMzppFNqbOvAL
UwyRDynTyvsoyU2vH0b1ohmcBrzQKrfqyuEXqFGT71WYoPPcVNNtn3eoSDdd5A2yILtCM7DzAAYF
eizXdlIP/EeFZ1nAopTbfd7k90NiJF4TF5pPGr157wZtDL5e0JprQCMB+YI8/+PPlXWVhTZlm1gh
jYWPfCH1okmW/KjQko3X+povAHIN7jwZmS4u2o++oPXtMFATzdo0UlK/BoPCAQhx1QGIIPcb0W51
pVcKSHPdAZ/HAkUTqD4+2qtNKQObN/qY/M9Lg4KngXmdKdklhkcl+vT1Hv55Hi2dAjOdIHtFIxGz
IAun6Gs8WqIIDSgti4AdZigG7pOI164m979CXsuvvJ50m/RjeuFxQZyaxBN3JSag3Fty0Fra4Bvu
gQ2X1F0sWniJVOk2iv7GRUotcaAlgTIkhgU9dNuTS2lCEz5O4FwWyMAyu4kreZdV/fCulDGtnVim
3U3Ts+6kyBDeNWJi2R1JcM8S7T8f+UHShEIhHo0ocH3iFjbADjzxubgArQ2byJjFwFtcT7dkxlcO
OKpnkALFsA2wHMsLdIpyaqRNPt8+aWQPRXuHVzlKPvLGU2LVjolmsDVL/H6iw7LoGKZWVMh+r09u
Er1mOWYEooevHWbFPbFRqOAi9M/PovlHXB26fBhr3WTQxmKQDJDMxqmN+2F4z7vK3qRrm3PKhW+C
3x5z0wqUW3HhqR9tpVNUxD2XkBcYmW9WUoqXhxkYfeKOxJdK46nXCu/r5a3toQ49BDyiUQ7/NPc5
jHpbaJBD8XseunlrYdiptjl//drKWjZtgBMO3wmTxnhbLoIKN3NZyqeaACQ3U2VyJ0kKu7TECxkL
TJ6k+zytfblXHU2d7FEfTiUkOoeNs7/6K3QD2kfIGWaqyEWo6bt+hOyLkEH84AEHi0xzpjGqoR9U
lt/MYCbA33rDr8TsmX5ufh8BRoShwo+fNAKkKZswIu8bOpPsdsiIrctbD/ctI3MOc+WjoggVkOwp
sq/pfWVDqcxVOHhNNr7hiqt8WMrCO5MRd20GkgG0TVQ/S2yrtvtg0FAGSUEoIR3ynyAVKC17Cxsx
f5XFqcBTHxcDPBTTycuvZvWNOnKKU1HlrzFGsS2wsDX8sU9uWHgbt7o98o1WA5jSP9vUUb2bkSaI
ZEANfNxRyMnpbaJFsg9RkshTY7AlqdO7RMffQ8N8XZqIV9KOBkXaPI6KuhszqtnyQN+GPvwRj/Ie
ShXhXRn2uaM28jeL88jtzDG0qU6CSRWPaWumXszyoy7npk1qMIEwns5oLPm9GJsbalWnqpdvi8SI
cCgyn8eVr6nhYaDstzSOmHWQlNexHE4mjzOvTqYgzaU7MY7f4mm4aafqJSXdCwknDLvFY+I0FW47
QNt3Wm/taNa09iDIE+SsnprMeh0AbbZYeAgVcaNoBXGN0notY012onII7V7lvR+xWLKLyDgWoXHD
FN7uhQK4RspTcWP1bWGbZkIcgzaKqzMWgMSaQPNsOPVdI7uyknCPceZYaVIAZ5kYLstB61Wy6tE0
1dbBRC63254dRKzeamV+tpT4SIVOnUxVjQD8e6ZTV2S0B6X/XUHLwqdQR3TRksqOTQ2xUtEmuJor
1CHJoDoDsX7VSn8DURKGDkrtgJz4UiiFA2byyW7U8GQlxSVnWuwYyAhFMiKrMt0skbxcV343JLqE
TLGFoWMqlZ8Mg7skinW7a/PfsbDeZJn/6gToutK68WilJ07VYKQ1jn6pmeGw1swuaVFqtpTKDwbp
/aZrDh1GYfJEDhpiHoypyGyNl37NmnvETb9IJUfNpqCSSxsExvuQPzCrxIjOb1F050F9H7j5k1b0
bhq6yOlx7iIZcKRaf+219iApAsCv9NZipieXWeojM3lT2vAihaBQqGpEunTa9ZYMG3RPquRJEACb
kuyt60SgkPdIyU6cnUhdBJYhuUAQeqCHtEtOT1kdFW4M0DGgQsGUMb9p5Z9g5Hby6XYwkp0cZQd1
hIoo9hLDbRhZoxiZhNp9IflSPD6iu3BSs+jQiATM81hh1oDy7xL2pdPo38F+4WTNA2urgKnk3YrM
Q19iDBFsRpWdihgDeOZeGXRHak1HUSynDvWz3lteVI/BONYnHjMnBOX7NIEAK8zemor+NOrx0GGc
V5Cfk4EBCCtvccGdel165Zb1rZQxNRR1+4qrz8grAEEJcZxThyhAVmuXtFGPlBlemjyKNHezyQpy
jI4KgwQ6zX6ABcnrVTXgHExqeV/YWfWt5vh3w/tEu32qAexRTG7DyKvRl+8Abk9OK7S7fOx2UmU8
yxF8Whl2Y1ceRmJ5U5udq6p3S+NiWlDKUsx7TL9TlLTb1iYQW0ATnu018M7jk6PqlZdnYVa4t0YD
G6xJBytE9VnEFwSsgyKok6jibI3mCyhhCrsf1ENGaA+HinS3YpWGGUrrJOsqsJ7JAMS/roz2lFv3
aVlOTtop6J0RDyJ7lU1LIAAiTQ+dPAKApEu9UNEeFAb1n5GGN5kypk7DjFuNa60tjXIbJGNxW1tt
oFbtUdfAiCZlbeskVnaXAX/lCE0cudHdD5l6bim9NC176qdyOlSEhLaZihNUOo6JmTd2N6aN22hx
GpgWrRHDdNlmZgU2RQoiZ9m6B02nHHSJcl8q3Q+SydRmEyiVLIk9hY1kufVQ+q0lSTaZGqghxcpL
0mSnbJ7lJEN/qjsE1mIE7JoS7bcEOQxbqap9JpVeLlvCLpjI7DaTXjKu3fdx8RxNwm1KcFaQcjpp
03jDwRmFqYMTiRRIcjLzVVPQlTY7Cx0nc5w8gaeaF0KuK2iEbjlczhN/6KtnNIgeBjD7QzgQtPiA
KNxLZn/W8vZOtlqHxOyHlOtg48sU2R6sRvMKqbZsZTIfc6t6aeQaTDBa6/FOu0Bs42XiarpLZbWy
lUw5xUMYY1jZzD11jN+tTHKaEv9vDohbootvFhm+mTQ5RUp1Dqle2gwfyyynZyUR722D3xpPPR7l
ZvEsQfrLMevqFKfZaIvS+E00hnReCd8rRg9TMv3EJ20wlds/xiiYD338Djrzn4w0c8TD8goIcYeF
7oiIeFUX3Y4Sxr/xiIWqaUT2Q1G+Gcj8qlQ3HDylXYnEJ0OdbrjA5RRzE1QkqFhZUubIZnIvizbD
UUQnCRPLx7Ie30BKC5VU2dJs0sUP1ihbrqXmkV31eoJHWXRnTIYfxgY0MLMEui6ginLVdOgCQ5si
cEqWySNU2BVHy0BomydUdmuS5zaNS8mejPKFA5H51MnsmGeqBTp+XC+xWl2Gij9BPuznlJmSbzR4
FRCj/4aSRruDQu9drcbnHPkBoiUCbDWi6SiZCCkZoAR4upOInytLvZtU49yqMXFQz3IjVus7Y8ru
mATgd2JyPBMb7YD3oQ+OJRDkJNZxnECRw+XQwb34JGHllE9PtOJnI65/SRPzMwS1ihfAtPVAf/Dm
pZpklMyKl6FqHQyJ3UwCpEXKVNh5Gz7UGP8BT2H72uWDgwfsHW8bdFzi+z41Qs/sOpeH+BlZ1KIo
m+qDnYwA4+dl/Uj1vsEtL3CwTNZDQdAY7To3fsVUuTEYZuhkGjm84JCQTG0dhAtMlh5Iqx2VNIEQ
SEiJK6fZ04hJA8kMoRKDJM7oDhCgUgAa6/t4JzTyMMXDKa7fdf0Ngc+ZMHvvlRFgcxAwv+901TGK
S9LzG66qldOJMZAjSDZOMiQmtGnwc4QfuRwwGpncNkoVQPfKMVLqioYFQ59BF9qqVGek8LEeXwlq
NGpsCifXu13NjTuVygdL1g4SGmJOrDHLmUpiOSGJPC1WA6pmdqzXQdTFfqh9m2J5D35+t5mQoeDg
6nnnxSJ6NlgEZVC1tmODP2eRfqZA9mPs0h/LcT+w1h3RdRrxsr2XhuE2BJjbGZo4dIop3nGN7mPU
VUGt0p0k3B52HJkOIvBeRpzFfNP0DRq+N3pc2nE8vvQ9som2grBVU1apOymYk9BHHoiRBHUKnioM
UWiqeiLdVB84xL4zhjyJVh6KOmcJWChvyA0Pgd0tpecG9AkTGFBKnkK1BcIdue4rhuVWIOpuW8uP
1W7HjfbEtPY8ZvJd0j7F/ZOmvIX5K43ag9ZTl+TGCfKBQY84I0vtXoE8ncBFLbp+b1go2yrfqWqA
by+TXF2SXJCTFciUqxOj0ysA/Mdaxsc16U5Om8tchQzZUZraQ9HVGEFhe8CqHpWmepJrnGEUniMZ
EkQadnSunljjiepssjUGf0lVZht58zbVzVtacHSJx1uuF7huobTkaS15x0G9TJV+JCx22qT+ldVZ
hPoP/a1T9tQk/KCl5Y6VHGQ0w0GtwuPEp2MHAqNQkWxWF+9J3JgIkAhNtTGVNuVSBzoTGQxrelnZ
05Bd4ibRbIB4HKNJz8PQnlUh7/R6fIyq7k4KiycMDgiPW+3NVBdw06o80tx65+bYOMkY37BycDoT
YiByuyWdvdaPNWYs3Iy9A/HT8mneqWHZk7AkPmP646RNnhyWaiC1/VNem37dY3i0CaPYgeDFsQFe
t63D3dcvyxXOJlT+EKhR5NcwI2staiw0iaqpkXqCXltz6mvUhD0FIVDBcPVf4r7iN46cLhxMNxh/
SbIWztYjeqXuiboEdKBQsNIJqmMfn3x1Kxt4uOFHNKQHB3bM30QYImHvm0OYyT+/XvKWsfn9efVi
x5iKMqRZi6oOeyTQKpYl6L/lk2Mg6fja0hog5sO6lpsLmk4BDRniK4HA/NxF4nb10L9L980x2tOg
c0CwppxkBSLGM9uqv0VUu8LfgK97tbHzXlytFaFgSpKsI748AVVulkgh2t0UvUv8R4g8vmXfUQJ2
TfM/JiE0PjzhF1tcxCmSUB3NzGhAHMM8DEk3KuUrBZEPFhY7m+dpT8jcLm0SlmN6r7+FtO6OJPFG
D2rdDpB5eMyCEGtZQ2rUoupbhmIEp2eteiuNn5q8sVmrJuYxT9wCQJwsnT8N8eLWq0r2CfACTi1I
t1daqnpAzW+R/a8WVGcVTwBVZ3GKRUWs7nPQycwF1ZyaqFu0aL9Ambd7CTG0q9Mi+Nr910qq6Gz9
y9qiNJZyWraYb5F9JQvtaiKOKh6E1DtmAsqI8Ichavdrg6s7eVUvXiyvDycwQmfoHutoDIWNsDu1
9Rqw3P//zCzWZeJhGlYadtGI8iDLMhAe6Zdcps7XZlbrYFerWQRFEssZEwPM1ClqflZ6O0ggt/7a
xkp970OFfXFQc1aQyRphA8+2SxNCl7IpQUOjng05e1D1Ys/1cdcTtvGhPlWDLTQOIJKIJiS6noCu
LLewqJJWqRTD5y8TZuDjg3GbYqw5u0Dg1i0csjFOvVzm0txiKyu1wKsBGSrKp2ABhuA3LlkMWZn7
/2w3l2YWuwkSnUYqAfuEmRkfkwa9P/MwbJn5FNWXdhbBT+Ryy6YSdpJ9t89c4Dt3My4tOWxV0JcH
amlocX0YqZYzLoF5SQDKmfVHCbBr+enrTVu6+dLGoikIbSikhB0x/JbdifLQ6j++/vufxlKXBuYw
dXUHmpmhp6nAbtUTRoklG0QPXu4ot3oGAVoAiuwqyA7Rf9zXX5qdffLK7IDeYlGgqg75oeRURjfx
BIphaqIcsDXc9QksujC1nPFVaZmh0AJTs8JtNNkg+DNfVFfs5jMFXZFvtRN51DG/U2BBDRs6lzOe
Z2Ob5zN03SpY/ohF8NVJBsVTBds8g7YUpwXdHfPjwAxUTBVWgb5x1j5NkiztLULIpCV4Z9R/Fj26
aO84icuPugfFGhDVbGnpfcKHLa0tIgimP/Q2I7DG9vTGOPRONivlBBYIcpILcfTz6JgH0NYFW+RD
n2Z+l5YXQYWWVteW6XzYT91p+A4OMsc0bfMR2aqxE17qppY9brWRl1f30ugiwkTQoB/6EvFZxlsu
qs95Tzy5L+1pNF1Gj6hibH3OZWryl0W8Q0B0OtMyLtyn6tQijDssUwmsu2qPWlJxw3xwsQToa/i9
r/jsOB9Tyf+v/PZvwws/0su+jpNuvor8MIiPfRB55n2xQ3/J697ptjDzHDM/n5O/7S08qZ100pVQ
PsE56Uo7ux0fCj/yUD3VzwxsIjgthwQSQLtNRoWtHV44UtWiKaAnWGjjQ6oeR0bz1B3ighc77Idl
h7PAk2/u640X5tZ6l64EeosUn9vwqfI7JZHTTmcNtau+LJyNLzlH1K92dv4lVxG3gK6mMkmwpM4a
07JXuKj5AT0qjsqruAMkorWrnXqAU+/Mffy2YX1J8LB04MU9lihaFgJNib9+iHfVzTxVDWohj5+3
MFz/kDz97UGLCw1IVZbXHEdFfei9+pIeQrdFpC3nycsUmoTK/ddL23KcxU2WKpMWZnP2VJDCERS4
bH4JK8Puyku9SUSyYWyJaex7Q8J/8BGVoDnVR0inB2RWQQzMe57byRM5WLGdHTI00Oyvl/kPkfZf
+0oXIcgiVYaTCdPheU5KoUEEqUeKKzSJkSUkHlioNlx242zQReyRMgN5qYGd5RkK3MY3iCLtRxBl
aFnif7249Uzu77Utos5M99w2KiyxMbqRmyjo1PQ2N7ZEF7fMLGIMIFlJM0MJfDo+JIDWqul+4r+/
Xso/3MV/r2URUVhPRVbEMDI44d3kIdMA1TimV8+Zm7i6BzaoXfic38R+vVF0+IdE62/LiwhD0Os2
C4YQqtvQNAKhiVf5ddAd8V/kWnM2aTrhjRSMQXOWbul+3PTR+Tt9EeOWcyKC9m2Ua398lN2iT3kf
e7ivHPQZUSo8YOh7w0M/lSgXYY0ugo0Eid3aEjDI9vlF8dDl3JuYu5nHdTdTna3FLQKNxTX2P6Rd
aW/sOK79RQa8y/7qtapSqezJvfeLcVfv++5f/46qZ14cxWNN9zS6gQYKCE2JIimKPGcOqawOHb/y
a4SZG0A1QB5wOb79FykrPV7/eTHx2vcxYERKrSWEXj3GE236p+3FaATA1VC94TMffRpd/7iS6Gn7
KK0DkmmctzCe7kvynF80bzlmnnEfHPTjcAqfy+foprxrf4gc771/JIE99FHsqMsSwXQLxE54CxcO
ZnnJltLinEmeFMa/lGiKQMchlAteBsSh1+KutLGWt+FtZmEk/3vtJQ88ABWeTMbZyElR1wJKx15U
36nDc588jtLLvl6f+pjZTaPfsMopxjlBFQZN6sDwEO7USwfKxgDpqWpnzvQj9JfTAn+j2Hite0MT
EuI96N3czOcdw+18/N+OB/1zHz+jUgHIrNGQP6iumv4cW1AoiDV6XXJ7QPMeAPc4elNj3DsaTDYj
akUFyk0IJFrhxpP8Jue6o4eNawi4CUSV0wOJP4rj49CMN61R2SOQspc8uO9j4nWhApKlJcFT8oLx
VkMTX3E5xOswkI4tdJlx7g5U+U/fSiHW0PCKWtI1Xqz2aFYEIUgjDWUXgNos/VEJzw3K3U3FOUnb
iddKEOOfxlmMy44aA2gYjtT3Z05ua676Rfyv4As27ftd3PXpZqUXeuP6JcMLvVcokp2OZyl+Q6Mn
Z6e379ErKYxbkuXAkIZFhZRz9VyegmPvoYEGU7oyEFoiznnaDicrafJHQx7KApTrMXTSLPlEi1eR
E95qPtK9G26ZjJ7/HbuQGZ9k9kvclzQZQZ6gWcAEAzoq0KQAnX7EhmF2qbjlhjDenjE+KS6UcqaA
nF5/ip6lc30poCGqBMfiRmks2VHfQkfhVDd5MunvKzsperPVcgG+N85UdBJGVqmgDwVvoPs+gWf+
12GylZwsEf8VwFS/BGBqeYIDupOPxWtzgdf7Rn5x5G06vZWtMD5IUeiwALWV4mz43VE9RV+7e7wK
YgyXIiH3x3Gwpm+5F7ncbdx0fyvRTNYz66B/imhxKX3tX4en6QYkqPC0NnDzbG5tiWenjFsR9HyU
UA6nZyL+rv6pH2nljLjkAVDvwqmx/3czZSuG86KSWewhUv02eXgJtSoPwI4vlKgn+764+g1/Tbe1
xBwXBZFDPzFjpVVpYryixW6WJvqkRbTkgHlk32I2RYDU468aEl75Px4EeV6GDPT1ugfcEGn5mfZv
+3//07gkmw0wO6ViGG2paC3O7K3JkV3lrjkbtZ1Ojm4v1Ls42kN/RkUZCUHqD/byp3sFAuH35iH2
eG/mn17umY+5vhKsjmOgZ0EyFNjD/hTc9i4QHn+lLoGXU8Hp7Dfu6Ah+e485Kz91zKPwvL8WnxDF
WPFM3EApJzHrGuKnL9G9jNm8xGsOC+7LQEN04spKHswjb16Vs8HXWLZSGe3TGaAssMEiKHOb6nc5
cFypvOlz3k3o6gNXEsIxrIJYwA5TzDbVrf3BGbzZphhTiYc6y8t0Yz4S1AQEX7YaXPSUk+TmTmWb
x5pPNHt9B/sUwlafQxdk9TnpWKkTHvh1T/8GMHiMJaML6hjc60fVAsutew7d6g0casfSmW8C0Z59
NIpx9nnTFa4+gTm3qTRVWUSrIrSuL52zu+6QH2m85s+XbwaylSg2ywUz0V8BO1sKdMN+qxpvBuby
vkKb2eJKCBNV4jwoVdKjTocm4dt0/h5R+M5MOAjZ674gnrEy3mjpxlYeQhwQBRV6QztPIe8IUnez
Zx2MO6qbZEyjHMYq/TRO9UlyajyCkAsAot3oApoQDMxrduIKX8G6xCmFcIow2qfkdJBkvbvenW0J
t/XARxX7m+6g3fyxAlanZCeH+aAdkzPXy3O0ZpsYCkORKvSDwwnMyllIeoxXFO4wBo8oPtmlmoF7
KD2UIZethxrGzmqzb9ZNXuCBi5ZB6TQyOWJK/5Sj+NIcMgA4hngAEoF7F7nR7b4Zbadd7wbLprHj
MHfDBGYDL/hm+Ms5c0I3tYeT/EWxO7/weXGF59ivsJYrn6Oioy6S6EvMiJ2dgEWA6We7vDXBBKH9
CW0KBsCTyTn411v4SuRc6QKobnAmp+rrsjxW6tdR57Hs7NfnMST50ZWWpYEdHLGMBRrdLcUJT8Uh
eky/8p/stsuEwP6QdJCayQaLjCNM2YS5aJx88ym7l8545skvoz+9FYggmNPwm+/o3Y7vk0N/nzrj
wXDNw77NbJrq+wdoTGFrbvN4EGn6uqDVts8xaltVGEs5T+ZdoXI8AU9bjUkEurQ0Eso9gJCpoH3d
Sw/5JbrWRwS7+JP7qY3mVRMgFpigB+s9MBpt5fi/6St/3NsaTVpLTl9nx/gJHDgWiP7QsHsL5jln
rCZnX9i261utLnOvrLtBiIClhqB8q/rCT/lVuwnd0C/PFK2jBcRo/5wBFkVwePXnbVewksykA3qb
lBO4FujRHBzKZN2/hLdIBOzsUN6Z3GO5mQytxDGhnxRjZQypontClp3TUHGDajpIAXCopsLSosHV
4uWJs7h0qz552ZVM5piSuBXmfLiqOIHiR7ISzziqTn0c4Ot4drPt61bSmGTArJWBdNS3qrhgFnfJ
3VRiDye8ODe2ZkcuWv7tseQZ0GYEW0llMoO4yDOALcE/NE723DmTg6zdol69cdEyYfdOe8TQiYOx
jCPPhLZvDSvZTM4wpUK55H/V89UTiCXCA00q4ZmOlVsfUyDl9s7igved+iUVD6X7+8vxTDrjmRR9
CoH4gAVPoh+5ied9zK72d6UBeJQ28/dlbXf+vOvKQj3J0dx0GS3GDN7g4KEIdzSgRtwJuOX25wJA
9IaL3nWO1O1D816NZEzK6Pux1BrU06RlukWr1mkWQKGUN8B27M65prqiEnFEboZP4/1qzZyZqiJC
PXQ4p3L3qGnHKX1KZl6uyZPBqNUu2TRGA67vyXl0BUuuLVrg773RAUkjem4AsPrP/I9pAsoA4PPA
EWFsFUxjgtCoyEQCTJHp5A3wuG6o/YhCIIOMaHMaeXxKm0q+C2Qfn0fVTOq2xUK2GFW18GT62tUz
5jenhEcHt10IXYlioqZeaXj6HaFbcQ78Bq8ltPaCufx7mWuRdPs/udSVKCY6jnXYgy4boppstoEk
Ys1CanXBjT4RTt7B1YoJjWJIxLymnWi0A1K8TTzAKHjtsQd8Pi9npAa3pxUTC6dIGkkAtG/PUG8i
5T5eJLsBprpZ5RbJ/m6f7LXYsVpCJhIaclALkIB6oBQ6uSH+wbzOBAj77vcYo1Wnxy1EbY0vIVG4
L2t0yfb0ZA73HOdjGdFSXf0nfKQUX5SZQHsI7hSbhkRe6ZMu25445pwb2ZinEb3lCPqACakKU96/
993ydghaLSYT/iIzIN2ENy6QlgXox8yc9FY+pQdJtBrUWXVrcoFOahWtZaC0m9ktbzO3Gz1WH8D6
lTrN5pweiM6hIOYo8tyo9zWQ86JD5ZvH0tU4ZSX6B//zomKSAL+v7jeEhDHag2A+lCOkazF6L94J
+osk/xgxER9B81LigYNtJ4v/ryVA4j8KRfv10hkNPSC34LJ/pg2S2gVz2QAH1A+xxzOczdIZwDbA
og0UbPzLWE4p5UWkVgh8wa1xAnAp7o3VXXnBHHR8QC8fkCokn3LBa351QbzwNVxfgSbnJ6El35hf
eU+mW/5h/TmMlRntIIlTp8PBRi9jENiC2gBDRvGzGqXDkZPWbJ0aWdSAsiITzCyzF9glA+ytgdF5
jyIstOQVtRF7/9RshSbAdqm4NwJ8EQNjH3ezCCQlDEwDboCMspuKDdDGB0K8dM5Hd1/Uphdfy2Jc
a5AHWh1QqOWlXCbMfpGHJo/va1V0lnbA8L/pAP/nloSK1ymy20sYk9//gmtNgz0w6y9g/O0QJ0nZ
xdi8+SR5MabyNIzvO/Ol/Ra76e0SwkvIX8KvAOXGfLQE6HPMpifWkFr9U/KNl9Ftbq6kAxhIpjzm
LGhakomdGk5YekPo3d4oT6QOOGNGmxcRoHBJMvCO8D7IDgGBYLQCYSSG/rQQXYv03gOQ29xvExc4
FrejI2McHcQshNc0uanbSi6z1ZUyLIFEWuJNidHYYhm8GBKGePe3c/PGLAPjiBIfYiKILdnlJVgG
egCiAsO3ObZWi5Yp9UQOEdKDzgWtj1OgyxeksS+8XsnNWLOWzOQ+SwNA6CoxcQX4Qvs24oN2aM7J
fe4GRwAIu8JD4BGfvBYX9ZyceJetzbd12QS5NEwHAY11C0m6KNLYhsSLkxxPsmF5MuXcHZboIHb6
bWaGf4ZU/zbOfWEDhReIE1r/bc6zH/vLv+U6FIr4R4AVCawV5jBh4jvtpwlfIYuFNRQPZgLy7r87
kEczpLUQJk0xQkMJ6gRCEl1GiMNII5Bp2ojjBTeLTWsxTJAJow6r3EBMgyJs+B3IbUCRCt0Aw6ry
1xZArXTkIbwHNqlT3PYgNuJ8wNZ5WctnokpaG/WoBpCfR7kTLceqmzm+j7dbTHKid301JuBY9wCi
4QeyP2vwavHo7NsERw/CZCRpFJVJQKUMXS2dZlWObTUE/se+FI4uhElBJpKUQFaKYHnJSY5Da6gT
Kx14vpOGPjZYrPaEMGc8I7WaqAX6jpIjfSRTblJ/OonoymrsGA2RFWfpthKLtTgmEktZHA+lCqWU
XBrdvipvRbX3My1/6gbg04Xt35wPZU4WoVu5Sh5xnvNCJ9gqU8awZviU95o1F5xXhq0Mda0U4yOA
/FouaprQNeyOgDoHZx8lLeLhiW1dRddiGC+hNdHQLTrWrjN+RcJlGtA40gIvwfy9b3g8P0EYP1GL
4jhHEwQJB+A52aiAP1fH4QjkHltwW2+x+zMuqUeFZqA2oCQ4bmIznq8VZfzEUssEgEi0F86pX2Wb
3nJKcG3RLBiYSAf97e8P0bN2wjiOIupKQZmhch6lhT8DNuhIMNzvz30ju1MVK7yoTs8Ve+40Bcwl
hFDoADaqR4EiAbBdozYDhC5QdHZvyqVzs0cQPbhcGEOeNOaUj1IwEJCsEpQWwgMgWB8igBK9An/C
Fq3sReTxEW5eZ3QgOUMzRPBPjzj9uIgDiUpEmi/ZsfsJngF3OSZgy4vtwJl/49oIuHUNj62LDTQX
W/ZKrwSxGaivQtvk9kZvedLV17AvOl06FIAzwdfUsXySiskjAvC6wT7xD26qK7tlYcj7NjeUtoYf
GLx/T8qi2dvjDiNt7Sb4pkwJ9OjAfWAvp+GYqQllWEDP0+CEN6NPCR3MW0zl0tEnThj6BDx7PRor
aYztREDi79M2xWn0MkCYa1b4WLu6Hx11H9gM7vg6nQmaOdMXNJRhP6uL+kX1ZKs+E3tEhbP1BuLQ
vh7MR/2TYLL6MiaYZMvS0/lU4gVhfjPJ5s0YRk/FhHsGIW61xBxxNFawR3a97EwsMVolzfCkQ7yq
FMD4QPHbtGziOL8tW10LYWJJsQDFUA6xt4He+YH6iBc5ZzYe9j38ZnljLYUJJX2kkDSMcsAIuZPT
00sFvU6oaD4q7zHhyqfo4K0dE1LMsEqJHuBo1N0E6C0pOen58LKvFW/pmLCR1dJkChJkxFPstNGv
PAz9qVatfSmbA+TrtWNCBSA2Qc9GVZk8/VRhHp7W8QHCxn3u2SwlrCSxTWqzaAD2VUIcLEDpCpBA
dzjQMvd85pe5Oftz/ZRVnpSnSzEkydW2s7s4j36URHH3F46zPWz/WSBOVdmJEEFQQdfmXwbgvabh
+L8JYVxCKdSyNujYnKjoCisqwTDcA8ZIMzlekacM4wvCIAuyxoAyavW77u/64EVK/0k0odQ9mioh
NrME6PJYyulUFn/FbOW/zio3M/J3MexlBoD3wWBGEFM3fW8VSydZo5gDHCt04kUE2LDBG9zbHOYB
KgwqNRJ0k9kWDzXR51xJAJSn+uh4cKO7RT8JBDC0dv47ONMRtOQhSV0RuIXDUfm1byGb2SXaWxVF
odyNn5CjS30EQaS+0Ozyr7bA/IW+4nbAtRiRz5aRZfLpiulljY0dK6HsUV60so20QiTX5gNMSznR
U4Ax6RKcCLyO9q2jvBbF3BtJqg5KEkG/MMvulUEAXOtovHAWkZ6jT/oA2lgFABfAt65bvPIXDVKd
OicKLqcY6QkP9GFFPsbnFhCPeBYO7PlxX+DWedNW8hjfLnQhsL5VrF9kRK+xAki8VsBj3JT0/8CB
4P3ZwGCXTlQAp0PxlWJguBfGrlCRw6kyiqO9HeUn2Sg4QWTrKreWwrgPIGmrUzNDShw8DdVyEIzL
BBIwhZjO/rptPtesc1/WGkBhP0UzIj1Ydf+MlwS3KNBHe/V5cju7u+U/LW7t1Fogky6mUwyAZwP+
RO6ByQXQjDYWfa3j1dl5Yph9morBGEWYoNeMs21GpSXWg52NvI36hEJGs9+1OsxOKUB2mkMCdbQn
4LrJrnbInugS9g4AqscjbRcNweUTcodHt0xkLZguwMoQ5SZo8qaG4HkxTv341rQJUC1rPL983TcR
3koyueDczE0D7FDiiZIGaNcDaJj9GHDv/5sUJgEcppy0eOxA4WdRHHUEjqkW34TG730pm0Xj9aox
fgJ4kg2pyL8S2/IRfhaFCvXOxNUyjKy/Sz/DGgeTCmZ5rPZjjmRd7h9FYMwejcm0BOHXvlIcS/jU
9rNUwNhYoJOcFZ4xyIA2f5o14pdy5u5L2oyNq+XTGW+R6UoO3GnYAgXDiR/jm9rObdq82p7bY4h2
6NDhYd/QA8RGkrVIxl+EolS2ZQw7b0kCXOPEVXReFzBPBOMrCjLqQVtBhNAArr4ngGWZwVzHWTu6
2XuKMJ4iqaqok1VqeuhP/U5+tpf5It4uB93RKuDc0LFv86Qe6mNjJSfeVZinIuMtwtwAPHEG4RGq
q44sjIPdGo3PUZHjKnTGVRgheGqzgu6VK3kmLv3ouKstCj/W0ZnHQ3zXipb+T0rUawthXEcwAy8x
g//wAIvavoYHjLa/maABQCGyfq69+In79MTbSsaLtGCaLLUMx2BAB7foduf2MTyIi5U/UEI7cgLC
d3tODs0DiABGkMwd99eZt8yMWxnbJlXEBcsMKrY3XNXPxDRDKylLjhyet2Rz/6GNCrUHsRSSg+o5
B2BH5QZ30nVQL3Q0Z1+rrYvGahvZ94xwkIu+psaTdKBLiXEGld999K2UzhMwQvZlbRY41sIYr4LW
wUkONAhLX6N7IDMfukPgYeAczamdH3q8Hdu8qq/lMS6mbsHngd5bFAUq4a0gPnD0a0O0ZPUyjL2F
Z4iDqp3mrnXykEO8zFtWxu0US670pIWtdstNhHRraG/BWmV18oMQ82YEN2sfazUZN9NVij62OgKe
mOSOFF8bme2iAEKlhulO4EiT/mcKtrdk4OV7m10Na9GM7wEvlS6MLVZY9bPcroC4dKSEBYC6ctpL
di0tD+5SuPW9BtIMAAk0j9VpuB0t3vMEx9WyryNpHAtqSROzUvqWlPf69MqxXc7xJ4z3ASFylJv0
+Lfu6A736UOPAq9pB0+jkxzauwozJDwAJvond2IXYTzOAu62rFqwr1KUHfVqtsb4Ys5PaXDXm52r
lrwHAs4aspVyoM/JSZjT41kYX6NYdcES82N/Gekn76jEYqKZFViaBBnnIjmWl/6KJ1ld0DDFiYmc
zTIYRzOGiQY8Kaxck2DAJysOSibLlgm8wn11eCvGOJgqKwalEiBHFd5GE/wq0v+YQhiMI5mA+ToO
LSQIBvDqBbNH8z6Q9PfV4B1jdpJ5wvzHlEnXDHNwZFt2mzMFFzBd84biGVxBF70Gb0LFJbqpTo1v
OjNnyzbrTzoII1VMe2gEN32YzupqFYZ5MCtiRStAi6eoLqYXAH7UIfqlz6MnetOpPXZ4SuHZyn9I
r8EVqEkKaL8NRnAM+L6yRsc58LlM0zJ/Us0Fu7OIXwMU8bvkUj7gnFOq3L4+vAtl3AmYdlB2BfaS
Z5SdkyIXJQFukrF4rsmf/c3dttF3SYwXMcSlbEmLPiwxB+QXQJVGjDLvi+AowzaZm41alm0LZYSm
MC29AL/DGDnCIn8pQ7AV7Qvj6MNimqVTIFRyCX0qEr+p5vRMxrThKPQfQur/LxoLYzaiCTVTYggR
2tIzUBGSb8UObU2RoyiJPZVHrXvsBN5kMk81xp2MWlZorQSpcQDE+jQKLuhc4yEVb0eVd9UYj1Iu
sy4lAk1NjPl+zqpXQLqDYBu9Y31xmUtBd4qM12Cy7Y/fZdLf12db0Kcpor2A5UJMW+iHp9IMzlMf
8JqZeIKopa4EJSXSvSmBJSbVgD6IPMNMdPWwxNn3fSPcjmPvCjE+A9RORT2NkANKWMUDjtEbei1P
fYSBrlE7GHkGXoGlPnaGzLH+/1A6fJfMOA5jDkoihVhK5U7y5thGpR5piG4JD9NrdPhv6Hx5Vsk4
kNms+klKYDBGHd2KAxr0QQ+3v5z/IVP/t1ZgNvy4b3UVz8Hylw8O/AqjWwNuBQr6IGKHdyvYdFYI
L6ACk/DawNaSx7RozT5GfyiR0dlRN9bUfRdRjw+jr/tKbXZqUiyyf0tiTlqn6qh8RQ1NGZNn+Xvt
08nR/oGmxaozfwG6zS8N6CvjW/6D/wy/bSgr6cyZ06JUrHUNhjLa8UUBC/uvGE2FBDPdpD+jQ8jJ
MAm4rzG1+k/Z3Uokc/q0WYsn9XrM29RqxJ+V9jUwzkr3Pa55zePbUXslizmBqpSEUoGqItotRpc2
slRACQJuKD0Ls9Pfj6ld2LzS4vYNdiWVOX2RYsSGrmJRMV05WJgJBsAeLTuLg3XFSLF5hbhNR7MS
yBy+qMKT76RAIMVgrf3mQBFYRQwy7u8cRwxbzdRi0gTom6R5uXFS3roDRn9vkhNvOpVz9thKZjBq
ZDZRDAap9Qj6OVQxZRBIgWsOnZT7Cm06rfd10+WPDsXIgn8FcLOvgNe39AckmK/7MjaDzUoGE66l
kEiloUGbarnpFVCYklPWcZwITwbjQ5ZuEhPQZiElMMYzXlbuAvAFlqJ62Fdl2wGvdGG8xWhIrVJS
w/4L6zyy4weKdC656R034abOfMdNsAXLNhcDveyxbuIJXRR31KbHI8aU+FVsniTGSRRJrmgxDdOA
1HDAqBn9Ur/TgEkvNII/Pk9uaYcPi6OfVBuf4sRWdzMB9AhA0pK1APAIzL4PYCw1vOUlvwsTeshv
s9vI5a0Jb5sZv5KPVaHlEZa/bipPi+U3pQdFWSNwrIl3/hhvkhuJFnY0JsR4tKjDJ1VGK0ZxM88x
5/hx/AlbwxQCPTLjDmZ7nUL3Up9ikMp8BHD69LFjSmz5MldyIVKWqykNx/Yh8gYrPfbH6aWweRUm
zhaxPdkh3hwx8wCVzPZQksbK8idMQ3DWbfvi8X4OCeNTilGdlQFkYp6UP6di7KnmbFXLb0O+z9OL
qP7pusKReJRZvN1inEwOrGb0Gl29P14asVuNC5I17k2bkx4QxsdIYVr1sUh9zKA78lBelrQ6dp1a
WIs2H+JA4LXtbY7LrzIwwiQkU1OXsmpQifbkNM/Tr+ZX4S0Hcmmd8F5AsfvYhHYQcquRvOyELUcG
3VhgpAqOB6nf/fxHftXO4DJMH9CpjYmOCG9RAG/3eT2omwsMzmzZFBXV/DSvWJlNOEcZWniG0TjP
i6xbeVjpzhjlP0EKek/q5GU/bGwLNExQWxtommZH+Jahn0lH4zlM6LZUej/QUeTWxlOUa6e8rTju
a/t0gPT93/IYQ63KkVRxDnkV+H5dRZonQKOSxBIjvbbFuQcjYq1JN8IQVlakx5QHWuH5ge3EWkWH
L74DwH9sy5wc1rJi5BM1quqsPUlflgHgO4mX28a5RollckqQDuwv9LZBrYQyfsHIpXoJQ2yt6AtP
Bjq0mtrNX3RM+Kb3+mE+6j/IPS/33NzdlUxmtZeq75ShhqJmoAHESDonMfrCQXY4ms2bKpOHfR0/
BSdd1hUduM0iGu8/wylKwCIEGq3c+7L0IErfRHKmWzvFvNj0eQMhSKNtRCowkwBbxLynF4MUiQUx
QDdvj0DFb+3oqa8xmti42gl8wWBIfeCVcbd0W4tk0tGxluNWik1UvFXyp2xlVy86v0yar2Za8FI5
agofYiKjHmMqap6pYxVAvcYZnO65wCAZbVFF0/dzY89cr/4ZQpKRx5hJpZp6VGqQR1HEosRKfpWn
Sj3ipvlzdLTMKtwGSBog6fPoRGTu0dBMqRnJM3h23X0bonnSnu5MiGm1CfB6dGujiNzIww9F6Sww
TQpB71aF5JX96768bVtCEQFToLopgnASH7QqOIVipU2Fho1t3fL7NNjjy/LDvFDQpNkRQlsDpAh3
cuJzWKMrvhLKWBOA2DUhFCFU1Z3Jw5Pbb8r/BB7wP7pV5vZpdlR+qrVpwiuhjFlNWpDXhnnVVPJQ
yQvR+pw8xRhMo5WawsXDanrHnwGi1sPuKIUcA8cCZm0/sXlmbampogKvoDYl0GQ7lMkHdebMim3p
thZCf1/togD8oriRIKQ0KD1q4Saa8VRKpactASdkUgvc04c63ZUovNyNkXYVRVKvrMoHJQp+5LLp
7xsmb9mYC0XRxY1SG9AoVYybscHVpgp5LSCbMhRdF4ETgFlgFh5hidJeU01E/b8mXnTVakc3NsC+
YzxhtNseFl8YDsuvfc029woHDi2uMmZ/Wb4IvVQbqEZ6f0FpPBkAfFf8qsOLuKS8XJweI3ar/mIr
VGnCwepX1cMiixMsfvBEO/iDGcLb1M7P8xlYD1wOnC3PtRbGbJhUJkY5d/BcoaJ4I3ovDON+Lr6b
ZeB2hmEDWsDeX8fPD27wImuJ9FawssRxADtVKV0P9AjSHfEWFbTpnLvLm+mmR8A0/26ftd/RQ8Dx
0TzBbLFpCMUkMQvsIK01AOL3pIG0iQ66lMfZwZyzV/gdsOZ48DqfbjlUX9U0DYxoSWAIZlz1HOZA
lSrCwW8y9LTNX4zkTxPMmOCtPCN8yefaCkoOROPWCVmLZB21UgvyUCWDH5HfwnyM0E3M2cSt07CW
wHhlMSgyQxwgQfUVT42O8fw1u9M6i5I1ESAUygczdZOiQ+sFL6fZ3sfVglLtVwZUxaoed0o0+MlR
85JecsBF7QIMrbLkl9AVAIuiekNRgy/eqK2yOTXf+OFh+yM0BRgieDbGf4wVN01nqJqZDn4Z2ZMn
2+YAuno7Ame8NYlWbndW7+T9qY/d2OvfuJcBur6ffMS7eLbQAYLMcWkFrL8IvJ8Kz8bNZJHiWhOm
ddoBYHQ6CPU43n0riBBdIQpIb4kos1WCKJ5Golb54BvJCJbxylmExDYqieciNjwgwT8g8VV0w8B0
xscdDozWEGWd7vBgHLUosRv5UmCjiVo/qiVwDLvyLjUkUMYujmmo1iwbz/sGvmHfH76AsbGpVepB
ibG+aX3Rk8vY3aL0UpcpR1OeGLrgK1MexQKk5WBn99vGa4b41KS5nwC+Yozv9vX5fIUF6grmWxC+
YLPk05go7uERaMFhr90iV55ZpMcsrU0bfH32ZFauHosvWdH4aqidpCrgtKVtpauQDuxSAghI7dP4
ktmahlH30FMHBIM7u+Mt+NGJhWG5GHR5lB8jvOP53Q0nuJbJHpG5VJSySqCxFLe5My3NN2kOuAOA
GweRAKgIl3JZVyle08cdrNAVA14+aBaBbxAEFaf6IXLQ5QtwEg34W4ATP/Ac4KbRALiIMrRIqAUw
AWWY21EP+2zwidigSCdZbQ8awogc55RzCjZCF2wG7Sk0ASYoOnxULpDSSpk6nPdUOCvjRWjv1UQG
3UCIV8tjg/8NFl6U3lJuJfJqx6sTAYYlpdSpcklzyM3Ay5f7SgGOmPq0fyA2XNlatevDxEqOmjdT
odSQEw+GVzTGUyUKB7DFHfbFbBnhWh0mEgcJegOnDGLmGZTx1R0Jf+8L+IwIhINtACkMmRgoqfDo
+3GPIm3Ukgg03X78qvuzK7utr98jIe46a7DmzM6fKdWGkVthgRqRvXzdl7+5jivxjIJ1IqqFMlK/
ktCkZo5Sa2lRYkTP4L6gTcNYCWJiQlbVeiDRDRO0x/JxQK4hAnQ1Fb19MZuuytB1JGoIPSDzY9cz
1sdlhvf3x1P9ujgaVg0UlJQmpTLRSkppIXkFr81jBlg5CWJllbC5RD6GcpULWEOw4tlZhWwl+iFh
1oc8Bq2KHt7ebeu/PYJDzeZdJusdKyHvlkbFcg5J81CZ0Y02qc+1hrkiznpuOci1IGY9+07VjAGV
fr8DdGxs2uiyuJefdLh9ND/UT3ys081Qt5bImGQakx6awWs1RvxmpJrTaNIxG5/CYKTEVk5QBF7V
jV4qy784ym7cprCqFJgLJUUFWC8fD2MWhLDTFqKFAisbj9+XUu2sasx+Z3rsiiHIRSTtZ6S050mO
LxUg8CxTSGNLFlpXz+NDGrdfUEXz56T4IrXE5XweFc9kjR8+j7nsFaZeklnHXsR6/ztsl+e8Q1v4
rFae3sgHLSyfY0m/tCJZrKLrfusRqvjxsmB4dHpQ58BtVM2VU/RYZzrv07b8iIlyi0yHLZFb0t9X
/ljHCw2ZB6xahem9zOqedbtCKn1AF7mPYh5yIsVFW47H6x3ZPO9rwdTvrAQHgDgV5amEfTrldzSv
6zZRj4YzPQyuKFslJYUegCPN6cP83NGB87cWy1oKpk5nI4W++WvgB7grIIsF/q+Nd7cJNDOF3QgH
np/hrTGz/UOTqYYQQqaiC94iBgeygJzFDDkwS1sxb60akzVECATlSFcU7+BWhCUVjNd9Q+ZIYEmX
MqkW28nAMROrDKQVkS2PnGjDMwuFcVtluWitgT5rPzrPNljA6tASXxIP1KiWBs7SgXK/m6PFy+02
NDNoMzISSVWheEAfrTGbAiCaKxAbC29S0dlhzqWp27CCDyIYK0hzlHiFGNuDm6sWWcVRdFuLjgIv
9VPlgimLNlwneJ/k9flvRPAPghm7GEUN8S2GbkaCGZHgBXC8ViO3J1ROnH37+NwCp1OoQsAF4l2H
AOuT8SajVKHdQIWoBt1mt+FFtkFkMlmiYAGNunPTAJQuxB5cyU1OcUevH475vP8Nm8u8+gTGr2SS
CACgq7ZmeKpb05Xj3lLC+B84EooHqeARAPjeiDkfLcboumUkNF8RwmsLfesLLsDhMNz0E9phRlN9
3Ffs86DYdXHfJVIbXnlMgC5qXThD4gzAwEPrV50lAYzXVQHclKK9r+fd5Dbyow8qMrtZKc3UzUI7
+Mv01oNlrT/VJDqE4msl+tnwQ9RCj6PiRqD8IJHZvEIbjcCsIDEB0GUj24to4bo6Vlb3B5Bjhwo0
fRQQbyhsU7PTt33p25bzvr6MD+jKLjLHGcIz5c8k9FaX3tb6Yu8L2XJwH1Rk3EA352VsdNjF1lUB
wgP25fTFtJUZqE0N3s4obkPL647b1gwJkqHqyHPZMRxZz4wC3V406czBOvYWgE1N1XgZJ08Kk/8l
cxSXc9Eg/uDK5baX8aUYvBRFD3c6Te5wmVInrd3+bfm7GC3Xc/GuHXMSzbDNeqOHXC0PfF1sa7vK
2tuwwZCqIB6XmNwaC4AWYsKF4d7IsbGX75LZEzk3QioFWFfyFN0rTvUUyp5+Vn+GvwzwDyYvIs/B
bqUvHyQyR1LVzSSZogq3JA0FHeGLdqhtJbeKPwsunM3/kfZdS3LjyrZfxAiSAA1e6cq0N+pu9QtD
6pbovefX38Xe54xYKJ7C1Z6IidGDIpSVQGYykWatY7kTcTuKLpXzyDroFJO1ONxk/hYTIMcl38fs
v0iQTrTiPE+f81xKYgjJJLBTTj0cvLPj4eGy622GM13TFZRuVIC2cVL6MZyT3Id/Vy0QSf1Zyaxi
9nfN5AOhJbgfBoKkM9mHWeZeFrycEZf+g+Huj2DO5UlS9lEgtcixfdRNJxSsWLaThuoVdNONwAuX
f+uSLO5jb2Rg6NbVJYhlgCMm+uuc0pcui++DeN5rk/9jMCTBh2nTRP6o95UUrL5LijTljalCvbaU
LVNRrMogliKqQ2wHzpUYLjNUiq7zUeJAeDHIWzLUj5paTGBmqo9TRR6nNrlGZdubh3HXMrAXoaSL
J/z8hKpdbbWUiAimNy/VRBcZcL0aWLI4T4ybFit0eY+Y2mqWIVHE1be+Cq0yFIEaiCRxLtjr+Uz8
fET+RoJDMh7SGGCVamcZsSCnWcLVme2sVOIcxKdGFhvBgE9TNdtt8xj7b5cdYctSVNR3KIpmIDnl
+wtzpjckjSekh9pvP/pI2ZtCnv5OBDUNoHOrJh55VAfyJXdYlTm2RhPqmte2lZPUHZ74vZONvy5L
4b2Ml8KdVGwOhjkBocALjY+uQx2hA4kvNs7l5qExs13ZiUg0ln9wfTW8QC6EzGE6VlkEgXo12qV8
F06AoAuuWa2hkCHqMvLX9CVMJYoJZiFDPwuU1Tj2xuzjDBOyY6OP/ssCZJG4l8/wbAadF8PphN9e
leMEnSbD98amVy3dkEAFm+h4GWGzVklGW40wn9U3dDgMfvxS+LLgzSxSlQuXfeCrIRALYS4pdjKr
V7kdrBoPzcuq8o7FacpHyFzK5i5iONDQnACRfjTDH5cF8CGCF8DFxiYs5zEroAYxfSsy0+spLm2K
LZx41AQJ7OaJERlUEQpA/s9w/vuumzXm+5pXse4Q1zHYKYZdS0WwGLxGuow2CyMAngfbMpH5lmcz
KlI1dWz2mDJ6WXqvG7suwEqVJkrivoLO2rUWSdDHQLcFUeMMik7rumJWVQzoNmNmRdOzzjSnx/N/
0CarC7Kn3k8fFLJYqQTQ+8mZlOtS9voyOZp57ERR5DVB6ZVBugvRmVFncy9R5PYjvW586XbwQZ0K
Zw07yqyWMTvRUrstzZ0PSAoWKFd+Vu5MuRDcEuFNjtOK7+cUnRqnVRbI3lRrP8xCDi1KQY3dXpn0
t4rXhhzuuiq+mVhzbLTktR/rPeamEzXGpHbwS9NKaiXKx5i2qPU39SEwiptqKl0gBbTIIbKXeUSR
xNeA+oUqUBPbnTxaejdB3xnFBfbY9GD062fRMOeWWRDU6jHRgT1twm+uY/ueRKC+AWgyolPwlJq+
g60zAHILgpNIzvL3q5xGy1I/yjCg6rXsx+wfaFftsC9vadIoCA1nr/qvi1ppxH1KUEfpgA2Xy55P
tV+oxl4BKF22W1Y6KKUcwz5UrZyWgTUpEWCTUrA0Jo1k1aPc7S7HkLN4vPwSdP1B9wCuMvgD90ta
dFvHQC5kj8ZKZ3VaeBuk7VHqBtUyTP+6KKPjUFV3ujE8pQU7hOAUE5z6WY63/ASM66gAbwXim8yD
Uk4Snt9V0uEw3jWkVV+Yhm7ttsnerG5q0G/+f2Gd8w8DTioPTa1PTI5bv4GvRP71QIvPTib7oi3h
IephCGaAcJbzvd6Yrejyl7jMxx6GFFJTZG3jSYJiB74NKfQ17srDwuhKHfpWW0sdWji6smXSa1nc
5zYo6micZMgajgvk5hDtewDiMPQtmdu6k2P6GLrYU30n5pPdvteVntxnFlWdLjfjRTZGwKbZpoA5
WpCqUfVUbEwtXYnBjs+mZr9u9Y9M/qOrpVnLssWW6A6ggSEKj5ndPy2Y59QpDr1ykFUHfXxsxorq
Zps+zRhFK1PDt0vhy6B4M2c9LXrZU7DuYkex31p5ouxnObpfFhSqOP8ZUOUxCJvHbIzwI0J8a4Y8
GwQuvfURwADcMjeJqg+WH06jGCnjRlO1QfZi9XeKcmFrCNInkYDl71dhEggGqRnEo+zlQegq5MiY
CL7grKv4dY0rHZZ8ZCUil8zOnELokHU/qxqs0Rkm3P3DPN5OvmQZRuNEMVpFaNheDod8ig+5IEvS
gJ+P04NzciabU6DTTeGML00K2J+gsv3GmfXKbVLlqMWflWE6lwVunOVaIB+FqhZYw5U5IQqx7hmJ
R4Nx8sxAL+KyGD5/+9KLYBFCRZTF4gVnE6ybyqltdZynrjp9RHobxAjfWwkJ1mVBZ4sC/5Gky8RE
iUhG+eP05lpVHSrEeCRWAKpbNmbM/EcvW9N92lrBO+m9VAOXqWy42I73QK4MBk7juY2dVPXAfR4k
ttreprkgU97yTRXD+//8KvX0V8mGpk2dry2hSN+pAAEudvphGZ7MQX1uitpZyzeTC/An0rjTDqXY
140Ap42OT4pda2OfAuPGeO9K4KbY7U9sTXgYP39XJAvUXJcv4GxWkr8AzjtrDYPgyoALGGwztPP7
/1D0khvyuBC+y07sIgLa+Q0TRIWtcH+iNeezSdGUI0mhNSDtDrNT3lEs3kr2wjQRfG/uBtS4Baou
58ifM4bBYM46YagHc97aB8bUzRNudYEHkLCp3xcH36mcGSTIoGfJKuEK70bSoGJCS1Ewn0WXJaZT
O0opKcH0HCrL5+XQANoKu8NYef3b0c/lDuGngL9VGUNWxBkQa4uqz4dU8RrA+aQtZhfQnS+/XT6+
rZiwFsIZSjiX+TiSRPE6dOqSUbZ1mOtcS4KQuhXh1mI4s1BiRVGTGLqQ+deQgVNe+Jg7q4/zx8Xl
7QHGLWnXZRChWJNdH+o7HaSRjYXUGQN04FMKvJo6l09vK9M4uSMucca1tX6SQi+68494EoKzPdrL
JuA3FqwIdsTsS1Q5kVOVR5GrbcUXBRMvOjI7BQjgnOgAk/UYpMCqUzwYvZX183WbaEDoDItnOfGv
YkVvRK62eYsMVTaTaXign61JZDVYN/Ru0TZL4N1svl5YcmvXJ1gMSstdGwCKQ5hTbXr4SiyXvpo0
8LMJwPjYPZWsiBWfyL/eo0F2KmWq7LHSEieu0/vSiEM76ZvCLqrsWoqV1mZ1trt841/DfWfhZvVj
uHBT59oUFQQ/pvqtfeT3IZhJwzujtocd2JnsCEistLA0Oz5qx9TN7tJdJjyPjXQeX+9/roHfqkgV
Le4DEz+BghoVFM/tZxtinCCglnpfutkB5KQPtHSyRDiNLpLMRT45U5KqUhflMaQ3VpizMmoniWO3
Em50b5r3SknuY637RVixDLamVflBCpSntGtvYl9ypzh6GUxa/Uvj1rlw21ASjAPydzxAQbj+slDO
Mlt+WuCJ4r26DzxJ8K0UeJO+/P0qvR2iMe0weAuzZvptGPSHSMlFM+giGVzcbdtpymMCGRh2O+bO
8C369R+e4mVrq7jrGrvaX3aQ7Ti8ujguDmO8BH2TCTZSK47/PqSWf0zw5muPoX41Iu0Qs/dufo9X
ErlIKGV5VIcRlEQQ3uVfjDAS9or+dud++cCoKE4sCxIYPueTWkxA/c9ZUsRbXbvNGEBOo9Ftmsdp
FtVD1K2bW0vj7J82cknUql9uLsIwjf7Lx/0RK0stc1fM1kKZQR32EFBs2oJ82h3dqcXwSeRQQSK7
5fPrH8L5xSApvT6Uo+LN02s4vgwFQpoUXwvzuC2HX8vh3IEVbAr6FHKiF6SsWeGmTuAyez4ajdUv
NAaWibjq/wSMlmzNRJCgbJrtWjznKXle5kSJB1Bq7dpD4hbf5Njt8Q2vsStRfytaaxKVn7dSr7VE
zlGAiI4CIMMN++WnFDLbmI5N/3HZG0WXx7lGGo5T0y1WRManGJzD8bTX8sGb4urbZUEic+W+0Vk2
62odQJAaPqQNcJiAy3BZwuZxmVilAVXrBkW3DOTSYtJhH036im00S2k+TEwEXhaybQYrKZweYHgM
olmClPQwvbSlhcd/bLV7XL9H3Jh4kXjHe/FkPqOAUv8oxmUUXZgMcUhheb23ELolbn+VXqH/5dF9
evO3uFxfQeyPMD53AJOxUugahCl67yb0qCGlyjsDvHKCRWvBdfHRMqYly+YKghL60JTf1PFK6UWt
0U2jWymznOzqC5rratDkxYQldXOwk/LBYG+XzWFLCYLRKZQMMNh4NtRY58CwjYkpe9gYsyo/fDLb
QxvSv5xiWu5kLYULBHqH6aXOZygH1Bh8jZUfRtoFlknrxKJ15BC/uU6S+S5h9by7rN/WAa4lc+Fh
kuNqHmpINvQfBbk2Z0H4OQMz+VKNKiYBuzu89svdVjc0UzOgcxcsUXX2zKNup8xbFlZ7VwcfQ3an
77M70RjoZp2HrITyXxIgqWJpJ0Q+8J5em7ul4lxiKgS4GKojrnBvfbfW0hYbWqlYqqw3+hoqxmCd
kL8ZLVqid3P4oE6iw1xiDx8o1pI4O2k6pMPgPUYEnCz1SEJX/sGuUH9AYckHA2VqwU6vVU+S79qd
CJZm01JWZ8pZSidnQYNVI8TFAvkGBowC1b1si//HtWkq2B0IRZLFPS60NGIZiaDeYCM8gZKV3aqH
DlS+6r56lTyBNB4w7j+W+UcaFzviWTd1U5KANq3mvyOt3SllirJRWjMrnbU7LB8mVlP32JjUot+y
OYu+/ls9NxXrtv+oy+VVMmn7mIRQt8rc8lB6gVvu9cpZFhjDowgtZfP6gNlBgRaForbOGakcRdhs
TkvgyObRXS03rqoFovLqVhqO5qGCWKbjAvm9TDMN6kFWUYAxYlLsTF+eHvWIpWDOGKWU3QNvuDKO
IwBynuismMd4YNmjmcWSo5k3c9nPnwkbzB47SnHWHahU5OjJ10Xt9V3Q2n3bzEfCSDDsLxvCxq+G
sTFZX4r9KuUHk6Ys8xU0MwgQOiaMr8n7IdethsiA980tKWrtVA0eGRONc6qbcg1Vk2XERvkMo4Ca
Dc1olxCvHZXMVaqmOvh5h5Af52B5wJJpqTyHIKB88/twiO22M0a7DUF4UprsypyoXUW/M8VnV6E8
FW5imI3lZ9RrE+ZW7WwFleQSkNK8Z3UUH+tiip0hnVTghcmmXc5E+i5NpLECMnY2wXtN8GHZsG4s
sOo6+LlgDSAiXtxvFRV9qUmagsqq5+cvQfMDSY6rJG8R21EFYGz5cUqf0/BGTQVZx7mdn4rlYogx
m4Va0BmExoDOV8NbqXy8bC4bX7RTCVzcSKNyMmeGk1yiVFiC/kIxjpKrP1NLsSUT8Dg6PaT2LEp/
RZpx4YINQFosDcglVWl12fepEiBYbJTuTzVbfsHqyvJYa5im4+wWdKdpdoEMGh1RVFqgx+TIynUH
ABNpJVzAOX+jnMrlYhOsnfmDCs3GJLN97WlomZsbhTUGoor6GfuBjvC0tkruC0rqGYTZ5qh6uQri
9rpxfI06dTc76jzaSu3b4KbyEsV47CMlwlJcfzAb2QkHQIcZ8VsN02279rpT0FIZGsvsK3ua2kNn
lG7UmPbAVMFY5ubRGNhRRaAwMCrAXUmEWD41I7yoS7H4EY2WidVALL/bfiFCgFhO+TS5QE6E/zAj
LRs6/ji9/TH3adhXFJ4zAkKkxJHEmASJS9FXfrHTS3I4/wEqpIwpNcgp36IKLjQ7Gdb3DRfj30Am
ILa4brNxiCeacZ6TzoWUqhhM9crmGRBHzpxjtwwcuCCQti4Hh/ME7fQMuevS+mjEkhQkNbpXyyjb
BI1N5NzKpyPocN1IGQQ+e35pywgyHsToFKnnCElB2adJ3uEBNNDcmYvUDtkVkwSxfCvBXQtZtF7F
BQVMo2VDISRU/e/NAPIfGah9zJNnFN9FXY3zIwR2D7AyAPu0sNfzu/VjbcZjLPkQ5uvHyIhfs5nt
coW6JCXX9VC/R7JotXFLv7VIziKTdDJkQ4bIuVZdRX4Bq4Cj0cRp22IHjEn7so1sXdlaGmeN5jhm
Joa6UR4l19101MzXFPWsyzI2qxhrIZwhhrLPqFxCSGrWj3FTmU4Ml0dzxDBtbAUchtC/6QkqG3E4
XSkjuUIJ9RAxH6jIvhh+apF26vKnd7ocycqAdKlXiiyXcMB3raNpjwvp8NIgG+pDK4G+s0TTSFRO
3D5mrPQCSANxk+8KJ3FSId8JVW+Sj4HyXhU/qlAE4UsWyzhTjMiYNgeKgKnyiwA6KVC3k6FYA/ze
rhwtzFIe1ZY6udY6xly6QzsgPfjUgD0bNNSR9du6LW9yvDrQYnMmNbnD1vohAqekX6pH7M53cn6M
9NHuDOBVKvU10OqsadAteIIdlzHAF5pdVOS7OdBthYkmEjc9YcEaQsqGCTz+G4DxTwms4NhkqovB
Qm6K+A+OX+ilzQ8kSjyBlW7axUoc53jlkCmznkFcHFlRY4GLCMD+u6F1VIDKEVv5NlJLchKhd2xc
G1J+tNCW2Sgg4yzHsLLHcMiyRJZRzKM0s9Hlv5uUO6Wvdyr5NLP3dP6ZloWdJgCgwNZToH5cVntD
6xPpfDhl5USmGNJ1wAHt56kGqmPqN4Kq/UY2p1PwFRNjeWSCR5lXsggG9OoK4qVyYktt5lQ583Kp
mfZK5OeWAt+wwuHdjKXMrUzzpcr71zoYf2hp/HvuVUGva+MbrACdy1jen4jq/MhEUXQG+FqQ4/nV
Z2m8G1lhywbe1sAd+NvTRYa3EsTZFB7zY98PEJRlH0PgEq0SCNjOIVcSuABeNXqvRBpySGNI3c7o
96EZ72XUldhD3d30w20LvwTe6xgWCLjAUVCBEGoM1tQDNpjRHcCErFnN7uQlpwYQH7rWzyqyzTAT
PcjPY+ByFkwxGEXx8gwCapilrtKWxBoAD6As6++019ApX8dj/ANPlWPwhmmFV/Xx8gUIhBrcwy83
1GEatQExpKv9+wCTem5BqfbUdIbydlnUtlH9ox8PCV9PWk3jEg+WfqqhINrEbWqDNcGSTdHw+bnT
4igBMaJoFCUOeNVpyCCJ2kkDUCu8BIWg1uisohVN521qo6FKitcy1QH3diqCRrHh0xjahOq1llRY
KkLjoSDWIGRU2byilSSu4dCbIEIji6QIy6M+SOC00KaKyBMFUvgKwJwQX9ZTSCFYrOmww519bwqB
BZx/sJZr+efMvqoQq0heqGEwgZsZvqhcJ9JLs2xcGOYhK3vgx9aCZvp5xeZUGBdasCBBZjOADcTl
Mw3uRqCyRGTny92VhK81S1NbSQLnsomLFOSCTZ7KnY4EH+Fs/JllbN+C2iKNPrvmu97oosi2bYEY
nsG2ONbF+YEzIxzSIgf08TK1eVCAz3CnPvg3IUBfzQcV4Nkxyswycsaf825SHHKTHeQPaZc50qHb
h7vLiot+y+KQq5slVaGpINxC/saU1sGsvOTMxKh2amFSJ8iDwvt38hZrXsnL4yomcqyg+KFGD+H0
0feVO8ujnWuCD/N2JPlzyIviK0GIjCktQxyyuXRJGcoQoeBR+JV2nqalMFRdZUshFvh4PFrdVPcY
NwcBr8d0053bBzXsfoBa6Hce5Y5cYEGpoA56jge5L91AI3bT9FbhNwd8ux+kTrNarGED/sKOKEBw
ZXTWdMlOI7pX5dcq17HzQ6ulvmhfvoHNg/lTMeSR7/pWkusOVAbYlDt0YYiVote/FoBFCxm5OgPW
mHlWAyeBPAQBTGoE2p2l0CB70ZS4fb4sZSNKnEjh77cKpaA1oEZfaIcpN74DrzOvq99RgOG8WMXo
QvOzqp4uC93wlhOhSxhZGVUs52GVJUvxhk3HqvZvGUuvcpa5WqB/uyxqI6xDFKaoVTwhkVxyEWkC
qXOm9zoGtdO9Oh6jHIl6nTqXhWxVWU+kLMayUkjymyjrNNwVQE8xsewke6BnvWNa20VEeK7usjsx
arBIMy4E6KWeKnGMQxzzxk7rK2DeWiUV3NRGXm6caMbZhy8lnT8uNaLgZfb83xhCt+khfqFO76rX
sSs5ojGzjWLAqUTOOMCVMSAQ4CzTa/3IrmZLsj9GO7rXlplYQKpcvroNNz7Rj0tjeho0LEPd0iuy
cMdSKbKyIv5rwG4Uck+kcCmMaeZRtvRzMDMxo1cIpqcnyZ4+QIvohd9ESGnLAXHxdC2Mcikti9CS
8jWYPKuH57mr7wMVZXFCmptQkvag3hapt+3OIBoAgDVFesPVYpOg1/KwwY2Z8vfKj+25SuyqJHYR
EcFtbTuaBtxfWAAOlW/aVbFK+8H3VU+5Cx7xkbe6XXyX2eNj6/rWcGhv8hsR4NamdiuRnAeMsTxi
ix4igzKxKnKj4RFI9DfSCCBwNy1xJYez+6iajTrKGXBZ5meqhBbWigWnJ9KEs/U0w5d0niBBSgvT
wov7MZN7LyqVp4mM3mW/2oxOK204i08lVNFIL8GL69Ji3e2smVbT/y1c0Jdf4X/g55TBfMungCph
Neti3I2UYZSgU14qQ7GnRpSibMeklRw+vlO/GiVMtnu1MwJDK3eC0UqwJRLdy8teyk77vHx623a+
EsgF955J3dSkEOjfmDuS2WlnxR4dILTxsgMDLqZql7sQyPACG9kYa0CoWknmzF1Su8afCSTLx/Kw
zKK01uAVB+CaArhLJG3TSlbCOJsnLKqHDIu+nlq0e8wUPVIpcVjFRMe56VsrOZzl67FWYlIFdkJ3
0kf7vIxqTt/HY3FQ7AIXOL2KwIj+D4sBnjUecOgN8EltCDy3oSOQ2B1bp/1au9Fu6VPnhPtyl9r9
98sGs+nagJf+X3HcYy/Vp/8JUlU93GptjYYofe/G+qUoJMFhbt6ZsTAUIfyqoCo6zXWiuOnNxIBm
pRYOVmqqAHQaU9NbquZ/309EzRM41pAF6LqvQ16lVfhXwwTLS8TDN/pNkdmOzNV+rEMXy4A//4sD
BPQ5Br80PEX4aR5Cm7Atx4B4YHu3UnJftakD47QKvTlclrR5fgumDKB4FtASLjJKUypRiaCgir3x
Xe8HP5LBvwIVg+BzspkFwHUMGUxS+CZzrsU0f5LiJiReZrwpCjBc5R6zod/y6lFFt/SySpvutZLF
uVfRoz/LKFSaJGDgowKe4vQui9g8NYZiEywOSmnk1OoGfyymRMH9hO1wMHrjscuCXRyK+MC3NAFI
NjahKXaGzvowQG2KgVwITVBZ81iW3SpR8XJZk00R2GrF2xHoP1i85jRJVFKSPgMAlP7YT8BhbEQg
ZVvBAEYMPbCNh7I6d1Z5h9Z7P0ICa0NX74f7cAY4RjBms10OaJdf1mdrdgZdXUAaY2yGYECIM2hz
6MeO+vDSTNKv9RA7s3pQHsyxeUqH5EqhaMoULH4oQ1SSU4w6WloyC2rHW9ah6cBgAcUgSKb4QAHk
y6itCkxFjQC5w2ARwm4DmuVJ+31Z10056PTqGE1DnOCdqpDqBkwfFe4unFxALdxOTbRQMwnGgjbF
MGpgZQ2razD5UxNRfbkAAEYLK9QPunr0AS5pGLnAo7YCBEqRQAQ1lAXUgbs2YnZZFTU18aQG7eqq
fzAK5bbN0MSqovq6oSLIzCUI8M8SHYi1wM9DNKJ8rlZhEyP31Q5W6R/lrLOTcfBi8z2T6E1Mr8bY
EGQyW4e4lrf44frj0Ra9llU9JuUWjrX2CaMcdhT2IuvfPMYlxDJ8Ns6x+mB2RpZIMAksvoDW8hGL
dTfRr/Q1QLvktgBjUIItYgOzw6LpoE39VoK5oMuaLkczEoIj/7ULXlv1uSsEdqgsNnB2ZysZnI10
vcyaaYaMzm4dVKHKZ+1Dfcm9wi5/Si/VW/yjvDX34ZF9zx+a/WVf24pimG/534PlUTEUtUjgBpBN
JAlFvAmosXc9ffYBYnZZ0GautpbEvV8Z3ipNKJWYbXTkZZb3OjsuvISg58aeNGBc2X8xHKeuBaqn
ptkZwBoIv44VQE5x89j53mWVBLbx1RRc2X4kTXXu+zi7QgLVqNlZVI+trBH1gERiOBdTmjRhFTAN
vRTIxU34Gfg/1fHzsioiM1h+w0oVY6p1NaYIU0BosIL4bda/j9WLNIvWVDfD08rclt+xkuOrRqXr
FeTIZmOPZWxXqW+NyV3RaXtzANaaIWrNLqdzwblULkObAK5r+i1Ob/Z7x5crSwrfLp/dGfUHnjwn
hsbFiHnoTAz8w7IbV7qbwDR8r+z7qzkAuLX6Mf9GicZJj/q+vtHAZ3ovEC6yDi54yM0w+PoSGRMU
TD6kt9KLXMIc/bmdrPR2OMhX6Tf2PIlqAtvHiu0XQKciFeAzxcpgmN6JG+iMsYhqGR8Gg8Fl1bY1
+yOCs3tposZQ67CV0r/Lm6dRup9EWyEiLTiz7yuZVbMJESBGX1Z5LBON4stabHy5MIkHajKAXAKG
nH+ilmRKC3T8qaeRz5zctzFA3vW7SnpQUxGXyFaOSCgwf1GikRXganK2kJtBiA2rHOqAdU0yMPnX
zgA9xo6a/KCoOyPUD0pn7sqSOkYuCIZfrVvO0UCDCvIUYG5QBsyuU9duhqrWJBZT0Htnb7ouWTRE
hyiebNMPD5KfHSZKb+e8vG1EW2Ubt0hMvPEQz3HUZ2qPBauUBhxm3gwmmkpXrc54uHyJG5AOaH/+
EcG4am8UdqlihKBmTKo+9lpppF5JMXwfDYpmKTldUKwyupcNqfJmZHyWNqSqK/d57IG4uTwiBNW3
RUzy96CU2XeJppNoTmvDXZaKvQKAJ4y26fwDIe0WUom60D2Q8/wipfytosDT0OXs9fJZnBs09hLQ
QZRhaQslK/fuKSKWzCqaB0ADbdxGDQ7RmOOTcePjNaonvTBv2NALJW9YFkMLGpfLBfBC1SYpi3Vk
KE/ldTW77AOopxSEFpZ8L91M5V3u9gV6FqL33UZWdiKXi+ojCQow+8KqAnDdtnFyVeSRbXTRVRzd
TONnAIYQJf64fLZblgzydlT4Qb+ChRnubGVtbPxsNlG1CB+JHzhjNgry9U1LXovgoiqjWS8XE1s+
VuVhOMadXR4yt9jFWJ69jWqH7QpPOgRP/0WBn6zlcqEWfCeqOQ+Qa6ifQ/TUU6A7gVbmr2Gh8TE+
kcNlGMwIKx/jqot+g6vbsed/KjuwMABNCvidViTwhq2wt7Q8lxIdNo1AdHEa9tDokc2qmak3Trk9
I9aa4KKfe0zmt0clT6wimb0peK+IYPBkq3hNgTiA4Tn8AQJeTjBIPWslrSvEW9CYy+leC3eJK7kL
4SU7glkjKa2hdhNPdJEbNoo6ExTGjtKyg8DF+V6ro6ItIt0jLLtRpfED2JM/LrvBVj90GcVEzEWp
9fxQh2aCZhFiWfRSHqrHxM2+SuSti3FdTNGDVFtUI996npyI5Oymqps2KhOIHGxsUzyWQIxogYrV
/8B87UKmIUgLhPK4sEYqHywFi4o1Fmuw2Ajil/oKfN720q5Md6IR+i07PdGPC2dTOVallEMe3QX7
bmceBvCxE1sWM4VvBOwTSVwWoo89SZiU6x5YQQ7J7fCigCrcdBoneK5AKuXUO+aINjfp+VfJWAvl
Jwy1ae57kn2pVz77LmBTncGmgM6c7ehxvI4CC0NS/g17w+qvnV4PD+1bCrDJjxhgPQsGZGIHz+Ox
+55d16kVPwZ25QSqU6EhQ20VxwQue8NVaot6scsc0e1sfGtOfj3vU4HG+qDAr4+BCZd72a7zumvx
vu5W2+lEDvckzueSFaWPq1kg+LC/BIAgdL2uFlQiyQkFdY1NO1imjPE9Y9pZolC3sp8206R7MwHi
2lxYRvdjBhWxIFYsv5nLO7Hv8kcM90ELu6aZQaSgA+qtd4IrZV/sRqu14lvVkX+KVmZFOnFBV0oq
iQ0RhCnT9KBr10FePmGIpxYpJZLDRSMyaXE59JAzgmkNyEMIgEsHfrrvbROUffmxexXFdZFILiCx
NpYxo4vrSvVl1ys8NEPv0lRx/uV9cYGIGlSdm1hG4PMjO3lJ1BsJywRDs6PTQRrv8M1Sze+adqXm
uSj32TQVUO+CNR7l3rMnCstDFdvbEO0HN2P6hl6HFafX/jFtXrXGsBu8nMktTd+DQZDXbUffleTl
l63qHkWaBgRgDouDtwdyZR4w5ocmZeLFAqdbDOPMG1aCuAwyyTLVlwgMh3ZoeEVzkN2b9LbGWJYc
TYfLV8nHXBO1c7QDGJoRJjyQcc7QKUqKuk1reF2SvaG4d1ca2CACuY6NPd/3lKYCeXzm8SWPMhVZ
D556Zy+BOK/CTGaD4ZmR7w7Gjwacu5c1EkngbBOz1iwO4snwevVeoaAS93/9OwHct7Fh+Rz25Wh4
6Jo4oBOzS+ZelsB/Sk4PCXdzamkkq2ej6KBCfEBBedfvO686qPu/hX7gxXBfLFIMwZiouIua6laL
KJGbojGkTfP657oxYnyqiT42U5izDpRYPQXak5zdRmmT28HQefVcuHIdCuLD5dvHY+VUoBzrdUcG
6BT6yROGJkH81YnyvsWC1v7Jn9vyG1aBoG7DSK/b3vBozwCCkGReYky3vWI+GQzY04p61FtZYBIi
vTg/lZPEJ0ECowOmje+YepDawTQLnHP5Ry4pxn2xEtB9zR0o8Lxm7tAC0vGKrJrezsxSMK5wljnz
R8h9qMikm35VwcKH4/xmHskeA+j34wO7oV7mDfv5b+uQvDwuKOgEg9O+CnlFprhF+FmT6VioImxu
PnDzUrjIkNQoIEopzi/pi8+Idnd+6L83fqlbQSaaXTx7X3HCvj5XKysMC6wUqoulI2dayB+tCPyB
0S46sAcgj8/u8sL62/yCl8lFDBNrTZI24BirYXqOs9FDW/Fn1Uk/L8e/M5RjXg5n7X3f1XMiLbo9
zR64CT3AdUmP/jN9Sl8U+6jZxVPzSj4vSxW42FfVZXWgjQRjb7Az7JnFZNHyHbCU/04AZ/QDaL0T
Y/lw+EVZYtGIOP4Ufbss46ykwB8dZ+mmGdI+CKDFdExuJYSmq+FXcVPvFyBBGlpV4+iv5S9Ri1V0
dpzl11PhA+EPqtUMlBbgQ/meVfVeoNoSu8/CE6ZmgaoCCo2zytpcgd0U0CP4snv+LrSbG0Rfemic
6pB5UmmFR1Gna/PrtRK4aL2yiL7oIqL1EJiho5YliaWnx/n/kfZdy3EjTbNPhAj4Bm5hx3LoSekG
IVEkvPd4+pPNPb84bELTn3Yv1sQqYmu6UV2+MicZOxY60Fz+cpPy/cOdCWN0vlKabDGqhRoPIBuH
6PwAhjUBImUkFO7lm1y1U2eiGDvfAIMySCvQosfLCXiXUgc+qOYUIFO+LGc1jjmTwyi81gtKhiYH
8eQ8soWi9zPscS1S6yhoZMRuGP1oyf1lkbyjMepPEuDgG6jze6l4lId7KVGwBVeD1Pj1spx183t2
Nkbjq4KAOjnA2VpXe5mBqZI4xvWwGzBdDazkHb+6xTkZO6yOWh7l+oZAEwFUlDauLr6kwhOQhXzO
0TjvjG13lWasJCHARNDlHxztsGx0u/RTG4TGW2MDEiGeV/kyPMGovspEiWUtFVXY4KPJvuSFe22z
bMbjsgmui43oiU55Kl47e36fH+bBJn6ppbOymYAxFqtUnYz3w6KGdygc4xuF7AqPrUN31cu75Kbg
mkuOYVFZwzJNXTx1ECoNiBmxSTEd6+EOZCFWaPAyvPdi7gWzyY6hVs3/PYnxJn80dv0tXfiLgddk
NXvwpwIJrXHzewVUCQBDdpIjgq8kcTg6RT/hpR/BmJyybTJwVODEsw/6gC1lxakPkk0Ls/8DsDhP
GmN4RiEicSpA2rgr7tNNuDNtQAK9NBYlceZ5ifVgFm0kSUcKjcEIJioKDLJkcFrIB1CW1VC7Uja5
3VklVr+BL62CuJ33Qql+fL3ND4nMg9E1YwGxCCRqwAusryI7Qw0weTJvAqt0Uif0JM6IwvuIxSWJ
zDOJZgPVfA1hBdx7cp/Plol01HBBH/0InFGPll81V71WUW4XXmv8ms7KQO8+01rx/xCIKtQbXvo9
zAuK48qo0gDesnHonlCGbYPiuXuuMe+/SQ7F1vToUiumLJ3KVXbpYfYaN3YFGDHltkWDLNnHngFQ
5eZ/sNS8r8N48iYNDakX8NtmOdwpY3jIJXV7+T29zyVdOj/znvLYbFKi4HsgwQASt4+Di74829Hh
fa2Ozu2nSEWd/jm8N5EUNBrwFnNoxl/Dgv9jQD90kXlrWYop6WbGLxm8cFM42cn4FW91q7j9h9e7
5uErfgHQZgUyLj5Ix5CEITUl6PJUTu9qXuvndlG5ZmrN34aN6aqJJfkAzQQqqHmdi1Yx2mC/MG41
jlnjaSETBIRhQqS6wk8JwwY4D4cKl29If7lYzJyXTfT6thnVqYeQXEsfjH46CknC2SxWaEXpgjq9
T6WcRbrqWKVkoQYFoDqP5Y/GkXfym3YKdau+opg+1f17gLONbd3EtGZwmg+UpB4EHMtueFSwcMhf
2/xDiPVbs947IWc/SsHm/TjQEIvuAgZvZDNtNJccF7TXZKs7hieuJaeW+tI1MFaOyBUWHE36qo7N
fe+nx8Yt70tHBFoNV9Z6PPdxOsaCTbOep6UIWSB72EqHDM3K6anbBB65qe/fhym3iT8S67LhWI88
PqQytgnMuf//8citsdeym3nR3ZIIjtHfgVeII+xdbS7dJ2Ol0jTKG/E9Gs/079k0OONcSRYWFNy2
w4BxLY/3U4/6XN2OxziPt0kxP10+LzUGl34BY52UoBnbOIUOjRggrQToMyiyirbe9MopHp+wjcw5
M8f4vw8aniltEaMeqFGlBeACHGBbPemRwJHxh5Du4ysydkdaMjB+5RASz+6ANbtkO7uVtxx6X3Bj
O7pC0oNO6OJnj/PB+DluJI77eR9Bv3Ct7MhxIsdz2hMobzo8lMNB7DdjuKuiQ0e2ALkqQl8vXEFy
yewJjdsaVkqsYHaDyZ6Lg04e9BTZkvE2Tz+XWMTs6IBxLy9J/RTIVJFT1q4pvoFoQn/qyQbE34Zk
jaBCINuFbJp5P+f7UHBH/PfebUxPwdip8D0ftlK3L6c7ZQTfYw0zXFt68lJJbm2qtiBXdlucgvQw
pK9auldKrwxnW9CvS8QGjZ9i1+JVGJ6CdFPU3+v+QV1+mgYnw6df5dKlMXFiXOlEFQzqKRMQJYXP
qnyVTgPWWko/qO/GaD9rvNF+Xpwgy/hNZ+qYzk0AlmXEIpREC+v2rjFa4NaTo82wkXwJVFogsh23
k5viL7DbuMGtfqs2fJjTVVcJ7ArgIlO0Yp1RWVkosiaLZTzE6EaT5L3Sge264OGer17xhxR2hCAT
kl5eQkiJ0IRvMSHRe+au8f9VuetMDPMlmzDBJxSQsILCu7ETyQQgnMKbfV+vgp5JYb5dtLRtUKQ4
zNJbnYPlNKe1c1/egg2JktegxOtnfrkHxZ192WjybpFxg01DBqGacTya0CibbjMieEx2vFtcT5zO
Dsi4QLkTisSccMDWnV3V1vZABxkwcb3YgaVvqpqfOK063TOJjPub0qlbpAgSe9vws+t6R2d2slMA
RiDiS25zTF+QF3Cuc9UHnQllvKBAurGValxnbGIfOl0ia5rNAwi+d1UeONAlK2qSt8ufcNUNnclk
/J4aAPoZDC/Em4ZiNxXXmdFzqtnr4dmZCCYOL7H1Kgkt7rLBMogIVpforobddYDt5ysP2VH7xo2Z
qMZ/saBnIhkjYupV248NRP4zYxMgHp2gK3B3tHLx3z6bwXRhhSQz24ZarKY7qgmqvoNmx2VqRdKu
yjBWYQS8G6Xv6sLx2NXatEjUNAzw0RoHu+xOvoOx7lCdoYWo4iaMLN7I1RdEoffc4uNCDcbEtMDY
EpQWEsmp/qG6867ZDs7iYPLxO7CSNxPBs6CzpO3GdCIX2aPXYsGdz7XA8Q4GY3Gw4NtEUYm7Vqan
2CBOYR4C7Ez/pzdhMOYmb81o0QELia5mgv5zCaAtIDS/XhbCsZ0sm/mYVLLYUQ9kyodofhVU0VKx
25nqGBMAe2HxLTRkjqJ+mUxhvyJjYEJ1iuOWHkzcUaQPaaNu8y2lxOBtmn1Zk2ElsWZFElJFpW8i
AxFobFqT/LNNTcClaAdZ/WH2YAsWnAwofUbwPY2rN+zaVWljiU2HXYZpE7bEKgse8u56mnGmxYwl
is1W6vIev6pFNNxfxTvparEBD+LNG96UH8eWs+sZ/WKSBfs0iOFADSiCQl6bsPzUXGfV7SB+z4yB
U3ijF3rBJLBLC4K81KSmnzaOQFST77POXqafQ/vdjB4vKy5VkkuSmJgmwBI2ptUgaQiLra5M23lq
UVWZ4m/yJDxflsW5RZMxO2owSIVG3fAUgoQ9LDMnrbutIcQYDY6Af1J35UEwW16jgeMUWZ5kEmZB
OdG3qYmpH6pYP+jD4O7y0XjXyBiZQm1HkM/jGuc48nuwM0hivu+k0cnDxLssineLTDCDab8wCKgo
rb6JwkOX1FbaANRfM7ZDajgydwKOJ5Ce/SyZEOsoEwlVEQBO+ZMjwNIQ7Fztat+0q9kOt9pOcSs/
DpzySf43VbCPN86ukIzaRAqB5tXTeC0O+1zmDqGu1sCAPEhXAUXslDM+aKjUBZSjSJWkKrdHebga
xFthFLBTBnyoXZjdtuKNKuT3lz/ieoYG0lWKWIxpfNbpY8Amb7GeTI03neAADyZC4fZBSuzsJza/
PIJwGAWvvV46wn2Qo7tY2ZnPm2lanxs4+xnMkxznYc7HCfdLx4qXrQi6svR1vlZ8w5LcYpcWlgHw
yMtnX/X6ZzKZG48NGUiEigIFlg7qeCykm4GXc68++TMRzHM0UF8IjYw+eQ3cJEDvm9vh1+VTrKcx
ZzKYd0iA1yALC2R0qFMuTuuHu9AfbB1Dvvom9rgtS3otXyz1mTzmGZqtFs0BHUvQwIcc+Jjbw1hx
bNNx1HnLT9NWI5ozcYzPl+Ox6LFhTrPBbpt5xjbdSm7y10xG76HFmRhqfM6MS553adjTbDfV0ltJ
yzDNb8qae/lbcV8bm0EEYoRVX5gwGiqoj+hmoQr03P6QnOaEmtTWOGg3002MYkhQWv11cSP/zI68
hHA9dfo4K+vVF0ErszzGrxBv0h+TozjFXXTXWekBuzEKJrdCj9epWC8mnIlk3HvSaFKXKbhe+Xv4
ONvJr/kqdgEjda9vl13xY3aSzfAgODrHbK/HZmdyGbtSxaMaxbRbUxxkm+5plHazz7fY5fJbzlTh
qus9E8WYk0rqM+xLwpwU4nBLAsmvBmEzAC/VRkGqdDiaxLEsJmNZQrEKhx5DGV78ht5S+ii9BDfB
jrZ/w6Nx0Leh3z+Tm2Iv3US38yF3Cj/ygyvuGCC9vwvGgB3gbou6UusRh26eiwPm0lGtMR96R/Ax
l+zzAqj1+P/sihnTI9Tg0MwlSMvfyAtw/e/iXeAUe+EKNEmVpfgV3JP6UwenwWTxFr3X05wz4Ywh
KhYA/5kJXs1oi3a3rX1amJIwtcArTHH8ksmYot6s004qqIEFUWgv303Nr0Tgbd/zPK7JmCJ0XmpV
H3Gc4aV9i37RJj4dx7CVnfam+WBUtlCz5jyR1XTi9xUSdrIcBPBZB5hyNLgUcMX1Yfmjl1W/Lvpv
Wrb4spiNHIN7+SpREfps1aWkCruAdiqK7ECap4EUVlzwHoG8GpieHYsxMkqSpqVBszJzI+7qzYji
HgXk6wUr3CGH2ZSl9RrvzKvWE71sE6Nx2HmIqG4VC7/qmlc44p2ZsUMwC2GeoA7uSRhwE/c6EPnL
zWXrw3mIgEH5fK9mLLfiTBu24Ex3UXzzdDvYSRbQ+hKrdbRdslmOFfwItlN8jujLFucLsugESqF0
TnC8IkXeK2j3vZA3tpTVj4ksO51kTFY4a6dlalNrwbD6UjV3UrFwminrg1tn35wxRe3UCAZI6v4J
WPPQwoKpXzwJD9pO9Qo3dcg1uYt2XAt42eyDQOjzxYO6vgMfMsTSld0FgyfLJn/AsItl+hldWbzm
RuY8iYw1qtVwFHsaLAweuMgi2Rne+3zFXgRT+MvsKI/yE7fQcznGJCwSgSyDG3ygkw0U6WdxJGwZ
DhvyHtMqbuHXHLv03jD8sxsj77b/LPqLFxJXIcG1Jof0athmv2S3tsOdfr017hv3CnR8LsnwN9GK
7/KfHI2+HDgA5OvzN0XsPuoga/q/FCz1NU/aRI7hDDvRW1wqtThOvC7ul03OzxEv+DU/ix0MIwVG
JMQKm/JK20+b2J7Rrkpg90OHp0Yco/SexJxdcKX3ctTOEJbRBd7wVS8BEtTwACw4uRB5j3zPxKhd
YDYDDfcGz/CnbeZgctTP9i0CkgwDvxYPBHu9Ff5hBt697JlAbGL1QUkNYfCg+4tTOO1DaVUOkBEO
8UbaN/vOMjUsnCcuiDACix8scPw4YfcGsL5VjF33bhHkXf84HxMPVGob+aRbAE31ciBrcHsTl3My
8h7tn516HpJaCBWcmnbowBTsN5jG4Z9t3fQQwC8ibDbAHPVZQ2UJffNa0mHslBtDeiPDzeWXt66U
v///GtNiyYyCTFOgIpyMJqtteysPYEjn3L4sZv22PsQw73sOC6mYqHGhGayyj/33sHHP84y80zDv
mQxjlPUJgRkJUKQJa0eYFisKuIvF6+bq4zhMfDHrs0SmErc2vJiH6KDuFAfDjluzRbOoBa2YQyPH
wv53FuRDLBNyNGotRoBmRwYp7Yzsqgx208zRhz8kxh8y6BWf6TWI34EiQ7+UdgdEUQdTQW5uL7eT
XW7He+Qz3FjtD2HEh0QmjAAeZqMoKVS8eZ41qzk076Wv/KhXFkktEIJKNhAD9gl/7P0PUeuHaCaU
mJumqqIWFypEAP62UtiL9w5/KnlAJbof/WCLfrGrXZnfDeRVyU6/HffSdnBRfnHnp9DhwQL9wSN9
/CIm1ChluZLAx4j3vtN39W7ZCHZnCUfB7/yCWwWReXrMWJc47MehDjU6rNG/GTvVXfa9Hzmjb7YY
J1ZurzUXBLXO4M/7En3HDKXl4qY6bng4zX9wWr+PrTNmyFBmEKQL+CG1K9rNfQXwhs7KDyYwDRs/
9nj5Aceqsmx8Vaf2vZbhu7fNazM+5CbnFXHuVWfs0KQHjTz2OE6vh7tFKRaLiOAakKY7U463l03r
H7zfx90xxgiNBoKdObwfMbINFCSB11M/KLm1ELt6E9EhdAff3OqzE/y4LPkPIeOHZMYema0qqVGN
Yw7PtOxK9hijpMXXh/5Iy6H6aXSmR+lY7dKTccVLwHjfkDFUQSfKhAw4dtXeANrKIgbPzHO8ic4Y
pkZJEsD54y1mRWGl/ZH0L0J+e/kOeadgLdCoAvY2wylU083KlzLmtdz/UHb8+EiMRYEWFlFPzWvt
6r5oCxbZg520ehK35vf6oLjqz8I2D+Zd+fPyybjawRiXBeTpSjBAO6Zn01KR72NW8L5wEs8ELEzz
I8I/W2exsV3kJd95kQDPj7FzaHo/TUlDL5bc6bt0k8FBG9uXNEaJXrNpLZB3Xs6XJEyI0+hTPMc5
tCVvXg01tszl+fKFcmIowhgVUJuKVY0JRuyV0ogzPv5vpbc/FPl+KwzbhRPjgbQddYrzTvIqD6OR
m384FXjoB5z3RRjzUUWGHmS0+URiLXTArNvaai1lvlIqvEYtL8ggrLUY5UqYIlxe6xq+dJdso18w
k3Z+VL9px+TReA72Ij+Hp5/ka079cZWMBQmwUirnE54AijGe7C4brNgjnAltrMtyMxKuyjO2ZGxV
0JMJKAs1z/JsJahnpqgNpwPQzMotCIjDl2gnc4uoPL1n7MvUdkO1AB0cLenwNt14y9605VO5/Yby
tz0CQeryK/hDO+PjThmzohlR1MkqtEb2A7/yps2wo2ECzdj/Y5jAzp+NmBaMugBK03XPWGUVhXvO
WdZrPL/PwnaeG/H/PMzgAWrvtrujSFL6/QId6W7y1A7cywI534odNpNDAOjIOQ60LNdl2FmxyDH6
nCfNTpEJ6qQ1RIPtEFvDKxfYWiPwQE5rXT4HxxSyc2SpKpV9K1KdAxBQuqNdCNqg59bg6Iu58H7Z
UTISTGk+UheWHEyQOOk7UEOD3IbcFhvsn1+NhxIjTpWvbS8fj2etDMZuRCqYjJMRcqeX/g2InVuY
YVuwpU3qC6mV/UivxxN/6Jj38Rj7kaRmHocq7Adpn9XgUZhPHY9XlhoD9kLR8yAq8AMkHW2Oz9ll
ogxGstDAOG2wnBhphZvkqT/IaNZpICcSRxWbuBpHKVdDoHOpjIkiSKkGFPCp8Vd30t3g5Fctxavz
NHf4Sez8YJRWtknveNMVq8Od54IZW6ULVYXFagjuvOReOswP8W7atK+pX7n5Ld3nQusXg3KSbeyL
V8UaPGGnpY5wzTU0a5M1Zz/kPVY7y+pNpSNaTV2tOd/NZeiog2EJza2Z9gcze8l73YvInVZInK22
9+WGC9/7vXZ4JlcSCi3paYJpbnpXN2xEoTZSA78FT33oRj+Jj8lhTLMGtrr/B5KSt6m7ZirOT05d
9NkvqMuhj1Gog8YFoS+pBJQyY2iBwsFRx9nupsZu6+xhyUVOCrj6hs8FM2nZsoiGUen49gZosegw
T4QR97y2YgwY9UCNDG3jZ/Ea83R9zaWci6Uu4Oy8orRIuYy6N9oGoysAnHEfHnUEvcm+Ow4+P+pY
M5Hn8pjAKo/kOTBqyDO7xpJDgoUr34hfQvExWEaOOq0ZqHNZjFnUYjkZQtpw0gX1RtJIZ3VF7Op1
5l22vxwrxaLdT5AjSgn9dOGzEsubqYbRjTd1F4Lp7irpeLCp9Hd/fSWocKiwi5RK5fM3C7Nx0UmK
V9KB1SQ0nUb0McoqGIV/+Vxr7h927rcc5v5CwPiHsQL3X0eNNfbHuuUENKs537kExr7PndY3XYEC
rNCN4SMYcIkdAHoaa2hpaIdZChCSZklAm1ZXh5xgTdvG/mWi25NZyo7ZZUDd7XTdBn2hsE0TULcn
8ZQ+DsmEDbeuipxQKhUX7Dk6BweYdzOMh1jUAFP/WP7yluq+Ux764fnyza8mVaibgvRHRUv0C9J/
bEgpJQCAb5Xeum7bJKgYR9+bdt9lGPdv3Er/Vi2hzZG6/mA+pDLGoFTipkY8hqH+k7qjhSF4HAHE
fJXbPKKc6VY2Jla5ETo1qV/V+UMqo85kUZJIpblW6c7AxZac+khuO2vGpEj30G8un3H9y30IY3Ra
oNtmrQhhTZG/wt5u2kJ7vCxitdV//vFYrSZEjVJ6jaMN4m5bxqbNBIyUyAG584GWgjOfNtdiLp7y
6rDcuWRGLxshTao5gGTVn2u7vR2PyQkY45qbR04NHgzgmGp26knH6IY4+nHqbXPTosfHbV6uVhnP
fwkTyuTSoGoV/SWiP4N4hmKCGxgAin3dag8h1s/Tk8qbXOMoElsVHrVIiWeaWpZvo4tBi52hQHkb
twNJhwvMZV6+t1p9PzskWxce1IHIIa2VtShDd++1f3KrAqwic6OU/1DWffVv3WXLxINZKmVBS5jh
IwEeP0WFEWwV3EjA7Oj88MSdelx31h8CmZjEGNoBWOMQCDSGzK4Ow4HOA2JYfbfcgocRhf7JpW0O
XjVu3S9QojrwnOimwS5toEFbAN3NoBebXPfA4h1ktFqkTewrP0MMzduaj5X7whJ2qRPtxj335Kth
4McPYOc9QzHPwqKGY3IUyWpnK33rDgomR6o9ICvotmOzqZ97kIcOfvSvBmsB8Q5GD0VTdeAsf/bv
eab1RaQDm03sx5uaYDCvKl4u26jVL3smgjGDGkjoNTWGiApjrTaJZBdYz0e1zNDVVcJTbKpPlwWu
J1WyaoiignjSZFc5Wj0dVUWExM6RvGHbndoHcLHQqi5NaJTYzk/xqXv4d3MU4H39LZhxatqY1EqQ
YxqHdP2GVIaLcWJ74Y2tr7pO2ZDBHyGCip01BXKQgmYLHDFekOjo3qCEJvwIEb5fvkX6Wb64SgX9
e1kmukRYYru2TzEUgi6DZ5AEMJ9q60z6sMvUqrQKgTeBvOoqFU0SAZIkAm6YdWMDiLaQBaKqgCpg
Akx3beKFOau3piCIVWVZMUBt8lnTUfGpzBCEel73rGHDvrWmbQygqWWnCt7oLI8ovNuAY1ruLl/j
KiINeA5+y2XUXyyIoQoRPAW5q2d3UWwSnMRsZw5WixlVzU9u5cGaapugP/arc4GKBAZ6km7AlG1T
/CteRM+7B+aqDYGQCZ0dZEVB5zbSbRZhAkblYRCta8/HqZnoQK10EJDONPaJNVt9TI0f+X2Y/ast
+PPLZVz/OERtlACb3guw3ICQ/H5xElC03Uyguy8aDN7NQIzokcnnTuxwLTc9xJcnooK3Btw1BNQ8
jM/qpU4G5ilUSvXTW9OD2Pv+VbhSnd5pt8m+soXr8q67iblQq+vRwJlkxtDUQTyIbQrJdVUeBaOR
oT7LzYgip5Ul5XOvopDSKoNktxImXecF1L/V9VxhbeGydq/HXmc/hHlVSpyQOVvwcLPYihd7AkA/
uCe+9QroSS39TvDTl9TRifXX/GR0Pg4Uor/vnnlWaiWZY6jgBuQ5t4pwtGeVQ/272vkHQzN4SiUi
aWCz/WwxpI7UmMOGYx7QJFy2BXr/dOPKOKXIGjBC3/g89oFVV3kmkUadZxWSDOgUfVSaGA4eiBMF
AOYCS3qjWIGwj3PeksIfzmcYYGDF5oPGom5IsdHUhC7VBLG2i00hsKpE+1aTpbJAVAQwTmHwhqBP
rIFOKbfac9fWYM1IFGJJXcSJEtbTUA1cu4YkmRJKJZ/PPgTKPA0dLEZmjL+UllxJ6ehUGji3BmKP
JSi3gqQNLDAZeqB55mzXK/RbfnnKZ9IZe1Xqaa8V9EFhZi62N8Y+Rp5Cka7EG/NOtFW76K3SN93J
Tq787JT6emQFklVv1Q0wPe8p+1DoLArveVELculnMfYtkqImzuk0CIVRkG3FqScrcCgF0Ox031Mu
idNqLKqZEmVw1A2dbbAGwPUPQzqw0eU5HNSELfghKMLDqJeRbRIgFlma3rZPfSHLbi9ovco7Meue
sGCpy2f8Boxla+NCacEsomNGFBBuABtY9jShS+0F6VxgjSfszH3jGDH6rM5vmZXJGLE6n+qlpbQR
wwsFOACQyo15JfnlvXTkQ7V+UXRWGmO56r6L5xzsflC1bludJqQY5CbaiBvl+j+ei3lSaqEGBiDh
dU+/AevsgHjHtHuvlYEYAbQ/bkngi1diT8Y8oqgIEYbSk9XucGhOJerpmIy7EfzGjh359vLpWFv5
LgwsyEiy0a6R2bwtQIkuGgoJwoKx3M2YUMVIpTI7UWNGDvjzOi8z9enxstAv2eI/UsEJDhpEUdY1
5krBGZcMKiJzfLzsuvulYAd3fIicF+UmeKagsICJ8WPDQgbr8GfDvvQsWOnMBYtZ1cAvypTDanTl
HwPyxNonVxjw9OlwHGWXkuzJp/CK+hNYXv6+78z+AsYgNUircnHC+QPp+4AdDr3jVVbYyJGRwFZW
snoRZYRaYBV6CfxhGzzmbv0QOION7RzTRq8AumQ6pXv5w67rrvH7w7JJlZrQhjqoyrz0kZTW/FD7
gi1uoyvZWxBMbnmx45f5RvaY1CaduXpQo4diFKvUzglYDlSBTmnPruKkN6VfnAQXy963AOncptfN
rgKyo0XXdhrbvI5cblWUzb7Y38LEsfFiLgLGXahSU97m1jdvlVv1REGPKl+5FrYSxzKtGvmzy2aN
vFEoY0RfUSnfx0vjRH1j61hf/4/flLHrxYiOcSNAzIiyDsBPUMSKHGAo+gW2VHjdPN6ZGLOuTWao
1y3s0YJN2n3YzLpltJNo1cL8L3ipdfns+hgjRNpJUsUW54qFxM6jeoMFFWcYeNT2X/qErF4w5gZz
DAmmrSCndQO/cKZN9ySO1rQXt1Q1UIwCb6ZgZT7vcfBMAGtkVFBjKdS0kz6QvT6b820xO3EYRPYc
Li3n6b9XMr64/4/rZOfximrMpZE+/c4pthjxNukkxSm5pkU44savEQas/cGtr2k1vUSrIHiSN00N
L0oRown47v62c8BcPDuw12GHbilD/KKyfknmR8TFvKex7j1/mzt2Yk8JMhExICRkh/JKXCzhqfbB
SvetdxZ3+G54KmZWwlPh8+rYbIDJnowxNQuIdnXSwoMluOkCsKaSD9Ao7pKuQs3npW/KWJg6FQhK
EO/f9J/AuX8ELaAXfKMQcnTSk3qUHERyxXtOV247dCwov0xRW+UTWgZ35gjOet5cIe/4jEUa8oos
MnWfnSLYhho6TSxZiiDaI8Y/h+AoFodZVzkKvmbeFV3UJUWSVB3F1c+uZkwiuUhKDTnKWFzPaniU
o+jHZVO7di50Z9EjFnVZUdlgrJ8Rt5PG0D28UQw8Kfi3QZ4bx5Ni7EqMpZJuasksN9kgLc5/Ev2l
fJ4FYhsaVKDY7UUtOAhx9CYlzdWS2xLJ/Gz+QfRWsC9LXbP2Zwc2mdpAPo3KlA2QCvIlJ89mL9Re
K+OvkfHpczkXw0QJilYmsTGZiOCPi0fBqwJAlY+OCopUfhzAOxOjJ2Xda2kn4EzAx98QcTzEiebE
fcuxPWvW/fxMzNMcNWOSxAZnak31Z5eOVkQqG/mmb5Qhp3e+eiIUFFBRFvHY2bIyqUE401eBDizq
1pXTBrN/wgmkLf5lZaB+kDU2ypkYxk+miRlMrSGAMVdY7B7c1YvWW3IvWZmyb+v7iccG82Wc9l0t
zgQyDrJs8lzvAFiMwGZy2ltqurHTYIkoGQPWHHDbPFiZ1ff9WyAGXT6bkMSQyyGlnODVVJ7ESQOB
ZCu4ebIcCqP8WRj9fgbS7ijr/0pZzgQz72wI0Rboc5x0SFq7lwJbDAY3BR8NN+9YtZJnkpinlsl6
2DQFJCGzQxmZTuHFx/pZ9OgYGPrnV/8mYPzQGsKy0cXlmGCbMURfTJssOat/kBYLekLWc0wV79sx
702cakyqZJCjyqFTvPT5ASWl+zwim1AzXsS8Deyp4c1e826Tvsyz9EbI4SiGEbcpCsPd3Cffm4lw
Rq54IpiAu2nDHEsNeNyZlByFXH2cMvH58sNerdWcfyMm0lajMQ4WmRqQBkvfETmpQ3Xdptk2XirQ
CAzG2xCQN6kH0UQpcurPa+dDR9YkUEpZAW7K5yssUYyrZxOylUpJgfs1NHphJZPaRByDvBYL6mh9
A49GM03wcX8WhB2wJJWnCHVu4TuGhNCGFm5zjYCQKdtNmsmRtmYsiYYDqZICRiKW1tw0daiDkGKy
oKgWZxnF2oKyLFZTdMdMAOZRP73OIXE5X3LtkEQ3VVMFBwslc/98SKk3KxQeM3QYvQab5/UxNtz8
e3LSKYoqLZuUTls5AmDrVEe/vSx8zQ2dy2Y0Ncp7UxhnyNbI7ZxnlqR9E3grOF8mgahPOBfCqIsa
kEzLTNxrB9KT6Bvq1ZpopQ8ZDnVVY5kJpfNXBWRNBjBWrJE7kL5yvwQssYqJbrGGfiHjkkTQ1bch
pSU1wshXhB+DoDuNJtphfcq77u9NGoSZMmZUJUWR2KnEVB0wtLegLB5rwyaTsVM/pTaYG+VUtXr1
JZH9JH/562/4SSTzDSsColJhQKMr6AJnbB9EYfGJwFGUlSdvYDcQqRfoi/FGmJeoLeMg1XStDxSb
R2OoX9RE5HQ6eCLon58Z5jGolmKgKMlAQ3ekoXKalPPUVrTdEE1kAdAFA8125qUlWpRIYifgENpL
0t+ES2ETnVNAWtE2yNAI4OJFSGAnPOJWq4amDaAA7SxsAzN0FCMGTFmpx35ohMC3BIcd51xfZeLb
YA4WKPV08oJFPYlE01xEscTEohZYcw2g7mLZtMFDNFZ2lHMwT74GyZ+EvTums8+U5zWq2wZMRkdz
NvhOWQyuuk7yBWUMOBb568FQHDfBlq0BZ1I02dJnKys1OGRwmWZU3MyCYpVkcXINWMu/RjHlCFuJ
RhCPo3KOUV9M5rBjJdgTHHRALmL/OIvBc55nka1q/V1I+uuhTjxVGb/Fs75YRtlwKstrmi8pogQc
TfQ8ZNbNlYU5a6MeGl7R9trPRawWexQ0npSvHw7NqzMpzPsy+kURagVSWr2qQDQhXanGeMLocWuV
bfr3IRCEATgLn874qpJKm8s4aIxyTZ2CekuNNyBV4VzbmnagnKiqRNMxxUXon59p4pDryZgZmeGZ
RTc+BL2U2/I8Lyeg4gyAcm6H7NoY4+5fnEzVFRDqQFmIyfam8f5yQPD2hjc3ollZwtQpjdXWQeVf
NutrSqEi9gbTpIY1GzYaqYwg08x4NDxDb47gJ/V6FS/7sowve4FwzaZmKJqGfpFCYaeYK8ykpiRZ
rHsUk5PiJS0A4Z49CofLZdyimRiTi36SxeSilbEUU1hBVi1IO9JHbh6EVqs9AOPfSqXJUmsk21Jh
gfySd0yZI5oJAeQ+y/Omg+j/R9p39UiO5Nz+IgHy5lU+bXnT/SK0lfdev/6eqP7ulDJSkzE7M4sF
djFAMRkiGQyacwbZIcW93APsn4F3KchlB4Al/K/TEtSx0qSXhdDHmI6PoGo1m1KOSiZ2mxPMGAdy
ZFUlS78NUzHw8XSS3GBSjWa+5HK+VJpFUNy5Uu1FLJ24jRh5zcbVeSGCnPDK1xrVQNs9hIgYi1aR
ZLUDZ8ugorltjxsefSGFyjICrR3DoeMVtwk6cwx6J+BSu9HBYjvuteDxtrCNdP9CGBUPA6NIgqaG
SpORNyZ6tvdi0T82XJPafDg4TRqhVBKpjPCx7XKrj0UlIYss1knDQ6xYKft2LF/TIowwelegZdFM
u0kCeGOlt4dm6Hx+TPxSqf7nROvyBqcqF/wYhFwbIV3guPgNZroLdNYU+rW5XIqgzCUPs2xIWyJi
FuzK+CGOij+M/u0PeH2hQYiBmVashuBq+5giWtnkmOaDDJo5XNhdbHdp6uXcqSDDiv2v24KuLeVS
EGUpTTSIVZxDUINST8GB1mb5rqelGS2ipbf35fz9tryNXv6lQMpGJh5ZT4KKPHoR5RmkbsdItsrH
/8NJ5HuzMKNv3escmO0dcCiAUWLf/gFXA1iErXp9tNSbQqxHjUsj/IDR4u5wdzsVEOy8aT8DBwL9
pdBlZZXXydelQOoiCqo5k4QJR8wvL0b5NoBtpk9e1DkGCSKYUiTeSVLGKV9HTSKSPAzRflBleo8c
K91qiXU4PPfL3NMw6hqXrOHhjd79pQzKDyYDCF69DrVaZ7IFO3bk0dRA/oIyuZf8YtVCN9qiOvoo
eHlgZcpAvYK651Lcx/xc4LN1KCXotdmfwD147oBwy2N5svPy+wxMWRPr/tlwxLVYuk1Za1LFBSHR
Mn1Chmn3cmUnwC/OOI6RFF1fEBcK0u3HlAvHfOqh4Fwdcv1JCqqdLr0afG6FU2LedoKNGHahFfXt
pCrO4qSuUXxK411QLkcpq49K1Lj/TQx1582VGI3NjMPDPWC2xb6bZPTcDIZHXwEOwqOxqCshbxV0
CVMqlIPF0shjn6Enlii48kvvxQ+tFezCEjOC3V7vPFKHyd3MQ/WwKyz9a7v/F1Nfl7+BygC1Jo6G
0oDHGfnXvNPtEFzK5Wsty6Y+e9wItC7lvCyjOaq6E2Av4l8c9OoEKOcouypRwwonEMbcOUhCc6zH
XRqyZhOu9tepk6aTP6MANXaCEV1MRsp7sGSPgx2oFgc2zkd+p98lZ1QDPpDuEksx+0NXu8NJfMN4
lsWey9q04U+d6cyw4/KlHBf8FrC+W6OCLZ7pMLcpI21jSaE8xeCAJFkDAcfNAnD1gcVwyA5lypq9
2LqU1iYsU54iRH2V6AOUQTIIVjnlQIA/fkxWpZoEykR/vG0vm1EN3TlRRIeOF66el3zblmkFrcao
exiL4DyKip+E5Y8Ri7cM29yM3EB3wCtWN1QeSxmX+XXd1GD/biBMP4mY6S2/Tp2pFo9oUVc+sCUf
RDtxcvXrBAxxhppX65LEXvF+5nXoioI+XWTpDE4yjAF1Dx2brc/cewUO6gFok63bvw/76iDfE3rs
wMT2gs0fUIThnkMm2dxWynPxKygbQpO+bbUSv6IzTP431l8tMCK/dKWtJEDClhCegBRq8+Z8UHNz
+oJlnJJR2NpoqVweBGVfScWJSpniJyQ77KsCBwiLdl7kNx4LImXLstYnTuWTcSb2TZ9B0ISCd4GN
fFG/m7gGCQjTrkguf/novtSJsqsWfJV9ip63G+TomteEdrsCASleviXnRELnVhr/rejEzJyWxI8M
FtDeRpJ18VnJUaxydBGJewsSDtxuqpt3OeqtrDfjVvBZHyZ1sfFloNZ1R75aIFuqUJtlXZmBxOjX
bwaftRjq7pI6ftD7EWI6e7BVTOxF5U63O5DcgV4Pmbnbs7YgthVDhQlDAkhP6REBQxqLfMCqictr
iV1U96XxVWPuNmx/n08hlFqYQagkDiw/H2ql3JlvzdgJdpVT1JZo7DpL78zCYjkASzXqKp4wRi9o
KbZJOr2tzLoHUPXM/0oiFkH4xjgCMf//rx4wjS/NDyukk9iGEATqp/0g2ZizwnQVtoG+YUfhnnBN
sEo/fxPIPkVSr+sO7aVKRz3brd4xCe30LwY51BCYDvcEu0/aB41dONGD8K1+wubXuWGBF24eLrqy
SP/xNEY9+1LnOEQleShRNNe45a6bwuPExy4/s17fVwtWH/fGSg7l2hMvyXVeRrrLqb66X3YAPncM
2cN21WS1HeDHC08CscYTa1Bv4zUugNXtL/0oh+/Dpu27DnXsssQguRQVXlVkVhxGbpBhlmbMbbFt
v93OBTbdhCxakeVW7G5RV0OTz9ifTaCrKBt3PDBD61Zzb4vYvBRWIqhLIYtHbOyFqJgL7eRPCfaq
huqQGpmTFcw1ZPJzr26FlSzKRFAfj7qWqEMoSfjwQbUiHlDMgzU4iXhSpn8wwrX51VYiKWupmwKk
WUqiu9kwufJwJ+u/jWY2B+64ZN6cMkpcmz6wkkbZiIQp7iCqcZhFnB1ngD+A+fg4sXazNjrbCC9I
mrDaAOx/vLkvXU2UqkyZJXQgCG4Qed53glUn96kl7xqstZwxiGwlx8QSz3r6wFqX3XzSGQpQ+7An
x2NIglJS6MY8m/ICRumNjowbfKe8LQVpritvkZ0ClV92u9QcvPjLvFteyghbFyzUtSurFXgJ21UK
Jitl/E+64pBgPierxJjD1gXKpdiUe1DS9KgL0YsRYj/vtotceeGHMNyE5C2LaRBK4UTQtSmPUg78
i/MTv/TvbZC9/jcR1H24YM9PrZWEc0Uw54zD01Ir1m0JV6aJAj2WmDHOgp6VcLW7uYRN2QtNxrmg
WrGXqHan/pfeyAw9NqWogiwBuEg1rjYoMfMXybNQcm5RxCgp5KdBFUHCFw4/bmuz8UnQssTH4LGZ
p101kIQmCnNxqHFeWHIu50Mzfrkt4DorJ6v3aP/qItIgvMUoH0t1JavzWuNcPcPoeyvu9CKwlbEH
DmOIJepH2MG+1Stn1FlbGhu6rSXTnW6p0Lm6iSE57ABCNtZmF7KGCK/TykvtProFq/w4WYoMAFMq
91GWmWJ7nHxgxCCvDO+r0BW1PRsK4jopgkwMXKMsgMsMYMxU9J/TRCqSRufIgk/rhB3A4wsXjJip
JWovs53/zO20slmJ0UakuJBK/v1K02bGPxjL4NwGU04z/yjMgDjgUteoWd9tw/Z1BCUV8zeqDj+j
9OvbSY8wIRZ6Rp4au2wZapPLtcLGYuht29wyEBn9WdUQsOYn0ePrNXjg0aAtQi+AtznFkouAR5gZ
DrAtRFZ4Av4IzAsqn9SWetRB7Rl6xZA5Q5ViA/rnbTWuq9QwCNQFVcw9IDNVrioAU1aWVVSGXvln
9yGwY4vPLEDqkOEz9jg3cdmL9IOSR731uaZsFLmDPAGEIG6R51aO16+AtUG+dmK+Lc02yyNz6ArG
BXKVhAhgSNUlDNoZPD4ZncYpvdLycz+FXjJJkdnJ0t0gyJhwLe6RRWo1PIHFEPQxGHWpK55vsERF
xab+NYaZ0ZRJIid95BmFuDOW+GFWn4YI/3dqTbkoLX4U/ASdnKXK37MJHeKxsothwe2AfZAgdeMi
B5IKKGg6gbfy9LfM196ia5YhRseqBDVZM1tia5xCvn8SDJAxjPzIm9M4+3k8PIJ+1uHF3Oq0cMcw
mo+307VmqoJhN90ACgFlmMIo97IkjJGH6YXuqHRq4YVzDYqHpo6tYVo0cDBJffibD+W2d5a2y3Iz
K4LiayIKeERzVQ7elCbb1WIT+bNeFFbTCs9D0UcWRrcjZ8I+ChqwXWaVWRebEzaTXakoPUWof5dj
/aTPzVuet8+9PNzjtHgrDSXd7PXyrjUaHm331M1H/tBrksvnUWyDB0R6VsK5cLC768+tgd+MqlLE
FZa4aJo5DVxvSXlUmriGnsWhT+xEGRTTSCs0o0fUjMvYBxSAMw0Z8MJGwQ6j+QCcomPOg+XaqHjB
mtUe4OxK0/oLysB2X+Yv85KB46TS3d4oNbOf6sjh+MYRg8YB9MWjgQkPsLwUthIZX7haOzdheKcO
2ZuhjO2dUOQy2UEcHWQUX8ppaXZBr/8MOPwptKuKI4gYhHBy+G5wpOLH1IYHuZUSU24asmqcNkcl
yBLUJox3cQarUbjULpBd85PQYW1eHNKjGHRW07FmPq+DPaxekzGgjPh4DeAQgRcrNro68rBDckyE
M5D8vDHMbHVi8KkxBNGtJwCsSSNHBEXV86I6MoBqo5OYMZ4T1zFYIPkN0hDA8GCMlMpBqqqLRVke
IixQGyd9Kb/VtfJy25+uQ9OFCFqRWkjVVinhTQUn77qotQMJ1ZhU/yEUxuswoSCriazxH4ZadDct
n7WBDwKoVXUKiJKT+okfO0ZVdUsGZvgA2YBOqCzRUSJtcn2axzLyUn05Ib3eg66aBbZzfZ/gQlnJ
oO6TKGwKjONWkZdp1WGuZBNPdXvhva7tTW6sTCGIPb7I7dtf7DrNgFQ8vTRdRAS8gmUG5PIQ1gWk
Lpo/ApojyrxAYkzab1zNSNQwNiUIooEBLbqBswTjkoQ1ZkdbZwQUZWaD/b1COXw8ZvvMmli1ow13
IkOryDOArIVEgHphAe0tlLmKi7xOFv0o0KwUA0ujathTnDEM47p+BJ3WsqinlhbKiRJUYeyJClAC
O7tCFoqFVuzGDch/ld9kXyjzkpHx/tpwtAuxlC+PwyR0QxjHnoEegjKpZipKVnO/SKWlN18SSWHE
jo0U/0LPj4LhKvEV5zrlZaKnEWHILn8sAEuuhCZZiwKe9G8MAni3DZN1srTP9REXN0UKicX7bMnI
rOzC5ZxFPmENEDgbdr9rPMl4ZW3rb7j6+mQ/MCJWioKLXUu0FmIrzY/00Cq6gZG/sSSQutZKQiOl
hVB2kMBro5nq/tKw2MKYX4v8hJWIQM/qauohom3MBVMUhWs8Dnvw8TmiO51mNjUDCU5UGnVxatRr
pcrLKm94CJy9yQWepdd8Fx5Uk2z8GrbIGJndiJQXwqhHGFelYzuHEEYS/Z7sVbvavvvft8QvXZvG
gtYytdQGCWFkXO4aQ/bHfvH/o41T0UOduVmpEmhCkBQFrE0P3TnEaklti27zyPtYfgfSV+kGKHsw
RJPE9tYXoyIIqMaCWm8getwTjh5CMirvCK9MwuRtZcRjiepfRE2nNn2LYDUCY9Qw3gu+swMgcAGQ
mlWK2PQtFZvnKK9hR4J+zC4poDB7kJ5jReaOzx95jF4xzm3T0nU8g/APrJB+ZuLCqYopzWJP9tTZ
lB1wbFriE3ijrQGIl6zy6KY+K2nk16wcWZKiDvtxCQxEeARQOMpFLKiCzY+zkkBFozTj1IDDkJAn
aVj/xLi5PS79WUXJvlpmRnq46bho0JOHFjYh6OWEMOJnfekgC3WPaTLneJnP2ViVv/VFCqw8CH7y
fC/5VTSNd8FUsNq41/MJxKOxoSZq2I2AeCox6MZAbAs5R5SqLH42l2MdmrVVEhRa6VQrDvd1BiqL
aFdeUrr/xm5WsilXx2jsFOZcQXKgZleJwEoZTPHZAOBFA+aLO1ZzcqM+dqkr5d+jMvcSnuaxp5h/
wFk+xvYSzRzdGa270dewPjH9K+/4S0usTFzaaywrdRUH0FJ8mC0dpClDAGBjwTO8Zt+UFitJ2Mhe
UfzD0IeB/QlMnFDGi3u6UXLsqXpj+6jo+yVqfIPPdoxPR8yCDpUSL0vA0QWUH96Cl0otSTCjOpLG
nkaaMHzdHGZl6UwBhRBLWuSvNToYwPiMvjezKFpAbXvrg/ypSub7qZjPtRzbYZX/UBMOjaKQlZix
fhwdIYCrhv46IoTsNbt6D24TtNmdVLD1uz9kpP0Bj+RUM7GnwIpOmzmahG6hImBXUIZLX56M0RVG
JQhw6K43qx2hfR80M5TfwC9UmmD4cGZfCfwh3LPap5sZDtCH0dQH2iw8mXJluQvHoswbfHkrw9Cr
XyMMA6n32B6RB/+bGTSEDjSGVAFrkbAEeiOukbB1FQuQpwhItovolC7TqZ0W1nuCWOyVra3kUJmb
og7zrJRt7MWvky1bIHsj0al9Vx4mp7Rnn+cthnWzJFKpmzSFdZonCBQzUJzAZo/ZN0gkK7v8sfPA
yfb8HwVS6VvWNarcjzhK/qGzm2eMofwCimwCprL+GVAAmLBhRKWtS3T97ShbqdNeT8oEAkXxNAu6
pXSjc1unzTi0+mpUcG9qFCFCtQIkvnau+TsRrs6Fv27LkLZuT0mTeCD7GrqAp+2lswkN13NiUsde
hN1cxawWJbTUaRmcSUyAKpQCXTlXRvADVyNwd9pYsHNUr6xBbVUrrobJKpaB7GhoMvbZGsVOxKK+
BwzfdB/M4TtGxiQHHvXMq4Fkh0XEOeqo8g7g25OnVtQED5DiqsmJU2ga+sRbEjbyG7xjUPStezPD
9reFzb/ayTgNwEpKPzhKW2O1QMzl2epRcnxRA119un0oWwevYVsILUj8R5Sp6Fd0c5sBwCX2BqG0
SQFTUUB8M/MMCxK2zl7DOrRCchcgIhInWuVhicyFfDZpsde8q41Zn9tH7R0wR6CpV74KX6UH4JLs
ygHcBJUXvcwaS/ymmivxVFQoJWBoqS3Ek7lnsBd6UwuuPYJS2ljgOFd2I2ZI7iv7XxzuSir5VSul
e/SnAN4FqTx29uT4h8a9BVLGij9b3onBAww46SruEnqzvTOSNqsN7o9uXeyUran4oTOY6RGgYAMK
4sjHWK/8rZIUtmD/kqpQiYreluGoa5CKloMj5JpwjON8X+rdIx9i7VgvLD7Nj+SVAize3kzKHITU
xiA/3j7iq9/xgbMMXgDMy8pAa6BLY8ooNwu2P8lEO5YdUPT7nnodrk7R1lLQijDHj+nTpuVRDpMZ
QVUqMeTpp+BhPJNxpwYgYSqgdjHbCG5KViLKEkh5TtuoQ86HEFiPX+f0Zyiy5ravZtVolcgvWJkp
4F6lBTDLgH8wMatmtWaG3fHKztASiMykMHlQXqDuUdqh6GDWqhcBZWAanGk83/6WLE0pd1mWeQgw
joRPOUvmEp5qg/Vop8MArSl1c0pZqPccYYuKwU6FVlPRdeYQiwyPZOlBXZdoPII6iMO0bTdOLiAC
fkqLdn/7qFiKUPdl2ORak4cQUU+o4eToiw1YfisZzsVShMpOB/DK6hwQxl14nivnhlljo/q2IleL
kNQnoeNIstShnhF/IpCxnNli97g6gDQXqRoL0OhvZOGZg3kboJjT2TYXcc2klEB+UPnJ4kZc6NmJ
1w56hiH73hKS31PzY+hyZypURsXt42W+Tkv/qPmXaHqKJE/1WpULiJbu+tev0u5wGNxqp1oLeFxI
6WgeMUxMaP3yXebPBx2I9HZnTY6VmKnLevVtf9fPH0MlQmk4TXUJyoCPYemYX+xZe7j9Wbft81MC
FSXDCj18vYYEpbwz1D3at2be/74t4+oJQ58pFRl7bagjDeYDtuXanMChTgCdMQBnFY+AnzNZgfhv
zMcARCFoeAA0QPl1BP5Nvi5IfBrHB2NJnrh0eZQbQbCWfjkJ2KgxRT55l/u0sY1UdIIoeGOoTKdR
f1T+/AmU36sCN9RLBJUbe/4YNRQBT9eZzdv00+BNMu6nPcy2GphDaKHkiaGaqbNv/wai5ZUlg24F
E3/ogMOPLm8L3LWVIIf4CWNSFpYSjK7aNHaf8a9qtfh6zrOC9vZ3XkmkojYm+nP0sDGnOrjpY/6N
kEFrDqZGR5sgnKZ3LPcgf++WhtR3LrskECcyNpovd2Lh1Nl91admw3o4bvrISi3qW/JBJY6BgpAw
Di8qEkQAMJl6NTu3P9emr6+k0DFc0+pREiFl0oAyPGFnP+kZb26GCDqEzxh+VaQeItIBG3284ouZ
wdCC8UkUKmItsVqXqgyjG3jdMdQTH3pSahaC7t0+rauCzIeDfR6XQgUumY/CciLj7HhyOSMQWFoT
m/hkYaC2UUAYrLa12yd2nXo7uKwEU8FMLdMwVFoIJi8U8RfozB41p9yV9lAyFy8YLqyQD7pK+MpA
xNbABFkYx7PANmkGNeh90SLkh2jH6qVtWwfG8ICmo2J8jVIsaUJNkEtETWmuMfb9U5xYOfkVVvmf
j/YpgtKH7+UxVXLkKfrXD85EFGd1y8iwQRdZcWpWP6MvBB86dFCB9Ax+J2FV8GlwFodUS5gvI6LQ
dfhARU0xMI+NXbrL021SbuHbhFwTTv8KaioUA/aVEz/nA4hrK6DDs2p52yf8KZCy2ViI+HEGZ5WL
Y3ZTIBIAwJSRpm1bzKcI6iMOSiHLVYdtklFcvs2hbIt8avFlYQKSdTcAdPu2G26K0zEmIpCLFvXR
yyNMcjkB4RxJCoWHdPmWla9SCC8ssRqdNYzQss3G9imMDl9pMCs9hykHAKMjBf2Av/k+mAtvlSMq
ouSSAYIuVtkt8avw5baeTNmUrWRpX+RKhU8375P7/Fv92mET2we2vrOcGwAKlWb8UzhV3nhgGQ3j
iOlAV0wKIE7IuzkI5tmctfZx5kPLGHpHj4RTwmWMEa1tJ10dM2VCjZQVYcFB1dFaXO0990F75SrH
hERX4IeXqWmA6TTd8UfNa++TB2WnvoVP6O63yIBZY8jb4Xb1a6iQISl8wMdk4410d2I/e4q98ki2
WytPfWR85E3/XMkiicAq3IqjHIqN/KE5bwEMBQOCE8h6YtSIJWt8liMzjUx0kxhiyZ+9ikMrsVTa
NGKsWskNiCW98TlGKTx6KrGign2Q3B2RHqPwhbIXK/5tpqgrscTwVtoWEqcuM9l8m/f6XvC7Q4rC
yD8Yb2GdKpU+Yayda+KKxAhLM4tnQomp26BAwqlWZnsvvv2rtHClGBWUJMGYsZiOOKGLs5tpWAhO
+8Mgn3lmV4ihGk0x0iTzCEhO4psvy1O1wwUCqj3rR5Bh/5rwxbJpU7Zz7E/l6Nr4NEhzh+sMKDr7
wZZcMp00JyBymizR7bxWsFjx56q/+nFp6yrKo9hZuh4yW0K+ErUQq2DBaTrGZnVHXi8lKhnO+Vtq
c/bCiLVX5DS0QMpgWl3IBkVA1kNIVEWSGjjqTjgYTnHIvcZvgUGquqLJ+6MPNrgFmDosnbc98lNl
yoJkuS2nuoIF5fV8WPr05xIoJ30WGeOC2wW9z6OlZ80Kbs4bNBV1kONi3/WJjAw2d5O/PE4W6FqQ
gZRH0tokoNHs/Id1zvTc2VInY6G0kJ4kujkLiS0uI/o671Ma2e3wPSiOsfgYZoWfAQE/EjsbTNto
O9wbxdcCw92DDByeGJUg/tAIsTsFiI0Fv7sdHLc97K8vQQ+pGVU+GUsGW4iAiDEL2IlLGeZ2tRVI
mdsH4MIqDk6tiKgffyT0JPlc/MHXTgR0joDdym6FzmBjEwJNlqFv3+yfuhHdV4JlORCqmWzGpmCb
mgAm0FcA+8lNLF56UsLqcRCvub5lPqVRl1uX6JkIVXU3xiZPpfYmRv/sKdmX/ROvf0kCFjwz68tR
t1oCRLFhKmFdQX4fIonoWbyyxAlvKUTdX3os1coMxgYAMet7wgAigaFc9FlMG5sv2pWPUtEoqzpj
Ehc8mg2l+90bYWhqegDS17gGTKDydNvct7skK2lU5OETlRPiBqcWYyJulzsBuLjy96ExRTdzjB3H
SPYYytEDa+IcBn8emGEt7tOwt9rGH1XJ1rjauq0ZI6R+8CaujF3hUlQEeGIOo2zymCFW287CGgkr
mSLZ6ZVVADmAoCZh6ZzeJsPgEzc0E6wiOVa7YE9A2HSUBOpj5P+TR+SmleMRjlapBqZkOoYmgGhV
KxGXI5gozbRLnKDonNsnt2nnKxHiZZjo4iRbeODzgE+AvDg6H7woIPljZdqbH2glhkr7uVxNZYXD
B2qAFakGGmLEgKaSaN/WZjudWMmhol6r5HE7CjixAtTsy46Ugg1r2IPxDvQI4qE/sOoa2z61kkhF
vgHoWhjGg2YRsIH5wHDx3+8Adj+kLe9Go3SI2t6tB8OdlfE0p5E/dg0Dj4R1uFQw1AouM2QOSmPW
es5SM2h2o/j99smy7ISKh1NUd0JDPIxLgMxavIfqMVSOMla8gv5eAgiCNny5LfHDuq+d7dP6qdi4
ZNgOmReo1e+zHe+Ue+UJjAZ4MKIqZg1W/GygoMKdRltwcvsfDGNvO/unfCpaRknWJmMP+YNLCgIt
OD4NR7YJLxvvYxmBEcM2o+WnIdHRUq+FrM0meGJVAgaldIrEMPv4m1S93D7Xzat6JYcqNihDk+Sa
RAw2F8xSyLHOFlhL9bvjfilabTa9/u+i5l8H+cGCtYrO4gRQrTHDQRKCu/4b2CAxXRe9fbBAnqMH
1polwx3oacaxLZUk4nCQmpqA0Tl28lb3a1Vybp8jy/MlKtYMrZCXDbEPsDqD4EYGSJSO0e/RBqP3
npUosL4aUXp1hrNR5EYyQKme39XRLxE1oRDkUXJm91gUneaAAU17hVz3kbiuzIQKKthW1IU4h5mQ
jiye1bjqAjyu0xPmfMHl+cY5BAkMFGFebEen8RC/9X70tfc59/YxM38IFXmMUAPfE3khyt7scLG5
gBeDCM93AqI7ek0fQD7xCSd/7KzkYTyEeNtMmMNndG+3uwKrI6EC0pjj7pfJJVZmZnlO/fihOqA+
b6Ga/Luzoj329U7MqjaZoLkRBT/G2VYfHktJU8/XH+o3O/SI3ep+6NAj5qwRhUos6EvfGqs6BZbq
aHfNiWV3LCunEQwb9KTUElh7H3aA95hV/uKcwSIT1/MbC0GEkfDQYzwGplwEo4GwKIx+YfvML0Bk
c9ueGGGWHnWT9BFb+iRD4CrdrLGXC5I0y1APIDtmBPTtasqnvdAYhXxNqH0liCIwYfU5Iht7rrwj
q17CK+//uwrjSh4VkMZMUMOafCpgOdxNR652ojvOku+EvbGASjl90hKT5Z5XywBUnKAbwXPC9XUx
IzBNbuB174MdfcnQY1Hv5Z+tazxUj6pfvRg/b3/E7erCSlUqOpWBrHdt+nG0zRHzvXCI+DR8cDmj
ALib/NZtj4kvnLIHY1c61S/lmfELGH4pU2GJy4VQSDroTT5ufxa9wJNBxqUD2CvfiQK4z/NnAnul
2NM7vvV/jEUyHYskQPtmMcQTem4VkVE6Sj535lpTfeLdzuore/TFx9tKM5JAuiFTKDoISPHW/7/H
AudI3gd4sXdbDCvQ0r0YteQLoyeZ32il58FVPcWFcmQwvcSd0wKJLnZZlASse4ZuLhs6NtjF4UM5
lMvuJXc5Cs9owjrJl9whzHXROX8WgRineNW5esztGlmox2Ze/1iIuxHx6Z7MGKVJb/zJO/V96+Rn
QzRzpMChP+1SJ/UJm7eGqVX+WH2bj8HbuJu8/Jm3Zf8f4MMwkmCF/PvV9RMPIA3Mwe6IQUfBDYGy
Gtny84QKNPDyrPiO1TbYboV9OjbdlK6w0vnnnSHczQ4c+4SV41P9wjmpFX2rd4olf4/vihPr67Me
jgqVX4k5CFEAloDSyLfJjrDHFzrSuXPwsCdrEMzeO+tuUKgA1nJNBrw8+O+AvVLDzcDviqlof8LF
CljuxGJ2E1gfkopXQdlKcpRDwWRH2D0qlyThyxk9DD9C7Yf1miF/7pYR0/EpbKOQS6GfkgGU4ht6
X5ZoWLUcmk3KYkXfrnSvjIZ6qYlFE/c1gcvrXECIOAAIIbuzaukOpmz/AawloMCxLR/mJw5cyLfj
FSMs0o2auI/FMplxtPNecivUCsMd53UeKxVjiaEfbmM2lWoJMZXA2UXylBevRTyZC8FY7r9WwXlh
sWKQhOHGR1Sp4lCrK1EZyThXscQScsmbA2u2lPXpVCq+FKhvhTFRivMXN/arZ8JomQJveDhwFmrk
e9Bcg1KeP4DFW9oxUyaGV6jkBFbhbTKMaeQJEiHpjmKFxgPc0anwCb+06OtnVqef9QmpKDNNodjl
5GIrjsFeAr0OtgiPjcdKo7f72p8OoVLRZeQGHa98eF+IlED7Vi0/g+mtVhNn0R/6As1DzSqFyBM4
lfXWZ5kMFWZGFWyXfAINB5e3Goy2NoUZnjTgGwTm5AGxig0XzRJJhRouy5S6iCESSMp2YTT2GBTu
bQ9nmikVYYyyGeaQPEzIfkHqLIfhe+fnTuSGLzGu4sAsbeNLegc2clfbzYy0i3VZ0HgwCieVZU1i
d+uoe9lS/OkAKG6kmIJT7OcD66FLrOOG29NQMFFbF7w+wO3rBa/7LLTLAAWOtDFVhXWwrFSPZngf
y17SAqIaYbUHbqXmT36MFMuRS7NwUjvzXh9uf0vGzUTjfo1FHFULD4lh0QLVscY+12tlHCoJWMDG
r9uyWK9njYovXC5VoAcj6rnFrnInX9wR+HT0l4G/ybpzNw8TML86tjRE0JwrlPMZSZlxCbZE3FxD
kw80msMyWXoWGaYqjQ4fA5t6qAKrEMZ7XenPY8vbnRYf1Hp2pjHswFgsMuKBuOWc659EOeeMvx/E
ExlvRRlJtircy1Jr8SexNtVf4V62gVUFMpLCAacZCMOjQ3unvrUDe9SH9UMoD+6zqFEzAT9ktood
B74eS/oufvkxuyAC+9U9sLOCTa9dqU6nBQPYjI2iwNcgwLoVRlNIxiWcFW9xEjP5yhpM2YxRa3lU
fgDIfClNB7SaJdO4q37Ij62jlWbyrLjjKcKaPHAPRsmKVLM4kwlE9mPho81GB471L6DyBT7qxHlo
cMaDK7mR1b+QMlX2VPnja2Qtx8yeDrIdPrTuYikoSBSoISlW96q6iYPz/8ntpBFLeAwX3Ipm6x9F
ZRhcKZRDKeFHdfb8u57RHQFOB8B97OCLvKttTj20z6Q4IvyLQtNaLuX6RVToIkpYGACV9X3dETyt
+L7iFFeTRcb1tDllsJZF5RVSEzZ/xrvJHJv2LjrpQyECZFy1J2yPSC/VmeS/3D2aQ0yz20qh1rLJ
+a9SqEGYR4DLwcyLGPkhNjAwb+ugHHkiHWYMcTgo1DpkxVOEIcgm5/HP/2CSj/UrqNAnpFNQq+RX
jHvdE47E1bCj5sb3mJmy2aZOwtYtS6fC2jTUVT+JmOFJ8xmDRGLvAv/LMuLQbY0lNwW+OCHBYpky
SyoVw0K57CJ5hNTWQa3tXgOys/Ko5KCGJouHHYoRUmER8hh2N+xvogvuFRB5ghvko3yy+sxI6SI0
vpEUIHX1JBtpXfSE4qI5OBpe6cNB3HVOv8tBOmzNnRk4fci4Sv7GyD9/AW1oTRNjbQu/YHjXSUXo
oOVm6+YPxjm2yiNp8GJ9IrRlAP7Ub7eDCDnY68/9KZqyrkoBpRXgLHV3EVBmTwQzDx/4+BABi2MC
ztBQ3DcLI035f6Rdx3LcyBL8IkTAmyvsOM6QIilKuiAoigQa3ruvf9mzu+KoCU3v6h10UgRrulFd
vjJXQwcTTf9/LpxRsUopUkOmfQ8Rs3gSmhxA5aUlCVCfbOrO5tGTURNx7YiMbglgCQgBkQPvMVvY
+8Rc/PTchn/UNLs4FdvlBEyT0WOSAdHXcTgUCIiWIN/SgIiGetyAaK1IeymNcYlWmoboXUBassUU
KhbsKIsLHggX5OoDMjUtg19KYlxfNfa6pAtwvihAHBWUoJWg3ZZ/OD14KYhxZ3ETFv1MZ3iSBIBn
ZiZi3qrMd6QUX67rPE8B2f7mhF50ElIFpKVH9TX2U8c8yX6EcI343Eycfoor+qcwLqwz60bWF5xr
3uk75OFbmG9XCCg7Fq+QwlF1hTEkWRhV6G3iYKr6EAmFN+uNI/LQGldbFJcfirEZUzoCei+GFPI5
fR58ig42v+FwqNcXfrcP/dnX7toDwkHNTsHFl9zFHFCb1XXTy5/AmBATsAOD/lfrdPSaB22bbVXk
j+UObtkpt/OjtAkBAthipwkP0KduZHQjZ7iJvSGI7nl1srPGXPvGjI2pam2hzXnaK2q2DfomtFyG
gXQ3BTUK8OeCOuj2ZaBjxkLDTh85JV7v67YC094BFax34rsO7jxzeONJq+Xfi5tiu5xqucyLSgsz
lJtRf8Y4YY5Za4SpO8XRN5jPfOXFTb9JD37ad7bXWZM+q8HsCfseFFvNz3coKmw0j2y1XbEDse7D
9ee8unlxeUTGQsVtVig1VYYRCdDktnYdgNZA2ecA/QHK7K7xes2RTxSCrTzN39uNclK2wpY8RYVt
cCYDf5MWvh+esWLh0ApCvKBARffcph/pTtRty5eQNJBdFKhfE193yUNsIU+oJht9S3Ov4ctbbsrx
7B8YzxjDrTJhuhWSvx2SuNP8Poj9+lNLUcWeitsO/URzW23IdvDmw/CtuzE34pMyOtyHyjF+bBPV
nOsh7GhTuvbKjXEKgwrD4TZ5xOwKmAb2vW8F8xbj8Nv6JLjaV8HljbFRY3TlZaqMSYxiYYZRhPWN
ovkTIszR1azs1OvNVpzk50kceNHNerz+rgCMdWybUTJaA/5y+ILepTuYdnnToO46u7AOWNYLeHdM
T3DthIwtzIW2rRLa4BGzN0v9Bi4keyQ5GGU5J+PJYWxcIxC10mkzQC72JgEsyEhsoiU2CjacR8QJ
StkuKWZrWy2iwY2ZVttWLr5PZHBnIm9y7HOa0hBMNcjr9P9Klcs8GLZPSsyxFJsKT3c0Bhvograa
c/zW6kzBhaliO6CA7NeMiH4rUDjdUOPYBummQOuxAf+htCu3cf4vtsE4YQHb6hQGhPgKzS8ykIOF
au024o3Bq63yAkW2wRkZPRjBEtAEWTX6KSPW4OQXa3AjgG5HQmyP0704y/ZY8EhgeIbuQ4fT0NRE
psejrY7mNntJP1U/0G0J1FvE4If+ILq0JAMOmiMdqewcYatxt9E4ATnb9pwR5SllTduCKFR0W2mj
n8FSsx0XpmHVolE6DguVUFVikeZyApDvjLpXWUdiLPWbvB8fcgL2akXfYevZUUf6lQenGNNHgAo+
kb7b9cLg1FhlFWzZQA92mjg7OetO/+JXMd6mqwACo1JDHx9E0EpOP4g3bGikGy/2cJMFPLu+2gkC
pt7Pa2DC6iEv1HJWcOES+ZQ090KzI/GdpUR+lN8aY4/JJws8sLddLvDS9dXndCGZcSlL0vw9aNV6
InawM3CKYf4J4SYdkYyc7BuovoLrMQ5PJONU6qxNG6vB26qM71kxgyFltgXQKVyXsp4YXZyMcSWD
GvaJZuFOqe9qEbGYDyAVOzY2Ci8bnsFYHYO+/IKMQ9FTSRTqAiqjnNJjfIgfhm35jQCsWfSbfflF
Qg3dPJlorzXOuB8NW9peP+71hwTiJTjWi8KPOrShgSgJHdpSGkCHER0XIdslRhaYqfpZbXVO3fQ3
B1YpVYSKOpPJxIZqV4MKZMJXNO5pMTEFBSUgxYI+QlhGHsODiuXAyFFUbO1j+OW7ccsjf11P3aT3
X8C80raopLYzc2oqq4OJFa30yboXM/QMqlMeiLfGUb0fPjeeFSRHdPoxIMILS6mED9HKxS9gni1q
meOcFriDKa3sIb4zik/Xv+r1p/KBeSxqpboaacBXyjfK8ilcnnSV48bXg/yf7wTAgr9qjqzVUqJR
N56cXfiwb1EZCW/7oH8VgBRMrQAlGU+AKpZ5AHEv/dgzj9zcjndURp/61Pg7tqVdCXlHnyxgTm8I
pmcpyGlxlDc878MTySjQkiv1oNHhwFBHqUR70wzRiXIeZsF5cP6jlvxj3DFFz1wwRgkWCciNSOkA
TBvIZ2NU+eF2vBFrp96hx+FOO8NLsW1IHiQHPIR04zP2xn3ppsDyAoMyCGLkPS+5Xa8WX3x6xviX
caKbDd3+/AtMLgax5FbIbSDJ0f1e6xEQ0W7mxTqS68rRlU3y+EcDT+92UxYZZxCFgMk8T98OPs0w
Er+BwUavXkHnCVajso2H609qPbS7ODTjF1IwrGHqCV+d7lJpe9pzS7f9Vt7welo8k8y6BLkZu3DC
wyrl0svj0FWVz2QZnSk8WjxDsV4aeT8Vi1mWiYoYRXRhGqdqMYHpzc+0tRfS3hm+a79LPJTBhR/X
L/M3Nvinbp8Dmwu3Q1K1y+cKGmTeTABBPiFaPVhwCNFe2eQOcQiSDyxaHIfPwh18H+rH/C4P9+yM
BWvKUsAOHr5o7S1fFAwIlTfhD+1G9NGvRhlK3vMMx3qT4+K2GWNlloMIuiRIJJnd7rov4R0lFYju
uu8Y9ar2BOMDxbG8FWNb5NJP/Mbzvt85Y7Z0jLgQmcZPdFEnxhI+ptYtNFqA5xREiDjo6ALu4v4o
3EnYgeIt7qwmtBdnZ8xZHnVFa9Kl3mxLU4Nuo6FWn+x4xmk1Q78Qw9imbEmjQR9xxU0CvjfptIyv
DaAswzF2ruswJ1CUz8OuFzqspeISJhqaktqJ0j9TwLIUH/Av8Ib/1+CdVetCWlqWhiVYsAqtV7m9
F21odbfapBhG/DfLqetZ+sU9MlaoTwxNEEPco/mIvm/+Kd03W1o6M93WjxOcszmWp/iVOw3Fca5n
33Nxzk4GQ33S00f5NrkA8cTWlXVDSscA5gd1b3qL6dmOxzfL+5jnx3MhVsS4UJnR64WdRViq46Q5
VkvBQ0fJrTlBN31pVzz72TpeCJsNbKlMdDwYmM22KjV2NL1ylJMngrE0VdOr4BrEeTQ725o3i1/c
pjvQBL1hP+ULZUP/I+DNC498jhcvDlUWUqENtMXTfJF8ioeVfcdIPwX5fOK2GqhlvnaBjC1po6jN
pBmmrHxbblsPs2WgGDG358bSLsQejnwv/6BMSB02CuptYu/opHfl9BvlNjxWWB6zXN4FrE72X14A
Y3lU4I0PIQ0QWk/xhcPo9ADEfDK2PSrygOGkfF451FjZW0cAgvc+XXkYPGtnfQ6/j3veahlPAZgA
yQyNRjDpINwiSpFdxlVm91HBUWSOTZeZmChukAEsGo5M91T+2i+nDWye31y3CT8zNha4JuuLKYdZ
wOQbwNXbrLPnxbKz7OX6m1mPu96lMOHAkOTDKNOh9nZKvTI8yOSTXuDW0C5CRc+9Lox3JOZ94m1a
I/Y7kUPMoA+PJbtub8qQJ+U3Ic77maiWXDzKMM/auhWR69J+HMXDGbFfHboGGMMlr8JcHLcpv/40
3yUyT5OUkbbUIQ7W7wACsymw+BAdevQg839BL7s+E/meSevMm1uivstCgZ7PJ8fFXR6IZ26XDbqe
vvhFPmAiyvzEPSLv2zFPa+qNkGS0zBkf1F3sNPf5BojszgJ4j8DaJXaHPQ/uxa7HNe/3yjw1xSJJ
rtGaQV1YjgGc5qn80UrHBnS61zVz3XC8C2Icv6bnRteCjtLPMYGQhJ5Z8PA8fhMG/xTxYeKZzEWa
xPhqo6Pu9DvhpByK+9g1D+AhTt4KMKIZGA2g9baKx8nOOR07/TxolZoBFQj1Nu1FKdCFm3m4hpwP
xc48N3H29/0VHZjr2h99+DiRB3H8cv0z8Z42O+k8WVkVturZ9pbHigDBIPPTGxU9/oE4oK09zWBG
48jkaD478GyRcZzac3vjvv2c3WYgd8DkqRdttWDC6FLq8oF6ucrCGBQQpcZRT/EvZmzJYWWOcrB5
6S5GfLbcZcczkw2241BF4512tZ3xblwMxrjMYTeZvQRdkcEa1GNoBU10sL38i0yUYzRZ1GlSlGHf
UkmTbwZoHNxTEIzWF4L6Kx+86zex7vvzY0wJWE8mAQEUxdOpT6Chn3LAy9+249c5rOxJeJiy+wHF
YLkvglZ7vq5CPA1irMtQNxOMF56+Nj2B79SxZhl7Yxwh62HJzwOaTFFbk5esBQkyLU3+lWqmW9UX
/9+whAWBDUNB/cvVGdZzozzO8ptVck7CiUlMJibRF4lkPX3kMwHxxUPfz66k7cXwu4p9u+tfZnU5
03xXd5NRdwTUk2yKuLXhJb6dgK9TH8eAzuvQfanZR98y2WQbvj7yvhbjTmupMuKetpwTTKIp+w5g
XIjWg5aDYM3RPJPReqCGZOIEZHMf/MEeKb6P0mSLIRfInGP+TUbBQwSRikahPOJt/oyVF/1Ve2ox
GO3ROSxsZI0H+VB844/wco5nMTpvdVJdjikeVjJHpyXNPqui8MmcdM4ABMd/WtKvAWWXGuYo0dTV
rF+67lWcPnO0kGMKLUbji9HItIjODv1NVIKinOW8UFge4v/R1IhkgKoIKPcfqRabuBFKy6IaD3x/
Im/jGh2vk279UWLxUww7FSuXqqJ1Mj6NHKWO0H/ujdYWprsq94GIyLk+ev8fM+N3Wcz3Ibqc9hb1
JLRKXe5KzLkRQKmgKBWYHJSC9Xf7Lor5Up1qxj0xCogSrU1ovXXyJ1N4MZVHkdIfS7cJmW3O6daV
410kkzVpYtl2cY7TYdnFi/btY3yGL8WE8QGYvv/n+ehTuMidBqPWpoh6kb+SW7DoIWfig9yuG4z3
MzHxjaEpciTRypO63PT1QVANO1u+5ukD5+7WX+67HMa8F5VV9mWCh0WjmdZB09XpBds4I2yJG+Fg
bXkglb/Jzt5FMpbdKAnRhQKKD3JFcZc9UAiNBB0i5Vt4SMFCOBznDa+9u24H32UyZl5v5bQkFI6q
Nr/I3eyGYHeLEg4m229CqHcpjJWXBCBiijVOliJ7d4dtfWM+0PFauoqDxrXH+XacV80OsGZxOc2T
AlXshUMp9bbRb/Xyi1aIdlGBDqQFFcqc2nr6WJq8GZPftA1+HpWdZB01MIoWBfSm9VAQCaI9hd/H
vIdb38i3oa9TzI7b5ibbKZ4IuFle7ed8tisWjYX0GXSs3+vR+RkCsxhSu320k29fMHyHQtBozye8
S2c8WMfUGV86b8agE3FB6PkkB+Nbue9crCr72bfQa1xgByBT2Gm3tcer6XKeMQsHVNejKAj0mmKj
c/LE8BZttJPpKcl6TqBGNfjahTB2KdWFLi0olIme7tJ5oDMwtgZs0Tr5PACDtuRNxHBeFDu+Koj9
vJg1PoBW3wnWXRg9L+mfef13JWOMU2tUUOYZZ0q2FTZpKSALBcuge218iObf9DbepTF2CViVQ2G2
eL3afXeYznMoVKHlB1TFHBkQ8bLdPPIUmXeNjGEqO0FtDXqNkvqqgoQx1d5C3ibTbybQ3k/G2KUJ
6/lEGM6PpXqo76ixVe3CTn9gjAUtVF6RmSePnVI1R0vIFzrNY/XYVksfO2yOZeXXAhPmBtCvj5me
+uP0rMW+ksq2rHGGZHlfkh1XVSVJKyVaHKix94kRbzpOhDmeeyuyTde8xxbEYUphDHSeRV5PzH5e
NDvESmmj64FeNJBsPpkBlvaCCaRmaQoMSeoGGgcsgafqkTcwxvHi7Bhru/RDUVAvboKFO68dkKLw
giyOJWNnWEEVoWpgb0cB8HN6RCvslRZbxBF7iEqDBU9wngcwbd0jr3P7mwmL9zulL+gi4CrqErVq
WpcYWsWZU8MhUTBND6OC3a76NtQaJyxf6+oLx7lygkp2anWpMWAqGNChtr4lZW4rw2YRj2GTw82C
jATzafMmy+57sDULCu+21wd333MQdqu/yZQsqXrYIjXQd8KX7Gt4Vx+BAwGaaOLUipO9jXR8dDqm
YMsLHeNe30cYTuDcAcenaIxxUrs0FWaadfVOjogmd+bH4SDelJhK+E63QGPTTb8ON8Rv7/8QFgpk
vf/kYRpjtcKq7nrM79MQg46DyG/ZDxXI/eEtXUEtD+YJw02FK+55LTuOSWZ3+IVh1NVkwN3LWWvL
46kFS3ZhcNKI39RVfp6O7V61mgymvAl5Et2GkVxQzOPr0vZyFBCwt1pvhVc5QHv8s5Xa92tlAX5y
wxpKkU7o6TcUvq65nzq7w4xWgRKqgGUg8Qtdq83vE93pSqf8ztEpzrtiwX9iYha5CvoZVPn/QtiF
N7pRXQtD6Fhz4SS+HKPFQv2Eadu3QwxupCFtHauJNkZvOnVj/AiVnpPO/2bq+v2DMnYq1Cpsm5Dz
wWaMebe28tRtpJ14oGnU9UvkaSgTFwEuUwsH2r/r03sCABwyFU4eZf+nydeZgAjLmUmsUwAcORgO
4wL9iN3+K0UXoItJQNEEicEI63P9cJwCgs4YHSKVjSLRhcFiAX97/KimYDnEyokifsFxx24zEYMj
kuM+dcbSqFIkjn2E+2zy+DQm4b6M5eD6qTgi2ObWkvYTiWmzejBeIvVHr26v/31ezMW2sEyhiohA
J2TA8+ORzQhieOI8Ydz1mcLO8PJpXojF9rMmFU1WI8eVtd7shdjQAXjeYNjiS3vQwXBhehOqMc0N
jyiYK1f5NRowssUU0SfEPQIisj5SIvG0tkO0BmXkdwVKWnRljtv04VgttsU1i40xkxifr/XaDEhz
EqK6JRiBx/hvxqx+M0r705YYjC2RwwjUZHQOAC/PFT0ssDzoAQBVtsU23SQnLG60sJiUnqyKMFnB
W5bm3jJjYMYunvF98XXVIN8nD9ltvgGQC86sn9ov+TbBdmz1qHCMNceqfWh3jWWYNrSBPmWnUd6M
dWErfDp63pdkzIspSODezCCFglvKjvFkfKL8P/VtE4wbXpmEY8sMxrBMYt4LBW1p07orFtpQLKST
MNxxd6r1V5J/trWFlQq1z+j30u9MLHtT2Ppmb94jQMKMbPKNl7TyCl1sj0sr1bAw6eq0GFTb/ljd
d0+YAMSu9ibZ1d/z7xzbxrlGtt9FLCUTCS3wjk7yEO6Q4DTI5zDt/mp+Fe8XUBtNN/pT8kn3gRno
cYRzFIZdTbG6QqoGaljjLVBm3P6m29RfAI0IKjWUkzjtKE4CaTJVnC5tBm2inT1lqEHR1qOSd5uo
lS2ZX/WBFwqeWwzX1IYxM6oyEyy9IAalxHzqcXQoxkofYLLbq7wktpvtfCQ7C00qCU7fJHZ9nwUg
p34+T7P6vPSZYwA+tBoTYZTlEVocz6gNYzxNeC57jpHh+GGTiWkmOQMZEo3SxOxen+8Au2tz9IVT
lWU7imJfV61Cy0jJ9rzTHSyBtqMlKz74G+9dMOZl1qpwiFpoS9qkdi2f+jG2u/mzbkx2pz2pmDTR
COf+OCLZhqK05MUs0kqDuCMbSqFG57X5s328cIbtKIajpgm9gO80OxQ9wwSrS2C6dD6tCzAIz+83
c5SP7TAC7XEsFx0Hq7uDVChuAWynZPlyXTl4QpjoZe4JmA3o+DRod+1B2VhKYS8DZweLe3eMEZH6
whTQAaAuDmuv93WQO/2LeYbUyPGAeWUCXi/AYsxIJg4DkWhMRkNP0Zsw24rYbAFvQAKyKfLaeJM3
ntLT8+xXn4o7XrTCedIWE6yYCRGluoF4tX2cdeRd/cP1r8bJIi3WZhhyZ+h0hFea3uTuU5acEAw6
ZnJ3XQyvMWYxoUkoTbk+0XK3GDSUHbXyyxvUXE41pUbsMJ1tbPMT15fTv3rFCViMEenMOFNkahHV
oDyaz2BICN2X0W+eS5SWZrq1uyswXD9y8bCv93Akkd0yla0sJLV+duuDa74BrynQb8BC+5Z7mOD2
Ra84xU58q4JHOcFcdA3ImBCdXYp7hon/p3kDMM/MUxZ7eQOOpwNgy6P2WAW8PtvVR4ufyTTP+xyY
CkNFgyvhEFmNrYmbUuW0Dq+aVcigQchFkVNIZbMraLWRBorKJg0aL97kwJXlqNjVtwI5jAEqQ1C8
FDM8fucPZzq4GDUfLAoGFKQvAyIjD4LmeowBiYwxGjO9ExI6DE7rPcNW2Y8oiQ9oNU/AASBOtMmB
TFQDElTysl3k04VqnBw5nILRjhBw8zKn8nbdXOEXMeZKUFqi9QTfk5qrgeLNt3exjx11lJdd6QZQ
NGheii4Q10RQZ6iBxW+QXA3z8BMYk9VVk9BWdByaDhEUvgRg4c6j/1SftmQsFxYALS5e3ei6hYFc
xpJJoQREhOwsN9qk2JAcH+l+dbcrH4agegSM8Z6ncjyNY4xabmpltNCINpGUvbgYX4ghcWKS6+kI
jsWYMAsV+aRsaOAIE0KXPsD/Bqyrf8e5znmq7G6k0uvZUlN7WWOTowMSoCw/YMXDBohOFfoCqZ2y
EXlB5dUED/s/jA0S1FmPMMRzhpp7lmAIKUqR6tLgS3qNXF4NjvPRzhd+YY5iIazjhEJWTFNrV+qd
VjxyDNHVKBkHYgxRoZTTQqhPDW+GQ48tHQBxoJZCNzp5Gdyq/ZaptmuWZsms++7EJS7RmMN6ZR7Z
cd/YUhg6/Bmr1Td9IYZRdGvOxaJLUGsWA0rgQV82Xc4GwXm2V0+jW3yq/e5m3PDaFav6eCGXUf6p
meeRRJCL9TugK6YBtr93/Lmu9YbFTzkK662zuE7EpDo3LKptXNmph2FroIid5yywb1i6tCvfbnhZ
4frrvhDM6H6o932cSmfBM/iMpQ1dJ9dPlG4hC6wNRzFX0/0LaYwnHsJJzHraMqCQObKX+VhJ9fID
nfEytjycjfUx9gtpzDNISCXmmoazZdthq3t0zDt2IqzkUcAL0W1dGrafkZJdzjlXLcqFZMYv61qi
NmBhwLTDSd/Vu2mfY/FsAec3jTsKPiznahB9IY/xusBeTOeezgWG3xaQytS7EuB31jEK6ICU7pub
IbUhNuAcU1yLbi/EMp7WTJQqVejroOvNyFg3zdnL8jeM15EvLiQxvnVcYjLkVE3FoPfCXbGNf5D9
eCNtEL2egyzhDh/0Xn+hDRQKvShs+WOD68HNxa9grJCWGpZZ01caPXcgycpoFO0DB+FpDMgdDbjo
2HZzJ/u5K3+PIy7O5nryefEDGHMk5VqSqzJ+AL1wFMpdCoyaQbPy2xwWgje/zbMOrDuOJmAXJ1Sv
skNyq4BsG5PpfvqAdAkFF54r+YBQoEuSrBi6aommAQCVM/rmhWPssoxENHoMRqe0FcvGpPhnwceC
BirJQGeFsZDv83E/IJATN6lom7n9xts0Y/0Z8xvYweE0UawxlzpQBynYYGjlr2bZvZWqwcOtYoOA
sxzLwLa3IdFxPkah6yJS9d4a6FlFsAe1dp7afWqDtIgSUbmlZAuJ3XPs75pQivWmyrppmgYbnCu6
1YytOpJAimpXFXzTirzrJoH10/RYqqTKpq6ZKvbzmWOVdYK5MlBdBOYS6NV9ib2oZpB8VTtIcuRc
l/VBO1lhzHNcasPUawXCGnc6AzpXIKdzOg90AF5abkn7/wpknp9llmNTh7i/v7gXWid9HezRp2g7
gls+XT/e6sd6v0q27VA2atpIDb3KIrIzpQeibsM5EOs2zheo4L3JqmzICsu+nU61JSf9QgJD052s
Fp6zRXPmqfGGDjXP68f5sDx3FqZCJVTFUC3pbFwvXnfYyKEmmRD2z+VF6dFwhtENMWtS+uOmwhYd
Jx1dvcMLmUy8AboVKzQKyBxMsDSkrS2NIucOqZJdVnjYYym/FhekWlLKvhex5z/GLjYOgqreGQV4
ctPHpYxBOmz8yUXqli4qOgj0TIWdR5sQcPddPZFA2MxO026KvymeBKwb9070taQ8EBxlXP16l0Lp
TV98vYJIcR5GEIqUXXG03lHB8wLfi86UC0BOsXGbCVk9L8RY01BD1BVVVXDgDwQsqkz6RSpknHXS
MUVTP1Yk2hXxTVpxuQDWLP+lKMaaVPHcl3WpQFdSUMtQcJFq31S75GmhlYvH9hasbqPNc3qrRsxQ
RUPEyoZpSKwjsCRSyIlskkBsDdM2lBIYGL3+SKxo01fkqxz1N6pS+YI+HHNR2sxl+y1OEk5n7EP+
QbWYojrCOxiyprGeoYijTAkVHb8iCG/az9NDfgdt3pYHiscBQO8NxbIUuC7/w1wPK5eJINU5i/Sk
hlzaz1nO4cy5QHSQN7xK45prujwi45pk04wGlAFJQNLdNCN86iVnKeFyTQClzbzk40OsyJ6MUSdr
GS0zJzhZVWJdQSF2/CIkTgGfAQevHyiyigQ6JvSt9smdAooJQNo2XIwVNn9lfwXjsdK6mtUhw6/o
NbuunOaQApxav4UnSUubyCj8Nl69VRokQhjtGLGKCrQXjsFajesubp6NIjN5ICOp8CNo1IqSoA3a
abvw81cwzSKRFyk2eLXP6KyrYTrKZ/ySxA5n97oDWvMFl7+CyXRhYPJEA3xc0C8gHZWII5q8oI7a
etYXXIpg3E2Rk6HqJIiYd/GD7EmbwdbQw5N9ujH93wtJ54+rob4DJEBRRtz1q022el2PMDRMgpIY
Wz23HjVB5Rxp9dLorh5CKUVW2WHvZZRKaQoFAErIot0gQFV524frEjTYeBPJBEZSfz0EEWohaUiS
BFXce9h7cEZJ5bjoVctuvItgnqLRyGavmHESSGgthF35rDdRbgsRDy11/SimalnApLGkD+GUrjVm
ReWYgEmdYyh1x+lkrJ/kXQJjLhM1y6t+iJIAfgpYeOoAKAw5eRVj8/H6Y1kVZGqKgVlWE3U9RrXG
2uxDzJImgap1j6A59eoecyhRyeum0hfx4cUgFxENA+ols6u7g9r05qAVCdKt/mAlk+LUEbDZhtIv
yiely0Q7tBa3ThqvJYje4siTzZQ7VbB2WlNFfGEoCj4eW+JuTG1RmyyDDhrasq+NMiptFXyPb1Mr
oX8Sl6KTA8XNK5pBsWni6jSVWO9jUrW34GAAuYN1xPuxrX5It9c/xJpOmbqBME9SkCuywV6HLDHt
myoJrDjdAHbFHYeJY58/DKTpUFVJlBVJgS0xPqCqlTXS8hyIhEEKT7XIgPqx053gEact7cajGHWN
M2iYRv3vyfavgpmHmWXxYkaTGAeTUnxr5DgwVQKYJqFyr18i/Tu/atmvchgvWOjqnC6JEgdEkHZh
/YItWqfqiRtnkU0HOar803WBH0qPzJWykGpaL0aKJeFKRbBw6HslvJnMDcVspkzTxuz0xG7Lr3Lm
CxQzlTLp/tcuA/sLmBdsjG2/gCQ4DpRBbR1tzGVby6z/rJ2/XOzZ819kBc3ctnXU45izlTjpDMIu
iROZfoD4+uscGlJGtBg0GKNf/cOSVf2sqEsc1G8muoVTZZfgs/0sKbb6TXkZDhLa1xiU+Sb/aN60
Fsu1HSang/lEuW4yb+QCsny0FfTI77+HMcGNIiS9EuL3LJLkdl1o9/qnIXrl6M+qFEWRFd3UdVlj
S2GxiVXvodRihEyK6omG284YGCtAal1sxOouBWepI27iV64p/GiQcbx3wWz9q1OSLswkCJYxfEi3
AlOw2fy1FfgHICz048qSJSm6jIKAwR5zKMtZr7WUBNocO+mQn5CCfZNEJQizxBuBjA3ckmDWsSEk
D/kjKTJvltWGYx0+mlj8CA1lMcsydORhjIaJjZhH5oyXoi6ANh/jvrDNUi84VvZjJvurFEZvRqHt
o9mElHERBjsSxcYxOnNnLliQlfqGxxvMOxQTVk1T0RRpT02enuv2YJTHMBmfrmvpmpLKmm4pkiWj
qMMW+0J0UmWg7+PiwNPnkLJcvDhDXLIA4Na7Lmr1OAYYFQx8IsVirUBsFWg0yFYc6Lq5HwUVqXjI
qRXRG2GdBHhef4pgPlAl1MZcAxclkGItaKPuuzwNWMmw6rt2kb9Jcsez0KsaYVIqBVoCht/91bJB
F3RJEEL4iOkbMQC0973vJLuY/sTLyhdy6JO/MNJlHnbCWAtxUJlYWNfu9aZ259Ti6PeH8YfzW74Q
wxTChkWeOq3FcfoYad7iCkh5sVGmqi6wN3o3D23Fy1K3BjkDR/SqHl5IpspzcUBJKMCCJ0LyohHb
ovRG47PZxxwpa/qBIhSUWlIs9UOigsFWQc5qglJUZSDEn5dXIR0wIVWQyh3lmrhT3f64rvVrGqJA
o00FHRFJY4O/RosVM00TErQCKOlTEMVNP+roWcgI53mt3eClIOYGlT5ucjGGHbYqS7BNPXKKMnpr
64EzTLJ6hyZ8uWkpCDXZvbyuCuuZoCwSTGLqyNjuFFvV7lUs0ud3RsiDC1491YU0RvHn3Kj7OCpI
kNWSHQuHoYqwAk7+c3aJPOlCCqP3USFEVT2XJNDn3I7yyu2GT71A3D9QBQtWFppgIAGkN3uh44qo
JfMoQ0pfvqb5sVOJI0+SHZYd5zirOnchiInJdW3SBTQG8IksYjcoFE1AKFO1k9HmHElUqViDi5f0
80hMVJ4JXWmNcYUjdSnYnLYJub9+Z2th/7sAePhf7wwLVHqaN1QAKv9d9piPIbobkpunjw0m4PWM
d3crxVxTQ8R27n8p1gePqOeyRdQBFRkVJmm05cKCuoENsQS4TKjN9qIv7VMkEUu3jXnsXTkbIj+L
MhRWFBXEafYoZtHu+i2svQKk8YqGApGpiWyKXTRRKizFjEKk2PwwZmF8CiO5P8wYs+Lo6NrrvpDE
jq8rnTRZA21MSPAwkXIzgAZS6ok/61uD2wZZPZZs6LQtAKPM0hFVRaPrnYpyfTmgejpYb8hgv4r5
wqm4rH5S40IOYxorLI2Y4gI56HDI9nIgO90tDxP21BxMMHIxR3nHov9/8c5zhUxGWGqwJk27L8Xp
Pps3Epk5OrH2yC8PRf//QkpClFxWcxW9jklzCYAH5woolkBny1XJv65+PFGs4ZoWucpndHBUacQO
TJPuQym6VfXu3hhUXpNxzaRcnosxXnWe67Iw4GOFYr1BNcnj1nh5EhijZSz/qN2oKdspC50sUj5f
v7E1s/V+iA/8QJKKuDMTJBJ03QA6iPQmL0EAb2V2bYFeKq79RDY4+rD6cn8q+QfyGsuwEjkRcW9C
WR6QknmZ1ILFytcb2Q+7ghNpX9fxDzQ2mlKSRaadNhhvP5tf9aHcFQBAuH6Na4pnyqKqSLqi6B+m
STQ1KlGQRem6rXqg6modKO7m2dX05WA2lc6xfRxpbN5cJsW8DCMqs2HWzrsQdIyuBlxfWxzGeaPP
6sL5Ymt6iLAQuRCKIqjPKb++YAKLjg0enK7Sfhjqt6R5vn57K505E0xR6J1rGsqyOjuYvyCWB5AA
rfxrmj9Uii20pTsKtWlLRD4CklDBUIL20rUtUKGM5HUYeKWf9SO+/wImfOvMRh/FAr8gJm1sW0b5
GIct57OtqSL6DuikaKJsgJvt12uMVSJaoUySQIsGsL7kKHQqI8zhAInXL3RVkiqJqqHCaX0Y+Bn6
Sk5jA80BNMLu5P+RdqU9cuO69hcZkHfpq10uV/XeSSfp5IuRSSbe5X399e84eO/GrdIrIX1xcTHA
1KBpURRFkYeHBkXRxvgZ5dnxupjtg4WgymEIsHUK/A0CEMHdthRRYsoa5Is5H71i6cHLTchXNzU+
lXr6PM35qR9HEPMPWq9YoaSITN/IFrzvNLNq0TrIzl1rfSSZbSU+N9P4Q9+Oy0fwEoHILNYwLqgp
Fx/kTO5TZpI1KKNoxfAgauo37WC3eAEPyJFGVXRYmdmBdHtQNVVJ3B0+FDl1POMcRxczPjbC23Ru
+ixMTbS9UdA4F11Qrd/txbmr0v58fUskruGNtO333WWbRJnT4JhkYUmqgJmLl2W2x+3X0ooUkiQ2
hrmElAHGYDPnAhnirBrLo37IQrDBH/r534Lqt5leKUxMci5dtAGgJGhTHcoTTCzhCUObR56Fy1j4
Df0EqLnCklQSBEMqKuLoTYOaoNtQP2n/iZa/fxm4qNO4+Hobj1FjU+RuS7hDmkZvsAQMpbvXEryu
Owrcejk5j+0QJ6D1yz+yxAr/2hCAuSNbrQWoPyrSh9vxRPuigiHE45gETjpOZ71nGE8xdFWAV4Aq
dpWpUUduDqh8y2QXdwQGIJdulcAc4qkPo6j/UeI/VWyVxOTcvYztG3aaTNt+HejUQpNTf4+n0ZPb
zTccM/D+XnW64aA+5TAdti346UqbWjd2pywcCss4rgs9RQZqKENt3YJHqlaEDlLFGQzlT8exrQtf
rbE6r2wyZ8g2jtxrZ3qeG6IrhEjcAuzPNKhuO8S9KDomhCEX0htZSKL+H5L8MjDObeT9Ydadd9id
bsHkUD60nAtQZtSPLGtB9RfqU/WNOdEBPA3fFkLvlmz+cX2fpJpzCKSADZsByvvWHKyV1nbhmrjl
KE9CrumgD0kyQ2F0UtUBMAC7JiZFIumtlFF3o5I1Dgy76Ea/m1bqra15cEl9s11Cp79fk0HR32Jg
WcxwBGeR0HbJqmhEzo/WN7ZWP0Vd8um6CFm90N3LEO6I2mAtRpNABkmt8tUu9dqPioL4xO7jR+Sx
5ntz0N1jbEa2jxn32qG2WeltJWMvThfnvrUscmv2fXlLR/itYXCsG+SEtRvSMhWQSrbHBrMsB38T
gaEYGZar4ZR1itNhROnXOrHzoBuoindYtsV7IcbbLU5dZD65C5sdEy1waXko8c+StF6jIjRUSTLf
SgLeoGhiE66FAv+Umqlf5zxwuwhpoq+KXd4+WgjOUONyGVpDEVoDbv1WlNFlZHRKLKqvkvZmpGhk
Qtndt3lL/BmsU3cFtYHi71LnoZ209YwuLutDncT0NI+rrjBrWYTvmohHgfw1kdQWMX9pOq3L4pAs
5NbPht+QyPKrYQqmNDqYAIbz+Di0ydlMnUOvmYfrqpBdG0hqGwRvGIsBd/FWE2mnJW7jwvllHC04
M6DoMTnNzazwsVugICp8L2Yz5d3thAKblWkGxKSa7aXIsg3jMzcRG9dhHYMDhL/nOgSBFqEERVsH
BOdvBeaGu1qIt3FPIQBe0PWDZ1Iz/7yuPNkBNDfMBijUHcRfgvszonpGdAQhUWZhcmNrmI9Mi+nr
dSnSLUJx1gZPO8FRFNxeAVxq2S/QnT6Bcq0ENxMGBkdKDLpKjOD5eGYnS1vhxoh0MEejWoTg/NhY
o8LgpJZgIFGPwg2mVIgtkRH4tHorg5heJ1NgjhHIFIZ29k07Sg953k4esZfyadQzfryuR+lu7SRv
v+9s0Iwbd6Q69NjMJnKI2LzDsAwKIXIt/lmesFmMTsgczxASa5Efxx/HePaGclLcuyopwl5pE5qP
qm0pEynveOmguGfepJmt2CuVGMG+256a9bJCzLh8qXXQ4XW1h9eswv9tf+XCN5g4QXgI6BRe6O2+
2MNkrkZsA3pmZ/fVaPu8/lzZc+C4uFNNhTDpkhiKy0A6WMAYCLVeFpdaATeIpzEc/MisQ4s+6vyf
d1jaTohwZxbZhBlZGlbEu/l7kw9BYWp/n3ZCyunPOgS/XS9NM2P+Jt6yfXpYCsyubZbg+ipUqhLO
y5w2qUNNBHfDmAGJMcQvWepW/lQ3n64L2jb4wgB2a9k+ZHcwHWNYrGHFngAf9sEdCLgr9RB92d80
27nLMszP5rXrrSlTvGVkC7QI6v62jav3IkWDnqWWunOUhXPqxF5bV/w8Z/GvqSVcsVvbeRRXuJe0
OcXdCtuGdygMQdK4VDd1b34wOAnchQStY3+4rkzVooTTlGS1EXNMv9yAnPFtFY9GwBs6P5s9XRVe
SObKd6u6aIwaxrRDJ2YWFmYdJH1ysxQzOqT0avCWDE22GIIdN8bz9fXJjGUvVDjATVeAvrKB4UeL
6+Pp4WvdS1F+yCxARJb2zrWaoCM/r8v8DYy/sn8iNZujOeB0ALQuXPPugJ0PrMz+hhT9w9qA9BuM
JreZBTYxpzrMaaxYsMw9oi0FUYZtAZ0lXv9aPDt49+B0YFzUdzc2XgrTDat1WQ9TyxrcY4viWEjf
QHuJwu1iAZmzVpuKx2N97vrj6qBBHEH/HWuPW6e2dRo6X//UfC1AXqJi0pAaFVBgJqYx2ZcAoyjt
hqipEyAHjfWnXtulNxf9DWby/UiyqQbtUV953FARFUsPKOBTaAB1kMwXIUCza6Me3WZ5mBWai6g7
a71+QEuzuZz6clI2TG6u88KeduKECyLtq5ojcsT0eg56ixJt4a7+EFd9YJTGE7fKxLN5c8yzbw0x
7mKzfyWc/lumybHsVoW/kDSUATNhGQYwYtSyL1JwQGagoIDZn6irlp8xvbYEseJGFDMcWg66mtZP
j+8AQr0RKRiYUw+ULR1E5l3vgfHwgNYybwL72fVjK3WFjkGRXkRJDVv71uvWQzKQSIMd6+ASb9zj
jNGzOVOBW6TncydFuCbpVE4p2AWRMdCdQ9HUQdU/EvpPF883tao9TGo3wKE6G0Acr37B+ZlZbVlp
Az/kFCVAVvO3uFYhXqXnbydCME29ahwkQHB/IPTPnkaTguQ5WZwjj000Ktn8h46hNoexauxf13dL
JhgNsFgacDWS/rs401iro9NhGafZS/sFphElLpqh0qBm3RoYQ2z4IKk8XJcr2z90wTJEU3heXTTv
dDxOU7DwofLUxg/DNHw3puFFa3PXM2byae34z+vyZFa5lycqOKJa3gyoefRt9UpJfwRJ0s+61T5f
FyMzFWaaKEoi1jUsMaoetsKk1iKR5RjN4g20/Txn74ncGS5jdCwySZ/N6Ay0G7QZz5CI+FvHgDX1
x2w46h0QS4OqDClVHPCZqBaht/2iRaV0V+R0dOSHJmc4txb7MpbGDVrqFLGa1B7+iBHBMzjLQ7s0
EJMn/fMIrqMOgMllwM1T+Dx5T3qN7aQJJ5qtBtzHCuvLUSky5nNP0OAZnRvVdBTVqgSrI4XWGsyA
1RG8q4cR04rqrwb+0aPpcuaad934FFslYoJY7xozY5sOI/s46TrQrgCDZgoTl4WCgOyiIwedsrDw
bc27qHpatDqyJ5gfjcvUy0ynAeCpLLYEWoLeRk2zQk0vdA8zi91b3ZnH4/VVOpJbfC9/82g7+RnR
CAgokf6p6vqcgvdr4X4yFX6UKbBPKkFCTD9Fa9e3MRbqDN2D5tAQMAtUk+lPHpWqJiS5LGoYpoEY
7KJWRW04jm14ethU9b+8WNA5WUaVp2v9Z8prFfRa6qXcP9K233cqZPmwaOayIl1Sz0/TkH3Tu1qh
PKkt7kRsv+9ErFFRI6CCiAZPAzfWK58NGFkAwqX3GD3q2DYDoPYSqBGzCAjUzsLLJP1ic8xtAV3E
mKYKKRfUM4B3g93GJgwPAnKJlKhsd6JxiwSazTS+erZdOn6Lt8E9iZh2RHVJD5YkqQ5RPWJ0QsqT
m8zuMFLUcnEUaTR9N2g1KkY1SJ8Mu48Sif8r0CCA0hOZIj0HyZN+rJ/Muw60nugnz/zulbxax/a5
+ggyS1+VpJLGDX/0IY4EsI1oHlsTopsoDrvuBx0eU1p4hVv6s0692jQVYaXUle4ECq6ULWbqZuWW
KB2NQ9f+sCrq9wMA9fkdsVRvbOlx3AkTYtjZRvUdmWHUeJoKvX+Rl1UTEtnkK9eqwzvcGdMZWm8Y
RW5MOCgg3jO5lSLfMy/dr7JHz6Fj5t+GrLorudsdrwuTnkpmo2yI19YGn3p7KnXTWGu+hZlxPt4S
8CtUo/tajquia00ihqKhCPQ+jJnIOAtXhEZZstYxCj1mz5+GuH/U5+4BREqq/n6JH0P5ExlMiqr4
Vkp+uxwn01uiR/CafPqXjziVS6bYHelKkFdG/djY5mIKd4BbWGDOjeFdupXMvlubsZfp9VeOcdaK
rZHYNyV/JIkIuqFf3ciMYd9tPXoO4ICpxTw2n7v0hXVDcN0O5MJAdUGgPBTihA2qdbcZzQJGN8X3
PUm9CeiPNcP0wDU+U7MMr0uTJXIocRA/GoCbAJIomJ2dDiRZEiRTLIc2XjxlnW+Z8zkCQBolqpBU
enowQX8CSgZC0YKWf7v+AZLjjBZrGCPCFeAAxMJjh8A/zqw4D61pfI0nvQSXyj3T71NCPlyXJFUs
XtlbYZGgY0VQ7GTpa2zGGgAAzADFMi6NAJXqc6Sjn7DMvHrEQKTrEqUWSlHq3vDthiEe6aR127LZ
HqduRkDlb/hWVwS8cBUWIxeDSiUFlGbby7dHzWyd3rVLqLDt8srnE/m+4kxPnaaaDCQXtJWpTNzp
F3yrMe17oE+2vbJvNYd97HKQfUeqiUpSz8F0IGrQ8u4iC/12Odi5LF8bSCFV/K1m+THtqo/XN0Zu
9TsZQqBaxNZkmkOah0aXBrkePeQ6Jt0PJdpk2vUHtXh2HBvr4HTRI7ejf69LlxoinjgWXvYm2nU3
Ne/iL9LyyNIbCG9qVnuR0fyK80j3cn3OPHg1zQffzffrIuU6/SNyO4U7ka2hzZ3VI72GT0Lomtux
31TJl/cIoZg6ArwIhi0KrmS1Kn3qrSIHw1rZ+7Exrv6cGi/XhUieOAAk/RGyrXS3EmvCr+idyRFT
FicMAwxaG0Oi2pXjIhsCNAoEVRSftGVWyJVp0DA3vgnDImh7ExZnaGh0SzUEzfkUV586VjRHB9zd
5+urk0kxt8QLknMwfbELbRlT5D5YlYeu6QQaWx51Pf97iDv8BPYHWHqUF8VrMyFDp7kNz8N6wy6n
tUZ803E/642hK9yfzLWjAQaR0xYIX7xG3Qj92i4m+4SLjXl9QEKZEWZSjQwUgirPJHsDgCbjjyzh
QIOmy+ZDClll5UT+7FjnXl/RkZZ+XYhzMqfym9Wsx2FpgtiInhnJTW829LBJVbBt2Q7uP0SISjqa
gK1rwoc06+A1CWanNCpW6OsiLprHNGvY5p5DBMWgGItmQJgpLmXJC2KnTVvMquqM9WiahQST8KfV
nAs/QT9JVE8BOAGCDa9w0GLVJGOZW9xSZ7BOG7wrIphtLeYIJGc1/H5SuB4quYtHnPyLOQGVQIzc
681exTEsu9D2IgW32Ecg2LarFlZjjSdUIn3DQLO/CqWnkiJcaHWtma62aTMvvmAsc6Td14PiSS83
iT+6E8w/LsrVrCyIqKr8YMeJ3zkKCapFCHYd10tkpSskuFbq8WH22EQPgwqkKZWCit7WJEDMCzBt
w7OibwikFOuTk1aBkcJjpO3pupeV4cvQgwAnDoQSLmAxYoIL7OAbRwQyTntMbePgTt0r/lXA0uZM
e/tFx6x4ytofBL3H/pi8o/GRovvHBe7VgrGLWKykW808w9S+sLb0g43URDrwoG1aVd1S6oHRXgkO
I2NrmBEsz64wwM7uJ5xjDRDecrT/GbsUjST5nGDEIrIxy/CBVOxkEe2xd7Mb08if3HYpvDTXv6yd
drtY+sNoawr9y3bZRkpoe4SC0U9cvoZHB/BtOj6L8puW0JeCV585b99xmeLVBsZXvHRB5iGsXuuB
Z6SajbiYNTOGBqPXCghU1YxAmY73UoSjlxj5NKKzJg/79FOV3mhZHWjdvxWrFQ932RFHnt8FEB5J
yAu2GdaV7cpyNw8ZAsiDPVb510wvXMUxl0tBIm3zwEDYCWEON+o1r8sIE+v0KhzMLuzrQbEtsmYc
itYtJDpwAqkjtv3aaWfTOMMLdxuBy079YcHsoJgFWpB82ab7Zl6jHcZwGwPyjnO/kyxWMkjVVc60
JXSyM/nMj+MJLf4H40hv1d2yUkXaFPU7FzB6S+zjiEawgq8zRBlIrbTlima1d7DD4LrVQekGPLtj
iRdmWvIhW0eEwix6TNovRfnjurpkF/LWZaC7KARaFyHvxLf+WPC3h8WI3O30LW41oFSJt674P4jX
rkuTOYW9tE2hu8C+XJfItmuUwKvMceCBKtt4rPUuenKHhCmeQ3JZFOwISDsgrS+8mMmc6ks9Q3Nd
BUcYo1TSfY5shfeVWQDaSvCKRQoA8a8gpKmnfNVrBNoAeIJTq2xeRy3VFCYtF8KsrY3LRbu5cC13
awuWNxsRDCC5/tJ9rfvP17dFhobYzuj/Sfj9lN7tSza5bmS4uJLJzVR4M8jlyxtMKgAaArGzAf61
Av9TyDSx1wIa5I1MQXWTVYLxdYTMbRjD9IFzT/uAxrsQs7HvO+7FR5UT39R0TaCQwXY5Z4O2xR24
mH1NjxFs/qODxEIfB18DKVI6OEGsKmJJHy171W5q2Kl2iDtkGixsnoYh7syzbsxDFU7ZwfVzFv6e
aHtQlWTkMtGBh1MNo7wAT9UNWnNjHTLbA01882geMPkroR4LFsworaJjElDFdspuSJR//iNy+323
TKMGstQxOii3s0+9BRRRXPPQKtoPDXpIFI9OGWUgZXigM5SD0AMoOt5+yRoLY5dxtgPw9iYP5qFz
MNwSsR6GEdj6PcLX5lg0d5qS107mVdDj6BLkx9CLI76sh41sGy3WeahHrsenH2l3PyrdpOTAM7Jd
z2iQ0AE2FQ68a+Em6LIZj7/kOaMvtFS92iWr2AsQC1e5UTXAoSFmLLtjslp+Tu9RxVPsklwIA4sc
UvegzRJCs0xHv3EZEziV4mGin6vkLnK/XnciMkWhc8QAjNpAX54oIs9G18o4or+kXJHd3Rp1eLy4
ioVI7ki2lyJEf1qB2HOMnA23BiaXlesfa2p0fkw1TDoztdu5UDHjy1Snk22KAcYaIZm9/b47TbNW
gCwrYXiIudbnJkswaihiuu9m0fEdCtyonTCVAegq8f6K7JFjZkJchJ3bf0Jfxy8D2fLrIiSeYWPY
QwUHcSASa4IxZ906RBXNCgwS+Jm5iKDr0Ob/YBKEwgNtf0dw7wxCgNNEYe2y+zizMyOueFGEug50
akVQjyLz1N2W1eA3+Vp6TC/AAL0MjueALF9hI5eWCBQl8Ko6WhwtpOkFY3cTNDfWLRQJvpZgNG0/
cWfF40CS0IYMvFnRsYQywEXH1KKtTtXSvICPfZ2G8SZP4hNZqiCLrZu8ZQfo+VvR0I/MNYLreyh5
TL8VLbj3Fi3CSzRDuc4aP3P2CWx1T84IRu98DoYhe1i79FjmtU+7L9bcH65Lvzx/EA6YJtBqcLsX
rUDIXg7NvLbY2ZR6U/yia8lzxWkIIMoJoDLVcZfrGXxFaC8HsSAelW9PH2aU0NmapgLvoxe74F49
kEeUt07WcI8JI0/VQH1tiD/M3aoCFIgTjRDoE4DXAKVA+hvpEeGszEXczyMZMMe1Jrfg/T1y/akq
QIzTN/SXHc0nkiRHyxyOmGerULIkBtxkM7TtozaN/jHBgnW2FeboXIRz9bWP2sBoh6BpMTExsTbM
9XlAPRRotLBFCU3X6Bn10k9LOwZ1rIK8yc4SvBHa2ODZ7Qu2Rd5HwMnGa4HMZJOeRouBz9yBnV+3
qksfi1IoHm8IWlB3x+y4t7s8AqqF2bYmTlPr+Al/0sre0yoV76ZMykbYulUVkLkWvZ9uudrAsrQM
2fSUFL+s7jDHqhKk7HwgzeSAfGHDPIo5kKoHch3sHmVY08kfaBWsmh5WC7JNQ+V32vTxuuJ+swe/
9bTAPQKuiuQaQLkXOX/M2W4ru5zKMK0xdW9qIoxqjSY0MsU3Rtf7ZKzR2vh5srk/cXLsWoysL+6H
svXQguRz9rJY3R3YUNDu2pz7gt2TVJ8U7lhCBwl+Y+QekN1woHYRmtC4fa7xWCvDYuHn2sp9uyyC
vFjCotD9hNZAamK4XaN56P8Lixil9/mnM98CV4oueK44W5INQhEGYL2t/QpDLgRTm4vEsJFWRZhy
HtxXWk/3af6tbruzmameVZe3LapXSHlufRO2Ay7dt1ZdsISUbYlX72BoN7gQE79a6Kemj4La7BXB
g4ScDMIQA29dC8gdiIkklmacaw6y+YDzPrrHFQMHumNz93uYgzLylniFLcZDyhhahG8QlKgt3VxO
a49XMHazYrmXLv9eN2yp7v5IEDNHie7GhWtBQl+nN0WOaq15z7hxY7gq0kbFWsQJ6MSmzpptkorF
PjmZcR/3jgLQK3kjbZvzH32JQ88XZ51ASIpHoGMsy5EVBP2z02LOwFHVRVCZ9nIqJi29BVlU4S9F
UQMuTc1TOqQaBgm1aZDaYCk01pajHGosZw4ghSJkk6kBjcrIzjv2BgUQGBIXZx5MXcMLYegwjCQd
Dj2KQtf3VHat4RL5I0O4zHsNz8fchYzlpngpmV8GyREjJr15OpQv2+TH4hNTXOOSiSNgPdnJNN4e
QjO3CiAKIHPyI3Dt4Jz/yDBQs/jCn6awyP38fjiS4giu4rL0yzGcunM6+i0mpKbvYPR7+y2CQ9CN
pJoMuiLl5izhOv3iCT+uhaXwcDJ/+2bJ21bvXizrutI+apDuj74VSUDsY/MAunBM9NZyj7gnLQqc
Yx1asVcqomK5DQFGRRxQfqCu/lZwr8GIR9Q0wgE4i6S9bc2/TvFtCvwjQFhZvmg2zVMTs1dJ/CMe
55eBlb+uG6lsDQj5kMpAlHtJJkm7is2JA3eQ88FPLO6Vfw+EhzPYSRAWwUtcGo6xuTYXw9fJcIi7
xXeA2+wTx7PMVXGwJVHPG3Hb7ztrqGkFdGqM/MyAsfP1d60v0N+uqF/LwvQ3QjZ3vhOSrczaSMZx
IcRdcsqHg2VgoDHVnwy393pwxsYOfzTZ8O9YpSrko/Sq2OlTCJbrwm0ah0Cfbamdym2QQ9HlH/Ru
8HmkenyplCmkH8zFjlxzU6Y9P5kgdB2HH/kUKfykygSF27XKyUDyGQtautRv5k95rgX/jZFf8Eou
yVy7aHPMQ5AceB3/3qSqBK8k77m38ouUf8+ylUfjtogb1z1hCvpNcuC3GDXVpF78FTXRT1QBtFEY
4QWZpJP28xTrEKmhDcJo7hLN8O3ECSb6LZsyfxg/2qAVyfj368rctkMIwXe2jzLbW9vn4C1JrE1s
M5UBWXK0iTV+g6AIwFgPtZVDW//kGjtelyqLY1GWREEF85guJww5TYMxNC2kFtyqHllhzY8sAxqf
RI3rYaZVc+hYVitIu2VHDY1PhoMUIkAD4mt85UAfjiUyroR+LMbXvHFOA9EgyVU4LeleYsiUi3Ie
nmoXrVaDuUZ86SEpG6fy3qra6TwDZn+g4BKmmhaYTGs/aVpeH+q1bQ9ZWalIuWSncPcFYgTqVKSy
l+2yLuYkqG3ij4XqsajLTGcXnIi5c/T6tanOcVNrp6I4ssf8Q7X+psrXgunIqF88tIH2b//LOmJW
tK+a5CjdzT+hkbH9vnPaCUpkRmRAOmsw5SjVpu+ahoOJGb85sVRdPVJ73QkTvDTQ/PXag+s9nM3m
1tE+u62JEZyD72oPxVS9w4Pu9Sq4aW4baTpyCHNd/lKa+kOVFwoXKrsJ9iIEJ014OmTRAOW5OQkL
8lyjAZGmtWIhcq39CXi2r9htkRFHE2k1RFSVNp4GDdNtxs7jTY6ncuLrxfyuRf0RJ1iEnWdt1HSI
r7TKKB/mFIxjpr6mRxBjLR+u+y+5/v6IEuzBtFeLdBFW5rrakfcPehEhAHq+LuT/CYX/SBEMgTS8
0VCuQDHqeTyU9W1TBdZ86L5pH4baa+7aBxeNvtOrcbLP1yVLzxbIXcHNZKNPWuwqKJopr9segltt
jF/cam2RhsZ33lMkwo8N+ihUb0xJvhKQ961v2kIXKv7UW1MhowEYZAq8yggUZDjN3HyIuA2OhrQp
XmaUBO/7OP6Hr2N1mxcVDedpdI5/v2gLi0ULCrJSYLZ9+wlUX1bQ9SAzHQ8reXAKbmZeOYFgwIo4
oHjjqCKI+X3hiHcvRqEBkIE0PLm4JpLOcjgGwhSh7Q1B+0Lj42z5qCror/kH9wTahOZTe5vetZ+b
/kTHcGXBgNLrQdUBJn3g775DvCzikucO3u5IU/uAUg53yc/hQ3OTB9EBzLue9dpoj93PJFBFWbI7
ai9W2PMoMc2sNFDP0fl86646miv+nhMPPId/NCymLjQKyvaphIb53Dz0Gogh2rY4WhXqoGjpOF03
INV6BAMq3SJaUStHaSOfn3s7PeWOSoTUJewXtH3DzqVmujvkk7nJeO6+Iz97BCLwlD22pzaYiqNx
QD0+9lQledXCBD+ug8+AoceoCPN09vT+tmZUcVNIA+79ugTfzfvcLmiGdVn3+usSDBhu64E3+Xkb
2uc2nhpmIAte9gIFD25v467ptqZhsApvrNAOWDTDPc+zn8Myhv3alB5FYdvji/Uev76XLfh1DF6P
R51hseMRo679xF8BY8Nkl2Pql+fuPD1a6yF6eM8uujgN5latuISR5kk2VxVNijCJMW7TWtICHddu
pLgZpWmyDW2AOaU6QwlBUGw1MnugJpwJbyuCwmlu3WJcOkAqxKj8aJorrxiM2Qc/BXDiS/Yr19BH
w+f5Q8TQTQZauf4Qc11FmSILRfZfJajcNFH7jgt8VWsAzZqSpfFYC0YO0s6vVtEwb84NRT5p+5Oi
dwevKxpcwPHALnoa44aMsanzIiyL+hhl5GBkqH+5mHjXoWtutL2iVPEGSFe5E2m89Q75MPbZNGCV
1EG6ECMNXycQEYJIO/EMu7qzKqYCScoiBew0qEApKhIAzr6VWINZoDdNVFT7uUvOWdH0twmJ+ZGa
RhSYRdYoYjzpCnfyBD9hjLzKMHMDl3SbRB5358fEjB5HfcFoLoT+hlOoOJRVErffdx4XHt20pmKT
2NkBTtBhGW8RWRrt7HXJoLhCpOp0UdhBEzHKLmIOMjH7xsG7ogBAJHNvmoKgM6pMQBZrJl2Q9xi4
ef3KksWxKPj9R55wnURm0oCxCfLyXNf9Yik+j0v+vXWKVrFvUge/lyQYSo6c/VrqYxFiANR5qSLL
S+wVyRTMbnFLIB7rzjxlDnspW+3cx8tPndcvS5edHRq9Iw27/xLBhFZgbyqqY80oDZ3YbGB4uioB
IN9GC09/x0U9WGzMsmtqlyXHYp0iPaAXzHfaZ3PNT12iAGDLBYGhCQif38Xnt8ZZJ6zIomkpQg3t
m2M+oVxqoKXt2GmqIrcsBtgqtf8rSaywZAYmNrs6oAypww10tmvDQzsUpWI9ssMGCogNE4cFXXRz
TtMEQpCe4GYkY1DS/nY1vuRA3QIR4pm9whBkDnovTLgT2Ji0bW2siD+j7uw07rfOdYO1iE9RVt7A
6T3zlbaKQEe1QOHhnSHFV4OErAiZlXlz3J4Az/PzOvEdfo/qgOJ4yzZtqwOAcJ5uDLhCRFq1VjXq
GO4XxjMG82qrb04q9yizwN9z4wjaRi6R6xWZ8J7LdVw5SI06s+07GfEjDd1sqcI2VJK233eOuAX9
cdSlkGT19KAvn6v5BgBKEJP9l3IEh9/zMsYMANhgifigs55dxkHMdNs1Kuyk1P7QDALerN+qE+zP
HnhH2QRbyDP25Lr1ioGjAJxxq3uKdeMjqo3PjjmrBqvIXD5w5q61QXMMNE6/VSMz0fWacwM3dvah
HE82eWzn8PqtInX2GyveNnGd2BdP6dhwZnRYAhGTUp8AvOtXsdf5FehM6jIYDnVxLo/d6bpQqa1v
2Hl4KIp5w+LJMvXaNRcHWJ/VPk+acc7L5Nd/JUIEuxa2nXVJAxGzRg+987AYpsI9SG38zyJEMhbA
SNp0HO0irNhDOt/r+nRTa3ZYFa/XVyI1gp0cIVDkxlL2ZLbgGPJa9+M1uum75tsc5aoJB3JB6Ok1
cRmCpkQ4THFvo/5jwRLM+DZxXxgH1bKifCffeLSRA+gGwJsIcTXy1R6nnBYhxpl6s957IGxQbIvs
sYi0EBpO3G1Wg0jNEC2plo0MLmFZHVxGev4Lc8hrjFnJUC3kz+YSMz9u0Rmy6KsK9yVdHtDp25hR
NHKJwFoz6s1Cz2ASvF+LY1M42tlhcXK4bhDSZD6Q8CC6wCZhq4TjY60OWUYDG4WMm/ZpG9aFKmiy
POE/JscW7cmHtrWtQ4da6YmkLfOA0gfHuR0D39eZXzI3db+kmA/2DH6lKpyNBo0eeZKCYKLL74Dp
tc7XP1hiWCAN2AbKImUHRyMgPlzQOC6c12UY89umNA650Xi6XSuciuQ8vpEiOEuLDnaOqZclsIsu
9ay0/zcd2BHNrDc0U4UjspczOClNLAcDrwBAELaA6/YYg6egRB/LFDSY33CcTyBxvBsOkUcO00ck
QYLrSpTYFoaiIdLCfkKe6DO1okwwv7spQwMjTA8VQM8nMy8nBYpFosRt9BoYqm2EjxdTaMBxWA0J
wp6wXnmQuNYJc6/9trGPbqu4uiVGYaAdYeMBAQLiYqCAxkhirT0c9ODwA5Jw6B/36ujvZyMgpgcF
DmJHNCQ4IiLQSfhSYkAYHhD0nyV7stD0uyDB8ddbAyEbGxJSNZdQTB7NANuPLhIW/Stqv1TVTiTZ
+jd/Xwg+yNTFC9I/+PuYisAxqGzNVEMsJfv+RoRgz51JhsTdllCurt8nvZeTyLdRBsLoZIW2pBHH
Tl2/kaa74DAZS6ftN1nRffKkvY5n4O6+DEcWkrv0NT2qDo6kKxU2ADQPxcnBcRXzHmOj98mAtkak
7l9pyL+iX4kiwQKWaR99bsc+dBA1khowrFtVU5bUyHeiN7XvljouxsL7LoabqLQAZJseX6ugwSid
dxjgToxwc5e5Pa7WCCuHmYQWyBy4pbpWpQWQvRYFI8yo1VLNxFK6APXHG8u36uOEi2c6jymwddFp
9ckh8/Ijyw5l9T+kXdeO5LiS/SIB8uZVLpWmMrO8eRG6q7olUV6i7NfvUd3drmyWJok7CwwwD9VA
JKlgMBhx4pwtBawNhKIuTwho1VExF7Bc7bjhWUDoGJV1aKT4GYl82+qjExUHMy9tIeSVW5b1sCVB
IKv/zxDbaOn71BhGND02cdMr9qxlJ0VH57zLfDJX+1AXDtMkcGLi6kG/sMlcYeIEDHy4RCtVOFjZ
Q0Hfr/vJqjsuHDS4tjCywqIArMJq6rgELj2a03MzSp5qhnuT9B/Xzaxu3TJ9i4sKL0q2MqYI7WQB
N5pvuhwpWGNkb9lslm6xoFbkagPssCcm7cA5BIuTf/tgF1aXzb04a2GoVZmUwaqpJB+DVJ/CNDlk
9fSqqsWmNgzOTbmKg0Yz8M8ql82+sNcUmB0wl1UKcS85MtUTt41bn4TzflYTL0S2vhWBHBxK2Tdo
9CM3wRnTqw2nQ6F8SoozC1dwEjADheoVkNmM10gayQE9hddEQ6jrttYWz2YiTw+JVsmvcavhEada
lTsJJHVEkFlDDFILzZMF1JIPOIuxSXC0bSM2WldPh/IWsuEfs6CNrhLKA2h9po05GW89MKSvcjaj
L2daWedhgPZGrCPBBTftq9blT7U47YpUOuuh4IJ942BI02EOFb8rS3nXJc1NBZBNokqCXUXNKbb0
1svwVu8E4bXPo9xPxAG6d30CcOyEab6oLA07j6pdVMQnEBq5c0lbu8RUHIhCMXsAis+yAdJdmlvk
u2kXJE0i2POUvIFq5iBK44MsoQefFoFekm0i6sRWtGxXW0pjj2EMbkHikyENgHd+NpT8IGmgLIg1
MO5r1ibWiV8vcwxaOwRjVAUWwPXGhGd/JRNfLIqdPnUPNDK39az4qartMHsbYGbbFYp6U1jJOZ97
H4+6nQDWLEzzbwnknwa9PcZpbbizSFEnjkogAygN0LF7VlsLtNKV/kj67qiB6Ciuhl+YYEE5gyon
kmQQo23yVyOuRw8EZO9UV3btDPSZMmc7fP3RL7TyF5Fm3bGUKbQjABOTqavdeC70Z6NVw6AVim2K
49fGsemUKumhpWJamPJR7+c5vynCcDuU4xYvc4iEmOFmNOXCg/Zu0GnazahogWy2t+jlG+dCjgx4
UkS9PpkmwMhH3e7DFK8trbkVGgG+QiRHMmnziBK133dybEdCCqhcLva2VeIxopbkrh8F1OUNY7br
eaZuOXdwjYy+x4jJrtlKxC0zmjtIvBpw0wjaPsSIrD1N6E11qUDcarTaDQppEVAdUnPKcnl2BpN0
y6NPXJDllq+RKnHzKMIScW+4cZLWMWY5y180S6g9C8JeF9PdKHWtPVS9T2L9udAyD0pN+zyPXzMp
3TZK+6SZteRGuI7OddE7eHXZphTfwF8POh1RHhTukCZFoB5XQ8jc1pYlPmkEUFg3w5ztCcOBmuxr
VTzLNgji5KchKqBrYfQQy03LGU49TNBg6OttXRr7QgJbb2P0Lk66S8TIF8wG2PwBandAtD5Ao623
+7a9ySqldtKhiSFnRmtwzHWDW4dN7ZTm9NamuebKfffQ5lDxQKVY9UoRRjTL+mHGo+IsfaK3Uszf
rbl7SKZByew2jSqAKKBCkQ6JYmOue1NVieWIAoZn1MTS7CqZ95Y2FTdi3kc73MSmPZrmdiDqVhut
7ZD2BdS0olpC5ohXZ1yl5imEnh66wvSHMo0iJL67ya8LWtkjZInd2cyGG1MuUxuZkpHbNJmOTW7k
biVa91YqR55ehcYW0MYUWROwf3QYNG9oSXXEgBqkJOb8pTTC1OkgoPqArBJ3MiYDB1MztlEvVA7U
Ccsdqqq3NFP8yJTuhmI6Snk43Jap0WwjZTa8pMHgZoSBdQdglZ1iRBuixB9yVqqHoZmetDm679qU
i51fQdH89dJi8ilaTUY1DXhpqWn53knGHnNvsj02dN8MCmYExOT3HKJ4qpqbfiLP12/olUTjL+NM
ui9SYewB7MzRu6KbqYI8VMirnq/dj5gqxOtuSTYgdsXYGGnZl2PV5RuxwCWgdsQuCLTPqOTmIqS9
CSrEdkpljBwipCXVjdIk/ljzSo3f5tZAKCjiUQY1GTwCMUDL7HMblUKi6KXpD7vZH90oIPDHAI1l
4gpOBpYYjGGc48AMst10D40XTlbyrVLwaR8lIfRcoe76bdg6ifQEGiA17DuikwSSHzuZH54tZ/B1
HxPJfLYC9uOyFpmC4QS0QNQblelreHSgf4GhqUTjfV6eEaZdgaIUrhkMJvtx+KORjyWOz3UXlZa0
5TKtYZex/IKL/ApQe0UBr4/pS0lh0yWsx0kgt31gKK0n64M/qaMHchkHfAB2HH9cN8+myqx1JrtD
wYLKRgfrwCBVNHcT/UPCZXTdCNc5mPdh21RgtJ3hHDXgQcJLs4Xc6o7ao2N2juxCuYCrR/MNQMYu
jHkrpkWaQi4a3oGmf3rU/NxDrgpiEuMt/qG+NMfGKRw8/d3rK10O+7WPyZzCRhMUKmOe2U/T6mAm
6Q6a7b+oMntaKW8rofaUIYaUVtrk/nXD34ql/1mvutBFYIjw2xgmUGt5pUj4kKOv+JPlqU/gO/Is
HP1lZjF35RfJyzz1ZwImpDde9PlWe2Csf6LPL5zYkMIM+F1YV07lj/ldwXbHPvmZoZG4aV2U851F
Zi6oPd442j+41p91fx6vC8tlgQZBbGHHxV0adI+Ck4JmZ/bAwQWVo45b6fiGdmNXykSdRgdQHvmf
6Zs34Ub0Wrvd9HuQCfntobFLVwwil0fyuB6DvpbIxCAqliNKlFii1laeFHYegBicE7oeBr5MMEEo
LTEBK+s4LcNC3KOqu8ao73Sr5nHf85bChhuxmMeqxVII8E1KSzFY0XOWwjPBxJoQqaY5ESxlaiwH
RTg7THk1k38ILl/bxQQXNOZzUuRwd3mDBNbHY2R2RdUe4Qj1ofZp6dT34fO/vfK+7DLhRYogdQY8
OaI1JANa8pj2OqetxPVvJp2JSjmWKxPbN74TPFHvtCCG7oQ9Ekd9UO3oPGxDtLOAyv3gBLDFi7+H
zj9r+1YulaoUivAwjPey7Gq+FCx5i7IRX9Kz6DYbsrlukOPybDmhTmIzyZaAKedegbeWiAy/jjnO
yPOUz2nai/CUoO8MsW2sStxpvmkCrRXE2jbfNJ5pR07zNr+JGNgFZGB2Wx4QjheV5WXLL4ybRMGr
d8ASlzvB8osTKgy/xn3qwFU92ZbwPV1t2/3kJYOcIygvf7+wK7RjEaEhZ/rQMk+dYQBqXcU4zvXv
t5zja/7ChBIA85VUmrGzsf5ugdA6Ml1ivgg82uxv+f1/Ar4BllMAR/Efc9aNpBGg4EBNP7yhB9kZ
NulN4kx+fpYx0swD232WJr+v6ssac8LbwuhFvelMvyjtaRPeUt/c4I5xliy+dVBXgWCVXTqGA3wa
FOJvpY3Q2JKX+5ErcCp/6wfk66cwkQANOkOoI/yUSopRDxptjLJshpRT11v/jH+ssIqjvVVLMuof
uE/NPmiM6AYt2seSyq90yLkk28vuXdldtmI7GokOiVYYk8AKMLiiMx+MgLjpTeaWDvATHk23+YPo
Vo7w3xPXMY5kMacibCS1TU3sZ+8bL9Bv2FC7dZUdaqpwpMjl9p/WT+GfnbWYA0L1SkNTHopB+o2M
4CMFS/pLftiNnbtIfnmH/lu/63N9uoQBStQQvxPzCVUsdQLB5mr27EeBZM8BJubvTVtzUrdw/l3m
d2GPuejjPhbrRXfSpy4qPcld7CSeuS32w0ty7rbqfsnvr4ec1R29sMiEgnYYhw6D5qZvoBWj6lvF
5OCz12/fCwvM8ZeVWEiMGmtKnkbA8MPUgwQf+VRq7b04GDeD4FYb3qfjrYs56Vnbj3lUwlNi4WRW
b+Z/TSDGuAaLjABHkEFGggthytLfYj1vtWzitXbXA/XX3mlMfyAzO6VPF38YnNnHderUjuCIW9FX
vGHP67Yun/pbJLkwxjwDBjMhkjAszqc+6cpb0bR+aAUGeZFI6F73Ot7BYiGTaBM0XRHh8wApqWRO
etecwtdusM3YltKdtiv9IVAUjtXV6H+xwMVnLu5wgEHUzCrh6/LwOKcnZfgxpv9Pb9fYCCXG4TgC
cbikfJqXgODgvARiy6NegbkT6mmOiMIRb/BivVZ2sTYmcuiDiLaMhLWZqXZLF3ZFY4xPopodzLj3
kkQ+j2CcKzTj0IeS2ybdEWWmoxq1hRtb3b4xpgKkUOm+6eI3K22PRa/fmFnNiTa8YMCSlpktyJTk
FD/zifrQMXdlL3PNc++0vrbTHBQwbng7s3oZX2wME36EKEcDcck+QOdu1xh7wZ3cyxM6PLP3/3Rq
JubIkLtC4w6LI91A0f1JfrVSc0/MLrUHWXWUaQoiyThAlm0fjmSf190xTshTHOm8beZEP52BbRFd
Brp2/IwbFETKr/Vt/Sh4oR/1dviiHnB3PUof11e/mod87TMLeO0EGs8xxYk2BwzFqER5NlQUo+q6
sCEXjbZA6KPiHFw3up5bXlhlYlZWy02oUyy0OKBr4aS7/AbFi/sWUgj7zC9LhEvVrp4mwBvoWx9t
6QaC1a55rPc85D4vVuvsy0RNxxns30usXsbNMIJ9WgSqjY3klffc6hTvCzOxbE6LqVBnWIN66Et0
VFCbJq7+WrvaJrszfgGLw/EpnkEmsMVAag3qstNyDkqT6j4teDUhzv2jMyFMSXKIn+awQFN0p+a7
bOhAcXVjWTeqwAvTqxXqC79h0p6YitVQdbA17cJNAQTgO1TN/RIECrz4wwt5OhOA5FKc0RaCKVGz
rZO5y3f9T/Wcv1g3vTe5mlPcZo/p8/Vzsf6xUODCUAJQm5/X78VNNzUhpL6r0fSjxrClgjqTvr1u
Yb04q3+ZYBxQCMtIr3Oc92xLt5kvHBHlIHHioB2NbrKDXivwlJWBimX9My3smDNV8g8X3pd9xh8h
1FHr6XIATJxyIDdsYAhdC4TCY/igaZGvtrEPynK/JxkkFX+Gw4c65GDY67aj1uxyQD6omriqlbgR
Vb0C/ejrG8T7BIw362FuVcmETyBg8LVrgkHlodj/IYn62gLGidVFaxGtuuV10rsqBlyl/VIrzreS
B3LlDe/x/A+e/GWP8WQ6JGFIBWx58TL6ohcF3Qbv9sSx3pTd5OaYiuYdnm/Qtf9k2V8mmSt1lNNG
LRIskbouPVB/PpfPlVug2ZLeljcacZTNfMxs6Va3UDJobmaNE/bWe1lffs7W8EiaSxJE9vBAOoUb
Jej3KDQ5ql/s+KFCVpblfE/B/yyXLeCJJG0h1wanURozwMgRir2Z10qGnegQuGzOZmpX8z79NZv3
AyS4mxjv0GKnNc9ifF/p6MKnJ5p4UfkkTMe6PpPuvrRuSf5sRTciCPRBlBkNfjoAg1P+zIZXJTec
OnlO29AthB3QCfH8E23dcIr8tGxty7qV2/tIOrbJnZmesuaYjWA/vKuJ33ZI1LPDbNmCcTChphGD
I0PeWAtRvyudJ9kRDVtoX+LhXgKjnFGg1xfeSER2ZBIk8smgL5P1JKhB8qMDv+e4TSY7mjC5t5PB
kZKXvSsIDgFJ0TLSorhz/T5kh7r3xdq1oHig5Tej4YRowTROriOzoALwWduw+YjoT6p8VIg4JkiW
J8E2rJ8jqIcH2R7IkxkDVeMK88FqbaHBvFZvT9SNo4MiB4poh9QJw19DetaFFsQzgEt1AZr4WnLq
zN+mCIQYiEc7AXqOSbdRgHmKUXAhj6aBdriK4V/MkeIp7bR0G9VBXQJeOTsRqqPdTabfiaPXREGZ
7kycFbqPzEMb3U39VqqcTm7sRsEoUg/5cROIipc6fiqtR7XcJeYx/cgiuF/3W543ZEGYCJOLIYhC
fyVQTCvGrR6rIH/cyZjgo+VtO91mUI4mvqpBOWEn0j3+VR1CP/2JJk5oAfPkqPFTXOy74VTobwIY
sGZ6JKCgjUANBbIvQdwBINS2r02CJjf9OfQOhh2jZpNQTzA9MuV2A/ymqfxIS3eRVBun2mm13TB8
DGUCfNcjTd+E0DeIS+/qKOgziMWfpO5RgkB9mSwAMbuJJV+IHzQxtWtyqMDJUf4UigRPs98D/DMW
f5dpwUvQlzvh2vFiskUpnwD1kRHAiGXP74MX7SufuIDNlGA4K23TbrelK+Dp5F6/C9bfIF/HmkkN
DasNB0HHsSZiVtpGNHhJLu2BTEF6WOk8irNlFddWydzM4F+O6Thhla3Xu6KnuOlOPoNA08uC9MRN
RFkwDBOhvwFTQerXR0uEJlvA6JCEgvduEwf/srlxEYiZC7Xox0hUGmyiVbWOSVsHNDd2MvJQyv+Q
x399LOZWjYfRIiWZljx+8FSngIekm2hbbgvUXEpOIsrzSOZKjccCstBLFqXok90Px65+SZvX6973
Tfac/UTMJRp2SliUi866ugk3yyfSDuD6PMnETtDJXpo2xW3cucUu4laIl8264ovsPLOgQwZn7Aa0
TcKxBXGlEgg9OWE6x5Nj8iAqBZcubTlL1ywyJbPOEIt0XkrEyzOsvus24MTydTu08XKxE/SGOJvL
OW0KE1OsEMTdnw+xaddswUCxnTe9F9oyyFQibplnNT/AGASmwcCW+I1pHYxlqdAZ2E48YDwMl7iS
WO81EdQeWkjwAlSLCui/OXcKoECvL3TVUy9MM8evaaNxliQcP0zvaXvoR8SuocbdQwGKV/+6qfVE
0wTlpAXOJpDcM/Gy00MAZEssUzsNXilhW0vAj+0q0O+jc0K3ut9suqAqOLne6hIvzDKBs+y0lnRL
N8NUay8s+rdikt7UIuS0h7jLW37Hxeusl0uJqBpcdJlAI1ucSTtzrTvxnuJBmHni3tryEunVc3ix
NObrlT3pm26ESdl4mSeAFdt76Hlb8x3wNZyazDp85cIWE0C1kdCMKLAVb+mhvCvc2c5v9MpOHEzG
O+Gz/KxwIhzvwzFRtFO6cuxkWIRg1lbWU2onuUJtTdZ5pIHrD5KLxTGxVM/TqFOWMhcSWIecLb+7
qW+wvNc56H7Fbg8JrumgHsbUrXax1+55gumrz8ov+2xlLy+hjktD2J/6wg6V31XPW+LiCt8C6IUF
JoCiVEwaYExxz8rgKhGJPTUvWv7TJD84p3w1Ul8YYiIn8KXSFA4wtFy0s5t7aAijRvmpKOZ0+3/V
6bowxwQVoYgj8K/DnNa+GEUKZkTeg3w1Ol9YYOJH3RpNpsywkIp4hNW1l0iqF8WHfnzWhm02V64o
cjaRZ5IJJVYD9sJkqWORreYrexpoKDcCc7/lfCvOCWNrc8UwNqmsYmnZdnoCbbMIjlyMjo2O6IsP
+nN7Mp5S7vjfcmyveSITSKCG0IAMAIubs+GEgl1QNMW2lyOQN5PRrwz5zigVzjW3High/aBZOtT7
2Bf4XJg1NVtkf2Bx9ttqI4nvYWUGaZzZNOSJEK0X0cwva8wRqOtJrcwe1lqvQk1jDrLteNDR5Use
5016wOvSzf36XJ4inxdI1gtoF7aZ8yAn46SGw/yfW6g553fzNvHGZ/1cBPR3AtYnbwoacMoKbvIs
bHlPovU49rVy5qwUUoUBSwUrJyAXidqTVP/iuOy693xZYI6GEs09DvxiYTuBAi7DpecPnuyRUx8D
dGzr7uhU6bbb6nsx4PVSZZ4fMRduZgyEUgrrmi06oOgutmJjx2fDsum23eSOcsyeiK+fKWDsVu1o
O9UfULuH7unPLpgCXvV+/VVz8bWZsySSNrdSFb8HNTRf81OP7sfbFgh6OQg9bnmd93WZC1kzQiGj
8+fe67vYsZ5jv0Hylh2BC/GLR4gLeJyvvX6ZQCD3kw3vm9pIIreZqUZITxf9Wt0x9tlJcKg9oVO+
iFO6PN2W9RX+scfOmELk1TTHHilqHUa7qisDVSnvr69pPeZ+mWAu4s6MMApIliWprTNhAnFob+M2
5STbPCtMCJpjYTSFeXlSNCiq9sp9Ay7fPml5WIbVtMLCOImBaXuQrjEuoRtFpwu6CJySUFZvpBFD
uwwbcgQZBqS+1T5yru/eapaNGc+FFEUG/Q87bkynskRkDfH0tF8kP5OO1h7jzU7tlts5CzLMRG0+
Pq7bXFvjhUnWKXSIxFjLgKZPlcjujNJWiAFe28EZTeJeN7UW3S5NMc6hQsgniWYLbe26ROk1x8MP
DHOpnbfhBpIwt0Lev8YZb3Rk1VkAkvvcT6h4L3+/eLnU4ShH5pLh5PkzFd8FoGjj4fX6ytbxpRdG
mNCpKyVRohoe2XrRUcW4uvY8p07kLRhPcqyOkFfL3vgQim908p9lkgu7TIjMDczpGiLsku3CFirt
myDfKh7GLoPrK1xN2i4MMUeh62pFTSIYSlHnTpJdUXgalD7UQH0dxTcV8mbX7a03ii4MLj/o4rM1
ZpuY7fIiW9KM4iN+X6CXjdcd6o/mlt8q/iSF/5a4fdljqz4TplqbWP2sQFLQHA8/tBcpsZtz+zYd
swfzd+qVNylaNxLmmWdbh5TvWUOT7KO6HU4pf46L47UKc1YG4FlkjXw6VHNojyB82SuAgEP8ys23
1k49iHvAea/v+ScQ+doeMHFVG1NLKv63hvGkBPRB9TLQTO6XkR26w+e2ZzTNFhxhLDr0DiNsP/Wj
yKkF81a+3JoXH56oiVzOIT5EF6PVodaD6IBEDtAkS+XBwj8R0NcWvNyYF7YoxYAmJlyX5xz0oY/V
ttmm++qc3iY3UK1/xKptHSV22e2f2rMp2kXkyAA08iod6zn1hfMxMWqKAMSoWnxt6vbu8GM+6Zv8
rkeqg7FBU8UN0PnkLgXdRYdSmSsHPBD+eqp18QOY+GVoHSHSgB+gbiZvoTa+F7wlzVPQdrGnQHjg
eNrivtc2nolbFiofTdJh41HeJVvzDdy/mKH2GtnOZ3t6qzdKbtcuhvP72lmYetAEguxNhAk1bu18
7QIUL5bORDYhA3w11j8DTZw7o1u80vsxWHTJJ7fw0nP60N/x483iWdc2gAlviQh6NcuAVUERb8DG
F+jJzKH3WC9qWdBQsUzQEUkszNpMw7aXCnzUpVhh+M1D7oXb9mX0JK/fpEAr/ks//rLInCeZVO1o
hkj/CN6E5o0Jfr/aGX82Qb8zPLDXO3ig7ZcxOMHlgStWpywkUQbNiKmAIpcFcxFZIKRXsVpoQN/O
bndHTbt8NN1l7i0LitvixzJtuLwMr/vymv9AGEwEkSbGbsH983cMkTqazGKNJDELE0D1qD5KIHG2
iPVAFbzaEiMWOXfx6q0vgWJKB52VjGIzEyJrvdAr8KYtp4duixN4cm91QMQGm9fqWXWhS0vMB51z
0JFLaHD5nZM/SX6yj96iTecvZ2PcNBs++frqvb8wx+kY8RCxRmZtqZqk4rQ88QenOWh+u0Eqqh0V
vDLVoFDt8I7ntGuZzaVBZokjWnSCGMLgspnthgaDv7QCeQnU2oG/NMOE+EEfLV1WYCY1MWpEifJg
VDLnxPNsMFG870g9ZBJs5GLjmsZPjQ+CXgIzG7dA2KhAbR2sh99YG/N5VBpqwoT+RqyNoTgLii/f
JbvcAV7opdf32u94Lz8bWx651WqGdvl8YLITUJrUqby8VAwtid16Aj9voJJW2sa5XuO1nGDsIRBn
rSi24CgcHzWhxnROS9P2oZNKdV9WVtTZIIJL3sfSIneJrAvvIF2qH6lQjWCrAI9IZYcgESjAQhFN
ENfCeU5y8JtYfaqGtjTmmBwbSPhsyip9uR5G1r4dhKDx0ASFEci1mBtxHIZETiMBjyMavotDeZrL
nkOHuXq2QF0NHWlIXBvfWnHtELVhKMPGUlBRfw8b4sdoy9nSJnxvbqcgETkZ5WobFxz+IAzSDQmM
jExwrCo6hrpJLAzbDJ40w1cSL3YF0XkfncmVbTnoVAzeLIM+Ec/4aj0LFGzQaldRYwFF59+ReRBD
vcP0kuWrcYkSTjODeTJM6xTPzkoY96pYYBYbeDsgRai0Ad8zcYaqNO7DSS+W6fCqciU9Hl9MSSZe
NEUCiEb6Kih6mQZpT/utmI9VbkNSzPIHKxHdSU2AyzSa4lzHdeg0ObGOVabEHrxM44AJ13JGkC+Z
C78+KCegxfv36uS8bolaNRYeSOQ8OT2x5U1zyM54Vbdv43O1F6CH7EgCbntg1De81sSSFjGB4C/z
TKyJRL3NW6m2UKSMobhcimDTEYYWxECpsZf6cj7SuoPoNR15wrZrj+2/TDNHpRINfEoZpsMb4yW/
s/zkLXaN43gbHyc3eVWD6pd+lLbXz+fqeg3ctXAmQ/925yYp2Pe1ZrT8vJ2elNbw27yEzipEBYQM
13wUF0etakXOM3j5iOwug9VM1THLZWnQwf77I2sR6NQHkYS+akyjS3vyapLypQ9HXqlrzRAqJNA9
VlXd/BbXpZrqXdWBQ6+LxcEWRWCiprI4a7RqOTFhzZJpQjIbssEqFEcYv9Usqve0UEOfGIGUPoRw
FIGXIC1XAbttSMUghG1osqizzLhJRkQ519ANadCtxujIZtxTvCdaDIVHvnS+7hkrVyLIrHUoU6nQ
T0Gi/fc36mSzyHrwWYELV/bapcUJsqe6LndhfzZGzjWxViKE+IMCpmFoaoDSmHH+SR/Msegjwaet
lx8xq3MigpM70aY8FMiwf4w3CcZheQq4ax/t0upyOi4eypJmVKmkAx/XdI3ul7UKEGac97Ygjzwd
j5WL8K8FMi4PsnPwh1dYoIGef2Tihv64/r1WEnYNTHrGQnKN+SL2oYC3ZwsSYqxFqSEf1P2a259i
nTox+XndzlqaDgPwcQOE6ku2/vempbSXi7zMBH+o1fAltWR1G4GFOgjTvn3tyhz4HtDfAi+qYehE
78ZNKBf65vqPWGywJ2Ehr8QFscjCs/zUFBIs4D6pBIAo7vP2rlb2sfxbam8apEZmmPk87DHP3vJ1
LxyFlkVOaxn2stx4L1VUUVLpHZziTyL6DaMwbxLNcENN4ixz7fWnLxzCYCoG9/O3HmhRmmGeFQR7
jWeDVdrpnpzyX6ZiT5Wt3UpOf4zeYy/7JRUO7wG4BrfWIZuELrpu6N+fY0kxtRodGwE3sehMXuGS
UxGUWzDq7HnQrZXD8ZcpdntnYyz1GqaU5sHoUJ8ceVkTzwITnvGJlNzKasHvDcMW07tBevyvPfKv
JbCJQ43XQ19gCU2bAkgrNsSH6tURrNcfZBB2UmZOzqjJd50w8AqcK1HsL9NM7MxpOhBZXT5UDqwL
hhs6cyvLPJnjtfzkLzNMsGxkswqFmAp++dvcKC6EG8Ck33c+yqdA4WdeSJz2gexChzstuhLa/rLM
RBytEQSxMvHxwl7zyvRjCMdNWeZOpdacW3zVEjjGNKTVImoQzKU3WUMyW9HyFbPeVqKfiQHi7vgl
7BOOoeWbMAFM1y4MLVf9RUCpky7T28Xj81ZFyV3IWj+denouBSgQVxAnuumbMeIk16uOcmGUKULU
dZ/0SY19zMPnSNxItWK33Gns9S3EOxo1K1UES+7fK+vmqlKsYoBKqIXysqBUN3Mb+ZA5Q3ldL1tO
Jrl6rrGT/2uNVagIhUYcaIh9LOfJHcDI6ypADnrXzzZnSaxIRVbXpBaGxfO11jO62a0tDD6EmjNO
vPfHul98rYfxCwyIgRW/wu5VgLBGkaNjVG1uULPWgdkD+v/6wtYd4ssa4xA9tFD1vu2QdZnbfvyA
gLPdJjzWMt4nYoK7Mgp1n8swIuF94bXdGEJoQQ45gqq8pSx/vzhQmqlPtRXCSipWDgEVaR0fmobn
CUuM+3Zs8U7Cy3SRFGTzjok2upEun0eqbsM4yE100YSzDF0vK1ccEGlxPtCq513YY/aOUKJJfQ17
ZZfZVlbYRvgyQh6trXjz4GuWdGSPIHrEu+ybAq6SVNDr6uHjVZ0LXp4LSTD3c3sO8zg/asrQ3153
vTWvuLTH3CaVWhWFqrS48pO7XvqhAUp23cDqglRJxmwWdMmg+cA4hNTFaSSOSBHT2RPlZt+kNOhb
0dbH2b9uas338Br7Y2r5KRe+R3u1AIM3TGWN6MXdObVmv+p4wlOrO3ZhhbnmNZCpxiA/EnwT9Lgz
hq5aXvGFtw7mm6jAgAM1AQvhlO+grbjTithplOG/b4Xql9vF3BBCFEZdirDgj8VJRaUprR905cf1
T7K+WdDHARkvHkPsRW4Ig1AW5Sz4U0lfq7BxmqjlEf6s2kCFypKQnn8XE5mGWJxMAeuQk3IT1cXe
6Mq768tYdeIvE+z1RvIwgVDxhHijoghczrFtmNNeKEo/V0dOHXV1OWj3WIsgNJiLmctAsdo4HBRV
8MWOHIRxCMq25yxn1cGAVcHDWgEXGysk0momhWqVDhNT48dEPjdz+qvIBd74wMpzTYcm1h87zC2a
YAqKKqMGO/RdK9NNrG7k0C96wR6H0EmMFyGZNv/iS12YZHbPoEmIIgpMysXGajMk/4kzgLeF4P/X
La11tbE6CEwZWCOGT5hAEAl6QmLVxKUwRi6F+CkRZPVU1+avFqggu+poY3da9tiAKM0Gyfdsk7K/
64imeNd/yap3Lo6voXJoSGyJqABuNY4zA/FCqr00qm0hs+wIgCui8kyxzqmjz3tJz898UZOAhzuL
FsWKpLETzXSoqXD2lb3bWRPMF5zBZxfHQEtulPBHkib+NPQ2FRX7f0j7st64cabrXyRAO6VbLa3u
9ho7ju3cCInjaKeoffn175Gf7xur2ZrmZAaDXAwacKnIYrFYyzlKhdFR4P23qSKIWc6S3RAJtiVk
XtEbhzQofx4GBjBEooP9YNyFAfC8m4Dc9kf9YGN+GK8qkCQ74XPiDT8xVCvOdfOxJi+dW9M6Micq
g4s0AO+HM0rUmeXOUTvAfF+FjYgXbWMDT1TlVjdq0z42TLqAZU9o4EZjhmMWnQBUTiRk+X11EZsq
+H4RQQMAsVBvpza9L8tGcNdvWMmJHouLW4mQwjnR1AQiGvBj9RjGmPdTVu9k+45KstN0grtye4/+
Yv3iM+UhuoaoGS1UUkYaObUN/Jr418KdEtvjXZupghcif6JhEmu48Y/c30o71I9MeTDbIlCU6jUG
eL1Elfeh0w/lNAiquvxd8D9RBDc0MolwYpwXY31fMhr2RQCwFkfL5l0XfRsU0SDIWRaLF8PFNKZG
S60fhyIopkTZhZ2cAmGi6G67Lql2ncZsr46K1EfGMsIANdrgWBWj2pXkopcdfyctH2ItRS0w7gDO
nS8QdJkNDEKWU9Aqp3fq2ICYodaupLrB1GduXM1R8mim0SGhjYgke1MyoONNTQbP2lnvgRLO3ZCZ
Mw3qLgXAKrHfwxoMDDFaS5zeZs9MIQ+kqh+JFYu4/LbsCaQqoFqT0fWAf9xpYZYKjA+NBqoi914z
gijAJodRBS4RQo3Xy9fRlp72Eu6jQgKSNz6AkdhghCGxaIAtN3z0quQvQGxzpCQDoYipgf/ToLup
qIZAnmxbcFC3zNmGswZjMBoIzhDqCyrrIOCIyiAmbzM5ysZbzwQx7aYIpPjBM4/0+xlWKF6XcZ70
cRmo493UvnWZ7Iwi3MMND4pt0s3FVJH75W8ku8TYVJRARiM3T8ikAMclE8SZGy7tRAR37bRmoSXA
tSiDtN5TBQEDbnPNkt00eenLybtsExtrhuB/oQQGWaZ6Nr/axynNTC3F0Gqk74sp/qqWeucgaBLd
b1taqUhDqTjgoJThg7IGdC6zMuMhAE7RoEWoZdA83Y06SDNZ6PYgyNlf1mzD2k0VDfVoeMA2obX+
9GhpSVkxY8jLQO5l25VKEyjw9WNclE+YmgITy1zd1mN+QxSEMpclb60pOCmQ/licCnhkTiUTqS2a
1ICqWQ06CuVnZgDuyxBYiUgI57c7eTAazcDGjb3tIYvoYuQiVwQz/1vWvtZkWePVdWdVagKGGggZ
QikI0czQR/LLv1gsRQNtHtEUzFFzHhBUCxEpMPQfxDIz3NKIQQaIbLIp9H6bC7YSxB0rte3qbAAr
T2DMYChVSzA+jA5A7Zx/ow/RMD0iG/JZ9Y90kZxHZrlMgecPQ9/uiF7eVGMtiA627m1UvpY8G0qZ
usw7ognJLrTYKAh84ukmrqynKLZ+0l4vdrQoHoa4uqVNd2XXSusWmtq7s9IK3O3G3XXyBdyCoiDH
lNTGF+RT7cssBQhP4skhJgI76XB5UbecB0agkcRWZDS+8M5jngE+oc0mlLWj9z6sDqYtvSHZ89Vs
MWYBnS+LW87OOouJUAQUqNg8VbZAWMlzOVqT1emtQkCoOO/6at4nthyAzdetSuOj9IZeLYGz2lzL
lcTl99VBa0gcJoUFBY0+vU8W/Ecrj702YbdF2r1e1u6su5NXj/NPOnjywHMP9XKLvBh68j2rw71s
ap6eZsAvKn71WolJwJkEldl8R01pPwPYyqFxCFjKVhyCLoZyvtwaHDX6d8EJy3lqjFaliRZaRWAC
fdvpIs3YzVXXH/pM1ZxQBSsZGQrdzfK2QjY0RftBqb6CrkkH5YyW+pdXZ8tNGKCk/f8fwz2RVLVB
E2BtF8GkWY/2LP0I8/BqmBqB+97yrGsxy2esNjyk4NQyCMTosQKIIW3+WXZU9HxefOfZwoIqVjZs
hF1AuzgV0ui20iVTTLHRdXUIm2I4DHjTHsYxN94So2Q7s1fHx4FoyQ4OzdhVBpm/hVpdCKKMszr9
YnImppRlBafqvPtHsdAfwOaKBsMRKJ/otv/VUc+qXOqN+8pLf4D7xnKk0dMppi5FYw5bhwumBQwz
ZO7AkMSt9dzqZkHyCS+Llkn3mGciT7bJCKoEOvLROYb8RG1VmxJRJSAIdQ10B3GXmm5ESpEzQkHx
V+kPdmulR9Ikag9UV3nOnVRKmGCFt8wWDxjVRoANVnD+DCnKHFEadjQoCNIkDbsPlW/WpD9cPhxn
k9jYRxApYy5SM+GIlY9W05XZ0kG2OylbAgLwTFm/iy8m2KaA0wP00IXlqjaB0JP6NlCy20AM0bPh
lwmyQegrxX9o8eQ2Mk0bkMnpkF7EfekVQ5F4JqDdOqO6bebhmyqxyp1qUVvZxuVDFKJiLBOvUv08
QtFmIN3NGaRaIWbDLF2a7ut+GndVF7ZfUK4jAGErRY3jZ127H0uN1yiytCa4zfg6sSaTFvSTCCQU
DflKiYIacYzeiR4d1dn6YRIwPdr9gYbFrVWgobdPDmAavO6I7V7e84+cBudFCD4Cfd948Jh4+px6
kboh09AVTRlYoYpiaxcPLpD0MbWjGz9mQza9omH7xAQQn6Q/0bHxL8vfsGyIRyy9NA+CCJU7SzNR
kGswIT7OTMxkS/oh7qu7kQzCvPGGTz6RxAU0EqXWrBuQhCbwKHFNtwlizwbsoCOjd6QLhsM/4sra
8NKofmFx0bMMjkY+hdWju0kGGi8eKsfxusI77wNwXt/VxI194dzTppKf0gwOb3lidMgGFGKCCdNB
qulQT/uZBBoBQIbm1g4aBEK/IM7lPdw6uCsVeXB4s0pYIhsQmk6G10nkCpffszrWiV+y8KXJ1O+V
aQeXZZ6VAZYDtBbKbeeUNKzWcwhd5qDS/Fr3xz1xFcMpD0Pt/4Phza2NBHEu8K5AAwZYKe66lWNC
wySbyoC0DN31Cprs5em5otpPFHt2mW0e9YFdGXn6qNP2Sq+HP09O4g2FrkOgUSmov3Py6zIB2s8w
lMHSJu3bXQs04np0Zjs/qrQRkUltuUUcRzQ4ygiWzwastT618iRSyiAkAHVEI1zt2BVD4CohfyT1
d1GZCG6fLU+wlsgFyVNpg74qgcS6uGvnK4k0V1YrCpo2rm483mSkkRAqbMx1gWGWAau4BJmzcjT6
+kjK+coy6FciiYadN/X5FMXPHut62yfGoOJFSkolMDqpcOYxl45FNXa7y4dh69QbOqiyLQRfqBRx
pgHqsqiNRxmmoTbfa9ZGzqgVsyAG2ci4kLWQxQusggNjyNpCVyFEG9HkWlva70bW9lmkv+RyhBku
Uz+g1ek5R6/BZe0270pj6bjV0chOiL6s9Epy00ZzG3dYycHNZ8A7H1TwDSagNHV79QuIO0YgKPzp
ANniXgyM1egm8haYuuPvpV4tZrK0utbK8DNWQA8ZWdpjMcslwqAR4CmzxTDBKvdOJ7GflxXeshw8
7nUFUTmGjvgruZLlqM5BIx0kWfQ8lwXwBmbWusjm/ikRxaIlsT/YTQ00ifD8qmxOh5IR+DTTLnbK
3C5BxtdSFfTSb5kn3gYm6nwyEDD4/RuaMpS0CoduKbtfgz27+WaRXkT2ueWxYP8YdEBNkQDs79RK
gNWOB6YOKRGLo/swMqp9XSmFS3QdvXdJUqJbsxgFV9/ZLJSpIt25OEnMV+Av8fFL05UJ+jnw2qb5
8DDT8VhlxR1bhgVmmbykbponB0WyPBpiSkrKbtVY2xk52NeiDsSjpg8i8tJlcvSE6DQV5FXO78iP
jwNjrArodcCOL0d6dXBkoAeDKQx5ByV5Yh/ghaBAJ7sBbXzH/vsgOyJ0nzPLXQTqyDXLhKBvm69B
6Ipk9kYW0YBkP1qQdevDfUk6Uch6Zk+LFOS1FcsELzAs+FQtvegY6lV4XQ9u+W3wgZBBHWCvo5dm
djHQZ4O+QzroohtxezVXYjkHaMndoMoFEhnj24LHmnvZ6CyDpYq/0ByICmabS7mSxu1dYdlMkRtI
k9TfvXFIi9ipmufLjuY8V3S6kjxBGEsVaudRWATW00IVwXbKc+wlbnZdHlq3vfkH2CZnFzAnkfOr
ZSIXc/KRGQlo4QKF+2mBAFHv8mfdsQNg8SzYqLlriQaUBDZjceFiVJGwtnssJzV+20BZlqggfDm/
pTjNOP8zEmrgyQgJiv571O7j9os5FDuLKbs6yX1J/Uoj9GEN0a6Kxp0F9laiPwq2c1Hi5C3HfcKy
CKvzrlFMD7TxknYKtB26w8PDdN94gAb4UQAYwBChxon2kruXU0piO6PQ2KRXslE584IJrh7QnCM4
8WeundNr+ZCVXnIi6RNdjCaLbzDk44SY1EvMH2qYB2UrukcEB8/ivIucTVGLFzAOHpitKuaN1TMe
GoFgq87eTJxKnDNBSiKXaI2T13p2DoCK2AUJYOWisUJz3swY0P5Ao6/dJc9CQXL/elm8aOc459Ib
ajROKnTEuN6EtwObUgCuZy6uf++ypLO5iY8L8tOP8VBU9VJmzQsoipzS5GgAfAM9DHW72+Q4Fg4q
F+Av7m1/2Oeiwv/fnEg0Jy7Dgshs8Seyr0I7tyTY583klmpAdumd7bYowh9C0AImQlTkv/GnnxK5
A6iECZB7M0hEJuWFYE7drTIwU0iuMmE/rQTsgImnicazzhupPozpUyx3EFEmKbRUQSaY1pObANs6
D7sv6gxoDF07qksmuE3pu2rEV7GhfmsUbV/1iFxtKbqKTbAvVFnuTHQoHC3vj5Fd+ywT5Xm2Le7z
E7kjTIiVxTLeQEFhXg0VgO7D70b7faY/Lpvb5uFF/wEmN5WliM9dL0o9FVJcYiXC/kka3jWtd5RE
GIAshsP7WQ0JymU4zERxnj8+HZMmPUqQeb+uEwhwdFdxoszJcHMWB1Aji7Pcm8a8kvmRx1v5wGKJ
rlULMrsYFHyyr0eYupdCDLd/IPqEaMfKfCHc6ta1uZbKrWeexnEymljP1gNQU2k62T4FnqHulL0z
dK7sIR18Lwp9No/RWip3WZtFxNAvBKmDO02OsosMuEZMg7tx4YFewrF+WuiyFFwyIlU5b0EYY6C9
xAIj8eHOxpeBfLlsm8It5LxDIU0zWudSGpjMBYULZnVczLigCta7lgNAaskbroRecOtErNeS8w05
mZqMFFCLhSh2XVnqWzUIia0FB+LjElgZJ56xfRq2EBJfT2DPdY19BQxqoF8fbJCW4DiIYE3PJqaX
a2WtFndLowMlqzsNa5mC8ikGKeqClGeabumGHgNdS7Y3d5OEFKsoFhGZCXdx53Vk5zX6aoI+f4rU
a10Ehys0fs65qKTKM1wkcOYvZiD73XfQPrg5QURggTxAe7e9URANCFT6KAutdq80tD7vB0iccWXp
ne1kwD4Q2P62GSIOAD6AjN3h9itBnsXSVCybPrkNcRaOjq738l3sgQo9aP3Zp3hQCYuDf3PmPuVy
25Vqpa0BveL/nbnCb8rlzMVI9X/wgim5bx8KkSv5mz38lMrvoSr3pBygLRA3vW70jP24L+A1MSoK
TDTgoQErK/l5eYm3blhN/0sm/5brJNvG5QdNqQyAW1gnjaVX5LGPOYg3Bb5yM+IAAoqOhCDaU5CN
Po3ILUblTu8K3LMEpcKX2WMKXDS4s/2o9sBZpDuDp3qg8lyKHG4tmnA4rzh/HP9P+Vw4kQKwUhkp
5AOzwAqWfGB204M2Z3RwOTGclcnrfoHoI/XB6iRyPtu2/Cmcs2WUWMAQWFBcxWPntuO30C68sBSV
97d96qcUznJB4Wi1oCiFigwqGjoo7RboUbBrLOiFlu7KzyLFhMvK2a2ZdbM9DejSXSiSlxQHwF6W
mhWe6GiOX8hLmsRX0YxvoJlYYFPbXugvffnSVY0h/GgysKVKmDlp+pqVusgJbS4pBm+WIR/U3fgH
Aegu5DlDNS6Y+0fiTH4O/NHY6xjAPw9T6SiuvhdGUJvGspLJXfqAD8kHY1GLKIhkTNfAu+5twd6U
fy1IjOnkgnarETOGby7nSi53QgFJMZWGAiM1c8BPqq7RABjKfljcXlHskgIj65JXD6IlFonlDqbV
xIw0A9Qdd2O+A8qn7eVY48xVI2/BCjSN/T+AexRtLHciGVO0xCohNe+A+Vn4/4us4OWX9yVSgouX
/3eR1WqFuQNaawRvEFrSoOyA7x09Z8YDs0QLunz52VNjJYQ7kcA+VOxJhpCO9VfFCOeK7jQ9k+8w
LOBaZev/i0vkUxwfChR4BQKHDVZD2ulWL9JvpVJfZ7T2KsIEUcf2JbmSxb0thj6vDTZCVm+DNhKk
4k72/b1FJhfXJEa/97EvwvrfjhpXItXTa6tqxr4teojUFzT8GV7bBVxFv88XkcUO3S3IPjboeBH4
tu37ksgy8JEA3QzY6lPBbK57XWkhGC2GiRMzOJ8SLna6TR/NX7LtMAo+bniCaR/etjd/CjDyESyj
p0YGiiaKx/ykWoNJOCBMoD+rj76F9XHKRVa66eRWArh1Va2onqoQAmTAtSv5TUh+yvbXy6a56VlW
MrglRLICFbmE0aDJjyQ2gAkg6mM477pdooqViOUTVoGwJUdFX0Q1DabhOyO/peS7Xl3P8V2uv5rV
U2T8VOuv6JP0LismWjzOU0tD2NWYjUHgZkRgsUy83hjdRC9ErnnTlay041yzEZuR3ERwJSx3W0/r
3P4OfIiBRZ3mPQt08EwCVDV1BkzkeKpI+mZ0uhLOeejWjOdmXloE4yL3JENysBX7zgLJxzKHc3lB
t4P+lTDOM1t4F6J/AprGGjSN9oAp8ELP+or89OiDLFL4zBDZJuelY/S/99oI7SxSOYNy3QLfWqDT
coTOLoJPnc7aCSTdiBWMwwWNr71EewXUIV7y1HhgNy7c9Nj8cdH99CzwWOUJSKmlNINKpPYnNySe
VDrFsX5uwQy6V9wo8Vshu4/ASDTOjZSN3QEWAecP6K2OatzG9b02HdpR0EnzN974L394BkebxvkQ
9VhLBROfllsjAb+zkcQDLnqF/AHuoHw3E4BFK4CxlDovEULBbxmMpaPxD11hcL0adxzyzJQw0YsW
Uoxg+IpyV2q1wGA2JWCo1pAB0AmePs6rGL3dkxFFKTTVx64Mft6kjwTnbMtxoWXwLxGcQ9EoGyyt
g4iszsB6fV2Qn3YpmGndMom1DG6hmrSitKOQ0dW/yvR7h4u7wphiN74JztcSbfDnay2I8xltpCsA
boMgpQ1y/cnC/tNmcEb2rDZApMX/2ZZDpENX2AL/L9opznkwJhsxiSDZUtEvMM9OYolq1wIR/Nsq
1+NWq2YTUXn1pYtMb1IygRJbtoDIAvOzRNXUs6kooGKHcsxqdAeVBGS9jVpaPlCLqW/3I50Ehrd5
Ua+lcZvVhTkdDVKhO+0mewCNwp5hrgilYxlXlyh2E2nGbc9oGlMOSFY0CEv3GBjfN/1jqEQCM1/+
CG99nwphXPQ08jCtCaOrFEK6FGNL1pdhBjJ+QX25u5HkRyBAufqUfL1s8ltGsZbJxd95b1dzKGMR
e/KzDK9jZBYuC9g6u2sBnDsfe1oMWrqsnAbsPvU7QcWgb363QO/7b4K009Wbxm4q8wyC6KijVzp0
WqLvWzXzpVlEd7P5alkrtazqKkas68k2hg6y1C9LisS4yp6iaC//MpHxMtwabNxuoweX9Vuc3CXr
4Hw5pmtZ2tTLTmGIYop+AzLWsTSwz4BXoW8FsysfrwFOmqmiCx+YDERGNxXncqV2MtMO2YNAGdKv
mIh9lZXeLdr8ENvE0fr3uei8Ui6dNFffatv2o3B4iLTY6QrZNRPDoa19MzZ4xhVqsQ97xenT0q2a
QWBdW04A3wlUSHTQ68Cj5lbFTmvSG7OKzvU2/RVS4ucAHDG765mYwFqbb0eCu8KMfuQTAttMFTi8
jdNzIp27/OwI4G+9gXbIXJrA4gagPGGdceP8nIjgNsLSa8QoNRTsWO2lJHdLzK1reD/Wolt2w8BO
JHH+FMhxZQJOAGx5BA4Ygpd49paO6FqTRjdm/6IWfCKN86j2aLFezSGNKtVNitei9nXWx8PQitAq
BAvI9x6EbZlijAeCWE52IwLYflA9hoSGae3++ISuVbI5X5rOXa4NLawhHasDQGE9Ntn7ODeOHQYM
JUUE1LjlhYBngJ5YQEiDGEPlbH+2tEQpKrSISg36Guwu6PLfBYmCKAG6SH5rpddUflFDdHRkQ5CU
3wfgfkadsLljcay8q1h/BncIkP7CqzzCZ/S7OER/mpMdUX7zpQn5d/JtQSgXkleIRHKHIukzIJCb
aMxF1a/zw9+6j4kKV35ElLtwkESPory0ulxTl5TkDoeh50NmjJCoB0rtEaS/vXH2yHPk265BXLVb
RivcpWutqJ1IcSUL6avana7+eNIN2Arr1ebODRpLBi2eTKhevobTsQ8f5eS2FaKAioyLf2qCO0fW
egw2B2qg7Kxv2bHfZ+70NnkRKrmhPz2Llnir7rDWjH9skjIjGegdECk08X0JOyp1DSPvPRLzkaNg
pjA2YzzWEidChVKjBaZVv2q97LAcODoxPYTmr7oTzGAv23ph2/nHKAvDAsydWIWi73B2+islVn2m
gm0gLH6Y8bUZ0cNlJ7KVnjxZBi6OARRLpmCGBv7qrUAvmOkkV/ku9Jqd4hq/uwak3EvhULT6W15y
ZVYaF9FItCJFacCshno36082KFfL/raRRYBxQvU4pwWa+BhNZ1jRwZXuRq9xGZh0voTe27Qzfk+P
zI28/vXyki5/kttEIi/9yGgJx+AM/9K3y8KeLapWQSJ/H4fEycxveihIlYhkcOvXhykg/RYZhfQI
AHAnn39YohmI5WjzemjaQroB30bOZiPj0ExjI9cq+KD2oOz/R6+MISeBBZ5PgKI0v5bDOfSeGnJM
Y8hRwFamqR4YRTDFCzKV1qn39ncSZPcGRkCTu+RF3SNVvv/z7UIwpyP3pHyAjGIZVsE16qq1FDcz
C2YAEFdV7GSt5HXh18tSNqIdQHp/SuGUrMG+3cVMZoGdokQUV9UTAqzZyYl931nF17hWRaa/dYec
iORurZzlMo16iKTwX6+tp+zmO7rMsRyL9wzkKTOqEbhGluZn9RpU1mBbFt0eGwHrySdw19gclu2k
A584kPXsRqP6YWKj6CG2KQOjBgvTKSYA+PY7uQbWwJgrkNGy3QAgICUbBC/lrYZSYq5kcK9K8PkO
EgyI4SiATq/H8JsHgH1MV9lucljuqBYwvpYjsxcWiApIG67yRDbnoPth7MaSaizIovS9IyBtltCc
q+e3A1rULhupaCmX31dHoWtYbNUqRNkV2CEj6nTyr8sStvzWeiF5d2zY3RQ2kCDPd5b9Ww9vpEKU
9hfJ4I6aFJptSGtsljLhqp4VNuNaC5GDUkfvsjZbtwv2RsdQKLh9z1lV8jafLEyksADvlXk3+ZoH
PlrpZxXYPoZxjui6iSdMrotMYnuf/hLLp9ZYxiLwCUNsJ/WOFf3obVtgCVvlDAKmJYz2wSkSnedb
ykM0zKbholkUtLRyZMyClP1dpUhox4gdq3htlXu9fCgaaR/PpWPSUrC4m3b/+QX8Q4oVI4lawMUF
VQsgAIpsb/QmDU86E+Ewb15AK135h5RUDzPY2HUW1F4Y5K/yU+6NV5k/fU/8ft/sZvfa3M05WOrA
DS2qG21u5UpLzrPYI3h59BFazjn9ykyMobJZ5L1EMjgPwuqhMIcBMuJr+051MQ7nxnBWr60jfekf
6vf86V80LK6tx16+aOVIqqZT46gwYPkseWaT+SJVhi84e8vK8OHJgsYKVCQMR4Pp5VTGPE89oNQt
hoZodtB9vAcd40Y7oujgRV4cXJa25VPQWoGpTIyboqbN3aVGbUZAe42rYJy6oLRBAlmpR2mK3y6L
2Yj/kXP9FMPdl1acDnIySXCPJR1Gr0xUw9PsMgxCS6eePkUFcOmtWT12bTMLVDxHZVhaJFfCl3hw
tWmqPhZs0qDjrIxBrjyk5KWcjuYcewyYVpF2n7DGKUxRnLJlnaDQwSQoqG0AycRdCYZMtXZK8ipI
2SsZI0e2RUBxm5u3ksBdCHaXGRPT0iqQ69JNxsKVZN2bhP2mIkU4G2GRHU5zBEUsRK7FfF90gkh1
yyOuV4qzjqmITbNOoAeY0b6UZb4v5SFyiqp47TRld9kSRbI4Y6j1dAbWT1YFjT2h2isB8w7FonB2
uv7Xf5LEA26HJTVSuuy/zN6NKXJ6qnikLd3ByAXrt3ldrxaQZ5WwdJua1EqqYPrS+cYL0irx0meY
gvaqxfSMqyfOQJ0k+zfdm5g2+cvGCeflUcoJ+yrCzjFF9+PxHVxsnspEHaqLgfEecS2F84ik0KYi
0iGlHjAf0lX9iOwQ8xnIadp42AGaSLB1Aosny+8rjzFlcR3N8XJ0U4Q5c+bP0vtl4xAcXcI5B0BF
GEWiwQxb/T0dTWeaK5cZIhxqgbGT5fe1Hm1fh8CIhXdvX3J0F8fZcQZJdtT9vqzNckDPNwi8nCBo
JYCe4TYoNCd0NSfQJkHBFwBgU3fQFlTm/nHKqKOJMuzb24P4E5fkBhCiNaharlqLQ6olO3FIM+qO
mWSqiFlHJIezbnnW2jwZIQeX/j412CHT/sXwIA7QpyrcyilDHs62CRH1UHkgryjDOxu9BeDw8i9v
0bYpfAriTFqJUKJULGxRNlQvYZIHppUgGzdd14Post+wbYxx6cBsA+MXUL04ncrUbPFyrfFYkEq3
ILfTpLkm+gwuKySSwilUWI06KHJbBQDzQqp+2CU2wHnUXIC3sOF7TpThDqqSTQYzKcQ0THOGsHGV
AZ3wKujW5fueiHr/NlJTQFwAVw7weMClwzPvgf1hKvq+A7u7NbdBB+TFQw/3OjpAAWqupoaanozq
yDELM+2qHMpId/98VQEqAd4/fAGCJu6uH8IIjADM/DB5TC5mLiDq3NSMvf8mhrvx58ZGLQWIb0HV
A9NPpkPugMbqV1+XPy4L2gIasDTA4ttgNDSNM0ZfZQAIUEsJbqi3tnTKW7pLdEd/TH5NO/SzCbuu
NlzGiTjO45YmpRSUh9jAONCjXyXGdC8rtCnAAGiSYquoWfGHq7NZatmzUQWS1gK46D3SRFg7WxaP
ePUvCdzBCtM4QSEbEjQMuSeoBle5N0mekcqeZT1c1mYrcrHWwrjj1SWZXeXzYgiTU/5QUR/JbvIr
85Hue58+0GMd5AH5elnoludYy+T2KFSUqJAAaRLE41XazsE0Ka4mKYLGuA2He6IZd5IsO7MmNC/j
1THS9AC0k9mjJCw8PQSfdDQlf8q4g77kE3nckZKtnkihDnkTYQ92VNxYc+6jZC96dC+XHnfXn8jh
AmgTnU8THpLw7siWBAt1bHZjMocEim8+U1dUUNneLJDoYcZEV89oK6OsAFNBh/M7ab0T95gBo5I7
9lVw2Sa2/QSyrMBEAmCywXvepGO22s4htutNRs1xr+wlEP04GJLtDu1NeKsI7pVNvVbylmVehWa4
u0KmjpDX2k+zfjdO34v49T/qxF3EcZqpSgWY4aD0O3/yTbwJ4t1wXxw0Hyim/1Ehzm3ogykDCxjC
kNZyZ3UGGODgh9PPyzptur/VsvH+Aty3iT5Aij7+iNlRNgX3hWhbON+QtCXG1CUboWUWf40nepyM
7DDMuuAUbfpYgi4HhMtLkpU7RNJsMsxwRjV6/GtPZ/tp+t6E7+aQ+7KoELq9Yn+J4gvQWTeNGtDn
6iAcv9R64YKCQxAziCRw/RqD0dk6+JZxRIsabSjZbrBq7/K2b6VtsVafWnDHZUxV2y5Ap4mO7ehB
uVYcFHvc8Qus7KBf0xvR6RSpxJ0cAxSTaqRDHK1ShOWvciU4myIBy++r49/OEQOGGNYsyd7lMHaU
KPIFS7bpqFdLxh2VOTe0Do/zOohLhzwukFXpXb3PLVcGp7E4d799cj53iDs5ehnOQ1RBowHQ2CZp
EDA0jtrUArUEJ4dv9rYUSphRQqt8emyK3JGHL1L3VOe/lEzU6LtVaDwxOu5KRSMxSuEzZLVefR1+
I8/KVYjpOytIX+e97S+jo8N164LE2KsOCnKIgN8+CHZxsbSz63a1i5ynMMLcyKYR34AK3a38o1nm
gh/CR/pQ7eQrRGWCg7bxkl+rrHO9sxEyBsC/xC6y+b7CAF6SRwj+Zgdvq6EEL9Gft70D8A3tBOCF
loHIrHMHrY9CarG8b4K5fiHV0UZJd7J3l9fw3DIhA09R216mVTEzdnrWTDbVVTTITcCk40xmf2g1
YFKIci0bnT6nYjhraa3czEYLYuSj/C0CxgAAPXaW13gtZmR/mFe9BYjaWXDrCqVy9kF1OiIfpjRB
DhSAgrmIyzAbbznsgd4arrzvfooiso1Q6URRk7ORgVQt0KkgUg+ifWl+aNmjSW3q3Yb+g6bxDeeP
tBIG4wGmbViKybOEpKhdlHE1N+iMA130DiOFHgAADt3ODqiPMUDBmm7ZC1KmBJ3jqL4o/BOrqNSs
KqqyCWgUBVJaPeUpZqxKa5wFvmxLMUBFguoHQyUL2CK3eW2mq2OrVB1aRVFm1cENh3utM7CBg1c7
Y/9PQBw2tFvL5MuPZErrJpEhc4wQFaquVLgL3IDljaY3uxRzxT6ov0tX1DKxIRd48lhWBfMz51Ob
ctrMYY/B22Ci76S7UslTGH7544OO3COYETQYCZhaueWspS6X1anugwQUik6lykGmm1eNnHy7LOf8
8kZF51MOX6ZOQERQ6RVUGaN4byTATEhUQZy7ZRp4h8gWWWg8bIyCnDqtSK/UiVZDHxh3C0V67pUu
QFKjxOn9dM8C67b984ottFpJ5EISKVK1OS7GPiiZss8ZPcz19PQvFm4lYrGRVdTTEztiedv1AYmM
fV34MdDDLkvY6H481YILQ8JZmyVmYt3GnbLrv0qwA1yZ7GeGCTRDPZq7DL2l6KMX+8XlL5/e1KeS
uWumaYnShnnfBw1ItrMaAGCSjti+RxAk6s/YOkvrreKummqoaCbZUHLQco/KXwo6ubbIykVCuNOk
kCjKLAYhTGORo43sxrDGQ9FUf+5u13bHXycpIKQJkbFugKz2swFNGKjHfq06kZzle8/3B8CyII+x
FtbTU+MzUkJooy7707MSnHHNvUliUOfJxXOhqDtJRR4jAoxmbwrij48G8jPJhg7yIQBlL0BLp5IZ
xsW0nkGy4agA/mp2xYxygi9pbnVLXiq/9+qDtpf8cI8s+fRLfpmbnar97koAWRUepkYFQd7GtAdM
dfVB3CFRRqUsxx4fpGbtK5Xrzpkk6RlD535YRm+pOT1OSRJgDBdd/mN0zAF8614+p5vGBVA5A7Rf
2F++ySHO7DCqUzibEH3+paZfqYPu96UusC31/LkATbHwQLfFgQH/0+nSg++BVTWdewCRoYOp6htf
lWSA5tn3+sLRI9vzXq3nB4WM3SHM2+fp/0i7rh3JjR36RQKUw6ti58lpX4TZpBxL+evvqV7b01Pd
2+W7xgK2gQXMZolksRjOIQixCZ7K8oAxMalXVoDhwzhj2jU2VsgANwoCB/Slgln0M02yxeggyDp2
KOXmoDQlhqO0YZ9MIm9lmb1yaDEe/CgYLdZBRwie3M96gER2SHPcqr5oAGFFzGxL4qwqnWWSEAHC
EozEoj4NND52yVXoRg3ttkb3wfrSO/KoA/tHEjPyg/bAdgBal11NKFoX9DGZY2hddJPOY70SLaI5
I+aFgzJOgPuSd+TbdVthdddl+g1VEOJZogHaB0b3cCmXWMpgK6Wp282YOpHA646dP3s+iWCLJDrJ
iNiWENGZNwuoq8rscREtdx4bRyJ4kozx+rpO50m0hgYPILplERue1AU+f9A6xjxMJFhol24GV/SI
E/vhd9W1AiRILwpH2pm3Qdixfoq0CNyhLGaFYbajZHRtHxhT6rX6YoPd2Z1kXvfqPGlh5DBVmjpr
l6ZRwf+Rrrv1HDnlTegqh6EF1pGGhhmm62zlO+cgz6yDkckkSn2vd+Bogm7oICw+pnjIHd3ksa0v
g4eOsOzqXy03ebku9cKBIpBbKtBQjSOOwOevZ2RqAW9Uesz/YqVdTqzXfGolJzNN9w8EgZMKz1aQ
M56Bys+SKAiJqfWBCZzlAtzNnbaPTd7+3Zn50/EkWAZcV6I9deYMhbG3CmksYf7hvkNHXdctWxdu
yJTaVWbaBY+R8SxVovI0OlcKcHNNO9s2RL48WxmBvBHGqBDZcsFlp/qdmT23FiAHrx/i2SXAiGOu
O3NozVbS8C6I0dHqkFC3og3KSxQ1OlvjImbI9LQ+XfdHcfjBoDyQlPPUPa6tcl6Q5UZNXnj5kCwg
ZGsVV0g6HfBt804r5NYuQC9rkxJEm/kUAyYw3RlZ2u7kdlTctNcGN1yk1p7rQXSlgYhrqSkEzEQ1
WB5I2myHMboFy4tZS9y4Anfi9RO7ZN8anmvg0tXABsYGjHbo1CGXEA+j6FVWX5LsKeWxWZ7dN2BE
xD2jgB8LRRmIYsJ6j6jemJk4wHG90Vvc/Buaf06j2DnKF4qjDv+iSHnR0D9ksnG+SeRWKBrI1PLy
Nk8xs19IBPCnVbaOir5wLSIfGq3kbD+dTyB+VpVdydKMfEktAVlIpYX3KeoYrV+LD0UqeEP6MwaC
KRk2KW/E6PIBo4gBpmjc6WcDiJMBqFIjk/ARp8RJ2q9FuLOyV226NcOXFgOJCjajjBtDIM4Eomjd
DAaVEyYvxGb03D9+AeN4KEsJSXzUG4sFI/CUldG7bqiX7lG6tYxmuATCPMy3fI7EU1Nl6VQiEo9A
8jVNB7upK+n+L8TvNuCh+lGjZHwbdBiGqoNiE+zbbJKUjrWep0U3gDxuWBVARhWFGrAMskPQwxZn
GUt2AnjV365ryZ4jUjManmU6ry5iVJdxlUUpEj3Fm9lHqdRJywIr2ZxE+ezqPmZ/KtbULQPvozNW
vFJL2rJQie5TCigwSHoTSt0BhcTRnOGHUHJhvM5W448SNbqaRDmuLTbGFIJkzr3RUYnzkQJiWVzh
nuIhRxu6qUgBzQHIY4OA4hZpiyLYfWfzupYXTha88R8/gslYNKNPNYzj60A6iF+MevbNjkcoxF52
v/QEgQfddjHPqCVFtQW/zzTp/oS9fjnt7FQbfVHOXDXPnOt2wobtoyhK/qahJIr0knntiFFpzFIF
bYoYlI1pbNfhbYtViutSzmosrBjm0Lq2yRaSQwzxJB/pwvSgPs+5XYA1LHOQ7anfykMBqAIgb/n/
L4LIL9kmKHDA5qucPYQ6bUJ8znqo2MevQtis5my8Jy0PEIFNGY5i8OJAf9YSZQCZfQ4rSUMstQ4h
JtQKJ5FVF29YT1e/5+1OzXhLKRc/24kwppwz481kmD3qDqSOsFqvrvKsPmDLjZNLnl1Dv5RCzmVB
IbylmFgZN/koaSIsMdfulUyz9emQK7EbK4WdWV/rPPHm9CEdufZyWb8PudQJT8p+UV93idjOuq/c
hAG+WmXPPwAdjGQIyHNu9r3x09oPQy5u5+WP+CGX/q4TuZJGABiVjgCvbjo3zzU3G3RH6QBm/66Q
muN7FyOJ9SGMuessYZgIygi630urVt2r0/frXsf7/zMWmQ153uvUSMZBdSdF3BviyCkB8M6LscNs
1KxpwDSyT7p7kmK5kuS2JeaOLmbuzF9h5mnE3GrSGNZ6msEstMZF8rHWtiWGhe/Fh96N7yXPfGmf
eE2Ii7H44yOxuM5oL+qJiL0dv1HeUgkTyj3qp1ZjZ0AKvP65ODbPbm8OhlYvkwRJxgyeqh8hFv25
sHI8GUwcrlGpQNUCMmbNBpZXdC+g2B15k+RFlU/c8EZxAKFnjU4icq4AWWTyICaUmEwoGevOtGbg
J/j1q3YzA/0zBtrbsGrAk+OGftDj3q7vZVt9EdzvnBVx3jekZnXi1VVi5tog028o7jOszxURdr7K
O0wScpQ8245llWTihyWYuSLM8AfwytyAamxniXYBV6gByR0nR2AKXbSzGigC4ft18+EpyUSTVFFb
IY9EXHPmq4ySF14MYbGfUHG8LofjgyxBT9qnpClUqFgsYOfJYhtkzP9RBBNVkqnNJwUdYz8an0RF
9LSYN+rCU4IJJIupNsCmgQSpJ8EI3tSp4djcJU8DVym2GBRwOoMn/LPNLVJuFYrWIocLUeuNcEwG
scfl2/WPwZMif5aioIUUYsQcAdEC/wnwdM1iv6Rfrwu5mOmf6sK47pSKeMMQZG+AP5DdDBvfLnhY
n6RNdquCuj6y+a+mSx8I64XAjgB5Hqr+zAcahGwivYCLuNKJa7W3Iybar2t16eo6kXBMfU6CgjSJ
mD4KIWHKBI+QDHAKsuxrlUIhfKqbPJ/96wI5Kh1bLCcCMbs+xypVqa0w6iRm3+q2eb0u4rI5/HNq
x6fviQjUx8CAROipNYfGBLF1sYnG79dlnBUJaIw7PTjGGqyctD2mEHRfWOkb4oBSatiqducJAZbI
uBw4vFOjf3+iUpcpghyaUElbiud+FMFhb2QclXgymKhtVDPR8gGp+9Jv5qTeRGAQvn5oPAlMcLZI
n2AJGFrkI6Z9ZGML/sT76yLOBuPZ78Kke4sVaoay0FwMbyzz2fKx2+zXKy0QAs3JHoY9/0XOU4sJ
1KI5/53+NdZ7XaqOKvJwyqmjn5ZPfmmFJgTWW+g/Ga2KXO1qIGzpvqguyrruxWCaSKClLailGj12
htmq7Lia10TkLX5ejns0AIFjFJAabOnG6AzUPQhONNzHt5KLEd91vdIf4oPkiavia8sJEBe990Qc
YyRJSJJyOj62FiB4LbVtNsA0AI0Gx1DoVzk70hM5zJFKbSGTmd7g+a46FCuzx6zIDADqF/EtWo9u
vBruMnd6UuYg3csHjnAaHa4JZ0zGkBRhqSrkYgB+By8CYMO+YuXUNm9aO7XjTfNyXR49s2vimHuE
zCQf6xy6TrlpdwW2DZDZ6hPgnHjvf561sDM+SjqIqZhDMzUIgzFQtuabvp5QkFKc6qF8ip+ua8ax
Fpb2vYukSE1oqgmARTuvvTbfkJKX7F0OKh+2osk435PwO3dVB+RdSKGgOfKzgmIi4LhAhJLsjCC0
jedQcJBR85CILibS6Cz97XrsMJOx1POoLEjQZh38GcVh6RzyhFnSCJAD4JeRHHGwlwz3TfmDV7Dl
HSwNeicqd9psSWUBlccOGIkkc8REvdfbcH39+10MbCca0p9xImZqsbpW1RAjFXgRZN/m1pPqd3O8
04vKQ4UJfZ+ME2AuhusTkUyAscRMUJQUFmpKX0qrtNWCt6VHQ8cVd2MHZw3S5uoEJA8/ag9yuisE
cCsAk1Rd8FpoeBQ9nDimMaEkQkal6rQaYO7Js7gvNmAfW+tAgd2K62g/OJNTrSUPCBJki/fQ9a/H
9XYmsJhzNmD/EMIHH/iz+/4pustfGkCWY1L4h3BrKZyozfl27MzTXOrdODc42V7IXbE2gQ6gdVye
ME50Pht+6aLSGiu4HehCQQ9cusCIo0xyRmD6w4+Ry/p3sTB84uc6E1+kuZ2KJsarVXtY/OrQrUuX
0h0pe+rj5WoGvXO6gbK878c7TiaJba1ZtsBHjs8H+hM9/iYUnIuHFzl1JoxUooTWIa13EA/Xwf38
1FdOtzVgk8JGeRr24rbc/79Ucsdk6cPBWQCRZDCHedSg1SKGXkt6u+95JsK5UHUmhjQ9+EtrFWrV
VmGr4c+23Znmoera/2jvTJKCLXcrHHSoog47UQCUVMyrt3G/EBM/hEaqckLLQjRhjkG9ca9shYNw
r7uUGmr6IsoefzvxbJKO/UZM4CDlgknZCC7W4WJrbzGYvo8CA2Pp+Z3JS7Y44ZgFFNGVySwJTbYI
+uXDTvVq005vioBaYeULd3jMY1gwbmxuoZFjJiy+SJyoAAkL8flGcG3K79qO7JM9gDf8ZocdAzvx
1ReAqHCCMk8oE0zQvmiy8Xhz14e4x9hz8R29LVtIeH0R3rky0SOVyxbWiXMdRROjXltrOBhq4pho
QkZ6t+JcNTy1mEiSjQbmKi1YjPll8YXXMQAq6Xdl8tATdJUncWW45a71uZwxFyu2J7GZRRwRQZzW
jDHktu7sCba2yiasqNjNvv9hvQgevexEd7jTt/KLLDk5GOQfr2vOCdIsGEk+pqrYNzjmSMyDUU7t
puOB5PNEMGHGErRqsjTo2Mh7UrynKnfCjZNOGkyUkbPZWEyaElHSTSTPC6gopUP5s8e+hmzXWBQW
fIFXQeXFNoOJMk3Zxk2qQOqUO8KD4vcBuM1Ve9gOTrWTcatqIDrgM3xRDzvP/7DSh+kKIL8es6aT
pDYmgF+qInwx/a4FEtm06jadJ/sdeCgj98/c/UMY4xdK2qkzShDIHZo9HQLPDGHVL7LddTy++MtW
8iGJydXJZORSAdABX4wWRyixt1fxoPcul9WkDxnMxTqIXW4u1BJHp94V75ShPfIMR/hivmpO4Qtc
tFeuRMb2ybRkakULeaMzuNUhdkofZLeB6mLdG1io3Q9eL+3yk+dDRcYVijYEswH153QdbpRVFihB
v5ZXPDG/Mf4POYzxY6iiLHoJiuWJLdDzxCYrSBCDakQbhrLbTXs+p9BvXgT/SD2G0xPbJ3oKoA36
IFcDyqa3ZE60McAWKjmSh7lFlf9Ivpytf0hkegwG6TAvhbHr4/UOpGBfH+0BKkogXaxuBFd5ux6P
f3MjfAhkLlhLXsyo6aGiuNH8fo8MMPMqsKa9Si7Y0L1yBVgqN3qdno3n7oeScrGyeV/2OEh5csZ9
NreZSX9Ai/5vtqJ7fVYE4vccLxQ8/Jz6KTz0nEz08vX7oTQTZvDIw3a/Dqut8D7JbrJusAvh0Yif
rx8uzx3ZnQ9UWRaBUKs19xoOVNslXuEYT8U6u03BpBt/4S11cD8nE3I6pZRAFg2J4wYcY4Hqjfta
9oof9bZX7CVYsKGZA/chvFe/xndWB+4TztFyfYYJQdaAPxaddKIJKjWi+EZ9y/ByJ4gLePbpf5YR
f3xMJgRFMbCKTNr1oUW6aS0/NSheUdbyBNte4Nd9yDfZQ9E5gss7bU7wY4dXQylXVAMsUEfJfTCs
er+Bktz1b85dxQ6sxlKqwEGOGiogvO2f/j5SXMNBUtr5D55ml7Phf86UnVUtljjtzBkSh/ml63us
CGW+pj/oJkZELR5y4eV06kMYE4KAsKBUQgyLiaP3qlt2nUWcZVY5/RqeSkyCHzZKYo0SVKqjZ2N5
TYZ30Uq9OX8qAADM8XuOYbAEAKYwLrlFy1j6l/6n5CcrbYWodpglFDtrT9og2m6xYeuXThzM9xzh
nOCmMJnNPFZjJys0h7qJ7rPIru7Ik/lWb/PnxZFye3wcnrCCgZLvy38UzMSeloR6K9LC/PHx7dQ3
mOQh48q8BYAYaCI7Z1HtHEtLg8drCfCCDjupl3e1UoQZPDF6tm7E52WdP7RfBSisvrb3+QR0Zd4n
pkZ5JS1WmKgDoM05IgbMCbtQGF0FqzeGbuptsUYb5OYPa+cfLsKkP0sI5jeZVoHyXXybiB6awF74
uByAkfU+u5VfPNRfrNSW/mN2wCJBVLllVdgxoOld+ZijYZZ4FVQNmkN3s2ypuvGqwKCpnYtevTfW
XHIazjGzMxdGki6dTqfRRqf3RM/wQW+xq3YhOkvFDa//womzKv0xJ6lIGErJpIvQVotQ4TCsjajW
vNuKk+CxWBdhn1tYGoJCtMgcO/lD8hT6Gc3O3Xav3BocjCFOJFKZTCctVCssJwQD5OcBvaKkQPb/
BSk7Ty0m6PRJqwgJbe6kO3WDr7SxvNor1qBZcTIgVvMQSn5TcvvHIVQm1iRaLnfVDHl0Up0OnkUb
E+0rxZu3zYoT12jOfcXVVSajiQkQzE06ryBuZi92ko2J1MIIZFfcch2dho1rspiwUue1Neoy9Cpz
J3umqmnb5cV8U28JgBmKW+MOaZQNRI8tLyfm3I/sekFupmWpHFvI0q3QHwx9FZm7MdyjnMqLnRwl
2baqoGS6gsUi+vFoS+I4NfjSNzZ2ERMkinRPUMxAwZsDqljNeNI5psp2Wcsy1dRwwBHr+/xxPtBX
jvgwYNYFYDorPpgO7xHA9lunXgdqSAdtl2/CzbCe9+Eaa3zkldKTdI667V8y3k3MyajYVquaaANw
suD1SHUs29zk/qO5xsDwBkOSfvEIMq2A90LnBBqNCTTJOFpyoUEkjWu0EDD6QgCkLp4zci4EjQk0
2LaLi3jE1xt8xY+d4k4w8FhU7X6HcnvPTfHPVot+1fb/CTQaE2iKOZYLgFr9SmqEF/JDwGhDtTZX
8vZf3PO8D8eEmqzVqnSiiWO6Hj3N11bTS7SXAhpII7AEzdt+xQUP4vkDE3Lktu21jA4yCSvyPHvz
fvmqFbZ2yHbm6/IUo/bAAxnhHiqTzmDzaGrSX+9iym4AHC2HuOkhonRzXLpZzq3OtlmnuNG7nmZq
ZacF4qBuE2v4jw7HNlnnCgOuhAZPYTX52X2xMlYY1cI1QVzFRLGIpvrc3IhjLGyjFQBFkYzyya/n
53hfgFXO2meNLQWqL+0L00aFfcPjiuB9O52a00mSNMmC3sl0pr11e29ydSdHe9d8pPdh8cCLKpxL
ie24qnVndCo911aJbNLcJ33nj8ZKAbRCpfE2hH8zofKPr7O9Vqmdh1ajT0R6L4EZVP+Zv+Wu4Gne
5Oivy/NwWL5kPm84hfd4YfuvcmymRKE9rs6lBLiZ18qgZulBzYLl+U1rev81iOpMmMG2vElUOgJE
PPJMa/qW03rKBikoGON4+vH8j4kvU1oZ8DycajpKtiC/RwO3NcK5FFhgDLHOmlj6VQKKb3H9uOhS
2Ma+Wi97Yc2DPuO4HduBjQxMF1stDi9P3yzjLUX7U+ZWEDiHxjZbJ/A3gssDXhav5U3+HeQDW+3e
2Ge4CGAnQXRT8UIYp2zAsjg0rYCe5Ewl7uqd6Ey7eS9JTvKkfjclu3ymTIntj2jw/2uywi6kESFT
yULHD5Sb4iBntrSdBVzp1nuxK++H+8yN7+KniNcl5MUxlt5B1gFNK9IXRLqObwuPFvaVoFp3DmVN
5PkAr8rNNl5VpSfGDB5oeFz8WNx3D1WQBMOm2kmO6ou2uE0eeDJ5JsRkLlNkxZlG885seRIouIDA
W7ngRS52ktcU5L+GEbQHeROtSBC6hifs8Q7DTZ5wu4MXt4VB2fp3L5JtvA4YhUlLWg2Y/DBoa3vc
TytcDOCx2sd+i0aoFWSYsV1h1h9jrs1XLUWdi/MavLT0dPobmNwlieVuWmhurQYTpl0ByrFO1rS2
zSv7cjJqdk1NzzRxmZajIJpRWxgOUH1+4s57n7BLaobUKF1HICdeiz/JgZInqmtrT1F1I0ddWdwA
+psJsX8+o0nD+UkKkUg5CAcFfEaA0lbb6qceWLa2q/amC6y0B22TAasW6cS84rkE70iZ3EXSB8Ps
RFxFVn2H0F0soTOlihuZX5Sa2AmQrgqp9DkGw7kvTOqnJ9rKQH34VfHpXOVVzQHzVXjh7VLYNXpt
u/wAlDpsu/u8VjrPOVl8FXkwMwCg4ZSJlx0oRHvqG/fRmlIeNL5wy5uO46nJhJtxlsp6opP144KB
cwXE9vlWVXi9Aq5WTOqSaJ0RtbThnChAkxASuxZuVOWQRfumB+QpiqCm+TZ3G11ZzcIXteXtGEmX
ixeUmkPCDtMZI2clilUaifgB7avW2+NsW99omz3Gnv2L8qUX7Dy3hcDcyqKNKerR5qUfv/HXjx/A
eE8soWE7lseLS9+UtyhIeUj625W0mbx+nXv1D16T+DeJ8YdIxm/Ktv2rvN5advkNwHl0tGCqXUDo
FE5N8RnCxKZIz6txlTsc/7lcfvsQzvgPKDtb8EPgwPMdrRX1e8EDA9kuXokrXgH4N9b1IYsa+Ymv
KrNVxlMPWcTTkRPgRhO8BTMN1l33jGY0t2rym7zgQyDjNWredKJIsy6s7rY7mDIGdNMHG9FhcgCA
k9vDvbziveEuh8EPoYwPdUKsaSWdS6HYvaWfBa1H1v9CucsZyIccJvOPqx5Qn7Qo3HjZO+2RjJlr
RKCVpZPAEWpgpp3c8FqXPKHM/az0EGnRwZ52SDYNgJZCS+QU1X+TO/6jmEVzhBMzISg//xr4nDfZ
ofarfYix5tnF7JczrrgZB7WB85rwhzRmJsQiizmItC2R7qJ3fZOsxqf4IdkrB2s/eDm8zhVX4UH7
zvE7nlgmzgwa0J9mOotFp5fGd3LQVrkbuvJjBiI519ro29iz3v7sGvlQlgk1RIlmKQ0hNSSGrUcz
Fh63o8GjZeQ5OsvhuViaMLQpznTcqJtlRzPX8sXY9y51hPHF4lkMJ4hZTGCpLUmq8RXpJEi5Nvxl
FQXpO+qw4PPkXvwcD7CYmJJg5WyokqO96HcLKgq5G3nJPgRwkA04ci994vncb9oxH1+NiSjqFFVF
aVKRwPwr0SXsVjRb/TcLilxZTFQRJKI1pkI/Hao0CQaGgCISaAGyyQ0vX+SdJBNL5GGeCokWtZdh
M6mvVsa1Q+pEv/dt1K0+R5I0zUbVIEdlRi9+ozOdIEF1i+9447vcSHJdH2DqfpbWgIs3xDIUKgg+
IGzeAdGIxYxu07xKzuI1N9FD8fV6ELl+0ygiE0Ow+ymlKS0WyoG5Kf1hqwRk3XG7AtdDFaCrPutV
NdKkzDTmx/pXdSFO0Yz2nMRuz7s5OXEDSKyfJVlKAwhNanwNpptUhyD5QpkXQx3apvHLQLq9fn6X
k+q//Qpo45/FgQspNUaKAJFjiiufc7+SJIB+55zZGJ5dMBGjFHSzKmnEoOCqlfUkF4/X9fjNy/1D
ESZA9GMJ/jUDhpC/qqAnbbCkmrtaBUpqHUcoOOS4RZB6xvPyjNLBDY9dlnNlKyITNbQszZWwxEkO
PuUypzBV5YqaPRBl+bBmVJ1rbs0Eji6MydDR0rz290rsKnxTOnsMaFvA8KLI7pFalqsFG/1Bh2ED
rEOV3vRc+FgzK7DHd3/9A1x+NYDOTQezoGoAdPOzJbWDMmRxJmE38ca4aRIk0qkPnOs1MA/fijX9
DX9WZf4QybZ5647ENWrqNFD/QpOrnkw3R/Os8a037hV0MQacSGNim9CAEjGl77Kht38V0ou77MnC
DODkEV8LFi/3Il/wr5/rZcM+EctEuKIKR2ArQKwajN60U3battpXX3DB32G6A/kSDef0PajiP9AT
5ZYWL4aIkx/AxD4jrOIupqbWFV8SvD1V8aFZONYjXwwQJ0KYsKeVQNhV6cUB6jVX2pU3aWkD51oE
OPRddNsdMp/mMfRCxpy01yAdzcFPwEfE4SnLxMN46ORkoDAybfKuW8+9sqvm79e/KE9VJhYmo9ya
2oRAsViJq4M9HuC01yVcrCCcHCYbC4FWOUUpXDHpWzc11aDpazuxUlfpQWxMZN9qxLvrIi/fWycy
mfBHBAGkojW0Gp1yLcNK0HSlsxZFaEeoeCfcruvlgHsikQk4i6Sr3UJftsPr6HVrOhHUYz9NRI9J
+M/S2CZv26gdeDigX+fSqWMUMX3jQGedgK295d3KvGDKtnvx+MslqT+eJtYs7jUwQg32Nzpc3a+R
0vu8UMoxe7bTO6VqFYt0iotI+7Q/NGSVkQeOhdBAdXZlfXwvtq9bJPVCumMlIqhRoZxW0c4EZDd9
01rcN8rlOfUTaUxAyZs+q0MarWkJYt4nd6gLiGvtvvYWzP9Q1JkS4UPe50/zKvR4q8IcD2QbvUVh
oPWj0e8X3tZjAG5YOzUfBf2ha16yJPeuHy0norD93ShU/4oonTg7yWzZZOKt8F6uI52cJxNTQomk
c0E1kgPrZthlq3Gf3wBZ2NGCfofH9Da946ZUnBtXZ2JKNAiqgq4WZN6VWIRTdoWH1ddAeCeucDc9
d868ItyX9MXM6kRRJqxkFVB3SpoRD4tlF2a8kuRVKd+R/C2OIw4cAcft2E6vgTYPUMmhYFs9dpVk
j2bjdLPFMQ+eFCZxQT33r4GKdBkeLR2cMcW0PFcAfOPcO5ftEFjMBvbJz9kGJIEscZyr+F5pIwBA
HLsfIPbgJESXtfkQwhiFghadFFYQssyHuN2Y5k3N3fi42IJTdCDV4w/I35kTE9OsmdOe5rLGPfiQ
0C4a9Juyu40ity03ZNmr4dsfuPCJRBo8Twp+w4jFy7SC1YUzaFNl4VYw69frIi5604kIJo8TYrNR
jBFKDY1kp2VsL+27Ej71E290/aIHnQhiQq+lpGU/5RA0Gq9LGojLRo4ye2pvs5Z3p1BnPLtTTkRR
Yzk5tlrR8KFoWQiZ4ex1WN1TnMEKBmzlYM0LGG1uqtsy2gmyLWWr4Tlf0ELgxqmLN9vJr2AyOlOY
RsukIePXO4SKBryZW61LbELp99c/4+Xc4EQaE4kxp78IWPtEj/qbvlGd8SnadHayll9F1IczX1hz
Z6GpZVw7ZcblhEIoSBXhg9Zuuja+Udri0NX23c8FOxczdsk5GvIslQnBohQPekdzrSS3J7d7HFLU
MwWn92NiDz/Lg+LoK5SGUz7NB+dLsotQw1L3ealDMgVaoNWXAqitGP7UNphWvlH/aFb/41OyW1C5
Gs1aQ72+3IUguc6wdJEEGZr9LeARxy0vK7kYn1VRUbGip4C6jjlX7JMA2CGUUSMh5TYZjNwR054H
2nrZPjVDk0UTvIYKu7Smy7VRmzGNM+BR7EA5Na3MNcEKQnmo/MiNn3TO/XYRcRrUM39LZL9aEedd
AupzupBf2WqWO1rZ2lEcaIXuaF1vW2S0o8q0m6WzOaZ6MdadiGZuCskSyjABf4sPtk91k96qngpS
Q0oc6Sob1VfeK5ps0g0F3se8eA+eSKamfBL6tDYUlViA5CR8jafvfbgBDwPHEy/K0FUFXWjw6Yls
GrtMY54uYEL0I2ObF/s4q9xlioLrZ3jR20G8DtpUSYUw5l4allDX5dTAGFGOBXILQGHy9wZrQDK3
tc/eFqBdNyVDAkW4poqgaGNuiz6yrLKhg/mNV68nWCZ9yaHk+QPg69i3kLzYy5+0TbrNfN6szVlT
gZXN3BF6ZJqlRF9Y7Vhpe1IPBOhrYu+TOcVGC7ACbD2zetdK+nJvRBaxNZCK+Rk4r/3rx31MXk6j
OftLmPtjtJQkJiotcbiLrwGKM1xjAHyVbJKgcdP743ts3eIu+zUtzR0vYGPsL/kaGCY0fO8zGqCp
ys3eXBCFNDAptWsdmzXRXsVATullD7yH7Vk0YqUxyUhYylWtJYhGBaaAqkN/l8cAj25SW0ZPorvv
niLX+n79hM/eSqxMxs7mtGixq3SMgJI/5nZ+izn7r/pOC2ZX+yHv3NjjnSrrqaxIxryGfhKGPsGh
1lhz6dGXVhLbVJ84itGL/tx0Pj4dYzq9uiy92CDmEM94BSWD8ZKXwPpSMSj3Rrl5KzSK46d53ZQ2
CI/ke454npJMHkIyuZrx9kCkeC4fl521pYG2XQnvhYwik75KXHB3cKWy2Q97tMytCfMx0rCA0rMT
HfJbYqdu+9K4AGl4BnhAoK2va8lR8ljYOInrdBekaQZ8SSGrHVWQ7UY8FDkXdZzNBRit2CdOJQoG
nU+lOau8Ke4x0bztbGtv2tbm133FyyLPBB69Ha8pCTcJOHSo3id6SWpSz0pe5ICOMvfGFO+lUPau
Hx1PBOME+ZKUgljneaAludsn5K5pek6d8+zrMFowHqCU5SSYSZkHyST9bNVwbQ466N+GjHMpXpQj
45RAZazhX4ycKZXbqQF+TJDp6UbXGzufMk81FucPTgzpoAIeY5Wy8nz+KN1ECBHnBuroaekrKCQ5
JG1UznDCxe+iY3NK10GSKbMD2ImYAmjYGvMgnA27hI8W+eN1Pejv/BSY6GcxQDpIyevAs8P46LzI
KM7mUx5EehUU6uxN1ujmlbxVtWktdBPn2C5+nQ9xLA74KIZxNw9LHszhdNPGuCgt4SuRo/frWlF7
ZbWydEooCguQMZT8+euYyqDNNTbeg1bFTrSurpQZyGsLRpo68geuY+lIiWQFVFpn9EFyVI5VpkNU
JLTTu6mXE0jhMozP/r8agYQN7LQmpZnSZYtJWk2rMiqRGFUQouwA4HlVCJa0KgJVaZJVWLbRH3wo
ywA1mQkwZgCg0g95EnTUtEszNZHzQFXvirizh24na1xQwLOMBtZnWaZi6BI9PnY7pCu6WDFjIw/y
NYCl5XfalQNxw6OV25iM52b+l9zpRBxbNazrTJZ7QcmDnsz3gllt+07geOxFy/vQiN0OaVG7tkDt
AxFC8laI5psyiJFrpPUWvNe8GZWzWr35+fzYzRCsBXexlUBa52YLWrlt7GnJsYKTBNa+iV3xG8CJ
3PrwltrgveUe6AV3RpkPsHWiKJnWGe/CqIHaUFkGBNtGCixh/KpE40auycv/a/zgPZLASKlZsP4z
foIaECuLgidVEHbFq1o2N2MhxLYeRlu5E3jYr2ftMRyqBtZX8IaauoQowgQPEqp9mGXwaHED3jgb
G0SxT1FyZrd5A8k2J2s5m+D9JU7H88qExDOm2WmY0gYFVfoNyXO02Bm5JRbGljOMGy2ODjKmOOh7
b7EckQvedcFaoeqHbCYvrIqULHMF2TMG7GdhdsOido1KdWpwTV//hufvOHqsIPdWFcME+A67+Twp
pI1HUUJECYYdBo5WrUfHk2W7dLh1xYt64Z0KxHhZMs9exuJM5shSQuQzGPJQMVEhvRR3Y5B5CJiu
/IoXHC4ebi/wsuWciKXx5yRohhGYn1MRYgnWLwFh7wzYEaZcDW0g3PLA3akZMnecRt/if+vIROii
JiQGrm4eCGV/O+nfMuzoS+qdpm6VvLWHXrK1SOUMPZ01q6mxIhE1dEXWgVZ1/PsTDaNGHkrEsQJ0
jseBAtB1YcdnwCiH6DYP4wtvqutCxNaRzOHGQ51DRw3i84mauVHJQpMW8HwgfspgcuAhyV8IYZQs
Ujd1VQWRKlt0s1pSqWGfFMFSVHYTb4ThafofaVe2HDeOBL+IESRBkOArz750y7LlF4Zsj3nfN79+
k9rdUQvNbczMRoznRRFdLKBQKNSRWQsuhU0ZoBcEnSpoZ8Ex+FkLKc1GdZzy3M/gP+hOkmorngUy
toxPR2jwp5D1TJxtTdqREvzhEGI+Vc+gsbf1VyD+nRqcsOggysqINOL2ZUpJXJUKVq1YAG1Z7bP0
ySCCF8OWsSHSMUDoA0aISz68SmIdHdJ3Yxvd4leOzgGVWEBpsotHJES9sBUEPZf5B4reB3ACg2QT
1nBBfKwPjA79MP/bvKv7FSR79AfgSAed371k7rxD2/Pf5bjEmdLZSloEv8iQW+bWkvZTVZZphJAB
yB7GsNhdIhqN2fCHn0Rwfj5ppiSOhxhPSBBc/sy1PETtL1d3NSBNnKgKRYTV6ydzvklHUhKBN04t
gnDy2RaHiqVBpEEe3IhlBj/0PAax866fK38OI09ws2w5CQSqaKAzCGGoCnyWpsY41d2Ap2WnPWKO
y1YA+xp/KY4hMjnMTx4BdOOJxt+3Qi/dxNWCqxkRkM4/zaRRS4K0APipHMb1mymlBUjA8vqUxu1w
W8rRdOol8FLOwNW1g54qN+mkBr5s6tlzVtbk2zjW+EvYhTVKiqPxXJml5Ax9DWTVdFp2cllGd9Ng
BILKyeXBXd8RYHoCwSRefvzzuCiiMcIro/TrsAP8wSTpVlHRaRcNhuFf35dLo0McDI8EBmn8Z/Ad
skWYJn2bh5WfZOpTL7OjQYFfM9V3NFqc66K2tDoXxfm+ouzTbB6C0u+TEAQr2Bc7CZfJLaZOlC/c
imMMJGMY1Q0T4SF/JfU9bt5qxhM2MLTxxhxAShsHKVhVsZcWEn2pk6sFs5ShN92QgZlXl3rzaamE
T8Itb4UvYYYKWmVTJ3xEpUvBmA0dojfAyak+BbRTszMfg5Py0LkE3cKoos67QRK8RC8TwxTnDCUj
ha3/ZD4+noy07liZ5j77Hj7+eyqq2/2bQ2DytaO4rLlxvs8F8t2qKmnAvaIgCEiU8avEkl+L0T7+
XQNadQLpELwwxRXA+WAzVtIlYLjPJAqA6Dy12fiUG8JeoMsjsV5mBlItiDlUha+jKLVBmTRj6apv
oJhHqzG61B8G5IB1zCs6xF2HlNgxFmPlbBwQgncTmqvXbTP4HCKhBoPSTeWjMLySOTmVB4aXWyQu
v6M37kT/yL1YOOd6qS3cP4ikkLoiBOk4blFp2tFObYzCn4wmspqq/tLiEewUYXfL6rYX+IBNaURF
vgJJErymuDsnJb0cgpq78EFi6DSBflcruptp8S4LRG1jIlGrwZ6FWkFQdv2cB4W/DAwI1fugwrwQ
EMDKL3/XKrGAZyqtu3omJ1Hyis05VOq7GAzY1a6Y4ptubF+vi7k8X5/FrOqeianKNjNIAzFmnZ1o
Ge6mhopMf2PJmIq6FZVVkBFc8MAz2tRDRPrSH3V9vzD6MxuDUz5Kp75PBYZw+TDCFXcmitudIQkS
pOiH0icBsbKif5pUJbFHOicAK1dPgS75eVp916Ni/7fXkam4UnXUSTX840racRS2IBmSS1+vAYGt
hae8FonYXMYzEVwasDYJCKLLufQjJiV238x+LSuShXfSUa+Nm+v6bDiNT/pwJyoqQ22izYK8cFFV
VmSON7RN38wyE/Aai5TiNqyd6ghNCmPpq0ONge08fkjTKrMnaX5Kg+LuulKXoSmsw1AR4yDHgxlx
zimV2iCFlYZNYmZ7QErcmpNqR4boGNcRiJTa39fFbZwtiNNlvNNllGx5x6v2yaAT5Mn8jJG7boiP
S9L510Vsa/QhYl3es+OLuENlVaTB3nVMtTNmNZ1mSxRenniakBZ6c7POFOLXr5TmUB3UEmkHBLbT
w5CmTsu+60RgfKKF454sWZ1hmGqCVsXYOmmpHcOEfr2+cCIR3LthWiFYSKCU/sykYxrPXhmT3XUR
m0foI23PFyL0qJpBSYvSitovM+hKlt+E6S+o6Ahe/1u7ch4Ac7siL1qSV6EEq57p4um9cSv3k2r1
eYs0DY3/uK6VSBq3N3OZSv2SILI3aBZYymxqlmb0tT/kWowWWeQQr8vbWkVCFISauDmQ9OIcURxL
rAe5UoViBEGnRTFU9sRK4iZqLPvXRV20RDEQup7LWo3m7DSF1TCZGbIb/pIWk50EeKugTVG1mrbW
LXlEoDbHRrQb4SrchDToa1XDwb7+EZv6IiugU+RL6QWQxaQ2ko7hfAARjak7GqW3sPE2yAD+//fl
aIq+NrQhQLsoL84L6YFqWFQ+gBV6a5DoQZuMuyEqRbf/lkLngrhFVYPFbMBqXIEUolAtw0zuZLnr
7XrUcoFKq6F/zjysj/I1hjcwSqfxd3AzsIYBGbnyxza2lfA+ZXiAtYajTPu6mgR2uZFzQzHHlJEw
YjLVtPfhrDNj6c1S7zS6AHX59+DE6O6U7GAXvclA5Ao9US504+H1Wdq6yufS+mJpMwJpml8N1soJ
AZ4Nezpoz5Mt+Znbg4rCvW4hQg25y6XJWE5LHTL/06FrlRjc69DWWbiSI+rQ3TATBDDomEMMpSFZ
ySkIuPlGlSpS+1R+ysrGNrOjWTOBhWwKQfYDSFFInxM+ABibcJqSgmIVi/6uGEbbmPSbYZQFZ/gC
jQaOxCRncjgnObCx1xeqrbtFPBWUTnG18gM4xiO5Ub8lpg1OsH3iSycTBZB/oiOjONaoma3L+dlS
Zi1ZjFqDjrJZ+0W9m7PWTyPBnbORfzBNxNkYFZeR2ZZ5BHAdjfFlKhu1P4PSBnXHyG6egE8KXq6f
0k39XD7NlfsX3rJrGM0d8U9i1c/KrbiTUpnptZ/sp1NzNwHoBvBCVnmfHURZvo1kz2cVuZsH20s7
LYastZCU7hTQ564Nd5MfHaK/H/CY1MBTee30oCbfVzQ0UVbqAZwxjPMF0x8Z6jf67+vHeeNpBBnY
K+QC5PWp8nnpcBFEiRkjDZDFRmOlWgMQJLmagZVU/RyL4edEomf46SOCB4Gr3Dp1OgwRNzhkY8Tl
s2TQOAXjLA+Vz0JyU836Qz3pmdWmaSgQtHEB4OdNzCGhBci4aCmQqjkvknaCirJcH2PgWx60SjNv
dL2TbX0xcrsOx8q/vq4CoXxjgTKaTa9EEIqn2Uu69G5OCAY3+vJ2ihJPlbu/Of60+ha0TOjvzb9I
r3P7GLTLxHK9RUDE5G+Y89qPpHlsDRGx4OamoYuGUhTCkYfgNk3T+qIugwXxwZjcxAGzMTh61NXJ
/QerdyaGO9BtN3c9+IcrP13YUWn6AwjvnztGTv1Q32RSIhC3Eb2+9wb9VyvuTLO0bnSjkitfoa1X
SpKjYiaOgq4tjAWSttcPjS0KRUP/RScBMaIiZoOCYGRJMLFJaX0ym0By4yrp3q6voUAUnyNtMAIV
yCOUinLJTepmB9D/uz4TTQyIxHAWsQIHNEYMjWgc2KE8xtaQFHdSI+KAu9gjHVUVjSHFbiAQuGg4
R09LTbShrf0QXcdLeD/LqtVmp5wKnO6FPpwcLrxpU9qHUbnKCb5GMez8+yCciVvt6dN9BRnoztdw
ZuGPkKr/7PrylCHDAQJqP1vuqz1xSuBM1NQu59vkNrAKd9wZwsaqdR8uZerMpCYla8X+s8xMw/RG
tkBmtG/2EsC83JX/rd2jK+AvkLGt4TsnTZGR0daYwRB28+U+FDi1Ou0jQLLtYkyNvfTgQ2gtclp2
wan6nRQui/yVOfO6yW9KNdZylo4GTI1/FWZRMgTtkLb+IGPOsGnJXmedKMbhBxrXaUz5TMj6EWcx
dxN0U18lCJ905TD2hRWjxy8Gy2NdWTUaLqIGOAFl6lU5E2h3Wf1eJSP7q2s6kdf0/GfJdRUngGXB
oq6tFk1g6S8JeoIUv3ymL80Bb2+BwM3lPJPHeeE8q1NSzEnrq2VmsbCyl3IWiNg4bZ9U4jxvR6IZ
PEQxRGTxLiIUQ2oKOwySSJWL63hdOtQ3CSIcplG+8NAreDMXEzatx1iTUdK9xganl97mGbSEiim4
/C8XTjHRPYJOBV3FG5rvIEnacmxY3cD6a2Ijxe1WwSSI5y8VUpE3h5XL6BJDyZG7781B1vKh0Fpf
rsHFp36fu5uge0AThrUkv66fqk1RaNCCRggTVb7xs6rNVgMLSOu3Y/LWzT8Wilomi9x+0fapKSom
XlqEqlAsGibeMPx80UAYpVJUmHHS+zMchkyfWPWQsa/XNbq8SyADRwjFH7J22HH+N+vDEtMPWe83
IW7HZLfILmn+iIrUuy5nUxe0hCNhQ9HlyReg1rQRy9ui94MYfrcvDkqX/DAr8/G6mIsYHoVDlCn/
FLOa45lH6hWpkQol7/3YyA+k/GYqhUWXX0OBzpRCc4rqdy3KYm74os8yV9XPZNaD1Or6BJlainfQ
5LCXOLRBBPm7BBAxQYOkK4LK2zBDaIkEDlvbFS5CzzFJiyU3y94nXW5aST46DUFqe9LoXTZruzHT
7evLevmaXdcVreko36Csf2H4aEoYwqnoOj9NotBaNNMmeIMxsN7F0XJf1/JrkQELq3qQtfhr070u
+m/W/AiQywplTUTIftlewn0NF5hMjV4Yqtnia0jpTrLiFPRtJNQOxvE2m6PHWFPdtiV+Yt4Oem6F
CrVKPMEH0H+R0U6VyeqDyDdS1c51sKLkjXt9uTb3B9MVqry2IF/MP0RdzVjI+s7Pc9OPqsInEhqy
JAkVB8WWokpwtraMHpDIaJFlDNkG3scqxphJpa50/qIPbhEjySAhfdj2u3q6NwpwokSTpcfP13W8
zAVjEzAcAXtAGMAuOrPAhdQU4Kvu/GCI7aL+ssi1hZSpr0rmbVd3dllj9lGSnS55EUje8iXnkrnk
EQ2IXLAJ+upNbNfGrYnektyo3Wn+GY6pnYJPZ0H9JURquCp/ShJoWbv4GMRvnVQJdvp/rALTTDR7
oOuFj+70zAgCnBdsdTAc4ja0iBZaavU4Gd0pwfSBXALjeJpdJmr7XpX8HFZi+d8HHtBGgPoZFwE1
RMMzOtcgGOjqcXjbamDdmDU7nPtdWee2VIqGOdZTdSmRGWsDoIw6w2r1Z35O72iVYIQMEstWCa2R
1vqhA1IiWk/nwY5magjs+jJ2WFX8EMjtc8uqIMyBkOS3ZCKnqJbMu3gkRODbtqzJRGSuIm+GZlq+
UagBw4FZEqPzB0W3yXJqRsNORdXiy/Q0TguyZYi91rc8agqfF0+ZjdhYTEip6tmWGHi7aW5TAI52
b4r+Zs6zNcR7qnxPu9ue/mYTdTTy5fq52bKYs0/g0X9TIATFS49mzSHKLRAz2gDewbkZrYlSL8H8
RWiIUFW2RaKYDGvZmDejQxkNKp4JvlneoMfBBpasawbdrumJF7ey20qv13XcMBn0XaGv3VC3Js+S
Vl2KxpA6H+VLzH0bVFue6rEpBSmmrTsfp1pDMKNgU9G+83k7SZpnRB1xA5fNL6lSd0v7HJezNbFX
Za4xURcheA+toL+vCt2Ryj/G5cd1RYVfwB+OrDOSLq/AjegpXsuO1PRzgKMVx9mT+4Ok/AVg7I1r
7ZPSnA3P6HxpghIiCxmzlnJ1k8kVXg65O5DqULJZ0IxANhzOmTzKg8zmczXK9YSYsZjBlpZn6tHo
wUerfBml0AarUq4bfhIG30hSO+kwYqwdbf2acmoa3a5i05rGuymhVqT0d8FYWWap2kFQoBlpBvxO
uu8H3QcQwUHLFq9rqdMa+j5sb8fEODYjoA8H2Wp73WbR4AA5286Uv99RvTa6/WlFmOL5bEXmQLu5
RRPO+0hEWTiFgzFrIwebIP0eBxYBznKf2lFpK78E1rP+MufLIRlOT4GHxXNmdYpnvpyOCPxJga1U
pyqxtC6x6oY+A+9r12i5M42NE47F08AUPBETFCTHWnCCNrwuZhdQxUJSXyVoYf/8AWlAzLiSmh5Z
JYCLId8+1q8lcOOv67nhfz5JWd3FmZpdMOF5xaBmkJPhIYpJeFgHoR1jNL9WUfhF7ao7ibLCvS52
wwt9EsutLqpzNWurtn8fm1Dw9lCG3XUJouVbj86ZYhJ6jZiM2RZfNfPQylRgzWX1YJGuEUDsbl1c
n3ThPJ1aNWjIjrCE8Ww1qgX0GqtMrdLWXmPUjt3yXj+i1e9vj9KsJ+PMPDjvFpNJlvMI5oHG4N6N
d5W3ou3GNokwadYBqlD0pBItKOfbYlWrgS8FgTKpd3rGHtoavdJF+O36vm3Fi+eK8czEQR3k7TTh
4miH5deotbuwiQ/FtNhUy7+wxTyZ5vJmqP1dJWcCf3o5TPe+qEi1YmExeMC7m2FMMz1ft1Lzl8hZ
2WcTRwt3KcryOpzN/CxbhLmmo+wFSq+H+cLb0HcgHaT7L5IMUbzM4cI6JBlKa3RVd93NrnKDyBow
r5JYaKmoSkHweFmcX7X9EPq+E2dHZGqCuW0XCJ2701gu1pAWVtcPTjUSSx+fquipRv+XNhCrR8MA
unAFvmfTos7kc84djS+t0q5Kj0TZKQZSomXtdM3fbQ/ktFQ/OwJKF4nAXODh1OHQdflDhd7OJq8O
aj0JfM6mVztTiHPZCpH6Ma8GeDU1vesy+lUfRdM+297mTAbnsEmeximpoU7Wo2yuYlABoPzmY+1M
s7VklglsjKQWctNsa7YOuSEJhiFTzse1cW8usgnN4mw9Gsuul8KX62dAJIJzaAyJclZoEJFW3Q6k
ibodNWPuXBdy2VYBa0CnG4Em8orwwCkiFcNsSIsKKbM12wWoLW/DY+EFTvKj7y1V8r5qnr5LncIO
C0sR8RluWTzW7x2HY533X/9+duKGBmQfgzKBDCBw8xmxy3yPLm3Bc23Tg64NWQRDHeu8AGeGFUkq
ppIZUWGMN75aThZmW+6VVDlJffowEMNdaOoMY+xhbEFU8djyZOfCOfs0p0DKSLPAPkuL+coALDc0
xgK3G8wwLAd7HHhUhPyeW8HauVBuXUuMx6hVBaHKyNxSLjyFNC5GW76MU4OpGjl3ClLaMZsWPOvC
gxSJKFvXy4/33+cfwEUbbB4x1tpiY5Oysib5j7h/7Cm1NPZW15WdjL0dEGGVTiSUs2U66Gqu6yOE
ErzLjf5LLmPYcB5DayaLr+P1OOTd77BG2ivWj2Y57eqy35OMvRZ4mihT7GRVuE/z8Zbq8rcgHYSM
3Ftn+nxZuDPdZSoy6zmWZQWnDvy6sTOPOV1krxTZudNimsMWTVitv3ltK7g4hbRoDQkrGTLTukVj
aWeBLBGvH9nVpu/SHGFxFNFNelnmg1f5OHE8o5/cpdVU6dBTT5T7sKaxnWfGgWS1IxvBfUEwzs1q
N9PLQx9P/+CdcC6bu0WrVErbpMJpl8jPIjyV2qMiGljZNjRDN/AKQdsIX0usWiOtRg3Hq4jbyQqQ
4JpbUD3MktP0hYf71FbMzEUt7ZfAW287kw/B/N0dVwUBxx6cyZ56yBXGB8QhtpoAwJq4QWdJjjL6
ApmbNqutaElonr2EtMElZMw0gsxknxrHldGHOSQD2v/sge7Z0fHcdEUVx81QDPCQ/xXKh2JR0Rrx
UkBomDv1Ymv28pweDBfYH2D1m5zySTSBvTqki1NyJpCzGh298UutKrCaQnJGud3FFGAKxWwvU/10
fUU3D+SZKG4TAy1pTBpCFMUsrXaXSHi3x8C9Ugzb7AcrV0VuR7CDfCWtrJcxTnMsJhgUrFZ5kfR/
8vg63671C87u8TiZAcm42mXrEg+b1gCbLLeN1KINngmpk2nWJKp1irTi7jgk7YxxTiFTCUEoVKdW
CGq+6zslEsHdYjqA3tJCx07VaLyIGitIvl0XsOlIzkyBu7ESOS4w6Yvoqy4SK9efZuPHXEpWlCMb
mD9E0bdeFZ1nkfWtfz/bqlAJajLFWLY+bY/jEr9q3Xw/maEd6bWtpDhbuahFePMZeW4e3BU0mgMZ
yxpqtq7iYfapfAQx6D6OLer2wCzJnfnrosF5ifp2Nx8HZ4Lfy4JnyhLax3W62uWInNgriPleWr/b
zStontS9D7KTv0Ccu+mlP3aVbz1Ncd5MoBPigKO6a3gVPKQXBgf1tXdmRz+Ou7kVHECBoaqcSxnN
oosWigUOa4R3BOjEhYjL439sIkZ6EUGjE5p/8tRhn6QAX0a+o7gd+q/DcivHt2l9rKbEqyYTMF0n
pUysKXwO2AstS7tdcN1P94X0eP3QbBVzdQBK/PklnAlTo09rWuJLhm/Zr/6weIan7PTf4NIGRZVp
D5pn+KEtW+beSEHOLLqc3ns2Lu4KikI6xt2Q0OcntpdZnvvKgPyRTIPVUOmmHZpdJjXo4Qvl30aT
x7d1V+hIE4DwNgXaq5WowWCVEuDH6ylG4B8aiBECcquXeGWV0nBS20F3IwUYC7omKY40LsNxmcoR
uWeavQA9VPmZ5+UocHCbtx4aYDBEitkO1EA+O4NyHumUDOvrT3fkEM+E+SVv5pOWimjeNw30TBC3
ZVFehmpuQlAxHsdRs0wmQnTbdKVnEjgf0wGTxogZNsUs76S8361l/CR5MlOgZZLGyvP+XglN+7op
btZUVsCn/ywg72C6FrOWFbIpviz7i6c4rHcSJ6v91ikjV/Nyr1A9IRzTepov7O9MKBerNFMvx3oD
oX3+20heiYqwXntKAT7a9J2tZE9BDowOVPaN/meA5Md1nQU2w/uaujA0pHMgvc4R+y43+pDbqZq5
SBMKJG1mB870XP3smfem5ZTGJYEkVhwnStArcJpEvH3bV8SZkNVyz4Qk6tIaWkvQGVM7vYuaWGSn
SBxT05kVxNbRrsWshyfiW7xQDQjQTEU0baCjdM2ufpa6yGURdHPBvB68RDQorBTs7iUo3a/vlXpx
FXFyVlM60240MSeJiSPmBTfSXb6bjqmtPOhOsB+s5RB+IQACDu3EzWwM3u8lYLAq+/TH9W+4TDFx
38BtY9jMY2TE+IbhW36rYXUjlK2yO+Br28AltOWTgsev/nU+ihz1hdPhBHNbq0RNFuPOYt46kxEn
3zHAK1Dt4p3LSeBi0KmGV8P8M/P0BwDU+Obt6BW3xUH8iL/MYb1LQgcXWdFRMcr4eSMTIJOXVM+Z
lyIvXJrEDs2furELVH8p3bC6I9l+GR6uq/ceqHxyNJxQLv5F2dyQSbBaz2Rl+/K3jIcYGH0kl2IP
kUdo3cAzvpNDtBLkOtqj+qAIApvtc/KhNndB6bk+dGGEBa60l5BgvIY9zrGgyrH+xjUtubuJRq2i
BgnOYkgYsnKK5ndLtce2RlaI+SFURQS3hiqSyN1VmN8cw3iAxAo5a/RaO7Kt2tkzwF+8yKmO803p
D5ZmVW+mi4cTuC2ix8EeHWrTGlGyaFLq4ub8vMv8tE0wT20kVdjlUa0xT0T3oxncEom4cz+8YtDa
G8rxOdeFKPjbh+fPveWxPfO4bJpIgtwEnEr9zUqku3oCeSeauxEpyDlBwjI1QojMvHYwLA3s7ehD
87W4tSrQCbRt88NEfR9NptdPj0gq5/biUkvLANBF78RfK/5kD55gVYg5+R6jXTFfg/Ny5gguRHWE
nPW1sTiKRb4qig3cOlf6Qn2CYln00P6I7zCaeV3ByxZPznA4n4RZ7qgbV/+q+vUOZHtIbZNd5I2v
mgXWc3u6EfexXgZcnEzOJRV6p8ySDplNEHeWIhXObNLvS0oOQYOPmLWv8YziZEye9CxwJUP2ok4F
LLyhCrzGRRjEfQjnmSoyBUu5YNnTMHzolOElUIIXTODcDEW6u77Q2/fYx0HhHNScI8ORTBClBuhi
SSa7kr9dlyBShnNIGVhrCzOChEaPLDYya9CoXVDQBxVf/okkzLWYGMbXZb6LY9SChQEihHlKMVhg
Z3Li5IsRP2kxFYU+21fHhyTuXAAFu5MphaQ16UAR2+H5jwqhZOWALTW/AtMOUXq974Bmp3rSwTjk
XuSK6VH+h8V+fAd3SqKq6/ssbpgndfY6rzQd6S07IfmhHMCS4Afu/Hh9iS9f6u+m+SGROyM6W1id
rmvceZM3AbCV7uKH9WVM/MFdmyGam+wmE3mDbXf+IZU7EHVM20VToKd8iHfGjzVAMB+ynXykgphA
2fasH5K48yDPeMhmFSShOQAPVhdsOiBHAxO2aQJXmFkUEW3yZf5RH0H+kNnqd1mA+rd9XD4+gDsu
KJcBUZxggccFrXsVuITaH3ILalP6JtjK7UjhT0l880dU5304TpCkPahY1toPfsn7cI9OwfabCaKS
cbcQq/lZ+CJWn/dn3OW18iGZe6FoUdCgfw6Sq9ICvZcLqPRDesy8lWpxssPX6A5c1k56P/2Odvqu
P84PoZDUaL2Yr30Dd3F3RQqnuL5eRnvxwLeL7pP0ZvFNv3QKX2RW/+Ot9KExd2EHQ68l8riuNbUy
1FU8+i1+C3zU+P8AKq89ucNB9loHTQWlx+7q/UpQI2bU3nT2gFwDhKmOSUO+IK8XvTEzTTK8KA9/
YQgGbb4AbrpuVuqGAQNNQUORTlFQdef7/9tyiYzFgJAVhkKyjB1yZ2/Eq7xgr7oKmFRy8JTLHnGj
gwKfARYwO30F36ujvF7/ki3veP4lPGXWEqgx+tICAyRdsxvZ5Bjcr0HvWg/tbvofomLoxup+EsdZ
9dB0ozJKUJylcItFaae54NG05Z0+ieCMtjAbU59NaKTflC/zy9oyldvVbnpQ9/BS8j29Ce8RWx9V
cPDc01/X13PDNaJhGzN6QPcBHxZ/vWL4N4iHFvrFM8BSh/Y2nkavTKJ9O2LwzGT0sVZBul6AZOO6
4E2LOhPM3baLFE40KiC4YoDIT2KnKKrdHMmoAHcCURsXO3REzwjQOtG1wjelRX1Wj5EUM8/oVd8o
y12cvJFQhLGzvZIfUrhtrHqzMqIwg/+L8AZLM98Yl8cuCm+KZMytsk6OYWXKSOyW7vWV3DTRM/U4
N5QWRpMlGdSTZ/BFdoXbBLkgoLxMegHKwcSkEaYskYa6gPhNdclIlA7KyYd0F7v6a7Xrf66lmMJ9
kJyM/oPYYEVYANgU8H0wgs7plIxjCoBe6JRLdevi8QuMnWn4Y2bG4qhJKNtSUuV7Heh4Vl5V+k4y
elnUlrpxmeAbGJqYMWelqfzcYtPOZpiiT/P9nTTsb8hxneHu9zttJyomb73JMPOCYS7wfSgA2+Ni
IUwS6JQMkDV46BjsnjWgEj/FfuMahwW5aIwcd6BVZG52Mp6vW8/21p6J5oKjzOzrJVrVzE4VEsLP
hZc46n3Y27qV3Ua73DP3g6iMoK4/yl3Un/TlAiKZSv08oHD4Tkq+QosnSDEWX4PX5m541tzxD+Ur
e83t9RKlIGGXXpub/gmQHsVDO3jpnSi7un2rfCzCRf9JGNZ5neJ7kn22r29be9lFd6k94gU+ff8L
7QobYdq5/jyyR1CSpYwY5E24xZhmqe78tlYa0X/4oFC8htGY75uOlPhCVTe94ZmqnJ8KWkxQL1OK
YPgbwGb2QKo/gOLt2fgeg76T4hI1XrXH6za26evPRHKnucG0EkHHHLxHTG67OP2WlctR7aW9uWAa
4f+Txd0rvTqQJZqwskvxDMhCV0NPLoB2HGkSHZxtrcBzBd8LP8WDCbM4AASOjGBT18obpY8OwNg5
sEU51ZoaWommOgadJtxti6UsyRtAh3YsVjylDu/NDEkl6X0YxBS4rW3LQr0V4Fr4/7ulnyfwp6iX
QB2IFKw0YPzqfpiAkiCjba9Bt2T27fpib149q5j/COMWewqJnACcFEtQ/kD1xcJor+Byu2zsWW+e
MxGrOZ/p041zACBzZBrI0+CEu9YPHHW/HIAh+xcqtVtZc2DJ4YLTQcpqYPjxszRFQaElafFS1Pxw
R3eRA5w3P9r9hSzc+ksXHvBMEncMhxBci3H//vrt9uM7klyHAuB0I64FbJ74M1Hc8SNqpARt1DGv
Tks3AUHW1I+u3rX/5OSdieGMAVW+upVziMFFJz0bbX5sjMDEyGykeRmwr53rtrdp6GfiOMOI4mCq
lGFdwJpFXkzU0u7aCcDzRAefTiVldj0ARvK6UNFSrj7hzBrnouox/lUzb9arxz5A8lAdQ9soCRFo
d4l8ttr9mXqr+meSoiru6z5o12xUtddsMHO96k+m3/mFXf74/5TiIgCaGOhQaCCqMWcrqL9MK8V6
9nJdyHaccaYQd+XPSj8raQ4pQ+uu5YvIRsOSwxyMaDQvoU2/iCFVNj30h0h+HHWmWTuqq4lMceT1
ae5W3Qk4K44cqQK72Kp8YbuQxMF4PAhi+caINMaUctfi2lHuIpRnAOnmyu7KUGvcgM7d1qzweX3W
DYfkcX6SfHUnQorctsyPD+A2cR46acwI/OSoPS/jKex2ZfN0fQsv+2jebfJDBreFZhoHjcIgI/89
3SX7f1cPjK/9HzIG/O6K3XJQUY4Blarxq7HBuvZ8Xf52lPaxyHzzxEDNONb+GzUOCF0SZJdCN/TX
zIPaWaLGidVjXfroP/Xl+7JmNObMLSjrvbFdbGlufKaLqIm2it3nhsN3RzCJTgtdi1pGr3lDl9pt
obu5EXg5BdDnILlRk9j1DChJFQ/XRkLqsm5tsJN4ctl6zdBbrEne2iw7FYXy5f9ccO7mUKUuDfr1
bSBLp6hMbLT/2B5gClW3HA9F9jVSn9BF5kz5XWMIQgvRieKxXZeRxVFdrdm1h8ExTyulF2Zu4Qpr
u1Fs85YNtnkTgD5X+xF6zRf05YnaAbbdx8f2czfMihqmFmstuV/uhnzx6nCwuvCtT0V2vd711+yM
u1XUuFG0ZW14aBzFS3c1MkBot3hoT4MPOgVBLppsRx4fanE3y2K2pNULnOLWje5LrKbf7+bH/IW5
g6cdMMyDjiTmFLvodjroTnyQ7OjrdAAxcmMtOGmNlbnFjbCtZjN9cna2Of9VqdWAUA8OtPsGZGLM
NZyYH+/mPyQXuVS3O5q28RDe9yDT2mnHRABDJ9ppzrHJIYskdYbw4l+kXVdv3Eyy/UUEGJrplWE4
UaNgWZJfCNuymznnX39Pa3HXMy3u9H5ewDAMDOBip+rqqlPnTFhjO1Vst6m6yNPpAoYR2tePtw+W
wFnzScykWNBgwva2CRJOmny1zAzN35vbRtZD5z9T+rERLkIIIi2RnrGFNh5wbvzpYD4vqHaggOXZ
O+G7UrCJNfb7hTVNX0wIM2NM897Y5z7d0yOkTTwsGIpkol5atkdvnBg+bYlX1mIYM05M2jfeEBqe
0WODlMtWUWu/GVpBU5bgItDY7xdjG/A+aUpWv4nC557chyKmlbXK+OUtoHGuJkSbfjIOGM+sO8Wu
etNeGLV052cH6TT5yql4GLciLsk1VMmVUc7t9GZvhsqAXZ+AuMgrkfVA5mdf+uPsqK7m1c+SK+/a
Y/HbBOqLPU7kjeqxzj51S4XQa9GKcl4picquidkR1KFoB3bhQ1XvFxn5D4LWp0akg7yecLs4G5y7
SSa1r2rKwiVUilh4DaaQB4YwGzfGqw5WhMLtArrpXcGZFO0kztNII5j7e5b4Aclfdxy+JG+QIPLj
Z1B6P4C8PwydeSsiLhdMLV8TJLbckDLE7gUvwcGOmjs7I2+Sph3Gun1GiCMEua5Udi83Ft/u1Etl
Wi4tXknZztqDl8/vAdRpnC4Q5k3ZMt3wA4RzOpldZHknYTpbP71TvDYADut12dWM4hOdP5PhDIG5
B3+AK6p3ioJRwsVGchgv6VKwQR7DYNpliO6ZSm31nZX5qCcqRH3cCbeGyvkgSSrBuo0W3034TdlE
7vjcyM4YJJt+dPNn+q3ZUmwjwt4aaFZoj0zZNT6XiI2Wt9BGTC53zti6ohhJtLc4x5UtYYLgBQsQ
K2/5jF4QKGvuO7D+kOkfN9dcvz4I567GDgLYFXjPAO37HXZvofxTcDZF25ZzQbQGHV4lYywkyB+Z
Qm6/yR7/G1/3H9JM/w7BCOd9RkOtZO3D+7RoedIOlZk4s3rI6/cGra8Tq6hUbmk0Au8jcD58H4I8
JKkdMrNIPLkt0lqZiHVfEMXxNMhgCTAqwhKCEYPoBWwKzf1/kT0TBFA6l6ej0HJUYv3j3E/edDYe
0scxgGzom/4NnToBuDk3oge26MDrnK+JlkRb5hH7D6HpXnoBtADPepYdVHxUuje1IJErCt90zsF0
VWuB6QsxgXZm/CTxPg5yhFSMskfco/If0jP/3pI6517mYZJVq/mYUVZXb84JgEfE6z2yac/owD6J
AsbVrWJDuZPgDzqEOM/RamMvNwxFKlEAraL2CT06ozv1S+w0I3hj23KgjtxL27Ax3gUnfTXev7DN
uZLWnKkc51jKvonLZ3VGq55FFRpUehkd9GIkoOUfzR10Z0pHGoC2B8+HvtXkTNs3fYo8dNkwCFGG
YGFoyd4YFpGo6vrzFyVQEDuj0wYEqtchp1woFTFUfOK8j76Ee/NQPxee+VKc6YO1iyGjndyhWOMS
xZ2fulMMDtLd7UladRYXH8BtiC6dp3lUcJSR1bo3jMbXVJFq0gf19qc77cIGtwdIt2R0MGGj9tU9
k+w2D/Qw3/Wncq8f8mflOJ+kH40R4J8H09eD/B70QLIzBck+PtebGRyEQfqzO41beRu60gavx2/x
WQT0Wc/RXHwmt126qA0nK8Na0O/NTvlSvbcPpZu7TB8+eky2aPtXnRy1M7HMrWgRuCtpLke9GRkW
MEP7vQF6+bmYBPmANeCWzYrt/7/TuMvIKkfFyDIsQuONvvJUHFPWbfmWukuAE2gVaPwAeT4QPfJ2
RGza+tadkKN93Rn8+Qb2+8UDK9ZpmTULZlh76pGV6O/SO5YhTjbmY3YAnugu39W7fofsdyCKjtez
mn/Gb7Cw4MK2NZFGjUrYnl7t7QT8Y7o1D6rfG2gPnLbWkSEElRMKdnPsyEeybbe3D9oa/PJyAQzu
MitVVZX7CB8QQTA5MPAYUQYQqvzUA32Ph8JGPchbe6cJzvfqFXoxbP46y2nRxyGs4uHlpsO5QEc0
6UXM2YKFNTg3NhlWGg0QEcJT4F9XGNhbPRlIhttzuBqGXgyGc1a4XhIzZnfzoGqeFkW+ArS+Eb/3
EpjRYsO7bW09FLgwx/ktKU7tgrLt2oEZES/HgO7NO3JmIPbsAeSogh0iOqIG54DmKoGwqgF7eeYo
qkMfq/cMOgaWh7zcNj2B1vMu+g7hwTvyoz9IW2g2/RcPHtGG4XyRmfV1O5vsIwAx9NJH9L3ts/P0
Uvn2Q9U68B+IgoSnU7SynHeqNGUZ7ARW1SC6Z2QS5H3a1xAcug9HNw6kX4wXh2xYUotVTu1tfTAe
o96rtyTITkJHxfbrjRuL1zrv43mW5Qqfg1amQP0VP+SucQR+A8dUequC+kWw0wTD53ttYoi2JmaG
C6B7XV7xxD2a2/o5rx2yy35XX+19XjlkG2/sd0kQfgpWm2+2KaVxSDQZtwIZIFmsPZflGWxnzu3h
iYzwPqhQa6WCWv1GjaFQHyZ5DwVv5bgg1PgfLXF+yB4JVEc/1i2805uXrLobRClsthNvbA2+ryaS
0G4HfWW48Wl+qpvokJsqmk0GrzPkwOrIpg8rEbJdEB+YnCOq5UYpalaPHjZ0m/vpQ4fz0fiWg2Td
1v5CN6VgQ36UXW6NknNFQKrmEqQgkac7h40j+4Wn/cAtCdoC7SA9Zi/ql+Jl3Mxe5tvEa76Zu+qU
BNWvWuAS198rf1wwj5hrumzoofqADPDvDPFxj87bwrG8cTNljuwpJ9lRQa4qsCqabs4ZtXHVqmkE
o/UCTL1h7ftmEZgQRQMmFwpB18AOZYajH/e9vxxZNcZ4C48DohDZsz94CsYtEKW3T6JgZDwALiqy
NFZTtqz645x9j/PX2/8/m5kb24YH1hRzo7cQbcFrr7J2AG44Y1U5KKU7S4vHLAo9neBoCFyLxbmW
ZIIQqwJoyEZPnyU1d2R7qyc/bg9KtFYW51USPbHHWoORzgsfpJ8R9K69/BS7YIcHbjG5q+7AmCXk
kxCtFfv9ImAd0gziNGwuS6ly5m5wksx0BSMTxG3867wcjEqDijfLj4PC+JjfIUvcBvE+PVW+hHaK
JnWSbR07rMBTuaIO0/UE2Z/TbXFexq5z1ZRYgWzYaJsxdcKdvCt35SYBg4AvGCrbCbe2JruCL6aT
acqixezDh5o/Wd9KtVXw4vnI6vzPa8d5EFBDplliY2Chnp2oIp2VkQaCAa3mMQHXJgZjhAdT+fWA
hlLLw5HdqiUF9Coc5tJbtCL1GoN8J7mcOn2CTLA0gkK80UYFEuZ4eAi+Yf34/fkG7viRyEzCSkN2
Z9jgyXzM8J7BA/6x30gBOdiIzuS/6d7HM+qPSe4wjrkF6KcFk0b92LZnpRIRSP2H4/7HAnfwtDmT
J7UFhCn+mqMH+VHCcY82M4BZ1hPkpavvEGVBFPpXOfaLgXGXPPqtq7JkD/QqeiyrX6p+70hp5xlg
9Bes2udoE/0LSDgBuAr6E+DQr3dO16P/R2XwxwSvNbiyoD3lp8EJN3pANgXERJFouZN2omruynvq
2i53KnS1zQnAWv/yNhWo6saTdc9uvPbLchLTPDHvcX3ir81xVyw1EkZu3QOpCCaUQkO7/KC6RUic
Inq/PaMfleEbpvjkwpzmRMvSjzAFcqnIcE2Fk9wTXzpPuNqVQ3EsHw03eSof6KEC8j70iGM4Rewu
FD1zyaF7LgFDqF3VyR7CR2ER67Pvu5oJPvWAYHvWUhWfRx7CABn0U+fEO5lV67CTiSDTtBKzXVvj
nIKEXg4taWAt2kVfJo/4yuFfRbN2AI6HHR3hAD/7wmuTnFOIqxm8TCFMFqq6NcL8PBnSfWTbCDrK
/iVT01MDxtPRkk4SSYS0qqvn6UN0FYy/islHPYMutREIohGE4MWMNw0UgoBhOi/b+Q1J5XJX+NGD
RR39Wd6KMiIrzgojv7DNTTbIZNKsamG7eTXPs4+Umu0BH0HBE7G45XtUueZv1RGnLFeypdeGuSlP
pqhrWhuGEzCWNvdIVJziX8TJj2YgI1pIAAcxPcOvAlF0vtKQeW2Z889GNpjxIMEyk3xWUrc+GYmT
Inp4R7HdX/wRReHFXfx8M75IX7T3+kf+ZO9ELEQr2ILrz+D8dRrXUS3rzL1ovmKz1lDWSc7gnx1U
UX7XPajzkFBNHNkR14lXgMPX1rnQqU46m44drJMAR8xVtiEaqzs/wo37z+WZWdvZxR7j7osiG3NV
zzDhaMpB0njaElhqd5h0T2Trc0BxbYq7IqwKgnEQBgFkKpkOUlx7SFu/6Gbk3XbYoqvI4PZQ2OIZ
RJhHjIBvDYNiQ/dgr9/EO3QcoBXqL6p8GJeCnhtwpUIgyOZOi6qXAxYM9rRzc5x2y3Zwim32HcUE
uEPRCVn3wBfWuNHNWpLPc4wFsyPpvMTWa7p0Zz0DfSSaggbHmqUNuDm3I5UeernInNGYD5oUHkg0
7CMiej+trunF13AHRamyKjY7jJ00IKcFbFr/JYH7TrCiq04YOmLg3bXRH83fcZBcIIkFichNiwe1
/So5rZujYvMGxndf9RrgqygwkMD6iAwzD/vp7r8wzHlgZVAxnwsMd96AkwjU7snA9c7a8OlG+GT6
/MJmG+nPMLmNZOrWGMkaG6bfwKK2KbxhgCZ84nWyEx9rvJ7KNzZW8V2zvo5/THO7Ct2hTSLLrIEA
tI5R9iVfGqeKhNGpaD657UIyo5M6NkI1yO8KZMDBknmMHnuMLNoLY1L20bdWj/OjVjJYxcxWb9rU
X5mSRe2mp3A7oulVww0iLsGvziKkpQz1Q+6J77GHokKhTi08XAekNfRsHJo+aqkoJvn8sMc2+WOF
h57WevOv1NkHNoshNFgvVbYXIbMEg+Gxp81QdXbVsauYyO5oaC6KTS4R0l2IRsMdMXCppZVtDigv
xcAsMr4L3PjdDkmzjQH8F+oCgb0r7jQ/3YxbUXC5ukMuppI7cdHSl1HJnhFQ6EpH1B5yUWv3Sm3y
erW4k2VYaH5rSozPOPU+OoMjgAUjrwLWS88d6EruBrTpLj5C20eQxQSilPbqQ+lihNyJk4tWsdsU
5tso9rp4dMbs7alMRGKWolXkjlqbdBHaJTGRE42DUpp8DbIf1C7ulNl+SM3uflLjYzOL9FtWALDX
s8uFL5Omo8tchl20mPual+5H8P3MvoKXGQX7z7Kj31hGmSVdAZJ/Se+tbeSPm3bXIad9+5ZawXtc
fwsX3zQgbiY9W+nhtdoNO4URYp/mc9Y51bbzky0rc807CWVgULl/kTxROXgFbnT9AdyjGM2Q4P3X
8QHFcTpWT2kwuKAi3UTbxpU8+fH2cNcDkT87i8ekWpEW1fMCa50Hvrij4mVgsqMnvPnPrKcj+Sbq
QV5JKV6Njwelhl0z5Tn5WGzZ7e7pXt2ZARzDk2gpBbuZx6TaMiXg4YXrw4P/qGytHesiz/ai5qTP
rMIs+L6YQs79QId4kWoKO9Gu2i1P1rfQbbzsC2DTW9MG743dOsoDUvn3TCkC+LQXe5t7DJoqAjWv
BlgXH8I5qYEAvNGGWEuJfLfqnW08SPG7rjht+irYNasRwIUlzh9FUjosaQVLrFGGRTjLFhKXpw9+
n2dR2k3g3nm86TK1WhE2mN8iSh6ssf3aN/Tt9oAEtyThHNAYF1XSsfEUveI0VeRO2b6ef/5vRjjP
AjF2M647NmkoDSZfhuXci4rFKwCF673IOw/VCmd9/Dhc0RfWpR2dDRSu0mfk0hkw2Y13i49g4KU/
JL69azaoyNwepeCq+oQ8bWSVWsyhKPGAdmPK1L+a6r6YKve2IZHr4rGn4MDOIY0LS+1vBa0D+Z7u
2fjsQEU1hAnHiTAQKwxBV7PLI0+XGXTSPQum9HO3q7+1gMeF6NHw8wfmpcH32aIny/ppDHh3S9Al
Ekyt4CDwUMRBygZ9ibG4EEQ9kLB46RRJlFsXOE0efqqNSBqpBYbIGu9BoBykOxRghOwXq4+kPw5E
5x1ICnZlKKah/AJBJ21AlaBrAXaVptap5SFz5Ypiy8SC9iGBg9S5+GaaqjptWJqkWRrQXiOlXgEo
X2iN16fKSQHfsXd7jwr8Cp/HB1GYFZIBW5TM0OSiT4aGjm7zH1dYr3cl51emKVXDLIcRjd4bxVGR
nhTr6+1xiIISnfMrdWhLCjIkQME+kKDZQffrlLqAiqgA/MQbkccXTBufrB+z1OgGwK43Un1q5p8Z
PctEEOeJwhA+G5HSri9s5inRJrHTDozyZXETMEwIE8Ci0bDL9KKuOVdLk+ksDcl07j4esAHrNWoO
aJSGrsQUzC/CJITAC/Nwv7yatUhlO113ltfiC2vWRfni0XQlt/nd7upN5dq7+MftXfIfbh/owVkE
+vQgjLoeaWWXS1K22CUJbpZpE35gKCfQSQIy/IvF8hbSLqP3fTmNMpKukS8K+dY95J8P4I7CQpWp
TlNMddr8ys1j1AlzSSyY+5SNUP9Y4A5CmqnEytkQG8TLE7IRECtF67vph2djM2+FuLPVusm/7YF3
/npKB1DALd0Ie/I+3GvbNFj2yCD/F1O3nnC9sMRVq9XaDouSxUCsj2rZldgwPyc3/8JwBeLS33p1
4sIcdyokwxrzFNAhpKzlB+CdPZL6w7l2p628m9Cvqn2vz0WgPYvZ5dfPBgjQQQ+BXCTPyF6aSwUU
2IjcK1EiF8LznqqFL2Frb5RIpOC0ep1qmi0bjDMXF9718hlpOLSzNLHrlHnNNIh3Kt4gonzy6pBA
CgeBZRBQarwcY6x3ZVYyOvumhTR5OaGbuajSL2o17gxT9MxY9WcXxtjHXPgzo9e1pe9Yfb87lvKr
rT1QURy7Httd2OA8yRBqWaLHH4Ae8FzGyLfUcF30xBphZK/aA38i8h3rBZsLm5zzaCd5KOoW4wKP
/E7bgmISTaisX7IRZhnW79MLW5wbGSFKrlkMsMQKkgQI+wzsWGhkKHeZn3wT8aivxj1/rH3chRcr
ppLW6BpGx6qNhlPpX+m0n/WffXkaJREke9UDX5jiNrydj9KSWNiJ1pT6uS653fJXN/eFCc5zDIsa
2m2P0WS7bledrZ0eVHfylm5ErZ4r3eCIrC4scS/7tOslyFBglVgds36ID6wqBI70fQc0u6v51amn
jvQ3QeqFUTbDF4s1pgmlUYPhWS1Y6MzIhfAbLZ4l60kZt7cv7PUK6YUtdtQvbBXJkv5LaGN0y69Q
hu9APKHhvZi7/ehUPjgYWKEi9cRt5gIn8lE1v7CMLGO76D2mtq2/hvLglhBtkULBi5ud2E+X9cXw
OC+St00KMlL0WRZWPJ+HAdwk2ZQs7tBpAD8VthbUJtrc0E04CQL/1WNwUZDlzrfVaUg8fTyjluQ9
sW1fletnweKxff5pdH9s8KxKTavlWSUjxhtd0wHJsqO8xAGjCMCNHYgA94IB2dy5rvGoj8MexkIA
Z+xi8GtNcwQDWnVTFwPiDnYI5YVO7hESKE/xVyXbzF91FM0BwXG7r1Lljj1kfVj1V7oXIWJWRmcY
6L2yoQ+rmcpHYHuxGy06pXVDTAmCM/d9/S0rfgiGxqaHWysTGgKs1VG2VIhOXR+0Xsn7thkiGjQJ
WX5H6KB2ZJLOfmZpdKvVaXeXtKW9HaOWnhLTHDyl1oYHnRY2Fc0ym8VPn2Ki/qoaliobPJ1qqQ6j
Fs4JDbq0N48zTaT3QpOHU25l/VHOemtfWGPoyxLE7tSYqIFiZc2jMeeyF7dEFnjzlSMK4m5wg6GJ
0jY1nryxUqH52quStGnitH2pkjTz7KLoPYXEw9YqO/kZQt6FE4eyKIm54oFAF6KA01BXdRmKcNdL
QlVTTulS0MCqrfYBEY3izWqo3VvWIPSzK68G2AIjHWTHYZNH8WpZYcxLmdMA3OzSKaJS+WrVir1T
JkDK2o6qj0Vcgf0jnlQbEpx60sMBQ8tmMPsRd0xp7FspXERdH2v3mwkeYXwPdqYOGbnrKRhAKJmn
yF0HeGwHekpVF7jNbmMt0DM2Cto4UUfvyineFZFSOrIEYgxjkSCPZyhBo2nnRNNatM1nInHzleNo
yRroCXWwRDMY5PV3JYY8Tbo002C0yXvZJRu6pIK2GpEJztcAR6GSOVtokHTqk1QZgS7J/u1Dv2oC
zwu2rU3zk+6iEdO5JL1Mg9iMm3ejpORpqki/+QsrugxBDk2FrBN/gMxW1jp0xNOAtlZ9lDo0hTjy
LJkCzODKQ8bC6QQZp2yiCZqHx1S0ifQ2MjFfvRR7miIfur56rCy6ScnwnszJWRuXF5SS3NvDW3nZ
XNllk3zhmdMGINERaeSAxom+NSEssAE7PgTvlSjzLH3OBYu24hVgz7INTSa6ZvKPQwibEHBpGDTo
43anmHmQmmlQzn8TxF7Z4R5RqQX41CDrFFKjo9/tsieQCiDTmjwInzWrI9J1WAOoSSZ8UqaYKys1
mhDbEOHkz8VbdihdPxU/pNSJvyy+sc3PVu6Iyphrm1+7sMo9pmTL1OsKsjcB8kRuG+/L5S+ShNal
BS7EitsiX0oKC7MJCOVgOKp6DG1hULLiui/M4KBdb0AtkRclqmEmzLz+K0ukZZYDmUYLXabRAeq3
tpe/3N7zq2ft33On80mDLs+SlIYwSYAHixCERzGY7O3FKewKl0PvLKXup8vjbau3V0yXOY+oANln
xCasmuEzYPvtJIw8VnJZV1PJpvriLCvDMMpdDwtR3Mt+j+smDTNnMrsHvZV9JTKPOa2+gVPEGysi
UH1aH50N92UbhmXx53oq5kSboUgXVH34NWymbTmJHm5rKWWM748N7kxP8dCVFXo9Akvuddeola8R
k7YOjdirlWRLMkBDyvY01dOpHE3B8q2lFK6sc/FMSJRklvQoChqvOXYfwAX1HgkMfzqJn2+i6eSO
9zIVYxopMGZIT3H+NqGMcns3sq/lotSr0XCnu0QiNx7TOApyE21O3XttvfQj8XtIHAyzqJQoGA3f
3DtrtB5SA6MZc+j2zl+rePFuD2f1GjOw+wybyKbK8+QB4KI1Etsay5ChTAgAifKa2k96KpLeWYmn
LYT2/zbEhnpxxvoijyOtxrzVpQEhW6gH+5mKVkxqRIs7krjcDpmkPhRSK+/+ZogGUpC2QvCO4oI2
XWtBNT1iEqchnNGmZqiHVI1mN6Jgxhqipdnetre6aCAy/397nL8iVdz0tMGUNlZ/VCb7voH+xG0T
q1fnhQneYdE200mRREGn/2qm36TbS4ss2OgiG9yCZV1I2kHHMMIOJJ/L66y2GxQqBVbWEqrYF39m
i33Gxb7IrHBsMgtmMkhvueNX1s5qP0IKvAdjigLgGskdW5DJEq0Q5w+tQtUH3GVRkBjvRbJX5ofb
y7P6/5to1SNMHETjFZc09Hej61NCbGjML1By+FbUIuDfqgk83HXEK/iLfyy3eT7GU5FFgdlaJzUK
3SobvNujWEvCWdofG3x2VgLjKoQBYKP7kBNt3XQOmqfOclJpq96nO9ZCrkC1hmx7lNK+3La+6i8u
jHOnVjProgkbGDcqNKkn1GnAhEaMY9pSV1O20vx6255gQj9usYt9GNMsTWUVe8Lo6UYql69oABMp
AIlscMe21ctsUe00CsDmCabgLNmWnaUITpTICPv9YiBDjEdqTDBxVVhAE4fsaJh8+d/mijuzeZsb
0Jpmm8/OISyvulMlOKGi1edOqBLHVTNpsEDUvdK9JvY38KoHk7Qc24z4sr25PSCROS5EkduajpEC
c+OC2K9avFGZU2eMwwX3k4luoLxyweH1dtvqelx2scfZZ10sVd5VU2fnMBsblpMsIKoLXyR6l6sQ
5gB5ST6+GyR1al2orLjq2y8Mc0FMnusQqZVhuNv0vxlMrlL9RmGaYgALFX6rMrL0vwzObA1PWBMS
cTqfEpiRUUugYQuz2ZHEP+VMBERaXccLA9y2McbGKOayiAJb6p7iSIqcQVECYld+SaC1N6V7iEoK
EhDr8e2FUW7zTDJN4x6SCEHaT2kAStnunRZK6El6Jd/TaJCDfKz1bdLGiWsXcgNBg5RuKmPU0WAT
6S+3NxVbOj4+RW4HSV0FLzWVF8aS8tIYyq6KwEo9aHfUKN6VdDInf4kW/XtjK9JGW6YflV213xtq
0cfb1tecD7FUPGVk5C7RTHO9oxMZhNKjUeOlIUHJBrcL9cqwE+m1rR4c5EIszUQuzrB4nsqhQaW5
V7oo0LWoeVgyY3qu8qLcV8ucnmUwWG6HZAq3Oq1DH6kYkCKBDv/2SFdvR50pxpkW2qENiztDw2z0
qgXdiACdBflXvfbiO0Z2Em30u2JGsO4yuidwoT9YppB4fu38XtjmKyy51fX1MMC21AyL12cayJ3U
YgymOpGC2+NcNaUANcM0dnRoEF2vaBsNOR11uIo+prYr5VXvmCiIOM2iCzjW1y2ZGrrKITNo8pk8
wxr0eMnhHSJofClw/X3kWroIJLAacOrIGDIxQ/WzoGFlNZBsSHJcwgAIW9TNJ2eGYKUrb5bv0McD
ezy41BTRNK5BkKxLs9y1PGU2oXEEsySIH/Un8xy9t+i9LGwoVEi/kEshm2YPdOY9pKEa8ASw1k/9
/vZaCsfOLWZXmJEdsbE3mktQ2w8d8BKDeUG910LfHL3iEfe5J5KQXHMKl0PnvLJm13FulLAKDSw/
Ya2tIsmCNYjE1exyPnieIiDLLOxSea9vMm95Ifegy2bi6L9yQYKefS3vYA0F7Ac2SvCfUTp5T4pm
KHpcYlAO96IuhYNVfAviH9NciYS6187EpTFu6sZioXpbwxgpwbdgTPd9IzvpEApixrWCC54qUPhE
GtYiFp8GqDNq61E9YP6CGRoa8RZAwD3rtpA35Zccjab/RRc0i+A/TeSFTe5EzF05Nao5sjXD2M7N
1h98zZcPQkqV1Um8MMTtepppyxjGMNRYM+rs4GkMv3ci+aJ1IyY0wVBLVcCOce0n7cICbkyFEauK
HVrljto8DIroucz28dWcweurOuQ1FRnO+FPOPBkntYgtXHyWWf+uzOJ1MuKfWWc+F1W4gSLrj9sO
49NeZ+ZME/S7tqIiauOuc3SWGRkey1FAl3I807Q3AoL89rYp+tHLoNm1+Qt7NrFV8DEqaMbl7FkJ
kbTMUJFzoKdOt06S8lb0P0cj3P5zOwgR2JBkDU2xnLvIE7ujcRZiXBXCxMSZlnQfU9Uv9Ehg6bPL
xRRemuJi/MXO+lSrJOQacKq0QzyDs9TyEJDsrDMAk5WX/RK1HX6OSDmb3F6cIruW1B7DYzUc1s4c
ouHezZx6V+ypJ325PZmfdj6sEUVXUK5F3Pnp3kZjD7iPrTIOcDAOevViKNABqm1BmP2Z3v7DDMJa
09JA/MTjosuqNuvQxN7Qqbwc0ZbeeBW1pycDEpEnFKYRa6MjxzUKE7n7xZAHzdPnpPZz8Dft8z5X
fRuUzYExAofr1EMzb9q0QPW4DE0joFnWvGngyjuCaGZy5GSwHYSY+u8sz+fMGYii/Qa8MG3csFZK
d6RK42a5PIF6Ko43Y9abAo/86SWD0UI5UoEzJqw8z/msEkArGZprcYAuuFcTkVCWdcew7o6NHN+F
BVgdJaX8i4XUgXZQoRQum5joaxc2ZCQx1LCKAzUbKycvME+JHh66eRG87td2jI5AD3k/5MdMvrzf
WyCaonofB1RCMqd7yKBDkGXe7W255rsQSbKmc7T0y3x8HtGEtmMyYltG8ytAvbjD+ur7SNQ7EhLR
cq2NCArZyMfB95vA715PXb5UhZmVWK6CII4zK6+Xnk0hrazIinptJWnn3JhwvwSJphQQLCU6lEvR
xVeUs6i8uDZ7pkIUEIsj7P+UX8xKNYtBQxYHlk48Owb1r6WMmWOFmukYJe7Rf75Y4L/RCSZQgzge
t/VqsHx2cd9i/tRfY4jNPQFR1T/KhcAdrw/rjx3OG9vhYANb0WFYZeihd99lIJLMAG49Tf5mSGh4
AsEamLM/3WVLGEvTENdxkOpJ4pRFEujKiOuzI+4cLV9vz9/qzgD1FqtwWCZ4LLidIRckjjKcKPC9
bbu+86WiwZu33N02s+aVTM1SsEZAv2g8XCiGGHfdzJg+rdODtDG9MU5Hx+6N0cnt8KRl5Dea+gVu
ieDb+ZjHklEbVZn29ScgiWpIyGQWOMhKNXcuTRXQ5FhU/4vlYrAzAOEY8Ip3fikQXmYszZDUlhZr
l5bgha77ZXFa3b4jSUsE5lYHpVsEkDsbMRZf9k37Vq3jFhvesluXpCR07NYQeSWREXYaLvKLYabZ
5VgOMZAIcuG0mbbtjEJwL3/OxeCmwq1sYTAGymv802EYI8jcVFieBBnUjUbUwRvktHQAw9kNkao4
0dIeUXn0x1J+Ru3Zu70l10404g7VJtiPQGVxnrfN5hBlgglj1OX7LhocrVVdM8MbJhLcWmuxN9Ig
DBAIuBEinevZLOhc2TRTsA+L82jGh7n71oQvij0fyvH3XwwKhUgFO1L9rNFstCAkJbMeB61SBsZC
X9EzdTe38j4lVOA5VvcIEKYIMkzjs6BxsqBamUYwJWnvFO8VhYoEt5nv+XR+Lyyo1/M2IDtlRxQW
SNGlDuSmf06DCbhWv8kNqLIUxT0ikp+aChnL27O4tmA24ntbVnTgSXmn2KH4UeUGDOedmrtKGjZu
sxhnquaVbw0KQJ2i98vaZKKlRscLEJ4fM3o91DYC9tmkBjajcWhAwp1Ckf72mFbfE5cmuBssDyU7
7RKYkPeq2zpMaRNKE/opemzQ3Bs/9YorIkBdu1wuTXKXSw7vJJsS5rEvrL2WIwGhGvdEFQ1NMHkf
VCcX3sqabC1BX1Yc4G1WeKmW/ejU8u329K3bwGZUZWgnf9KUyWQpluHJ4mDqkntaNAeIhwvcxJpD
snFswU3MMLx83DlFM+2YElVgp1LsVoUFIZhBf5MiAGiBwxHcyGR1RIBxIuOvyJ8zN1UZRi1g0bi3
ErNwJyM5TIoBEHeTPURZ+lQtC0Sq6gncuL3hlwNJnDDSCq+ryaFr8C7s6vy9WVpkdSfSuhpB5jFJ
DlBq/B5npuYYCi7CuIE4t1QU5oNc5KNnjV1+zMch8vphQR89EKaOMvRK0FlD641RTV3FVp6iVo1c
2qVgDeunh9yIfvT6COhuhHqeGmuboZnusyS7m4bpXBDrLFMgeP/xciNPh4cGQMQ2PDZ3HqekH5I+
rtJAnuvzPJavEdGD2yZWlvvKBHcezWmE+ELZpIGyJH4Xw4FGijMrL3ndbm5bWnFnV5a4Yzjr4VB0
MSz9H3Nfthw3kiX7K2X1jhoEENjGpuchACRy5S6K4guMK9bAGli//jqoqlYSmZcYzX251tZtLZHK
kwhEnDiLH3cpyxnlz3V4IE3sDfQpoJXzta3ps2Y++9jWnO0bVCj47bhEOwsC7QPPvc4Pn9pB2Uid
div53ZUZVzHTKuvma7tnXY2hKR84HaQBsxdmKpIl+xzejVj+VYvRG79U3IHI26/NnFlKE5x6MtJ2
oqrmvKmR+2kUyn0ce1VrSXhj5fPYqxdmlE9qTsmTUQFn/rXFMw/2yeK0jY6cWxDWpNCbNPYas2CK
DulvAMa08eH/zcps+XC00rCJYaUwc9A+xYdAim70zr/+bTMWMN3on+B/FIRDnx9GVdEYz2DI62KS
uwN+l/lSDvlAMxQLd/jpOK4mWwpVCbEsOo3BzHa93wc+aWgfe8qjXkCKc3QyJ3rsEqcAQzXmIMFt
xfit8TTqrPKWMMpnnCuKVqqhwrta1sl2HNKKxEFMIDJa0Ze0xNBvHizgP8+dNOQcBP/RkVnNCz0D
2lE8l8cYJU9Zdnleg7NOiWI3gbibwUIeNNsu8+uQDV1DrtHuI+vff5mqiiwfIYusoS32+WUiGioH
STJij5S9JwS5JSq/DCy6YOZ0jBsv8tjO/ASUA0mCFHYmNJGEwVkxtb5KR1mFYCqzu11AlvbOVC6e
e7Fjk7PjkLV125syTE60XZNJA3vGnYZZc6d9iy6XkN8f8d1XBmeXwVDroeqb2mSwh2BsaZcgTpfc
yp06weaz9hRDGTuobRMB6MLDntuqx886OydtbAwtyfXYC4Y0YKl4bXj/+94FbxDXKSp2SLZOugES
FLh0y8ROyXwQEUmrUMPpz/WFe+6UmPhjp/yyMz3qka9EUSo3oWc0FUwYdK/N0NYAUfEdkq2p09vB
VVgzAMISZ1hLr18fho9C3ckbNFTdhK9RDG1OZZOmY1fnuo9d2vStZNd+aNzUVSMdyoTk6wYHuLJ5
DWotpld18COKx9QpY17bYeLXrCjqeCWPUvWo5EjfbHPQ/W+ln4+YIqvopqxDvso73Dsa+H/rtSgl
YWtR21/xNqHbrszrcgM0trQdugGnQ+qTm6wj+6br/cccQwUrjZbVY4aPWSuSqbuBkcfICUXzCOCS
4vTEqpzcKkjimGI07ABPUzLZz5dC9emszlfpKK6a01aPGuqDFN1OT87Gg6IMNmlMp6WPY7uEQj1n
CTOBU08S94w1rzj1CmLUUK8RXuWXQ67YQ5wyn1wF5LfHlbDpjg3N3JPWSAoZWhjSquzGMrFkXdks
tI7P+XoEwxjjxK0CPP6sVhGJOI9zjG6jF6Stak+sIQ+5WibYPhNrWBjSx4WJQj4MzdweRDq7MbHC
xOtTclDq0lVItgGn6MI5PfdqQCBhYmwBVcWTyas2D5Rab6PEQyNto4/eKBuuWrzLS8owZz3bkZ2Z
OzCSIAtMJU28bpAeI168o1K8hMw8t2QoaqLcYqGueaKIYcnhoKp5kHgW/yH53xL+I+HfvnYtSyZm
ZRBiNb7aSHj5dZnbqn9nWtTukC98bWW6YU5O5tGDTFfike8siCQbfNpiRlp7WdB6vlE/+zXkjni5
jlQLg8R84WZfMjl7P9048CqjMGkBhjwM9T6vsnetTO+VXNorUZExAB29rx/z7B2B+Us02xG3AGs2
2+OqT2jmG9jj1DO3aczaW8KCrXYxYK6EfheP+grq1ov8T6cE8vASx2antThaXlTVRTHG2POd3bnU
Hjf6ltrGjuzyyi5WZGe5yT7hNn8ACwMkEgpoqpSMF84Sr8opG+jsi8yu+yiiFjUifJFJkzPzWVmz
rmf5N3wzYA4dw0O1IQUzJyj9O1aDvbe4zuylmONco/l4OeZ8WHGkWWo7eZouUeiu7MFJnHdVADXc
+NFo0TQKqQnWF6O0ob3o8qZTWGhJd5LcLu2Hc6716MXMu8Mg1PE7fdoP/UsqMf/Qg2vgRwpmJwNT
+oMDpvK28KY4TNjpY/o2LiCrpu12cux+bUd9fripGAaqwjzChgeMbwumS1rngEx9DQpZSGea0cJB
P2tRB4IBAwAagEiTuznaiX0XDJplxbivOhAnp1nmtuYwMrBfgvyM5KldF2JJOOisCzMnxiDNIBay
5882RSeJxupx7ScfpaLLMuArHyR1X5/tc/4e8de/rczWUg7yOi/zPPEUGl6kaXmtjsWCL14yMfOS
YRw0mAriiF9G/yAGgk2aUX/hOZZWa/oSR2/IzOIy1Pm0WvydS/d69FiUT18v1ZKJ6edHJspGLoog
hAllfKwa6DmMd2W2NCJ2bqcdR0bTz4+MAGoakqpHZFTWL2HHnYandoIYhkDPYaQLIdK5JzIUdMRk
jGqfQgNkpSvlJBWJFxs6Q1Bm1/SNmEsT8OeuLDStMJxuogKEh/v8SADYF4pVNglm0yP5WpgSGqaQ
cF5HpIBa86Bou070z6isZrdfv7Bz3TIUnoFuRXoxjXHPjlCPPiMVkQZHoTXAh/m7Os1L1sd80wXN
Y5yHAJ+YlWOO/k2XYF9+bf5cyAYWLpQbKEBJJ/AxrUc0oIcYHAdMG2wKHkbXkcBJ66B9+9rQuQOG
wW4CZBA9M9UKVzxWeWAlHq/aXZD4jmlVN1+bOLctj03MAnY1JUrU5SY8fl06GDC1q4azWoEmhiiZ
Ff1vUp5jc7NTkI1qZSF+Sjw1Gp5k3rhdp3QsUM3ICdvFqj723+frBIUgBbRpBBQN5ISWg0fmCBE4
GCOYRVH8lfAT++vVOxNAfTYxWz4tsFSjTrF88X6YgMAN1AueJqVi+qN8yNNVeReu9V38uKQaf6YO
9NnwbCGDQYGyVuPDZx108JmJy65xIvCngbnnLngocnupiHe66SeDAEUYoIiwTlJ6mWtW4gsJBuvG
7qA0INPmoZXTO5PrC/741K98NjVz+WPVQKpFhilVpAWrrJCpAbjK611mxb1Nu2DXWPnCmzz1mJ9t
zu4AoxI0aWWsp9qHqyTpL2MpWUmx8rvofA1m4JORh6PweJK7VuiiGIYEM1mtOYgN7NgiuyhaEmM5
PdWTGYp2ja6htjzvnnXGECtWFKUeSBq+VTL5HhvKu6Q1F74JdYM6lZe4Zs6+Mg2JBBwyNYGg+XwV
QDrPtHIDBq3URAw9oniGibarashWgVy/5yT6ntJwqSd+9qVpGlGB8TMB15kdAjLwuJa7NPXimGPm
QK28qC1uu0z732yOIzuzfEWG4NVQp0nq+VpxM1K8Mb1ylej3QRh4a+ipfrh7tNvUz4sYpWAq0+os
9SA5yZo0cod2R/uOmWa18EAfH3XiGnF1o3wCrcETYJqWRkkCDS8QVlqBxVms5LVs99o43gbR0DhT
MLeXaCWuxxa+U6ZdzAim2R2KyFhD0U5tN42JjMwKKmnd0LZ/FUnsb8IBRcUoa8F70mcWi6to2NMs
kO1m0MRaK0eNaeUgXD1PyRUgJyDM57R1OAjnQaTQZ4BBpcqI9M8yjbWR6nXOSKdk11977dNrFcED
QmOTgMwBSM0Z5wcP21jhvpZjREYHwtzizwAf5wtBwmkq9dnILERReY6ipmnknm/F92UubyTduijw
sJ3aPClGe03ltsCUZPj39N5/vPT/GbzlVz/fYv3f/4U/v+TFUEVBKGZ//O/L4i27FdXbmzg8Ff81
/dN//+rnf/jfh+ilQibwLua/9ekf4fP/tu88iadPf3DRLRXDdfNWDTdvdZOKDwP4ptNv/k9/+Mfb
x6fcDcXbv/58yZtMTJ8WRHn2598/2rz+6094lqMXPX3+3z+8eOL4d7dPUSb+uI+yF3zaH29/eNVb
9vQaZQi6fn78vz/j7akW//pT0slfBMPlH9B1IFvNCRXQvf3zIwruNPA5mFMAgezwzz+yvBLhv/4k
6l8oCxKMrAH5gAxroomv8+bjR8pfmoq2I5h40CefmuV//rMan97br/f4R9bwqxzfu8YH44OO4xf0
BhRcFRrqaUBKAUI68wdVN6RtDM0nJ9PBAUjk7yLPnWDU7drsd5EUrEV1Xwx0K7p0k0voLluWd7SA
f3+lT19hdpH8/ArTE6EQCj87D7S5MIIYbJyxYx7afeLeQeUPvMH0UjoMzjcEi57lgEHux4LV6cGO
vNNPq3SKrxUc0pNuZUxbX2vyHpJaKMsokIyJttyL7AF1Xv05cH4T4fTTnIbm3Qf+7oReF9PDjajN
IXY6cKJFQXwpqsZGCXBFgd2W1N+8tU7MzWLGxtcLXRMwNxQXZWYwMwfcLggW/M/sbjyxMrsbx07X
smCygqkDuy2JbQnBlHipWTcLC0/MzK7GREl4nQZ4VflEIdeiB0mAbwZuJ8mW5IvOmzJkBf1yjMbO
G2d6XBdDlo6xk0b5itThjo7CjjNlK8uvX2/Ame/++VAwAM9gInmY4ycoJiQyPm2InyoJLToM0Ofx
lkLqOQrtxM5s8eJeSkYZCAqHy/wyCQvX4hSEa5ijzItVp+Z3ovVdPwL57QixJq47uXmtF5E7Ivz+
+onP+xpE9hg5RiEMccjn2MPnbWcUgQxl3AM0PZ36INbGYeq3ZtcIr5asnT3g6KpAVwdwZDiWz9aq
2ORxAlSAk+RXxYZDDJxukj1u+0TF6Hy3SVa/S9P/c62PTM6SCq2K22YAT5Mz1ZwtzS1W3BNMvbYO
5UZh/aTo4SzSyZ/14EdGZ6sqp4oJQDmMtqtgbfYfNP3pbtJD0pCuLTqys/v2yNzMs4g2Na2khTmo
Zq9VSCIlkNNU1ovJ5xS7nPjnIzsz3wKWfH+QBtiRt8ZKErgSIrtHqZ58Sy6XDsnSM83OSFgKELdM
W0XeBhC5QYLmEegCLgnpnTczgUcg9oRay/Tzo/IcKHpEC+jRzyPPtxMR/0TMsmRmLlT9cxsCY2iA
/xKhwxxNy/tcyUMDdsJWfZTomyF0WwSNaxTyTaroW0tNdn0hbboo94r0RyvinZ/7j0YNeTLJt3FO
basfXGElkL0dWdkb20F/0RLuKKVud2a5C0LjSoH+cG/UXp1I6FwEKy5R24oC1sm6HQ53hbXUYJ4X
Qv5+LsyDIwOUESfMtgSvw7zxuRY70X3jtncKmP5vyTpcFW4ZsRJyxDVT9skqOyTPX3uuD2c834xY
R0zMIeWdQpXPbw7ISq0JfazooFw3FmGAATEQVq7ioV/J8KNpGD4XaQyU5VtslExPNNtHGzT0m4hB
aP5ZavuVVvBV3VSenu/NVrAUsj9kgIQ0CkYSfYmCDATWDSsSZZOjoNmYezRQ90qcX2ltAqddvIgS
evSBsBVBmCKaXWs2qKLdS6p513ToYKSha+jlJqzkg+n7LtrN66APnbLqkLaqrMQoUKS314YRHmrZ
ZzSQWJWBulr7jvRsxYNsow84Zzl3g07aBJq5N5phTRJwyw97cKmxQLbQC208NUEFCP3QypRuzSC6
C/uKjaHu8Jg4UTsyq5OXnPmM9+/j1R+9gI9i7dHREVkktdgUsTMWqm3JV3Kwbcd0ZQBa1uk/jL65
VOLUoQpdMnzuFkH5FzgAOhH/zfETvB5BcEDp5NIHtBExgt8x1BzQnlKYeAucYYm1bvI1s60GD2HA
pAwlhhPmFcWAiHAnYBDjfSyeNL7N3ejX69i6U1tICSOJ/Xpzzzul09qi5IZuKXwPKKznFyXwm5jE
7GBR8aTLRmfQStAHUOrYZcqMh2RdHvw98aDU07pmzhqfafI6f63s0PVd3f36y8zS5pPvMrtBMxMj
KDGU5Z1BbRj1E6YmC1Mw5y1AqhSoC8wVz1+onPqZEqU6IjzlfsAoWVwujuifuZGxoL9MTD8/2qxp
QEhGJhPU8z1qQ8TggJFvR9vSdXpYYkmdV2n/XrJf1mZxTqESUDZO1mSvBZKNu+Vb8K10TMiS15fS
j8WL+UyI/OnpZq/IHNK0QVFjStfUFVyI7PS7xB63/b31qKwmqn9pk3znS6yEZ7LET2ZnYU5fBDQu
O5gdRWAbIXxdFUH6q2atnnk8XaihKme3iQaQGOYCJua22aqmRFQ5YPWxU7sH7aVdkU25q13f6y7y
a+5l6wRY1m+Fi7kf6C/lr8U2Oyg3X5+FD/K5E1cweQLMDADtOadZCXWrFmgR4ZGRXknhrip/DOak
TZvc5SpS1Di5RMKy1fKNLqM/GtuaeE/JsE61ytHDW24abtk1m7aWbwTGrUqMz0eazlqo1jdZ6YbI
RONg0kxQPatI2ZCVrOQZC0vMdOTtjdAk/Fx4skjsImo3IvjNvuvPrQvudvg7hOgYFf98UBIoaqdJ
MC0yvW7BY9V0u65caoqeSzswL/XLyuw4tkSkjVDN2NGvq422C1wQurFhVVxMLmwR7nF2nx5Zm22c
qK0KecjwTHp533b3GudQHVCYUkH9tWkZIFpMytdYY4yB8FWaW9sCPDJyorI+7B3AnlxNPBkBJI5j
iNU2YOvVH8d4I3Mo9hax3YfggKEPcrpERjcnZjl5GbNz3QrAUfMIX3zCqfCATQGqdag3HajzF7OI
uRryibXZcVYUQC0lDS+l0ZjUsOgme+1vk3W75y70njeV27vVyOTUxhALSN1QBVoK+udMKj+/gomZ
TqIDloFZsM+7T9G4T0ApgJv2sXMjzGY7EOKya6fZj1v/clJaXdaZnj5zdqTRmkTbBNEXqu9ztxK0
egiaiTpxRmNgessxJIuSBqgmvnYdZ/Y8humAtdI+qG9O5vaNQtJz2oPfPIbATZewwLWgLq1uiVtm
/wO6uNPHwoAB3DMeDI2Zk7IJhZsiJEB83KS3lWXYavod3459/VCnkdFnI7MNqmRgZpJ0xIBd2NyI
AdlHWrk8ecTgrp1UmmfCg3xt8exjWRMRrooKLVQOPu8QQcOiCQgshnXsSCq1K1NmJerrX5tBQfhk
WyDCBAUpKsTolIDS4bMhOVCVfqgVVGEpeC9a6Ge04rbgydrg6mboEAi2pa3xloGO0paRZAU9yEJE
eiibuxSTiwOSLUzKsEbSDuDyvx6LgqkpEGWa2BjaNe+BrxpVpGi6Q/tyDRIhVo5inVffx/Jdj+/G
/G6QLvK6s+NScnKpYIFhrKyytjVfsRX/lfL7hgaQ0UrdTOkOEPFwaNHZSn5LBWUVMLiZiYC4D1nV
Z3ajW6whpjdkpt2qbx3EeUAV4AVdwZLUcqX0vUgiSMBoO2olO9FZu3pI7YjsSt90fUCygGJhGcZu
Qk4czYKKh1I6saJ7svWI4WKoETdOZ96UJlDG2tPYf8tqMLf5PgAGxTsUBO8wp7L1M8keyHNFyTYO
SkbT7IDu8qvPxWoogIaPDNa0mkdDGe2TEfPW4GgopOK5wUxeGsEr+VcqWish5NJTKXGAzNwMNXfG
Ub832xBYOdPVRsld2ArT9fDZQWAnaKjHAy02VcNnOyFQACBvJQTAxcMEW4T6bsgA2AY0rsJ9Je+W
vOC5Q6XAErJaCBac4GtQhBSgCUBOPSVW6Ju5KXkeIm0VEeoWFPugHzYLj3h6Q05jfigDYjIBMjbz
Pq4YA4ylgWrciXLL41S7lHniRtJNLCIn8jM7pFhtEYIzpnTUQtvW1WWTFd6gJlAUeRF55qSFtrDu
p6WZ6TuhWCir6I5C5uDzAcxLn1tWgGXvmj0ogEDx+R2COrWImBnISKXf+yXtpTM1hWOTJ6oAvtJn
GHnGmVdV4hgYB1BLbQP5v7WCy7ceX8b8MlcgDMlBDwHcoBUAb1GtW3Gdx8Ou0qhtksStNb4lausU
UBQog+9mgmuzHGyMWDtWIjOj0hC6NY4UvI4EPDmd78iN8b1Ib5RWd+qObkc12KW+5IlxQ41iHVmX
olBs0xpRAqqcMniiQ3hbmxoUSGq3NjAYa8hOAu3byOeA0ior1Jm2BgSXRgOhSiG+UypYVoXM59V1
COiGlATMb25RELPVyLDBou8VCRLLAheuZtpqxr1QnvQdfJcbORtVN+y0FfGpjbq5l2upq9bDgsM9
525/ve0TdQSDj6WoKJa+K4dpcIsF2UL+cN4CAluwLKDAfxJbZEGklBn2U1iWdtzuw3jpbpqP2yF8
mfbPLxOzQmwzyjqBmvTUwDK90FNBIDU6VbxKtpILf+uIyI53CksfM3tJ1e40BYRpIOOgi6ZNfZLZ
aekjpa+hqIKGjCHbNLoVEU6s9kbJ09euYsHOnFQ/S1RudjoSoGK40AZAdDqgn5pyhebJ+mtLP0mp
5o53agVipsBCW3X+TILHcEVxljgl3FAfyIwrkpdNtMK9CkZr8RBJYk/BPGaWtVPVb3lcstBA0ZGA
ust/CLQHFeUKhXaI5c1dTR+4JLF2HGyeEltGZW+kqC7nwi4T7jUVZqTEjugvSVw4vOcMlDCMZtpq
RDuQp8gXyhXKu9sgum40jfmidoNydLMisLMpldPyfW6V4C7KHZBsOU3zDF4jkG5rdi93TApqR+kL
J1NfqZS4iVZfNDF0HEZcXyZ3yihYlb3vEg3UwcptZHxXjZdGeuiNm7S4bcmw6aeJh4nyH5zXFoHQ
dT9CU6tlpCgvAtQRZRVsUP1tmP6Q6tQe0CNr0GDshWEXquXKMsiw9NodqWZTLWBR2q6NRsW12ioZ
azBVl+NvqfXeBqGtFuNLoUo7fClPy1I7jMnK18A+oWTrcRD3ucKdEJoDchmv6PgDNTq3K7qLXiB2
jsS6rkLbsvZRETmBPLDAT200X90wly/ksLALSh09NlYYm7eNPrwqFHVTm+RQmcByYsaHUSlzkzD6
Bma9KxDpXxblLuof6rxzAu1GxMINdIU1mNfXBn3TxBKGO0OnskpbrlUWBJASIsG24qY9pMIJRLwN
AGNR4pVKa6/HKkGB3GC932xD4zWtvyeDX7JxGB2NL00Un3M5Rxt4flgk3pFWITxxau1hyJ5Ma+mI
nAsVjg3MouGmCTrVimDAaJhmoUZo56EdX6lObaPNFdtUWunAw95i6ezYlZylGYZz0fix/VkeP068
SX4P+1Z2WZtXQVsypVmoDs7nQj+86rGRWfpuyl1kkQxGqgDdELl2sl5zwgH0moXCdGBVK+iiiBuK
sIxgCIlX33rDtynuaitb9ZjsM6SldZ+e68QzTUO/gF8AyT+vknRt1/Vlja+Uam9SfamHG465RM4D
J0r2aAw4cfHu020OBymihfWgS8Zni96UOkk1K02csFfWYiRMmOVFqnZ2UA7XRcaZiY5RL+OM8HAD
9glHFpkjS6Hb6MOqI/mmitqr1qKeHIwXWRS6+N5MDREjNM26KgUzynCTZRjVLGMn6KNt1UHDwiBw
P9aKt9ZKUMPGOArrQYW9phK9l0FrYsg5S6nwCOBNcXRQaLSQQJ87TNOYIeg0qUrB4vk5HuxIGSW5
qCBbmrscHn4Ml9iNFyzMj2seJwEucFhQ1ZAV6YD/Pn99p507L2AeBTgfOFDzhFQHqOsuC30ECHo+
2olkshRj+YBQLizVmf4BSDt+2dFmUDdVC828NmHHPIygu7DpU5OwhrJQs/m2XRfIs5xyIy7QEAO3
lbIvDuJbsxcovv0+UGTiiQaaZ9JIBGHhtCJHhfdGyhITWCeE1IQ7bfSU1fk6EqjQ6gvh3flnPrI0
D75iHUTGBdKmYTvYQe7hboQ22gTlSLbVMzhlkQGrtrnO7usXfS9cn+EqePRxFSyR1531WGhlgM5T
wcOddJUVva6Lvs4TdKj8wTa9YKftMeTsVGs0fw/+5Xiv2co686zXr7fXuQAUsS1yR1DZgXFhDiWt
tbQkSQjD+jcLwct7jZKhdIOIcOhYa7fvvZs7MhvWjcwAgVzCPVDtTB6pYiwEbHP4ApiRmE7Y0dum
BQJUvWtwHzSKq4HQWaBA0vgPunVl6pUnlXcAY7EkuBTmM+kwBl70TKOSSwwoToIvcQqNfGrZfSzb
kci2UZLZCXKqIlXsojhYpJEQpNRbxIrAT90TAiFjqWVjU23TWmayUqCAUO98P93FY+ZW6NVJqF3w
xt/IiH4aazeEIdrl/qoDebmODCCuf6hadicw/9d1KouFRwffjpLyu6LkV32bb9tC36KIwfp210mm
nRWFTTErloyqJyMfI7W2CTGwF71AFbJDWIhJRpEzYwRXUKYwKF45lYgvUHxkuVFe9v7W4P6WyrUL
uqFDmUrf+jy4UDXuWFJjW9R/l1FsihNllSuYEwqqa78amFqV+pqQZAdQMOC2AxAzQ22PkfGkldlV
Jpev0EKh6CWIOy1R3sbOeq8la+NDHs1OMYrt10DQK8BsBEZxmabqezikb1aZuUVoOGYU7QiWUDGv
KCS/jLxHRJiD9/a9orkdDBQNHWIP+Ou2L+0Ws0WWBvDwuMv61zF41rqQSSD7G0xE1jhyPWkgMWo6
hbQTWs8MkbtBnGClhYs4n5G6XJlVxFQVg+iXXQhyzLramBZ6Dbw5yCZSv2LcGCDtIEZxESrQyDHv
g2RYqSrq9v79qBR2SjE4on0bStP2w5eozVgXaHZD1KsklVmuCTdTOaPJlQX9G07e9KbbdI3JRN4x
HSxOYWHZ6F4hewdLvqRfSRRtY31PoUVW+YiKW9+wwet2U2TNasyt65ybrxwhZJUgHSd7IFhZFHUO
9L/cvEBm179V+oMCeD3hwUqIdxqjZ9Olj1GCl6Kr8QUPKQOWo7OuZBoffKXGBjLNmyCWvSgDunIk
fK+Q0dNB/6T3e5pDGDkqnUSWnhWRblvNX8XTooksX+t8vOBNu6+JbqPjzpSeunwEp8N0Z1P5oeIE
5b73ERRq0LbqEIKL5mYgO58OTGlvZexlMYCuHqlNhGmpGre8gbJPoeibFMlFAE3HNrxTyxuVt2vQ
WCJH+DHRYsRx4JrhPjELrygBNEJJMqkeDBTj2j7e9LFll+C1VDFLmREn657GTGVJv+sziCsCZ12T
En0y4Sm6zrKhc+Wqs6OoZSlk5RUFoKWqtaVEghbta4zbKjDuqXEw+C4eZBtMtE5bNBvf77bDELu9
pTEjulaGe9rcD6g7V2q04txkmSI7eq8wNbPs0LjIfdPRamud5vtGkXfhWLp+Va8MqWQ5+TZG674D
mMbAOsYvZOztyAKeKXpPkUiUvteESOdayfHHwYkNE/Axwir9Rg3zaynN7Sp5H1EbyVrMIKAsV9SG
U+jWjRClEwBcYg6m24onoZRgmtiS8g10XSjVZI7eTPK6143x5KOjMb4ganJ3wl9DaKMqHYox30CX
bJ6Ejua/GKPXGXdVdRGAtJMi6CPGvWwUKwsNGDr0qJP6TiajMYOMloy2jGZh1SLn4y+dGh7CtmVB
VDGJ3yh5iTSswdH9Lme7omuZTG7k/Eeh7GPa7NQiwuE1N4p4QNvAFnXLhuE+GW7H8EVq9np7O+iF
m0BSPR51t4c3CqVVix2oqJ5i/ACVBt7+gzag4gQJ0tFPHK6tezoRQV8SHX9DEaciQhd+dxMEsQvq
STurL5NKdayiWOkyON74roRue0KzDTDuGQd2ybwKVdMeUxVUVtjo4wuYku4ruWAWoDpGPintRLsx
AHmHEV7WEuDS2HNN/l7LwcpXsAW0dIvWyLcwuu1ixHUIGwHtflCixguLEfA/EMvQ10q8h8Lft5nE
RmNxVuxMzAcRXzSzJj4JdH9mcYlA1xrDdUGKolCgM5D1g8E8/K6VXvMDExGryqvNVfXbg1tT1oQL
GO0m9DBApWfMwuUkVuRYg9iiQ9Laltvc1kOKwPYuJL8pszC3NKc7K8eyr7PJkp5sR1x7hnqnLs0c
n2mF4nF0lMNBOo9a8JzKJBgkMOl3QwIAB49sdW1dvIx2ftdc4XguRM9nbU3EoZNEAGTd54jjQG/b
xsyi6Y0ZrN2UNlp1rgb8YXVYqvWfC5iOTc0Cpjjsi7gtYArlJ9bnoNmObgqJOmmCO0RaCJHP4FKg
J01k7EaTAv99QqGi65ieVQ3UI1wgtX6yqDQvrYvGp4qA1HcXtbKmAsQsUf60+Wfhf2Ul0QigeAqL
rUNt7iZbSPuCZiK/bH4m5b81APN/HWv5NArz5ZjM/4cDMFOp+j/+mSg5mX+5eSua5+c0enn6w8l5
lOH/ZCjq/pp9mf75P6Mv5l94+SB0BU8ndjeYZ/49+mIof6EhTIE2w3g1UtMpv/5n9MX6C6cBw3aY
LEec+pHE/TP6YvxF0Yyd5HfBt485QOW3Rl9m1WUUr6eJcgwu4uxhQmd+yjEzJQ0yptLcKhSyF45A
yXY1B/9s58tERgFSFE8AekY/eEP01q0Gv7+wjDhbpQambRjttNZTuMSTVUWgaY8cIRpVW1eyYHO0
xFc/d/DxhMys8PbxRdFe15BoyRRohZl3FUQ39MZMAN0P97WPanD+IiLc5pn5g6jKoeLNQuVg5ijm
Bue1CcmIgD0qYTDFAET+znuv/T/sncd25Nqxpt+lx4274M0USKQhmfRkVXGCxTIH3ns8fX+okk4n
kdnEPbrT1kAqqSRF7o1tYkf8Jhxsc7zWmn94SvwJBdOXm4OBMcqPj7iyzUMdwmoBWN3OQJTXu+o7
yTlac9HtfEys4XPmuTo5I/4Vj94qD1d8G5YfvfOlsBbLonAH0PLZdhZ2Cvbxdi3M4h7+EwYjLkgO
8Kr4w8dh6Totyi4JCxC51d4a00dDiXZ0+1Y0GM5HQwuIPio7icYlzcGPYWJlysPeINHUpGljYH0o
DK0Tq6GdRagv4pxbYFDYRvrapXW+dT7GXVQFR0ExBL8Qieu7yrbY1kf/YYyuO/vHLNhn9U7wYAz/
DVWf82mlRUu/CVIlatH88eN4Mx05k1BRSjfqBNonBrKcYtxUXypFmSl6f59rFzbdsrzBJ6S7xd0/
C2ooqGYtPmFZh30oh3Ll1u6INQsgGsCONyrpQLOXdtHt5Nb3yZ6C/yodYZkTzKH5pgakPLIQxB4X
w7SGVM754LWr7oyvqjvsmytrF6ERtJ5/LMqQcyid0gmWXFhIAINarKDSNyc96bEhyEUeC8X4lgTh
iszy+fH1McRiseSxB5Ky6Rq3K43YbWLxi2GBVemC7pX65KvkFYqLQNpaeUo52+nIv+NPpFITBEC5
/H7yFDeDFyYwBbbBvXJT3A3XgOFJ5DSnBgMVrFr9nSk9zXOp/HF8AgwFWOnj6qyNSDATuW35bMpW
Ve1pb6KXEMM8ip0aUBtgvmEGctjgMO+i/EaNnLWq2O8S58fzjXVD3koqiefimWpJBHQkEKYc0QvH
ezCPuate8dQbXWubASQ51N8s13ijon4T31dAdcXNDIJs99nxn0qRMxkffsjiq4OCy5tU5IdYgHX8
/s6MRDcsypWT6MKB8CHKvAhOaoABeNVJnodbVsm9OlRw2otgIyc87VaOg/Mjbx7PzNNlObEpF3uy
yNhA2KLDopFsactTdNzlv6AgHuJnjw+aUxV6irf9tbGyey7GhcxjcdxxkyyRBNU4VvnYN607irvJ
2pbNNx2Hx3qlz3NpHsFBzNnVTFZevkIqIHBCmfWtKwARs3p927cIi+SN+x/MokY+yBORuvGZJoCp
DBqiNiOronG8N/8R5dWr8sVDmNNGCGu6ou9zqBB03K+ZVF8e4N+BlwSSqRcDT/CH1m2bzO66dFeF
+1zTVtSql7jL+TiFcsXeR9CRi2pZE2+9MU/KMejYfsNGuVG+ewfLyQ+zwlwy2GtZxoXDm2iQvER4
5ZDKFgeOL2ZeNQywccRico26sUtKjv/BFzuNsdjHqqoVxaARo3fyV3jgB+Um2QQbyubO8AoeaAb8
r+NkL9wZOFwYMyZyFt5YUkXbsm7Vxso716pLu/DvSyqDJVWoGtOmoVdtQVzJpJaA/99fDjlzgHDz
fX923cvDZOTCvDKjm2lr2UcK3rhlH6ItByZuwE7hjtskRJRuvA5sfd/cpptiN9fd31cmfEF1Ovsh
89ScHGnWyPNDSOcfgg0dAN5tuEsP8madJzi/vxa5MEI787LhJYVq5xLeGsRG5deF2rrZDfBnpbOL
e9DXG+++utYpO8P3ETcmSlu2/F24b/fa5vORXtqSp+EXKyuvuiFWaq114xRFcKnbVN7srb3KHbuQ
CHwY5uKO8GMWj5Xq85U4bODADyZkUsGJD/1mCh1xH6zb+l3amKdDm//+5Bv6iDfoUU7I4KbZjK7E
lklV23ITINjBflLtzFnlO6/FnKf7JCZ2A0JQoGngxqPdbSxbdmsn9mkEonBoU3QZ3tazx7VPOF9e
JzFVX4o7csvW1b1xB6zFFqzOzoaHzxfKpZGZaAxhUg3AnPLixyhWNjVtLRqti0Cji7tBraxSttZC
LDZdC7WiqkKzJdnPDsMmcORfYIOlRxoph/bOyrcp2ZP7+bCWFbLfO/10XIuUQhaCwRAaVgk7fb4J
H8K3ufQ3vM6ewgk99P3/LOCyeKorXd01xjyRgAWlG1DM3mFijOVBfK6cfk/38vOIZ17K8314MsTl
EQNTFLqDwLxGh+hn8TPej7fzgabflF9NKBbD7VW0l22R9nT9JXJAMq7M8aV75DT+4owJQ00cBW8e
8SDZCUl/IBwnU78zi6MxSbukU1dGfGlHnAZcHDaiXw9Bo/NNJbphRueo/nsJnvnzaV0LMq/mk22H
Xk8RZria04k7mIPmNF3lhNWXz4NczGVOhzL/ipMoTTsqU6kzd95bVh27Z2lvuRJ2PDc1iyV/Wlud
F7cg2GssjakNniHRUxW9qEZlqVQ6nwmzjyH5p9Yev1fjSYjFvHmtrFRBaZHl6o+l91iEx2DVuPvi
tzmJsZi1pAM2oNTe/OwUfkClrZ5hDaNuKziG027APFpwmdaW+aWnJ0JB/3fyFgexmWiRUApElSGB
Bh3G0LJb3WkhjrLg7H9VVCxAs7rlU/3c/6we15XML+USpz9gcUYH2pArY8HXM7zJVUtl13fW0dQC
eCHdNjd/doF1GGNrZSOsrZnFsZ3g5Z3rE1FDCDD4J9FvP3y+C9YiLM5oMRvLNGiZ2CB6F4F9qnLz
PxvDb6bcyTZD2dEQsKJgm4keoNPGsYTXz8dwcUnyqrPmSjels8UzIQfDPSmmwJlEtzSL7mLjZ6Hf
/89iLA5asU1KMzaI4YnHbqyxH43teE1ffsmT+nNjzv4us00nb+HFKstlX5Maxe+4pns3cLItTV7D
Ve1+g4iMG7jWfb5yZ87/j8t6CpiqvyMuVligVVqhDzzozABDrA7lOfku7g4Z4Jw0W1lra7EWa20w
c3nApLhzaZO34zFX/dtcoFYkKjauN87nH0y6VFg4GdlSEdzzo1QoPUbWxlfJPbbFvOqM2wY2M1IH
d+1G4a1DSwRVp1XM2uUF+fekLhGteijhFaTxGZP0Lii/+O1BgHOzMr4LaT9vcHBpc9FEpBH18fpC
XT8UjFbrXO8IbXvnX6mbyp0cDwcboLTO2lv8UtH2Q7zFDpjCWpm8gHjjlURJPN9NO+WK3MYW1tmz
80pYrMoPsRZZhhXUoxI2xALVEu/J5TYF+vHCXtrO1eJZoVXcoPi0y/gZsaM88NKZNVKiW4nqZ+R6
t//Javrwi+Zz9OQUi7VOmgyJX4RPivogV7ayrWll4+Fj2MoR5NM88/WTcB+8fP6dLyxj3q5w5lRs
ws4ZtZiAB7pfhY0b1dGt2pnbVC03nNjvhZWtbZkLS+pDrMUgc6Y8LdqgYdrNXfpoxVyu3Ouu/ARF
M/wK7gzO1efDu7BVPoSc//5kXrU8jCGDE9JDo1+yHgwNZufQrUS59BT5EGaRP+SyF5dyQ5humx0K
MP08WI8y2k79YXoZr9eAuhcOH02VqDjwDxodsrjYLK0wYu7s9+hwOeaDtwMCHbqp011Zrm7XN9Xr
vEvDLUyRz2fzPKedebazxSgGTOirLC8QoylLOU0q1Ln6Lgfj1GfF93oK+2spNUqsRn3tdhgjKO9W
HQV3hSpXEJtCT7HlOhi2kiUEK7/obPnyg2iAUxOdVXTPwP1jP5gjJu5wt3oLv8fInijjDc1W715X
hn62eBeRFlM+mFMrCyDpXcCrILCUfZAMCGtNdlcP/PviWy1hkKRUv8Kme9Tz/r0f9I0oZtvPf8fZ
Jccm1U2ksgEOG0gULy65rjH1QMm73lWmMbf7QN+RlRx9dbrW2/KYK6uokLMMbsZDAUsCBW/pFPAX
OyjFnlcArD0vtZlRC2fy2H0RHMoxu3xbHcO7cqWUuBQWoHf3MeJiM3H4iIE8EVGjEDNtart8qWPb
g8U7cAiOT9WOh+jaE0DX5gvtw6VA2N+4LxQ9AfwvB4rCRapMTYJ4Q1QBcMXGRiSMV4nfx1aY0i2q
0MMMgJQ3ltLKnh3WsvGW5b76JCj9cGcmdb6dMnpzdq8NZuN0olY0D4UYxMe2LpNr3VcFmcfFUA9g
ogXd35pGKG2VSNMzB8xA+02uq1HfjF0H5bTtDeNbkGbpvjEE46shqONLFvQWWNMqYq2HSU1nzBOa
10Gxiisrljo38oL+ri7DcE9F2DrQJaxH24qHWKOto8j7sg7CQ42KqWOVQ/nspQooRk8xH5Pe18VN
PbbKNyAdQISHaAyRvZJwTHY4a8yf2TiWOy+OEDnMkrTGd80KUdSnxAytEOq8aiPHOF5P6djfWEbQ
qVed1lsB0hOJmOKSEgSeHccSxNYwa9Wj5DfWbZLB69JMMRxcWfTDd/DM8tWgx6Z8HDyz+guBYSwx
G7m46pUSyChipJDlhEDmW6hq7GahhSqIKdW+cBQqWboN+kKp7D41mhT9Jb/ddP5kvQtNbexzPxti
Ox1iXwal0krfqZAHXPYqasmHlj7bMQ3AqSr8/qfY61Jsm5Uh3fodQOKMoV0ziUYDprrzAYQaE9BN
E8Vlz0nJDhId5U4he8QhVf4hRJm3GVofmdJsVHzbKtTvemN1Tp7AyTWa50YX3DAr7iNBG2Dnqlp/
g1pT8T020kZ0dSEIUBApffkxs7JgJ+SwfHVjHoxc1XvEdqx9Acbn2pAb5aHMWiiBcjPpt7iJwAmO
J6l7HXP8+TZ9pme08vrmaEAofomsGGG5afRaZ9JCUXf7OFJLO+EHgEoFNIDYeYs6HJaufbX3ZRP7
JLWuJtDndbQrM6zP7Ri9DKDxgc/zvEnU9hhWweTbXYzulDOKvbwp+9E8CpM4vgheE6fbuQTiPw5R
4nUbTRoVKA5RrD/2fqxd15VQlLanKv2NEGfBo58b8kbpdHObpH34EtVT/JRI6nQbmil9YC8VO7uS
cwjdYcZVW5p5uw2svkd0rQjEDThzwfW6Lt6bte590712cERrzPee1NBNjgehKGz0ZXTg3moWYFUU
NdV7UMYiOWbjT49d1dc9cFgFGoA2SSJ0VMkzrjOULXYN1nIQvavwSTUxpsxriWwl6UV8VMPc/1UF
w4CynFaIb8FYGLuh1fK90JXpAejRmGyMgKJMleGGWmRVdOwmSOZa5AtvpVFXIEvHot/oU5/MXBst
O4xNWO7FHMhwnSF7N/gjdqOQGaCDjAXJatfrbzKUbzvwM+voe0oAWjxS1I2PC+whzyXjl5gKoewk
kwlnCGoFHNRK4gWLYMsrBAH9BsZBfo0kXhvZGYjQaSe3Ci0Zrcj38HLAavde7EZ4921RdA2Opa4l
TzDK07cGVMeNJ1bssSoNhX0yhrHbRWCDwbxYX0PP1K8SKQ/vhzwcnDrwkwP4pNR39UIzOY0S8zmA
mezorSTBIhik20gQc8mJoqJ9YDIQwGuFxgvdTht9yVU6Ack2Lde7Hz7Xb+AWZVlkjkoe+dykAYkj
+krhfYED8r7IISRwIAcvQlr5u6oteLBHpTU+oltu2oPV0ZUZUD2/RQO9CFzfz4Svct/PvC72Hepw
cVCVO39S05cu04zKkcSqxUmzDKubzleLaBu0urbxOHO2ky7mqJkIqveu4YDzOEnTj0aV8AkyrKcg
oiOrIE/rCEX/y+NatUHjPNK/ldHtyJVDoXaZg7Nh/iALMdJUoxBfKRLECZ0Txsn95qXquy9Jp0iQ
f6L8NtAzf7CVPL2yJmaI8+KHlIvPpd59Vc2heOOge57nBx1H63UsuyMG1YhflJrgtKU0DwR5jraE
qlBXA/JNUnWN8FfhBkHeYDdoxrYuN5pdBemvoCgfBDUncBbAfMAr7rqS0tLtUy/bKchB2ZpOFo3g
C1j1PKKFNzVgxQUOUtwsM9fCZGZDN4DbOzfa66Rr0EsMxedUNIMDSWuBCLYXOQnIdnwj0JSfahG2
0ci2BkNoC1lS2U1c6ZthCl/pd6vwqPF45EKxpLsOhCrfQ8uQg5ozUClo63sU+AaEPprpPuj66k2N
pGRrdY3+V1021gYRFHqgPSc2X+xXjJvfF4s78ChF7a+p7DjV+qyya5Xumacrgp1XPaL5k4LXVDfk
9lB1GmIAMCbUbBhvJAHSihKE35JUgoTuhbHTqWWMP71VYIMmB1dGUqYbBOzfUj0hgbAQghrmSnYt
3YPlUDaNaZXvlSAOEyD5Oty3bSZgNRQ+QRRF5EXJzNtaRNdKUIOrcJzEhoNjEndpaQSJnQii+piM
gnmIurS7FwuepW3doQasJT8M3APtvpKbvQcEw0kAd7h1JzOT5XBvdN3XsjDMOxQ5EtSKLf3B71tp
Xyd95MRiTeIaqf0DuVfiiGUyWjaGnAFkXYxmcs9XHLUSvA1XcAQdn5KKZWbNQ1Ja3o1exC3NAXSC
I1+OnTzNygdF7eBRcE0emmQo9nrX/qrTNn7MxaZxatNylOBL2QpbzXKt6klRg6+ppgTvWiuK17GG
RoGI9OYYQjun5ix8E7IAN/ComI5wEsp93dbSszymVC2lNlcfwqgSII7Vxo2neCkIPt37q4hGnXIT
xCx0TsOhDGx4NyPzFJK6tyguyBI2Ogi0DslW5wCmQV7oPYYfcMb8tCWhiZvUzWI520S6YV21Te8d
NLhTuxp2RYXZKDAzCFe699RMTebM5tuHWp8yZxLGGgZMkzx5o4cf3dQUqPCo5dYSKwSyYjPfK2Wn
75TJb/awl9CuFvXwGtvEAt5Unh/ElqM7ncbxoOLYfS3Gsr6VBiN1KcnQ6p2aFz1rj978e8b8dgqm
6a02mtDF80i6yozAgm+jKRtBiIsbxWhI3Ae5ZmWBEZVk/lY3xgadBtRKpxY8rKlW7a2Ph4EDbg6D
vbZAozOl7j3VUIpbwApIstmdoGpUokuVEmXW7Ksk0DZ+gdiDKFpQwgLNuPfETnaxMGQ5W7KwsdLI
ROZIhtsZABMWjVyELxVEW1kpGruuTd0Z/Uo79GkcXkmQ41PHrEuDRZ6LuauH4eSGraUXaBX5EVqJ
UhOT/XJtbtvBtG4GxSykOWMjZ5ETXXkJZcO/klEnwTi1U7BdbiLS8tJHIbY1Rv2RnxfDP4wH0fWl
sdgLlNBeDFLfv1op46riuiivEQhlW2th+b3lC7xzFQT816mG7cS46o/VWEsvfj1ah3rKenmHA6n+
VPldhbZsWOmvohjUuiMqg+AAqxp2oYraDBZv7Y8wYahoz9ZoSEjN95q8a1PixLIRS5FpUnvpGOhR
+lwE3jTYsSGnb+gkeE9GnLdfQ6WNjQ163D2yZ4omvBiTLO2rzIMcVes+nzM2OvHeStNgX0b9tMHA
yXjSqrh8NnNJeoi4tMN9qSbB3VCVaJBWQp89QTqYCrfpe0nc/+9eihhBIyhuH/YPZpDtRZO3UGnS
7h+EdOXdfuFVibIyEE1dnFX9l0jUIYgthTsbyfS8c3xZtsduBZJ1Ds+gcgmfYZYpJS09Y4aITVmU
gQd5TX7oYRUrTp/Y2TN9YifYGo5qvSsPBS6JNgjVg3zNOT59+/ypfmGMH37AotxVgH3n0p5gzwlP
sfyUYM34eYALtYAPARZP8yFOFQ+1/d6tg6jYlqLsxGX0jpoMaDAFmU9RL1fQdJcKQB9CLt7mRdSz
wUwmte43HhX9WdGXh3mS7cSNTKl2ld9zoezyIeA8BycFPJSlFCytCNhspC2EMet7cGc5jQtga4AS
7v9jQfi5/PAh4qJlYVYKQtnG74jGD9md9hwfW14nYNDWS9GXPiGWFjPeFcoZ//pxeEUy5FqYSb2L
liNVgFCBSIjL8Ia835XkYltwHa2smosb4zTmYoABadYYFsREjoIe+GOATJqOduluxrrUpF0O6nKD
Izn5Vjgo34Ld56tWXhvzooSl5YVSmPOYRTxtRQfftxdZtZXvSexAVS7cdkNL3mmO+fb9T8chRfg/
2gVvwrOf2Wsr7NIuhSUz4zYVOnnLkmbcYXkU+/yazPB/qjrZabPWmDorQs89lJMQiwk31EFUAkvs
XZhxdqbcC0iedOPzyrReHgj+4ZD56bj9nvaTnVJYUaWW9TyQG5SW0I6Q9klDD8G8F78NCAzZ7Va5
1Xa4wtnBg3I/ftEOvBiD45oyx3kxHOKfqpFCA10Bc/t7/Z38kASzVD9AFpJOTnXQf829+/CQ3ba/
0dI83dZsVOR5/j5W7j4EXLaAgWx7uTAQMDhEz/1Vi5AXffsnwUlgwqhbcJ3O+BbyM36UzMI3lJxw
JxColx0VNCfMtYtnrgSf/Rw+gI5xEVo4yxLtZJbaII+JxJE1r+65FcB9A0oocf1tvlYtvRQNeL5G
72bmAC1BrIgOSBmCMhI9XctCrsH+3Yh0vCfvh/ayrhFy4QagewytgpYubFxW2scTK0m0OIhrS3KN
u+RZ2XCbbqpr8SBuYVe/BSv8pvOdw8GIAIsMYJyS5bL1rk2RYjVKorhN5juaelNPjWsg+/r51rlQ
cZ7FV/FEmElUmrGEy4a5OKpkeozgxtuhZ/A9/YUahXxQdp490x8z1Y5+yY8rUc8LzgamrHN2gl69
AZfv40yWmg/4wiOhnuFksqNsyOj22k7f8mDefx7rwjxiXc9MyoDwTW2Jvg+CQQ1zr1VhEwRPtSZv
w6B/HZN0Zemfn+y0CMBS6xJnqaEtV75QpEGJ7j4jqku7qZ5DpE51uLLBg56tjOj8tCMUzl8cMIpE
9WLRnlaTCJ2BPlVdtUlvpnh68bRsDY1+BiVWEPWHkwK2V2dvWXNucnKQBWiVCVbUqG7cPIZw6cK3
cKgdVfriTc9Iimx66RGm438whyYNHo5QbDzP+u6Jj3BK6isEbd+LKaDHhtdebuJsQWnW/McpKiNE
nl2dHYXIxReb2YplEI2ZjFYp+GHDn7AtEg7/dOlRO9YB9SMnAwFzSY1o22DoaGaorln8Eb7zxWAz
VW+fR7mwHAzEbHBjw5dgdmL4+KmECBOjOiOKJeWbHOTbDLn/PMSc2n481jnyUMrhVJ/7U8vt6sVd
bXqipbqd9SPp6dRnE30W+QYZqpVIlwZDg8/QIFkiS7TkrNCXqZPM8FRX8jlWZf/dSNI1l9/zE4HR
0EPmcJ1F+pf7p23SVJrAd7qVT8G1fE+kwSkQhfk9Z/+f5/2/LFbY33zIM573H1/D91Nm9/w/+Dez
W/ovhaPfgDqgIDOB8/HfzG78DvkkUBaBE6h09nVW4b+Z3bNzIeeJNW9WuJkGadC/md3Sf2GN+Lej
ocKl/W8K+v2fJfzHffL/YWq4OMZ/byMuQ37E7xt+iTrulcFH3KVAN1RCEsig8NBErirmh5I2RJX1
NsknEksZ/SDd9jvMVeRgMwjwPYQvftE+dToitVLxz078s181J0Inp7EZC6lp1fyqQX83gBgo3hoc
cpnb/CsE7AJNh1N/RhxFbga/06gixLa7kV0qaoU9PTauivIHpnarnIP5VDo5UpbxtIX0W2j646ib
aPrUswgiKElR73Ch8PZxpDnUE3exdacPJaC574gzrJz9SzTgn+jwc3n0AJw4y+QGrSsjZJtQFGpL
21f9g2dReIpwuMgmasz+vjJClxoUx1CzbxMVPZjwioaSawT+15Pd8a8leErRn++Zs4mgFIT1Mk+X
P1plJ98WO2lVDgQmvgJHkX9PjAerrTeG+WwiZWgiX1h04vbzkHhUrgRlP50uqFGMRS81G3xmlPpK
aExUj5Q9YqzfMg17iKYbdkYvOcEg7vRJ3oTi+4QUWyx/14vomo+FdlZAx6i3627c1tpDUKDPLFYG
hpHSfqq056GwNqEWHoXC3xXw2POoPiJQvxVo+wGDtYbsup6+Z9FLW0QYW9AJMPvNOIj3BcT3Vk6Q
Y88emk6mXentRvVpyOtHLRHvRPHK8o1r+F37rlZRMfsex8eKarAQoqKQcZwPKIFpmGIN5kYYcAi0
Iqrj1aGR5buxrN3cHOw0Cp+MPj1aer4ZBjAWVf+kYZLeSrWTRfJebNj23HBVG1xNdeHmsfaSlKpj
TJqbWEhiz/rIbXnXKaClxQmzoeCAys2TlWr3oWrs0UXf1tVwTYG9t0f9regkV6DbM6kyVlvgDtTe
zQGX2FPm/TR65TbOdVT1rXrnBfBs62ivq2j1B7iRCZbTVeVVFFg7T6JDrmo3YZC6gUftuWlosCPN
iH5Wh1rcGJebLlH3AfcyqhqPapWiDgVswMJVzbSig1q+mm2y0dJ82xvDTh4tRJgrmnOlgyjFvpKF
baoZrm/We3F4DQrfnsJf8dTvM/MLyHcbXMLcfrrXewut8wTIhe/2iezG3fh1LMUXHMrpD/j7SGzR
ZcIhMsvxEM1WcsTF5f1n555sl0XaVhdKZhRejVDjdFsE3xDrbbK118kiCfkTA4QZVwBFVBK4j7tj
9lkIygKDTfEhuynua4wR1XvxQJ38ZuL57D+tnYZLssufiHOSKM3k6zPtftXvMyGcFc5MpLNKM92G
HL9Gu5cz+c7SvEPHrhzzkPZRe91H+TX/uTuBL7frUXjIlNaBnrOvfHOTVQ9hC/LCG98LP9/mQbRy
FS3xd79/6nxuyiBkeessH4ymMCRe3XBeaXbwrP6Vgf9l4eL8YJebGampb5WX9ElaE6u89N1Pw84n
2skxSUNhNMaBsCXv/TRkaXeKk8TqZuVovJQAnMZZvEynzkwGGhlYmj0EVMzN1/JWd2ZJwT3IiKsE
jbjb4UWnMb5ZIzUui5O/ZxYhDgxeVMRlzvzbAnwWmoqWJNpRDXCP0EXQccv5pUMsE3IbFfwvZueG
N+YPDjfTv252a/6PlwYvyzLwRpwKEQFbvPo6kzU1opIHFIPWX8gvUePDUD4OCLJNmGV9PteXLqHT
aPM2PPmklQXORlcY7yQWrqBNe7wSt0mFMOUawm1Z5fg9tQAHIcJTC6AvshhYQkOmwZMrZGqtH6nl
tAO+NuGu/Kp+HTfaq2ibjS18W8OqXlqzp1EXAyxrs5O9jKh+ViMDd5C8L8G4Uib6jc1b5g/YYcxv
WAk6rrJYsGAmRgtacoj5knwlOxh/8JixzVdlGwCmcMIXAQryjMlH/3k7SzakwKy/g2N/WSsnX8yq
UM7QUAIAGIQFyccPioP16Ke5zt10Vd+Gj/RXu0N4FR6nB7Bp6U/vOn1aq+787hKcDR8pJt0Elnvu
7Al6qtUEAZ1N7S5+n56iQ3EQ7OJJw9XlZfwho3m4j+zEDbfG8+er9+LHnZ3WddS1eX3PCe7J6h0l
EUidymC9bjyGY7APFZcXzxoZ4dKWpLpJBdCgfnXGbbNiq0mFnvs+0H5kxs+sqjADax01fS4BAH0+
pHk9LucS2SwEcnT846WlwpEgqRg+z7lFnAd2p4dOX1grIeR5DZzHQOfAQnzIQr7p47TxJOyNTCNG
y+E2uw5qe42qPNebiztB+pjuYVveoUC88++r9xSrUMRGfkQP+solfynt1mexQ6D/Fq+9RR7RS3KF
dRNHXFDx0EH5I43GXYsi7lgPFJtqG4zxoYxWFs3FZxYlQoNOGxIrhrhILbwUACESjzyoaG55eQEa
CoOWFoM+vB4L2TZNEW38K0Mfr71ePFr54Hz+jefMfjn/pz9gcY+OENrlOsFwNvMAlAhOj+lsiBh7
2wXbcvxLzVYVny6tKhx3QW3Plh9nVbAO8GEpjIAqeie+TUe7wlG7u6aRSQ/1Vt7O5Ku1834t5Pz3
J3szLvJaGXtCmoFsU/61aQ19Po3KpcsL1qRIswdy3FkXX+LYaTB5Ig1C4lOLi7fUBAkFrsVOdUfI
Y4wmsexTi70i9QDP6BlEWNQU72qRHiYgKVKPUq/qBnXoWoV3GLJjZX2phGSPBeChiwIKU80xQjS6
7Ia9lSqaPdvqUt4+ZO2PROm2eO68NvOLxsDKylTWrpWV8S1VT4oU+bFSz6KNNGHaLEGT02HNqZ5t
+Iy3xfsx+O7zxyp+SczEab1HI9KuA0lzpzrblsKvKZscHeRZWH6Bc4RpGLBxXi81vicxGbWHfkIj
r5wuF+95itYWhXEA7WcplKHqLRhtssRmM23NHe/1fXfd2I07bqpb2S6c/4Z6wsWT5CTmYkeZ5ZTn
xhyzdNP3YSPYscvb73v2FEBXp50cH5pXGHGPkQtEs/mHHNDfmc3piBfXP5aRmG2ORPc07ADRhF61
m7qY8Z+GWBQLugw0TKsQQt4F9zkvVQdN38PsT49+9evkznr8+L2tNcuVSyWi07iLI7oTB2kCrTm7
A3i7vNtg6EYLXIEZgS4GFbgHb1O4xtXkKLcUaFw0/+z8iX/eZlfoA+yiq3Y/7tfacheTnJNftSxc
WVSCEDjnV2l33sNwI9kzkatzjIf6ZsZJhJu1LPLSYTZf/XNmRddx2aX3k0aoCo9EAz36sHiREAT+
/Cz73SRe3gk0QgBGkPpTdl/cyVZUGnJFFQbTrocYbfogfqti0wnVH+jNu8WkI4ae7fIeRzBvOw13
g7WRWt+VEWYLRgBcOqjc1AIIJ21GadVH+9JJdPrrFod5C4CxDwaTLNpAJVoKnaEZnbDFB6ROXZWX
YOXFh3EUbQuLpCzvt2E/7bUCJ8R2ciILkoYq3q3M2MVvAnYLKhouv2fcq2rSxskvyeyrDXv+pkEu
3QbV/1AelT1nt/ZoOAYN1Ci1p2NwVT9Zh/KuOoK2X9VKm6viZxc6/RKZUcxCTsuMoklxeCoNC+cp
ZH+TFJnwWxHBlmaP57Et6T9HXuY5SLYKm3VffIuDOyMzN2nzXjX9YxNbzzGvSQ+AmBKPHOOFLRcl
AtreZhrIUNoU6B1mSEDBi3DaRJZ+EP3qZhK5uuTG0X3/te5T5PlfDfFnl2g7H3eCFtQiPVB1Wxcx
qV23yw3flrQf4zRdpyYuusNDTme51LZi+6qW/rZvAqfFY0Fqi4NeSE+gmF0FN0gtCSMbqpDjpTt4
WI46JRvEVx2qTRRo3wDT7zI4MmX2WIjGUcV1uMuUTd6K33vWJmyem64jr/Ri4JVxtS+EbDPE+iFP
kUAXDcfENkBUkJ1JA8gXwkYGpmZWP/1B5fH7g5valtsbU34Sfc+erGlLQgeKk8sLFTA7MbSnrH8V
+nEngxvuVYi7mriZGTFY8x39Eon69Kvg8bZUm42QPnmpgN77zkMVva/6a73uj7LZH/8Pe+exHLnW
Xel30RwKeDPoCVxaMsmk5wRBC+89nl5f1m21illUUb/GPbtRcatg8uCcvddeBsmJbTrJPG3zmFI3
uhsg30NdvRpxQpf1YCWK9U2awVC1+D26/DYOLG9IifAxJC/QCL2TJFdtCAIWCXYu5m2GYEYzI+IY
lfU4qhs43nYvz14tPadkjOWzgZBA9kjxtFvSNUrma0ovbEy1wl4+tdvYfBa11Ck0UsGz50acPLPR
toqIK6fAsjZei0b3mhyX/DbbzlWKTkl3pFTfpxTyE02Y8RoZxUonki+MiGgQgm2ey26W3RWy7BFh
4CRQ6ksVm47pQaiyVTXg3T8bvpFYbqXgpE8awyKzIhIESBH9WzDxJVX2DP6yPEhj5QDsOzKSH1Wq
V2lXsz3lRySKdpiczN6v0q71Uv0RUpPVqR/EFCpV6w8qSUMw86vsTugtO0LTUwn3kXIpqC8IZV1W
CiTgFBGwYXdGcgBM8IZBQjYzeVadcMIhj4huM5C4jJKrFYl30Ek9bUZSZR9OP065GOtm4r7HZteH
nWcm0AJR4WfWDkxujVyJSKgAqSZOYOJTNMEKMgnqECNHMAM3CwV3HJ5ry/AERqxKQNk4Duslb51x
ZEChrKpp9EzifoKR6HK+hhYc2rA+i/Ya3uONRBVmkrmd9RL+6e9Emnlps0+JdZxArZpwWvXq1ZDM
Tqr3biIsPpkeTmcsrkSRZy5FaedS/xoN8k0a64dQMj4VVokSNdsum7eF+cKr1FtzV9WEm4nXPUkL
WR9eRNN71sf0L8NB0MQHrnM7hdN2rPs3kZ94iEKscgZfX5ZXSPAflVKiAljYJnB+6ucHSdA9cyye
mmG50lrleunS7aiTJ6osd4NZb7Ug/Azm8Fau1AepbK57hVmFkDh598xM356BPGfq+6aU100zQfln
VSj68mG2pq2SATXVwjYhACtvMpYxiGE/biPZQMtAPIrYscNIL0LZXXQmAV210rv6xDonJ4p5zVWD
RCFLaltHzTWK0j6vSr+wECVFqUOO/VHCRp5QPnMdUCOXcksmBERGwSKmigGTbYXLzkgLXxXqy2IW
WntONGjtiT+a9dUwmw/6gDdUUlQfc5k8xm2YQmKd1lPPsRbm5HMAp+rJThvy5zYtbxkn8KUGCBc7
M9nCu7fzVCZyZob/oZDXO6M3ec3pqmpzqwyhNw/NNqaBl8zcEcZDT+xAKZu3mmDZYdM5lT45ZmK4
QbEA96Fkg0xbISqEAUq0ZuPU4UQcT385qsJhnOEfiZbdSeWKttZVQJ6lQbEzTXGqTLfFxnQ6cCVY
+HY/q76IcEIXQq9bbpU5WclBSKhvD6h9KDvVDXThJVOnXRL0j4ElOLoCxb5ssR4OHopQ90Ujc+Q6
82Mx3KHvK+F/xE6YQNo0CYssxBsVq7ASuldsPI+1uYmtYRNNujOxwVbMZDrmeZbS+WWpI3zgQ5b8
mCg2cVSus5hBCVNcPEaBpzKiexGnJbFOluegom5kdbSSuArbx4bPPg0tX0N5yIewlRhUTXPhE1tj
EzzbDYrXVsS6aJ950bxn1nQwZmuxNUFfT+WD1T70srjlEv6skdFaHEUkkHr70ia3Bp+Fhr2NPKvr
Lr1XzFce1tZaY1tPMFHixy5HYTO7QfWCRGlTao9SH621ptkgkLE1jgu0a5zSpk3UmK2Jgte3J/GM
zhZm2Sh4SFUhIiS/b+TJ1gd04fyiJjCrKexLNWPzTCEp0bINHwKMkYW4lQYVfQAPVk0mtw3mC4OX
LcUms6HURrfpZEq7lojMKawZhe+CssdwMnRaFGRZInFapX7a8zH13b7FQmhWE7/Sfhj8fAudYE4r
iRoGoIxmzjodhMjxyREsxqyCo9ivVwhKfAqOU9Ht/zSR+dXf/lETMweXFAvsAjLjVwjB1JAJ6yNX
Mw7TXlnnmGGcLA0ymoq/15LfNhQQV60TkVE1FP2s+i67QDUQQp0GKqR3zh7Iuy9Clt2pNtO9Y+mm
FJTvf7/od6gijqYQ707BxdB/vz6dZU1Sl1g8naqWNpwfNtDcacaPon2dYmnz94t9N93CPEgkWI3E
LfkPCl7doFTJ1V9PSCSU4YaH1D6ZGw63I8TrWlifZmvKtrLF/XIhr+dXdG7+3+/hG7T291tQzugG
KukyZbgA1yTae4Erzax9RMP136/xHfrw5SJnkHA60ibnwwkTuhE/T9jDshsxNH9QbVKyfD1xzIf4
RybFN63Il4ueLdRRruM6X3i5tVAh89sRRPtDf3juZ37CGL5c4my1dIlB1ZOdngupmKAnaIYRDAaj
3SCebEl4Iu8rC51Q3DIKZzktdlvfg7oiGzxqhrAKGbRL5ID9/XV/g2R+uauzvjDp+mSADAOu2Ehr
rb0N88nRsSBIdQnWzjEJf0p2/AbowcQZnrHMdA5RzdkGVFhjhYCKzr/vVbfghBY7pAKChpCfjC2y
fqfSsLPW+Adq/P9Esn+z6GX/QiTrX95fsr56+UIl46/8F5UMFtlpCXAYmLJ5OjDGj7b7P/8m/KKS
kcUMJ1LWCTg4QVr/SSXT/x2mDX9LwzRFJ+6Iv/WfVDLt300FQxkLZhoeGQxB/iUq2Z/w1UmQAEbM
PUpEhXAPv4PQdSaNoaSEOFPi4LFSMPI71b7b+Krwkuf84bdXc/XPwfQ7i+gbDIdRBkIORoGwo7CS
/nq1OBFjYjvR1Mmrbj9v9S0VmUvTwQYbM/5bvGaX7kv4C/quWv0vTkuuTiaGcuJMnDaLr1cfUrHm
8A9aMH7kSlfSOsXeHLPHlfaDWZxknjabrwfz6VJQQ+GtQ0GwziYoQmfB99Et4nVVmlRcJoyQCjHX
H2Im5oYar0op9YVeXmVxgHAaC2StW5Wpuq5kfLWjzYK54VhvItwwjGr6iKLqBi6yQvgcXj2GlTzW
OiCjONLpyZs2YO7flAsxbMNNPCj7XIu9TPlQh9HplNaWy10GeFCp+5AgP+YnSqD7dfUw1lh4HOaE
1l40PDPdtQwitDzHEA1ZdXls2/uI9r5fbpPhvrNk7Bb2GWrveMByF/cpvYW21JL3bN2qI4ymJfca
8uki6SD3a5xvcDHZKTmB4RThvYQ7TI1Bx/BRBwdsiExkJoleka/7mSAuDis3FDK7TV9IiHGNtnTg
VK9FCEkRqXJ5vbfG5x5bi455YinSKia3DW58rUwSXORmKDT1+C404ZoEd2JcezXmOyTQHtTwzWJO
SI2/1CsRumSVaLYcrNQTbiTrTmPedOq2ah6qYHZBeHyBtjkpn4eEwI87Qcpp1/eWNe/QHnsx9gQg
ajYUD3tOd1WlrmUhXFvhzUip3PWx39Qnq2fVhZH3JCvCZigv8lAltfO6nx7D4bKnaq5iO8w0BEYb
PSbOdGj2UcgEsd+LVMxN/hmr71p3WWbPKCEcQW3cql+HDVJf6T1dyoNab1u2dWmcnK4iLFIq7Q6Y
SMsNCDUfQan6yanzICvUqDhnQtrx8f206VfDkyCtrHyv5VvtpyDlb8qKryv+7NNWpyBJ65GPa/AV
P0eVB4NucrKXGo2axh+ql/jp/HC4npuac+ZzUQvSLYFKxJmcG+0RmC1bk8buZfRINNqjtKse+lUK
JOTa0nb+FdQdeaVPt2ET6m2LTmpbm5/q1G9vQ1YA1ohtkU9BcV83lniJU0I+uI3whfRsCn+E2NBh
2st/nORHf76q9zhq7NINuWc0A+Qu/2gF/O0vQLAKPT95tYStnRV2KiJ5I++J9JaTkZg/0olxpMAT
wE4mlm0L+5ckyKWL/ShdHInyUlSAwqERFvG7lRj5DwXZL27B+R74+/1whv1+tGRGiyTe4n6SJlgl
Set1gFsY77wahJ1quicS1Vk3d1HdOLTjW0u+lToGk3NxjFsk42MRrIpp2KiLsntqlexOE4qfiqU/
y1L6JijbzOIkHUbbWc3Y542itQuAitBcT5j4Tdb/JdgTgfbfcLX/PAm4hKlDFz+RFuDNnb2FSGp7
5ok9h87gpsd+lV+QYorYTHPUNa4EP771P5/JhGhungoOFaOP81OuPAncxaJs3U6tSIHgzLBo2IPP
JLvrgsIzJ8Kb2VRawly1+E38le7erXMS1uNuL+WvdTQ6FRL8ju0YW1VP7T/MnjNCFhtXK5p7iTTU
6A0O1iaJ7pooA4IfN9KSHky5eijF6liGpoc/QM+RkPQJZ4eybRbVG5XZXRKsdkbd0dOe/VjbSAZ5
PNMD4/4KtLHd9TOayJrtIpVX+O2uO43GEjlZrSx2QJxwEmT3RGa+x7H8NKe+Fsi7YdgKwZjY6lIe
g1Y96Jlht2NGZD251IsEgMh0eja2c/uhjqabSKARWeMODVG5ZFQykzgx6B2mZbZctFtZh9QGHNql
TOuw0IlgzedifZBTaTekL0Gss/Orrg5SVzNYDo3ILRXgydogYninEc06L495YHrYtuj6ZRwnUCMz
VxouOR52fXof1u8kSdXVe6Ks8d1dnfb+Mbtvc8XpQ8XrMRqKEtUX6EHhyOrNRzoPtiJuQ+gPFVQE
4T3PXmvl3RBjW2hfxmwlYk+WT7eRuOk1cuSxEhp4iCC5KvHU0Euiq6Oc2QhRFoXptPnoZEBAVqft
wl712Vm9XLBcY2o5vDnExI7Q0A+8LSgKCI8Wg9Y3K8FDBY1zD0ZMpckRGbp5Kqz1pVrJ2mfTlZct
afaSyFCueyuV5hj2RerUZBRH03wYGNc0ebLKQxPQV1D4qq1DFplYLyZCs+s03FwUqwFp7a+zcLwx
yoJUcwYnlbJJiDJK02NUhreTPNrZ6T1cVShmS+llDHfGlIDjhH6oIE1mAlTn1ZPYd5dqNLy1RbDG
S2Q18E8UdbbpBl7Kcm/wglXCXaW58ca53SyDtC0zyf17pftnJ3+SUvG96yLSN/CSr1/9EKeDPFhx
58rCVXaiohuPFmOLv1/kmx3261XOer0Az6tklDl3cpG0kih05PEuZtKkkXs8HyrpJdLUy0QTjp0w
+nkabOWy2QZC7hqA/vmYOnkeXBPl5jextZ6D7KIuH/9+i39uRqc7pIdBjoroSzx7D8yXaK0zo3NL
mNphvF+mp79fAByUV/n1mOESdBMIyyD1EW3y9VWPIu7wYp50LgaW5rgn1czH8JLRjV9N8mbGOkgr
yPDNXtviyhAOXccEicVcVS+Z8BZGgdeoNynwYSEcmyFi0JA7UQV0ifVySiZRJb2dHJ+m0KKeNpy6
wok5vRvxakuBrJPpwxyVjdneD7noyXxsZtGuBqNbL1VxJXOcKDHJJuZ1mjz34GWdNXrYrKC4PIwN
bomL6hoa7laRTPr0TRUdUpgsTjhFe63HKkgDlGHylcW3mvE8F4XfRvddI7mZdDfjhWJG0c4YMjav
CqOrym3yzFGUEZO5D4BBd17u55Mst70fEZPyeSQUBLpQO9pcEKXTekqRMguPY3BazUcQbs/xzGdb
XLIp23IKrMsePWeWLfSTz1iTz3he4U99GbecB0O7QYD5w5r+BkCFX47HAwnrNIjaueKxx+q2jwR+
zlPIqeSmHnFXCdL4eqOutSdl88Py+e54/u1y5wwijMNDqED16XgWnflFWweb0/HcbnRf3f0PeDjf
Xk+TWK7qSTt63hiiEWM4hFWpG1G2S3hfOd0m3+Z30qWm7ZRPxat+7EaV7zYjSQN6ALyl1DmvcojE
UOM+SvlCNsUGTvpr4+KbJbmn6wbr4J2a3etVe3oNiQi3T8lHxrZb9Q/5rt/jueZa7omUVF0HHoIW
v/4JWj5T8VLEWxjZULHKp/9Cbf31AxYm/lzpsw7as7k9Ve+9P1K5/5yN+d1mRO8PDw7elYaq9uuF
6qLIB7WPwBmYQqpw1msFWOf/YT/fABznJtm/nuVE1YRzx4/Lf329hFilYojgvwMmH1zmr058jU+P
j3D94ifm0XdPQ5qTrqIDxPxePSssifSO06qnsEzTdy14GKWfwk1Oe/P5xvr7BU438Bs/sZ3wKexP
xXEy37TqEQ6z02vYdw73f39p3y3P34rwc1+MbC6tIS54EMyymFJDKhws+pJ/0Yfh1Cui9oXSq2qM
L9TzDO9sisRsNNp/0J8TAX15oEZxTy650Vb/aQ7053f+5WrnUTRtIZRSrHK1f1KulgflKDBbdAZP
8sR1rl381AufVtbXX4sLYlfAm0SZDMf86681YQCLCQeOYOrqFPw6wE0+qSJ/GgR9U3NgM0zkJAMS
NEd/xE7mtaCYdSG3EAk5yvxmYyCkuurvJTf2wrtpNzg1eIadb6rjwADl+D9wuPhuYSLaPhFaTZDT
PxaM3OJ7eWq3TxEkOPiv4rvWx37ubvYDGy8aHHHmH3fR7z633y96Avp/+xq6QEuIZ6h6t1N0J6yu
o+7975/BNxoJChm43pYoKvh3n29P/VCnViMPOKJQWOQxE/1mgdzBiK0NNnprPUx1scuX5zl/k4cL
Q7/oRCbW5qNhZC/BAGmGGDtfFHt/Tl+xZnSivFmp5mwnsHv0GVMEvXT+fsv/GG98XXVfu9uzPaIR
E2sRKva7wdhEGoy7nN9EKPyC+Xpk1eAQueA1kbYRNMkZStmXosLVQssDlH6Ht7XvgmjbZBMF1Weh
Qguw5GQNecYe53qtErwlxY3flIgG27si/0yma71pbuRI3ffLvEn6W4nO0ogwVi3elQz+bwPcypS9
SmePSp8RNrN/ZfHhJ9qWru0N9aOBTp8VhL4hTy76eBWUwd6SjnqjkMpDNMQ0fESqsquzz9puusca
zrskQSrFrHA0H8LZcIoaOAvOrBCFF/m4OGb1OVJE0dnFwXg9w69S+8qNJf5PiwU54lGiHbUWQo0c
unDXV4NceDpg6LRo7mR8yk23Fzv9ghk93CjpIhsVR9LwXsTL0Oq73mlLzUvF5lGZsNFMcCNdzIvZ
NK9apVvNIlzDbHYiJb5MAsUTFHVVLhWsjCR4jSDh5DkGfUqzKY+mAh9qRHDZ5RYiseIuHjO3anQY
Rfw9GuCsyu6V0biw4OEUJ7abBslDgxDU104lNGsyxLalJXH9zMN9xkMH5ooyGGlu4n1qZvTt5U02
XE4irCq6ZLM4ZNa1qE1OlFiAoKInIEzHSs8Wa9qBJvXiOHNqfRclMmJTHTJK7hTdZQirS4wftW72
azhkGjZwemQ+TJWwt/r0ZkERoEfzoXgzFFt5nGo02UVlWwtMJtly6nn0VUtwhy7mSQCRUEtj6u2K
FFcTNJAZmnt8K5fDR5H1F00crcdMuoq79ApLUp92cSMRvqwarduX+noZO2eaRd7hIO6NEn8mqbvp
61d00qsu0dckD15lUe+YZrYyaFHD7MQ2ea1UBpD6TU66YEtRVQR3QyM5PdNPczBdxvlOV2OJ3De7
pnkJocvM+v1oQRDrMj9dkkObS6tiQPSaxK4+3ERzgAs23P1QgJ0Wmdu2tfxhZmWJ6j5O582EA2RR
HOgxtixLdM6C6Gi4Yi7qpzneLqHhd4Zua4rg6gmjlsAEgmBRAWbnCQs87Pyp6TxKmiN5xXy67XXC
nD+jd57yYdOPMKchsHTwyur2sUg+CL91ouxArICPGtumRCiEzNNwa41Qg2CPig0iiIIouJJ81yfH
sT4Cj7mDmGF9l220vr3JlXQ11YDjFBW0rHaF8TOzFMhaM2GNyskZ028LRIyQfecaeLdFzDm/VUtB
FNKdnL1EOl2/DtMEW8dc87oEHB9HNky1EFK7lvowNI+jeIxUywtmUYIARDxHWj7JErMLkixGQXhV
uo+ar0CJ68txfsHO83JQCqy31Su2o01Xh3R8z6UaOaEkuHgqP6sQjTF1XRd9vrF6zBiT58GsXDSR
EJJQIyfsw/NhzsRNtHSflfUcsHaw0V3lSe5kceHE2uJP/VVhaPSZ9WeFdrluPo12cUUJk1S6LKUE
68ljY99BGpOHeK+Px0Lal2yzZoCutIZGXknXcLo2onQ0cKwc1dBbDNMzC3VdizmxWMlFpwiHIm8P
eYjx9fxaleIxn2LXzCtbwnXXgG1YWNHtJMaHXCFOfTKJKoB6aGmAZpP0JFbixphzJlM1K/kaJZLf
L7LfZ9GFaD2WiL1jHZ4tOJcF3Q+m13Yp30LcvUfm7nW2bMoh8cDG1h0DJ6lw82q/dC+GuCmrh66J
rsaqt8X2WEwhZMPBBaGw0sAu5FexnXzdepSlEatTtu35OGoCMn+NgddFB47VtZctn0XWXUUhbFXl
bqi1m7R8na2j2t3j2uQGxivFJKsFzb6gucLcY+t2kODoJiLmklbjNlEJE2lyF8YnxVI8WmXuggGi
6uztGDFgdrGk3Hm3Ym6/xX19legic6Eitk0clUMZPn3B2fCu69U6zJZtM/D9hcFVr45Orl8t+W0U
6NsyvjMEYM38tSe1Es4dMzCUjtLkZf1V2rLGqu0gH7K6f2rD8qKo3sJYxnyHfX/CB19PbUStnthD
uy2va5ABIc4ujabbDlWxx17VEVvCYArBaXrDkdsSF00Tac9V3JprAtMO7STbQzLh4U431TNUJfM1
HBn1Ntgll0q96+XkqPSFLYTJtqtzz4mD0gGCgEiVvMm5ODraON+3MAL79wnWmlCf/Ixpn3gVvlLJ
d7kgXRJ1ctuqRE7IqhM2w31VQXKFTG1Av69rEz4x1EZ2FXFs3RSfb9H6VMXETvCyJdPsQ8iUTa2/
5bjzqvK2Si6s/k6FsdZA1mw7JGD3snrU5n3WvpRV7sRwffOq8IQg8lQogThdAXjoNg5/thwCdwQ6
5E5rnUFUHiQyUCC7mjE+x1p4MfYPY4zLm3ijqcLnrLbPdJ+3MkTAQMJbKZ3X4iCw/Rvb3CA/UtKu
Fz5TPcPeEMrmcoLO8RhoZ+tJ69/CIKBUM8gDjXH/LeGYjMfebFbZhOQjY8ZWRfu0LW80SJBNwbcb
w8+FdTrPo939ShIL7L6x7kdtXKspEUYQCHUx8UbzOlfTlVWDTifjaglw3Wggx5F5RzJENmf7BvPL
RSJ3jt1AkaC3CSurvOrZQmoL9964cqTk0OQP6Iy8KH4XdOzRoo+ccWfcCz4c+4PexNej3nhJFHuz
rO4nwhbbECNvjfi+mbERSS2BzoEc36kAzfrUr1P55OPf2gW/tF5DbusIWwvbTQTgrlYov6djkGl2
VxFXJs6rsPvshHsZv2lLUi6tsvZAbrXkXeQOM7YpqQh8qyKRohcuSSJwavbYTopurXTcq53wGgbC
Uapkpwt7nHuzXUz0s2BNazqr17x563sBc+Jxk7BR6/KljBO6XmxNK/STKD+EVmuXanAojB7PVSME
ORasj2WcDZ7qQgNCJuWcBAW/qdonIURTMDfdZVGUV1p4KTNJt9pH3RhXowDpky9bVlq8GAPVDtFT
OMQp7EJx8quqdxDxbSLcvou2tztc+pf6We0Ubw736cBKEbttLf1Udn+LkZlIek80CulkLPS1F1mq
U6Pbqj0Y2akHY8oY2eEFgz8IXPDw1OPfy/zvWp/fLncuJooSPQuliQZdrlu7qUwvnH7S9P/ZvdLN
/dcTaWfdq9TPhVm2LTDcFl7wutv1vrWV18nq709ybn35C5/5/Try1zdXiKreQEIhQ3KDpasvcaXl
ctmeOuXMqdwfYYDvwOnfr3cG0nQi6XrFCIneQodStM+qeVO2UFOxvJ6l+0h+zFOUHYzxo385zevX
s1pYTUkWFnmK8QsW/K1jTcBveqz/MYx9W/zuql6ZbusGB217IqOGPzsBf4fj/X69M6w/qDNZT1pw
vPDyxAAYyOS0VsX2X3cA/uPJzuYeWPXKYkbN6mb7aqOth3VnUz2sEvs0V/+JNvTd0oSlhQufBFHr
D7+AYM4Rb4i8xgGwQ4EzNPrCqln9tDS/QcHQtYHdQPbSoTOcvT2yRvR20SokoUzsm/Jj7kkNzuOf
/KH/xKXAJg3cC0+mMdhun726JjGMQShZkIxAUX2u6TCc/kknYVLx5F3xI+nKVL9ZFhh1wdoBKeDJ
ztFnkipmuRVhgzDIv2yRAA0MgdOacplcA0H/UKBwi2O51sV225rXk/aKWewH+iK75dCMBaiT6kQY
i3wjMvItCDrB+imDWNXbWKrb6hw72kKJaz4r5V1ZXYr9s2jemJxWcrap42rXGJY7CMuxoS6VSmzG
45t0Lh2BcPslONRMC9XrDjqQmOZekG2zFg96gIC+1t0F2bQc3abZgx6TtzBlq5zdnEyUa/xX7rt0
vgjT/EoMJYbtMtk32rrtiMyxOvE4DfR6FiycdK5uafRXOVmODNGDo4XCQ6dZEYWrUy1pcEv6aF1l
Cq6f2oyqHqca+bkdNAox0K15es5Da6s0oTNqz5PIURlpu4YcwsjEujPIoGulNum4bpdSu2TJZZcT
U9rHbkE7WhcaeoyFU1glTGTWHfIVDjr/gFCpO1PF51j4DIzHSJA2OqrZyboNImVlmryDBoMrWiN6
HqT4V21C+ygnKLiE/t1AwmsGkMkA9Tf9sGwzbiGRKcYEhCnFRzu/lfzCs9Y+LXq6CyPjw8im1dLq
+PtSZpZC6HRWsJJpmiv9jdGS05Sq6kS0eoaa7iaNXJJqlxu3PLk8nxpV3oTGINx8NhtCneL3jKyI
ojBJ/UqdkLSRRtE5xQms6pZxPxrBrakKXo4IsP/MlytVTt0EzCGmygh6xR1U5V6PhF0wPSHhs43c
uEhCgw4g3zXiR6hpq2S0VnrdE+FVDPYcCLSrJqKWJthIMUrSYdqTlOCW3eMsSXY5rWN6jFLehC3z
ujqtH7VSeDOmeit3z7OEybOIIkeUNp2wNRm2mbNKi0+6NfJCnTp+RAwxT7u5zVZawHBOhxtRaG6T
RCuCnMVFYxC/rirdA4hveuqy5MEcSzuoWldQLqIy8075UF3XHHpFZ5XdKNZTr/x6kDpgpQRoQxZK
JP3uxFqIy2ZV94Ub6gYLF3FZjQ9Zo9tRJO1JFNuaEaTBIdtAHV6NrQEYL1+K1nJV99K9MtwhRbjO
4/wjSElqUjKmkTOYhYITFyFryAJLXOc1aTNVk5vnAwosU33o6yNqSilqDknLGUTcljGpdiYRTBKg
jBrfU0aOXTKsRJIeJvQ30tT72XIIrMgT58s+XW6aDN3SoN7K4QOh8nScBNJ02arHkq9So1XcGPQx
M95XYrkL1YfIOKTRDJEitKMcJkwq4LXWEDITKE4QXw3oCnpKWD1GHVt3t62i3M6T4kl95idgPiJZ
ZyNJZo15HaMgWaaPqnnUxBuxLneViaiUJaynla+il52MeheRgp5LT3UrOlmCM+iQ+InRsSRyx9CP
gt77TIbWQbEPoULIM9BXDgOrgFg4vFnTfZrq1OjPXeXR7M9NtQ8LlFCTCXGUUZJODgNGZZAtFHpt
SW3o1PtdFT0v5rUqvU/6IefXLekUshERFKhOFr4oAl9+E3q5yVbakY5qNF5QvLbzwgS79iWlcRLK
0zKDJCK6aOexPngdJHXTBeaqHyaasteKTbIPb5vkuioelIJwi5YMbulzUIeNUt3MEG0yhtQJBBxL
xHbKNNZJ8jCWR9AklF89sOSzMr8PiCcH6yFun0kKcrr0M4bHA3i6zF7WHpeKBJjwajGI+lF2Bar5
RMkuhBnEI+SOc1sZsbFEXDpwN0EoOYIEtUPUNnVfu13EoB/6UFIYlzp7ZEFuX1UrLrls2yZmV2fD
rDD60sLZESbwudq6FJP0mjOSZfM2N59Sd2q1o3WJmjNT7oIhu5pndNJoQAs9vZO1yE0GmJRl44s8
x4lkquTvy8KDAAeo3QN7sGvUhR/MhWOVjbOk3bbJrZVAAENasXuEcKvLHuE6WV40h9O0H3PhSp6V
bdLcDINyCfB+CJvIF/HnCwE0GelbT5GBtoaot1FrXkcG87r4EAfwCgay895adHMKrwePaDuYIfdq
cIANYFlL9OViRHeuEZM7vPRdDQf4zip2HEjbykjZRfjBkZFlNZVa1F+wnW2FqX8PUZuNIUbGMt4y
5SJAwKIvLbJDKpuRw1F7IyfyStHqldETUAjlVM0Wp1dfTPMuMTZdDF8CrhXm98ThPSd174R1ure6
ZTvHiKw7Es5m5rrhk1C1Hka2i0pEDikDttgD4iDbx+L5VqmuhfxCHwjV1eVVqjdIpwm7kSS8E+lE
94l5r5a7EUZNYh1lc10AIqXN8JYa5H7Wip8Mt9S9NgemF0aDrS2P4Wi4BgtRY0+LOdaNhO2wxI09
2vHzuWZ1CAfjIoOdK+cr0eA8nl9lJiVhQVulaLSTrR2IbPmIRwhauUgNcx2COIf9U1JiX0Uoe2iV
0OdNIO/Bkaqd0gO9Wi2v7N4K4Z1iI/Mf7J3JctxItm1/pazmSEPfmL37BgEgOjLYNyInMImi0Pc9
vv4tMDMrSTCKUVlveodZKskDgMPhfs7eaw8/1cnc9nm8mW+PSqRKlKKsKxJH9ZJ16sVnUz1u+ZgS
ziS7PgWD1luTBalm4ZMQ7tvyMaf9MKhnRnpVVvuhTVZiviVcdZ1TBAz6EW1WQFjiTaBdiPVdK5IG
JWFiCh4NfoiV+E6DbsWQtuC6ZzEyPtee/CYpfalSYHjTQ/5W1nj0kH2RXUtWXcDiiHosI7TsKZde
a8QpfGS5eauWIllBoY7yREsMZ1cGqAx/zaDLBN+ldQOWaN3FryLSkEnhi51eseHBZc5uSMldlYrU
VLFly/17U2IWTL4bAaPpyZ8UlAt/ep7LyaTnOKP6YE435bA3lfM8Lqm7jzMLyNGLygkt9SJrrI2f
eHO5woklJBtkCI6WaYtmvYk9b2WW5wTY8Nqaqzx/Ddt+ZxrXIwMkgb4jM3MVJfquKH5RDVwRPMoS
QDxYHjsU7Jw6LzYF5anaCmypQUFtbaXhOU/uDQ7dcepvfCLgy7p6VHyW4pQcJJMOQHIrhVjtjVU3
kNGhpFQbC49OV7iVK9KMYmvrjWxDjAwQ56OKf9wDmOd7zw1FChleAfx3uzRBh/TXfEnC7kItnryQ
xgW2tz55pe1xNedMDpVqtxUM9+FQZGyCxOdOvg39b1rYIbNP3ZTYrFDs3CbklzCVxgj2jvYS52Q5
WgfZx9ZOSq5iYCPu4+00wgzt0bS3BwGBkhVh1B6qnUcvcXp7pWv4jKqrG2f+eMPUUSkRN3T3qvh7
zYJt8VwDVPrF+GixUIZSeFbnSA2V4tBEIduVct0wW+XuNUJ5GMZosDvfSQBhJCYCjPwhMLPNZMXU
WKurKpbXCqnTxKqejdFTHkvsBl9CTzwX9PC7aPXrQLlJqT2VVNtxlxDjmXIygOxg/jpRKDh2atFE
icg6CU23uewxG1Wka5OuN2/9++ySzDLbutZRCpzMh/jsEEO39m6kRWPZIGqllXMay7WbXmROuPcf
ip3o1nZyGTjiT/73HSsPNVp/fYqFd+RoO2PhoLXMGdXiEoXXZiJi3wx13ny0TffknK3r3emqy3ym
XDSJPwyzaBJ7XkKyFwYXR4e2pETXBg0xvmQK+3EPlduJJ3ekWgUUEm0VtDsYcUvBNVF6SoP9ZlZ0
9W70lDnlIXukQ76SV/GaTdNJ5cUxfdXMSYNIPZvucGZ9LCr5UidWsjJLA5w5gbm8Dq7mgJNy013K
dmBDqQbk4ZSv3dayodTYuYO+6ibYk8i0tZ4wvnyj3XqRuNm9ePZfoActPGK6bs03RNWNxYG/k8bQ
J0qUeNq1tMYp3b9Ga8sd9p0rOpEbOrkDddDJL0/VM47YERjYhKEuIzmjSLkotUmplvJF564E/a0u
7aJpJ4qodZWnJL6zwECFSsIR+DIdz9OezSRqdDmkmL/+ejocmXsEvFAxmgVZ+ie5itbmgRwNaeuY
NHoSYXASNpsk47p1TDMGzvHXwx2ZfB+GW7zMWhspfqjNbJOkBuv8qPtXXw9wpEz0YYBF6bdFOoiN
igGIgCXW0GH/5Wuh8/81yFtJ513lMEwtP6+DrHUyCNoSaa5dG7pqUp64WUfs60yRvx6Ouqj6hgMc
e1Hn4eTmBdENcC6ezNiwG5rEkJ3XA6INzbwXjMevL+/Iskc5VOKdAB6LLWMxrCpDi9Bkj9ZSmK/V
IL8YtYljpHxeGqNtyfqmgSBlVcHPr4c99ujeD7t4IeJcqixoyNzV4jK0+PCdRd0JIN7xIcwZ+MQX
hVyUjytRI7ZkwfcMQeYxOwsYBBK7n2S6+W+u5K9hFpOw7jMEH2oAGgbSQBA6BYfPXpxOqYs+fzZ4
TP8aZSnNjaRMzdX5XULqddZNP5V0V1NckwI0yObr11d0THz1YbDFnMibvmZPx52b5XNgpIJVfyhv
JHmVOXPAHFtLfCObkiKHrf2iw0UEWuzUkj3R7v0hn1IPHn2O6J+x96p4ypY106ih4ox+h3yqTXoR
niXO686wXeHQO40duZl9CkV59I1gr0Mm0GwgW4quNbmqClXCrkDy2WpobkOuv+AQFMz7MwWrou6k
8v3Xt/wIFHfOVfrXoMvna1hJKFghXyZu4Xd/qzj1Pbjj+9BWNoNbrZDWnAX75PBf1POx6smEOmn4
diEAf3xHwnwaQ8PgWtMhd818tj3lVLa2xJ7DCYlXBVVesS9PZRUdvcXExRgKHyPNePtcvltT5USr
dA0ZGoL7J03VtlSpiA3KXZ/tSXfB5y9XFTserqZwWPWpAWdWd0g7dgtcpXlH8jcbJ09PN6OfuCce
xLzwLPZnCt1xmX2ChghuaV9sMzU1vHxkf3ZoXVJIYZYAspsDBpG3cHY58V6/tSe/Gm/R6tA9bD+R
zK3w6JzPUrlUe+6kOWxWJq5AdZMku+B/RoU0uUUcbOG8sVEkobms160qbGCJ8ZQuEgsqCDtKzHUU
A/VrMEKuXIzOGPe7nC5BwPFSaUd68Gw3DQRmdXLZSuEOtthGDASACLAu8EZxxgjPuqR5UoV0W1iK
HRrVw1BIGyHTnd4YHIBcdp3MZQi6TUZcuTHZ0+Ggbr5+DvNlf7otIAK0GWvOo1hsI7NKsfohF1un
QPeB3zENI8QOF5yKvx7nWBOUef/XQPMm5t1UbCLfb+uQgea1LiW6bSXcGK66Kh6sfXoZqCvpxKbl
CD2Grzy8HXleXDAhLC4tMitdySVGnF0W5BmRy7Gf0ZxINwjw2Kbr7PA3w13nHuGHIZcXaZR5HOSo
18fuxmcJzX6cuIvHdpbvr2mxjniKjKMxlt52/b+ek5+qnTjmFe65nK9DsPVttrer6CS//O3k+Xma
/HUvF29P1IoBfDXqENG5cDsQuqqtY5qtw7W/gemVlW59mBu9s4UCekDmiudE3rsEh9vb6PWUeWO+
i1/9mPkmvZtKWd+lquxzl6fGtGUhuc3T8sR34tjCiaMVosl8qMNJuxyinXxfwTGD929bbxoOqcH2
dP/17Zv66VL+GseYKwLvLqXBuSGYBucVpJrOfH4LXe0CnZ8zndMp2WsXnQ3pyJEew0PJ3dXXKJj2
4aXBub06z7PZMnTW3P8HlqGj68K7H7bYmhS5JMjefLwcuQHIwqYf3s/gV3YhO8VGOOfxOsUhuR9P
7PGOPFlaF0T3STr3HAHBx9tRTexUDYEOLMAE+gRsfKKfX79BRx6sKiqUHiQVZxLu648jeK3U4d2f
/SVD5hr9y0TBtkCqU84cCKR5ofaixqX99aBHbuaHQRfLgq5Zfh9aaFkCER9cfatpqS2K50p4ym4y
//rFdFJlWt6Ej5gUeLTFm2EJVWd1Fa+peSh2gR1QsXaEm+RM2WegRdFfaLuvr2xeb74acLH3Nwwx
5SxDZ1/3LrzivkKoJwcnkLLHlEcfrmrxMgLQHXohRz8jCul513tuoHigRnbx+JpSzzPL2K6mZ7ED
YNdydKSF/PVFHvt2vf8B+uIt1dLYNwfq/xis5iAJ8k035hUKeFvYmGfj9pQ/8NgcffcUl0fFthYa
yr1+RxlQW/8u/vhPXDXHfGMqriSTDwq1EqpJH98FatB92mm8Cy2BST6ycr27jMWzSr7UXH28Lej1
alUARVJxvr6hx17z9wMvZk1BpXsU9HlgD5unvOOUemKEY4Ugrm0m7qD0g2a0mDPqBM0263jlwgd8
Di6A9nXgoH+6lPbzDhO13mkWxny/li/DuzGXkjUPv0EUeoxZugBTb8p9vI8clhdXXI+4HdOrOSs8
3546Rx2dnu/HXazVvaK0TedbVFS/6XgZw2vopSvzUl6nTnXo/2429rzJeX9rtXln/+6bZVAo76qR
17FQHyKQsAWa17f58b9cr3/iNH33qnxKiDzkWVO/Yr5o3pO93v7Sn2gv+beZ0cUzoOqrks3Ku/Un
2kv+bd6rEJWn4cQjXZx58Bfaa44n1fG7EoPK68Af/Yn20n/TDVXl+4SLnQ8v39y/kxL5ZjZ9/xIA
M+QkoSlEUvILteWiInZikbUKtEz0ZmvVb9fo81A/pQchNn4GmKYkOd7UhK6VNOsFM9t5snmrKB4l
aywnVEQ2kYJIoQElA/N95cV4PvRIefQDwMY+Od6Sx4okp+d6mWx7tBPmkNAkKw4VxqVJD5ARZfdd
rK5B0hG4J9m0vuhk6P6FJSQaLWvrrBx6JzbNndXp16ll7KvRvPB9aTX10yYCyCJhJAkFEUz0rEK5
7HBxyIGPzAt/lQCuws/xGPbhRSN7dBrPtAEjjLrqvKcmO7M6di0SUTSjPtDpJihmVLZDn666lqCj
8HXMvU3Xh3bZtAdLSjadCnBE9296GLQKLbmEFrfBuVEuS9uo6eX37Wgb6GsHefaApYgODSCYhgAP
Owe2ZALWuZ3axK5DYOJBD008Fi/G1HrN/ORaNye4E7lp6yEmybaCNwC6miORWEb4cdqVlYVnfpjv
Iq0Eo+23Z50f/SyU8bXQMpX+bnlN8NYu7SPUR5V6refTPYEltoElf5pouSW9dyEhIe/HEGNF3oCH
kopVmmU8OOTUlvaz0Mztu1fi6ve59AHoNq9nyylGm8XEWc67oC7X9t4b8lCafRTh984JkfyvS9Oe
dbXFoxnQf7bnlhmmKtsl7Wkdr42T8VWfykjzLJfZQs721xmwt/h0+kHcCvLATxjWdQlRFsT9tO2f
mNIK9TIZ88eKOYwszQleqQT87/LYjLuf//NPeQZs/sv7/ml5vP2eNd//cd6+hN/fr49vf+vP9VH8
DeO+pND6oeqlvhla/1wfpd+A4pmKYZCjS8tMZ5v+5/qo/kYEmqJSiCKI541v+K/1UfkN/xcObppZ
hKWbfw99iAx7MXn5dbBJROSwIoE/UG0/fj3jAZ69gWLZ0WrTFsTggWAWuCH7+DkypV2QSk5bwdTW
kkstC9yomJzUJFyzEqtVrg3JSoj1q2IgOUVv7LRCumiB/Mc8cukn0noqzUOLR0yRfskl3p+AuAfT
xIkpYLSAgEzFUayarQ76ewoCR5W/yUq8VsdmVZiCoxBvEFHf6mINSpywbmTrmx7DxU/ECyUqNwEm
jCJ8KadXBXGRCiFfhaVXd6JTaYWbSbgggZw2Xe1YHm8GwiTJCNZm7jslEs5iUNcJuaFeAfHeoBpG
vJM5k935TozVhdGrdmpe4SLFo4nsBHNn3EYbTQd+3T1M00OZslpm3Q0Z1es+gfMOnJ5mroAwsVSf
JjDWsaqgvELFk2d22SOCTQN7CpDGxTeldKc0d0kPGv0xNtRbLfVv1SqkwD65USXgILoA00ycb0OY
JDjylFgejFuj5YGyJ/4gfixLNDde7lT0kVNhsg2EgXpxY2Lmlfge1FG0EcgmrXLjwK9c5XW+GSTY
KZo2k+ZXlfbdUl/SybJBSdkSblQ5DK9qfrECcrGSZsBLQdA6sQueeaBP6GI6209zdzJS0JEhQm4G
Jx9TDj7tIS2uPLU9g/TtYMmOhHijoycbZhugt2mkhzz7ofU4eSQPrtJVp8TgaBAs+g9TjtbVeKnN
kmSmmEqf50hKshbS4WyUz0ofs0kqI1TxwcdkREYwvHktZCLPXXDHoNpyEHrA7PcmL1OKrWjgjULL
Gk+1nfYtM65gQw8xMb4jyPq7Vz/lXKpn0ufHFRyKjVvVI1ozvmv6U1w2Lx7VuDbwrwpBvTLH9Ekh
5ZZNzyUn5ksBOWPT7Eb48wIKNx/73SQmLo32tVcJ922PWTgsMElTGI2+tWNkd/pLHjbu1JJE4NEe
Ihg2Udjv5zurrs71cB8bGjoYiHSduU2ScKMLAV7ll9YqLwMNx2yUHIzpISVqLMaMJGmvWG/covac
ENi6X42rxkQuJQV8GhUcKdpZIwQ7v5oo30LCUcuzGmMSeUPnZmFel+V9NVnzB9uptelQJsNVI7cb
FXhBD50yAcQfpJR1Kp0eT7bNTcMZpnLeNayG6sCMWgkAunpZdDSMbW10llibse02Xf5tGi9zPvqg
c7DStndpeaWB4tCjV2bTysBoPnY/Qv815EkJyaFWfkZJ6cQ1fq/gu8D1h+WL2eAC3nbJ6MrWTTTC
4AnJtvGuPBEQgDrsxvJVTELwkxpWYxTUfo4n8Kauz7Io3Afqdz38UXYqpkuUUaV2E0MzNuRbiTUi
7fAIEtOG9RFAJvuK5Krwq20rbdPyefSJIWhyd6Dwgs5qlPBDIbmZeBLrxIyxt6IZywRXD/aKRqgB
vtsxWROthY95cKUx22dCd19mjzLBlLkM8i3gHhQvhZjSlxauJr4e+Z3hf0uSg1nzDqAFFpCDRUxM
9VeQDjRByBce+fuBU00p6YGIBUkVbdR7fXKpGu1HIWZFVjaK8qPQZKI6qDF092CMrxVl64/3obEb
UCeqLFVVvbMCmsd405W0XQXhd8F40jJrxamUm3zTZ+dTSaBFutEHToFStzLxAMdzwgd+TMu4SEuA
9DG2gTLF+U5RPMvsuLv1ovwqSIpdjpzWqkmaiW4zbGrELKM8s8vhqgvZXrKipszLOA5sqt38ER7m
nGePEz6aSjR36Hma9JABH/DNb5S34HV979lURjyAWOrsOMSbL6PggnVupPdGcuhJEEKInqvRdjR+
kgmN1w+DOHZ2kA7NXZRAbvR0d5AlG8PBahJUltjWFtAcGhOeAuWOJj4JCi8EOky+aBvt5BTxN1xW
K8m6NxBnQlpyZe+nhyS8w5TYN+K2R+U3jf0+x4kfm73tDco+IYsgxsMplHtLg2XWbAvPwO0MRTu8
sIpLWSHEU30MQOqBXVkpfsE612yD5LwMsEa20nNbydu4GLaVp9kZPFePjgpOdiJybo2SOqpR7Kqe
iIsUGfulpD3KKRbGgT/x06sBn0qURWfK5NneLP8SV7PgU53sDDtD6EMzqzUHelXJ3ecUgGU7zjug
lzzgQORHT68qzNemxL5ueGfNFG+isnCMxFtZM2zGuDW1e0Hc63Vm5/0D1tKVjg5AskgaKMRtwuLd
9LNd4clEB5k8TLJ3hf/RbS3jjEafbWgx1FlSkSWwmhbfHC+o4NMll2KbrwR4FJ1hOqU+Plc1yG/4
B2YluHKqu1bE2yLnOFnA6kHxUtjNKzLBDXnlFmjG9S68inLQFnV0HcrqztdR7gjVqpJQFdWSG7fD
91AArTZp8xy7jJoQG7oJMDFY11H9PZPFqxpfC+ilTVGTWDKygiWpbWmmU3kZSebI9gTFsYA+gMgV
1eeyjbkFviPjujC1b1VV23U7bcpRJV/r0kh/ZJ5kq2jXhYZoPYTZwySsRlpxWQhBvhs3UT3ZyXCX
CKkr1MWLxNef480KjO9aTEVHqSunbC7V9MFAM1kBHpjnzFjRJ5EHu5eMTadjYGfZydQn38RRnVtX
/igezNC3J1T4SnYTpI+aWNtg1pBvE1WlHyRMzbGuXoyGcFHkrS0H2izcXKmJuBkag3rymYmpoLA0
m++7YEjfCsrlyXMtkpDSaiQhhbfT9G1QkosOVCwpwrTc0nKny9NGzElGIhcvIFw7wXBbRXgprNem
fR66HsurQBrCt0LsiBkC1y8/+N2lT9dFoIqXN09t/YxV99ATFFWhmeZB2535baoyp/Yvmtq6VoR6
G2IHGmTvvCPwSmOpDs3p0kIMM1QWfWjLTnyCaFSc5WF07SftnlIzb2t+4GpVZSIaithns7Y98psa
pKpaUK7E1NxV8q6xHgOdD17tI9fmrSFOQ8YwranWblSbM9/6NZp834RfeohazbzB7g1LE3l5pZ0n
47id2U9lSLM10atbweoOuMzvVYjKvhetjZTTZVJKa8VPL0NEthmrYcFVKrl28H0ffrW691KK3TFg
6YaNXE2sQGN98wQSoebD8CjuhcmgSTVtlNK6Ilb2lzyO57XVXMRFeKX2svPW+LZESnZBsFHHiCwq
LqCp4oc6n6Wzkjv2dAyEiEhmrdgaKQ0vT/0RpeFZEI4YdNlRN9Q9TGnDaXpjUmXw+/QmqjiJklAv
AOhW47WZsnhzN0KLaPJRXGu9/BiwAU6HwR0KAmvETSDXP6ypulb02tFrdqNJepeyeYhw0Qy6tQ+S
Zg278sri65ML+U4Jq904FIdi9OxmZH7ylPrh52AKV56Pf1tGLVyuVe9cilSnUR5kShLhMK3b+Lq1
EowkfF9LAorxHUx9Z3tB4sp8f1RgCX4QPIS+4qTBaCGirZ5G0L5tkAGAMM4EiOK6thnE+qUpf5Zg
RhICt8ZK2KawDUPJRFubkrEibeeGdgfPpTHoyYrg9tTi5d2B8Fhx4HNtGfcp+i5RFzUd+NRcPHhX
nZR89DuK2SR0yAZHtTMn2SlXc89Zox27Ss68u+YsVVfYyVfiuiF3osPljnNhY51yPR77JZTBkP8Z
HEaJKf74S5Ip1to4wcyGxva78c1Yh3ucCivxJbwrEF4mm1NpIkcaJZx8/xpx2acIrQhO10wWqd3R
5ZSBSTXbkg23bjaWY919faePlJ0ZjdhwgL8626Jlm0JkepqlJCUoOBpHWUOVdbSbaaNtKDyv/fXJ
fv7n5tbH8RZ1ZymSc99qGW/W2E4OJsF8y4mr+wUTh5xNGTa97n59jZ8r+gypmNQz6RVSI108QlEH
cO7Ph/VUGmFbCDYHBRvK4kpXIjAGpziUn7tpH4ZbipPylraoUTMcQYKIT7BFKL8QjfxePvr3dOj5
Rr2vn70VSIgcR+k1C4iXVyUE2ljnvOU0t7OrmX1YucpesUV4i5AMfq/l//vRjj22OXGWfiSwVKR1
H18DcWp1L7YUOE3r8GZucROwDJaLN+GNgkdu1X/x0N4POFdg3q0AY1i04iAwoCbFtkDpFPqG7bHD
N/XLuvV2X0+Roy/drGRH2iLNpZ35+t8NJ+fhJA4iuOWR1qCwCt30lWMHxdMdtdnrNHf+m/FMWUGl
p6gaUUUfx+sQMSUK8Vm85ETJuOWmesweBzv7rq9Z+k9OlmWxdZ4s6rvhFr06yxTGAj1bQjNycAK7
5i0HgLSJttHeOHFpx6b/+6EWb1ur1UUxhEaCkBRdC7hYL7rJTyoAj83+d6MsF8myHzwsgFyQtsIJ
5NS0yP294Rob8iL3p/rjb+Dz5bum8pBo1rBSEvH08WmJuWC0vIbzaJ3T3Umr/BlsCarjdbEu76kr
sMWz9W/eKlHWBMmeKJUfu6No6yQK5TA76cZ8HD0XVDPIuyp1ZOnOG6gDUFjzT61aR/rICtJfpHxU
O6GcLteTtBiNUBX0eWHunOG8Xkln4tW4lh318b8Q+CvwwICcipZG6X0pNg69UcmIE0+dhLSQbyIP
0DjLX2M7+qWvCLNwmufTiWdHUrp0FKOqQsMBoO2nBVOXg1jyyAGjmewdKpx+37tz1SXG2inOwnP2
7sM+xDazBhfkhmvcxcJKcE6Bt4/o2T78iuXXoa2iOqIjk759/6KnUV39/iqGV+Za3Ya3hFyeWEmP
fOIZEm3gXEoH3CYvNlNtF0QZIsh5SPPa24yH/EB8+3O5y9zYSe5Pfis+v5sfx5v//N1aauVW38Ud
443X01p0Ma6xfyQvB7uGtArcU/jSI2v3PB6QDZRANHTMxYpTwzecso4kX40kDwGFIP36M8OFQe0E
13/I1v5WV/uyeM1um+r1tTl8L/7P/Fdf0DpUoR80//fjf9a//zeBD3Mb5MN/uFkTNuN1+1qNN681
kOI/G7bz//M//cN/vL79K3dj8fo//3zJ26yZ/zV6fdmH1src3/33DZm7torrf7z+w/4evuT1p7/4
R0/GoPFiImiZ9c+GTiIFy9QfPRlD/o212ERhh0JT+v2P/ujJyNJvPBIVeDSbZ8jJzIU/Wtb8CbRZ
XYbvwb9L2IT2d1rWyyAVVVU4iLKoiArtcTZ5i0nulWUvKGFDuCyRSeQO+ZSTOjIbvY7iv19vRniE
U0V0xLan5ZyFd0MVAQ94IZTH0alF4uFvgaWGE057uiWeVTg1LPTuQQlOLn+LzdSn37p4QQS+JXiK
CFIT9/hVjLW/n91d0YUFXyd2TkfoLVeATwMudjfcLi1PSgasXesF7KhMyI7uYOyq174N9vYk+eZt
TXn3xfx9RM0QeRg0WT91d0mZkbq07g0XG2S3En8134K7alcDG3N0JKaS3e/6y2kfXXgvmOtg77Sr
d1P4yBHy+DX/9QuWOh4O7GJZWp3hpmnoTnQ0Gl+gX3E31Heqt20a4kTL8yao6PO/GiEZE+JJ2NbR
58zsRmgjcsXLhXeo87gCSGq4WrVnW7RScSjRGqtX9UAfsKkf/Lx5nCq+M6p1E+uHcSzIH+zrh69v
xeL88/YsOOOxSEqg4z+J9EUU1BCZJ16NRKTJLroqqoCMxoRPyzvuhxMbwGVb/dN4i627KMiCOsqM
16zn9V/b9uoqfA43wz7fdRsSUgwnWnWH0xypxUbp94FBmhvE8iifDylj5flKkGgI0klKSX/02i8C
Gr6+l/O3ZDmvpXdDLK5NCOU4zYGfuGDerByPDWCLkqJiTz08IicGUidnsvXXg77tZj+NyuEV7Q9i
zE+nk0lKxHhqDcOtunab1BTmSvLElLF5TtQQLCql77p6LqfWHTLTjclzAb5QJ49KVW7kULUreMbQ
e9Y1eSpGfuf1d8OgPgiTJjt8X2B+tpMBfbWFF9xQ5tXq9EUdq51g4m1X1fuueZkkbz3Rp85KIP/q
2qT9IEqVm0TpThyBqjz2/bCXelqCiWmeVZ0vr0JJuelHCtpTLKzkqbucBOFZNIZDJhTfhSC47lVz
q6qTG5cmxvV428b+be8Hv0IN1kqjmicUqEfXJLTgZCq9gayW+4SwJ2s5L2XDLc3pogfOHJvP2Ugq
rUnaDACkfvJWfaDSSAkui3B06WBvuz69hP6ziyoYAYN/h/uHQA7LLeWbmWoYFemJZ72UXr1NYpnZ
+yZ7UOSlKCVCRyQBcuJXyqTSgJnx6b3Wcr3V6aKpWATa+MryRToh+UVBmb2Rf0kTcULKS9oRmS09
qxSJZ+zPUN3mXIXUjPu6ARwrIwGqh7MkbO/B/9pd6a19dVOREfT1bD223MiYCBWCd3FT6/Nb+m77
F1hqLNRSa7geoe39T6k56CY/qHJbmu1fD7XcTf9+s96NtXgdk05Na61lrO5F3M+MtcCx0A+vaN+7
siNu6fb/ODHk/E8u30Vga6KI8548ymWlIOrDWOSIaLhKu1LW/UbdzBVKGuev80c81tyZkVccTm0a
3gSZn8cltQ5JPa7/5eyVpGFoAjb5NKyrdRtdlhR45ZBFfIJUO+LEDl+qATItWuq4uJeiG/xz55VK
UGb97A2pq8EHDUmS7VR6y/V43k+KO4neAFv1XgmQu9H5pXcWjujjIPROPbHv9NvqBowPtIZUpsMm
3iuTeCajCWmnuoVKSFkrCyGf9CL5v4F8MIuC9lnya6KlHbKSYKNZhVT7VsSNzZ+aMz0tSvrj7Y9G
lE4ck4998TE84kYTZ6EPRtaPE0/XBGnUyEhxG3VYZ9KPqYTxpjQunBE7SvZjq691EZMiHcShvmy8
i5oYla9nx5HPAz8BARKxRciClmWymMpfE6UqgBZq1f+56Fv9PAc/DLOY9lqeovfIGEbucFdU53X7
+PV1HB2ALYuuUge1UKN+vJW1mYZTOYCFToHVt9pNw3r/9QjHdgmz/I/ipQj8gMiej0OYLerjXrNM
V7v0NvOZLTyQK3Oh8QojaWmxEM7I41WJ9vPEqnFkm/Bh5MXd6zQ/oN3PyBLRmDSzafw+qoBcT1zg
XFNbvLDQhcgE5zAyAxQW9zAzS9nqW+5h+Su4AyHg7aHCHoBqYQlu3OgiferPvcvRaTankKhLS/K8
LPIWEIaECZrC96whfr8Ep8UwjGkAyQgbsI1cQbcRN8nTH1YSxscNfJPvmrPQLh4mF8KzuAp/Qi5b
aZFzqiAoHVkxP/wa+eOv0aNS6Al9M9053zOjZx+twVuUq3wDZ8qFItSierhPJTu8PYUp+TdjU2GF
5UyZfPkQmspKBxXiuGuUWyBdo2utI4ekgG2PMCFZty/6ig7eOtnINyce/3xVy8cPlvPPkZfnj1Ew
tUFOeAbeodlZZ/G17/JpWqvrmC7xyQPXsgjy+yOnfQNEZE5uXHrditIwsiTNLZdkSgBZuhsmP01l
lqW81OiMo2Ddm/uQvMUuvUi9fv311R57pebm0R+jLx1wqtQUyhBkTDihYn+INJwwW+HXiUGUY7fU
wA8ylwzZGS0W+CZVUqnPeJioxPaqldwYU8b5CamfFXbX1vgrjY0nc2juvDa/ANO+M4pomwDD8obv
nAK3CjyKDJlS25BWTbd2aKwzUxQ3XpJtkwmil0qkPUJIH2p5OHbO2JMqQjNYJ62AoIQpSTdtgqBB
osis5j9HtUJGnhSgBT0N/ohvmzkAaNMsDkGlbL2GdmXT7dMIMuPAlzUx9h45HUl1k7UPvXCp15sB
JcTXN0mZbUzLeUemE8pYFs85Huvj25aRSOjFMRMBthxAdiMtD9LQP6p5e9f5V4klgz+SDuz1nyNl
2BVS8lyI0jcri4KV3Le90xroEPE/q7wuwlTeyVW5s8yZ52QhQNRh1mvjPRFwt1La3BVR9KC2A8oq
9SJQOtiP4L++vqBlYfptZr+/oMXyAcHbKFBSWe64J5FjnWP+Beq6n5G9J5E34rGJzCePEzsdUQ5b
iynWykkOMK+y3DCrV4J2mMQLUe9A6yW3Ze9flxYiEciujfZYdhVYznxXRajq1QrSYrLu036jqaUj
jYRewKo1mVRJLh0K2VrPcsY0/JbMWrS4fDT6/qwjXhAZnRfZlpI9Fqm41qOOAI6u33h1rq3Kprke
W6UEiW++6JJoyxHAUf1RkcrL0PeAGcIu7+dTaNDZfUNOYjJM590As9DU4H7ihshIk7ACMqTQEEr0
lSTEtkVHTjuxgVg0HL/wzyor2en6izh+G/t8rSnFvFEUbg0DfYMWuCSJfyMd02EPUOKazyA9CCgY
E1eQ8GOT7rnvlMTuQukiDjQyL1o3zZSdEHdYNEoyU4TLYgguNMNcaaF/Ps3u+FrdtlZGOo9ODS7N
L5RBfQ3icks1yempgquvgvdiEivjk+YrIcdSsJzM4PWsSXYzkDUxphNG82M7nvcPftEh06OmE1W/
ZpbRtRUbskO6/MSreXRu0cbhWAS8hj7jxzdz7PRaAOvL8sUnOa6fa+GHZlonBjm2A2Uh5oSr45gD
ZPVxkFZhR1L4o+X2arGSLfJQc+F+Eu8mpbZHXb0ZJn2nCMLtiZf02GZHQ44/x3tRCF52yHLFp4ha
TLw3YsS9E7QnX8Nh3oAc7WA0sujqIs1V9f9Rdx7bkSNJFv2V+QH0gRbbCCA0g1okNzhUCa01vn4u
crqrSDCGcbpnNZvuRWalhwNwd3OzZ/fRAmO5CH+Gu4i6wACUJdF/19LOSF+DXOQ9h2foGfqpQwM4
iU7xmnrTN9vE1ixqqa1EzmH8GDzSNWls3VQeRVDwpapc4d1UFG9yIV3FCX+QkjfGuMlOldFGELiP
pI0SV+B0X5AKcQuSLtI6X1nem4lfvYsTvYegTRIDxAXaJtA4YCzLSdsEL5aucQSP+mepOUGRX1dI
d2IzW0uie2jAxFattyiC+B4H49+jhEa3uWz4qy2mKrAJTWvn6t0uRX6WVYodqKmj5tBVvAXpHfxo
roU835VG4NQIc/uOu1wibZVE3WQAaTVIgNQIznxa83bMPzsxBSSMgUCkfqcfyUpSd1bbWKSRpZW3
TzZNhhWesAyWwNmWw1a5V5GAhueGtU590wDAp9I8B/838YEeeb7aUE90kjbZ9rJ+S3+c01nPreDf
S0p4jHEHGWtlGcqD6ZTDaMIZ9aJl77bOgK38EA/vXryNSmlfiVmLqb13B7jF68ytCwe7HYEutAHN
stGBAstHJfW3Zk1y3OhWETIwsZ+UUZ3NTvfQpzlUuEzaddLgiOFr5m6rxgMMfC3X5kZPe75vCa90
6PkaYrD6GITjIQkipyr0xG7jLnfUpIMI2yqbDJuoCClZmxKN4KNcTioHMTeWQXBwXTKzebCTk/RR
T0LIj7otV+k6hReedt5KHotV1BOKxBX+MeZWTqqFz0E0lrhCJc1S9DtaNRDuys3toIyOANQJBRgM
W3rqhKq8CJDQdgg/tdcOMYVXKfuAvpEhhxs7voRlv+gLBR/XcmmNgN/EkqgG65H4Og+spVcNNIap
V41EKhvgiowcTyvbvev/asLbAcOoVDWWAMC3mqYj4qW+6z8XbnHnsXM3AdxJ5NJ6hG+U5m/CfnD8
Lr8UwQIbYbvqjWLZwFMVcD0IveKpGr2XKhbIUbZcZob+d5CXl1zgbFkLDy4lZDkSl6WgoYyjbS4I
km0QCyurHfC1LYKr0hg3nlz+BsSyrgpQxhJvcsT4rJQxSOqxHNKrm9K89TpkqHJIM06/4nB5cnP9
WlX3VfHLZdnriOY82sK81j0K7uXYDvhmvGe5+VCqj3FyNBEa98BQ+lBxyN9E+NRAqBSUVdDIVyUH
uNu1TpRnm7yJ12otX+uB5AgR/OtR3sp6UyxyGWlBKOxDLmAjrmeB7l8rObxocnoR7dtBA+8kSOxe
y29K5OCEmvpOxe0yS6P1z3v5ydVGSQgF3lS2m2/lbppXaiax2nyXvE2NfJYrst+9eznf4bjurMex
/fXzkKdORsOgdVUk18D/Tn/+OWVIoaQSDQyVU+MtMB77+NZn3j+PoZw6CLgGcipqUxp9zlpMmzAI
K50TvqW7oXWvG77wOHpu1Y0b3vpx9RjmmyCZuo4itnU1xgurGIUKb5bustzSDoQOv0S224NV0jMT
3nfxGyEw8aC/nZouGz10hNJYaM2NlA6rNm1WZtmxV/vPTYJlmME3HCjLn2d16m5tEqwibiNmleby
PYwJXLPEQt0RS4l1hB2aUjoG7vN5fy44PvWSyGVMdRUJIeSfxPXnlxQqVq4gK3Za/0Z1aTnojtjz
/Dydk2PoNIX+KZkZyiz8zqxIymuBMKIG6tS476KPE05x5gOf/pH5DYlS9V+DzEI9mpP4vnUG8QHU
+7yaBB5dgYg3eKnbzc8TOhFWouWkbZtGKaKxPx/lp4dGGsYqhb5wOdZf/OHgi3dn/v0TT2wSVHLr
hx6qmXPZTpArcROW4DSkjOpMntN6kd6OmmRXprgpvatgZHchRoACT/guwdJuKPNoarIPxugq4azS
WvcyQCE86Nxt6GTwk/oap4aFW2dPyRhewzy81IObyKMRQ8bhsIw3qLgvzS7eS/1j8YebHF2pffQW
wmFfik0ochbdao3H7hsfUBQuLItebBnwrttiSAVVmwPg5+dwKvnLc6CZnIsvAHZj9lIjsWiC0mpc
Ul71gX4NZD1Toq2ziyt3L5xPap0IeL+MN+2in15s1IW6RO+163A6rLkRxr+EduHSK3Q/sXDzF66P
sHe1YDNgdgmz5dx95fR7/2u+c5dgCfuvyOcXQILzgZXfVMabp575eKe+3flK+TzJeR5RMOQ+hXjj
Ouaz9NTb4kNCG9ZjehtdqHawrQ7UjoA4tzeABdfqma3gVIL4y+Dy1yecRm3Np8ngpA2f/Pf4XTn4
b8o/GUoeES6pu0Nxi1LszP5wKs79MvJ0knx6t20ZiKD+GLnbjavwSjtI+2TtriYy1mCbq3Tn786N
eXKf+PvzNac//zQkoGNNjnSGrGk7jSiYh75+bomc+2SmP/80huqrHr0Z07SW0YtOEuOOLIVt0C+y
VJ+UZXldQIo+K8Q4N7PpBPs0alxFLrK81nXwKaLZ6NIYr39e+uemNTszqloxPVdmAC2/Do11XB08
/cxCOBES8UGgfWIjJyqa1yo87HuQ67DJCmW6rNJ7r20IE9L2V9qn96nm7jRaFWT6B8/ELCenhiEb
6TwJtOY8YyAoQ6FUfQ8nqQ8v1K7aGNxhY/DrPz/Bk69oMloigJDJks/2Mrfvc1NXRIYJb9L0SYvP
XuFOhCkTNZfIi7DSAkz69SPomhybVL1yMRe6F4Tkvvf0I2ryhUCTo0b/qVQc1cnzM8+eOeOW7qBz
HJXchCJu3ummxNr65ymf3trMSS02EU44Pb/+ojTBfjNxB9eBf6FdcmNcSXsgeP7t0HBwoI9cyzKV
L2eCtbL/Zc7P45965GQjQO0i6ODRzB55IQmtllGGd1qpWBVe52TRGbnDyV3s0xDznLwWizhhDQwh
bLwjDaaNM7m7u7a7Gi6TA97Rdnm28nR6UHRGEEHRZMrzY6nLaUT1TBYj/VeL4JHG8KdKAyXQ0bVV
0mqVfYg4QpcNHWYHUepX4dDu8+YNwfh/sHQov/31Q2Z5MEmNPC2Z4iKwVOsyz4n63VUSn5OZyeZ0
GMyiSVQa6sQ/ncq+81YlI6o7QrORGRfGw6iQVOqC+mhkvu12Lt2W2tvYps+tdTVE6rVB252Wchl3
+XuRVdgmXeelqG4VuX0vkBssFTTeWC4Z3I+BCdTvMARSDwvMtupe2kSsFnnu0oeJVxEOMxhJVHtj
iDc0Ca+FeLhu6/4YlPGTX+t0fQ0rK1Hw8qiAPBia9Opq5aoosmU6lnY36rd++CZSmGywgyj1aiPn
mT1oXFbyZTMUuypzu6VglUdFrh2xbmnoU4kAJSyJb5v8TaC9mzhwrYk4ZdFOC4Js0bWarSbhteQB
BNr1LeYTVulIYrRORYgQUXI9WsJx9LVbU1TpuCxuk6qGBEdjmVJfDnRyBoK3RuR6EdGShxMGsIKl
4Vv08A9Luht3SLwuRVS1bkjiEANVOXSJSKJwXCE6BmEZUXdRXbivxaBMHbL+siD2rj11USWyLccH
civhlF2ok6sYg1UrQ6dQPsNe3469QpbA4Gl5Dvf9W3yhF7ko24U4XFWZdF+HAyCIkb6+8d6UG0qm
6gq5wbVpeK8IHfepaa6j1F/V+PUsipxf42PGHSuFsKaLE4evxthVQoi4XTJv6y4Jd1kGhSKvxVct
TLE4bZfj8Com3pMU0HqrtOnBD7edi9dR9B7LuPp1TiP3i0HYBlMTYqw76UjwGVwJw0cRoCXMnMnn
V3fzJbf1qMM5iDbioNibvr/PinCTZCGGtEOIO14BbShbCzTYBqOwCivMlGTekKzkU5nDHiWs8yrz
2MPlyXT3qqur10q7EVRoEtjTDtngk05NbnwqY6kHuCGl/iVfWwk+Wn76aInKehCMjZ/5kIwweReA
QuuBu3ab+qJFi7msvH5Z4lG4UFGQqFYoLbpCI4cipa+tGh3HGmvlsMFcSLElwb3C6QPHpGhfm1zM
B+tVjLt0qXA6LkI8f0o1Ju1G0WbV1R9CSIqmi1YYry/y2NyOtbYxk6hYIAw8jpZ0J8e+7bviheGK
NgKO+2Bym5PgfsTlTm1AXJB06sbqMUpyx0ziZVPvM+zYmwHTKNBTAJueAxog+x4DqWQk7SPtiw4j
bgGOZ1tf+CE26rFoJwqsOuDwKALXiqBcRqSPKA04vU4lVjdXZq7YY/6iNHdxb+ES1y6VID22Q7Cz
RJo7Aj95bqwEZ8DwdQzhHGd4nQmCu1NacZnF3IlRXZ/VZEyH3k972exQ9NVuwJhcmi41E8hUIgpd
wFSYerzs6NI/g5z/0+vw03CzOJtjr/GVhq1TrwP6XPV1bmWc+WC8Re02lO7C3L+2jGYvaO2Zts5T
Ad3nTXs6nj8FpaULtNwVmah39DbRrtx3K8kh3Xcmbjx5h/k8zizkxjjb77ueceQL49ZdJw621sJG
IOIGyeBIvye9d7yuMH8/U846VQb+cizNwu5g6FspLBm5yZF+KJiwKb+lqLnmyMTrOYwQZVu4FEk0
upvurqgvzOZOL7PHoqofJdnbt71yE9X9jdTKV6032Kp6S4f8TTRYz2NukRj0ciA+6a8qSePFUMf4
c3iqvCDYWkUAbs6c5vMOrKn0wM1eE4FbI+8l/fT1hSEuMJNMJESVdS4tA47rSur0VrOWh3IZy/VO
kNSN6re7OJcXhXsrYj0tmwL+TRASusxRymYhu6Mjyv0BX6cz0dwpHSKRxtTTRA0RV+XZz2t1Vxib
TmfhRNYqGzejl2NLlOMdHxiXvhks60LeN8Eeb8McpLTqvYqV+uAhl/0PwkpaeU3Uo1Ota7ai6BuH
1OPzO9wgvy7Mj67NztTT5m1U//MmPg0xWzppp5QJXdssHSKLW3MtOsYj+ZZgYSyyo+oEu2TZLtPE
zu7S3i4f5AXSorNyl1P3CbpK/prn7HknUimahGPMU3qOS0yqrHIn5CXAq3H18xM9N9JsHcEx7uuG
M9AZs/Q4lmvoNFQXfvVScuZ6Pv3kL5shzrpcwfAf1ic7ibnkrmnFUW9HJDQR3niDIGxKMCOy1JyZ
z3eh0NdxrBkGt04T+lwLxukANywnLjZ6j1sosbAqIJueU2B9S7bOhpvF4WaVecbYot5wu5uiRqte
oYRzHwwYWB1+4D+/rFOT48ojgzhHeGx8U0GZXubTCcR30Y6aPSIFVdQPD5dPSu8OzPWl1Y840VWL
RnxUklfJ+vh5/G+3OrIDKMwxLEbz973EYGVRnsIPE1CPfJgSdBvpzEfy/chEP8AdHQGUjL7a+paE
b/OwHgNIcGOQA6zQ6WxRcA0lDuQ2MBllFWqI+xpum/25S/y3laCCSpwaKCWq6fQTzvIsBUwPPwhk
b9UN4boeQfl0BjZ1w9LUn39+jJRkvi+GL2NNiclP53NIJ8HAKvFWkQ6UrtANu4iMRSqUTqJqS9WK
HNMjJBRfMtahb/QftMdiGjj2FxbF+mGgBQyepKFyQbitWuFG0Cxby+89/9mIrItSDg49jQwxRoT6
+Btvp0Xc3kjCe1CZNqkCqnEflRtceqZ4lQ858uqQWJLuyVxfqUp3iCuAaeSAPvh17278xE2b9HZw
aYbWpZEI+xGXRrX0NmMageFLV2NabTz9RSplh6F3odpfJAngKiMPkssubvhUgwRfat/nP79UKLGY
o7vSyCqrqXJXhLSmmdh6KO+tF3N5i3kItKhn+Val/DQY/r7z0QXJOSevgJU0dafgVcwPQ+E7iVge
tfpRLFXKiC8hABhDKG5UDyh1AlKmbB2tiI+aK/2uYnORKyOAmDpmsfYbRY9eGLteVEr41ArmddlX
W0x1t7EVYYmRaKHjutpjHwFwcFUnGjysXkwVe0vxPqgsblz1y5Dhz1wo0bNUHuQOAmsrH/vKz5zY
0p/A0uD2zj/2qx/736KCR7Evk9XtBgCEhYA7ZVk8KBU8mKDep5Zw02kyfDxebmC+GeSec7g+Fnr1
2ryVYep0MoOWzZVRSldGojkVerRIsfDt7DZWjymthvZKMCl1eP5+KvQNZpHQ+VHi2CsCoSiBQRQv
bpK8cqM89LqylWP5useZYYyftYFbiynDfWvvzCoHz4WDqWRuNLdfhEOxDdt0bTbFxtX0I9bhdlZW
U4X3UOS32BY/xxEO0O0r4D2wEER/ILMTUVoN2YNXIeLSNGupGYgV8wYi1HBZdfz06mBFl5YfrlJe
wtBUjhG066YPnE4e97EQLsfUv8jAgpUqZr8yBBT6urw+PfSdeD3ANiuUYq9n90qSUIGPN+pYtwsD
eVPhwyOjtjwE2zS3bBMTZm3EIzwOtgIpAn8EA989JqywfLzxRHc/ihc+1KxAumoMdW2Gl0MeLHTk
A139q4/Rhvd0CGQ94n+/ntoC2mVNobRqrKM2mvvaw8t1W0bMIs0uSgXnOJ0rTiiCHFEhQWkvSvYY
Su5ajMrrvghWdQjSCuBWxQWvEpObKG32clZcdmIEMTKD5Kvok8e7/xTIWAzker/RpN6ukKPUePa2
6R2FVyfX6Mn3VFsTtKuy4SYbVGDAzEl6rF0JJkiccgQbSFlWyt9Ect+yznVVp/iucc02/KMhvHaW
AXepQAavPeaCuEi7XahkePJVz4PFVd4Qj+yVSzl/iGVpASF4pUruwfAeKpiYQ3pVa+q29N5qMiFa
VS2jMRBpxKIgJj7Sr4fOrADneahJYtQ+5DQVgcCLBwAyTrBUFmkoSVL+ki9Tf3/0sxLDdNaOXFUr
omS76NY4zKPnLfobMQi2faf2VJyAGlUHsYqWkg+RztJeIw9Op9juwqbC6z7fgmCCUbIsYWFGObdV
X1vVESzQlmekQ47TI8VWQnlb0TTZWRs10Z8jJb9XrWPRYO0j+EstUlYjktaft/3vNTxOGHTamCFS
Z0a7PkuKGkYT6V0c+YACO0x4L1tklBbXet4/ANJfo6s4fXJIPM0RXbiH7rCK1dD++UecOMI//wZ1
Fh4ZsdbIVotc2vQ6hCjHyHr9eYATcd6XAWYBkVg2BWkMBqBDEo+6dJGmj36rnXmWJ8KuL6PMbvJA
dkwjjhjFGliRoq84WtattMF7xDTMtpLyXFipnDixP707dfrzTyd2N3COWA0DKpciABX/qVgL1F/H
pfA73WH1fWZ+31XBfCu0zuKQgayP4swsGhFkEwthmUDIS7Nl4WFjrsHj0JA46cpRHvtNMWaXajEc
G+OitMQzHh2n4hNtgqNjSgQCfS5YySJXVsiUCA7dd1mPtOe59K9T4Vz64M/XNrsUoLSQpm5ACjPf
mBWNh4AEa3kCyhDBEPVQjmwByZr2oPUu2WRUGLnMLUiJ94Fm7krJvDMIhOouRVwl2q08QY6CXSzl
QB5xQTdpPakLmwR1niROSnehVenrRghXfmYs4AlBJ1cx1XWPQ5usiHGXYhWWRFG1o+c0GfKXCqHf
GJXB2WCFdlTLx8CULuJSQdaMrAIKl8g2JY2ZQ+02ovXexH95GG7jqt6rsYHJkV5i1BIXu8LL3yts
vLiq28mQjjaeb7FdTpXdcWUK1VrJ+EezzFtWPSz3HFLTnSHUd5JUXycNSofRojGyqY1lnA5TAvFX
Xutrv8hf+DV4F49tvRBd4zUyDcFOxhQWan1ruDG50PaqFwba26SStFOGXFvfiGK/jsL2QCPFpvU+
kPA6iS9/wGxdxkJ5lCxhp0CFJfKDIvuak2VAy2SD0cMSObJrIV0iwHyUUu2XX/+SRgDtrQ4SL6KW
ZV4NSXpovIo+LZkTN3HMWtoMSFFbqbwe3G7ydgdjFno3pdI8ZeFTp4QfOklFymT3Sj/shDq1Sz29
aAb1rg5z2KGI7jdC7SlbFfmhq9LuIApgUgvphn6XB3Zy4J5d8FoGXbDwKxSBQuGt//2N7NO3+eeq
8mnFt/CEcr+XBEerQ2dEAdepgF+Lc6fCqf1SAy4xIdhogZ5nfgQx9owwUgXHN+lduSvHS/1cqezU
nv95iGm1f5qJpQkDJHhWmaYJSPFzHN///Ysh6/jvScx2KxEOphSHTCKJbk3tbpDOmROdm8LswtRB
8EsGlymE5qvQ3FbNOaHZuQFmZzOo5gxK6DQD/S4Unwf9TF7pe0F22tD/fkTzfqmoKTo5S5hB2xaL
tsA0XFSHCUnrRKA7YoU6lSTYZec5mk4fg67g+GQ5ufesI4BJGrqdEvm27PQHVRDOqoum43K+D3++
+85mb5ZkG/yau697Eb1MJgXB2ofcsZ6MkOO1f2ZlnXrWn0b7gwP49D2CltfDBkn9yijo1feWOpD1
n9fuuRFmQUgWhiQZLObjt+4mNY6ZIjn/txFmAQi0Ebk3R+ZApV8zHycjxp8HOLUvyDJZEIUCOmC6
2ZJK4dtiyah6K8HYVqSvquTZjf7tCsWU8yDAmOA1J4SpVazksTK4HkJeay2LnW2S2G37/EIf1XUN
YhkDyEMtvMWkl3+ennwqoPo89GxTaltBSLucoeNtvc23OApc+Cv9znN8acH/iItmhSYdy8olQn9Q
jbcgRbfN47nuzZNfyqcnMHvM8RjKAKv4GVNXUSzd9QCnf57puRFmW5cSjaJcqoxgiLRcNOlOyXL7
5yG+lXum16jTq68pGOuQN/u6wWdaNuidFvircCs6EytRWU9eXOdEXKeyc5+j7nlQWmSgE3OTILhu
tUOqBgsrr5ZZVu0rL3BECu5lAV2iHm2w0P/HAFyZPcYoFMw+rxlbXaMMX7a36WW9qZ0JG1r8Oi+A
/LO+5lsixY7JlnZKRc61gQFcw16l6wdMRvYWNuGdJnYkjsaB2QmZsIlbheYupbqjy3tZU4nPjf7e
bftVlEDLltyNFlMMcfML0DQLiWqt7O5E0ClS2O4nVw1Zj4n5TEgl6dIYn/2ErgqxWKITqC3Agib/
aA6WXVsEyWRucbDGX3p0rIsRBxzvIoDk7I23YYSxjKQtjK64aHsEqEZDa5xAAB0sSqt6sQoZYsTU
kav8VoStJ/QgkQ0f99TozucG3O2mFj2/9la50tkpTct1+dDlk8tQs1ER0hbylai/U1NeCPXWaJce
aVe3b0mPic6Ie0TWGXZLMbMQVzJtjEs1IFUEdRrGtW31fIiKfilaPYZAXURV3FjBYl/JVX9UfGw8
KmXtRv0aji/lazKAZQ9RsdkKOCL8vEC+19em05eEOR3SqHbMObSjaUtsmVSfRai3934krgurXuVB
ZYsGrY3wWNL6odXGhQzKuiQlQ75kGzcA1zveKyZPg4Cztkaq7VUthTOf9qmd/vNvm+2Elk+OS5ID
b6XSQjZClgnj3Hbrj58fwR+V27cP+tMjmO10aSXhEBR4NNdI3JJygSj9WUhJo9D+IOK3rgbK2oIy
57fNAaEajV0KnR5ZXF+6SYzTN00ZSlWva4HmemuE0kxkbvm1U9TuNvP47l08Tqx30TsG3nhjglJ3
tYFksHAB2WOl5eE6RzldGCCNxZe8fe78l8b8XdXJ3itLvDk6uteihwiDERmWsyF5dBKbew8edk+W
SzW8Z/AXZw5AeUp3zB8K3FANXhclFWveNNFaQ2iKoUFovKBaJOV3+bZZ07WZAX5d5k5yAPY/IcTk
Q+YRDZXr4GwFSZoe/LffQNEXhJxmAV2Zvo9P4RCXu5wLFS9mMm40fEd0Imfce/cG+YXw2D7QKfcY
Xnebc9zNU9Ukdao2/2vg2Ycn+XGaKwMDV465Lt8xB/EcYdmtuPMVdnZ5Dtvwv4w3dbmxp07dbl8n
mtSW7rVp6K1ItGzqzoSgM1wEbbxtsKfS0w+N7iHoWotAp0joXod6dmalnX7UlCAlkZYSTHNnB6XO
iu/EPvZWZgOqIct+hwFbQZQ8GYN5UYzSOsdthLIb8pzkd9I+ERKvo6RDtSzvcxxfw0iR7S66+3lp
njxXLUqjEqaFhgXG+euDaaqh9HDOofS0q4H8YCiDxl7YxbvqTF7nZNT1eaQpWPn0rWlhEGc48Hgr
CPNP3TF7TlfBsxIutVfLWGB5Z4987tWtuy+Xw6NoruTX9Fo4q5k+md36/DNmn3ytSADYAyY8CXG8
fYEvc811Q7a5Pjo/P9zpI56vrs9DzT7yPo9q8lzMuNeqxUgvYhhdpy7d/e6Zj+tUnPd5oNn+GlBw
yoeegbLyKsUFxEVL9/NUzj62eQxUqVGv9e20YAcH4NhjvqHivNU3HU/vTEz5XfPBkfl5PrO1MkS9
nBY+78i9x2HJXeM6b1uOcC84pdM78iFanZMTnQhjgU5BMKNg+uf/v36cldFWWDoPVEWjbTLisKEf
4vito89TlD9q/YgR2ebnJzp9Z7OP48uIs1ucCNWjlGtGlC1xqQo3af4OtPrMVWd6Kz8NMl/dqLG0
0GOQysJGyhAp2gtPpvRuIHullfkiLK1zx9q5IefLvItQ+Xsj787P77tCeC/1kl5haZGX0kurJ3h2
NZs+NdDdKQEoAM9cjPSc1nl9LDnjRy/cKAVFuaB70EfCx7KunDa8cqmkDRTiAi276sZ0pSQmjou7
Rop2gfT286tRTizcL+9mtkeQRh2GXp0eW+qt2i55VVP/KlN+ebUb2brYHl3sPzqx2ESlSz4VMJcn
XAlofUMPTLz4EcR4O0A6W+CJAQn/qhHLd5VG/UqFcV3E15pZ2X2iPHSidux1OMXYkVgYwteU8Vxk
zHWzr0NMuFwMSzL5ujW0MyK9cxOc7UxZnSC3EFlgivIg0lBvSd5KwqU+j8YzX+B3eqxKEv/Typrt
Td6o+JHZMpS6xgeT21O2GJz+Tv+IbeFYQCmaYHLaWkIiI27SGw1nUBvF0flY50S89eWHzHawsKhc
A3cfbzWEzV3qpTY/aud58aLPHsLuLXYbEsokleXuzJI4sTszsEX8j2E74K/ZbtbXylBqtYh1QFEv
teKgNu8/f6+n9svPI3zrR+j0xs8bRoiDRYJSzHPUX7qtXDe2spQX8sa7PGelcXr3+mtOxizLVfiq
H1QlI0o1Pb4xJPpV7P7+eVon9mR9AoKamkiG4ZtTSRbKXEf/fKRi/Ca0ki1UF5UZrOvgEVfBx1bK
l710Jko5Ma8vY852ZWwRLCsq+VozF1ILpzYq9kx+/XliJz6IL4PMduVWDY3am3blYeyXlf+A7Prn
AU5FdV9GmG3CfivEjeVyWsvcgzoZaykyA7VLERt3hIUSi4eq1PcRkuhKqbY/D35udrPNU6kbWSkM
ghHDu6oAbJphYf8HI1CwADUHmPobT78rdY0K9bQ9hzsKbMugs86M8F3jq9Lw/fcQ8wqMoKDRt9DD
rHKrdZr2N6jXdSa0G/RhcBtHnOxcbko+wMX0aMX9An9RSmB+a+xg4dsGHTqefk1v1VIzH/AQXmhL
oUPMANmxk72F4tJvZppXjRItkxwSFtggyTsXFZ7Y5L/MYbZGw1AyhXjkJG51Yy3dKerTGG711Dy3
w59cp3gJTb3/ynewk6Ch8++BSayMiiuERzInSfdBp77RoPVk0MCxEDTqS+M1zX6LBpCmZz2lpraL
Iv0gaRie4n0pvXCHX9YgmlJ3uMuKdN0KsCST5HIoghd6wC17hMrah2CexRLXaX318zf1vb1qeuMY
IulT3RvnhNnTsipZ6ZWcWeBhsO7v5A89deJVsm6XogEYeCHQ5/Bs2cr7z+OeCJe+DDvbcMwUt7oy
Y9hi9GxVyPH4smx/wF2vYHMYhnJNM9tZzfc0mVlc+GXU2Q6Uea1YetMrK+hOscdtdh8tx3WFyPwh
X/8n4fyX0aYd49PND+/sVIynR4v0xk3WPUzgpbQhC3TIDTuotuGmXHb7c/LYU6eiToYB0oaJ39U3
cw/kOkVMiZdtVq92fQYzZYCFiBFGNKwS33rScFDpA9RJlfvLl0EnRdm1qMYbkXPm55d88lRhbUzo
MzoS/+QGPj2ABt6wBxaEb8u/ENRLYK1Be/XzEKe/309jzMIbX7VcAXPLKc4aZCw6b1M7XOXGgszY
ISwxtlshvlymZ5Gf6okcEjP6e3Kz8Kb0ZD+lOs693mtt18gu2Ng8XVxYyuWYP5UJCa5e3Fh4MWKS
huu9tB9ab1sU5iFrkWwVv3PYNKJ+qQbSqjEQlynpfeDBKC2BH4m5g+ZRH6sFAuCNl0BuuTZC4y0s
NJ2gQ8Df18UBmZ5AmcY/7cGNu9ruG5qNMrd2wMkeCh2UYCvph9TMFqpQXIngMs3cXLjysIikcXnm
PZx8HBaMU1TynE7ztN4gxJEWtDyOMRyvw7zZteaHGvRHNUWuGQGNFjZc1h/a4a0T6PAPPW+ZSsYh
lGB5Gdi+aoAsDeXMHv2nrjlb8KBgp2wjpxrg1NlLauAP9pFCmYYeLx5esRq7Xl/UBTLe0j2oMq7Y
V23SLsocTJ0Ea8mX1ZVopnhGN9hyVjgKDJr4VhuRD66HZJmSeRdKLu7RAi0V9RZK6ybiCqOVG0H0
JpALkHLQaMcbdZFjU43DyCLOjbum0S5Ut19bcr/tEA8t5QRTV0kW7gachqtOsIsmfUGWsMjGd1NA
02LsElj6XSzS5IjUfdQjMM2GaMdS+C5JQbDp0bly6UJIHNflCvY/sEkaE+PHPy/233InuQD0jIr+
d/3ViuSPvcjfPiX/7zxMJkHA/+5hsoXW9vFfDx+lF6TBf6FrqV/SNHibdBoffyxS/hjTT//Gvyzm
1X8AKec4/W5noqv/IJqnXR1eHPhPYzpl/2Uxb/7DoLuHvnFIQv/8o3/6mUjmPxS0YIYlqvyX0GWs
f8fPRNVnSxSCLyBXhoB5SNMUVeiv59FQVJjntgm6dUlfGFyyA+vYBUhtIYg+9bSZLkKpx5A4RohL
pyjy3WLvxkdJvyzNXVQBhqRaJBqPunZblCjf6YzaicJvNkHYcgilpScZNHGkYInb24L0arDl61eh
Vdol/ifSgJ32Q65eRvKKMHmDD6vTo8IOLLu36HrsHyJkv7TariaFq5ItdTqB24+k/zXEoGQw85ya
ElLkvYX8GJrHONxJ2i4QbpphN1rX5X8Tdh49jlvduv4rF2d8CZAU4+BMyM2grFLlmhAVKeYsivz1
52F/E7ttfA0YBgx3dUnkDmu96w39vZIe01vnNNngWoR+SwUq3/KFIFPP6I5lsSaiuyyCoQ8KdUdI
tmS7fbafMFepdtV38l1NgV046dGmstZFD0RqH5I30qd79/aB7qKWhTLv2qOS+uvLsdEJeXGo8z8x
dOJvlnEHE/NmtU8Csnt6MUj41rnJoyaFUczH/DYupqMVhMSbTwwB4YTjrL9Nssyp9X01k/05YfNu
1UKq47A3UD6TdD9ax5s7YLVq9w5TYFS4KoPP76G708yPEW/M2sJgWcHFPw4MQmSnQ2PlTloZ/iRj
XtdADX/VRvXZPGT9ovGGrQwfySx/atjVXe7GmP/LsxReyzBKglVrbw1CxgeGg1b2cWm3avPWSGAD
iGeb5o1jy2hGryx6V71dXVV+SrV9m+0zKdA4QfHVhL1oHXT7PsmW429XLeLhbsQOkbU21nBTDYGe
BfMzIm/dQTs32VspPcv2Ma9grPUnWAFQ9c4x0Mw1J7zZFmXrr4gjtMhE9ap0N0z3eoq5nKgJfO6y
xwQOxRVrU2RaTkwcbXVoXgxHcduz9lJ66JqlIPWuJPAx74q0Y12drfg1T8kd/7YsH++8TLHdStpG
EPstMg9uyZdci5wFZ+v3EqKi6FzUm1p7jgnySrHiHYx9XX7og0jMfc0uSQgkuMvshzk7xDqutt6q
caQ1ST+M7ObTiFI3IWC5wgnSzfVPO9qouFNP6kPZ7FVCjbXzkOJ95CWVWK1Em6CLJu5eTFvc3tTO
vRYfNF7lS/GTFUGKilzGDRMaN98laGYhX33Duhul12neqQDTOr4Sozv7sK5JKmfreJW81n30WO/2
K6Z7JK5vWjtAiV4eCLntyierf7y0a5iI9Xg/RiMukOfe/i6hbhdwCMlzTq6Hyn64gNflYe6Z08ZK
jpp6jOyTyhAzS9bXy2YIV6uzpm+L8a0g5bx6VNOjcfvUCfZ9GxtILScF7zwp+jLLc5ceGexfrw+V
/N5f70a8AFNlq69Olx6y5JoU20nGMbA41FFYDY/LNJ5u99LIRB1/tdd1s/IKnvMtyN3RlVu/cKKO
vPn3cryXs72pneL+EOMpNJVPs32WTEKQv0btJR83l+hcGW+3+jFyOxuzgv2lOqrGXYpkQjvG4/fU
bmUatbh9TpTHawZCMfgRS53sQVdlPj/pPV4CgRze7KdSIoSgx/QmV6CSEkY+y+EUZzsDf8BhLs4U
e5X0UPIhk9StpaC5kLCNkS8RHPo+w4XWzj5BPpeZMAIWoH45cxJS2ifl3YR/braDNxuqLzc3Byb+
X26x03+Kn/9XDsWpSsq++9//4cb5exf06x6w4SiojOWslfW7v8TYx2mtXOCa3nxrc43ex/lYX4Ji
FC2qgNJHBI4TZb4MRYn9eDR0JhHM7sbOnwVMYeL8LA+zLqHeS4dxz7VQCo7gPH2lzXRI9G7dKyym
SSBAH2LPbH2tuSuVQElD7PgunBjN/ZA8Dek2uYTFiIf6E0aQ+updxVMe99/OH/gr8133dFnPvqYG
ZrqTve6uVB1MbofAikP+wCpsQ84QI32SdGgTO2sOV1d0IR7iMRR5V5RODQMbJOeXFanS7nJ6bG+4
AsjXB+Q4rY2x5KEswzjdlSSXJH5BeizneS8otLr6nEwuJsEEzI+bej7wt+AI6RYGy3Q7sYRKP40I
jxfJw+xB8MCfoYocCbHIzZW+5lNueZPi2tNdomUO+ojCAOxak6VsvUDbqJSDXdzfmicl3itKULx2
rSc7c/MYi5XTcFBhlS176dUjnudyc0ghL3ScQJ3ZIDcx+xnL0JgE86csv1vdNoiKrG5LXEc8OPJD
780eRYxJ3FgAgXxJH2+DcfQ1uC/58BaX+9I4hONze3fxuhAimOYas6uN730rFAaxscB1wFwJrUSH
xMnELTbeFemxxjEgqj2ba4MnUNz9OWrpd63Gf5blEioIvrUyIeD/vTwZjBWq65tlidE1AsVvMcHt
HcLP14ZfHJkijOEfW+V/3Ql/+ZW/dehNP48FOb+WSHeF4cyiCNVNEvaEB6HxdrUvPeB3Y51AqX4T
zIbD/74Vf4m4/9Ke/OMr/1aRlRq2IAUTQTJiVwOZldi4pGvFt95xSVi8hCfHetNP/af92RwstxfS
Z4N1gWt/WY/V0/CebYtD+XVxqzvIR8NdhcYoctojHefeuJ9QbjXkzWKk+0Rk2WMRKmEkGkGQ+4NS
eM3KtZzmQQ8i5sCDmL1y244CpgkTMxCovbZyu1bgPwXNEsuUdEukml95g6dDeSvf7LX0gJvGsTlq
zwwtvMU7PQ2mTXZUQ7Jc/tDHrX4Dbv7xoH4b3ER4i+Y0eJYYWj9/gNi/RTH2ZLjJxjxTNcYYtYiV
jDLBQYfpmpQPmYPvIFqojTk540t05NZdFyJ9w+/jT+kf6p+W0VJ4/wXniIHr06bl00n3IxiP+ljB
6trqH/F3Fi8JGdV3tMsQsuMjoDqEyh/RYKF2GF31bagEcwq/2BYf+Kv/9+WlEOX6b0c9QZZ0HRh5
4Xf8909GDLeSTzVHvapgDnO6dZurUBtXI1J2chtbaE2QyU7vc/J35rbg89dbspX6Cc9faEqCG7Yp
veaA8s+t9vFBHx2cGBDkoQG4sxHh2/e17mkghrwa//oQ34StCLncptFGIY7EEDAaYCsOisfPET+l
mlQ5B61Yc5vKLSQ5B3vaNBUDsd2aZ4dmEqi1N0tOfH/dDw+3feJfgkXpiCOxG21ycQu5LxEbabDg
+oDmeVRIhYNEJVPvUXQ6nQGN2wEhD/V7w3Lrk3ae3HbH/1uJ7gdXY/lnvufqPag7rCWf4Ty9QLdw
uXHJP7u6BQMyFScZ5xbWDN3zcGFpZGJGObErbuuLwL0EuRqh1ZMLgVBT/egkuRZ3XbM2nO7iIWrR
Kv8aoRJ0lfyh1HrnYuFwsTayp75/HsGnUKVeNxMIVR52zaG79G42tm4F6o6opthlsMKW+i+9iXLh
B1H7+JH9gjcG3joO7dSS4VWf2vus/GCuvIYg6lhPBQbJxhoX1TSKHAp2OVmn6765gy8mUWyjEBzu
sgmNyWFaJOs4dOAdgleR5ba3rTxhLC5SRmgXP8n2gxysNE8ZKAizEDVQUng5BkHH2w5nhO5sV1eS
HYRluiM9yXrlX1yEkup7k7hq+SON2zral3DuK8sdsnvdQAn72CneikZqOkxIvHUXn1cL3HW44eZ5
SEf3ZgYQOec0dbOLeyt9VXZtac25/5JuuOoM5NdO8qT95DvIm6tYZIfmwKLNZdiVmMpc1xSa6Bep
t63HWAF32bW0Y7rb4YoNMyRpt6byjLY5fc1sgTP6zalRvApYltcHU4EkHAxKqGiPncbNyV2jC3pA
TWG656b4HO2uHiqiwl+IOXRIVeLbUqhU7vXuNooMnwPZHfVTN6619rEsHiiXijkwu31cB9EcVOa2
ttdqGdQkf2g+93sUZCEBX7qgG5sd1O9+fd2q7SnDfCI+1GwORTmNl70ibSp1M6brLAttYn1WXnNF
vPs8utADlNiLSmiLJwzLC2NTxmdqzDS4EcpJeBctim9KX6vVYbIecDpS84dBD/LaHyVXfV4A0c4z
Lq5xFXm0N+K9pr7CanZGtpFxjjPDuVy8caIyfse59Sr5F0Xgn4fkdFA9w34wzI2c+DXy0Nfoe9B8
3mEjO/mjKaJ90jlj5yYfmg6chRcX3Np3q6VR9giDNgpn5cjSDscwuTqpdBAQBmwVHynR7r9SlwBn
dnNsCv07PuZuWjk154u0keWQAvEuG3btVym6xjFSAVBmcEQgIIfRSw5w/WXl9+Zw22itn824fxOj
WLujfZBrF4cl0kua58uOTMOLkAtvhnQr+zzTMtpX2WY216WEk5KQ5C09eFbit++ozL8QzH7IIMod
FzLTUadRPDXxF34airHvRAwhbd+RZ4eEmAJKztbRvLYmbwgHHMCFTRH5YXhX25FsJzUi6janm9cT
OQG6FcQ12XvvFspsbM1Wp1s5OHbpyltUCL3bv6rP1nYhQI4ubr9dOL+mrbCCxqCpo2rGiJeomoxy
nJZvZTtDTdK29EJn0l3gduKpDyzYkYRVuJ/phBgdRe4ZRnBYGH4uODYKtwB/DXm3me4TLhMS6nFh
/JOGFjU2LrAn2e3XKLAUK+CtpqcZrqarONbrja+7qf3olXSD2ye3iksI6Z7FOndruQzogflgv3Jg
e2Gu3OL1P5Gsl92Fr1KIslsPs6tgCBWtM2AZb4UP6tUrP4ynjmL9upXc5pPEn4bsEsd8m69ibASW
AB447L4fCdvxUyXg5wbgF8jNGan3uT+TEH0NisFrSEa5um22xqwupiaavD4N1ZXIEhrLba+wVJyW
zJLGU/T1cF4eEEvJwdAogpIakP2M/RdYqwdOUOJY72CaF5shFv0YOHJu9ZjpMzvq2nBUD/PisnVz
Lwcc+rJ42+dhMniW7mW4/188Lcbo5auVA1vaZbbTm+C0BsGPe3k+XJonswgyK7hUgt+TZUFv7EfY
PoVT4X8LM9iValF/zSt3KAP2CUSHq+huYlL3rLH+cu50/1L43CLJVipcGaV5sZ9XjzVMolfkgs0K
wYALjGS1hFCsXBTixeW82qsnfV8+5S3HOIGjnJK08iBMrr031bVkCO1Fnlty90Sz1ioHQoD5TkZF
c98R2mMGdaCL9i17IXzbiE9cRmi/05pEMAA1LDMc/C7GRc3ojCfpzRpQmDqjkJfwRGNNDgam0XGI
m7irkCjDPHTwW9z4ewPjzrv5gOhW7l5vE+XBukoOHI+IznX+DAxl6zAfVM7h6x5EaJ5EIa3ndns1
7uTWu8Lbf4CGZIfzU9EKGElz4WhpgN8Nrd6nuSdNRy+xHQyzKJB0v5L55BvkvOYqaMuwiTfX/E67
7nU6dsvvsXzaXBmDGpguBhOe/Y68Tk1RNS86BlfpfST5Fe+NqOOCrsjlT9ec0murEcNruy1BaQyX
VhUVlOkWDN5Uh2+aiIbcwwEsdAEHGYGMe7wibJUIkzW9KX7/q05Eg1BU7/K1NEBWuKjyq20ZbxUN
ns7xunJpSq+CCXPhYlJ401z4sarua7QLjwmBYM33zfatVzNMvGhdbgfcJCoDxhZmIG6MXTjEBDEa
DF+c24N95N53so3xLlncR7mf7JeG4UIN5M2b5NF8nGIva9e47Kj0h/x7IJajIGuXlfPKtiiuoXxv
t37CTua9s4TxsaueSt0v801Wnmc47fy6/thil0mSh+oN1q67WzzS5ouz2nWPMU2L6dTsJYAYyeFC
1sm38KhmONmaxlXd1Q70BVcQbU2fxlCdOpOXYoTN580WjQm65psK0FaQ9I+awTReKGGruLqnal6/
2rQ0xKpAWDGJdIuqa0gd9v9si0+sxRH+18AdL2wWVxvcZfRGdfzZvdSh7V6fMQ0wmrepe8UBU1jY
bjj6W/tzezI+rBeY9UPtYL9fvme4VBxMAzPn9lD+aMNa61/NMuQEuQApWm75w6N0ZUxUnOpF8j4H
cTnfsD8Pq9QbB69N3SH5JJ7gNhyWkHkeQ+1xxFFlh1OovKqs/zMb2ldJuu49eGJUqc7NW04syBW4
VXq42RI+eWq/L0G+jhgiMlJ0Fsqq/jB8gGZS27mr+7RyfwhRbpMtKS8giivtZN12hEUpmWdIbq/6
K4DcxB26tURB0IVNJ3KqT4ppI0AUH9WilN06QRXvZ51IVpS/5LN5/ez24CDym2SKmxJEKzfGvOMS
mJabZuxQJ95Zr5lb/0iT10SOFWZi5HuNH+mb3Tj4hHAkGGd1vzrlbwynK+7lxxhFC5a9EORXpyR9
1yJH+TE91Crn5bxRtznnoIJ1hzveg64+wcUyCHukjcF8g7yPU2+TPBxyCnMPYPs5MOOPHfWePxE5
pZf5w8eS1k72wtHkklU0B2ooarHkvudZYMtBXO4Fa4oxXGQ/xGgNm4loY7J6Oj+tD9EQSD8YZ4D6
dHHQaOgVEmGcWw4mzcnu50dGFVW5b2NXRTt/1uO7Fe+H79itS4UGdRQsi4zMxg5bSTBHYU5HDoU2
31BPSrVrl4cMHw3NH8dn+UviOgBYotv69c7HHSOa66ZMXbUX46txzG8svYaKypnvShZLBPB2T+wx
0ejQTppecFpebH/QHMlTgltGP8FL5kQmK268OMrsNYlQlH1LB1uIsRWXGacpFyMmTeGeq166oAgu
T2TfCC7YUBfXuz4T9YAJL54zos63ReGvqNiqQx/vwfqWt7E6M8SYNETW7kzbJrur86D4UemCKVXL
LbAhril9HZ7yHSc+96UjvdD/cAYSstP3jjQJ6clwklMzHyzORuoDcijwKuGdlaH0uKJ7JAAHGTt0
NXk9xAHb+NP45JRCoc7DjK21HHuc8fF8agbXpviHiEnZsnIv2+yYYxUjasXXVwQu4Td4SrjXCwpG
aYuvhVT5Zby2IHljLZDRiziZ5K7GfT168FSCaK+s07f6rVMpXILbjUagPyxEfhymhf5od/5VPvaH
CjDm3DGRiJxKlG+Y5GCH6I1e1GGTei7etbvbUa6f77P4ZGawqbhYg2lnu8OBJCihJw+3zWoTd3sp
h2+OdQrBZ6s7JbrPbDpfVx/fWUhoeui4P5k8U2kML/NZHh3+LvuQP/O1XgismZ1mPfqTWHnWltF7
zrX4MTznMMs3Wu52O9297kkH0rbt+RYMwH/Tnd44XO8+KwP7pdJ+uWB/YNwne254j5GKY3x0Ky8R
3XOOdsHEu8vhn3HlZldOpOqVMPr4sfXmH3vCBC6jkXIxMNIv2GA5BFpZdCaqL7ErvwCcMO3uKEtU
J8OdbsdvBm5rzzYsIA0xnLC4EQBaEUpEL8kLGTsgUxg9C4ZUvQtxVWWoteASCT0TqTKUKq2zs+5X
uOVm7mC4thuFBl2zUy4ttmDh5qqv8UO1lz6CEBmPV2H8THcXurnsZHLxpd4fcBh5gS7/gfOhMmH2
i+ZJ+50IY910KRoSYJhFpNCyCAgLw6P1JrBAmkqBYRCghlZ4ZuwxImspGjnCWrd8kCEKYYaLVApM
HC1g+guHuUVODSaO9cZF9qVwYLt4PUUNkytIC4fErdbFazs5OoMGxWWsY3uEKlLoQ5Fx7PcxhY7C
vewZggfPw50eUsYTWD+DO1O2ralT4ocIJ12OQSfCOoophJO9LUghUjLf3pQe29hDRM8LJOwVio06
C97BNaMzEkjVagbM1APQ2R2sm6TYvSJ8C2TCHQQE73ok4/AP1EX1X6Auk8er6QpefQvd4+9QVxHb
dpf2gHBAM4bDnPSBFMmW+Cd8wglwZmMjEmUr9u+VmMHn+KjaeoWuEnwmc4w/ZU38Irz89s7/9nl+
w5aHbmUV1whst7d5ki7iuqT0ZjqQO5CwdE3RZ14EJuoQK12zCnPtmOvHLPox+tfL4Gu3IMFd+OJf
aoGoHhwO2o5tslYvX4rIxQUtFcXrCdVc3XpobCb5mKoOLa0JmPZBcQnLp/A0Uia+baLVwPlW4ZDt
YzB1o1jnu8nTqHU2JSEUrat01JkuuEkq7VecJpvLSXNpKzHAY+g1Yju2L74b0JQDmB1cgNv6dt+4
BbnoazN5HuZTou7aZG1qW9qhjF/XC4vA7Iam/Nh1m8wIGQMZ2VvK8HMUEaSW7nJG+9U8AG4Nn6PQ
qNG9RmNeebJYdtwll9D6kGPUEsSGuqvsviLsWMSvrCqTvDHl7pas84aaDrCLpCRQQkSt1j7L7tMh
uNjHKBdLoNz4DehQ7i8hEjeRuxi7VdjWUNt7xEDSxNR3+ni/Ag24iUH3yS+P0j3zyQHHvdtdUu6x
aiu1LToNsB4GxlF6l2Uv+DRzW9URFrtq4Uxghn6GXRpJlR4GYTS7DZcP5yUTmtVSzEg4TjuW2zDK
pvLq/0Cy+11ou2Dj0E7g2JEACYfzd579NLcqFDQW/mVX7qIAL4lE1L5Oob9eBYs6XHVIVNtd99Jp
eNb+ME1U1H9hlSxkQ53kNXmhqfwGMeOuY5RRu5xtU5gCHbDIidq2nXLlKvJ3DejYfjS6bykPPHWy
0HQAE/DCOWwovN0OI9uLd/0ysu0tvyurcKl01aOkO/kPvcrV8hXFnTjB3um2aPHULylyZ5yVsUd0
pptvkIUTYYAfmsx9swMs31n9WKJVYqgo474c/fZ2WkmupAf9PZ7qY9DBYcmcntu83qhpAMmUAeSn
2fkMOpLTRNNqb2g3S7rZWD9lw15h+ifinY45bc0ZizLZoZclDouv6Eezn6NhdvJlIlbi0rsBGhpp
jHPDbcDkKt/SAsCwhcV3PYCYNYg98ZqM3F7x7R5ZDNM2f6WLRvVqXYBcK9ddbvpL+as5BbHON6J+
qg87CYbpD0fm7+y4/6ycv7y636YqOZJMlNC8Olp0MbyDyLU75PcAM8OP8caVZNww06M4peNEJDsK
0PMKDF46DJpYZfvbltMEH7qDfJ9+YPPWtn730qU7FRgN+4yrA39Y3d1+JsmXJmwm6R11JUxLMT+q
H0C6VYgMxaJiki1nfF46gJwe7KVBHKnzev4wRCKx9J/XMEsVKYPCTQw/6rcrIpqjSBrGyBLKkQGG
PDmKf1tOBP0legOTSp5aLIfeM/yHF6puDqzNucAVTRYuMZqD5S4M08ZNmEkfOc8lgOcdZ+Xu8sCo
muv1SFbkL8irFSAn4F/nhK66cTGKdO1zFRhQUwv+m0A+vjzVvAIUjdGmxXjhuqZ5J1ThcNuSGIvw
jye7Y6BAuPgQpEeWbPWoCWlf7KJQ2eh3bbHV38zH1X8cPIxTsr58nLAdzUaXmfheI7B3N7v0OqTz
YifDqMMpzzYe7070WZ5BM7bDxyW8PNv74iGmYFjhIA5v5jA9FOtOrA4wg2p6XlD3Cr0jruL+9FwH
6R5diC+t1W3s9gEwWsigVCyJJowT/dQrPotT2nJUOnK4ujk9J2/uDVuMB1we2joi0NcxT7VrbMeQ
RXFcCmJpzTyE+CMMHJe4xJ7KxG3C6flPHjiY9v7b+zcVxVQWUdI/1NDScCVTTY5hswPJ/jAEA02x
SyacJEE48ytY2eTfaNh0/Xy135tQemVaxW3YA/itVU+yHDgBbU55mjBzikBCm6D9gjc33R5Vyasv
y6RF+gQRzU/GO3yx+mR+cnqMDmylnJa4Yzo75s5CZ5B1saCOiRufsOPhr0QJxl5bKqb5/Ra7zUP7
E2nkCmD0HazQxfdkKBCn4+rSTgrmfVr7JrkbYxi/3tKQXlAeGONqnFRLUTw9UERnr+kHNmYKWM3F
A5ID/X2334EAaaSk/h10K25fyICWTApE/c6+u26iB3U91ft5gUHqyuuaTR/fa90zmzX7YNhQxiG5
3LHt2+NexkpRmA9/qJV/1cK/100Km9NQLVOT/2FQd4l63KxzpjTpLmXSe1v71UHH+KR6N3J0j3sI
Inm/0WCT0DQMPh7a7XDX9AfJ9CJXfqsKNpdXcLPc6AbiL4USpQH7EgXhwVGQ5OvRpH3n4dMdQ1Ex
mDoyM0B9Seo6wVUFw5NDF50v3RZj0lILO5JHelG8JIWLiazRi1ZbV2lAaYZwEKM2CILQXq5rzojG
xaA8TgE//fyDieDFS2U2TixUWo977mGwM5xGEUN6nIxtYIvRdHr4kpA8LnjP4+8BIOub1K3ntAxi
tuAW1IIe54Fgi4FykbhONdDfu2Pyqr0YPs0aMw37wdx1YfmGLX++/xNH4nch469LYpEywuzGSxyd
y9/r6tmuyO2VclijS9NxTm0sE6JAc2ltuVbdcrucMtl6fF2i8Wj+GDvpT0gb139YGP9aaPz1gyxT
+M/3c1LGsJyU/49fQCfnFgtDDSTGiF7tpz4plVxWJVQXEb2Rb078IpghI+ky2ymf8ROkoVlgLN1Q
92M46NZHmhieubegBG8gkuD+zIInt1IdePLjK30CNtjVJlrL65g63cc9jJK3Fbq+DCO6V4vm9zt+
A9i0CmEQF4Ley7EfoYsh6KTKvDraqf+Y9qkPI9RwLBB/emAIPw4btAN6eGdiDMLAOcLzonZIPtOz
sc0DDBVXCl2so0He6dz6YB0nodKVX7zVFyPDdgU+4NQbknIpNFcvjChaGGiNl9ShTieI0ypzaEom
oIpfPzltm3vOeQWDgf6dMLZg+AN9Rf1NafWPpfEbuz4fG1wLTZZG58VyOL4PwD4/5pWGBjYWE1tK
7HPnJw/G/dWzN5WfB/Q5ofTTMe37+LMkQ/m3+53GzyAwAWOHfxj7XQc4+G3PCil3S9QIxWgQB1di
Mdja6z/Je/SlsP3HQfWX3/Zb9aT3dZGsSn4b/sUU/GBRF4+jP9q0r0v7NJ5vJasjf1ZAv7haYxeQ
8Rr0XhXQTTNZcK4u6A0F1sY+dN+APsKCeVPe5Vz/OnfBdok9mPzVUwF9a5d605YxPuxOfb3kM4LB
v/73HfavHfRfH99vO71t4ihBV7h8oeJs3w9P45kBY/0wHopMqCcKFfVVvYcfxDrXHzVgRE9ugkvm
/enR/hLu/uPRQlrhHiDAF2f4v2/1NIlSvPVZWDkh4JiMQuFT4I049kuk+fXC/BMGk+6LvddaeDQO
NiEPywAyF5ULLj8ppO86JWmO7AtRf2CPZQCQU4R9YgWAt1m81i3yNeUfRTRubLhXaAwEboJhMO6M
hMkbkEUC4eRToeKlFf7UPmfPjmmRneuPsiDTnAfyxVu0uAhL3Rwrb/sO1U5k/4HEgxXQv6wzFYWe
SvoGKRy/a1gas1dkK5YsUeVcWGJBqwoWUbsU7TaHAxK2RVvOJ4OmBjfGZj6L9ocQJaKOQmy1bwIU
LBJQUspESJqboEHJDuAidDhr1uODtjU+8WAgVJTTLBWAYun76in/gRs/ffE8zbdaD+L8pOVPoJDa
9+WFceeUB6q1tdv9nCyMAY0kl+YJCuGtD0iFInpPDdres1KG4aEev2fgRG4u+wr/5lC1duonLqbH
UfMItdZJrENk6iobjdrmIMUO7OOeqeGreYYP8525bJ0fM6USC8EWBgDiCF9XzvEllIWb1g6vatCx
uyiuO3+CCUkjQRUDMY3IEFNI3zde5uriFnYAk/xShuOQutUtiB5ghhuM5f0WsDDQOL4Zp3GHXR7l
c54J/eG+zgKFInb253et99TCbw8D4JgsuNnJvvNiBmfW4+LWkRnu5SFdXwU8VniVANS+EahuRiYX
uAdU5W+uaJABfFXVj8iNPwZXDATJCA3O2MxVBeEu2kzTXh6emuGgVOdYey+zz6i7v2FIftlUD8ys
4zU4Wu+atS9rYUIPUrsU1ECqt4DLOUNi8Yc+kbiZf1uCtiITn2zqxIn8th/jqEmxaWcJwtOAJ2zH
Hiyk0Xa1TKCD6K8A3KB/RnXWDfilUHIqJw41ZpE3Z2V9ycyW+xnoGXXCNlFfakZ/SjbB9CZnvfGs
azhf3VQ9GIOMt/IBi3r1Fg4JNx6JmF+9YFjM/yxMJ2+UhQ9FPI/FNK1mDolZ0EoZnAID+Inpx8Xn
sKVfOwM47hFhVOmhwuSfqWHZ3Te8oCXIzKFgj5QN5aBINnLK8wObh1LIjOiJ2qBe6gEvVsQyacs9
lHZrKKDLHWfS4r02hXN9y3z+ewOlR4L6jX/D5bs5gV4zCiYRRJnC2XQBTWGO9RdHJhvEcEhFZqgv
VeuM0htclOlS6lv5gWnlAqzK6zp3igcUK3G6JX/biawn6fIK+qZxvA7QjpdRij156nVBlEANMLUn
ATGTRUxqWLwuwUDIIgkSkqCyIKnXaXXmAHWqX0JCq3VhCvffZY5+wI/au7naYo7XokAoT1HzkkKf
gw+MviL1UvhroMLAy/FXnEIvcolZRp7RK2CYTrKePTj7E7Q5YBdmcJ1329wQ25RhlnkrcH7Txywk
X04bxj2yss2Go00PFIH/eQWc9pWDe14F/DfvyYUb23VMz1K/RTzPyFvxg9fPRPJv8h2tb+qaBVN3
5zr4DVSEiskncbKVkGUn610Q+xvTAmHic1975ldCcC8TmMxpTZeJyZUnagUDEolgMtcZdzSLo5Uf
LvX9OG6IHA70PUOhZglfDVtjY9w208opf7qduiQMBlWzz5p9zZl0vb+a/nKHL9cz8gNajavp8agb
uBMxFDa4YYN2xKtavfhatdFpkRqv0rFxw9ZT9PT7UMqY+fUUCFD0FjidxRFnW0sXKxwV+50BH0Tz
7UTA7u5n5smw7pcxrgbp6HbUCNZIHbNn530XFcRH0TEogrdes5H8pFx3fDbstTbzd1ytFeiKySYR
0Jf6bxAuf/SIlWPgD1UezBm7TXzjOiXUZVD86c2eT5mJYCJMDbjgTitSgLDen5pTjC/Q7I6LaMfr
b8GCeAULFSm6q79SNK2MKlKnhGiW3+EZp9eOvJHfITnxSy4uRKbhDhp+VxAHcUdsppkIlCuEo6sw
IirBbiL0Y4WxTO9geLtLqRsLDzSGYTAzHZTv0EVtzRshVZRbKJlfVxWun6hBGxLfeMO+FwBmkl1L
DbGLhm+f508SFDEaX6h1CVES7o0XdvW6CiBauwd2G+mbmrJiRmWjTJJF1T9MZPTVDG/zbhJ0yImJ
qs2fm/f/I+y8dhvHsjX8RATETN6KWVkOcrghbJfNHMRMPv35WDdnproxBQwaPTPdZVmi9l7rj0Tw
0KKRvBX0xFiIWBfk1HS4hjd5utaTH6ko0zxVuGwaP016t2UHQkTTe0hGWZSKCzRg5fbzD2HoXLpP
MbgzQ8U6NLjltBtDu34ecgfDiTwE2sZqN1cpJ/XdYQWz6+QvLunfgXZ/DlSSqdD4i9kQsPgP5Esy
mlyRBKx2ouxIKH9R91Vb2qBiPrPjna5MDp6fGKxThGkKGsRV7Q6ZHEFhBSLXzXhk7zVXjirJ6AXx
wYTCx/uTrhCHvp1QzrewCHY+PK+7IGcNusafNY0Qzm96k/vfmNj/HlZlfJb/mL4BvvmddIl4yc0f
uQWTalRKkjJ9D26PVUXdK/MWikR47J7qp8y5czCggBn2y0tSsaby6Q2or+1lsUDERpirS+bmKJF+
mZe/6cGVf10NZMZWcig0Agb/TIddSFrO45T5NXxH18/syvurdruEjb1eLF06oDeVkflrmhUthDMG
4nKisRSmaEJb16Jv3nY8uuYWgEpuX1OIjP6hiS59/JoiJz+uYrTt/B0y+Ikial/hbRC/SC7mwn1D
RJY3L5rAsjoERVIf0g5R9thuo/HNlD+EMuh7W0q3yqOs7QCWmjIwxwMKsHh2gPsmB4oYAYToFK7x
Kb0Qx4mxOd4RHfgATx7vOGTQ/byViK6bozA+4+pHeTeIO4ndp7eKwasae4DuoMjtyyztitQyvrJU
Bh+Gfd48KupFHX5WiATmxlcPi5+w8ELSOzCj6NiB2vR9V752L/EPbmzskclZIpqVKS0M/XF5NUI6
TdwoQSFAUuwTDbdT/gheJd+xfDriEozj/k4manYs5aAQ/JkfLe1Lwnmjw6Z2yVXukC+zQ6X0o6JN
zR5G2eWKKqcboixt9BTpO0aDbl4K0UU01XLgTW5FP2n2TA54tXz3yCb58R5rAPOXqLmi7EIQ5ZZ4
EVhtUbnfLRydEkVB3CyoamK/4aCnD4UThYGisPm29NznyG9fTQyIwM42Xgykh4feT340T+itlqGO
HfoRhElyNW6FN4mgVDgrjgysefzDd7sxEAk6FScGNxJSFd4tgVQV5I9IE3elp+EaKQOUYs2hi2/Q
DfnstQhBzuOek0dqdgRQJC60N1dXWjzoazw6RyHyCTfrXD2zcICpX/MudFD+HDp37eardvNtdAaX
jcPOdvy1w4rOzUUYwba5DAfNw4z4Ux+QQN8qB/eKi66bWgVGg0dpA04RQE5+yoStU9JNZ4w3vg43
6AQ4nQCdxwjMcQxdRg3VGz4Sz7isPtzFM4/w1AcmgJVNUfYow1lxHtm4+K+TftCf4oN+pjrDKZ8J
m9gPX/dbTC+jnRKjBhqv85ZvKTQbVwOEtYLy3X56QAApHPsDxwOjoO7o2H1GG7vk93DRPDjIwAzi
4H6b7MKZfNPVdshP0P/uuVLvlnEVz8mD+lgHK/5Py1KPzZTm78pvfZyMsJi8JvUrPt46wikgIbmJ
V+k3QpbKzq/dj/iB2q3ZK9tVzLVOrPfannEzoMewV0qCl6tdY76sisdF3xpbkn/Afn5QSIf3xxHu
pcO5LDkD9/2yzemL/4xQ+5xmqL/lSxyHrcy3JGs8dfY0k5Csxz5kXcarQPFDVz8IIJV/O/v+lY0k
oQiPOUTLui/89+ouJbW59DGPpOLVtJ5zun0YH91Z9Mmz9VanUQfLYvFh097lsrT8ZVeR/5XUktfA
YVMBQKZ89L9fgGB2hl4UlFC1jto6CvYG156tOjuE0lukIvemwJk5zdJW6aZ7L3Yh2i8dYyXW9SAK
TxJhbbmbIe10cGjQQZIhM13VcnAEjJvMqLKjJNcNvjSUx7G14FOm7P0xV63oA3aoNL+6aK+NdPEO
FCZx2iwus1DJJohJXmqec4wmIKcQ2TnRIIxQVtbb6mKDTBbb/AZimDbkolM6xV7EF+HQJn5DmUd9
TkQ/zj9GHO2dr8iuHn5qDGBxd1wLf1UaOcKzuKCOdNJ6i/48D3dlgGXWu6cnEW6ns5rBQi2cciXZ
Bj4NV2ad39zReOAHovgrOq7CeCfbFZ4avyC0aoA3LJ3bgB0tU0/Dr9yWWV6X/KBoFhAWmqLsNUow
zpjJqsAUOyeTeNYe67WAeE93s9a4sCciRhYUCNxlvA/4frfUhJ8mjhCTffsaeryLxnalQ9L0Cvel
uYCvNShBXJJu0cJjodclVruNL0gnV1G3tTgpe9qP5JqqTQVdZmkcrs6UBZvcChk0c4Ti88i1T813
ho5Is0E98NrAvQnWfNbRJtoiKVQe3EC+QyizjvcIjtbCSgzxgvKkmV8ksgKv2hpMMmJ5R56OdGAB
YrLurITYpJxSTCIt2yMzniniB8AQEeg1zTlOUZ3V8KSYHxMIE+RbU+N0weBzySsnm09IRYGkQdAK
PmKCtBItwKLAr5N9Lt8F9aPtIwED6W4QfFV4SPTrULta/IbUbgArCWGGz+MiMsPeGtWF5etcICgs
OgpaYKez0okHVej9BcuF6CC5p99bFA+i5lPkKHf2b7E2+oYu2dVUNjC+2Wp7ULrXbPOomB67RNSg
BMFV87SC0OSTkBA84vOH+qvW8/LR9HgLGFZ6p0ShLjolWkNLmt0l3yUjj7oraeea3m2a3X04NlCP
AmsEXDJXLAp4J/Y5towyKHHMzZinUY0iRGu8eAyw6JW0vzPBJbZBGSOHK+D1fr57HWZ4HaX0eoIW
5V/gbPFfkbb/PDpWGOQ/GAZTLIxKHDk6sCicVmespX/CE7FCpvb0eV+8NHOpOrxh06Q6Jk0gFFI3
8XTGIsHKvyDGHeEjRr2KKBsNds6Sjpaa20ZtLe2NQmo0bgeZCQePgrM+7iu+q7zl9BPxiWJKsnRQ
KHulAB1WddAF+RuiiKlMw4kFpWDY8nEFq9ATdlfUOTyNSPwokqB2vZsfmMHgyeyOqdI2up+FLAB2
ntruTdomEKrgU7aANwBQ1GNvt7CPoB8sHTbG4/64OqgCrhs6lmCpDJhOFIn2HL01vNdesiBe5TGy
9cvf3J2/FSp/bieyom0UU17n5T+lW6Eq9lqml1B+pIj8ZKcVPdK+OamxzhhefaF4Huw3P3L67CMH
PDe1lKeaRJ3ufM9OG2nftI/6GNFszj4MQ1Id2tTjrf+4Q7Nstspb+bnqH3NawVeJ2qbbj0GKLIgF
OcfBztq3fFfY87+HyJoQHBG7/gORE34lFNijR94wrPm6eVtwBRlunoIhn/ke9aYd/TUe/V+crjAX
//9e/PEMxlHcbqSWZxBUcGc8m+c6wHfHPt0fQ5tD9tB89K58wiNgjU+N97fsZuW3XucfHwZBNZJJ
O/Y/G2e7Ra8E4iZ/fxidnWkuFQJ5CHTmRohycN4xhRR2uHkrDWfCwor002bnr2MgOAssNMPgWhx7
81rPgAWdC29t94yR+lGJX6sNzWpW1pJhEZSGt7Q7RV+lW+VwbOXcUjUchS5DapM6PccE/iq3wB2N
YoRIDVrHK1SGXp0cQNl6rAEbHolisjpafJrVG0SUuu5sBh508OLymDjsOcx4qC3ukmsgHgcR55wc
QTnYW2dX57IA8a8OCimtL6tqA+k9ireNE3dBhK0jj+0hskFUYTnQeEGyIXRW7FTwedEoLQBskY+4
qDVBQaRj0ZzY1TKgrxUGdFsNdR8ALbRxgf+VWitcqtsYhSkoy4heWmKC9/HMRtFxnVNTsOQ9MovK
wn/WlOg+XRLQ24qfbqOzBukDpY/HD5POpFd4B9Fpz2BtFLZuTS3onf4jfq0BGuiW7flOY/jkBgSu
hcCgSrRE2+vJkzsIwViy43uz6tc0QWATpwNjhX7S3sYcmC947bYM6DEv0oHl5CQUMCxOPhdORxO3
rSmnUcXieizk3cLuQWnkoxR/86NF9x4hl+efAQ1Esr3GzsRIvIVDhD67OQ6oiyKHwk5rRFkeIMzn
fuZvU/ONi2FSC87OY0/6Yf80Vs+kNAwD2KtFSLozVkedGJJolwKAZ9Yo2zgM7s0xzXdFeJQ4whpr
Sc7k0VSovns3pdEYFIpntnZYAaf2Rd981fMBHkX7FDDGLHw+jkytwv26qHthPorjAe3inH5NIlCr
EtB0vpS7tDhyrHMTG9ZEkZ2HmL3eT5YB61OdhRR/J4J7X2pPS3VQp6uY78XxA9sDjKtV5zfUbipV
8jwRzjyTjGHNwJfakVRcC7FTnDrGbHPJt2UQD85m43R3W5scDQ1NaBnQ6Wzkd5dFUZV3d+HMyCjJ
jvrwZars0rh3gWYNX89ezOpUhcehcQ3ZEVi7qDgejg3WBQW2JCgyb7g7+qfOPcqaeN/VIaUTfHmH
oHfzD4oAa1cefdwc83rTe91kyT1J4CyLeDy6QDEDBWcz8p3IU1tuEkcgeomZS8ndO8EtkdflO9Tb
q8iSCR/ooj6oEX04eneO06+xO02gSTRZ0LTR2tVgcwJkhmXobkKBMbg89wx6d76g/Ac7iCXJf5EP
/JtHn21kI26Q/8AM/1lz3S9Tohga5GY7o/1pgvFonuMj349rjib6lQk9daPvEdTvY93Fl3dkJi/y
1fhS3PuZ0O1+/7dVSf43AllGiLaB4/wdkvzf4wZ8StPjz8fE9KO/0h4rUbJDFw2o3Ot8g6bECBiH
ZDuxAYK+4DUaLeAIJPaUqKSdu9pjsE1B4uE8IRDiU3hrnjkhx8rHogtB/Ld7+vfq9I+r4T9e8B93
k1x3BJunBIhtdivbOh7ZRyARVU92QN1B5v+m2Pu3d0iRKOUkZRVW6rdW6D8GsqjVelPLO2LS7eKj
/NV74ovO/HJLnjZMpTSin4ix/Gvn0vpr/Plr/udP/UNosilHRR0Vfmp06w5DgCIEHDHy8Fb+IPQk
o/tvT8KfTXW/hRTK2s9B+ImhAfH+95MgFrTBKBSC2VyZ75yhD/p5BNScn5N3YIorjgZ4zgjQepuc
/7Yxi8o/Rg6ZcntZVYiAXX+++cdPL6beFNNGW0eOEo9Ti+EQo5v60BhBkj2GGy9EHcUZzXkxsQS5
MHE46wHcuaWE/hrh7eSi+gWvgeEdg9dD/RmmXlPtemAzXAbCr3t6abDdZq8S+XL9UeguPZEk5CKN
oEAeI1o/ARXsfkNz8A3bGhtJv0oqJhvFHSzYGmbisOfxFYhFHKNWNbvlSfEFHPMW16b1MvO8u4qb
fc1+XzubLSYpcsts/u0TOqpx2CcNBx/wJLOzeqvfq+xp9Jvn+9n8gU3Mwl1497va0vtbGe4ZkrVt
fmIATaDTHDhxqslnyZeflAe0qol6SGjCar82hauNbi25dFMTo57bGWFfOFex6aWeMO3YJEOQENIu
VhbYBh1AINKHTr8b903mseWUV07AUfEw5P1vgFza/EMN8/tjNYCfQcdFSfuDtL1nkbZInQiP8s5g
htC1pzvKRrzer2EFW81bp0rVTx5Yjy1ETAbUfopAcwcWmrAGEElKewE2v2JHBgjKu4Q9vEUFYc8P
5pOMM5ixHJlFY4PyiOE5b/2WSw4CltrzcUd8nZYe5bsfG54YfSgobqMW1v51wZLEU4F5bma3swHt
7ydATKK38FBjV7lkxDapyGGp3ZW5x6F80csAAMeuFFRB5UX4XCsLqnKyYKfcVVpTPIunfNtDHp2M
rfTK4gggjHllUbeGeoDDzJZLvDkKBWULh9am36vLbdV4nBZfihARvE/ZTwrFZg5f5QIfRTiC3dz0
d3y8Im8e3gQAFoIvvPbCH7YwfguedsaXR6IX0jMT+eabQpM8BuHkmaInsboA9FP1Papfhp1vE6Sh
c2CGl2HGtLeT6QAHGGEoawLwjFnnCvczSPDt8I1wswptjAUkk0E2K3v8OOpOko865mniC0NHA4Oa
HsveUmpLLg4SCQ5QXVgMQFeYoXOQHi+80yRWW2jG4X5JXxk5Q/GWSh/KHpFhC8bpFp/zp1xaTJhI
8v/3w4ek+s8zdH34VElTUPBoBLf+AQP2RZpU95EzJQ6Klhw2SlPQ/I6SDXiZjTiCPyVgF6TwmAT4
cJUAd2N+bs5Kvidh0TfI8b/b4+vsYvNLf4hZzCLcY8Q2j25JDiMCiNW5a/O0jUUAvqDIryEEZNgR
C+DWyikcXBPLBsD6I747iBHzqQbRM6tDPmIzeK6UI4G5YDTwYeUeX+Ldwh8o4ckOYtkZc09juFkQ
kX7M8VFLLHb8XPHll3vB/ii54+Rt6A1nfRlfat0uMLJzCo0s23Ajsb+Z6CL2RTLnS1aTN6l4LCNP
x3y2uXGEUkW/7Rn1t2K1lV1k5u6GvADOmMFVP7uzhL/1xRQd9MMhVq7KGY/hCPlLqvypklzay0ns
2uAUnfbaTTehyrfD8KthuJQCEhMH7YgOBRNg4mlPk7lnLFaVPT5QSbsoJEYiderWr9o87WA5Yp2v
q9VWz+qVzUQMptnRMlcYzzpf7smTOsvgCeawJeaEh2yetzGHbMO8ajV9vL0zv7LgzbfUDvgR8UuP
2JUnUT+Y/L+bS08dfbmX9SuOfux5/t2gydmuygNpB9L0BJPFKY0UffQ2siV4KF/17JS91gVMxVZt
DkXyDlgmL8fpZ3EGb5m9lJlWxIeOi6534jzQQGFDxGGgtfU1MTxM1wk7ky31qI2sqSfixZ+IrgwG
njY0OHJ7EPvne/peAmwlp5FfJXNXyxLzeuknpLrENKdZCx8qal3hCB5fnITqoeegoUZAd7v7bUSU
G8vFusBA9MQYrz5GJIeQKX1Ahqaae3O7UzfXDJUD+cDslU5tArY89OQTAGBIXvRFcoEKDH0mtMmS
gINji9c54q1lR7yzd6bbVt1xSG56AFRW7wC2v+Rb7vpt7HJydg0X0M4wnYiEHpaB8Dse+AN2HBHR
RGCrZ+qk66EW6wedertnSdubobvRnnSqW9rLzME6X2Q4GLl/24y/hCGQjUN6lTvsfVBqWJoNzmDJ
kmxUzPhdBbQVgQE/TeRSxRuV4vbA4U4sFKutRbWJ5iiqraP0kCzEseWvur3KB+07mRyd1UM7EgED
IFY8Nhd5z70HutbznXqaXocvIuCNjcUvO5g78dc48wVYr08vfZ8SqzX8/ikytwl1OiqEJjqVUrTn
tHYS+bmasF6jrq7vQah31+T++FfXwO978r/GQY4yjVBrCF0Sev+RkF9lQl8umzSkHM/vf6fGFKEl
lwdNX09YuXdmlnqBBKz8sQdZ0MkuCX35vB6rWwa2LTcYwzsEWUzp6iIjy7iJ6AKWq1Ydytrn5t0I
SIwzJ0TVAW+4L4iPQjVCLU33qMWP8iqo3WQYtIkJ8DPik4hhRMjmDJWPNByxn8FN64AF0quoBPm6
oQMVBuQf4ZaH4c0s8gUJhEI9M96dOeZrsx0cze2+zXl110FtRul7B78G2tFQ3rMOToq9cUfSPa1h
8WdGmFXH7rY6Rs+t8dpsiU4AhiZIbEtAtWv+6ogY4297kdiOVVnBtzddGc/yJrlsgnAtSOnArdec
OCbHhBBOSDB1BXK7dE+0Ldfe2m5KXZOJTOoioydG84HDYQ6w8kfzXrJlwyF16c6mxi/SIUiErJM6
Xwc02t8J1+Wul1AfJPZsuAmdboRBcrTOf7nbxH+onv94Hta56z+WkkLZxF1YAfJMkND0NsBuEBye
KMQ4IQva5hB6glfZQobvbMud9L+vVun31fnP59HEImFsNPMfjXqG1pZKOPDzlSO/8mSTPHJYSavM
SbAC47wTH0P42dQC5NwmbggBBhrlKmT3cSY+y1sGGh+Ny2H0ugNZRIj1uIiSPVPy7v6x2YUkiTjm
WYWaip0cuSOHSHMJrzx7jIqlm/no/PzKKx+7FwQLLoy3RYTITvWJ6wTsTm2EnYs1BE1ACAnDhoVQ
Zo/n2EZycML68DBZD8luPCVX/XPac5XjKTbcXrCrR9JRAkaqNahAvdZ+EUT4vpdVwe31nyt6Tg3a
1pMfssPXsgcNp3SXpBUEmwBjzDXIT1yEUQXIBFjZi3EJQc0ChsT1fxGc8TnhOjrHiMmIidgERUB4
zIvqqKh2QHNc84oXfcA4+2YEplW+YGL2YKZ3ynn9Y/Ud6DBT6saOt98p4YnjdnSrSwHSgxXKwmB+
zY8SyZXz6YgsoPbetIN5zALc5v5qfSP0yCuxaHzzit82vvCrKyGbdHvcRefs8+5kJ6Kf7PJqBmik
oARYMyt39lFfROTRjNb8sLz972dJNP/Nma5jhhJZPnVRg7X982Gu51xMBtPOGrcUD8S/bTjWCs9I
ghKZClZuc3MbyvPQ2OTMpBvBrjs/YkMzt2PtoVpKARokSkL69nPp7wR53RraXzoPxYtwv+pcZ6Mj
r1Nf+aTmhGbZs0P45Km6kW1Ct/yA+8rWCSdGL3dj9oBQub9Di6Pu4slmRg7ACa+LjSGCf+K9R1yQ
R3uAzOl1nK3kJwcxuq+HzgtIFRFfwCj8fP6qIPQUiDsEbTTOC3ICodnxmlgtRNvsVjldejXXsNOQ
l/NRfBQ/yLtWcRsyrex+gsbM8ToLs5tg2Oo4gm8scFhV24f5HTRvcQi+bT1Syu0W4595P+rxQ3bK
fzUH9VFSSQrbDofCTzl5iV84iS0xZxcFZXYXjJ6A6DlyFG2/2VGMs+8ppTsMNZGLxCbwlVVviuEj
u/xsPw1LOwoBb/F0Nh6UB2Dny3JeA3lFIPBfzF9va7TSdFW+aE+lrIW7hBzyZ3I+0SdaCEGeGLnR
PKmFzYjqpx7bNkAjoSV4WjCl7orz3UdkQIx2gb4Foa2N9GQlyH80fS/9dL/YxkMP3sNZXsDIYhub
MXLyhCN5311MDVgYhd422RlBoTvpY6d+NKGH/oVPGnGNWYNm+hPsqAThdSfXO2td1aW6mlMH7hcC
3a6+MUoA9TP2oFFE424j/sZouYu9/qW2F3e+rRcalA5DQ+lWpKUjl+MbwgCP9hjyuD8aqy4+vqDk
R9SHftAhRovktiSYmcIwRUEYodc+mLtstSddluSRcc6ZjW2N9mb97kIHsY+TevGG924FZxFqnFC+
7aRTCWk6fpW9N7QO29dmgxDypUKhxaeCIhhT5oGBBCJe5q3HvfgZQzm7WOMICW6dhJ0Pxcn0CNdQ
zVu0f6xps76qd0KeVZbp2EXPSHGehOmYkHsUjvzbEE/o6IgE/0K0g50J4Tkhm2T0bNHqzrb4MWq+
eRqwmYi7zszYIxAcwcuQ3Gk8j/vUgdYluxqnsTO5/cYPxWMkwl6xZKhbvK12tMOUdGW/JuIHWATq
ke4dtvHuwiLDqdQSUwKK6OLQRU8nP3WElkV+65HxRLxbiUKVjrWHNZZu/S5YAdnH7R6Z8O/4LATK
HhsC1uULXNuFkAvI9i1jrJVfNSQpto+teeO2LapreisYTSS/rwK9wlp40+dHfmOuq2/y/GukN5zY
eE0gvyoSZ9AF0QBgwdJd1qiqjJBI6/5sBDlKHn6DXzjNv+euX1OkOmKKY7+tPoinZp27n8xfEqAH
sgxtx7JHSZiFY0l+nC1TviWYyDi/uFGz/PGe+fQDzSjI14Q7Ckxdw7yRl01vY4xbF2X4cmJGyvgN
jchbEpaRknCN2m3ROCNBJb+QgD+HnA7Kw9sf/XGNbVglEKFXonpQ4MkwqQQyIqkGB8H8GUPPrA4/
q+gfEKsn7ww/tVeQi4C6H4RnCwiAVkYzL9Hd58TYdZ2Xt87KrY2JLxg78jcHLvUVNdzke/ZGDMPJ
Z4shu75Jn1lxDCeMIB+Appg2ccwMMqwee2hxUwVSkjy1gc8g5pciJitmbNluiCOOJJ/HVMeKvurr
kXavICSTHwgFlzrfpIFwMeYMi3AfCRbjueU0xOLOqOZoqMDsBfGavA9fOcww9Iq4ocWTRDwcmP+h
Mx2ptjEWlYFE3+MnAXVwVWBKg7jXwHTskVDHtaw2qTwYrRFRVF//IAjJXsTv5qgjcbgzkpJvador
4m3JvPHDj6CgxKiJ9NmvX6nhe0m+QmXPzgRJhrEFDRq7sFVR7yA9l5lDTNZMbgGe7zs3XhM0+KMB
txl/XAGd2X3NDlfDa6Zu07dK3vXCBSqvX4mXba0HePCK2c9e8uEJJNOCZJf0XSI9SOJDwr1PRo7J
qzwAwrzgcGZ2QO++10oIRWdjWO9t4ffDQ8wqpFsZMqCW3+EiplAU1AvYlOYQwqhzEnjq6/zODUyS
ZkOIHdgw543sTBTNTeuXnqTzdjwMz8MDxQGguDky5J6kXulNWGPKW3vmY3KJNuxhc7AiHLTqPMqH
35JlIdtJCDwQZhReJe8nn72W1KP2gNzMinObzKSo9bvSIcelq5yw2kqX5BvpF7PQIR7cKPM02nTy
YFhcNJxQlshd+byM/qRGfpx6G095X9HjgDt2nwYbixAB3m5u3WPMKUuFwWk9yrNT89QdyktHGB7f
eXE/+NWuCaBXI/kp8Uu3/V7YTlZx4nBAWVly3aP09qIdJdrLy+TraCnKU7rwz6Oa7D7weHq6gxHn
Q2iOvBifUPsdqueZbErjFPfnerzOUrBax+SY7wsEnrAt+GqCPbNJmDym2IaP4q3A+c6CSrIhIDRx
USDkoJcXXMYi7/EVLZKNw2dRHeL4xg22aLeJPRk7hsgHpVi9t0n8Qn+p2Y8qYj1VzpUTlU9QoEQJ
/FCLh72kPS/SETgT0W1P8qgLCYZKJ/xYUPTwWWfPU+SR0bt88c7qwB8wkmTp3F1yaic0XZ0zPM1I
ozAkG84Ih9Y7XA0yHLdgrbavhe4K1MX7VnDn6ow4lKEKVb4T8UiQ8iDTyhrMQ5Dx23DnkbXpZA/o
r/h3wMHTB1I44N/TXwW4iF9/ztJ7Eh5CGQJ85Ia482HwkA4Pm/tJVZHHWY3E/GF3wo582YUIqETb
QyOPMikP7cPAFIY07wsVVca886kO/gqHkUWnHQm2vBGF/kRcDQeBGkTnCcCrdoeJrGXIsMemJp69
pqYJV2zuNV9a/xGV3wqeuPEwoqnjNxlEymM9E3weLdv9W9Jfw/jIQDC9rfoZtDQxuAsp16D0VrF5
JSTEZHCHgsc3D8fBuiK/LLgZZuYX7DNkvlyK2hWZdBJi8Kyh3QsEjS+ehApo1RMkjkH6wd2JhNuc
7imRiaFQEYN+ECagjgyhyJyrz/S8+Igf+Kok2RYoYS99EUFSeO1bb+s77VdGGHET2h1luevdxmmi
v3UOSXpkioI99+Ie537qFfPrlLFh1TlBjXLPpC0+88ZUJ9oBuMX7K/51sf3oMUZOL5mMX5Dw/xfi
2ExvoVoCjQ+9BtzG5v00J6Spcd8jISI+GoeWJWTUEH+rAsD7z5DtcEXzOkDAVUc0EJNbEttdtytN
IoA70x1mFSTmLSai6O7B6CiEyd2F75Gts3pNCewiAYjBHObkuybk18FePSCagcPCPReX+EYDovlQ
zym1nywuVTAC40NIgNEc5BuP95+xcTacfLr1KQsojSZWhL1li84cLaCeUi9CTGRgJHtNP3OdqXSi
EFA73vLl14ZJoSXYZ5+7GG3aZD/Vj9VXErFL4c3Ty3fd8MvEaVkhE4dUShEjn40cnCVuOvz25SJk
huhDnzjHhzBHfXnrJEDd0xpjy/KgIuPvDgXupRqLkCVSZDk5pApkQTagkiP3Rx4tgoi7slxVCRm8
l+xQIrbK//Fjl46RW2Ti0f0m3Blt1/SkSTob0ilGsmkgeoEuJ9DNF6qdENom3+TMEk68dkaEdwxz
3mSlYqAB9xvWjE7j647rzs/I48MibEA70HnkGCATMwqLYDH3Y+ir6XXZgMENT0r5JODw6Qj64xXZ
7NvpmqUYFJ6+5jEtwOUBgWwRmhSdmIOX7rNtn0daAjr2e67S4Ur7UmkQqOealNXhsY59od0TUACW
DF2DXanyZXU3BLHF864SBQY2Yk0OWXQh7BDgIUPXSX8AiVqs6Rb1jtJ4g0HkIrG8tGj40WsBA4O3
Xz6IvFmLC+4bgveX9LAA6s9uRyY6caOWdl5tOoPTdJgs7Sm3zemwqB4FU/hiuRPQAzFoxkwcN7SK
I0MSPzwJRvYhuGO+WlKJ+nvitWG/4Vv0xmpRVbsEF34Z+gw0GGjVV+VKPklmJS9l+aDrztjtMzgk
jUOxtgwgqPxU4/o0Hiok+/rmPRVOJcnx6r4iLwNjVQrw7d15EjAI90FSwxcyDMbqO98eYpVOM8Et
ERoVfmhaOELoVLKt5xfG93g4c+U2fCqjO643sGcMniHsqE2qw0dReivTl1AlgcT9jcDV4quMJJ9Q
0EzFebBHAz6KFxJ3IK0qayPsSKi+tf1eH98oFSQ5YGEcYsj5XlUXzOdNs239ejWAg8Af4oO5Ws5R
ta9myew9IbZ1w5GzDa/KNXphapFO/U67MgXyysH+aBSBWOppDbtO6qMyus2d00X/roeDsTlpGfue
sBto4CVmT+Ow7qTSNtrX+X7Fj2k+orLRtKBpTxF5wGQ2i6SdHHUviT1tc5G7B605KsJRaC53nLqJ
S/FOX73WSL3QcwH7EY+gX4heJNWJai+US+9IuVz6ASLOYyk893h0SfeuXbSN5oZd1xvXyGg0L+6d
gGXgRB4TzS1EJpdrZAYdqOV8pkFSrk85CjbTKtjLKy/8Gn761XeSLCeiZcvwVMk/YfUGj0yn1ly+
jbAeY0+Svc0koTxyrI1IW7GW4ryCgSHkxV2i1w2rb8t34cqMdk/4gjIlG9+l+ZJvrlGGjyN9LVKv
j3bFeEzDJy73eg3RZYxHbBGqD8b8ojwh1Kn2ZKA1Vkyx5HIw+e3Wj83vIv7cR0UPuvYhFZ+KzJV6
p4BMHZ15ejLwpmEiOZK5DJ4KglrxIc/pIUkP5iggvN1mwLfo37rDSnEQVZG7enmBX8HvRnilRmM9
ETVlp7D4+lxhus2Di75V8Pgk8MMwr49AyR7iFjLaiCAuT2SwsLUwRw3dW6odNCI4IvG5hnnzO/Tt
FbLGLVFziV174iV60R83KAry9B1dCZJMcDXiO9DtOBHL7K4FMcc4k+5y+RSjLuDzoner2PN4YZqx
12jT/YJunugj0uAilsgDPg31xj6GrK1UP/XquhYbCE67OUqI+zco7MiigpAeDqpLF1tW3zA8mvzw
8LgCU/2Rsd9M3ueNR/9Ktxds4rKx5ui6F30Ar1oSNHT60owvJcmgDZ/tQ3hHpOM06xkfdPWVZT9C
ngB7sioN8W2lwnbgbh73w0P5gLDkkh6Zw89Y13F0PPOuE7XL1Eg/CMBt7lZO/8kMujyLRHEb7zSQ
rdR3/p7YY+1UCCQJpSeTEQWWmuEXHtx6fIoJfUq+cJD00V+AaNH4h8AA/x30LvihIiq6tPnDgpdI
y9CHClYPcsO6ndAEYk6qmR21SEb3ifY69RboAZzbWNkmqAJKDTwSjOG6VWr0ONC5s6MnemKT73/F
7RkaeoMaEL7jbtpa/YitUjaOLQhNUQF12DU2MhoCf+a1sUogpoV+Tg79jyh6nasL+Z8IxxE2yK+S
Ewq3yCkRXlNFsQVF0c40sQjORmT6e1V3pIuxKa+KkajAA0Zmkv5tREg33IXiAGYtUrshcuVfMS4W
bnf+vrdXN1n5QF5+o7gimDoClf6oesmv/P+oO6/lOLIra7+KQvfZkd5MzPwRUzbLAwWPmwwABNN7
n0//f4dUR4NFDqi+VKilEJsksird2Wfvtb7VIolZhmuPjUUvJsUU3tkpXnM0i877Urkr6UzAPHyj
hSIf5XifTEi6nRPBd4WxguuDlVRtt4GYZNIBxDmK4hMIDW15dVleNw8DDjmYBmSZ07KcFqhopAC7
8QqHX6cuY/PIB5aJTQN3cWPyoCyqJSI2UK9Y8NkHEU1tLTJEo9Oqwo1LIZavo2Lt8NhjaUU6jlNe
IBkFeZVbqWTLC+yXcdPNiL17SZX4Wm/SFfi+lcG3XUz6ArXo571o7VeGzo93k7jbPo5VRrOR5IG7
qVmU5s5kC4bTalrq9yM9mn1yU+3SvXGMbrIH0GTevjwgOlzCu8q+TuOM/cesu6MJgIJb9Rbabxrl
mvnLex2wKLpo2eB2vxDTOE3sR6VQonXlAp2r9oXd+BUC5Lv8GYUS0mVmrayB8YONcGMe3rPBw2yi
vCZPmbFE6ku4TQm0hFN5Tg7EojCrwbLKJE+YyF02vWyQUMJgwLONVfKUP2vQ0PQn22IbLt04hH3U
KNBB6mxoO/rRpublyayBCeMZlQFBnphFbepJ5pPBFYkL9gaWrFU9ygqWvahfa6z51nYw1s7wpldH
pblR6kVgQAhnGSaHhuNMrtXdM92L7yOxU0qwSNEabegqj7O2hSRJm9RjC2DMdXstEb4wLKKvwpnJ
VBYB0DdArI8yFMnsQlV3lJasM99a9wxAsd/MGb54+YoEXO5w/SRnK5RgJzpti4GCAM9Vx0g3WoCR
EmnxM+XAU2PP4Cto77SvkdaYgOl66iI+EL0o4OQuLdxopaMrxcbPrwJhMIrsVUxlOIGXzMjooTLH
oOIjZdUe9eStSJ6KuqGl8TxBnWYdzXdWt+VK5ZvO5atBNeDdHwBjxM29NDQ3Da9gVIocHkQCEZxS
CuZlqy0mpAoJEyUhgEwimj3NdBeH50h6aEMCco68vWntgMah1Z4HcKeXFcITXOMbPPFYRHuB6ko8
18ZgymyKCXI7KxgIWUvk35gzYXp3a3lHy6p7z7bEm2yya/uoP0Tv/pu+K9BGz1E5VUwJjHDuvSrA
8hG2zas7NoTIa2bTDYURNSRseuS5YqHArV0cQXFgiO/EQECjx4BAZSkHQsYbyE+4QzCjkgLBvix6
QefLDyBASb2GEo0ly83xRcyr5/GWvjlbC01Cd2dC941mJdeJO3ukRRdfVzh66If04ov4uC8YETC7
VuaatKqzr1FNCYm+LxGYx4rK298GGDjUXdSeVPWuHfdJgNKZfsu8yBajRF1ncqL8ua27GZQZyA4z
SChpRbAGQ6X4yqcQLPfAutWBukS5w1NE9g171bbYCHSPAF6vR9IgmKWI/mW6Ktb2XHJpsX/+BrN+
NRg2FPSVGjJjXVMvnIekXeeyrhJKALgEbXfK3gfCF9ikHrdwxgiqCM5ycY+Nnl1YyPiFDj8lsWfM
pjfcsuxv7UXHQPNL0BxD9hv6cYzBo+Qr/cpfI1MbCjZKczvzoQaqPEsbiRMk8F76Kt8Yazp1DUKl
9UiIRwdymzKIb31nlgvaIXOFN4Zw55s7vTiY4Jo9f5EKx/ZszCGPUIzsFJOdF8myzM3Ye699W1s1
EATBin9+on4uHIQ4jHrCFsHHimxeFA5mOph1mEzCoulZR9rNlbMd5S0zoEBEOl3Z4xwmLwlJB+jH
or2X80E31rkntCXDVXgVS6zA1GrzAYX/Dt7lu3WUIYRIs+hGuKryfeO+ZffjnuCKcGM/+vWmrx+d
9kWiKmRTiNBvXh6am3wtuobdPc30gyBTonDCIkwNN9e+mMf2gem94AChXIebEGZXNa6Yg7VPqJPn
X4h2YnOU7fX6N+zonxcbcX6YyDogEB1TuTw/shaNhtUYwocG14p8PwYolOdivz0LvtD8Xwz75C3C
HIK7ZWW9CRbewHQe6Jlb4bZ56e/S80AxDlYQzO68Xhf6ZhQ3BDU3W80csTZStRn+NLqc1OMrJk5X
JCss6QxhPjl21xBmNBrR+Baf+xtsYgy0p/RV1Lyf3ws/S58vvuvFst+DgTSUlO/absMjL4q9TVWS
LLUHFCekis38KzxtfPkM5xYmavM35/pnz584vvaX+PliAC5XfRdO6Cw4PnlaFZ64HTyrI2eHbWEK
znmtLpDEZvvPv7f+U0FxcdwLkXkQx41TSej1gD6gpBqV2wRgsuAGu7SXko21EllH8sZ4VZeEdeCH
BAT53D3YW81VJZfVUzpjAK9WdJSUtWFeU6QO8JEfhxe6uyR+lvj8WfjwtpG9/eXbp/9bofD/eXHv
XIJ/N+79f9P3Knx7yd5/DHvnJ7y/1M3//FMy9T8MUzdwlOiowhxbx0TQv3//LeMPstp1C/c7Njpb
UakV/wp7Z3VwFEfXbWJHccj/8x9/hr1bf5hkssuO4bCXMg1eCv/vv9+G/yIsHO/56OdZffHrjyG/
HP2DhYGgAaK0ZdyU3Nc2mjXj4q6WbFXt/YxK2Im7lRri9bK937zFxY/4S4b08yEubmCTN7yj9Rxi
INPXzoOVCeEe6XMHgCcM+t2Hi/GvL/jxC4mf9vPREKgAH0P0pF4sGY3UxX4jy+jHR8SD2SnX032e
YzADHpVHt1Lebj4/4MWL6fv3QxEDghDumY5B58f9iGPkVSlP2JLsrttBrGKsmttMnBR5UXoj3Tza
gUQO51iX9SDehul4bEYdJ7PmipM9otaswL3Jknnz+Sf71alQMN0rNtB1PuFFmaFEupLk0+Dhf5PO
hZa4QS+K03bni2tdkX+YDL97S/74tvrXyfhwTHG/fdic6ao/mrKMVCfGpTYZYDuSFws/KCLaAvd7
QeFBct08A6onRYzoB+d378tfXP+PX5pn6uMHaOzYNKqSL12gzY/kYBvosfv5eb2wN33/kqZDWWLK
FjD9y3ssssYut/2GK+4x3pOz54yaU+JYcXR0unFjpvqhM9tdjf/YafIrGhqTla1/8ynEN7m806GU
C0S5iuj08tGtdKNV45hZkNmhyWS2iKJ5ohU51gmTQWdflAHpTBDYwm1kONwAWDXG+zK174K6OX3+
YbQfrUHfTwk9Hg3ur6ISISvuiw/X3fFG29e6lB01xBg2f8mQEojKDB6HkGTSdRcOHhSsECrvMiYJ
eYgCCeeIOupbB/xDUw7gmIejraIQYprcKt4yw5rgIxOJeGblKNm3Bd10h8Y+E2SdeSXqBANvfdf+
Vrn5q7cij7KtIqo2eLIvXiJlVWSmHuCuaPSJUELK3RrXgZBioRZPy25dBDnGVaYAXruEPHVQebpG
5ylgY/j5iRUvj8uLjCuHxAbVwe1timbIh/OaehYPcJ8hfSsXMkbksB/XTpVeFTm4WhQ+GikCwW/u
74uS4/vFtGUbRSkRNCxDF4uC5tuKVzUImWP5NgJ/YhC4OPUh7h7EMVNPZKkYUT0qbMzkyNhiSWPg
RfZILO3FGy1CJ+yM0l4dnX0rcPmtvxIP/4TJRgrZ7Vv+tRkTbuSc8gkodzgfNfNGG0cm18PajnwG
ygxFivJU+ABZp5FtKk2PEo0HyejG1C75XKPxOwG39o0W+9PJtrBB6ZYl45O6uOxTYNux1Fj0FFG4
KXq6KJztlKSurT2rA0yqtEG8cGViTko8E7su4voGrCfyxAyZfDi0OIHhHSnpvolfWuZbThptIw2R
ah4+DQMQAR1AEpmt/XAqubEHSSc7qyNkCDl36ewtBfBP1NOOSd3M6lZJReIm+q1pis5jFbtdhWcb
55iFry0pIBiiQ1KtxB3UbjloyHCIGMtSYrm5XuKEy+w+aiAuY0M7lfZCj/wywK9Ry9GWluhyKJn9
NEweciIKkQw6/VELpCOhOBjjy1Pn90fZHlzzyb+tgmI3EtcAfnYjN83MCaSlHhFPOWpbAx9YHKkH
k95R3DGt99O9w+DG42nIQ76GSL6iayo+mgkCsu39de/wPNNAaTNoJ+o2ojHDO7sxk6dybLCigNBQ
2YuJVkA9rEsyEkfS5aZBZcqJFNNuGO1dyZrqijPfkPuRQ4Qc/X6l6uF2qHzgetg2tA7Xsb6V+FG8
lNCcIlGOD7grD7Y/EtmImgrFZkOwRV4n6z71ofyBj8ddPdT00yV0TEU1HNWeL6aTnKwQiho3J6v2
zx5uQf22LOpVaoJ1n4JtXXTkEgfXVZZc+YASLZg/DntiyQ+Wrd+cbJsAA8ECGbC3WFd2lsBkJ/PX
D5dJ0XFPa64nOQgg7wxNd03Tpr3GCmnwuUcHLxcj2pmJmQ0NlkYapI3+yVuK92Vufg24umIREle8
TE6UkgstW+rl82h4t0lQuQXBZCHwf3GLBFj3Bh+TkikYqS1YGd7H0+BGsxQIpRHyBMu3MqYe8SKe
OcK/QtEgQUtLAG5WmbQXh8u7ae1P9cnhp1kBckeSD3UEs4l9E/u0kNl9i4NZMKWmBDG32axCzkTn
c6ZYDGKkZ4Dk52WbbUKGq1ayN41mM0gTstODUrWbhh6GBFJDol9RQCzNVGcfobEsBlS5MGzFO1kK
5XXsGSTSz+0kWKt8ozIyXD/2cUMH54S+f5WlriwhvkMC0xLrzXhUiq/x06sRugmFQizFsmJ3K+bx
mXQj/o3Rcb25JEPdYpTyVraAVhrmXZ0ETNuhnXQSGehMumyExAGlbJTSgAdrJj5S0Rqz1IKkiZS3
LlGPsBpm3JzDFM6lhhsUnwRebNPgo6ZsJcFi8Le0HAYUci6ZazFxERPUl+E40tRwULywqeuJttT4
/ghO/WHp6eJAyUKcUZt7LNchLOFx80E0Zj21Fv1VO2G5BFuQ8t/C5C1jjmQzdoSUQ/lhpNXL5Dmi
Jc1ltCcSH47/tjXLMT8v4IuF5riIWLoTY1pLHXJkHTkZgkcyhDA6Squho6D1wUQE9IRrUL8KkN2A
zFPZ2lb+V3ZD23hEdlhzqCFYi5u5McOtwcuoT9OrCnccs6aST5LQArZUHw8LgWYJhYHO/a/e2gr2
XSXaGgqzPK6uqCFihutKFT7V1Aw6k/WQprbuMdhk25+mbt9zkHhkSIKOW6LLaTx9vh7/quhyRKvB
lEmXcC6LrqkqzcRuVAePSXWybBrEGVF4hvqbJfhiyPF9CXaAeFtI8U1b+eY1+rDuR56eFCUObKTQ
xjaNGE7yDStEA35CiiXvtpwIFBlKRDimIK2RzVaIAQDqltwVyFFtSk+Px2+qIeIN2DzIZ5cN70Hr
4mdfuW2YN3tFdfJ4sdjNgzUke0+m50wJ+fn5usC8/flFoLNbsDdNQ7vYhDRaFGSpB6vUD6Mnrz8Z
JdJ4Ayjh4NxSRxxiHWemobuRqjF1oIwGG+NnT4rJCFNTMa7w4Ee6ayvNjv3bb6qri6bOvz4d05pv
RbRifquEPpxm1Uj6REto6ow9bwup2dQ5JOVseh2aad2gbZgcFGfMLiy7JkOlfAmtZl5adJh16Tfb
5F/eWR8+ysWJGrpUSmuLj2Jow9Eq0fcHefES1dbt51fkW3f5osqxZEXXSACzFO6wi+quS8pQUhsa
SlPPjEPWD6YlLfNKZ1qeLXo75lyzQevg8FrjouXdlE5IFNRuN+K6daSVWDYcr9pIMphJx9n7+Skn
bD5teUUE7W+288ovTgu1GK50y+RRUL/txT5cIdMfq8SqFNpuyOgkgCIBjctaYoG548oBu8ZlaDAE
4vbvkpQEKu6VKb4WL8WUeuPzc/eLVoaFvc+wWHXJh1IuTp0UWVpQDrKzSJXnAa1QLrc7sYsJqXiT
7HedhV/s34k20BTFUHTK8W/+rg9fXSp0K48TRtwqmtgWpXSEsYZQqkIdCfqhrGmeP/96mvyL7TuH
dBzbor9kGdbFTZiY1ZA2IYcsdCoSFsWWR9Wu/FUI3ACme5QgDfSoQEtSjPgjoqkRTsgO1HTvF8bW
62NX3DJ1zKBzq5cGpGx0JDq3x6S6xphQ1yT73mGSHYNDBJ4UZxSHsrecwmFV5PK6TTGj9N2yL/P5
BLGVv54O3ZKSa135/sE2031nIlJ89dGLFKl0M8T4TsuaVFzCBGxnH8bawQ6MbQPDMPSNbVyH2zql
Wq2i6xTZptUZrpqjfvfiTWW1u7Zl0k1AOu8fOSn3Fe4Lp12IeQq3VzNQz0fBsik0XLRwtoiO0YQ8
jIOK/oVY0MUzISrwln+XIZkSb7giYauQ+QeJOSMzPKVtTvrIHcoeYJz0rSJPa5udnHjyWodluK5O
EjWVVDBLdUiRxUIual7WvRrnEDWzDErR16WFlLMvbqKtH8RfO55VjTaO3g5n6ZXO4qmkTOo4gUY4
reMIxXTBpiGsN4pCJC/1s1KCqIUQ2XXLrEtcjyI+kKWzzeDPUBiT9/5WAsDdWOpWV5udiRSwiHZi
uRkrfesh5wXakUD4wRUUS7vaASolc7pzZ183LCGdvddw/ybDYagTMms65kKYBonc9SguElpCBR0x
GSV6WN+OZCnRTpuPrGKiUvSEaJAaOuhepPjGTJCMs0cp2S5ZgJrqxtmPTCaTKtj2UKjEleia8iSn
/tkZMZAkMBPZLfADwgmDTLoTfSbNuTFaWgSDdujrZ81IXIONZ2r5aydlKxEH64HLEXSvUV+gpbyt
OlbWkMG1w65CDuchdY8aQ4Sz6m1qvpnZM/9EFFrG5EPJIoWYdJ6qGdctVFWlTZaStampqfRmp5Tj
OuR95cjKGw54CnjtUEsDxhTrzmN37DlsJLLxKD6mw9qrxxRBEbcR189HTupMFKAwPw1zOBrpqTZv
tTbfRxVbvPoZnvS87IGHU3zaHoUvtDOl0LY9+VLFGGy10ZiJ3kUQ4okbUebntGVoueRGfJ3RhhHd
XjjTbCwPGWk0lWy4UsVl4Ee1JRPpUPJgeI/xE3W/PqxqaWQyPhzFfWsOI3FgSOx7gJQ8c6IASZ0a
NkW8H6k2dDklRamnLdJsTFaQxuPxQXCisqcLbWqMHgGz1C5N/C8Z+h8ZXJuVc5rxk2khF4jtkYKh
dOhvx+A4yc1vEOc/d+9M2TBpxWvgc1SHDeuPLRXSK6KW88NOC8GE2LWk+sAYuN1NbATErSbqjTD2
byyLT6wDQmbwWmnO+fOX7Y9DYEoPPgY9f5Omu6byfr/olOZyKVeyxhC4Tri72et4vhjx0kdKm9+U
OZr608IlOpWmpanY0k2bt/uP31nJHCnLJN9e6Ea0lYTUPhibCj5UcE7Js6FV3qrli+io1Xp8LRnB
smSRCbSRoeuXno1na4BQLIPzmNu3ccebS1O3snM7tLxgAmZICa2doX81dZo5TrsJTCyKit3vBtTm
EYdL2zstj57HDjufZEr7CJF8P9YbAz9RPqLBtxl1i52YReOgKHi4QsNVRjaEIORttV/3Jhp2usWT
iSizt8e1NU5I1nUCs9PY9bx257DhyC3tkMe0JGhF1FZ4Zo9yrnk806o/OkKLn9Fpz3uANk0/U2v5
2Ynx1cY3UiC5eeJnizAwSRdAed0G/kNkE0BimtMxUwCxNrygw7TbFUjSYmiShnOjTjRfMt7tU7rX
K3gafXJbgzjSwmspzq+aKsWwSPVtNMqbqQmmBs+LBOc83TY1tzxcn1H1mMCmC7GDG4pnOTZnWS+R
otCRMyZtIR6I7kbCzjRU7Jumy5/VNOCNHWzNaHJNXuijnLi63rxKVfA+DiZyFJu20XjTSAAaTHpS
vEAkWnS1L52Npn5JKeWKPnWlzrvJTSpxDWWnX0r7NPYfGoKOQ4dGQuxGAUKvvvTgNXVL3k7b/r4v
2D2H0daz8d8YRIEbrPCinaBm+VVP70vjc4jGXe3757KRV6xBWiyik+29pDo3MR+DnjXJ5M1KrGil
zB6xKlcjviObblEiEW3HTVAjGdGI1BsUdsDcaSNNL82kMkVFO/hPLQAUzB3bIupBjPjISSjQC+tO
6ckkb9q5kmT7wAH3CPNJL6TFt0M5kesjww8zfZvQcrQaeivomcRa4gTpIjawEaMLNOskxqPMGkwR
MErXogdigvT0IGAnMV+/TvZW/0UO5E0cMe+OWC+l6Zz29qvEw5tk3WuLwwP7ArTQXjdvcynZf8uI
tb96PUIUp187HmmBItxG9+idWPAUwrsGlY2XRAgZR6jNYud6m9j6TSTvlcY/hVV71BI8kbwcSydF
AbgQbaWI5Uls+IyqOhVy86rTuAj69k5Hy9Fl4aOJbFUPanQbTvoSxthR1GKNkfu6aaz7UsMpMGC1
U3EMGz5i5GgZ9t7TqKoap9G6Ne30Sgd/lIGu6mwic3VX9AZ6bmKvtr8MFj0D0T5iOVcxw0rkthSe
vzSRtLQ5lskeKCTRoGlOfxQPXG1a61zRtk77bIYOtBRGFfmpkprXsIiudchaGlYCUUqLP8XEcCt2
9fQ993VN1maAqNt/E2VKWFYvtlKdqla6t/WB0kXZBumVZke0BSCGqiL3T+nmoj/uZ9nLpFarKNWw
KhpUrzrJBGzeInRHn7/Qf/GOtWWQgZbDxkCA+n58xzY0sNOxlq2F7fQUxoRgUx6JnmitZ3vRTvr8
cIp4Z/+wjzNVRo7sCDVNx5Z/Gecsh2YwaA0w3I6oB1+Nl6LgDLhAsikKKwlUEeL5HPe8+pv1RPl5
7RJgRAgnjm0yJrnUnYw2/87UUSsW9khcCRgaGj10H1zRxYnxedAlxbISP2vyS2BEe3aV+zBIgTwQ
V0CnyOfe/XY2/pbQ4DZP+ee/xd95y4uxovnVfBuF//WrQ/hW5XX+tfn0T63f8+NL+l5f/qEffjJT
9n99usVL8/LDL6jAw2a8bt+r8fxet8n3T8GAXvzJf/c3//H+7afcjsX7//zzLW+zRvw0P8yzH6QG
YtL2f4sVkMu/hNX7T3/jT3GC/QdZcbppyOhDaTQJBcKf4gT7DyEyYMMthmAaYoO/xAnqH5rCbzg8
WMzrEDX8JU5Q/5BVKF4OwgTE3qSM/x1xAlDBH+5xmyYFop5vYlqEEyZ9mh+fqULXpUoyUrRrPm4u
uSpQG7XM4CIffKzR70bFtghJwqgbDsqutgfkWq2JqdTWbkoroBmI5XrAHtDA/VW6lxyZpErWAfTk
fYvgzoZrb/X2wtTfxHtUqaZVGIaPMRZcPSIAr6b33RvbSkUQTSicWg/XvSndWUp0bnLcdSwuhc9c
orDXVariX9hNdrnQ22LWJuo16UA6buGQrcwQEMjhSFTOaycgrSo2NqoBbiwNiru8Ist4SpC0Z9X0
lY7grNWSr1VuJjNvHBCd6l69aAssDEO3kKUbDc5u2IYrE/ukjOk5IkhtKIp1R1BCVmKf9+8asmvC
ON71ijrvZTTofCdFW8vQAwPiCXQfKlFXstkc9esOJ0weHcK2ve0m7ykcPaBbCkQUXHUQUgbpZVDQ
W7GrKTKBPdVgiFuQrxoirrJgX2r3hUZfDPRerbwZvXzssxI1qKJ+nQw85RJ6e0oWiB82VlqbS4Ua
5SpTlFXQT2efHXiuwb8pSRBxev3YaMp60hsbLTKm68kiB4X9QXKrY74MfXj3k7rPQ+QE7RhuTNVa
aUP4aEHBq2rVwqL9FEbNg2eG6yRHU1oqEEK0ry0tAJuBm+2b63x89ExgLTlcLEndDrGzZc0HIY0V
sx+XoS0BCYHXV0GvbEp7mcq1PA/YxOdpO9OwTQ62tA4m7yy2jP4ENAHlccZ4UCqJzikQcZIK5kf9
yQGl6KVMTeNkrbfMCsvxHBhEe2MZ1sjh8AcGjJq2Gk14WlzKYgj3cedd1fGdHZB/IuU7s0i2kQ3U
Io6/tjZtGZ/rjlGUEEma8Ip0ZVl4PZLyrQjkK1Vy0Dj35J5I4d6uGyJkS3k7Vjdy4D2OVYfML2mP
ZiGyvwmUCyuS93plYwzBbvTHa88v1sag7p0U3JpSgJgZJhM1i76WJYIsAr5lkeB8RST0lS4YEdMT
2Zh478+9j8zaO7YBOHquPOnpRAhFS2VoXhSnfcwTE7hmPT44fvFmdiPl07oovJ1UP9sJHmqtxN/y
GFnMQDOJfUh2qznRu5cFp3iqycIu1S+2b23jAbz/WD+PFVVBP9SPQagnsJuqcFYn7Vepgztip49m
Yl5ZAZfKt50HL0Lq6w+YB6W61LgbCpQoaXpjS9OtTAbQh1fr1fel96P0iJflhwX5Xy8rh7EAc3qF
9fGiO+j3ipZbQ0VaoPrkhUhFQ7JfksfPDyK2hX+t+t8PojLYFFoAh/9z0aHLla7Sg4KDBJisc6ZG
en//+REuGsTfD0FaFosCO0Z2qOJ7fug7Tolv12anKaDY1evIlA7DEB2p9PfRZLu54SyTMr6pAwc0
eKXP9Mo5V0NOaBDIDSeLX6xMx9sISWhmDRr8Awz1kvPFKIDTSFa+zZLiq8bI/NuH/lvr/7+3uP/H
yREtboH/e4W/eXl9+XF554//ubxrf5ASa6EcgRxtc7OwfP65vPNbhs1VhlVHZ9l2+K0/tYcIDA1Z
RbBo8ldMRdxiH7SHCsRjRD4oGW26KH9neb+YvlA48BEYbkFt5jj6T/dy1ZhDgnqCrvbGAw9ANNEq
PpSLdBNC3OrCufEe3vyOYmzYP7bV/zwqgXAW3wGp0sUTNKr1NJA7BArMOXTlZmy/eHdxe4d8OhBE
J7z9yCpMOz+G7blS9wb6vKA4qNmxzI8AqMDG7piEH/JleGxVGn8zeFRb7065qpf1ffY0rXL6Z1/l
80hk2irby1vfxRVyDedlC36HgTQxX2cwgHp6QxGjQCA+NxtkCLCC3WwT31eApPHVbBQE+rNz92o8
aPsAYJW6RgPFaH1ut68+rClHmxvOjJBCDQ9PLriB8TEl42WNm3+T7EKg8SvY9+PzIDhMy2YHqiS/
NyuSX8clwbLv47G4VdAxLyNnZSKmBq47AKBYlndTszEgpygi4RGxPZ3JsrohdjCPNqhiRojvtwlm
joP/YMyEQ3EBsIv/6PODMzOX2cZYxVsF8NKwkuewMvixvOMhelgrqzqQ9HYg65PkYQiQw+t09kgQ
CGbtXXsPdcNkiH1ONiAC7otbUFObzG2fyIzBeYlHH/c9s4aVt4leqeIal/gGBeRHt+kJQoG+Y9Ey
ncGbv8KuNiyH0U0bQJeE5UAubl6Hc2PPNX/WzUu888LA0mo3HtpIOjchU9Q56CVU1t7aficj8zHZ
JBgNtdv+JbvRv+IygI0S1XNWrz08+mXzUFPz0J7naklz3HAHUCXz/CBZM+NtWHBtNfxJ180CX1py
lWwgKnRvzt5bBs+qW75Wa5hut945fUjW5K9iXC3ByAUzkiRGQGjEjAI9GRZcQWjM8/Yl3p2gz6+q
vbTS1wMk3K/63MvnJaCg6EZxofwtxkN5SFb+c7bS9uESEvJpcMmng4kmMmSQKyxAjG2zk7gCQJxD
fWZutGRZPKgnYWWe1Qv/1jr0L5ik1s4SeZO/TzeAn+AaULShsMf2uGzWJnKNN015otUUofjCUtfP
MBinSxVhr7K3ztbSOdQ4iAE779Nn/cm/Vr9IZ9JEfUS/AthKBUlHGVWbzfXUr2Dk+WAqiKKY2y7U
2A3dAVc9mbcgGQD+Hs2NwKonDkqWGYTb7AGHGWN/ovFyXNPEO1fgQ3o8CzQ93PBOOztnMSF/xE8N
Vlx/AjRr9nMDTw22RwVvtGvkW/+QE5kkqK2PIUce5nrymqlLaW7dUSUApfLzpwrEBXuPYg67mSCm
Gsr1arRdJ9pM2Trh0aczGnBfkeHFreqfZeJN6F57V3pFSw5VxvIbwHmOFxSLevsuGUv2IhaWBWcO
UjPDMZ4ytmQHv1FITJ0gceFDB+IESiQ7GOVLoJ6mdJsmewlTkjY3JSxrW+AT0TnsBd52nG46+7FW
r3p9nzXwDZy3SX5Wiye2Q+wJyNpTDk28yfRrs76NZeRfjkibOOg7e1WcvUd9TzDE4EBk3YcAuJN1
kawtOqCYZN3MXI3TisauHgu3JKafFPcW8MPORaOWQzcvFhooN2SlQM5y/ymS3AT8W8SkYQdyai+5
WUR0IVE6R4EIxdgLLg2nU2PuaXLZmasN67q+atqDU5/0YYlmSotXE/YTa8UwosjbmQJmTzsjBuoJ
Ss6Z+36vpv5W2fCfVxBQkH1SEIRZ849lWzcvTdjWP5YG/MU/SwP1D3SpGAxYeW3EpRpVw1+lgUyp
oNHBokJwKDM/lgagumWMCaqGF4bQ0o+lgY7PgSkD4hidH+D8ndKAccGPda6oDQwxiuZootd0GcNh
tU3hqL2iLJB99tGDPLpd6yakbbUzz5p7z8wRWIq6qiCx251I1CRfs1rCBissF1nx0ohX+PeNDdxS
c81PIXCxIYZ3xewuCO6ja1BVC2SrS/9YIlmCEM0fZq/oLyyHpBga11C9XdncMTORtHnRpW7QrQ14
/NU9ithcOfC/7MPHGgj7vnjKz7IFAgb0HMJQ1tVM/DA2z19SwCBfRmvXsXaPGvE7JxbqPluyHWPK
AjV/Mpc8l8gvwDFphtvcpAwB7lsmq9VSYL2zRdDOYih4zGb6Gea1aWDpSZ9JKeoinhN3ZEhKHg9b
WoSyrLqQU26HV83V9pwcGcbTqXutbnjZJ/bMOhu74MQGcB7upWcdYhQJyM/20wS95Svx3bz5qh46
N8w6lF8oMksWJ1YLetWdBKdim3cbvA21D8UFAx5BWq5yLAjMvPXzeXRinQy3yNOsVw0/Z7TgbS/J
y1pExjLcOalfzE16EBUPuLcGK+0j6DRVfuyMdRUCnFqF45afE5gHZzpD78PH3uK0Q6JGodMrQPgP
ZrVxCCLOsUjipJ4ZOTq7FUGvtb8thnqGzL3/4vCi5fVIbcB3iPQT+OQwJrdwW+UuweJW8ARYJQWg
bV/XJvsnV+6fxjuL6FUYnM/MoSRSzdY6mgOYWBuDy14dKgayJDCBBGIb/Qg6Wc4WA4wJbM5rYtST
5XCLSTgiGWagvfIS3I7UI9lJvOitNT7+kh8CV4Bw0FfUocK/thC2LajVi+BYdhsuWL5hHcweQPg4
Dz5sNbhd52kTXgt/G+dP0NbpcyOn/2q/cSeIzjqZcy+htPWpR41HB+LVuGwIlffQSy7S8apFN2Gv
ZFIFuYlYM5110275xDPI/wtWL0iN33MO33iHezNrC0AHVC43UfOakbMINvQuP2ourpF5DI7jpBSL
zmEEIuCbG/NG4qkjAJ2y3XDte2pQ89qZCWYk+LkHb4W24WAIehJ4dlBuX+G6NSsw9fW0FH+I0JDN
dISqUy2NbYv7tpwb3H4AgxnRNxJZ76sCmxsYYvJCiDoGD+FvvKfsYbo2Aty9C3b0gQcTfTVdWxzC
WgbGOr+Dip8/29JsQBELlYxYTSr0Zlm+mafqJf7SlKQAu0Txkp74RsAoE/n2ZronaGpKbzrFzZVZ
Sn+rmslsS/DUuoqCnPSsDHeKjYtaGHWCGb7n+C21t3GJ4hKE45eYNlv0NHq3qHW9FGrFCpA3jvpK
gIK1dwjPB3tWbhDtpM2y5e7h6e8X0rAsq0XNqyad55yAjHbeAsM80YiwJvCvK7CzCxc6NsRrzd5F
9KXwpE8v8Bf/P3tnsqQ4tq3pVymrUdWANDWgZlCDQr0EQvSOT2TeCiGQQAiE9PT1bc+893hExsmw
O71Wdiw9I09EINTtvda//obZioU7mn3wlHrbnwmy20na9HRPGo34qbGK9Fo2EuoTwi1a1ZEm7OJ1
LIIkzYB0OyUNhiPMNf2RMUkv7P/+4T7THht00sYgIqO4fuyavX8cxf19im+KjsVi+nG/T80BhoP7
XdtjG5njTlMTXjE5KG53Jh91pgwD+EKvFUkXcz1bpjEmTdiyAQGmW/1DfcGcCcKMC1/L2Z8tLE78
HKVo9yrcGLBvFvbmbvfKoAob71cBHFaB2Yd6HypgSm93uOhX2OxjjHALLNIVFxazIr9eDrNWn8u4
pGMLUzjXiyMp1DltQLfVbgnvxmOPOamlElwypztTvPMbHgjXszNiNkk00tkXLHzE1OoLppJnSld9
VV6hUcML8PCbMTGWP1BCxUMl0MkAPUOV2Jo6HPUlGTLfdutfoEjyTwjPnzsfBvJA7EiLRvJPs/qb
XhaCESbbp8/71zJxKKzGx8Yr1lz8zKOTqwf/HzxpuuD9//xPMYmjRvmHaumFcmkwfambvPwf/8ut
X8q3/OV/f6+a/vqIb3WTDpfiV3JO9Q8ZfqsCssDgA8nnN0iFOQsyRyxwKI0UQxQ7/4GoGH+AswBS
IJzSpRGf/F8pm35iS35hG2SEfTEGYXwwHfwRutPrAuu6slMRhMMdw0jAhQpAkK3qDebmJ627nzry
n0/PD5LS77DnFw/xGyQpHtgfDioAl294IbyPur+dOOhhArVtpsXE4s76JyxnJmcySzLvHmoz3TGS
46u5EGFwqc87bd0w/bKYiPc4tef2KJE8aZG/iH9Xr99u6S9eqRF17nfQ9G/fkIr2+zfs9/VDq+58
Q/0Rl6oFpFFtjE99dqJP6RzRwDcRPdreVn3QW7pvgFtRNFqZo+MR0CW599iaMP4sGU96Y0xL40Oq
Wumh4ZPUgUO0HqrrERuNC29KPmErJbodrJ5HQTv/55P54uf+/XIPR4RWUxozIPvxZIbXh5GeSwmv
9AmOuBYeuQHgzRo7uCYQIBAsr7iNMecHonlUY6gCaQgtR3UvL/psBB3vyXwTbv07fXudU5AwFcGO
D/uD60SvEYOwQpPWiOqLsCdvjyP9Ob5OKA8k94ZDwmB+ejeeoGFg8SFcvCDATJXo6GSgZCEbpqv4
AxuuPn6asCNtI6ahjX4n8pQlAdL900UQE+pvz1yrydfDoFTEg671gYINpAk88lhdn/fL1mtyW907
8hPE5QG5zbAHjD4whXjDuvVjbDkZfThXr8FuGV9DN8NTU5iVZ47xjipHw57bxkEy6EPszt/0EOMM
7M8U3E8w1OhI/oyGN3+0nwF9EG0SFQ4hd9Zje9zWr6nbkbKMZ+QLA5J4MMeToEr0l359IZUohJGH
zcgpuW9gWIr6QkdFNs4+oQYdPvwSUlEEheW+bm398+Iqkxv6GBz6dsKN+bj+Hftd+cVOY7JAylDz
eYNptn68iCgMqr7tuIiYmR3zF4n6GYsiwJhQGEORzRKDQMrnBKIrt9g/zAch2CcWgWLr/p387ssZ
6edbSj8qgFnEd+rXLf92S6X74H7uKmxzBY6qUafePALGp+10hMvIEqhrtH3IVCFW+g6lSEo0iKE4
ps+IeVtRFkM4mWgkNHrm/LTS3MarpyApInpEKE3dm8+Or8WYjA3x0dwiTR2t/vnFRLUunrp/OgVx
wb+dgi4/Rpmp4MauujesKOrXrEokeUXsjkIyHvbk4KQmtQqpUQxQdbixHUbC5rndDI6WOYBcaZwI
BQBivr8y2CVboAW3vJH+NR7MstJRn+hO5KuPLQ6WXyapODIIax2k3qwnQ4M4nXaK34tHyjuDT6x5
sdKcVDEA5D7lD2Na0UyaiT5jkmbleGnfXEJJ1Tw2nEsVXpHRkIxaWsg6mX2mH3w9Bk1jBcOT89Pp
s/p8PJUT+el6sTQPTqijPYODPaXTDGyKcfBTusbmuk86hqcrPqCKLhF0Z/+EDSwhquRBZ91k/zF8
TPBfPJk7EijxB0PhqR8c6rSLV/VkpEcKrbqpE6UXX4Yqp/F+cWTcJIcYuQkBlT2sZPJA8Qm1WvDl
Pp2Wh3Wq8m28pglPIxJdGuW5rbXxHqxWrR8vJqIjtfVut/duQ/FXvcDFC83Z/e1G+Sx+khcBZn2N
NpWj7sygcjoLgzYHu/P5aJd/YsxH/Aa6OoKgybPFXlwjIeUaCuv+PoFOaRdblBBexp+58kZnZx/i
XMemQLLVyBox8LawDLXpymwN0G/vtCHfQ3/C91AjvPs0LtcXfFNZZ0cfJLIvVKfB65TIegxFHAG4
Hp+P03qNJ5iG0TCJLWfG5c4A4db4FGGyyYeNGNfONJicJAd9ofEJwATGLr3NxJaWFRcgE8Egz0TU
lGNSvp/rnQDXT0ABXk5b2hLhvfxyTlxm8+uUTnS/NOPLGlMdAs+W5gm50Bh65PPXZnmNDsJSW436
LchEE/W+HA2qoI9Gk2o+eu3WxxlHZCW5L2/T/REH5TGejCtQWqB686kLJWYKDMrDIyY8b1AxkQ/G
WJcxLiE6xqm8827/LjnaS50YGCbwJN8WRIEwSanmFQkEEc7HcB62mLM/y1Hp4gH0XBOEzLasrzuI
opoNkTC+wr6mhBcbu+mcJjg6wu9bNpvaeXxK1Nd7G5AhpVWsxEm6YBbEiVs6kRGv9yXmgZhgCcCg
IasaO3tcmNd3XyHiGVzAJ/yPb1Ks91wpAJKrxxUxFxXXGcZVEaVFBJ0d9CUFWHbSo9+bCCOILXLY
j41zAukae1ruENb/zEiehghyfeWT5BMznYK67h31K39jj+sOsMxb/z7KY4lggkFw9spneY3Za7ci
LCS+Te7P3cXZ456b7APcVTmVHDd9fAC4bjIhsKzelxgyu1FF++PkTrDlZzOpV6xST8pnhh13eG6c
8yB8MBqRBGZM1BwIej8+f7bwWsh+DCkDjC8QnGpndgXNzmdZgUmvsOzmc93BLZGv0blfDPXJ1dxI
CP6BQ4xhfEJq2tsD/NWOo5nIvh6BndHq0tKACrfTemZCdZBslbgWYYf9dmZbNp8bldbbwqWUNQ5p
JS+KyO04MaE6LFlMH4Tcgyvhjoc91bQlIuaxfNhlgsUhe7H0IsYX96B6xvidofRx1uJgZnPihcOI
KFI2KvFPYBRceoiguBweLSz1yvcOU7MVz0V4mPGWqK88GtlafmUceKPbxbhRDs/kx/DeVB+IdRky
YafJEjbf27T07hHmyDEmlBKoAs3p1Oid7qVY6Fenn9yE47msINFGLvD0wKCYUqsJYXL0CPtjM4Do
z3KWXsf6O+b/wWOt+Y946J5s7GUxImPx8LBmpK4qPeLWUuuxY13NgM8W8vvjNs435KNRpGyIOxz2
jvmGV9x1w+IJN2XC59JYT+WnzhGvTUCc95LHVSmofc7EzNwnRVQv8XT2Mbj2TcfBz22Byx+DEsYz
wg1speGwN0x0cjTxZ8O/Gk9MDtSOTa7oEFHJwWvxlJTJd6nC6hnI4cXYoI2BDsOr8zjbt2eF6Yl4
ucWuTqSTczZCAhoH2+PbfR/r5ydZ+PL6DYlgz3cSoTAtRMt6vAb9ZOjRTtgkA9DIjPzjLt8UsWLh
Xz5Rl1lMqtWsBJKxsMGmDBNY1c0dzEWJfnX5uthTGngbLYbL7smwZQ+8410JHqGs+txM4EZgTNQ7
ZMZq1xkoqT5EMIk6gzEhzmFlJL09mJU1J8cwpoQ0YCfWAKHW/t0/FSSNIkf11PC6ot6fyUNc8nhz
N1B4uzFxfhjjyhqIsmMS4/FB3pXdr1SfvPEom16nBePC3GPabTHlxJEL29EZHmuMbvNxuixfDjpv
YDVBVsHhsjWieidnmWp8Alwm5ZJbMLQBF70uyT6UgJNsW9iV43xVxvJpjDm3tKu3mr2XAdsIzZ7i
1OmcZiV7PVAUe66v3NkzN4zAXvbxyLs8GUsM4twal0wH6pm/d3OLzFFc6EjfAIqNZAdamUZ1Yt9J
PcLJhUOshtHlQIwGo9w1uNMZRj34nZvZJaEOmFVnE9T/Eh+4xniWSKz86u2fb35FfPxUdKMFTOsJ
zlPskLvrDGtCaYKpoXwZD6h64R9HNz2g+wprX1syNkz3YzIMwrp2iZcV49qASM7PU0W4D31bZbN4
F5Wj38LSvsbphscO94WrRdJRYOD4LUz15YW2k1nwEuIBeq6P7umb26pIOFFUjRlcJasGk1LRLRCV
jrOFIz+X0Z1UkNlxpi8qIjIk+7hk3ULDQFo6SGmWvzMwtsWUtVrziYvDRrd05xScefrweCX7doyW
BYPkz6/+6hgZ1Xp4HvcE3Dn9axHevHNSsOww1h0zxfMvHjsND4V4mq/MbTG/D/A05fOFs+VjOxB/
zjr4dCI7Yj159McyufL23tVBmSHxTU/P1+fMGS0yPjtz0hV2lLy2OkkCA2o7lz0M2J6cBKQZl/kl
MDURgMpUEuBzIh9xXLD5r2ynY4HbTUQi2X19dEywMyq6fgded3GLpA/zhNbFMXflHEO8EwHu1JUW
krFFs0F2nr7xFXtyJG4JyN91QFYhnum+hvvyXndPWVLkdpGg7KhABOfDN3DgQBh0U+Lp7/sALfok
W3ZROb8/A4LCMryHShc9KIvJYgtHe2aGV39PyOEDEdGIWMXD+jjYCqttdquh0w/dliKWmclVXegn
3MJJ3UTugzAj0uNLjvGqaPYB4pcNRhjjcgkLxdMSMkK41jzHz9la3FVmwkAEVE+93+oT3OMZLTCK
rubGR9040uctvlj3LVIeyNe3NwyPLlbKvODzWDoHCAexslTn2o73xVJorSklyNtFqbApSGBkIj97
aPg7jg+s/bVrDBdZxzvos8tKBKTieegXwTkWTwYI4OyBKJGArpLcgomGF6/P0JUSlGkGRWpGBsPI
JpZ6cZ9ifwGKetoCYyYPAkNEoOIpOTq3FTfIZxqcZEHn8quJwv9KhxvO28xMGb+Rtf4iv8jhMJ0x
8H4gEkyXiAiYEKFLwArBP8yGpXX4PGwhYZxx79iQkke5Spdtd4qjviB3A9gZeXhRNp91ieKPfw9u
62x1jM2wQae/6l/yp+s7aadg83j356bHpJ2pfoV3azFl9WZDRdXnUTJg0Y6HadC8QnZ7Y5m03lhx
zZiIUZDy8SCcTAQBg5V9hmmpeIAR1PEWkunFtwOvafNxNzGJQRrzglCglx4+Ji4pw5RSF18ZNzE6
Adegw4aLu2RaQmD8Pc6TbnWa0aoMQlalL4gKpwIzJhUDt8wv9EM42B8mWemdlkeLhYXeh6OL2CD1
+owh/rjGlDUL7h/NyM5nZNAzlTqRMBIfGMTPaeztwXu1PHqNlz9d3uUPpRkbryUD+zHCkoYhmKPK
s/RIb3Uj2uQYEtEGCIOHBiwfzqXMaSYsRM8q0S1FHTQhow681K329TDuP7P3Ihh4nJ432hC5kb0h
ainZ34KzLW1pb86EvvjNKSy0xYixgGqlkTQhOuGAt0Ux4f6dyT+/n2MYpylUaXJvy09jdiUbrZ1J
/shi/kkM16SaXCcEbEDtoLZWi9B8ZrE76LY0G3AP9jYrTI595z1i21EKF7DpeHKGwd0yZjrbY3gJ
yjnewRBd11WU2/2Ur9JaJlbAGCRP0U6NoQoPTfsxSgar0SrrFyojGCv9KANeXdqWuI9otB1Dd8i2
Es0PsiS8oSULqUiKf+sdog3rTml1NuvYh/HamhieO4fpzRp6skgtcCW05YCVbArug4xnPRgy0vNx
sbJ5/1qeF0p1CjFGURjdP0mM9iRmPKQYXJ3znopTQ8E5HrRLMQ886TCich8n5iy637xBu9Iyj3hq
eBe4YtKmdpHo6VQPXS4WtZcAMaw98q4UdSRrDTxmQimvOEERC54PWwTUo1xKlAmUEiL8LiuW1Pnd
icWN7qgRJX/IMMk6hHqy3m9am9tK4U/4CHJo9zMlvSy6e52PF+yTQOxOCQ87i0Ud7w0+GwHOJc6M
hXqf6GiyTFT9gWT4kH1v+4jbAg7VWBUfxp5sOqS/nJ4Id/dGDDxr6/JB0rh1szHpBT/r44w8wXNk
vKvslTR+pykrx7Jdn0UQDXvYlNhRYpgoCFN1WW8RYPG+XiHCLUtcSnYohFk1h9EpKcmcLZJGWEqz
h3xFwcoOIYh4ujm01oqNPtM9OjUPN6fgN9MC0Bm87+BdfWANyUPCDD0tGkQnEZuUz05bOud2Lrr3
1kFSZ15saMNI/jZ3l5++ND96fYK+Xd/dwtTSmJGdgIi4hLhs3CwcpXkWQ0z3Pd4bIjn3BRXR/vm4
ZkR2cqllcASzjt7gd+YHTAz+hidhly9LigbhYiiJ3/+GJ/WHMsvyjNglfKOJHWd0SVGONsrp/Iv/
G/TqF4QL+MT/Opb4/W/HavPiZJo5xyIrjuRFjaNVUy0gVWOHid76n4+m/PJo2Bow+5AZfvzMMW4H
e/VRHACxr4Bawua8m2eLAeNoJpJO5lHOMLOAXs7WdQngHCW/Pd9fIciwY//zG/yEIB9wrDqfRbbI
1ZHIuf1zn8cBxzW9Euz+t/6xP8q1/hzNfD/eT6MZ8zQYlP2eM8YLIb55pG8HenggDO6vad6/ncd8
DQh/RiG/H+mnecxeMfO9OuTMygl5byRxldGIcyLw8TejSnUkPupvhxKmuApEYbDbn7i0p0dxbR6Q
gURQXY3u5pQRb8qEoSJB9OrQtxPEdk5uRK04eqSRCrBftIeAIQRYVUO7Ob1iSOic39Rdq7s94B5b
XxllaVK1dqUz4cARIiO0fLjQ8S27EcZDzODAbd6Q478qglDZ7EzG9Tb0vqfGzhEqCyMsh4yLz/fB
rp+yw7/iROeJlVmPCCaJhUsuLvNsb7NzAFEtg5nav9UkysEzUHH3LTatQ/d88zBA+JRnJDLeQoDN
Ow3BezPBhd1rF/niTDiiZTwbnQNGIQtTbg/GwQFUyNonIn4UX0aYnyghx+lbHQGDuVgFm64SGuHg
VXcZOb2O+EKlm7Ebnp61JHVPgJTjHlSPMYO8JSkTqg2G/dFo0WlfS6wOBRa8Ip0rce/i9xbjkWAX
7ErAPrA2i/DhQ8ZIvSqubdkdrU6b40p66QA0wX0mkrdfCdby1RmGDSRSedlGctB1YxULYdLmt+Kv
KpvBdk9YE/3Ci4HcJoX9AeLhXtaY9oF4PKyYu4DLhA2EucZImIYpnRUTNWyox4wu3Lv3Q9i+9StR
Vnc4rc/ylU7xShMQ5CsQfHiyXgGMJHZ/q2ay8Pi8Xv0TD8qevDBbowLNnC5Jgwzfd/p8GBXvIC0I
DR1zM6rHeKT3gsP7cLCXWzaFmEfAnJ0zHV8f1rlrRK00JukGeWrRRWcSbojLoPZQGTxWK6zMaedB
3+/dWAxqBqMo1x3svsn7gM10bG3CuY4+tI0iYDtqRekHZ+IRFqh/CGWunFFPXlbSrip88CnnLKZL
lMtnJm4W0RnkCg47V3FJvcQC/LAYcVUUerYzeZYS2YP5tPdAx74KSrhVIToi65/XVvVXKxsCEXyF
hXOUNvxp1zhc8yrTWlZygagyJnTr1V4dlxPeAecUmwy7qg9c8JwslILLRGBM7KHUEhKsjMd679+Z
87DNDoL0N98Ma+K/Lxffv9nPewy6z2t/0cUe0zotIVGtozNI4PVZiFjxLhRfETB5wWiVbpXgpCm8
HAY79AR0YObXoFamJxBBXG/Z2pg8GFVhP2DfJmS+iJJRItgSWP+pAtZnWZgPF/WTEg8g+RRu+/o7
NYGh/2rkM0TxK1iRpqZ9TWu/bZvXg34wLwdTte3BU0MH5NXlrH64xyu8WbAH/Q52VLqXcltiKoAe
66Dap80+kW3iBN2R6RkewRZo/WGYOaoKZOpCdWUCA2WFyF8EjG9ZM7l2z1n7gs3RbQ0mqbFLaSxV
DIjwVxy3HyffJe1JIXwiTR4NXe1lobIijd6y2XBaz3PmXcTNjPfQgugCXT0h+o1+57Rp5yK/Nb+O
n/un0ZM6GY0+SYgFkwlScytf5ldB2leBTE8vtS1CvYZeExA1SZDPASS7Ip8xDeXotKhZYgeJYQ2n
8tstJFaO+TkL/VkZq7U9MLwbpCFiBZAkkFsEkjeRAxPqzWt2JgxtDHZ9O2D2CYqnE8J3qrDBoz3C
NtHvFhe/A9Y52MRSj1MscmxDFH+WOr6+NrtLhKAS9HbqDw4O7djrgRCa2iOa4H4hg1PaYsDrExnb
WkPyyBJzcnk9PF/841TAXzKYli/RJ2fjx52J2HAugu8VItTObCBw8+PWx3HttiVviar94KFMn0HV
6vEOmhIBJFXjavIgptoTThSkCYgVqXDThUZ6CgS9qZ4UW41zA9nlO47GHRx1anAlhEfIxtG2dgtp
Hu60k2840J2urR1bg9KqoLW9ppbkUYC+iq9Nuo7dBGThBsz9rs7FP0wlmsW484X3/zHYrxHfkaS3
HPbjjqZnV2y5dhF3GvzJqnylmKpk9bag4r2bkkzAksZffLgqiEAzfXiCFN5GqSNanBRWNg+yGhwn
sttyxyHBPWnUDwqpbY/Zw9UIwaWRGX4SkOFkm/tTTR60Z/CmqTxa6PbDc0BKA08BIk8eNeBrh+zf
sPvs7ZLqEkFKx+zt4VYUQsdA9N4CmzbdMsA5mrfXBai2rtPLunUYXzHtelXHPaIGhmszMtAcJdyz
ONUoRcSUWCX+ZW7erHNyIU6KmJgsNOn5e4MFowMiDhsDGkpZL++vaAoBClo7Ft0uNhqGdyLaBuNG
wzKWxw7/AifP1zkTG7zJjdlQ3j7YW5TjQkpFTOEFjiFEMzWoz06xlreEBEYMTeh3LrZBvrDDf3Sy
W32YVutqwS1XSJh/7dn2ySkNFPBDjEl723Qr/hPAForncKuq/qlanPPd0JjAR4V0W+z9wTC4ku0l
+MteSnrKRkGL2Y+V3kLpAmXxkxrqzjKafhArixKGG1CETAHfq9ezDYvmNr5APHwz3/SnY0I137j7
t3zervfpboSEBd3IY3w3xkfYhGOiU6zWznf3F9Mj3eZTeQOAxuSkBgcuPmCuRkMcSscyvQcmtEIB
i4IDKQjahw27PwRbuw/TmRoLTLJlzHaOBC4O+h+dncYBz0a7I5K4IYTutORu3S/gykOX+BxHseFp
Z+Me7wcKjuFb96Q7iFI8gOhl9Z4Rlsa2OYHFWZJ9QxlyfMkTItd4yczwVtstfl2Ct8o35TZxzxdy
2Ab4MseD6SjcKsENZALypfIkIyCa6PPqSZ8OZ1VQfnZPB0K//AHFDxKdBCPahz6usZU8MSgq0W4h
HYVsoFGU6pP8vjPyzQE7EXWMQ4Yc7eulTDDjfsfQ5/TwmAIWazVGWgudJkH7UtxseidHZpRs2lKS
gijemOuwLuKUBRSL0ixHqNS8nn19Olo0n1f3EhRBEw3h2WCEOwaPtfW1yg25usVasJBEJdIimxif
SaykjQYK7p3jZ+uiTIGzoyylnTptiOHik/cvJ2hO0HPU0LiNr6662G/eel8MSRoaYKon2EwIuxId
w/oA2U0EXYEcTwEQLDGiYVoqUiOwe0aJZ8Bc2UeHkM3jOM1f09QarW4+XIrw6KnkmFOj1ZRmVaLU
K7zBBu1L/aKp1ikxqQ7fLw/YMh5rpRrKWkTxlheTy2hRfkI0B0mTgADkBCG2KQX74/Ycd8HjYe3n
NO1EHVE+Mr9b3xrELk6PyUjVLbTnPaOwm+E+iPXkBp3GRo20iBww9qqS5Fnk7WMdSrvD/28m1XYQ
5VQzTMgeXkW+8PiKzoQ1BTcKqwfGUtbmjlNjpay4u2eg3bWyLaHkF7gUuwPDaUFh3It4CNltFZb7
liyxO/a6+Rgq72U5SG7+44PdVU5Or5JkKfNBMLL/uagTVJyfGy20GCMTebE6IjTox+5cV+pRXWEY
ag+9OmCEBn5EgqJ3+x0K8Ksu9ftxfmKwGF2n9nJOOSN2ejVqwJxMj8w4X/0Na9D4deH0rzP6icZ2
39/b8w17/a9+GGuQ8MlwmG3axjO5gLhCP6lPpKxPju8Q1Vkyn86MWG4bVHU1uF/m69E5GAhGAkQh
2PxTdAcfErk7LCXH+PhpunJkMJVluvR8/BTZ1KLOzUXMSe1hTRUOA6ohhm+KfZrVRNbYslNBcKut
EgSusTT/spRsJeqfUelhZAx212xuAbD8n1f8v7UCSXhxmEMFb3yh+NE0Tdjg/nuOLaapx5f/Eb/c
X67Xl+/U2l9+zl9EW330hyRBsUJQBAuaiBKgh78ESuK3MG4DDoMzSzSKYPj+h3YZ1xKUS6aJeAj5
kizzxf7FtEW3hBAa5zeJroi/9VNOyj/lptAd/vhG/nkJ0E3j3CabQkP14xvZDfqyIJMJ96dHkuLu
cENx4ORkVY9wTnAPO8T/o4S6l3I4Tp/hd+UkIAfsbT4SSURADnpQXOQJ+cKC7ALdcqZtHm+jZbfQ
hxg7ea2HNRP12q3CUP85JbDJpM4h2CnVIN1M9WtQKUF1BJe9haPBurqu1eFa24cSA7WCVM92KtXP
13x5bYMs3QyYXimMN+TlNX2+SFS1YNqFMWvNUDhhVcoy3UfMy7o9ZoXuGX79JVBYIsuXUR5QAiHX
RFnTluuzFp5Tq/BYKjvC5qhtOvsuMTe0LgyHmKHxcqHVK/HexEbc6/U5UZdGbufABKDlcJzIu8N6
0vSbR9BDR2KG2IxrY6KTeE7RlRDghAfZI2YhvtO1zmWPYbBc4ZvtGq96MghbUosXvRJ1S83Jlke/
bOFuPRIGyY/pIbO63K1m7WuHRzTpd5pfABbPhDHYRt2hXkzhIrBumm438h5nl1lzvrtdoHNdaEWS
4T1RE35VtyS329fZYLStDrOMnTTDxQCL7PFozWcp0ji/OEfFlcEkwsrtotavpyo1biTv8C4ZIfTa
ERNbk3+yhoG4LdfdItXhUo4H79Lrgy6lwu0NvRgnyDm50lyyDLS2Y3PwfjqHFeLgBpdELL/t6jFR
84SOoK0xORuf54cPPG2K1+pPsPm/9UIkAyD8+3Xn/yKCrF8grn5fc8Rf+XOJkTX9D5xukTqSnCaW
GPa6P1cYU/sD4MTEkeCLQw9A/Z8LzMD8AwMEGZIqrz6ZK0OBbP+1wgyG6h86vsBijVGF24LyX3M/
+hHHARgXFlsENI1w4hiCsf60F3ePh5Kd0zLf3lGE09XM8XuPiFVnHg20ReO/QwzIIJLubZqRrGvT
R1G0frtkyZ8lxnd2vyzQon9VHn99CxEup0oSpuc/Q7zNGQv6dHDKt0WMngo+LiQMF2zeZZ7pHw+/
gZR/4iT//XA/nfR5cLrdzYqTfriPyYMxi4i/FDDD3T7ag/j0kdqHVym42YJYcfRvyxxi5X33m5P+
sdz6+7f4aXHP9rdLap44afwbvLNb+1Bz35H2vwziLEzd0jlPwWaM+Dgd8Uq7/3z0n4Yjfz+62Hq+
YUoHpcgHD2Wfbw/BUxlgDaR55luGNKGkcYQaO6Ld2W8k+zYbfaKR2n6WvwHq5F8+et9u+k/DiuE+
G3QGYRXbfLPfSR9pwl0ffGQTESAFSxdGJoO30+8eNfGp//So8dp9P2/N3BeDYc1VbyZACO+0bmET
oXlTn6+TxpOAbbLXfKZEf9Vg/3Zi8pPY+M8LzuusDslRHCn8/PHAx+6s4erU5tvR8sIJF5vLKyn0
rMmnxQlBAQzSNDDjBf19XPqjqTy/uUMb+1waKPhShXf+YBFf/W68gmnaLy4IfHHsWIh31P8mBavk
POPd43uR2eKob1UVDd4uMSMIYhnpVk9TQWccQgCHVF676bOM6ri4umK4EpAGGbIFl2M5GvmmW/jY
iWGxggLBx+mkFOrOKmy9k39dlBTLPULgqblACABkQ6XtjGbZgi2QI6UsOFgAhJwy44i9i2G/B73K
20PF7Cc6ZfptLhMmiSdoAukVSOZF+lQ8xvSwLrOI9F94GGAVzdtodrC0BQad8G0vCIuFkJSfMQMX
8KCD19hyAl0I+CcXacV4XrqybXzWfORGHInpOppSPMwEzckqpoJklSYa7DbjAA4qCfjOg/gZH1cN
Dl/gXTcH/BFmHBPG2lZiNdG2GbztG+ARKBPk7PE1xrNge5tCWGaM/3RaEEw0vzpVlFp7L3OVRR3e
GTAf5tDgkeDaisvACYgtUsfqLF+cHHU2iG7WZUsQ0olOWfLrj+N6kNRDxD/nozVizNRtQNSKyAiq
xS0+Jlyo2SPQg8dMSq2GXT658jpdLeBrwopFSuuewTbkIUg56IngiL/mS9O+bGXG0sOtNDFB6PXd
cc7ALTk4OPTOzWVrlW/qbBjmuHugP9bCYoEATJnCDh+Y4/ME9S0wLZgvXx2w0MDIfAZ5XIqNhW4P
p/e3/SR9bjcwwq/T7gUV7FpJ1Ljx7yGEsTNEUDPOw0HMIGTKE7SjJnNP/g1c2LD0xIRsJDgHNx9v
0Ljkug0mwymZxs6R5OkNz1NMrbVETrx+bLWEjYRksty5IYRmbVsWL1VE036Ywlx5Hi6KsbmEYb/p
piw30CyEgKHlvdRQKS2adxUIZGVQWV94P/sA4xQdv5BiDQeDaPbd7U0hOLp0sXh3mPaLp41hg2jg
+Ad3TrBNl3LqSLUWP2bF5uEWMTIKR7YBzr3KQ6VNeYzmHtm0BXmyPwHqVG8DKVRmYHbSrGfUhWi3
xSB2USZQaGcwCSHSr6+VS8hsxx8f7uBFS8lwJ03TuTD4Xl43j8CY3K0GDBMq33HGfDBp8JSN1Hm2
grijPcHCihtHnWJooszMuQEvnTHcMb6Dzgm+j2rt4F5ik6K9m4sCvxRHdRlteb1dg+ryWPHukuhD
0C3FAdafdjFJZ8zxLmKY1wNby58Y2BDRtjhG2gTEbAJNnjVtDraWLs1njkPITBnC+ptqK6z3jCRN
Lh8Hdz8zEn1xWmchhGp5e5hdPEz5yDVE8zQhZO42hsffw1Bzhh5c6hEQMfeVN7RlbMrAzgNsLMJV
wcIyqz5bEEt3HxhzntZnY3rG1wAi065dYFwTKSiUT96dh9PT58R3p8t0eYjL+JRUyWiD8HkfDabH
GSiaCQF5vx0t5EW+GgKAwkczlnliInKc6PyAfzbPJoyLF9AmVqwd82PQbtTXal7MofQtpATyFBHC
q2w9oItBF5Tc4drlEITpPJy7o5QQX/NEAJgQiVasMPm8+sjXcqy9Gb7iN8NxNYP/sYIgdVr1myau
w9o6zrsV7EZfmtRQ+hYADLNsglgpqNblrF1UU1bNVxhEq/PqyqTmKGjXi9FCZeLDV1KWozk8uEMs
2Y9pOZeifInZE4jwTJ5370OeijOj4c55M0orFcOvp8vyQfHHylEsX+oNT6id7tTFAzYbxCV+aLNi
BYAalcylw8uSu0trE1Wz3L5u5QQ1+6KA3pgMF7BgQH2XR/LiwWXvuxQrGl5pQDkuJLO4DuhLhscF
pY5coEX7VMNE6Z2Lq35ItrEUg0RBkoMT5SNMydw9Ahn9Az38oIgwzFie582a+c3+I1uCvpnnMTER
WC0TZzA17XSR0VV90ZLKzXHzmEJtvC+OtcUVXsOUnw3cUQLqGwG4ncPTTE3aECn3S+qR8ew3q2yR
SQHLA+uGpcTMKxK8auRESIUWzXQ4IQj9+bwumQ8PknRb8fc5OC0baoppF1xBQBvK6L2vvWHl80KY
Pey2zALgeyDAwf1yv3jA6ST6ehgpEQwyxRr6TJjqj7bBjoSFazDB1guvAbeKzPebn2E6c0fAgPEo
joljMo1kyEOcE8S/xxgWXtnexwq6EptfH63j7+o3mpC/VVKmgn8KA0ls5k1R336rIHOl/X+MndeS
4kq2hp+ICCRk0G3KC0mAEPaGAApvhYenP18yETNVdEVxYmZ29OzuLpJ0a+Vav1lVb9vTsjuclh9o
Ztq3NbwDqQ1ywtleYC6jEctvHxK4ym9vhf99LJTCnx9bXp8o6tF/7oLp8bdZZUh0BYLSWaE+lSOo
VqP6O9i2D1SW4+XWNnoAUinoRavmNSn527w0U4N1C2XT7ENG/WrDfk8tkapTTEybeJapPPmst5E9
zNOhfF+qz3ZZF8WM3siFrjPXd0520tc6T0r+/cOX5RFbytObz/8nfGa9hw2VAyEzE88+frkJH3YN
eCHwOceszztblN8MH+BJbXBzB4fY4T5O9sLZiiShTwtkS68Z9jUkftGgXeXV2XxOcrPgU7UOXpzw
JBIluNzFogcBC8qeMVJiI9rllDHD0rhOE85bpsfwWl9gB9RH3aMFzp0KtmUj2MRfJkKCdL8HdM9T
DpXHhbIQtEFqGVGMWn/wTPUByBmtDlK3lABGqUQPSGWdu7tKl+GisEsDvL23oZvisqZN3Fh0z5H/
tONYIdVVG424SwVH9JVR1QMTkXL3mU2EYjjulig1uaX93WiPOEN+BTFB94Be1AzkrSJOhXNHCWRD
4kgMQOPDr1AaWgAgDh60c8T6KugwXTx4WQ8BdDd82oBKqr2jaB+bW++cyPu1JbnEiyn0u+bsVNMh
ikH7G1uNuXOqbdrU3nggIhwx2CExK5prCrz4AIBwZENJRF4TwRpyLIe/deJMSoQemiFh5xQA/Kvd
+9Wn6KARse+ux5R9ygKVCy0tapAiFz6Nh9NYD+nhigs9YLqoH566FBPeTulrUxpoH1VVipV4nfw8
LpWFvilvT6dnGxv5ekVANHR0+pxK7zKjK0xlcAg1pzShtckGqvpPz2qZJNXIoQhSdgAHc8tGCQ5o
4FDyQfUJqoBbGkck11AlYXqzsif2zeDhkvnzB3pbyQPHv0ft7CinH8IE2BZldD2GhgbrPbpkl0Ex
QJdv55jeYBcqvW1HIgDG58YltUSPDpnTSzwvFFQuRZZXaqgPkY87xNRW6SyKJhfNqYlsiweNEFzs
nCO/dkvdM6+Nu9i0Tv6jjej9CZ06w0ZWMN2S/O/IcUMYWOvCPs1QkJVpOx17H54KXzVfAS4FXIzH
+dPfBWvJv6aUasLNWgM43SdK7dwtucdgGJsQshDKgDSVVJoIPvvFhDzhjJAdrLbkMQGs711nRFfP
jLYNBWIniM5uOWCruKpma0CYZsZVlLco64ldZoDjOcVwv8t02ProtTTLFXuOqpO9jS+eAcB9nVPC
M/izbJa8bV/bJB5hOV5/HTNI5OFRFHQdij6FyZpRg9FNDlfk9NRgB/j7nL5KrBMOoN3FB2Sbemi1
QLF2du6lfkNI5WCQBdzbavBqcJq+QfuJ1wAuQDQiEPJPrm1U49xT7dbdJZHiHl4U/NPXsg6lCWA7
tcKIflwY3IIhSf7C/+IofS0SvUGfjKor6AqLhJ0yLysXbD8CkWSV5P3SlcxyyvFaRdEqb1WEp7o3
sJEtPdqHCeQQ1Gwcicr2kvo4xA+RRqpcVyoLU83B+sg2RLzPU9owUbPkIND1dXD+DgP/vPPlgfs+
oLd3vllc19eiOny0YYuIWm87kvd7pdVLkpOds64MUUxv/ast3KGwJQTqIaJjFtjNDwP5bWYIlAjo
08So4iP48+TfcLeqqMWizMyc4y3YDk7QSajoZirJQxnA0qteuNYXiotxeFspAcUtSmTEJ0QUJ6Ri
x5O4wN6lsY4goFMpBeXuOVtbIQ3V6hhi4Ifhvsd1OW+omuiGaiFsDBj553CXx+NyeLhWn+0zOxj2
A/jGfBXOH5A/hFEOdw0l19a1/RT0jtpQQZWksIXJrHMdVjlqDLLj/5wZW5w5xLLinlSwQzReg7+H
+QZ8xe/9NUyNoi5yKvgzvgX502W4tua3ObPqQKNbiUptneCamCrtZevvj3r9qLetjTwPHpYI6FKc
NeSMfUuw5nrJRLpcfbTVhIwCzCs4H6PJexqJuW1QaZbx9CFKwpTnoa1TrjixMvmSAQ29e3QAY2E2
edn5NLk/IY3/KaEyDT/G9rZaxfqEMsaVsaGk8hL4OlO39WU8B5RxEtnQO7r3ztne0ac2G01ZXVKz
0gcf9ooMXv/MEN07jbIVyDjzbYsr5m7+0KrKo70VPS+/1hRRT5KLqNU8kqQwDDN/abtAMCu2FdkR
KTBurp8KqZ/G8FZIPZ9LxlDHLq/N0xOcEnitFEos77KSPV87V/yxkMTbCshw8wQB1/gRU+y5Y15u
8/S+6s6WCZt/SJLVny321y6lgfC/iXm7FR/4zl4f+mtiKgTUZBN7BNTs6buHDigb2245Hw6G+kui
8eMj3+69oX65gO1nHmoexH+is0MdJphKtIp/Fr7rulELNA9Q2nYLKqbd+fu0vMQa3/cCZqYWnRac
Ssrv7wLDOOnb44H7Q4YBqaAAHJciZp1CpD0Os2xyFpMu8MhQiSq8vaIbKdfqY8IlfSn+2ZLfh/F2
aI3h6Xi8bKxnG/U75MBOlIfIamoalcthBELdQ4Y+P8cVoNXo5vT36TkfA7bY+8to5RRtWraI/5pA
mWjGUL2aVp1NTU/u2cWb05CA5QmWBnAgJUJoYLDXrMGqsw1jg7wD2Q7f7Q/Fra4C5AFSgd5ZgUjJ
9kAwXyXNoPVMymI2o8pXO3Uv5ILUiWDkoY82tMG0Vxr74BOmxJQXwV/L8nZRHE7afL/ZsCwduSpn
vnRyD4ezBeh1M0DHSOQ8YVGDyUGaJkPIpc+A72yCdLwArSBe1nx/7scb4b5EnFrkGo7E+m385lrU
khpIUgF+z2m2jcmGkgYyNlEbxCI6bCsfz9Xaxv76e6dpvx0u0Ljok1aq5X8jVQVDCxO/nWd7D+0M
67ES2m2CAvDCDDj+uz5cYMSgS0v6wMD0aE3PgWS7ZnrCWhhfJsgSkHtRvyCXvQs1h98f7+Er+E+0
jLFD0NGxHmgn/zhYCChpjb9Hr/4SZ1VQC9I/RQUnbcm2zLeooi2s475ymz/bd686ms/tK9Cthh+n
tn0Ts5uIzv4OUpdRG6Z/f7Dy66X0/ZPlTfrtkzflFZ6Z+oKtcHIvgv3wsJPkZg8GcOW8QjKSBUXu
jkU82TjPIAOEd6hR1LLrK6c+qD+FL7q+V4ewJby5oEAoGtO8vhSAH+8ifPIG2Hj8adjOXD4Nt30Q
7W6L8ioI/APMuBYU1qXTtJuzL54BbBSF30K0wT6LUcVuX/2I0lrrbMfuQgS1TtA6wBJ2ApJEhNE/
ZDv/dF1k/ATRIcVxLZXE9S2N0LY0ZTdnVkF2Da6OxSskRwpMeCL0J+QyIBv7aUp5iyWR9LC/10L/
JTesqLqmlDX4WCQyb0HLejwWi+1Vl4HTe1AizMfjclLfwuTZec9w7Y53Xo5VDStRgbWk1Or5Tthq
0Fo7rQU0yqjwrv7Vb7V3Lr+Mtk60d1r8F7ageNBWWDp/j/eXS/XHcN/C2V1VF+qyYLiInbs6mQbP
dhSj7NuHIKZUfzkdPz7pLYrhoaI87xc+SUaRJKlGoJPlS9FdNJ7OYCz3Xp6FAsUS+ZJkD9fKdhkB
JJDfeAfZY+TZRdmte1xoOX+aloxXX9XHdY97z8tD37QzNisariLzkfYqYLjExlfJXSdQ9Sfbns/v
+sDGAMz6PuxpHODsMBuH4YZjCi3YS9OVsGN/GnbFoXN2jXoMxMOTq+NE/bvt2nO51Q92EEUpMj+2
+7TdFNOoh5OOoA547PGlVwo37dNZfD0gr66gri7I0jYA/cB+aJkeVuladIbuV63HC6ZjOrUZJwJN
ZPpnpUCWKv5eXUWR2+0tSCBGqbIVMT2mgPa2vufF5j6fXw6Pdi8J82r/WkNboF1yr+P8SDPgnBdZ
+YBceDxcdk/lZqLZ3oH+CuBOANE7PVmVxb25KIuMchQ46WreWMDOVFwmuLys3bbZhHbHMJ6jqenT
kgQ45WXovauBVsmWw2T1cLcPflyAkPr2kfYvwIGvtnH0ZxvwxKa7RoelkvB+1asLZ2e6OxjGSbUJ
nFQVjjE472zn0G7el7XmvGXzjCcQxzz2m1+V/qXbnI8vZREAMzoVWCFGK/+AJ6m92cc8T0Djq7tg
mJrhYrpqz+sfIpXy2zH/Pq9vu9nYb6zj/bF7tAm7bGfv2siXUxoPWowgDhzxv9fx1cL+ZxnB0/Fa
UQHVaW+3yq7Yq5g773kUNCsEexU+AHZJlGDuzjgPhw49KyQAjy4dLvbtiGkYus1Pu+m3RJTLVda7
KrCT4LT+DDOH2/x6VhZspgoirJV6UqvaHcpJPEn88F4r2VSVgFdM+vaLPvWZUPvbZfX9899mQTup
69Mdgcx2KeiV6lynOI5Mp6tuo6GJuNrdSd75h/tRAhXfD5BmSjlQ6s/SevbtAK3uZeO42W3A3sed
3tVJvMIOoT4nWTV/Hu3sLvJ1kybmuaY2fHlVkIi7raIeBHOvRoFyf3C/Kh9ONTP+YVBvu0/bLNS7
pm1vbXCLNGEGFzfxCNfP2hP2Ia2uzEfkyN4jASSqlGrmxO2TPa54A7lZ8RzhH6FFyVCRLIIxWIOs
LkO99NlYo2tTiH07v1PYAe9P78+ws+lmfBW5dxrkKx47S9834klVGJbour6sJV6D6doeerTbdp1l
HE7naFrS4V/70AXs8sTlcj50/dKUZNPW7fbKvReCyCaJapEbx2cBDKC42WD93XgUBTBgnFbVs+P9
haSBZlN4y7ln++6E8vb00K0g/JWjgg4bBHixbfkRQgn2NaEtsuYJZDWasILK6Q6/cEQeV+J6w7cF
XGCvV706tbNTdAAP1Du1RzA7J+QhES31DtVlIHzF2FwRaWfzktOaXUhQlL4Ou0hNZMf96gwf8I17
5FK6Yzmz1eAWkAUXpiAZlhVox0j/H8v9YbXf2kEL7VaUryu24LMOH+1iJ/WK44VS4Yu+fsONH47b
dmam0/n70tHfYVRkUt+3/rvtcGHq1uZqrW8c93JzO+O1CzDELglSGApCCKfNMZHJj608m8RxWuEV
CvKhhSiae+z0/WWIPkow2dpThKZ8NfSx9caExPJj2w6acPufdS3FSeLDqH/L/zQuJ81CYBVnhPfi
3Gm4K5ZWlVGrCVKGZA7JwctlqXLp3xrwL7pxOhRBgKa0cCpftVNt/eF4Qh78bcG+DeHtnhpeyjfz
uGfBKkI72MOkHJkK53QBHkL0wIQN0MgqxKDGvyV2DBKq5EVChaVXbX+tfAqnTrIfDUjd81CgmsRL
fy5CNqC1oBhjCS+80xui2EkLP0PwxghvUHuBUZS/yGuM+kZwjjSRrtJ+bLZjquajUvSfcwpXjjwL
JCJZseL1rBaShIJmFxvKchs4rvDSbVIrLzsjDFpGI5J8Us+da7daLUrPOIIEzdndt0UMOIDDFu9E
Ecd22jr4oPMdUpiCB6JoInrXdr4QNjt+mFxVPqLeIiHLq0vbVGmLZb49dRSspp+39UrObe8YIzQl
mA1kMAOPp7rjx6oX3f3WIiKr+vs4fPzkt+i3LA+fq5XGxioAKml+D4wEz2tYYNao4UM8ClOXUvNM
dz5JNP8Wd39857f9NK9srpViwXfGANc2aX6aYoCUI++2cJodgu4ThjgXa8RqWSE76NOR+iV1//H5
bzFQeR4uii7nXAbAunzJEPf8TTeuUO4iIS41ms1P5Q1guR9W+i3IKZXHvnww5adyYc+o8pteXYI/
Ct6282wv5iMqghgWDDjBB8igovMaiKxd7Eeqzdt3PB6U6myRpUgQA1l3m4Ftp1ovjS71rYNnVcDF
H9bu6B9yOk9RrZo2a4+s9tWykXZIuwSjblW41LOKLnubL3pDdYSCKFqONip5mrsU9cFddQYnXhLV
PgoKO44SP4km283PT9MndEaPBwpEv6R26/S4bWo8xOWhg1IAWdYF+cGNDpAD/0qB7InuwEP3g6iN
NlJKhFy40SNMcZYQYjOjjSiispDZXWaGvJ3dckZ3U6zaX1ZQTWrLdKjTi0s87hKiJAgyO9+t7GkY
jhMtgifpmGKZDpBzwIEry+4IcS5FWK8nZwe7IqfXU7yB5uZZyW7oJ+Fn4dYNp9hUrG2dRrpdsYAS
Zvm1xXU6XfqZEXf9/iJzo3Y/Yljb+hMyq40FgOd3TcndOdp++SsWffpZ4OHmzCq8PNGGpM7NFMfV
2M+oxAnwVzmviMYpuYu9v7VDWHgxNwvvr/voICqzG0qCBI+zS7GK+pUQOZcj9h1XNBRMYU3qRZQj
eIhKksDoYuhklZQfPI8yf7qpTbovFTy6hdQdprcgCHjmuV3kjTgz5lHYoxEFJrdZyoMgTd2ujFsG
3hmO5ENewkvD8FL4qG7KU+gkIrom8I6/ypmWfQX26CjSILjIvRF8OnW/PDF+nLq3sL+8Dkunijx1
GF0JnhlGRJd4gNjD3p7qqR93YX0OxYgsiqIc+/vv6075Nfr/76KtvtVRzsfTHpNKPh4FHXrP9WXN
yybdoytXnCIv6e2HVPtVmfnjan9VEL5VsYyb9rgdNnwiqnxx1UfNLRkGRn1Ve3xQ5vk9f/723VSu
nm+ftEWC/XC0+KSHX9vP5HH0BnVv05qLaphNl9ym1VbX8lPFjWZNDn38YW0t+QF/fdW3G10vDvvr
vcQAnES15QNOeGM9rvOyOAfVRq4He26UZ9rIZFvzPobwm6AnchPhRG7buNTEa2NHsG6IEHm0NiXe
HPHLEq5xGuWLVTZqF16rtRk8ZJ4jue9VqVR89r62KUzLZuECoGLLqiI9hVxrtbmzx5dDNFVy4Q7Z
8qey2KcQVn0LIZp1Kfb7HcHTCnq9u0w/NPAFHt8cPU4nQ2jDh4sj1aJurRZ19OanJf9wml6+kt+W
fKidz9ftlRnvPOu15BjXAU94IR/deGZdt9R0ZaEtAJb6IW34B1X1yqK/7bW3Y7wvPeYVY88H00m8
iOTGU22stolkuV4LvVh3EUnqyt4DaSmSz0/Rgmksap/i6acVeMdQ6afD4XI5sAJOkkAp5xXb5KKn
fz+fNuY+ZWrQmWIRgQLuzmqUT4z00yaofMjdLBnxv61BWb/t9suLXIOCwAekwBsMigyIB+oHgoQG
rEjWUMN4GXL773VQTVQ8SWrQ9yJZ//t++63P+v16fR3Rb4Mxlw9tf5Ybwund3PrBqxd2TtTwGyIu
e7s0tblVedztgw+fK3f6H0f/vUswLJnb3WPNOux6NXMCHcOm7s7BX3h3IR6NRlcD9cublyIK8Yoi
TvPvAbxwG38N4C2Dvp2Ky3Gt8sWRWwHixdQD8DNRmFFJEQqA7k9xrV2F6XYb3YtTFambEibjYi+6
KzIRXIiCFinKp2F9OKDv77aiVLGMq9wcPH5EUgfN393UyQsuCaiOXbARvlQxdqMIOnkzQoez5I9a
POJkFX8+/jBHH4LfexX/flo8CvW1OdC1AW6IoC5Abc2+fyFcjCdLtuuu/SomWFMT0F080jzqvxJT
zAMYrF8NtSkkIA9tkDAfqz+/vy7/+wKy3q7STdW63C25gQpXaoLItPj1vsbtMyXLiZrBp4Oryy3x
tmX0siEtgxXgbub7o+t0uewul3Pp2u6Rr6ZFBx/2qj1PS4qj3pwt2FpUwFB8yZVJ+YFailcAO7uc
Yx05II8ETdRlgR4jtYouVp2yRY1SclLtxZNGflxG+4MGTaNqBguEuxYoSSi2uxlpF5tD+OHYa/+u
LPx7IA0qVTV6jO/YWm1eLe5FhS7ywycbtkRyaBj2pVnXx/milWW3Eonuun0VYYYBqmyg7sgKMoxv
3PgUogIFzlisnlJMpoW27RIFLyu0yL5AHRrup7X+BfL0fbRw+H7emLtLdW0V86HseWsRngA1yL7I
KIHgp7Tnimw6vXMyUMvH6wS3vjBwV/RXehaDOnUf/t+n4hcYLqOBaKVXVUPBROktlC331uFiHRiN
0qomvbJ9oIgIUJGqYm0f1Ga79ozOsbTqGtS3TbAB1/we1tEhCNd70piyFEC27OnQ63b3oeq5J8cn
v7FkTaLx9Lt9ZIOj2Pd3Y5/c5ubENvxfXvLg4uYhnfYZzJ0v7WNU0v7d3D++1Sst/RYIVmdj/TR3
fKuO5kMWEbuhGByWTr2Y00FvEpoSWelCCpanvp41JldKSFXRhsrRilxVdegBReUaDeuDs+B5YDYo
PXxCm5oyIfx5An8O8i10XobXZeVwo9lvcG2br7LNE2Qjay9OQnHCfHlHPB3XWNg1CwHdrXSi4HUX
x6FTVnBlxQ3SviGXYZeROk+OqIvyWHqO6bcdXHIPN70Bdyzd6XCBel+JdrT9GtYiMAEzCDHOl/Fw
vpDIuIhFgifL10YqJEHZnlmNBTyh+TLffsjXPq7KW4r+eG6OpcuZVUGnCkHZem+gODk0FHDSeKEU
Yqy1q6MSNWAYctTfp5N7dvP+kzYc0JRB5W1rb78Qzq+txOzQ3tgzCcL4ZGWk/ZvIy3UxYBTTDsGM
5y2YFtWFpph7oIA0LJOkroCNKrnZ3M0Zone+Uh/I8zD0w8Lxh61YsfvPTtSG9Yqt3U12/nAt+fuQ
vikbSIASI6qU9UpVofnNnf3zyngeT/p+X9Gf7d7a7VA1oTVFIVFu49C3eJU36FJqXuvmNHTfPoKj
NAXGwSRYaAImn2qhv2RZjMZUTMOq4lUEG/LnaFaMtzqvXJ9kv6iE2nshWQTXg0MJgYgQu+ncHinJ
c3CwZ1CPPl32/+ZaPz/9bXXW+2V1WT3z6RQLy7ZXV906jmVeb3xprgP8Y4VVy3PAdSuuJxQLRblN
d8OUV328ebp9OzpEbdRnEF/AuLDLSYAqN7Q/QRZ+yYt1eOcGjHH91aV9m6STbq4O52OFG+hZ7/QM
H8/3ilfX3HpYYmB6CmzBvzhxvwhTgPwBFIuAfsOHE8fe+OWO+T6Mt9lSt7sdlUZYFuoAZ7Vebz/q
dTq0rp2a6lN83lC3UumbtBCstGg+XmgWnShulS4YnS/62IqI5dVZ14p0wG+ptu6VxPkg6nSSSCYb
8cPr6knDcmVYLfwQAnwDjx8STdoER3eJgiQv28Z+4ruweEpkwGyNVbaCpET1CK8dmFNiNBRpG4WF
OnGhdZ+2gqopZkg1RgZIF7mFZp1Pq/MLKInVkThf/NrK1fIrOfoWH/bK476p7sD5b9Ctq0ufj1L9
Gqsddo94VsAnDCoOL/cobOhuFwMyKynPHR0ZwIt9dU8xj/FjikQTfWHUjmXR7hTQMPr71P+C0WPl
yrppYmBomABgfp4z475a7Mzj9kFSuBVOj+oiJ3+QUxsPG0bcMFr9fj86U8bnScPF8/en/zpF3z/9
LSU1NrvC2q6PD173cGpguFTty8MlN0SetOhoujcIuRmzzdg/HvyTN6nQFSnY0HOevN7IlfXBa3sV
bCdtGXFATnwoZv0C+P05PW+15Id5v6nFjgF2qnSFdkcJluMVXA/9QzCZQrgBzipzjoPoa6poU2Ol
RfVhkn47XkQINCtIpRX91W77to+KwriUlOocGGenluiyCFKvj3OUj4jEDe0rC0NUYwF0NvpuyX84
6LTblAKaCsX1Fsw/m8rwp+v51bF/TyugmBHByhWTpPht2zx2qj5UldK9rTUppiLOj7MP2/qqklWo
Lqa7JiNJMRITBWldIbLGVNIr5UQ9XYiLNLQQ4cJd1vl7svTf4qqpkKObWCQiWyFfi98m61RFuGJ3
0u9ti/dpgtMKt8vcaV3o6OFSYN9hfwP0FJo4MZSJIQbQaFCowwIIIiJqaAK/FmhrKKvpyLffvDuj
tV5iuzjQ0SsA2ChmNKj+HvariPLPfH4b9tt8Frf5usQD7d6WnYVVvHfPMMAqFNw1CGvXWPeWwS0x
u3qwRiJRSzVfEpfn0RaUquIccsNf+GWAUUPfYCW2PlK+7slTfN2t8C30SPWsSCrvsWXcbr7FL2mJ
FSdyqtEDATr+hP+Y6D7ieX6B7tvDwUjPvtX3QMr23hYp+QNCmF/Nnb/xV341XYFL2tas4Oj9PQvK
L7UmNA++TcPbfXBWNubOuAzvbZyNkao0kBVGaR7h/SMeKQXa7gB4I9XXcOJ6oABWoTMhkYl3sApS
sgCONFqpTEHzYvMKwwqI1VLZA3ubN1Aw2LvlaJ6dRqvWwSUStZ9jBJa965hJpIECOAWvr2qeW9k8
QaYbZJjkr8n5uIqVC+UTsho+iEj7biL0M+0HYgFDtk4ZofI5s7vEdBtGjVQMNTy5ibRAwVr76G49
qNgRDNlQchKGyB8iNKc3DBf5QgBO+MWFN3vRVthr2Dh8uGR/QaL8nNS3O2ynrPYUJZhUnS846w0u
MBPYACjuUp0A1Qm44mC3UJ+mL4ylmXPgLIBkrtkHm42Omd9BfI3QbPyATXpTEf9PwmlqaHIRfBDd
qb6lDdoWH8rjGVQQGsBSjLa+DnLcwOYb2mPoEYBCvo6zPL92s3p4HzOzdjGAqJkDKc0ajdS1leQ6
2AO2OEQzXIYOMBtwohC8+1bgdG/4pYgILHXtw3zqvyWH38f9dsVcDzflYppgqo4OebI624vOo0nv
UAwWNhjNOs/+hVfVJcYHCGwo80MYc+HWFj7N1nahiFYZgDdvoBlDTO1dOmpT/uHK/lAaU34p2bH0
36b47Vp5aKX98F4UMrr3aux492KIOdK/SlBX79TsxsaM50auBHexgEEaPUUd0VJqVpR5w4aEfHcz
P1xGOaDJhGprrz4oJxefDHMFQAcsAmxF2R5MknNYBod5SoAEZ2h5OlnoYbB6j8lx8pzuX+z3UyUp
RaNqgFxCk+ZklCp29zxz06gFHixoAltdBSMSZ2AESI+tDJE+XYCs7E1jKBOQ23gWaKQpzhIXGlHZ
+8U5pN/aan79fQ0Zclb+uYz1CrmbwQuEms/PGPJQ1rdio27krK15aMlA8kqqVwQO0FL15BoP6nmu
1PK6HrDcvJC8UgYx8pn5ABywLRHQnKl43uhEwvCLgmhj0zvpSFUOAJyggFZ2sDJIqKy8an9Y9d8X
/b/DV95rP4ayU+aLHSkd6UJC+21AwAPwEEowczhPKFT3I1DBrTbji1K4iwuZCoOv/nsaK7/WHvDM
JhQDay6brwvgWyy+LebVw3GnylhMac9euzefvcVH0+yF4oyLHaLDeN3SGKd9UvE0NDt6mMATqQFk
ejsMCZVgHQ1MbFioQpAHL1wIRcjIgN7AqQJzFzatBwt4bDlmrcTE3vELlF0o3CycY+tkQ/tGMDeQ
FihrD1KFW7hn58I928bMlh9bop2k2pTv0aYgESjsKYpsRAM0L8Qkfj1NQGDLngNOrXwm9UlpkaHZ
DxeiLTLr8q9vgBYgl0GT28JKEnUbb4WdNAmP/A+2yhSgn6DXAOQoMHilpdPdNiKCDdHpLrobsOZS
CgcKMMjmpwdwGbEdhHI8vMGQMDaci9N/AK3Bfp7iPp3nfAxlFt1/qCn8qXkkP7pEsCLF4paUmKWu
RT52dat8sA9J/e7wldB1DSTT6G43tmyF/uwgfPDQzkQqXrjdroJVDkRXmDhzxnr1K3wY+GT+BnWd
Mh2VFYHLR+tPNPaMPEkcrgVAgBg1MAFrCosIHADiquJY9XBG8gtLAzmqQAen+RAdG+WkNgrmpH3U
MQg2S7Rs+0fRBQKMq82IGpLqsB0PrOCQn9Meob3hlQk/VzAAOuPCuZD/teXfB9HOb0nqieUwOMdm
mJHdlFnf2eF44TDmoJPjSDULLAYptVZJKEBQlxw8sb5mXMByaKpofVUETYE5GjF/7/9fn1Ym+lLY
w+MDomhvyUxlqz7Xx+L5n1T0JnpYVNqdNZtufOfNEA4obwOA5r1K9uW0A3cj2h9ust/zqW9DeAv9
+816v1bmZdJKkTwoHMnjILMASc8AZwkigN2ITQELPIo4THSudvaHQfyCauP5KxW2VCS3KtqrivHt
GthbN4Vr9k66RY/QgOteqVMEcM/DERI8t0v2cOGtq51nON54OHmV7BWt7YvGhi0RQlFfLtloTz6z
E6g4YQ2682OT4EDVf5lXcHOYpPjJsjsvcKkig1PZQRcZHsQAaXM0Zjwo/ODqq+6m9/f6vtbvPUxU
LbRqeT6r8Ivf1nd1nT+Ko8U9W3s0EbtMdhKVA9W5p2x485gCnv3A5DoIeUwTHaZzU8LfMWhH/iBG
LzuNzs0oZcQ4+xwpWgSf347Gv51T5v7bGN82wHZtHKFOMMajh2By0uMRu6H43pP4F8Y3HsPBr48B
3Rre7uoTt5CDiI7xs/f0JERqKSgDMO+nubNExegeda/uJXZddehFqb5ztw0evtDa+xxVHDJJu+wv
aG0fXsCVfztXP7/FW0A+6lvVPG34FssVSMFebyC1CPJQBwTU9p/Z5I5/Dy7Ar+flSOZ8zdWnXfxL
K+v7GIz3qHodFittuJWrvXy4JRj8rSWl27tTz87BNPcGxkPmCbUO6lzIVwSSNtXjX4wLsY0Q4Wll
02eKn6BU/ne58bq4ufX3W5tKaiv4kKG+MAnvOxOMo0JObWkV4/Ui+HbiNvdH6aDteJ0fadMC3yBx
u1KuxaAsK9sY09I9R2nk2sLl20bzpBD3Vj2/JKGghnYQKZixrjXqUmXVPJt+xSg1o7vL/Ws3nU6t
t04RSDk6Z8+BwAUIm/K5m2JMdhB4oVS5uvsl7MPc0YjLlbznQ3pj/tvvRWpT0cvUITW1rL1nFer8
sb8pxpr05hIlplhgvikSpnrY1EzHOuIMOqCzmcPnoVScSagrKP8hb7ZZadC1hihFQPUFpkXFcHoM
/E3NP0HiJFuLWoc2oNXWjGLb3COLEMtx7Uy+puIZh7qPM5OhROJ/texTsdCQfZh/luzbt3rb4vAj
zvOisnpQAKDIhLn9ywap8/QGW9cTWVER0yysjweD0gTU4JLLcS8fGBjSCrBqjXvZv6+ieNUB7VbF
OwWMfQ9biigAit507og2hV/NQ3vuUSwPsWj+UCd7KSz/Nf5XEPi25czl8q6Vy6zK0dPFlUmzAuwW
2+DlNR/DVhPr8guukwv7rJGBKZp7QtYGPrDMo8prnCaOVD175Mfn2OLikTVStiqXVWc96ySAsc/h
4MrlepqhrV9n2zq8RKp7IlmlC3qvvSVKVJeINe6cGwppSbnuGwafV4WZxpKb6IiSdWFnSTPqgKDH
kl+UVsFz64IYQTODfKOMAgccsnqrfYwqBv+qytUMnU7rzuatL9OBE34sKAVpWQmH+v7Jcs66jX4L
HmJSgPX/wcL6NcR82+uvXfNtVhfz+0I9D5lVfvjR25jBQ6H8sT56j0j6PlPTmpRg9Et1aGeJ+FfF
vh0m5t078/16z5ObrKlwmd74sXHzbZMTQb4spwrUtT+pkKmKi8W0IBlkOOifWQmIpgUSDaSKGnDw
y4RsL5jgHHC78boBOwh2bOQiuPL4asQ+Zqz9Np3LeatFyuiSwDybXf5Wr+sfapNyq2Ghw4CMG1MN
0/tMtRKVdoHuz46s8+iiUwdWE5GhWZUUiMZ+Qlrc2j348O4J/m1KoqYFz6m1J1U/8kSeQ1ZAf5q7
fdMOWkSCw4eUTfstXH6fb1ld/Dbfy9v8WDL3XPKyW3r1LjM8A3og7p8hzdIgp+MMhgMcPI8+Qb9H
X/PFSqbXmAiJlreRgitJKIfdRBR6sRZfAHM/9elexKF/bgoV/Qm1QmTHue/nGNfF+XS5y3JwGbdK
0dt35kDz7q8mS9RZ0FLvbVQOChppQ3Hd2lRV6hsnDJEOFQ/dnr4gMWqV1S0lbPItWsJnF3tOWtP3
rdPnNOz5MvTUU8m9dZrPr04pfyw8erfNtfexuo0qxL83H2QLS61WAAdwpb/NOQzE/+PsTJsTZddo
/Yuoklm+KvMkzjFfqGgSEBQQFdFffy767Dq1O7uru+pUv29iolGG57nHda91rHrheV/XhE9jFbDh
hekLh8ka1DZX6AUjtsmcAXJm6PC2E/liavOISGVAL+C64N8it7H2VOcPSMtQuxBNWtp0wHLAWTfv
7r9sacrAxJSRpoHN9IvcCWdRoIZE8VAzGTEUncOLtHJEZprsx57i3aHkRttXt77q6a94jYh908C6
czC+EfaaYVOMuexD6pOkSAkMkqljm/kfZhkGkdg5FVXUSoRByen0niG3w4O/R5+y9IcyFNN0zBLq
MLSQZ/yo7aSt+hiR5d+ZV1Z/HfussCvSIoZdSXEH0vCng4DkEJZU5tl5kUjuCooxMgkmy0VybvZr
ps9k2nIj54azy5ES4nf2cQByURnMmex9qiDXdWqF2UBWD6Vlq0yZENub/YyS0iDP3m1T8/mYVNve
vXJh6UAepOktMYg7RsAiNgYZ9v7irJRpyowIuU/QDAKkkDO+7PvmQsIMfSzKMfLTREvFhfGM1CRa
UZRKAXUzxdJaqNMe5DZUY2EB2WcJtSygZmeQFsLSQ/GOct19lyaVSxOtqLD2V1uY3rb5oc7sbibd
zftCR99bcYUG1WdoNpPnbEfI/TSvyJo+AIdrILIMmFiTDrIU3bpQGK8+Kheq+wK92ZN16Tko1JgU
+3pcP43Z6BfkCHTba6q8jQxHNWIR6i5yYYQrDzFSrsYDPgi/c05z+auIJAyu/aA+4Eno7U11dYoK
VQGD49M9k9CnB6DkAy/CQIYycsbvQ+HpU90JyJQ+q7iHYTOH4s2C1OD8PaZW54xiOAep57Wk4g/+
7DHwOfXiZNwzY4LcCWQM0Oq3+pS4HlJOlbM92h+t9bCJ1DNy4fFimFHjtd9CMFqkX7zFRKGfxgK+
eCrc9b1jKcuUqD5dHFHEODnqZxUVk3FHneGmmzLTMs0UpZaTNYgAOeoc0OV8tDghfma+lhf6d2DK
nubT/hgST1oGU6bQDuBk+P8TgcTVc+L+Kwz5E+xJQdxzQBlJkgJRz++2sZMeN/nZjm+D9f40AgJb
6kFP+OYsGBgxAtA5mNRFILJgQHtxXg00dhAbTXEuG30ywJk3YvL3jar/waf8dkzK78d0PxvVMe+1
24DjnT189YBRft98LrXtoD+NQhrkasPEesNcKlyAF+4gHMmDWOLVLoa5BXSWaGLpKOYwjPma3Hxh
rcFu8X72DMfwVW3yDDtLJa32n8iZkJSZ36gnyxCdBC4lM9Y75bGB+eSy6FH/GhDcMEUP1cd/VPzU
P4TmdATJ9VEHURWAXr+fqtgJIynv5RtQTBStTB3T8w4B4jBWQrPG3s/oWE3H3iqSnGifel9XKlsd
GLRBEPJG8QcoIMs0m2XmNBwKWLehOs6A2Ng6B5SvI4Lwv9+cP9VKFcmQSOD1QctU/JEfX4/PXL/W
5xtAj5M3dlLnPDarz96DVJeaVjpM/4X5ZmikHaPGbegwlYlk1uZjmb0VVoVmMImQKfnfyn6oLv4L
xycNi+OHsweTA3xSY0nDzD6kDf8VkEijTi5OhnFdCwF0zsfXRFdId4imWyxg7ade6YwSq/0mB2+e
lMCYPOjj8g2d+WL990v1h9kH6Nz+61B++GkmSUf061MER2ba/C46z6n0PbASKhZib5M2gBUBDdfV
Az2phJBvloZ36tv0kh4ezLAGKr//Kgv8IWcCpiQZigLriyqNfnjAPs3Tay+cr0yaDIqFx02NSJlk
Qvy8PnKjnN4wq0B0XhBQjqf5Fg3FYUJD9RV3NLaVMwp0N0e0wgyI17+88x82vUpLS9SNESq58Lj/
ft90VehGZfZo16e3MUmqxGWCMvSK6CoF+Wu0qJ1KZGN3LVr3R6JI90Y+B3dZGl7LgUfQb6L7lk4r
le7P+8t87f5xM/+wrv77+H4O6WQPWe0q49qu736Niyae0u3L+ytIvbEJ4/Cygd3sXXYMrg8qEwje
I8W7UjXrH4fxh8LOb4fxY3nXj8tVO+W3ds2E6iuzFOACMQLGM233iiEE0N/vFL0rH8VXNMym/r+Y
wobd/WN3/fbxP5Z0WZyl883oW5JWjUK6bkGBenP+fo5/Ag7/9iE/fJJ8u0GIqLAUuov31q1ehFlO
DhWu1wXZKVYs9VB96raxVaYGGNLkOcykQki+Pkc3LCDsCF0xxesex059nMiQV9sP00A6cQNx893r
5u37cUlaVBRwF/VQsLfUTDX60un0n/Okw4b62/X64cq6rqjKp8DtamAqOsHhjogpkVZSeJBqNdOo
p3579rvaQ67jFT8OEM0eb9bzPL0fzcesjeZ/v7TiH0JgcHpjjACdOn2k/7DeY3FU9JLasoq/L5bg
VrYQC6Npi6JtvAXxVZvXJZLe52GS/++f/Csp+XklaLcSZYA0QaPlh+mpxoxjNCPtQmLOTJRMpQLn
POGWuXoK/oJUI6NT0nw8QxmB0ipSFv+KK/548jCr8fFUwkDXD874v1zDc9w9hav+uKyf83qCujQ5
kn6Dxb+W7HyvO9qgXEQ0BrUBneW/n/6v3OJ/Tv+/PvvH6euFIFXd8NlCNblvzu6stEaKCdcgVRN1
ulYQxkN79x/O+s8X/b8+9WfBXRNKqU3Fy/oGm/JrpdRTyutRUbut2y8gs581MaYdmRxQ7OOYco2Y
ADf+FyZMHKzC307+x6p7VufiVjw5ec2hPBD2ZJoIADztUSihZIUmwOz/42oDJQQOqzB6ACnP73f6
8qwvoyo7ootKEPfKzRn8T5PyXfMUCpevh/mBhN3L/FcwLf4hmlP/07RRB77LH4ar1/vmWZ+UhjU+
+uVgceGTFZTZEx1UqTilD/f3E/0TBPm3T/xhX+59mh0bQW7WJKfm+SOL73QufzFHDBj6A0Zw+sV0
rjIDH2kazM6vmRuYz1l21CuG4iwCHfbfj+lPXTxdouKsoHQPFkD7sdSlUX2Ef7SrSCmYYTkT1BJn
TKKV17kCiPjkFISlFzPjMSbuiX3/m4kz/R+smn+qeXMQEMeOqZAAl/lxK9qRAIubVldrPj4STeDi
MjPYuY1M3DT1pCJptwBJKfAoZm62cMUVlopQTBHUTDJ3X+f8swD9Rm868wvF0/tD57ajcvLF67++
GjdxWiukmEfDd/3YZ6Y0tps6bPNPrQ+PKNi+9nLvnE+RxrSXsblegI7sT1OlJn8phC9GqQIYtK9T
d0xgPPmX1/lTjP7byf9YFRdDHY/L471iHVL2HOD8A0SP2je9cMYQK4X57c4bPd9E1NXU6DylWImK
h+dsJ3QlpnNRDCijTjuCsKrzcoZLCpyjEf5rn6p/cEc6zLASseiv3ssP+5RftFKVi7Jay0ugrGAI
EcGYaCP//PIQwCa+QdxtSBdEkSboaAp2ZtC8eR997J/RaqCEeEIcOX3V5v0xdDzFF412uCKZn6MW
fXiadzFB3955jL3do5vEPRm3BtA7onbgfhveNzX+vy/+PzW9DMJrRBVRfaSD/cPUMaKgvTJmnteN
gcLQ5Axh5DDI1YUyIy0lBOTUQ9wnYrDcGmVyxuLeJg8etFMZhPZ1Cgd9+qlSFUIF+/MM6ysdu0HZ
91RNUtc4QXuA35iOb5ORZFFFayPhU9s/3sa2WpgIKTwA0G87hUK8qVXufdsjIL9vhQk6Ln8/Ue0P
vgUc2kgfsdEl4PTKjzN99JranpjIWIsIzA40zNXq/lUyk8Hi8Sq7t69o/PGcq8MHpDkasSj08ndL
myKNvkJmsTOrnm4AUMVqou5pbYwtZEOts/W08q8yblel23gsU8AjX5JPE8Rr0ZWBcXZihMelunr4
XZjVTnc1L6ILhbuBwOnuGmWRdoDjvDQ1VDn80hUOpwOEaXLAvZAA0dKweNfkCXotV+c0o77/HIc3
ml4hXHgiOtVGPWmgkKusUaShH8hOGH5+FdOKQtvILHtLamzY2up5lzoqzIueQpoUdNwVbVIxt5N6
j9f0DnGMOL2CYnHLiI58sTy/j+qpSLJ14yWTQY/SSyM55IX4w2yYvkT5ZJUfUI/6eO2fn0TXtJqX
KCIvRGNSfAJfXqOgcvumGPfFOFK66xlFK70mGPkgnNN2ImlTFREq+Y2s9/jeBgZni7imBaG8hir2
2ghe7mjeroQDLFo+AiYjFGIv2i9KfKKAyQXdqLydC1bx3SK8Obkty3UO5ViHcXPva4UeYHR/+oiy
hKevtjRr64XQeo/NowYzabb3xPi+Oe1GSyhY9pBePLUJ9zbdSEn/QQdkmP47QXyIMm8WpOsOkbbn
LkWbTfOua2Mxfjt64ntlj51yQKLqc22FrA7q3AERovKZIY6w6ijRoStMCi/v1fgccd20ZnKbdX4O
Uojey6ccyiYfz7XoA8zabS86d3lagnKIy/fRDr3qD3FRziGInLbUUCxa4mNudzPZIue5zeYIMaTe
kYrhx9WWjElq4y0ggsssqgWVy8Tw/Ma953rbAJ1Xo60MsFU6IFT0mkpvAl0nQFWOtmP+UiHEl0ie
ARWdpjzdoHpFAcsYpNSRLdUnQFsTBYF1RKbkqQz5Psviar/exe90VsLGQYgkhbXhCN8nX4KoG7ir
2k7y0VSYK7PjWxtn6FUh/QII9TVA/Mbgrq5Ia15hal4XtIZoFIa6l+bTjDTaegRS1DL3jtLEfZIR
a7+RQ478I5ECp/Mh73SYbb/vVKER5Hw6dTvR78PcmwzbyFDpFJPinaKEbjKje3/CvSLgx7Y3jugD
Pn4x0u94lykZ+1A+9IWk+OJAEO4yQGH9koxAUzh7Iy9FQLu0SSD1CQhrjhHybZftL9g1tvm9/ygd
9bs8pHuGfGtGBfwHIkFXV5tTxCUVpPUYix9dJFNcnoxfgJ8CPTzbms2UXPN0rnvFvYRYzuvVzM52
s7jBrZvIgEgIRw5dYwvfbUSGA574VVLUpeir02L7pTdzq6YinWwS6vTpGgz5wb1YTDnnppyIluRS
GbwSPx6nqYQ6suC386eH0I7BOlqU3nEH1dr58MTWrMuZtEDb5l1Yy1Y175NidUGsh+2b0hK1L8v0
S3sfz1+H6q3xuJxSfPlomA5PcBnqGzS8pzUSCcHIJTMBfzSVssl5+1w+XW3PPbnOYLyNrwFRy8u8
OUXcfekIfbhNlMErjNZiNjIvFDYLB/ZCiG4UsyQnhrx8qydjFD50X6a6crEeIRfh6p1iwefIuZtS
kCMsNQCy8UL/AC9TxPmfLACHISvQhUmiPPiOH0F5lnW1BtXQOv16WuQadFzzbnJ+P8/LWGa40i+i
0zyNn8AuBsqhsp3g08o9JXzt/TEC5a96PL7tTrsUmoIR6HKnS67uMcb+0NAdBWO78JV5s3osegPr
SoVfZuEG/ffYReXoEZwplDYH/LFE+29XMaOm4nzfK2xKCP/xTkWicvaMxVmrmE3Yd5QdlE0fIMkx
chivGd7MZwgXCdueHk/9UbotowPRc4bCABYr0XzcAEkkOPlbzqaf6E87I64hp9fsTpoYWzVOpKQJ
BGEQZFtdGVBaP5wcSxT0R/uOxI2szEpfDjs77ydEabSW+sk9xkmJxDqHfCmb12+QoUA0LVrBiIzG
2UIO85loggvdNHZXu7p1DA0L8925tKFV1anjPnmhamMXbzQAvRuVTmVKMw+BgsfZ1D76ekanZIyz
4CLGcjOpN3V0Xqi6yxp+IyEWDy3VXLTig3wmI6TTes+5Pht/9C4KbSTQaCw4MlJWryF+68OK5Zs0
4TF+VQBKene0Y+rvWk3Pg1T89IreWSxU5uhC2ayFQLynXGMf6SfhLLqpghTAc5IKGH4/F3xFdLqn
XWrB663IHIVRlCLURg7DcfQ9i9xiAt6gaTWvMJf77G6eMQkSuo6OIFkGyGdXQD6qWYgv9KM8eaGO
uDBu8oCclS4+Fdh62swqrA5dluj5qROFwa6U5AvlMM7BnpnpPo+66Il05NhUR65ShuN01jfxuA/O
L/uRoi4xObWbk+yL2bw/L096cLx6Zw6sdOWHmVPuaW0Ut5LKlmgjCZPzl4pHgYCR4tPtOm2XCnqE
wfjzfjcJY5ko8TQbL/E4PMPsrZtjeKQta0FcV7AgLEXrvBVc+SB6w9wEMnzl9PWufz+8sTS5Xaa0
KLStkKDVfAHbUcxfkPMqzhM804OAcoqpk7bc033/mD72r4crSJgi4W7W6LeJk+fVEW92kbGZpvfP
a3ixR/t09to8QjomIBxwVZdqSg2t+aJTf/m8f0I+203g3R2bl6M5gNvSyQ0AKeV254aOhWQaiKHN
8tSkQYiwDGMgeWnl7hUs+hRZafEj9w3/cuh9Z3zAtj6WqCKp7w9cQjBaNY6+u2Cgb+/lW4FaJf0e
DuNo9iBnwarOCIbVj/FW39XmWXVaCCjhxIqO38faZHC6hfXW5fw58xFTJClt18W/irFYLe1/Mxgs
Gf0zBVgB8mHKj0qDIT8fYp1L9frhM8yFcubTN+wuuNt3MB9oXrqSJRG50lezZY+utpNGtas4lZ05
rdsgmkvzPgLIjYBRg5DvxdJ83b0Fr7E9Ttpt50pTLcodZcEko1u79HCdZgYuNCD0tMt5TvLab0uX
zdl7YvgKi90DvDBlzs3lQ6FnxfU8ZGysXzqWfOU/1Ri+Pr7ZQPUt5GH/tOVDJfEr+VBIE/nw+OYn
+aAeio5vWfNZS/PbzddKP3tNR8wahN3Jvpeu0boi9SSdoryH/z6RSDPz+4bjPH68BmRS+fFkD6x4
dPzQh9/ypQB6Tev8Q2Km6mNEk/VDGJ5BPoneMCpKvJjmvLE0ljzq4U3kPaHAIA4EYvnGh/G6ntfx
zVgKw4tKBiGDU9gfyg0+9HXo3jBD2Uf6XiLgNp5CwppCw6ibVCFe3quJJHS5TDR2pHkuT0fzxzBo
2x1GcxGZRenX1xbgOg+bN2muRc3b1VeIb7xLACWCm1sQxe3CI3NfT7rGrVdNa/vkEBVNc2vguaut
B7NemZs6j+A23F4aXpnZO5T4mAYbBLtq/HflXINzIHio/w2DoseFOjnbxVz3kEWNckIe0dLpPSsu
L3SJqWoruAPKNxwQ5QPzu4wYuuGd5rh/X/Rfzs1K9xp/dLIGwjrixa2EAt9lqaDEd1lKwXF2Rwn9
wTBXnlw+ysXRbRId/YYMjWZqEm5Jknb+KJLeU8OzL2/PSE+NkxdLtNwUydW5RlCRxro99ovk5I0c
dXbzSrdcaCRhpGE4TdWrogqdJSDEI3rcF7uPpKCNmmx68utlFV23l0Cw8xCCU0KsivmtwoVo2nk6
57iOa78PyMcSYYYCK0en+PpSi9BrDZVY3CkI0so75r/iy/4Kq7++ewYF4meVxRm7hTW2BxqYJhoG
xcZM4p0srgCTYQWInNJGetgZxM5Up9qI1s15YmPR52HIrLTL2c0RdoNY8gkptMJFNtMBygDHqmwV
AUkgzLU192xEoHWe3ZdHT+FTu0hk4rjgmQIK+fEQfEK3qvqk44mQZMsrdx6VPqf1K3pnJ2BALbKJ
EvRqFVJTo6CL8nn+ns2YWaS39Qp0+xQRrW053oheQXQPsvhBr4DbW82Py1P0wKzryRVvlEdXXzVb
O1tIvpoYSboQVnlUeIjf2bfwzjoq1teA9lOMhCsx69G8uCOnQLM2jYTl/TtPji4JjnV1MrTwjov7
xyUe2EMejjE7xldW380p7fuQW7tlLPmZqwalVXk5C51xcE6+8Qv/OMtpolTr5gsNLVQys9k9uO+r
tZFctwhv+ewTT19+1gSXqBRaoidAmmIkHLaZu4KXxmKSMxmJqphFD5lhBdaxg62+sOCu8REdZt0m
3HIbkN4Vu+ESSAvRM1wNPjHd7oOxM3YQpnCwa4S5uYf6sXemAdQFWjKgnAbOwjYsPISQ/dQhxnZK
K6V/pAHWvkcVFC/Hj2OMdKE7dPWHhQBUiVlXyiXuFZ7Ko6u7iiUzT5nZRGZsj9apwhtLHRYtRD9K
rHrmMhvJ63rzzFofuYzGuyc2PwMz4WlW2coHo6hMCNiye/aZHg1Kt4B0jeMuA8M++/QeLtH5S1ho
TM1wxSUnMzX3yOddhvefavPUKWPV7dwcnYjSUl1knBlUzdyGWBFKTPcep84xvoWNp80ffoV0sWzf
4HXXuXo6aJcbw6hj67g5ckVf3nA+pc+4v/eEga22G2dgFhr56AOExh7BYMTExVBnbNZgjPbmZebJ
bwGtGF8XG2DojB3t1LNHUAd5kifXj1eYBY+YqxE0S8O+O+1MRtJJHa5beHZLVw1xEfYzuqCDXC86
b9jWDed9hxzjYjLw42Ys/Mw1YgBrieySrzst2Xs552f7uOiYWqLLekDfzuVOWsBWkTmnJDHNvXpD
RYi10Id3TIfq0gjuKQ9dUbiulkz+xqVLIZZ6h+jWtJGHWeCHc3fOc0J1r6P8zcSvmc/y2aBYkzPr
7BrgAdgae8Izv11dwIQ9nNv2tj0tuxmSwasUDkg2yyCFSU58Wl030vdxUSTad806kr7HPlLc3/Lg
9s6bfCUN3uz1Fv3yW+cNbvb1Jr4NBcy3fEXGV2+EJT6zxPEpCD3C7LIgwL1s0vmvlz4e5kM31bHD
k/19cLpXxKRX/P0vl1dvxDd8+2VTDO9VrNL56Btp1wU/ICK6As4oHP7fz5cNf1as8kRi82cLSCRO
q9H3ddPlnNHl48Qz148uLBJelq/ylXzQZwKK3QPJFJWn+zfQpBQBYn0GSnlWDA4hfAwzKRl48tPN
eYkT/qNckK41oDnIfcNRUwf6iv382olJ85iKibJ47YxQCPVPNdHhFsJ//fr62ikLJU5HVJfPezkh
3Qv1UGmneiivxrKjRBp08NlWimGwphS6zOenr5QUV9gh2TcntDM10uRRoAUazvI0R87PHbAA/Fsb
3m2NT4rOS7amhdi5x1sIXuV0UY1TGAVMFbMTWktnkpIKAmxehnlmhcPR4ta4EjrpDk6LkSjULtHP
EIMzeowSzj6Pzuz63GEV+pe4DcmmPAXhyZH7dMcWiSkuX3EI0AEmFfSeUnMAzKFyaxcMViFJyDAA
YEOnxcI0sMZQuYProvCQM0oQUiAuVPzUVxGvJNlxSlBvD2Sgs0EFkrb+zbmj5/GLtxPAUOayt6xj
oFiVfY0082zp7DMyD95XZj+eKam+PHSksC3MpwUSOz4L7mwH1R2eNwLyRk88vGYXoo0CEcTCI8mw
hf1gYxgTdo5LmVpl5w3v1227gPy89XSm7G/UZ5nmc4w3ijeBxlvW69JBo9LqYThY6XzK0e+2hS35
x7jxGmkisf11K+MQhwNoGQetfQMz0LvFEhRXomBY5Zns5ZHIhQA/t1Y5mB4YWBaP/cqrPExZoDiy
Vwcv2ugyh3T0e7vCcFwd2T3ZFHoZDSz81GqQzSyHz8H88Z2vRB28hzC7g9KDVYEZxybSvSuMvv93
tFJkChHDOwwKOgi5o70gYXyGyQ34mBn+gkTgBBhUhkWF8op7s8hWaSoJluZ0NnhL7OYxkHjdBTja
CKa6GMVshvElOAlkwvthjPyMuVKsEmOHSeMGK9ZgBoebILsPoqejffKPRGbDTQXrACa2tF9fBeOf
ql3tKIJ7NEW8M7dVNnuuNB9NGffEFexYTJV9HIZGnasl+RqDmZzzLw4zJlkYrELahWCbU2Qst8Jk
v9AoN2KAxH4xUxdVULl6dCc60kHUvQIRBgSwuaZswoM2bV36KmHmXW1lpjqGhe+ipcS9jI5wIxwR
uFKS1uWrdwpgUmDa/2HqEUqkwTPhNdFt/9qWc2R3ZWxqSkK6VYP6PZtfIiM4Q83B5Co+EQSiNCXs
nguzdqWxUs/zYyR5PQQDsjuKzm49LyDlH0auurBeXOJrnO/Oi2s8prSK5tab8SbRR9rIg4or0KbH
5rGhN/AgH2q52wh29wFlGUwdadHzuxYs/VB1WOXLYKNbe36h6iGyuOr93c+wdAJV07vP/pqjeB/3
iItdXT18OseNFg2PHn4anSj96CxTYoI49Rt8WkakkXEDRv6VyfCcRSvETKU6rA8KVo/gEmiR5L/c
27aOelNZyF6xavDZKpGBYVdLMRij80Fs4sDDPSuWQ8L3eoOJYThKDLHdmW34K1kiCSKmysmY9CWF
13JTDilU/0ZWRDNtQ6oEqwK2o/42lv9xRuWG3w0vPEFgsOkO0pzBrG9Mev0tzZW59i7P9KWKAaMY
jpkfUiFISw7qUkKbYMSLKVAyMnHJp93hzmCiH4i86DUzblMlEoLm7TWDwEeJpKh6kyKJZ/RQQySg
T267c25Li9eA7j5ji8B4yJ9ich76VMaqBNK1rbeUYIVPwNjDY2pu+ZexA5SA4V8DnlVc3ZGZMSn8
sUtGFUlmbzVRAW6Y1i0egFklt3TupFGVP9T71J0UVP4wR39M2kUx19xLUsXpTIRbH0UJxwjVZEz1
hxTD4Ej0cLyGTOSDmlkovDWr+2bMVfwwltq7FqnL67cwEw8szqWKc79sygXoEb9anjHBv1wqgh+b
O+ZHXwou9QcC/Kcj36Z5OGgOcYWQSg0HUpDvwjGvlmDDGOwP6UIL87/kAGYmqaypAZyIk0RUq4pQ
ckSvmBOVR9myCoWZ/iYNRTwbfXamUyICZmcUtF/V+rI/jiZCIuGnlbkxE1yDU28jaZ8tEV0n1Ja9
UyL50hwAW2AsOS6vB5c4pHEGydzYJ7eraPEaLks5qfhAQsRIg7ukderliJRCR033HqSw+XS4Sw7c
1iLNp4YQEkTGpBr8bUUaouAAcWsrVE/cbpDpTgxbJY2oZkM0tscEWgQnsbEcv9O2NQUEpuUkp49O
PWm4pQEfG9xJHeoVxiigoeHVCaLAQfH+JEXSAsU7Ric+7gyQZJ4uiq82MnaCx8RRuR9HR965DdNI
ITCAo3ErJ+IS/CWHO6gRZ17mdb4c9Xj+yjc8eSZ4kiusRK5pzR3hXyBQbFFnjA8x1plH/Wwc4Xk/
JPyrFOuJyvsVCPPWvh5XgfapYpvERYOvq0JRnBQYB3kGCbybfyEh7JG1MsxIt9ZqwsqkoxVd4HDs
Kfc0djW7hdJ8xC2WiMi5K8hVo1F+jY5zho/il3ecq+4zUoPUf3yriRK/DjgRPPY1krc9IVv/dvdb
2CEKqkqv5IKuShlXdmPRGYtPoeoNpYnhlkrzzoOnIlbt3Lvvn3TgmiVD97NsXjMnRl5Fkl0HV4bQ
INxSQ0xQ8grFgXorvm/0A9Vu9zlP511YJfKdqO7u0/k8rYpEOKgsonox7IDLRx+irC0s04jsivhj
RMDJiSZkmPzhzcOdBlWENcTgD/8PFn/ICC5fYqCTLxAK2ION17H0tT84bJzg+2l2mtUwR5FGWZmv
0E3iotTzc6QAZSBdv3Ih6bIyne33+yZogueuCfRFukrd09ZYCAt9Ie2y4dW3rbpQqT6spWTkpaux
N9rJsZTcaCWOw9c8dcVBPQXzgZ41LHCJZipmEd/AMD/5jTj9OCen+OVnXmpnoRAB+/ePXjrLCQeu
MIVLLLDchc2O8ifkNyJvKHkqSPXksdNCOR6hlJU0tZmunhiynbJrQJqts/XzZqoLnszWY8XstsLi
7CBxMDyr7dot32SY8CCa1Ha3fXeboC22RySs3wODzd6P7zw+f/X78WOiKeYRqgQcLbX2fktCvO72
PEwL83WDg/I49Dqu6+t6cL/7fg9ccvhmiNa1tF7b157GAvV4mP1fWx4e3//zTdxeVPP4Dgbh+M6f
X3Dh4hYEw3XN++GstvxK3MrDt3Jevt+/qiVPgUzn1b9e9usvz8N7vLbVxQIECHspDbiAQkS1VImF
HhjcF8nc2c3cx3e+Gs/lN+SAWYc9SZ7+hrCiUxJpgGhyWDYubtTVWRKySdBAOim7T6wOwaZ7hLJI
wOxWIbwTTmE2gBFO1NwH2ofKfPonT/ON2ckaMgfVJCMa3gu3K1N2pTU/zdyBMZ0lBUv0hfiJng5/
2/l1eAlPmyPLw6BBePJ63HFld3vaPU5GenuhWNJQhEVeybuHr8leJuy7UK4lXqEa8nQoolK7uMxF
2ijqAs31z5wFRy/YU9FxJIpVKGScid5EFMi5VjHTBxhn5C+y4BWCFPhqVnX83KADb534uEv8HHLf
QN6f53wKlYY4A1klEz7IgwlZE3IkjU6nWlvKfhMwShhTzSc/GGFRhDhbp4SjuisH5Vx0Idr9qGKW
b4Q1tOVlTXHuvBLX5PxcKMXV3HGg++PZ8yDPs1B+H81GMwS4V/lWjLXwsRslYpzvxYW8eNHn3tKL
V3YCE1Tsur2us0JpYrE4+dlgvgLQ00JCyI0I+7oZ/MTli8ZQMaujlEx+Txvnttd2v/bqwMJ7JPG5
b3pM2LDyXlvW0/DNgA9kMarY+NQxHCb0Dx2LpaGIWfuPdQM1rr6FBGzfzNrZ5b0t7HbWDA9m1/dn
9Iiu7/W8naUMS0ajNXUKX9iexImwfUbSehSRvLwD57i/l8Ezyt+MgH/7diZs21k9Z8Aue8+44uPP
E3xav/yNuqRTfshXVPEXsrnnRiN8Mr9Qml/JQy1iNbxRt+R95wza+P0SPIbXL+XQCLQNsIVQg9Hh
tLvHICSX5/ltjHTuhS18hCZ2Rr61PIXCsrdJ71dV0q2OQc//9AoTI4BJfPXAXdxZMcfgRlbFrrD3
g4cYxkqGutV9U8fN6mntFRArNfN8fu91K5FqG+HxhSD6Hr/CJwq/pJh8bVfj7yapFyMeD8EBXdUh
js7p0J3AYZwX6Xe7YlpsGAsGoAMh1qpd8e2xOTIPwp+3ylQloOaVLfPyH3gRKM8/aHMPPzWrYieH
ygYTH3TJg0t/n/fexW+wBWeXxW4XSf1RrYQ3HAC/HbaSwX47x2J4ccZeGfVsIsyLgzmKeMXsxYKu
tpKnx/lSpMApkYtoiQCBgDTTPAFsvDGEHYTjzAn5L8qEHdlOumTYgSoIBTXUnTKKa9LAFkeiny87
s/BKv46EhTh/hE/vFsvOg88d0Y+exHf76I3eLp5AnZmC6f/h6cyaFFW2KPyLiBCQ6VWcQAZxQn0h
tKoEGQTBCX/9/bJPxI3T3ae62lJIMve41tprZX6fFus0RLeU2vTT+VwgdqDStaSkHD2nUpQemqBY
PnbmqN0ZPaLbxQtIAq2TUbbLd9CW9HW3J8N67qVjJv6WX/R1v08I4fKIfpuxvIaUMygon1RNxtJV
fhsbQYnvom2pLLVVflaDNw265W2hBhp+zfxNt8YKBFm6/XeSsAj92FjhUJoYHGMbt7FKbzDWD0CR
DYB3h/asQl8468jJHD5xLZwIxh1zTogLjCLC3OMShNW/b+VYAnxDPxsMj8cHQSCLiy3HFw8G5I21
bOPynHiJN9xwPSvxMsgl0RBlPTBH7tUbrOl8euIquRDQakAxmTROU5RhPOS/9RgcP8Yih5pPtdAv
44FzY0BKkP4pqIeM3xKay9y5sszicqH6+UXzATVZkXDYyk+MbfWNLcR2FkJd3RJbXQkTdWN+IOOr
8vg7+7r56kanotswEGNfLK9LgdBg1elD6mt9faVqF8mRdvz++52gRxOadBcWaTopF+UC0msfClOI
Yn+5G+zfP5r/cOPh2vAN/1GOXruKTvtKu2SL3pF9+H9uu7oFeihtiT/m72XqdfsseC2UwwvTKrNL
2/kg7Dw6CnszbHbP/cPNT7dduePGtEjz2RtzffqdpU7tKXtlPphX08HU8Av/MRkyHec+V52Kmm+6
JjiZCICYWIX7+GrbDAg0/ARHZoaD6XD9cAtPYwXMNZsOwlZUXgxf8stTxVOqKF0Jj/p2pfU1IMKj
gXaipEmafKrQUgQsx8kgkcfSWAtRYrpTGoHY6ghMnThl9y1xrk83PQvZJm8qM2r8XTCIQ17kAnRX
bYGekH1my1YZl0gVgkajyEmaLkrJ7Fpf9SWuCrwBVkecDzm6etqK3sx8sOymRAHAP7klppEjjh6i
MkXx+LPPiL77lekTQRyHQRe3EEKb/dAf+iaMsKEvr4d+DffAFd/UfWNjLJtt+3ddp2v5gALDvPRK
r758Ef8gQ/mhio05/XrF6hUy6lqSbTl+/n1isc3PwIYfsRQUs+oRljDf3rvbl5rtdKiun/mPoWyN
+yyzpgU8RWvTKVPlTcO2qs6ZMukQAf/SNf+tlOl3kdITV6aNMnkN59V70tz2lbGUW/QY7IcV9QUj
YsHAzQBavF4CvUh6+4oSNSjJtbSlpvnwYMDr3khVmYT9HsEu5tmgLffOJygC4YEaV6v2AB0G9615
3zby6tl4EpY0nzzTudxMvvdYoZWlzXRIIddDftt/NEfElx+3oOdTz1MeFaV+9pK8eBV2wSQtAC3b
2wm+MW6Ylj5c3ifzI18+ePf4maL6SH5NjfYdC8puOc/mGntZixRsrlLaPFZFIOuIj02vnRCigJjD
8toUnjAdC8Up4TZZo/I9puQhrcv/5L40pqUo/iD6/CTDKQ1ebf0N+xViEmZgLaE6o2VFZdS31h+Z
sbb6rKeVQKr2HF//MJr5+NGvQFzcpVX9CJ90rp4+AblkbIp0/nxNsH7fm2PlmzeToJqJDktUnQs8
/5Mf9O7JLn1PcljRZlRxO8l4mOzegE6KWU1LzorkcqNq4b3f6PDAP3ZOMZ9ZmQi9yisTaEa5NF/h
4+Z/3ghT+D1V12YO9afalmcjuu+hohPXlDD/jlnhVKYjF+uhU5wa4/ySROvdYjI8XJnzo5vQIzNs
dTjPDZ9Zou8y6L6uKtnG3e0oZaszKZuVPwopUbHT5cX3ERAlaUP/PhzL5kalFbf63mffZiJNrtJK
pXKthvJ1c39tsLqJGl+V6ec1VRvXuE671HncJyl9C/lcAqnpZ0U2/3x2/NkkkBenNf1uUqL79pVs
uFMuQ6EGfPPfoM2IVVu30Mfvq1tbkxJMueFbCGYCT3lPCoqj8UuevCoxouL1tft2XkO1RVW+clTQ
ISCfhuHw6Ru3ubhMyoH1VLs5JuACVv2zSYYBpoTzVdUrvZ5+0Z9ApvZP0/3i4z+UCenUIzk098lV
3lev0KAMwRyeu6er03SS0meAkWBsLLq/n1l30LJpsr7RdaqdJzqkb/+hLgao89zdKw0i9PU+jt6M
uwS1hZlFawpqZGu33aixbCCBIHDUU3sbp0bYYZoY5AkiuUc3YIxQLC/dAe00durlVswVOF8/31Oe
7pN0knyCVpmnG0Li1pheB0tUP+ouTH7r3ecuoJZdSfxGCe33egIdqB9vj7GKcEHOkffv0+w1Jw2h
cLQqqPsvdb8605L/TU8WnO2Z9B0N1kk3Gdyd13PaEnhbK+zEkzEiND5x/j1wW/g35jpl8CqhewsD
KzWdHszFz90ZFHb5mGaNjRZuiOjq61gZs+sPeB/jMsi9waLiNtv5PZvcfwyXEw3GEsGY3KRnoH3t
LOAIm/SIuOyfgWPugc12B/2X/Ud65XdOCt7yrxnY8md8O+nVVC1dyy+fKxThv3S/rk4lzd7ytJrx
iDpAlvn4t6ZxjXayf59EevAA6bHIncpXu+ATfSm2giKWnBclp5YL8QCPKbPmNsGr49GvT1v6u3dh
hSiMMQNbQSEjSDxWofAFtd0Mh95r+wxlgmOC1N8HWMxLe0mmCjk+oYE32Dy+Av0pX23guQ/41t0I
CBhoJPCvgEj5mN4zjvmOKC+mYrX5Rq17/W2pnRPLdRi8H/QWssWAgRavkY4vYDIX/ZuXnaL1ALoK
417ZwTvD3ttYcsa1KEgKgjUFpkdB1RpV2bgH8wsAhNGGdA9p5V3eyweThfbDNe+9tOx8zEPPY6Gb
dgYa3R8wK2RkmJX0D6Azthr88jXDoAMuxzUPlwZc5Dg5UJmnazR7HrI4i9mGUOz15arwqZ5IIxNZ
liGup9s6A9BHj5hyhSwKGubSwA0vzI3pqRHBLFelOOqRS+Jzi233l0ZljAzJTPh9w+0cZW9Fyr7c
KWG9r7xhmO2o7i8+bhaky+b0LwIbhn1ohq8LCLL9h97jWotSHghLYTG0vh8NZRZvhFsjVtzUf9aq
QEZxPQhrVejLaAgw/LbMWAMQckE6R+ttWUTUXTv2DNRQIIJWAphmmDak0MpytGrMBFZ+ZYjqZWMD
LfV2nOsj1p7zgFsjjud58YOscIyOnozMT3vhcQDvFgi3bJwAeSPcu9s3wnpbUUYG+pbd6A42GAA+
TSLQmOjEMdiRU0Fq9rVLy+6S0VAZy4j0Ev4QrN1tfnExN4R9jibc9WSkIzcBHRQFHUQvuinbQv8G
n4kOEIhyByOz2nHPTniNPpndP0f512a92DY970s/BIoVuJiBw04Hma6nkzsQLX1UqKOXLt5bacdc
tsRaGGO2mc4G45rI2rpRPxip0uhjeM1RkE3OyPN82AbsNDF/VV0lvwIjf6O7BXifHo7pPP/wXslB
DvJzDsQUr7duDhkO/joCTvZVbfLAD5NCutGXNmCFsOEoh8ACQoNTBK6sh540MmQySMpSSTPK+xG4
+cq7j7FQAA+lndGNchgywEzBpSPijUWoRlrD6ZJnqIa+VR40f/2eZBogvF0w+GXHK+t3Myr+HGpu
d4NGUoW0KXrqDxuWzYBTAjYV7CCCEb04Oe98rMbvbV3bz7+uQEtxBB+kD2DmKHuNGBXACc1DwFrv
US3x6hG5TvbDK7X4k43A1hqx6lEdqCL+jfMnUwxBLXT7XpUER8f3Ftyn+SudHtooVcRpwfBapzt2
9Jc5MphQ3viDWsFfy3scyX4wTzy+l0u1ZcXhTTbcwVLyyULrPSwU/bc71Oi5qqOvMWLyjMqkJWP0
ku37H0gYzn3MfRtonfwh700JlPqhPBh1K3p+tV2hvQOinqa9OSK6Nfj0VR8QZgLcczWvBx17AEhM
teC7aQ6f3+EFJsxnrcXE9VQdtRiEbx/ct9z560x69mRyanauXemoIWHivHwQm+XVloDjvezH12bf
wnHAuUBpgjdwOw/24EqVesTG58//vjDQFEL+le3LjEIdSPFY7oUcQYLhg6FjjNHbylAtb8cSlHto
Usij0s6qR2rAen8idovy24ctzg2pMTpVR9aPhZZ2DDKfSbv7D/O8zd/2zGMHk8sD4pH0zG0At0ps
GrCndLJpFhVj8l7mZx7H7QyVZEBUTSqDcg+2FCYtk31g/zdoy2EWTablEGcD6RkChBwBi663lOTM
1G6lcb7vVtmeJ8ovIy6fI3mT7FpgExuKIgYTGdbW2UgEG4zzou/YKQ8a4cnO3H296ymJnltj0QXD
XbowD9pcInG6barAiCmm5WHx91mZa/XyjUiXCdn7LVN481A5sIfifsmdi+xOWXKX+bn70T3teN3k
R4yOSkKHgesRvZoY5bhF6a+x4b/oODTGbCErkOCT5kOuiV+H96o4kuUr20f42XRH1Kvh3NRHasnp
kT0OwXYBkoYNpvzl0lgswkrB4RRi1Qp6ejvKf+8/URZO7U+sBgDYB7+8vDnDvmmBxCgjzLR14ilS
y27vk3pfmlA6Ri2JACaLSsAZrTMVuTPYPD743x4zjMpUVFOEG3XclHW5/T2iwxDkdMaMGRzMFViP
fz9bzegaw3lR2BVRcur+8T/u4R2J3r+c1pl1SAKIInA3ZP58YBJmHcTs0nlRkKamQkEpmT1uY1Tu
8P580dFDQgSfxrU6gpFDMPCmNPbCUdjEg4QEfP1FRFgffQRdZNwnI/78/18JGxICxmbREaYlMwtR
paHN17yJTjcaTSgMNGHC0L4KaZLmqLkft93J9iMwKUpwpoD90DRkFNq/V2Gx+fp6JTxFmvh6GKBX
3IwyIlNoSayrZRsQcXEiXI/sV6BFEaZiqNPcfNr8IuCyviFCGmYdWk9qLNLyOrxI1FVb/936cuni
oAaSa3aTWjxN3CWVUSS/iE137eVFnEtb5UhFRmFzM/f0u+TRJf1SYszA29YlRySIvQ3qnvDPww4p
oKt64bDkr31VRwmNHxSZYf5k8+t7anYLXNWjnr+7o9rOMskehu3hAT8jhvJROi0Y2crurGAIUVSb
PJFwzkfdcNSgi6ONCgbYdAtg58/PTF0kJ2h87bLdfx0O5AciMGcTJI5TviYtp5pDJ0YL8H/tFxTq
uaORjMiWwcA8ccyhAWvISdwEy5QgCiPwqceQ5ayBTbHtCjxOkAbsR24b/Rh3U//R2Oi30NM6m8oV
oYlFkeo9gmdGtZj5CzFnVI4poRURllfzmDqc20NsC6MRyHxWxQwnR/CCHeoRYYNvgvmyxDnKiV7Q
uviOlI1wWcfsksUVWmaBGsiB4lT7av+NrGN7KYNydWXkgzR57dJfy8VrVctu8yrdjvkWpv35hrV5
JhrHBepIleEe8tlnMPms+JJT+sCJ3MbcEg+UEgJuptdYYZt0nGEyd2SCiymmopbH33LcocFhIm9I
xEmagaVIMBY3UcTDQWYxwYPjWBPhhcD/QUX84rTycXqkhIItsGgY8DxmtzhdptcJZa6C5iTty7/h
/uqg27RuJ39INcKh9a/C6o+6CyTQloIbimswT2jZbJ/H6njfYnOlM+v6GYywxgQRVGMg41hB4ZPy
ZxztGHQfaDhP3j/BZlZHOiBYeilCTvo5whzdmOmN8/zndLPwS4+UrkB0X+EkiyPtswKj/qHgWudj
eLqs+6oAPk+OszZgAd5/i9/H7nahLEvJWHFeO3CynvI73PS/BA2vCy+m+rbG/7W7f84G365TAcJQ
3XYjillEBMzrkf4wWjU5GsLtvV3TKiRKASgPaYOnntiPEPPIVhEsx6dIBghRX+WYKKdBCxBziY3e
KKhJYlvpvFDzJa7hknkcnzOx/FODPzxWqa3mVCZsXvVBC6AYf855qL/tVyIoqgbSdKJ8QJLALq2O
bzRS9uZfH5gXyKYMZbKfu44+XaKNUFDkVL32t18IRBZOdPc81YTJyPYH5QGl6vr0PnWn92G4tlY6
FT6DdDaNuAPtqO0o157ZB3k42A1D7OPrmGCct9KWWyZl+rhDQvzbxlqosXT8RE9owj+fiKVk+zZx
s4RLm/0WEcEgq0akLhR1f0gSWMj8AgGKNXu46uo6cT5RvSe55iDhZtBsHKCptu9/lD3RSMYMzNEb
EtpPfub776VYldwmY+a43S6i+urWP+nvfX1DOYMB6nSp4CFkCNMxpzLfsg3vMTwgXteO6k0ekG9W
yNET+F54JFwuVlHa5hfSNEM80KdEajb8zWOI3hQ37z8cH4IVGAsIrv7Wxy9hyZkXaWwREPW1TehA
rwXcEvxdQkJgTc3mEd7WDeVm/ee+by8kK9RLI8OHcrOTG5uyCjYEz8m2GPy+9+XflRSPAknYbQY/
Lbo4JMCMLhEhgM16iAkMP1zm60IOz5slBLq7rzYivEY76yfr+Gt7gtCxulGLAt9q2o/LIOyX7OV6
n/AMYcju9JBQzKhmlL9oCqFLa4mIebh5XISLJzKhR4Tu8YGTidG7ozZyJnLNY7I8xCLv7RjBnpu+
kIG3abAlxywpl4qhswjrHmdzqUZ5YPm80w2YZzfO1zSDouch9ahSSEcRB37F6oouOmRj80Awfl20
AAO0yJqRVpCnERrAliU/XA93YJ4X1V4gPd9j29ZcejVoKIHuv126QwZJK8bhAcNYkBREyeHu9365
phce8vP0UKkddLOGMeL4s/AacWsaDAuGl2DumkXqZeAFXpMAxLPH9QaS/wxhpzoSlfgnv0Hhz/IV
SixTyxeVg3SDoiy1LWe4LrzUqzEMNzpJ8qrb90vZlQPu2zqaa7H5T/Um3Wh++ktTl3X92nSUSAWt
aCCyZmxJbtovdt0J33z9u7uJN/h5eyZvma1IW6mr7oisH6S7ltjJt/e47EedPueACLvCvuQEWiIn
oXJCmnJj7BMRMf9E1oVhoFUOc/fALafSSN8wWIuUh8/CN7H1LM4NckKwynPRqXm/beH1CRAgy1NJ
+PuHAjwQTxq6iz/ApFGXGFK9oPCOoqJu485JMzSZ6XekDHY5LQfjARLEWD2KbzGaA9K/lIs2qrS3
wnZNj3eW/EoBE4nWZiimtA49NAQvbL/6R15pR3MjBy1bQY0eu/uSCiYJGKXl7S1+uYpjba+e/vOC
pksbfPXeS9HdoSQKWtxkqtMQZMfouSCI3EmLfP4EoHpdo6F+HsAYAMEVG5taqNq7UFRiyWm25jlZ
VIduqXgk1MVGCTt6Oqrbe8Uaiq5lE7Gmh56yxma4f5zSw/WXiJyXGhfitWSv/3whW3BQOfO7F2dA
qM++p9kOgAsI3OGUrH4JXz4q/dJ/BJ/vqAoH8QDW/MvVN/qhjAunG2uTAoDpWjoOcKk0OP8mqk/i
layvG+soWnHXOJsMQyUkKX7sIMqG0pEa2b7bD37yoPaAmiwaJ1unoGMel2JjLpJVscx3nPkJrJVV
Ag+q8tposMgXlac4TdzOBSImCd9wkJJR+jvcN7vUey2s6L7R9/r0uVZ35eq+7L3HTpQKdxT+j/To
YDfUXrUpT5Z/PQzj50Ke1Jv7NME8Uyn6h9myiG2kSHKTBUzsGURh57mhfGHuSQc6z/LTGbnEXOcr
oTj4pWSpgFAonMEU6c3JdzKEJCTkNXuwPULPEot3GCCCf/yebm7m06KJkxURNuJIZgiCA8bZpTl9
LxyS4Z4iHvOSrYy2x5jajIFKhWpTtZaSyfNpX7OxlkxEyIsSG7xxbcRp0sqxeR8/MF79BCtI8apL
J4SnFjFxOla7EREV3NigDNXzJyawzAgvEUv/F2GCKrh1HJkx6RVn43uuZ2psLeiwV1RwNXCGILGd
Eq8JhMVYw5Zw0lOzBA0LRjBxqxPt9ODjZMvBxIyuARyGkKEQawo1y+4Ai2L+3V9XuNRdRte424Nr
ShaD6ayZ/xX8QdBBRET7EyuCQ2v6CVEKRak1jvWzuv6hMQyy+jvXHfpsG3SdPCwDVmmbOPIsCW8L
8v9q89rpyDvgXxnyOURB9jbHoVMBP/EUxvJluFew6RSxSGiIWoj8li9CV4Wh9OYSvvNgTQiDCdpb
rFn0FrVTQqLBGjejbPBd+trYYofIDvlFfZTLxbjr4iXMI/srz8Ml1xoBnZ0qtHaTcAh763PhdAcd
xVVKECfpct0oayNqLsm839NV9PHUUFXp3X5ONKsDCn0kWiszzk6MWpKW3RJyrIbgdzehgsSva4fY
sp3zkHmYv/hSboXMLsd9N7ZaIAyEWLtNV0H2Gb6KFultTPmt52iSSepYSZsEjiKhyqwh2MRQPQAu
M0aC4jBBIPUSdikhVWnHSOmyqsWh5mV8B02LbEwzQf8ZTif9kk8mIuehfaGdvoWLJTshi8AAAwGL
gF7+a9O+/4qjNhgRJT//wG6/zuwtnKW5vHrv/d1uGKz5dTmZ3nBf/WYnTGd/oKCCNVg1u7d/C1nq
xwV3QxbOAeIJz1krTkiyp3pKAVzZPDjf2DWh6kCgS13yILKfebOufyi/EqRx3ZRQk7mXbsy9OS+W
3C/7jACCdg3a6lSfkXi55Cedu1noHiGW2k45eg3IBxGYUCiQYCO83BZrIfmQOq5L9VJVophe/L6V
UbmyLk+FOGywJwLCq7E13stmR/n+s7v+kiPncyqg2izdGG7Bb3RI3X8dSIOmxd2pNk9PdSUfRaed
+Oq60ahct/zLx5WjwlN+rCjdfC55YMxqh+LXtHcTG2c1aVk+8V9HKTrCuYj9O26o/iPTfpGjPrzv
B2G5UDblIo8pmYPfMEAo1hGUMjhKhW/uAIvBTWSkkCsQbyATlzWsimqrQiwA4eOX4YfmaBI+Fvr4
4969IeasnGgTDbQX1fqgYPwrgYnfoHf1nAy55Pe08Ns5KhA28WQoLXrA8800WRazG3j9D/g5RBxH
Q8dCK4ZNM0/HINrGD79Ca5fsnPeUg3+l+kCa3WZMvwLtK0+QS1lc0YB80NfVXLb8RIeSMgRRTVFF
DMjTHHlZwpJIRvQmI/zW3PKFFQbJO6oduGnOe9rsgFACqTOIg5pJ7dzBJIDR9cU2FHrhrHBmW1Hh
aPiZJ8AHYzIcm+EX7fivyyhbJMslaLKdp8LHFTKzNOhZu60bfOwazlyOtSddH39OthjjhPI4qm9g
ziA0SuMvcvwC/PvwywkAEHAXKVai3d296xJWaUDiPC4DLZJnQ1oXxAMeoe9kMEdL7UDndk6Qi2wh
ACh4FkS5zJNEkcN+LFKHbTC7HhQwR8lUuG2SHIg1D1t1Bc82n1kOutpQxWvBQRlrLohB57o0aILo
UzznHIEUeKy0AmCrFpCK6LOEujh7hHvQK5o5sJkNIkcb3Wnjyhd3iqknHZ9DmQoFOui60iMwilPB
d7m6Eu4PmAg6E9eZHrK1uZcr/FSOzwzyEzjWp9cgY311Co+2GWfi7jAQOCBU5XRQe5pMKidb1fxj
sZFdI7KASJXhcyrzj/2UaASkrIRpsE2UrRET9+ml21+X58OzwYEQbYLbndZzJJ1Rkf1HD3abufRH
hc6Bv8z+6blfyn3sZQot8G4hXY2pA7g3mkMaegINg0TY58eSQ2fwtBkbsE6hUFx9cCNIh/cIcSdB
CjDecu5zCa6zMruD8E8AdTPvfqYAlYFvis58I8hbTrmT/K9b+CBGHTamazrCTgUa+9DyK0eoK+eT
ZpYuVZg8hAOTDKiX6gLK8Sw3WwDZAADWOdn87TCcdXdnWJaEHFPtAACZVkBATUgwd76Xk6dAxX3y
+SzUFCbsPAVDo/tqaEatl22GEaHj3ET0EkLv5i7YFIR1dN69u4OoAvzZflb6GVw3GM5BIqaJujdg
mgPeQ4/46DlkABh1V+JUUoyIiRccses0ncJcj6T5TmDsAQ+C8s79dgqfZaE52VaFsVIT/2mMTwU3
dDBXsAfiPMqj/vwA/j88l5EZNyDOZL+BbvGi8ZCvCEjz1fW3CQb7ZJ5435kkng1Lo8DBeztvp1v2
TrbQLkw6CuRLtUkP5v4hpFfzVbaSLzXqGim/oWHDlYOHt8yD5x79pl1FSCjYxQ0PWLCr7o4VgYbz
210SpoTrTyDX3T4FnqRvhss0egdAUWLdURxphaLUHJk+l8Gigeyy5gjJpOHXbSaM1OkWXTwYWyjL
MzADQ06HeGKGV4LKIXrGD1/nmTxcLMuUj6RadPcgYYQt/JAk4L7GGdYvmY4KYCrtDCkipwd9BXoq
yggllDBBBoVJRehdSatk+o0BJU7rjTqpAbo9wDtl5AnmiGzTFgRwFUJAD1iQdYXL3WwhVjhDvgsI
AfZw5w7ch9Og5xICnf+Rwz5Kz8pKT0fJSnOiIrMVGJGMkvWUQPu1NsbmS1srvse1KEDQniu3ufvx
xRTabFuzvI2brCCOTJQFeYcPU2TbA++V1tgeyBES4CfIvdPe+cwYwLrE/Lr35dN54/9rT/c+GGBK
iVimcoVgpO70HgYDKYOKvd17t0m/kJaa84Qor/LkxP2BjnEECxK5GVjr8Fu2GRTMPs7cdlYGKmIF
mFR7OH17CkDp3oFc4hQUTDqPij1ZwUxw96+oF8ESB0Fkrm4zA1EXUG8VP/OhDG6uM3qgOb4WjxLV
S0EGgijISLoWQSkZgZEMxkg27x3x6YNFGvaxMpeBtnOnnVcRjQonnlA2kXxUuTFenaOyLx4BUiIJ
lR42RFRh6yQME3UI70tKcF1iwiNm6RFkpMsaxCAoLDRSSA2hnmKoUW1gM7H8Qz6dd1gi2DFFztrN
yBZx0nyMhNwBTZapxaYqOJx3KDXIpzhfbjmb8bABpwsBGMF5vzvqRD4paPh1C+2Q+xK7JCdMQRhk
oon4GYOOK549beYE4KiBgIi/gdrOEVKCQOmZE2OM+hfk+xdOJ/PoJcyttXj1fdHONAd9KRio2miX
2C/kFUt8/wvZPsYHopkgjWF0TkhoAlQm/FqG35pDqNWn6QYUEs/5uXjYtYiSZlyVo0QtxrWCQYqI
02zAOGQazzCMWt6wCkA6jQcBBFF/gEn+hJ1bLd5w0oy1uRVU4IJ8D9VfVvi2hWYVKr7syFgoCUNZ
7QQi7wGw74P8g6B1dZCLv3DNlclgew3UtRyaRzmUw+oEOwoGuuCpPv0CLon514b0Jj+/BWQUwQSF
dAKLlNEQb9PONx9iaDDjxdWmSFl002pVQJrpXMUF44hol4RhbOG4VjtrjeIQfPxj5uVQpITZfV60
MPPQSNnkQuCEyzuY/76dbSwGnWW8zz1WHSPsL/nmS6aLAtjzIq0z/p8ta8G961zLE1jF117c9POC
5MLq6QqJmMeVeSvl5gUJAGqBB8MYhr81V2Fgw7wJPz+5p/IDEiop3x/B2JPDwey75g1ZXQsRkkEg
weOVl0/XnN1C8BmuWBv6h1B4atZJd7udFAqOk+Le5x2zoYugBlg9JIRUocpWCJKlqwaKIUVE6K/D
meknMLEh9UHnEzaIIRjB4zBATQjGmZecvsvvUvsdru6UXVYQ+oAFbmQhqVXHxn9cPnpv6uGfpVIZ
Rz/+0mnPJzTm7vhkykSikN/F2mOcrBQ0JB6M/oCFOf+FEs1r4IThAt3n2QIHfeOUXX6TkTDU3ULl
pLVIkCxeuLYPQlCH0h8ElvfGR9/cfF4CQ5TYxNK0dCAso8MDr5D9pQLUrqbJinMC4U0IIA9XFl9h
RTUSp/gZW8ynWUsHVNKkQ32dFlBprq+lASDyr48r2pdxs0VUqdmWTFbaKvHjr2GSdbV+bF9/9bqm
nBsVDL0G8n38+Mi/revQXDzXrdu4zyXK4ySCGN7GTffFeJ3NoJ3t8oPs3TagYZEXOyFnk55e+17I
2VQXFehqi0uQ5uOFQDgOSTb39anNJkm3MKLP5bosBOacpAeNnp11pC9APTVbmT+0zP9piz9QqAz0
H8sH6uUSwnvgjcyfdEmTnTrFELd6ddFiFDoLOqXOevtYaJNm104mf/exhWNMl8Mf8h/HBJl4L0Y0
FkSCcvUJK9GjJ58oF7w5qk4ipqVShGFOQwwfMt8MXZ1ucLKhkE25RUjh2ilwesDPlMa+EI9Veig1
YZIwOQ/bCCgtwV+zHJrcAYGTJ0RbhvzsYP5GyC7zkRAA63ylCkbS83dl2gQQYQJYmoWjjJ9AedF9
Qg9VCLoA/YigcExogd4NmQDjvIFME9QhH/JctLzAWArS/yBCwWehcpRM4rPSE0TKm9O5qiDwEDwx
ZglyfoYcCn3fmXBqHRxHGBU72OoTfZH7lveSMQeW107v8BnrqYInuoHOxiN6GZEWLE5Ayqbf7k0s
HEjbUN/qNG8ROZCXClh+/3EwsDKPgwTFPeXbxVnmdF3PSqCsGnpnoDti02AEuG0yUxLVq9yt4zcH
WUH7h9wtELJJP52GxOOVki4KFXUAiBZaNQZsCKFRsPUH2DgN0ymw0frWQHZB/ZXRZuh44/OAT+Lz
VsqqOA9XcHJFlFHHlTikQ4ZOrboYecf4ec7vo+eZU/mGQouODqWC+LYtxYHh6z5+x5wPwoDzvzMk
HR7PcbsFSVit9TPwEDeJEW5YyFsTn/1c0nuX/Xwx8CjMedlC3vUecWMWGFF+MsOP+9xTJY/AU0aE
cYSfDKxgSpWgTGWE1iUBMrXNsaB7NaRvZVAtBW/2C0zy6TSrt1dSM+xhEnSobVUAyQWGPieGy2Dh
IiokZCti8agtxCX0wAx63kf3mnnhCzrJd1bAQrX+VB4zzoKBeZCt+JpGp5P6qIVOzbmIX18ryA2z
F4kqrKr5gIiEIcQ+Q83dZMnE4fFjbk0kv0GQm0hyWjjyQv5H328ms5FFdCVF8DddusM+KGDSJoj9
qA00roiqUJ4gPnnYgs2L6vG8H7loY8FHM91fmvTrB1XpCqEnPO/+7ZoRMoq7t4u0KKBpy5MdYyPu
C8e0pOGLZg2jqtYJyS+fYL8I5NGvYa+SnjmMPSdqYDbUTIPIf2d9M4Ss5DFDTIj+IB1PRbB4I8oV
cQnncM2A7MYvyN2o4XFU0WEiNGoIeAh0JxQUecP7pIRf1DodEjVCKAGABIoMOWpIPTdKysFbJwhF
pMGNSgNCnBDU1Hk3Ey5IiGqgBDrDHpI6DBYZE5skLyOXlhiLpI0/iPggbjGHTsBjUG0TiQ/mE60J
O1HDGuBANJg6JctIIsdWqbnCIddZzlub0F+f1ogU9SiJPuBNIHAwQ1WPuA75LJIakZBKGAgT7VvA
7JPch9ntoj00MYMbLKv6ZEbZpjAJKKx9uSHZ2iSrFxBXosrZnWAJYTiutotL9CaUqHdRuYDe3XrX
FSsBNzxzJSFX5Oou9shW0FhEjImg0EL5FN1LkjcFYTgx4ltewJeDLIwRiZ72Agjf+L4mCoc/ijqK
ElfTmTkeOCl1FIOd8iByrKYStpUyQvRkeWguoTHEUiCickW5iSDEbSBfFshS1G5PaaQLqCYTAbRE
Xs9/c5+RTnFvmyHM9dIH2ztOIsX9H2Fn1qQstrbpv7JjHzfRIpN80V8fMAkqIuB8YmhmKoKIOIH8
+r5WVkf0juqKqtg73qHezFRwsdYz3M91M43feSYwBqRsnF6mo44z2FYX0Exn8lszKKJL+GFwUBp2
jCyyDpgkR9dg19EzHMBpIVlIGD2OhdrsRTBKkDOqEnlsrvNZmYgpNN7IHKFGwM4YENQyWAzNeXaZ
D0L4XyBme8MLgVADEYzDgPwZrhRsyl04COuloH0QbgWEHflIlFJweaKyZaES5GMT2XGffDonrb8z
lozIhGqPJkqIIMnGHRGGGRBPi14De8MzboIzkcMZzJu2oeIX6lgf8YvhTE/f8h4bOwdML1mrwF1d
sKemL0SJ4skeY81WkPdJHfMROcpXRaPxM6YOxMj2a0QYNbx7GYfFZ5RbPd5VBbfkzqQ4wCq+ovH7
YzMAvGOLD5NcFA4qDDzAUx3b0jN4LDPWf4mlISwfYDSDnw7yyg7KiiCeACXaA3Bg9kUgLXQwE4Op
RKOKs+1rANaCppUvKg4m9RKJAJ5LH+WsK2mym2YxYX1INDrVk3xCpAaKC+HsBPace4reC8ZT3HwO
hYKFopNGoNBasDEwb8u4ocPnH4nJ2nxGugEP7zPsxflkED5x99HDE2ANgtREn0oTgkHWCblocE6F
4zxjKB700ISZQ68NboEai+9Q0nwi7hZcYh8a4rgZF5H4UHGucF4W3Ug80jUHJCcTH8T2oxq2Cu+a
j7In/BpJjBgOYANF7rvZJbtpfYgf4tJFMswmorumnwPffIrVTTmDvXCYwQIxmKmvfIXRy+tEZVA/
HxaRqFswZMHecLcp+kq4WGWQ5x4+YCy+4CGqdTYc1iDnb6LPin5sZLCDiQlOPicnt1687JsdDdAO
oCXN499nL/YkcM8OgkirpFzD+L/Y6Ub1UoXLQPDA5/yinsWDyFx0PRWr/C6GmC6uiMalsfiVj2c1
QCO00QmA5U0W0oWDFNxPsoWxQVhh0FCiNztjoXMLiXm9jHxK29C3jAVYrzncKtvk+6pxsdIpoWTb
kpy54DPc2SlF7UDg+NHE+X2KUKD12JLFjcV1D1YTo8dQcO5BNWTSLICpxVg1uQsDq8r6SYHyvD+x
hRWQikSxuxszIDYm5YFb24DmkiEoMLDJwM5tro4QQ5590Vhvx1piTDnoh9dUMPGuM8MTtB7ZK6aE
wAhQlC+ir1+EYxehRDkzUjmBYTvNkEmxU6mwrvI5OFpvEFcgCqqpRNYmr/t0EpZS2hAe1ckOMmJz
zFFiH0VeSnZmplTWjipAyJpEqz6COxkIEgpASCgniptNdgs17NInDfE1r/l+WcvHqJ3BMZ7U2Mml
0lj89TUC7hCSjY3OS7QiHuDcrVj8u8WFhiCJcLFib6MKSLJ3MCbS2/5AOiUfOpiBfWJzB6ANaZ1P
H9QMz9nvVJ6WChieJDkmnVCT1xC79Y0l04s/Q/FKPQ4Q9EscLbf5KSGdBDHArHXOTsJs3EROTd/0
BTCCQC/morYtSR3p3FQkcSLMNL4J/k6WNB8k2c9jPCB+EDl2hmaMhPv+paS9uDgKZKaIl7FZwCPP
cECLszYZMHdlaJzi7glwjIxlpr4Vt+OTlJxbelKT/pu+HHRwgqHXT8jM/WI/YEWLW1yDqilQF4lk
+fZHJlxDm9uNCqppoAUAHglzgHfwApKIXynQNEEt44uZvc5nPXSygmT3ZCMS+Tm8tSMG8zuQGEZK
tMEr6sN8LqVAo0UIXB2pQ/Cyu7Bbg5NyZNbnO7jOBrwxgVG7zLl/ORWbPSM5X2ZKHg8AbicoqgKs
Q4aG/zTIN5GPSxGUO4oIBgcPhxqNFgoPFPrF9noTTh/c9dTg479CFe3SjITg9LEEn6MDd8hpKBYG
U4qRWD7G5LwS+KHBojdtyEvkmUaIKr5751Y+c0DavFMgWZskG+VKBZFWHtQpDHZ1Wh0Al6uol2bc
bBDNKwn1+SFbnDEpXbxWCubL6BqBrrTm0nwDvwu0a9IRoe5sQ3XIey8Lc3NK+cN18X9/+xwQhaZZ
4Ugzga4kY55RHecjF/4nDd9wSpvVFRQLM6lsYjSB8HES+fCHvEs4FFKNg4+efg5n77r4HKDBfxBe
H6QN082wX0A0D3uVf057hyzOt6qYUuHVz9H9p4iKqHcooxZBeos/bB6rq8voGXLgAO6s0jIqqNWr
qyLqELVH1y1c1PD5k8eXWD3swGN4xByCxFm8YJyLfED3LnuKvTRc6gmpBnnaDYANDcGQngbb+WDB
30YG5UGGkObZFDHE/OG1Iyr+NIcec1HoBu7JSG8FEmsweY7vZLBnovc7chHVG0zfpIoluZ+ecPCT
AUoz0DlTKuyUYN9DYKD0B17BfYmv8PKEHkgoH4xQTTvAY1SUacuRPvuYKbD96igMZvrXgEl2kwYF
GS2AUsCjvWFv5DQk8oxJkYpQbrSXLx5rEVT3QNdWdKY5cwUg92laJX1QimnAbJZvpkvYL0CExa1z
gvcGjT8GT4Pa3IyKaTZjshXCKDV1rkHwLOulDISh2gvyI2s9yEGvXaDR5sQ6V8rKv/VsMKxcH0cW
vEOwPwMQBO3v7yAJAMVVMUN3Ljs8lSZIdcsngI4WyijTWjySgujYH1XwKHchTjAXgHMndvU/Sl4S
ewU4ngAWMt6wuvs6AgCNMxCVfefucKuhOOLQEJAhuE+sBUQ0ZIDAO/n8HCJPibMCk9+g5BzRhtoQ
OZ4nuEWiC9PnMVeIHLr1Lj4lEBjZJ/KZQHVAM3N3RzCfrgChqhx4PaKaHfHtjjNYcZQxCB1PhtWm
OCRrjDgxNc3PLVwZkljn4aZhM9QDyquMzS+8MugQJ3X4jG44PzIt8IaHZhzqUX95jYqFSk/YSB4/
3apdPQFh4LycmqEW9hmtqtYIua5HJR6kt2M/QlUqXL/rtQZf7YIgFQTRD5g9ZjkW6kyfm0m5YDaA
+a6kZRwDUAgFynnNe0rBKCYUpVnwNeDW6yL7YQ+PiUEQBWTWY6EdoLKNFLrS54XoTe82BUWvhT67
oBORp9JSn5Rr6vEMMqD6uIyzVYVeJeGXz0bv/AxeJJD2CHozh0M2ua0VfmXmNlHZ1qUxhwt/5mDR
qARmC9pOM+LRg56Yszoa0BpuIeiSnqKtm/x+Hc4InM8wpDmW1Wm7gXm2z79PY3gpy4+dBWYKbox9
sU+U+mA7oSLXP5Rgj9uFmllN9MGW4TOhdT/jsaQgKkf9GP707e40TJV88cdif973UFZ/KV+XPsWS
dg0xmhFJPIdOAKXIfUuXp+cCqEmLxANEsBb1h+JkF0HpfX1fQ9dd3CniiiHzB3u9MpeDdkZ4yxxV
Qjgm3p548+LXM4TLArUY7gSCa0zplUxW8kpYNAV90Rtlreq333eknh/mYIHvnsZ/6rP4+tOSboDo
1HGDaKwsWoTIFNmemH7g/GBRx4RdRbAngIDUmG7EOoJhC00yJGGgGSy4W6Izz08D4LdjSWNTjIkV
rXsahYTklg2iDBjte/JxDcrE5ylGoSP0xqSF9RBjjLiccrCWHKc3KgwdNfkslMgTOegnp1HD2WxE
xf7JK1/n0MUooBGGLUmLo2pJ5Tu4M4Xpi/hFZHMclXPVhW3EE3aeyutd+CEuQB+c/nGiKQGxK3Uq
nsgJGe8YvijpM44GIFjhqUZkR3E+77sc+nwYGoDMXXzz7kE7eTMiB+NW8lTawEQGfFcvEXeeJQBK
ulyJA9P8Lg98DkbwYpsGvDkXoLtTCSRIHLsc1vOe/1hBCSRgoDCfPLhDDKCOSJJISrM5gV5GpD+g
NScHasi6Qb9DwH+D2tmRqF9JXh7HAiZgSfpPEu/1EmLBiUJgw9CH9drv2PGkr3r6jEzvMW2oyZf7
O9AfAxOaMqaLETNchAZdgDIBLQCM4fJmp/Flhgo758aC4gQrix5olDF8cqQToUSQzwlUNEbXUvbr
ORA/KH9rfF/OMP92MdEMHxAyo2jHitZt2T+FHwaiK+hg9bRMRH+AAvTuZhMggZtlSJJQzkx32+7r
tBddkNNSPNWgFDhjnjzhUJnXpi9Ckx43UKQlov3Rzio4h+2MaCjq1uzxsQhpCFBYh4WYaqKDYnC9
ggZXcUQV0wc6QNDiGHOjsZzQn+IT0ykb0GCmgiW2c1KiWHwygtSm8ATuQnM94KRpID+DEfFPiyfb
ZwE1shxVwo6DksJLHsqSW1JwJyig5alT6XuMpY3g8ZvB4/BZnWkRK7OW8BeeIz/fmIgntoWIRk2Q
Z5VuK6gTHl7zmyb5N9leYjDP8Lt11YfBFBIfQVCU/5gBsD3SuwNbEVMl8LBp+/6c0t+CKNGOtCmI
oGAZUvA60Mj/OUfQJyBu5xZBEsU8mp0B/T06GkqgJrQEqNnxfh3SObo0g4ToHu95+oSCbzfUh8e0
DzPajonCKBUQj4GgIcBCCloMrGybxQROK0KpJwakFjoX6OMiKiJ4WjDW+Vy0vEn+9qbyRggEPRdW
O5FS5SgatXb1xiP0gUkwEtEW86U2jGyw7VdXVDr1Md82TpkbhTHP8eHe4jfwvidB2T1U8SKKKEZF
1xgsL8UP4UjN4TMFIzhD3k/fU7SjM65Ymkh0PXdJQ0YqUQwgttwQXYKmlwKyUWqKEW4Ox3NUoOQm
xqRJtBEs9NehOcDtoMtSi3BVtGx04XyULejgDKbntzdI+GR2yWVx0W3uNJDEHBBEmm0/Y1GaNoLa
5RwbofXhfhA65rFggdwW+GiU0WX7S+pvvHxbRvR0OZ4M9AnvZDe+oQQTmtQB0ufgil6IGboWCP9g
wngNEWQ9aZBuYOI0R+NEfZgJwHk2U4fsBuwsFFdswmaNeBcrGTtPlBHaWBj8vUnOEDRla9qqt+kN
hRWaJ5rsJXUqbCUoLdXenbvR8wveEOJqgtArsV8d7IENYijAM8M23dHXo/wwEzeOzwgIvagCvilw
ZT9GhN6Sg5BWOIdMMzltzGDHJ9oJecryt8ywEPu5TAGh2widwYVI+OGf9nBOaU9ch4r4LKcauygZ
PzP4sMqhIyM24En/LSnR4aAQy0rlSKNLI1EMJXmdk4CoAM2pcVJT4kijOkJf2QFNSZLwYqOo6MLQ
BaWeTWsbuDLlN7qi5+mLwjTLheoZnWhXonAtHBYePCAPsPBs50SGtajsUEuuXZX0N8N5oUdh3RQK
DipE1L84teBdkBaKqBHsC5uLhBeaRsL2WD729IIZNZmAgsKcu6ZzLJC8BUZ0FKSibkaRzC+x+yno
RnPqR6KoZkQwwdn94K6CBIX1yTQcUWoPEFmxVNYUGL4IqRnXQES7NyJ+4yQY2DhdXIeDwgLqXRLe
Qrtf6mLH5B5C0B+/fDpddMCgJW8A8Po1f4K1Fdekw+WSzq/w4lKoe4qI+DpphvjQQMB5OzTYKQLs
tq9RP6lZDMr6SlTcraWIZjjxE1s6jYCHKPYE4qso/pAJDEbdBHh+UBCMV9OGeVr4og96zmhY6Btf
0zx9Q4f74FN39mX48p8jSfS6oyP9pk2prHHeqFySb777w2BVsZe/qHOPn/iL068nkidso+g3AbnC
+hCrtEPYQmmQUUyqeOJ9UsX5xbdBb8Bf4k71kbtIH+smynETAPigSn8rDIAjG2qIOv1yVhLXwAaO
7OcZKGudRPtKmWkQP9fiu3+ri3E9ZgWR8dfui490Nyypz+xEgsFXfzhkiAFHwo1YMI5oyM95/9M+
jh4EK9AAXxSoOCz5uY9lHx4yMScRx92DqIL7EQnR14DYowt6LnkD9EKqnUm7btcYdH1GMtGkRusf
fcG6d7zMK4wA19msIRBCcLAXIgCg4UuVfgjeU+DWqT3NGwpVEo2LIY7MoqRAVTd5ULA6JyZlCA7r
tah/VQkLcdwSWImC2TnpHUFT85FlM2pYwIUpdqx11MBM4SARyOasPPPrnDQEzsJxTGYEM76TNek8
Ex/CgZZ1CsGTjvOy5I31Brbw+BBestq6Itarqc43pHRIXHkeqUYJ6YXdswkUe/RDLvS1arjG5hcR
3j6f1dPescT+pT6el3J05ZbpobwWXPlu3YMkfqFnBJ+KJg8lGC78ceQd8Rj59UHiqVR4nAiKllS3
BHEUjtMbewPBoeqP8rnB58IVD3WkCWIBStFg9OFzArk8FlS3gmNfcV5A2vF9JLz5HMWjw1NIbEvs
kcNhFvUZZHdII4l2QWiL6pG4L/pvdE+6vBXhqVDinBPiQI+0gvKpAe9vOcA6xrly8orcVYE1SOuD
WlGVnBGOVJS0qSWPiX6n2hcveZq+xSfOM6cQifm45uyGIiRm/cWMdfs1O5GI9NlUCHxk/xK9D1XY
HR6LW1r49ShPQf/RDHyPMLwnWpsWi4pq1yUqwND1obFR339QXD1DjjRAektpPsfsZ081tMTKBUQm
tZCY4aRIUALFA6utQdls4XK1tkFk9At2hVxISw5OKd08uqoqEHUCcWoXL+vYsR8T8IqmI3nWeS8z
BkQ/UYpYWt558Zl18G+76c0QiMkI+d5IZ8ykDmloCqo7bPOI6rzoCokyjcnOzZoihRKfbPtb4Wri
Hs1llaFTAHqA7bNxA0dVQWDacBaWQYsu+UwJBvLmHkuuKN/ne9S4YM5IxDKHKLU5/vH54mzywr9o
QFTJA/AlpfLXbXIJRE2OKLY+8guVu2N13G0J8Q0QOmSUJ37TY5YZypZyBx+QjhOzeOxZu+15eTdx
NLiv2y+F+mU7ayMRkDbogkQon+FvJuoBOsBroQuQIfmeEnIlNm9pQrOetr0AibdRO8PSAKFeD+z1
a2xuGiQs1x9p81mJ6npDGLNLzI2OHoLK15nDMN/2VqIClm1pcaT31i7TMsq3OX+l8Ea480OMBHmD
FJDQkkCUIIdfRWRKE1CiLJgDzUYVf1lIGyFAu1Dc4t5N6cwuaM4jjqFGjfDqMzRScbDL8Lm7SJSO
zTnJOm5TKjYw1fjJQ0weQf0byDh7iRJxToh848y2ZPJcP9mINTRI1fI3U/i1uaiWuDSJgvmSPAN9
gdAymSTdN/Jj+Uts0TX7kEjnmDQEIP3hFvJosLmzyPxPAgWZGPwlOpJRFogjJUOa0HETG7YpNq29
QOCDjrphVXKDm/8rbfoqOTswGaGm85udiLyLan8iug6wn6YGe5NwM5B5xxeWcW2zfDpq4ZeGZos5
wacCPVy1MkWaOSc/JqUjJFkNUK3J5AGm/8T7QkqVLxLg/XuCwy2U0ZZJYjK2KT4oQ9NrgNcKdDKe
J8sckuC8HWKhNnkPi68cdW+GP6Eok6HbHSOZGNcrc1ZE8mZA5YJK7SChPQcyBMGFqOeKem8zarGH
hGNGmQ26JKOBaMmDW0jdhCBa2SizxwogmOnUKzQZ2sbcGAwI03WC+HsSk56ifPsjMeFBgeXBUUdD
DFsNVGKoR/HVGNIEpYTTC7rkirrhjGYVPnN8D1ldYn2SqbD+FoibyhR3pJ/n4hIjasIukALrJb5S
hy1SgvKCL1IPuA/jOvcuhvy/JHGA0tR4HZ6vtQtLa4eCEFQYFp0IpyX7w03CumD1DomtD78pybbi
T4TdsY76mATi8L55ZVRGmHH//kMeP3+QVoXX37hcX3VAf7YgNYYqWQbxeaoDeu/CAS41GXpUYfCE
bwbhCQuw865EO/e1qJ2LMgx+JIz9kylwq0g5KHlwudwtYWnE324/dzIALgAkwQwDKwberW/ZG9Am
lJyVJEYMSHSEmJbGIhaQvGlxM8roQ62XlKsV+YN4WxV9Ui6GLuB7gWzJCpkFQie9Eq5c4l8QjWJQ
eR29F+pYlLPJyYSGg+7yqiIfHPCPMii5wka9yjDRCY/bLczQ8I7sEts+/BUqJCI3FAbUOYcP+Kgs
cRoRKH8PdEaxECuYisj8S6wtjIAdeAsQnoK5Slu75Vblow9Fc7HRIMONNMbjstEN5QVkL0Son+Bk
T6fw+9jBFfDoxJVz0W0WkhGMFOhUc9yR8X4OV2Qnoj9ASnfAVmWFx5VPFojmXuz9vbG6OtkIdodi
QkDMYIg+bM6roLxFTM+AhpBJUctVJ+qE5YZooyaDQ9jm6pgl0FElWWTXXAiJrY4U+LxGqRv1abK/
0e8iZ4iQoKA+OUW7hD02uIaI2+jHCsUB+mfMqUSaLsTWIP+iN1LgVNgCkJuOUc2Q8NZRO7yOGP0c
6aTBr/QXtEq3gDoiXm38R1t4PPHSgoL88+KrwYPcRp+A38gHb/ZFuLsxuM64Ns3hLvwEu3FLmV/8
+sefL6CV+Rpfpv0g/puYpyavriIhiehc2BYMJwjcUbYUl3Slu4raAiHdmckLsjS0rxiRTUnTw2zL
JVzpcZCpCztYoSFUJzpv4RHpaB5fXBE62VT37zGLa/jenuwzyiExx9AyXvE5kEiKzoyQy/DEi7sg
ro7tCRO0hd26b6RxHL8kl4/Jzb37qOgcusXui0N6ZzcIhIEIUINBQSlqrUMZHj+CLSw1xIAx7ZLP
GqHTuMMT7TxTEIezEyJaFvochNrpA1sZdK+Ty/yG+ER0EB1sXuYo/+gt3ShGFL9KKTG1ebf2TPdR
GSWowavtgrwaUY4n/G3P3o438sbEmVk+Lkc87gPXZL6k4dlo+B5ctpsVagwf6zECMFSv6PBKrl2Y
QzAmMhbjP32yLjwXSJvYJUksKSGKRHIqkaS+WPygfbnD/UnuMyhGjZz2zJN3Q3Ex0NBTQH4Uxi8w
xbEZo0f3oEePyJ/stRGNrJhNFWmaKOOW4z/kBkJooONhhAqENXvlWe7jMPcktS5m1AEoMfT82wJl
yrRxuF/xOULyKg79qDkYM2EWwqhJqNBs4uczRCBTHgbh6BSWfxNBVPjBRGfHhlPgbbAjZcZviKoa
4j0umMhMQ5ehxnfv4V9D1DCcSBJP8Yt8yAw+Fm5HvBCzIlcmqNks0Kz3E4wduHs6o1O/ruXMMAj5
DvVmT9QBENkw+oU3ToD2m6/lDc4zXrNavTCM4APm8tGaoaDBPYF0s0cNEBk2nf6G7fBCMPJhdOq6
ICmd5QsORFHnJuW44od0WXxO1r//9T//9//6av/r9FPNqsvnVF3/dX2Vs+p8fT7++9/aX5l2DvrK
QOlriqL2Bn9yIn5It75ZX1+MqyKIepDWG9QQnvgdCF1Nj4wLG2Bs4+aKD2o6AAFJe+dto+p3Hszp
d0O3Rc+kO3pA/wUZoRr0GGX7eKBr0hOiqzv2TrkYcGPq50aV4u3JZLMP/x+uYvDvf93+uLjg+7//
rWu6omM8+v+u4k/Wo4U8KHvv+7NaEIEi3qU2jSRhSzbFRBnP+pRiOTkqpdHziArolMl8GlAyUfnD
7ixcz7AtwriVwbs3csbTvJ7Yho0lRLnH3NMTBA2gOx9v8whaUR08iDGL/vpEU7KH5M0M/uFq1P//
ajS1P+CqzP5AH/R0/v1rj/32iU9Q/h9nXFa7Uimui8fO1U6Jvrg2toIMwlc1q8bB9E7/ncvcxY3h
4ANcHUHA9JBk8J/unnF3HlenDj2MEHx4AWVlZyBJsI+dyUPQFv1vuGgMmkluhmiIqZ8uqMmwS7sI
JoCPnoYjMdDdt64nr2Uut7OZ3+0dntI/LDzzLxaepiri/wND5/c/fWQaLrIn6c1FGrVDI0Rbfxij
/dgfQyg+egbWx3aBu0qQHcBjYOm0uvcscC3dSoFCbGKT5jCIokKHA+ByRoVnuFppvQRvZ3JnOhKa
IzrdMNcCffmEF4KtADidzj59n+2Pbu8cBQA/J1j3A2pN/ghoUfEjHQC80OR7WgVDa7ivo/Ok3M6E
uWLfugAchzlwlB950cOMdJGHp0OJ/vjmyD93LFvgAl6pmRK4mGz4stcYnpzSOtAKL0dwb2DSzlOQ
VxYucNk/3U9ZlbW/WDa9viLLZk/WsN8V//4fy+bU3E56PehVi6V3Y2DaKq31db12ZEoU28blb3ja
M67Nv1TWIXoN51k6nwe7WSuamkEWBfO5ZOVf8wdoG3BFmxPwz4ZusER9/eMCA7p4hmm9napZKOh1
XP1mh+Cjl29nQDuV2qTTPlwE+veP93BpGdaGM0B6DiDDy+6+SQuydZV5BeHEJi5J08s2NZG41f4L
dIjVaZymWfhNPTC6rGEQ0Ys6R6k5u9h+D7NV+yazSxsB/8uttPGP2Sg1Mnb56uakwor+p1jDPwyP
L0t7uyhw2DDblzs2HIZ4U2rLfkvWd7fTU2EfqfMO4adyT5Q1q8ZCtyaGcfQwXMuVtaZa6G3P/kH4
heVe5gXBk8wcffWwGqJOZykpGDJuTdpOPXvdHxJZN6W1pCNnMYyNy4nNRQZLaYwviL9UFHdJe8VZ
othbY3G1lawuiGQvXN6c7xizzdLy0/Q1/r4QvBbUR9Zj0wqxDjqcRxgH9e0yiVS7CzycRTxnrVjj
b5qQSfzdRVCYsFa3xmO7dABc7axpzxqZjqM5XJbxtVZSgrARHdvvSMGxBFS9J1uRqIntPqwCNJus
kizY/TAr8k0SynchWoyaYRT27ND5JFfDrTFwtina4FlgefPWly2Pqoez5nLjchUbMybGrVdpfXOX
Ebw0VvzG1NqSxmsMc62bw53hqkK+GZNSL+TSxkukGfGTttHNGq9D2ZqXw5KBXDA1nRXw/AWHcD1u
PlSx+d6Xy/cczB1vXxnXw8qeexH9QhZkdAAYDnrPg2R0c8GOQ6wM6PeG27XxFUJfuVuNu/WiIAlu
gu+cVMPAcxD3Q9CcfCNWewIwXId02kJn3FhOqmGbPYyXd2fthejE0s4q4vkB6xI+1klEhdJhQ4Ue
xaGBZgGmID+P+4knqdW3D4LCXvF9pTuf02sJToskcwIZlCxbLCYTWM2Zw9bRyYAoOQ5fxw4aMdKF
5RPTMjrMJg142nUWm5HTQ+/itNBVSwIVBFtTqBAtunH1jSz0FB1BtMEadGIk3TEQvyUd9NxifZ0Q
1vFQRtHZCuA2BXA97S21bOhp9N8L6/xEHnry2KhSn2zAAXKYclD7MZ7oF8bmjhQlP5Z/tcfUHcIx
SxyTjNqeSwkCKp9EMUq8wzZUMGHu9+waPbFd5/ayH9LJC9ZcActpslx729J9LSgrWC0j/D/6THJx
tZvzaIUauCxt1Ks97rtNPZ6tyVnHTlp6KaRE1tRrfBzfHGE2xsJe6q5zjMdi0+oceT5PruMAB9so
+dlNeEudX2G8F0DImBn25O3iWZS01ikO5gPKP+6ZeSaA2skcZo4TVMBwrYBLejuMX/Hs9KbEUy/b
CaOg/AmicMt+IAdLQ6wabFC8beugFmE2zBpzR9LK8X0Cy9JC3Gn2rW4SveKHtRUNZy6M3sHLWhv8
YQZmcnNgf2WpBphHWAL1b8GIFGXArcc0dhgeHpaXUM8IUR6HHhVSq7J/blxbJFlFstXtaP7mzsGO
UKwE9F5py1AFcS/il0/j8rneNhHP1ClZf2wNE7zS8u7z1qFTw4YVvZFE18M5a/iG+c7bOuh2ECQS
1FHrDZoBgAAb5tEFXgVucr8pAxB8882o206tCTCj7u2sXuurxfkPx4rfXmsV2N36facI2ZUCrtoS
LVk/mffDjcYSMYwymzvbP4Kd8L2gY6kEb2t29ScWwIpsmR17gbSHyHS3e7nLJ5enIDaijssZwn92
uunQfbquC2FlYO21BQJ0WoBWxjAAyTKRfM+ZMpmPF4WgvDUeYBJoJNm0CJ53D1qepYSX8duwkl2Q
eNxD/B2DBAMAmHe2CTjTueDBaj2Y3Nqfh3cf2hzDMuIGlW4wNBcz8CLu5uPwQvbmZq2g1qyI9hZP
m3GCD6AmiOd2zuNDJzb1m7Gfxork+yN/Z1gjms3h8ba1XwCOLoSTpt0u3z3fRHJ5SetsD3byC06H
Io8eho89hkmXt1oW3axE/7Go17OHYuFbQjmEtcKYv3VxaiZeziFBDLyUMQowgDMrxlIWdtqMU+rv
9uZqbTpCvta7k4shXHEbrotx3e9ieFrA20SgcrKSwSYZOI+noDXKOSeofQH9wGt01iOcyz2HrTdQ
g5m5h1H2ECDL1YQknp/PxBBeiS9rMmHLcqe2AkbiNNsUjIt3o53kPRwm6vL7oRsid/q5jzkdf3Tu
MEN1EA5G0/to1DgTzO7tbgrYCR1m0OMRhSr4QK0QAtUp7J5mf53tGWltk+aWRs+Z7P9kv+YPKVIE
pkGx33uNKRUmhPYnBnvvlrsCrsMUlTMtUTle3NF0ct1PJg/nq73bgGpGM+XirlTetkuqPLLZT46L
llOYspzkUP2jgG86hH1ULNgL3f6a5NzKjmwgmjuzNoAhRjZdmTRDauHHO1ticog0GpL0gXIfEgFG
dxCxM/AoKj0X5vbSuFpp1wnIPLYu63tgEJxYDKLV1pGxisPVPt7D67C/4hIZ1d7QFr9Yk4G12e91
rA6PZ+/bJ7iOT07hxP5o17MWV3evXKwp4avHZ300gviyHjvH93CUxs5S4lFFi1z8QzzeN/8hevxT
0vF8Z+f2pH1IoXxn3bN5nufJm7Gy2WvDxwrek+dUPKXce+Iv0mLCploNl3+f+ygi3/xTJqf1yET7
uqkYqvb7Nv8jiM0HctGdlLpadBFH38fiKKHS581LSrYc5E9rZbkDi1W8FHUinOQXHF/x+O/fhdwX
V/s3b+P3bf7H2/h88mqQ56TFg9ZFLa6NiYwGw3DbzQ+XW3B4zh7We2dFBoYluX3g5Nj37G6dk0h1
/poi+9YcRwqOsu347CbAJbXdmONY9onnsGLjUM7n25C4kmWXfayOmkvPgyXHON9H8ladXQW3/fQE
G1Hn8RicrQXQUWbKhqOMhTGF1DX6yJaaIk1KaX8Mp9VmcaMC3JuPpJF2ZPNklktSLdbP84f1SGBz
OnvHI6HmbqoaxADsI4BJh1BHg7hSfOIHHvz9399G7S9TElXVDFUxTGOgq39aVM29fT2U6+m6oMOU
T65XnGnMh/tGejyic7p8UXHUvEsdSsDBEK32rRZtLh1FrHCIOSMQjxh8oGtj6O1lKS8r60PGng7y
oH+849u8VImlaLXVXw8KqbgO7IFzzw1sgq0LA0hIes9Uv3EkwFTclJ2mGPW78CSP6nxU9IYtUgqE
2YcKCitc2vexOYNZ3I0NbNGo/5rjlohoqmIt/HFyBrNpcaiRCQy7AQ1rElh0z7R/PRhm/MjSa0cN
s3/Iitr5/Dw56Sn7g9KhX3G1IVqX4ZmJbdLV6+HeJ9nBkQZbuxYo4dAA72ZX2kodTAraHToRFGaV
t4mC+4+OnYanIU9XfMCkCjh/4NLTXmPllJzlE50bQTbug+W/EvwuzWqkEssP5uZuXDNn0djn89e5
3urZUuP8Y9Dv5D92rWW+0frIdn9RxgXSDkoLuXV3d+mr75zBSI7PPNo3ByoOo8CYS+2sCxMoBM1D
Cu9F6UlHlTByVLKWce+kvkw/hjxMsk6IzRj+XKsZEBoFmeFXxWQR45NrgDgGdH9gy+tL2OcHPqz+
27rDRMeNgGR19mLxovW5apAcaL45PRgl9P7xnXCvK0BXJxi+4DJ6+JSvdLJq637QVkQLEEqh0xET
PLB3yhKws0e4FTrUoA3Ss9E5gjmdc9oPrKtpM3wcv5O2Faf5gJjSRcnnNvgjuDishczloSC7bVDJ
rsrNbUpTaI8UZSX5iIk85sV1dIY/ZweoNcggyNyIzCSAH+2sgVIMRhh3Cqv3dAt18przas93UjDX
0FnGdfjJ3Ftl2pUyOZkLFWIuM+YtDnWnuGltzMDwNS5/oAW3B/NgMlBrEMDlh8puwnL4ll11nkcD
5368M81JmQQM5YQw7/szVWcgiEjqiSCHWapXtnQowobYZmfB6qI53QUwraVQK53dWeDXMrQyLojF
VKvRZ97hZfn6WsZdHXogY6Q0SXpzru2xwsQefabqog3GNnLOEcblJSrFvcLW6cYcuh+K/Pdl/9Bu
NdN+hx9GsBMN4gNqv9uPirJzYKvUWWjKPixTgYzsUsTSbApqWxrhP4yGXw3/tNQXtJBhyL9daXKD
v1Y5NbAg03kWHqJhRtTAiRH7z5rjdcM7oTILxwoR50sFqFFdRncqHdRmIEo9h7u3YyoOOqvCbSrR
/H1habDioN4+W6tA+0cI50E3JJFp2QkhMM6A/61UknoPTeKOcSOS7JPdgxs80dfv4fljoVVltTGa
fs9QEu8WZLevj5U9HTRC+svjRej75cynYN113eGFA5G+NyLNaciy93xpWdvoj3NHhug5vzSi+HyT
MKpxHpfwRV0588BWkjLzE+vhh52YL2HQjqEuiGVvl4IJLc0Oo4+7/ff7s/pXhUatrxoGNSNdluU/
FX87rX7IWdZBCV0wPnZ5MUPBntfS1CY1fUE8geWHDpynD0PEM0feGH7wtsfc/s4FVaxZZ1BXH/JU
G09fmsr9mRy//YbWLUkWOC+ICoV9/uKB0/Y3UKqYBaQ7dfj3V0G98C8Oa02RdVWROWgGfz5lrtJd
OX16z//D15ktp64l7faJiAD1ukUNapCERGf7hnALEiAhRCN4+n8k++LUqajYUVHeXstetprZ5MzM
b3zHJTbpk80S0AYvgwPCMzUwihIPAhR016P7/L58yz4C3OWb+7X+aPMvf7ul/aVOj8WDJP/RBTRE
HWXrdoZrqpgzjU/b6PF0zc8T9smPGyux15ExQu4Nv7UiwKT10Ma/wbvTSHNORrj53J0n7bOD+VUa
pjZ0IQeG7oph42V2md+fsFqrN3wNhnibnNwuJ8mpjO/k2iDHOjx3+pTJpyRb3YWiPgQieX/TshJ/
Mtw4+srXQEu8G39sjQfaG+3vYYrCI+5QsRSXmdQ6dNoao0Pckt/8rbKHigmGT6IU0AnHRV7CO6lv
pXZAg+NVqI1HJO0bp1tKP9U16adna9xY8fl988G50cSsGbV/zFL19Vj2C3NdYvtDiSneh4PcTm6v
RDrwOaTXjllYfXSjbaN8H7CJkUC8urb+oZFUNCINwrzoI7T5ic7k497Ti+fE9qrshP1BtUIHzDGB
Q1IzUzczmHkb31qAyK9wzvlARreks4Ycpd9+QGlUTuObPr6Tv9mOt3Q7N5IDxoCHHC7ewslo53AK
UIvd/BLgmTeFgf/MT/hSIkWBAX7y9h/3YhTY3dhSnIbNZ9HBnazjTivH14MzxIwiBVE/XKpfnLch
yPJCzfF5L/ZoVqgic8U8ig2TWu0mGBRPXNsWnK7KnMMV3FJObWA8h9kTmrq5ZK9+8gZ3gYXgOtN+
6F3C7U8jKfoihpCyx0Z2hIC7dgklimrg9GHb0Wtevhq4WxhcmluvoIWaH8Qh2GiJY9CVYtPHFWI/
Letr5bNJ6tXzA2MeXDQ1DHJY1/+45H3FrzRPhO7a9+Do7iH63R6O9rOdqEhlZd+8wusLbssnFsF5
DxBE4YzzOVxU+WBRYSlJquiTpXDwt6NmLbvm+DobJRpWWO0YSgbtDmtiRwPR1aLsUfQfme0/nHwD
9IPv2tNl6X6uKDTvfHbIxxy60yVrCR8ABUyecFhz2rK1ccUPp7kduXR07Ti2+hSSFY3d6bF+zPWB
1xMiwAGYay72GwqXFderI36RzcEfUYRDuvp+LoyvwUI9AcIeBoclh8NAN2Qtt/C8yBHZkdy6vNF+
iBU4Bc+0ghHsgkfnR9MR5FoUUUSht8KF+B1eydzC1tHCCsE/oyT43P3o/BgQ9NbY2iZHfCNsCUZH
38fP++p2FVTolxkfS/Yp54DdtcgsU5xYFxcSjM0wtNE9Yc5CpIvDxGFSYk0zmGwoZ1YTTZvctgEZ
7evTrXi8MSk1lOmMpi+2D3pkB87ll2rhugLxnw9QAYboa9VrcqZ6iWq2fkTb7XQ4cOgSaBWH222h
XgE4GPcJTWmUixvqwZui/oYmhCeGFCp5o9WEN3pIyMlbR88qnkgBmtkTIwlsG9zBexvcOHo45jfm
ui09F5FOYo8+Id1jzQz7rcvgYBd7bECFk3q3Sa/lo/fT70Oyf3ie312UI03r7HEvFtoYjVjN162P
Lvf8+Jj2jY/2muLyr/n+71uBOvpfO4Gmq5Y5VO2ROpI64X8c2/rdvtoq/f241LeuPbfHOqj8dqky
LCO8uUZfV/iQMMMBXOsfMA1B5PrA4LGjskA0PYrhlO25WbesEkH1++/XZqjq/zpijxTb4HQ71Cxr
9F8lL80299ubccQNJ7QmdNIF2xydmoFvdQ2TGHAOUvfDfL8cFPx1m+zEk+w+udKuCLMGM3qaVJPO
YXmaDt6OxeBbw7brGwEumpdmRbde9/ekRU2dP2cIhYh0EAjQVEbx2A4IsSb67BgDh4p3M5qfHJWI
+TCjAZQOoEFApAtjQMSIF3pxETlOcE9O6QlelelGPL2nrL8T6X4TxJaFlTB6l9s3JaD+GykNF4JM
uRJFNB/kc0bvHomNjd/qqqF2n5diUIlLJYDmFZ+TqJ4f/+TjTmg8KO8+hjmSOel321DGRZeG9ujm
dp5oZAzgFkd6witEYTvIVWg6U9rWuSkEG9TTgV7QAE2rzhxJgFTRaXc/0JjzQHtE05A0AwcG2hmm
AqEKNDT+W3v4VvgPmjpp6wT8AKCAJgXpcqBNUDDeyZFOTHh9OMvWdJXQbhMrsC1QX08wBqIbgGJH
fIR+UIV3JCNnR2gIvX+aUd//wWgxYImH6dd5Iqo0kRIKsIR+vUBZ2lnLffWh5pmg2CqM1+WqoMO5
m+S8ONLUTGNzUNLIK63Uou6W1tg9y+b11ZN/QpF9jM7ZGQDTMbgEgFCmt/A+aWmEgJdDM+CT39OB
iO2wgm0g99WQFOuwCegwxEORMAkFOah5Ag3Ot8ArofJEWEyjT6KtOOiWo9g/+dJPrIVqTDNfrKPQ
bIh2khZZJt4fVDkbFz9ubbaZ4qwFUXovDr4ra16lp89+dVwcUpwMv8+rKr2ArVQya8rPSq3FFvvi
+kuZ2Q9Xm52+Tlg3n7+OS2KTfv18uv1X+1vmo69Dxv/nmJKC+UHuNVzusDpbthExVMJK3EZnTqmR
1o9VGCQzMc9+ovO/FvLRWB0DrMNfpuD9YjQ9qGP54xNHcKBl8T255qAMQ/kn8k9L/MPr2WlR/Tyw
ksBbQiy+rb+mQPn+ty/OC+y+7yvj77E6zLD4Psw2lnP9vEqL96fyp/yVTMa2uKd7iizplR5Iui3x
AO8+G1EICPDuTnIS2cPnnh9JNUnLK7aCj+YPmNlqSL87X0R4uV1xmHkJMLGJw9QFARwADDHtqcll
S0mExnXIt1KkpFlbPjvhxke1izoS2rxP/qr55K+az+aT72k+7W/SIjTLr6ofznAz4w+lghxQTnJL
9eK6UmmnftPJWI38B7ZIVsiPaD/RFN7/eRLXlf7GRejfwz+SLRiWvPEvzDehru/ph8dKvSZiha/m
dXJB9je/XX+7MPVoxruN+fi6YP0NQxTLcriIhfZ3Xx2L3fth1q24SAQiM426gQbeg9toVtdVW3Sr
8pMlpBfg2xUdqqp5PBcwFUj7yk8+sB/SMEBH7E3+isIzX+Z7//mKKs+DT+WfHL1/vuW44r+slDRK
7z8pZfNQW5EMlp+iBKF7j5XNonOJ1q5E8WqILR1qCfro0FAfnA7U4HE1mCdu6xmQnTUUAz1d5Aa6
EoAaxeBtgPULykol6pJSlEdTKLh02StIBdCWR2owohKPVpDe3sFck/SXd5iiCkB4bU8vdJmDi6C+
e6EJzKbnHlF3Ii3xGh1YCnJtwR0BRAKYNACMM3BFtYpllTMAckYNnX6jbtIDCNl7lIop2ifCkFCz
45/cF8+hon2HsUZzspVgEzzhMCzMncpx9uNNwobEOeSMwg74zoTuXpp2mpQYGWjzBiLXwa/d0bQP
Tp5OgodjyhstQsEJz7eN24/reDN7frVJl+jrU3bKunzENoNJCJLW4cr2qx/zrV7wqum6lxEto3P7
JOfCiGo+u4FnfjNIzG/7m2H++DO/7/yN+paobxhakRSka1kct4+0U3OsO7KtCKeCfnVYj0Dbcnve
/VVcOwODDQ2tCe3Cmkhk0Piyoy5YgX0BKFGywn2WNeDJgqmjlCDNuBC7ktOcDOiC2DOwcnmFWMxN
NA8WcdoAz9hENhtzPZVFF0UGLFkeOxATJBxF1iPMGWS4KE2qTEdacFg8/kSgpqQ8fnSLFyicQiCx
vxFo5CiKEAUMV/XsMGsLpA35DX6AjoX4ZkalMGqS81yonSWnGpa1fdLk98lz+kBId4vb5YnCmp5e
4tsXZzi868/BeV1Cqq7BYB/RBWyyE76baZ22tDDZeMEMw8esjiecyPWCetBpfSbJ8Y51CzLB+WHe
/TZLskbvnLhwMrwmekxQPhNsiBr3X+IXQD2xw+T0Ojku+fJLcGO97+aHDBsSlXX0gxXYG8VtbqHG
6HJZSm90g5fxBWWuyYpHsHJbIOf9PC32hfY3dHo83fwzLbojv6ZV4u5Jk4/mXEKUwUU/7acCoDnz
M048IwO90PCvXb066Hm1b6fFJpK3Jd98C4+BdLoP3rYF2hhGhrD9sj3TuEMOgjwIbBBCuHiY2zx7
RKlE9VV2YCQzzbPHqoaRso2Hie0P3tCG9eEjaekINGORol1QM1XuPldjuc+GAhFUMFrIECLptNhX
szJ4hjrAw+vKWDUAyVDkTjVPLODvkybnI3lWGuH3gYiUG1hoVrSNb1N0RtFpBuSH+xAMHuifpShR
mgR1Sk6f6HqEbNdOj8l1qXItNzbyMjbZgW/zOjtyfWf6M9QpmcS4o34anxctew6nxuI5VVYtmZp7
6ZwXTarx8Fh1Gf+r3Q/PdHEG6ZMqGCnWvGHSDxd2hN17l9YzhQV5uAL1yv7AP0EyI5sOMrCS+ai+
IRU4evo3O9IOZdZLH6W+sWUxqUmJzljte3JjvNg3XRIrdDPwr0sYMVA7SSjx8SjKI5YhtGICG1K/
+cAiAmEM54Q3k1Bwv4Ir+/wWufbr7fDWOxQq/RvTnraih8dnOH5I5PgKJcsVGnNBHRkEjk/UVZCI
4lcAKTTxy9tgjtLxE4oowRUJEAYkwQHeRWSofyWs6PJ9gByoK0bTMn6kddYsTaYAkTc2X9E/UcED
7hplhiW2SrHJ0vYMNR7w4QeZUGH82VdH9lIWFioZPMTHZ1Mci1f0wIcrPq4csBlkQ/7NNq7eOcsX
bMMz2YqvsvOdFkf5C2KNR3pPTEIcrie9Ed+8rqPMH0s5Guw/Kt78aO+00W3eRm10wsXng9Q9Zpj3
31NmcviUL5EEnXbFCdlZiacOkUs9U3EGlMGxqFScnwy8REl0yfLDr1n0zJ8mH+BhYheXNSmbCtcS
/Gplgdj29ApxFnn5881xe3uuKfRz+J2SuqWRup1BppwNPsqpjlmTlpHxMB9O9bmdGZmx2E8xd1vU
wSVS5ht6QVsfZPSfnlhT2mZK2nUf1PYxO18BoPYNGKqj1E5ZQbALAJmaaGEdPLKNf4vuM/aYd1xh
YjM9BXaqcgFP2JebQC22uNncKRmQfYjUCMTqgvKBt4s3mZ5f39TIQGRCFftTyOTG9EwDdgVzBk0F
DGoC00zL7t9mcomwQoVvfX1D9RFqb2WI/xSNyuViE5DcjZboRuDI4yTBpUDIll84Meb88mzP54Oo
oaJrpp1/psgAkd3C8Kcij9BIsiV6ptvwiDRZj5CrzBT47HDfMdwRriJmQDM7x6FwtZlr3zh4oB97
TobUybXQgC7N2SOHIoMhyzDj+tcs+/EIE3OcAIGsTxpI5Gd00WLtXUelH3ii+kjPn1XRwePhHr1+
hZgb5uc13AW39AC3+8792YkGR0chwAwAgYYnoH1mXk5HYHAVkD7cuvvzY7q1oEIX9+kpxU9kcfnc
z7AbesMhJB9+1wF+BTluXtFwhonOsg90T8ECQRuTdMSFSPFJsiWmZ6I+HIDGoQ+d9tKaTAS9/slu
ougEH/cv2KEhThdIIM4RzRE+dFOMTJGxwJbFcA6RBVTmqVKcXwzvFoAluNQGIffTcmlMxV76kt4+
se889ESZLp9QZlIth2KLBi5Yw4ZyvCsUFJ6fu94dWc6Bdnma358OFZSqGNFGv2gUFx9d9e7S9Xpl
3UKtW3sdkg5UYPjrYZNEqL2T78Hwc2CnmLGXcI13rsr3E02ecZf2dp9bwCV5MzWdA52SnI4zrO02
weCD7GOyWZACSs5/e9VRc23rDkxndHCHW7fFn09xHjgzPfPRxyN7ptf3+2yUiinbjCf7YxckINmA
gu1HmQ/S+suakeT+GhTAaH7KJSXILX3o7ztitGsyTJ4h0QhnHjOQz2U/QPvJSkRgdk/06TE4Rs+v
zQzDABJj7/26+0WhRURSz4W5AULxqwIrhztaqKebHzyTSZkw6FSaroahsHWGswPnNrL87IbpZsF/
1EJn3C8RUvLbbP/ypRd7RJvHhK9p7+VSgpT1Zd1p7ln8dZ7rGkim4dRZu2w+zODO0oiOU+hhMOc+
j0WdPX6BI32oF3a24dKOyat9MPIj0rubxUlWqc37WXqBb19YbvfrW3ALEIWGmymsLnpojNnxV2SX
wmsm3ImheP+Ssh2tySSX4kd6oiZ/RWNKQe0dNxmHb01B9cV9vgVddVrjVJcf5huev0bHGHuhQ0dN
3sfbpFpZM7vQ5kpG8Y5Eqp7YS9aEYDfHg2aq4Qx2IFFuZDgrsF7cfTxW5qP8SU+anRKvbae0KWlz
3RuxlIG2wkdBnYDPZ6qzQDl0x9MHZWGJx9ymy/WOZMHAVMRM8PErFw9fCNEbDuP4ALFGKDTak9xN
TERAu3QTjNIysYszE5PE6FRhZaToCCbgGELQmvYwuXDyIERsEZAacwEC2DhLQOWML8HVnWIujXcO
PV58+UjJkME7is50vcsf7XyLMYkWCI2ETkSAEQKdPKcvczNWWhvKPauaP8rN5I40VY28w0rlGbAk
g8O1sKnYBNYcqj4LnIZS60JzGvwcVglCVRAJdoLoFky9NRu+8/wB/lozC1cWNQK1C3vzTIqHpYKV
Y+CXvuU/pg+wEtuf/Uz9owyR31ZyiRiOuLTYdMQ/1CWZtLWUJ9/AgJ9WJ9yUkzLE1mpyiXVOAqQi
crp9sIDZsu/MxiZ2GNzBZIv5iSW2L/RFIdIDREQGCBouHAuwYpx/EkQivLARvLQ9mR6MB9nyemf9
a7myRSjzEvHvFeRCw783EwMCJKsGBNqTb2KFQ9eUq7C/GdnuU5AWFB/CKh3lR1w0aOlo2UKGeMcx
0aP9cpuU0x3eLPRLZh1eOIeUBn4tU3M9EUQWKRR6+kpCQgKE4MnP4HrnWnDFlcngZ3HWw5FjCCOr
eRO2mriWvfwSN/PNvJQaBQ7XkLaWw2yY4QmIyyJ25byLw3rLxwrzVjsdOB2VoROeAYTJ6ZEUU8mm
3Y97HplN31nl6qgndLZgttJgm9TxnhFMERrVXAlnApNtR3eq+IL+rAfUJpuvyUB5zPhugHLqxILi
AYjjezNXc64ZM4rswP5cYkuxwYRvc5nouZbtMCvKegQQLjoGJbOXamLyfzGPKnFy2/lYONVkeXCr
TrYfxE3zMm9Z2kihRVSmiLN3lJ7qwFpQFcobXs/j22B+CkpMz4cYtVEUawYcZusYfzZ8paq1FT68
krti84YvpjLft9P2Tc2VzGRll/fEdo1kdBiyfnBe6n5HyF/L6OZAVmOU74FXYyHLEwNQjUmEeACR
qgeuh7ROtG/Ydqj4MJ4C+Unb0EzqQMIO4txpO5UZZLPqNPha4fDEVfB0tOzyZ3LBeBsTD/VrHePB
IWPOTK5YfF+4WcXbR3hpRtucFR1A8o3JZs3kl/TkQFVfYxbwfTizmCAewErw+Z2IgBDGu4b0AaCe
4O6PtEkqYL2fE5qNnniNsH6EeJygymYYIrSsgpFn+AYyQuRXxR4+IEYivoqxzDPCN9qXiKfkagaF
rMIP3qeR2dHDVVn+hthJQpZOD2uWwZkx3UP/vnlTZ73unbMwp4tNwMD/pG9louIKKtxzY95x7cOs
4S5PpCUNZqnq3UDYScQGPYd5WqVDmPzltM/lNRIjYhomx1u5FZZcHrMS3pkL2wXb+uMN25oVFlIx
71amtoR9811kwnakzcTbFYRxPjDckKONAZjjuJaXVhV2VBUaukS+Aao+i1R4RmmI2gxp8ykxI5W1
FeegmLJ3cQpMb5Tz9Fk5tlEf1ByPCpyzYsGfQ2XBPmeQDKkPtlTGuiks6LgGFCM6t/PyCjoHaZc/
XAMzmu9ZtumBWRG8uUeUhMP4hFOL5TcwpFGs8pIOMYmDQAVerXnMAhgEJVK9ZyJqUNSuqEpbrHWw
gSgGUHX61a444kSJPdM3Ey0/Io8tTp/EiZmJFPuwJO0I1McIT5DfbxGmltgWYp4224T7ycR2KE0F
ZqrzutT8xF+XPH5japCI4qwaa0BueC4mtlr7kNkcYgIbEBiypGPFudRCLjel1jy14DwylcgmMRWC
ym8YM0dyCpqL8AA+NzZKFMF1zgc9rkKALYRohcPBszgxpSVAaRjn9NHh7XFmTTwRjKr4ySqzDdhC
Ej3eJixzja3NkpgaJx4FPyUjM4Gt7Se/t2ATNsmOP5bUPGrgXwjQZ+jZUnHU4rI+AVDGpsdpJrBm
lDMmWNrx1jjN8N17aItPJpaKUBRbHrdmk7x4GDDQSgN+ng3knJz5RS12kIr/AAd6Tq6UDR5rVJoB
Frco48pMD02MOiTg1zCtUUIJ9TdsvB0bBCOxoBs1QYY5wRgH/P0ggI3uIRQEYD5kmwcliPKZrQTT
p8cUGynWmiu6Y8U3uC4sBIX1Du2KwkYuZkAob1FXDvj9YDUx5OoZst10iIwBIGWho6Q8MF6uvKAN
k5hDkDfMsFmbXdYMBAICGotmCh3AdOayiqmIHltGIsBQvlIFRnxI7jFdYWiZH+wE9LvGHPXQWleU
VXboX4HzSZlCoFAcjUCgICfGjHe+nWwZrxq2FaOcbYvUlYW1FQfSMj/+lmi2ftrpNWwp8DAoF5f1
dnlY49c3NhnxLG47LPsuocGGZvAALewbQZtnqC6Raj3QueJGFCrvOi1TxkJN9VRlXbLQEtBs5e3x
s+oAew+Ryg5wI2Bjox96g00cjnyy/HqkZzhn4mrEuilyUw1DOxiniem07j5ccybM2pCroV1dpbly
CHdJvr3xT6mNAPn524XYH+JTN+tjyZRekEoSSLO1nZhANudXcQvV+eyS9B5bxgJHIfAfnOKwOzN8
C6mvHXXAQxD7H6mjlMk57qZ04XEeIrpmgaN8j9Urw53RCwWF4c+lYmxbe7glc1Y0Uw0PP0adfytw
oKPXHXR3Bk8rPi0FyCqq8SslsDKjjzE/LLWC8lVyI8zZFXTeS6Clzc8sljp3fkGqy1BDeG56568z
SmLYcdnhFzU0DXvGrFzWwB0wPFkjo/cMNkAkwGRkFfioPWTYQW749eeBchHHoesUBTNHcPEk67+2
3NmR3KOZUrPlqLlCF5uYdKCB7SDTbITVqiNMZabHeyZP53NyipjG09lYHE42HMix3SsYThNt1oHP
KucDsPLAIDwNBbNw5lp8cMGAQJjCd4PaTjwMxKFA9QxgYUgGC4qK7MBEXhyea5II8Gaz4feWZWrP
enGOWZmhWOBLHB5WxD0sNsQWMQmKYM/mhGGbD5mA/0mYKBaau5RDPNvhLkPfPIHfxv7CMsT2WeMt
OcjlTzapDIQOQUdpDdAP2PtAdWvceoi4wY6b4QEoUxWOZtsMeIl3pdoJON8tOUKgxc11DMr0HI1j
dJ92yHExX6QOeOF0tCFFwF6Jm9+AGuaQJyAQsXtseFD9cd5SQ6gZ4O525Ehf9U/Ao7zPuMrPEzag
BQ6hE7YnDiot84QAHr8tTgPudRw9HcC+L9dNpPUOHT2sZ0dhDMClOdLXVuX4MIf2Cc66tB5AAOY+
wF6DiJf7wh8NPBnNGtQztgXQbMY4RwaWHhldO6KFIxkCkgcsrfTzhRrSYVngdniSKFRINtCWIFI6
DyhKN1G1w+q5TUwX/BeRDklir518IUav4aQ0KV8NIM5R+7zBE2AhpqIs16Ii1uvR2d0yE4DQM4Bo
RIUYK4DwwVPBawRnpQEUYKkFKxOqH2x2vwkiNAyjYD/Q3DShgPP6KPiyvX/l0VK0hkWDLw92dA9+
FPw1NIkjVIk7uP07lhosNRgJLfNRkHPQI1iscBubqAAKHnhVKhMKcoDpcL0EiMBXQMTUoe5a4Nt1
lwqE+DqyxtjgN7cknSk4gUY4uwp7P1ZtLr4HL+ywMjkAOBHIlOxXpt9xdUduqWLMIV7PMbmIR77u
0yoJpvPKq2k9mrQpnF9BmFqwlLGtI2FvpBfIFUBVKTZdeBxaeuF7dtwxpN9471BAwbmXEYgFDTsn
HAARxFPKysUd6LCkdM15gI/AFiic445BT1KGOBYK+xYIVssLqoDUQBAA/VhDY0NWGcPcgJV0hrxa
Wg71HQJsNagzUhqTAdo6bLl0F+gyEIvBuzBjB9yDRdFb3H/En4ghtmb5AHG5TSn/AHBFrTV0thCt
7ABQDAAmsGPcouDRwAcA2wKWFbHJ5i0oPtJAHD5BmMCiU98H02FKpwCiLfxPUlzYoPeYC3mpJxxo
DuAceP1uzVbbgkJSQ3PWrCtx5VXi8hvGcMK+zF+jGKFdwYLefMRbFtgCdgoN7DQM45IhpCR72kBG
MgELMsHn4pcqlj3bGScVLPQeeKoqWM0AogTvsiN5diMDeI7uIaerNRdA57L4upQLA+9uD2/CtFmY
LC4KcniFhatb7CnOHwqTk7vik+cv6BJqxegXax3anMcKZxEMJmXNH+Sbb3GpvHwOr47xjV80jpZM
QbSeNk6IrU8LP5+fkjOQhWZeZhS9oCnxeIRaSBisEW+Kj+JjOlrhg5NW+Js8HcypWFgARco5jSM3
dOdonwUP+OQlPgrIq/EuPBQExJwAhQa+xXsoGwXW6kwyeJuXtDaOgv0H+ovxoDj+7uYUnSLpT33l
YwkNyTSQe4YSXmhkZ3pw+YP0gkv3AK+rK+MVboZs6z4ePq2FY7zAyPeZQgtffgaXfk6qvQuYE9YE
oE4wovvswtdhte8xhaAThVTEOQTXF9PV4W6iA0PeEooajoaIxNqAFhM43E/feNG5aUSZDRgqBkCH
5ssqqiVYIgnqh18MCyxxDbrP4JgTL4uP7KG48jJvWFbAGgVe88oiQKtkSfVuKLiiwiBZY7DwNiEB
J70sNA9IAItJbkWQBSyMvOrBu9KWyUul28Vmsp0czeU4TjiKBye04xt99vDOpx1yaVlzaF95xOX8
4tzI3DI03BI7RkQDJC5GCPJsB0tPGUbxgy2AgqQJJEcnkOPc53YoPYlkxqhFCUIYOqRQWBMf+OUe
YVU+qJaCDR6/4xHP9TKUCZdJnvvSacMdxFVWZeQ2A/ALXKnMOJX7ZbfiNYkbKBRRjsvkajyxtVU4
G0jtYMtux7BzyawSYp74Hzhalg32NYgaOwcVxYx+8tB429BaRBf/kY3LcDezjgQNG6fo8fkBzBZy
bxLb9yD6Gzx0TUdsru2cX0QYc2SlNrIN2+ye/maVsQSlgEivJBHEw8ebhv0Bh5QpmWwW7NYV39M7
J0PMjP2NzyMjUCZYZlIeOefewRCRyd5F+gxWEU1OFjIy8YmSeB2VAlIwFfOpIb4uXbyFh9Iip6jy
e6y8Nq0tJCjibGI3flyGbiEx6Ys0xzqlTqJPprTp0sbGFleySqNhc3s3ruhw5Fw3oVDs7C7jmoMw
7RWIrvUUhR73ahC4tRzEa7yGhwQQe2bnNjEWHLpp+qG4yaGpYi5zlCO5DDxw0iGeHAUbTkwQ5zEI
3wJCob1hogmeJzyt9hzrKHFEDcFENxUbT+LVVclvajK099mNMOIdd1oAImfiXjSp6w0xXc0yUeGd
yvbILfNE2acVF4AYiHbYNcl+cQw5y1HJIOIJSs7/xwVIJJbCTXGeEK+HYrplsEBabLKHV/ALzYf5
CoU1MhmIbAqwdndJs26ozVMj9uHWUJB+26aPP93vXTomqBxg6LNxriG4EioPQsAxSAWLQY1Ch8Qj
Ih5bCu9lwDHvluiCIAWxuAFWJgciTtAFzN20Zn1BowBqjk6NeMPwEnA+nnRs20bKYINwfOAV0oUG
rn/j/EjgY2DTB0cLK9Q+KTMirCm7dUQ3H/7ct2WVAxTbIEzBwMg3scNqmLb34MIW/kRozPbnnXF8
lEaGA5sLJuT09f+D9KcxNahIumIUxtFvO9c552+zhq45eybLNoiRYkPriPDdeDYBZw12rswS+4PI
nNN+Qn7igUFpxV5lsBoc0jtTUnXQBMo70wijb96NfCQHaAyweGcYnuHOSrEKhwkgVw25eRZffgyt
GAQCNmEOkg6cLivMOBBT4PuMEaRJLH6fXiYWqVwcc3UyzMDIIJLN619IPeEp1DGW2NLAWRA0pTQt
hIK6gusLVfjM8KTCkAyKC10p+svDEzcHKCCzlrB2wGWpEkb70OeIszQwj5SZWJ+IuTyLZsNjh4pZ
PL5Uv5MOBuq6xFMlmYEm6qAVA3AmhYxPPecVfLNJwHZwUu+TM3VlehNCIL9fu1kNhVTDMleCylFA
heVK8hRYP5m5k8f5z9vILy7peBq9AWbDpmeFSA26y2BOsRy7UamZ23Mx3LFwJP+DWt5/036ZN5jJ
YAaB/4r8+R/HFotuzB1AWBUjFcBuGeiEWAiCYiwD/HWq01JOf5SwSx+RkXSBnNhY6qBu1ah9CH9m
+BDwXJovARWfyNaOIMoaDvcmF50fyPOWxLC8zkAsRnZeSecvs2OLJvnO3BQ02pBxyHJJdnBHcEO6
I3swAqB2c2bBESXZOgMURgdCgA7KuOw91eLkAqFZgdIhfBAPpnppIWbqCf2M4s5ItvHCZQ7lDZZ2
+gz7JbZqHETAP1UQE+lsdIWZbaUS4vVve+wpsDFIB5m0sd5CnVaeY3JbW5PDgsDylRZjp2KZwy49
L6PKR3sFLkdiSmQeLmZfhGIotJnnhMzAhSXIleExnNAEhhWH+rYNMLOQ/k2Sg8CX2X0JVOm6ajFi
oiESQ6br5EAcwPbAXZiE1xwqGeN3OCEE2JNNuHM4TfziHsN55kwCCb6NWy+hRKGe5sh3oSGmdqv5
zl9VmAaWawOTG2k8G9FrSushBl8D9kjS6mRsy5cryZDngHoIpZE9tsLS27DJlZMvtPw0nmmcDZ4+
3pzs8dtMjGjEJOEJtW5IRnqXdRxqbL8krsfOhL4X098wwwzeNDBmljtpEDvT0FbxEGhtmkDLzIyJ
MhFCLX1RjBVCDBDtwKHdXMdgyWTbVDNYFxOehEvCHTYscNaC0xOeAVcMCHey6b6KAod8MMNPEGg8
KU9i7YqVErxezrbGcckCUcJ8U9Id/cg0CLE3GgE5zNzGdKeVsTqTbAVZC3rZwY0eCfYFRHWJ+pys
RELqP5RUArbmMO/JJIzJCbL58Bmpk9LdxNu3y/KMRyXJVFTdcJhbbKV3ZKVkIMC5p+5khkQJr+M2
nNL8EYhhuwz8l/qPsxif81TBzTMRtvOKRUgY3UISewR3BoccU00CRYZYgDiDASXzCi+NcIQZwCPa
zc4MCwJJLriHR8xgwzeKiqAnDX7DwLiMhbB457mdXoQ68PRgE1uSukSIS2Hx/UPuIxvjHDIKaBM1
vpFKpCvZMym9XzybV1RmpNtIN5zYiuVk+4h18SH3RMZ4QaGP9i/Yg9Y54aV1k9s/jOtpTws2nVBA
hMSCw3h5F7KVreEL4p8imyDs8kBjkxabefwEk+33Jh38WPjK6WwqaBtMfAYGhL7sgey/DQkVNjhq
iBw3l4JFFPPCB3kIOr6DatlhegpqHzwsOQripj8F4w+eOd4qs+dgbC4IB6iEkdLwuFiMBALNCUdf
SCb8x9jymILERmg5EV3jO4VL5YRLuCxp94+2PFuxh+SVoOQDqEBAQ6KWsr/HOmy6tJDikNe5siFS
dQSFMyLJQdKfVOKV34RDMuRJ/wyyvqEL88IB4ugS6kP/Q/PiwMpiR7eDEUfPQVyyrslXFWJtRjVS
1NIf0H+9HEXVJ0pUdvdTYnkYgxDUc2KblATTbAzRNjwTU4KAY0poEJ4PTAMc83DZ4Yw/0YM2MTDR
6H9UYpbdhGWe0dRjM4FFw7ukKKCpUjF9hLx8DJhQOBB4gAYlS8zXkNkGVMvH+6yegLfGu5Kec2//
pTtD7iZynPnSgca5yyX5QbkIFnNNY/qGwEdOc0iAMKmKEMNRtCNfxArHGYa9BOAgD//K+3rFRWwR
WFDKqZg9HobHckBJm8APiF85I2KjLULKE+aEK+Gg+OBnAR0mctFdckzODiAmBzJW1i4ufUa5J8BK
cLHsIT2Y+x2QTfr5SDRXvBrxUAAVyIDgAPz6V7hCTThMk0oxfJuPAyBFIzJPZ+fM6kJIL8kTVuU9
Fqv8Xqq8FVlflZMHiQrWbKl0izwemSNzgyPfRkjyZO656QkepCxQcjBBZ+O3bIHMDI9Nln8O0hv/
RqjBUeeZ3LI9JRRkBWHpB6VtToEHetJsRLI5Etqx4P3QGJMxHDGztisB0u5+5fgz4H0+qPn15G4V
ejxP7Mf4n75D8DEKFFOSMKI0ZWPmQ4DIsoOZERV+hcL5Mz7ixUW1jad4p4KiYD17QykBP+DBJkZm
BM9Nc0bLNsOSq/40WeVPEGFH4PvJxLwNcCCoflsxiHkFZBTE/l0Mo/4v5enIGOq6aRu2NnopU/9D
qNOpqnHqRs96Ka3UOr2xdDjDRji4Rnicls6WU67lguMLhu+2c/dPjsxK2p4fwMt7j2AVFhge58zm
f78wQzQ4/w1++M8L+y+I2ulSWsrGUOrlE0r+fXKo4f0wFphobMkcqVqSWFeHxaAL+veRO/C+cEd4
1aNapxtfcPkiC0a8IbjZ7ZTVjnYFkMdUoC4cG+k3jc5rje6LC9uH7iDunIpJMJ1NnYORLszYLdnD
f78n5X8xNf7znv6LwmAZ5m5367knllkqg49fv2JPxv5j0ke0qXiDEFm/r4x3ROJK8e+/fGT8Lyyd
ohlQINQRjElF/f81WbZ56LSjcYFmSPs6CHL3GVuv8BDdHUcrOTTR2M6eeKcpXie72Hz0wXN8xve1
Y2lt05rmpjJCCEI305326c07kVF26Ti8ohnR4GAFtM2mdN0TwuyTZ7BxF6QHOK1b2KFTr8Og+fBH
dSZCxANKBzSpNiGny9pPfz0o/dI/FJYPtJkFgjhm5EjJky3yhya9tPWpqxHV4c3dc7guHYCh3hOp
bod3dgeqa4RDEWW+8Q1AQZVSTTj6O5x4Py8sDri4r+8ESGxTIKidE/Ack0IxiQyO4rKWkCWekCVH
EDLIbrhKVVk5fkN8HpFJ9QYALzDmIUv8phFoHpKbDyAihN9LDvffX5P2PwiaKMH/31uSCfsfE3Lb
q/vLdXetl63IUC64p+xpgypz4mMAeED53Spr2Ge+JKTi+XgttUsNajL2NCEzcSzhmsmhw0js8L0N
6QrKnyCd4D1RCiCoHJM4BJ3875et6P9rbCu2phtDW7OHmv5f170zul353OjH5Y5QsYbRdsSYBFPV
Sbfs9uP/4+w8dly3tq77RASYQ5dJWSrl0BEUSqQYJCYx6Om/Qd+OcX7DBv6GL6596pQkitx77bXm
HBMrEKcW+nf465ORtWd+QOeWx0xyhoePVwP8fw6bE54Qam/2avZ2FpqXbp8PXrKSOMEooxS5ILr1
PiaB9Zw+WPoTYSggnYJSree6ky5VOvUk3UaXGnFHJtpIZdHaFiNOdepDhfTwRghvTUgKG7bXKnOx
RswE/FTPX2ViPrCIV+C4JmjE4ln6KyEV0x3cBMPmQgIng1edBGuLibb6Y8y/zIQYMuHsMl14dsyj
/IYSo0FSqvJ7ya6rJrfEFmmJEaq+pY/lhCcmfQCM31RA4Mt8MmcAuEbEEAXQWEOPIQU2OINgJaQd
Q2Wg2t4ZtBbkP8QEz5GwfKJ+UqFn0soh1x3wNF8xF49GfV9OQT9AcrQA4IGbNkZuRvrf3jwiJqHV
GBClkK2EgZDzljAbLN6b89vuHxI3PDFlYnpF7UCPDLvYqlhm8/r0/muq1bCdni8kL1GVfKHfmB50
OE/5UU9v7309L4G2cFvB4CQB0YmA8Uazr9eniv77DWbq//hgWIbFPiXLpin/YdqMvoEUfiw13Z5n
+ZdMV4yVH5al3qmEq4bjkHLLuapgqaZ9GZAMsAU/5NzRneqOMmCEEv57Q9rewZZJPHBCcC9KRi2A
GWekeZ+saQtBAj1jbtcr1De9NuSMrh/jECblC4Z/D6sGOUBr7o+ELOe9DkekcDR6YiiPaVCWPT0g
vBlckbcT/L5wiVuQ3tyOQTutZNLsSyfG3Em8MdwRWr+Q4ifGF3mGhOMfhalGqQwfZYGzLrfbe69h
kvk/I5lDKWcQDpYcqjsvb+03dAxiP4gTmEkb3r2XnuLfXlRTjRXDES4RxckGYs5bcwTLMUo0oBqi
jo4zgOVKZwe3vunn0kSshzjoJckreBPaoELc4GF5YwYFOwv6yNORZNhHNjyN8OvzQBMQAkCYHLUQ
0H/n0fbfvjiq4iflqc/s75WP+3t28180Ra7+0Mf05I+Rr5UOQSFEpcmO5kP/pVmIOAQN+nJjOON2
IC7Q6UxTzHVK7/sPP36HSHWiDoyJjokEKmC1J014rY9j79naEXKrlOl09+nRAegarzLnRiCh6AQI
WyGA3Ve3Bk0VkE7AQAcEAIwVhJGi4kEbEEK/i1zl7Vor8YdM04/T8FFB+/IX8DMGTnjgueaohzkH
xhmPurrhKjUXOlhvig/z0XKsLbxigoHq9Jw1R8wxNNtoODzeJ7XPjCc2fdSs8HNKLp2z5qDMmaSW
0HYcBbEnXN0fuAPSSlvBazuDGeGWYHtTsbAPW7zGBx2y0BXBJAL+HeWWL+3YMD8j2jMXYyC49bFi
SFsc6CzfUI+kToDZbxZh4DFdAlN89RrfRRZfov+gSfmpbAcJ7Amv1d2UQ2rloEr84CxHcRGunkRo
6y4gB3WNuOjjdAosBGlgXVQcd09X3Kh+d2AiDn0QDTNtkgbyGdhvcsNQgU/qX2vMQWaNOvZNPWX6
yLUV5IE3wo/W7NBz8RBs1Cn9FaZeCGv62x7NY4Mk9RVDw+p/WBt3PgyJ6gFE4MtBsS1selGP4lQO
vxEZ0XBdZudtadgdFGDm3GFiS5mTMcEJEZAPChv5IJQUGzT3rAJ0UFh2uuygCn2GlZOoOPnTRzjg
hZhjL7iS2UXwlCsvJgxALNHydqGi5D0VvRmCl2NgXM/6HAIynz5OsTYfQLjp+LDW0LqD5oTPk1/q
txvhVvzgrgyP7QYrVzXCgC1yITEcP13CkI07GIvMk4muXXGGIH+1HJMo4Ivk/yJTGys/1a0D3fsC
kuwkUwLIWrucFL8iI9GPCAvDJrWKfQuX5jbuCLzMj5BzwlE5V70IGwgTws558aQIVFMMIjCIOCqr
IekSig0BLzpZu+KziEmaMuwAJveJaedJiWkUl30ftxsw/QLq87nCb/DLfTv6HgHt0eLSOCvlO6T/
O3AKnwmcKYFzP690Z5Du55HfrdU9gKFqa/3Cu0CegcEJIreMLtaH9qdvM6fZgD24MkCc0fLLyF5G
61fCl0Wk2q/P+R4zLk7UMZs3dqLop5mZGfVcsmn9aKA0IAxwt6KDwJfu8k6g+AyK42sTozpNPTRm
kAuP6i+Qjvyvq94xA9YW34xPVY1QIpEUZEIclJx36UAOorYwDgRRQOJmFoHzrLV6znVJVvuoPkHM
6HuKvFHQ6oOz7r5unDale/yIiCzNqWbkE0ggmh8cEF6zMrS/PxwY2PVLjyvEChhxuC253aqcbux3
G8CooIfNCnagDYpdZIw3avA+pv3ojlkdUQvar8E8tsFz7GQs2sdinOU2IsMhSgU6zhEzqBFsjxKp
JvavvbhUoH0QCHLlvnDphtJXEke3atdr3BhtVwN89DZvxtyL0+JChABpirPPvTpJv5rVP7mz88kg
j5iSqI8F0FhOwiH3kzBStl9caKf4SFVB35h4oYg3EqxD1Ao8DNkJUusquDIUn4iIuZ8OqCt18cRu
gJSFZnbNdKJEHf+LlPhY4VKshyVoXf8LLJGOyibm8PVel9ycOAB6NubmzRjHWBvM19oto5cR96Ex
rnfMxPmmgG22UDHCLW/juS5+EeL8ezUhyf90GOpRS4plGory/6CKpKeYdYUoIa4iQAvfg8UDxcFr
o62DleDS7lwyCKKMwi6+4Jq3LD/PC17nliXw8g1JipBnLVHL1J2HNy0Z7rqXpx0EHMqa38sbOvtF
l+B21rBNA/ABbiQ6SDFztG2S3agu5M12onB+udL3m6h09S50+r0Pv1PHZoDUcqffXkTKgpzCyigj
GGeJI3/jUuzEQ3frm0ooc5dkARwtVHYRtodopc3CK5h0BJ1uNmwINmW8i/WvIZNEXSXzL4rp512m
EfRi6jMEpJp9ARMS8zAqrxIDJOuHufmCA8T4FXCy5sKY/3EOlZV/pERpUEFES1FVw/oDdvX8anod
i890Wx0iLmTjxvKAK/osfS4a1nUKNbqy+9YVx9VU4wJjMv8pTQf/fna2q3s3w3COgbz0MtrviqvS
pqKC+PjNBwkL0w3YSgyXQYuVC4toEIIRpk+4UJ3dACS68RXBdmFiRaYWCsFdRXV2MzjwPscJtJhm
SOneY45J3UYttW9ZJR9465va/fwqrrwzhsa1Zw99fs7aD5gg3SnOtsoiiSIgdt4tSKJBStdt0RAL
vwbP8JxxgO16o0pBYusd58yHmoQZR4qIvFmg+QxdayZiXqHICAZyOQ4+zlnvhYOgR5dh7HQzIFEh
95IjsqzDP59GIL8yts1kl95bR7w/8diD8RundwvCkx2gVAvdlscrdLqbDJ/hhqJeQs+Weawl4PW3
VWWz2ooIE9ny840GXJP8T5z8tEtNu2JJmys9tjU9xmvlUXyxCfaEGd3un9h0zVaQwmLaCo98Sqmm
u+qhIq1ePgUS6iWgNtqu6Pv4bwh1Ilt02RMAt1JIradd2E1Mbl+LYYw5I3N0nN/VM3/tQ+hKBZ97
Tv4aejqWCzg2W4Eg08H317wZO2UbDWOO7Sf2ycwJ7XmrU4qw1dIx+I8V4p+OG7opm7JmWbIuiT3h
5m/ncNMsC021XumWCcvqedHRa2ULBPx8UKLq5rTFJso4oDWZD//jlf/p+fj7K/950FGEqC6eWbpt
nNavRtnRuqIji124g17n1vNsHFQOGmLYmv/BoftfD+jPrtvfX/uPHtEnkN5SKvGpGweOQobYCwf/
FwAhFQEt+IYvZRjTEknGejSCq9Ynp8E5i4gdhcIXh+yYnKIQtm5fTjillhwClepHeSqW7+oHrzPO
7QdEvSFxfDOBHh7eM4baVAIapippVR6jK6Ud9WzhBQMcAYGdwjmpJ5xo4i1H8mQRsVaiEl6FT6+Z
a8PsHq8+p3frfGltOOLuOcnw0EMA+eTUTSYHubvli7N4lfkvE3FM3GsloHM1qGkYSTFV5S9aHI4y
L9oJO8B5NF6mClomjpNwZ48cU7qfdhVPeVO5q27EhXinY47eaQuUYYPI5OOEu3b1gR49M9fdT+Vl
2LvC3WtHB8sXWgdfLO0uRtemgyWK03k0V9G5y8de3/XlN+euBiB+JHiJb7oJ5WyHRSXYgmlDlNvd
qzFsM8UCevbdqxgNPU5k5Y6VexIxEgCksqeruUdR/cHYpAwocFvHmuPBW3wIIcFsDgCeVGF1nox5
mNLMTk406O/4NEUaRvUpGjKVYqztspwg6ACF6jBR3z973QiVPdu7iUGc8CbxSpbQo0TY3hc+C2LI
UNfaxjJcNRtcq73Ug5URNAvCDtgzpY1YZoRxDC6o/439IrIp58WzoxswW11O3xp/BItuBYn2ee3l
EeaALNE5RnVhSJDFkZ+l/uInGBhEZPNRC8vL4sDePKFA7MddOilJiPnw+IF2hUSHHLJ0jKNkeIlK
xED+gNyfkfcBu/yobxEMEIa+DKcgMXvR0b8/uvI/ddP//vj80QSrpUQNtOydUtKcT4SUa4vgi5c+
ub/8XkINUpJiaiIfMaYyQFvFDhP2o3apGXS7df1fC8k/1Tjwt1RVMhVNl//caMtUOkuvJk63NazQ
gcToGbMHVHPuxUHCTIdROFcWO+YeSUb7n0Eo/Vrx51ry95f/YwVVEsUyGpOXP8PZAijC6V2wG4Gk
DL/dPX12EHQ7/1FdSP+E9vr7i/6xeBZJlCRJmEDSpD30sHAOk0JJo4RY1I8fPjhSi0PxpBzV/iTE
/RcNtKM6//+4DQxV1Q1FkyVdN/9YRfXiq6YvpUy2zTKZcsuSLuynzm88pYIrD7ikvO8Qboc0CZCg
9dp/qLjNPt8b039/I/94Mf72Pv64HVXNzJQmrZKtYQySjxfGwCGUYUsu89O3yNB9j//99ZR/wr6Z
hFeZomFaoqX/MeAIktas3vmHqz8QDrNQdSBD75oYNyBNbNO+/WLh3XQ/OV2pFVlow3yKnOyeb/jf
vcydieSXTr5T/seTAOn6H+5F06CxLmqyoep6v+f+bTeXqijRs9zkSqwhoF3k8WtjzpCWUFpYxE8Y
d25/1hHDqa3+6Pw6UPvLpyagdB5Ia46e7e3LCaGnPX19ZZpNqxFgma21pkLu0HZ8qPap3W1D8Bvg
BJ0NkA1BxDL+OtVnIMB4G6ccn4xpEXicKYxu/lUo5nv+GmZrEkRR4gJYlN2ZcSsfTFXp35GLodni
40O421/nW3lmFZ4guh8OrYlL0sfXVYBMLogoyXfq6ntPQ+d9TSRXKb0+MfQFscPsvM8OAgbvCIoT
AFnE0BsggmLtwkhn3tfHeo6NTUnMOGMgr7p9b8yH59lNwDtJO2FUHb4/PKosxO/Ms+qRfm1G0vG1
1Wl+w5Lsea42FULCub9w2Puj3xxaSBW6qeaXZO9Bw2OtfcgX2qKfbXQAfkpzs2nd5M5RPIBbU4GD
YugPgI2xUjzUilFQTa1Pn5UCqEQgWYGDmep0l26ORXJZB3aEK5x59rG98kulqxoMX9qA/gtdsyfG
0c5pqEg5Om4NZDWPN5RruiuPtEOFLG9CLrVlg8pNBEcjovR0xpuhzEnbSK7BWODMjJuNvZwf6o23
WPN+stQNIJMaDsc0Ydsd+WsfFL/bAi3WnOaqicvD3FCjtxOL7g/SHgMC18xCsv3ciNMqHqL6np/X
+EHW8vQs97W7tTSnJiPGYh4RsYAzud4WCDSZClJcZJBP0hawTyQ5ffgEn2uZn2g+0jtLAY+Q+2Gu
CzIcIOhKDo1FaZ63AyXzgEeshLk0Zz5R8IzlpLNE8JJtU+coQ5Fwja4GDhjtr5MBcziDkwFgUmIV
Jxw+SvCX5B8kCFU6DgPj5CpxUhm/oMg1zJQ+C8xYdK4WNTV75gDpBt9pkWodD1vBk740DQuQtpBz
L4JGQk3TK7LSPtDsjRaKFuuxPEAMLdwPbrjVt/NqZF43mpTmon3IGI43HZb1fqYcTMubBeUjHBrL
4DedaUx/B/xfL098lnBE5BtOPLhyH0iTkK3SsxM2oMwpeDqfsoaOiuQcAYnCd2UW0cO0icw1Zw1K
D2Nqet212LLSoMHB1kCGRIk4DyZodtDuya94zRv/KdktpdjTyUlnCslB1gbYkbmrySX+90WTzdjq
d6U/t0rTNC1TVZltSH/iMrXQTKym+yZbQvJ4gNkuR8THI3nBJ+NnU46/c+AWrnnnpDh5/0X+bd3a
L24fMokrgFjfURc4T3TlFzqftjynjz+OV5ycv4yGAlrZSMdw3vSMnZW1UBPXWDATk8kFIbSY5w8F
moW0DgkADYyeRScd6MpJsDzgbh+UsEfIEZNtuGLqfcHtIKLnB2HKNS45Ak8GjDTUzFm3hBQeEMZp
HA19mtReDn/EWEbRpMk8kdt9//QJFt3hmVgigkYgTrd82hAL8rm32+y3JAsyf3ARjDXxGv1l4LQq
UTq8fEvAR0Nm7w6EdC8NZoH4+gQp31hOeavhj3AoUORv4hVLTryq7pmvTERPuPVaUhHsbDd80lbs
Bu9H2Pk4VlihxWVxAzEtt17L6hgbtvF0n29XFZ2YjAiyveZEYa8RSb/QiIdLVFb351Xo4aDYmF4/
X5/eGTF0IXgHmmmRrZ7oB+msAOiX6C/Me6aTzvoebmjnycCRSKLTv7Z2N+7R9jUzhzE17SxGP8PG
NwvmzxUGHpcU5BGfTlioDwM2AH+/gdhP6ij+AERQW5xVPs3MaNNx1oG8xWyTRRZ2RoD8gXO6D7OP
rRXoVU1IgUs7hXMcrFzVOT/UR3xpo2kI9JVYv9whkJ4glYARaR/62Y2SlcXph0c2dENxREtPTQjj
/OC8NAKnvAs4TtUbTdp5EbgGubkiEG7erBecJ2wPxj0AwI9zIRq3c+jt1UxAOrC+0JrI79YOXjEC
On2o7SL7wSYGIk2muUKTF2rVedn2sVWJzLrv0qvhj/jYgkWYg52cbfhW8svLathLrWsAVnx7HO0a
ErbN1yBt3Ry7DFdpJbAIj5Ifa8EGruQudxF7c4VtDcnqe/Lcl2OFIC8EYD/o4oZ0V9mQ36BuON8A
83/2ICk2TG5sWlF0mUbRIV8BQ8MJJc84h6DIQ+XQEAvwHGYboIotUBve6Y4OIqRhjqbQitVLoTph
7RiJXwQDvXFlsx+jfc9EZ51hVHJ7kOMXof+/izMJYwqyNmi97JnCOsABl83ixuV9QWIlqQfhE+5v
GjN0+oVBBAidobbHc8Y9SiocAWQS8eo/TNOd+CgzP+e+RlUFpWEAr0tH0VAcGF/Mz60tLbRFS6LB
AYr+AYIe0cf01ujMqw5sronmq0B1nk68oqkGEM6kJ8SL0oaWpm8IvridVvWRaPoZM1QGqHAZIXXc
eT/GJowGMgKdPam5vNdcHbyhvaWdzarKt9pTK4lHj0subq2tNIZ8FEHQfPqCKl195rB1mDCIPNnV
tD2gsm5hnYEKOnAnKDfe0/ui3XTUui7eMN8cP71wLcxljL7WrKBRWnU2R11AEpQNSxEyxP48tJis
ovqPvOzrvt7DovktydiI2Wz9d+A0uNVop/vcfYQNEGoxjZn6rKXQPqNt5cjPnPCgoxuEb9S6Yek2
CAnOdivbfJsJBt/DV3JRho8knyqlGEGjjjYhN+bDWpxTj7dc9YvEKJr+DyYKnVTzrb3hg2FEXMzE
x0tXT5CmjUcIXz6hn+9wx7EeutSf5O4GbuVm5TAFgkt7nUMEEaiMtMgrfDsWEpvIbycIQubg5KYN
UmQMmVcGhbfgouv4Liserd3nwu71aC7qxQ+PX9kWbj2lGBm9vus1OtmwSHuCe/EIBoyG+14LEnNW
DaogldnOepPT8jTYDSCaHzsoOMAmsQ2smxWstf7xY+b6+9nmW3CGDF4hxtSTz2+w5LBbkwQOhbUh
qwDQIuNqJLWVHaLJGIEWOAWtre3lX5iwqlMi+U/GvD0pGPCoKyAxGNuP2aAkkK5UR9XYIvdzlDvI
MgF8QB7onOTXhBtcu0l/0YGLRuUQSGXPyct7tCFaDq4mv+p94T8L0VQkY6Bt1zXJQBf2D/iHPFud
G5QLzuR0esnkiqhnCdRrgPAn9CsRuB2rj90t0wcrBBMqzBi4m2iD0VRdBvv/xSUn3nfHhf2hpZEj
D+8BoM0OPQu7adqjjBHTP9KHsCZWetPMu62OVeJSL0SI5cwSMLow6muPDThMILatm/1kd6l2MCw8
WCDIfZC5J7i/aNWAdSuJFXiyWvXAvsqyE7xtfNd81NznCN9DHMWxsj5vOYwYhZcitVEsm+i1a/FT
1Q4Ns5opKJJqyr8DcECGme/HeSuv8glpNy+Ejd9FcSCtV1hQhKOYLh+fMSZedmqSEFC30rj+RtzB
9ZSLbgQe+EDD5d6kwf5glqbWfTwQOygHJyiqMMM0G7X9ML0GRPvMVcLyXMNu3fdYRMAhLsUThwf+
COVw5rw+Dpe5G3PIQomfu6g6OAKVxJgjAoWhf40VxqOD4Gq2dnuEnc4hfk4mh3InxpVkE0ZzhIyI
K9yRA26DbAoyfxk8mhBtTbcU1mCnfaIsFc2ZBHvp+P1J9zWM+Yrcvi+yG2Zq7A0jTmms8jds05Qi
hPS58A4poWLGvtx0wTyaZjyf4YAjkYK+PpiDN6VKWl5nvPlDr2+ofzqPmzJFlcQgZkRJZcd247Ci
zjrn41Uuqw4xJRC197ReXAb9KFs7EtfYFGnUe/SsvGikz9hhXZaAaMPzeShuyob1zWmnB67xQTzx
K1FPsNt6zzkI6mGNt6APemGE7EB5pOQ4qEv1JFV934wTLZEukZtErrWJr5/MY9wcbrH6zKiBHwaG
bkQ+HuNchrww4nBX4hkljjZkOxHcEE0NzWYm5OvASTeXFJ7FcDipyEDDyjh2WMvsOU34QYD6mMwW
nwLBN23d9jJC1OyP2/nYIhPP6WzExR+bENgjFYtvOw9E8ehgbM4q7lYbMK3K0WNTauEv4YYTFlmK
zA/xlau4h8Ths9M2s+HMjSy7v4yTz4o7g7vqjijJmZD36Mwa5yS5bGf2x56dZi/nYAGmuB7O9Jqe
e86r6R4J0zSEtKD9PDgm9LjwB0Fr5MimvD9SFvrz7W8MvCNzJG/cy50e7syfafadYxfrbLcvkI2K
09QdHk6z4dBRfeQBa9mef+lMO6wGI+LiWFndO7vi7EFanOwcKibFgXsPl0Przn09ZlM+nMq55p8s
e+OPGEvbLsBQaLv8NM13SL/VCKvIlLkhQybe3qxkxev/jQtig9tA7qH5hr2ziNGk6HdSHCbmo7/p
OIKNtEXlUxsTYgr3mpnPBDUEJ5zPeCdM0TnDnU+cj72U7ceSDRq3WsmdrqP/fyOhphPg1777eIP5
IkxvFxEA24wr945Rlan0ZHIoRvRP0E4MqRD6P+S3KbyLGSxQ/7lCgACwDZJa6PiHhkTiyvVPX9s/
ZaOTzFeqjz8sT4BDKV1sywaV5MmYdt6XYtTwNlDEPGp/d8Z2YeLQee6kRTleivZwB6ceCcXSXJK/
wVbJscXlOMLLY4h3iaZjqNyX5wji8yEjKu4KSmZnyEO4Q1DQW9FxCGKYwgbFu+0TmPv9Fk3FTIP8
EjJzPjsozvspfD3nVDnCeej0jiFWXeexKz0U/MvMHZKq6AT4RfkqDbccn7HtXkx7PJwobOF9aHLq
r+FMuesj83J7OeFrcFHmD6nrh0twg3wqRKTrM3jjfFAONtwDEcSTKxX30uKq9XGqmpc6mxxKdjZi
DcdFm/i4e1m6P17Lp84oS6mRiLz14sl3RF+AdFy8UAiZRrvzwPATl3+bVRsJSzJ24HluLwh5RZHA
DvEllwFgCqt/Bkm/QQxQH1N8w4J91+ff4/v6vkqCzVQOYYGF6o8ee3lFUIAbvnFeOnmMTgP6mLwK
/kH0v8WmbD8IyN3ymIwvHlgyG16EPRrBWJte1hFEjcJphsio3DGnsZ2OWkF0LO55wNfJyKf6JraM
T4mDeXa/I9b/7PsvBtfRZ0K0teiQZe1LuLrU8YybPqHOhTri9la5s7NsKBiU2wfJj8XH3WXE8Uij
eC/cEX+EWy2iiiHs02dRw/DLTIrESFYZ7AknrM0TDdA19c6S44nKPkrypuj3XJYHh0NW5mIuuuvA
5bBAWuXLHq8RDA8LJ5ut8Z94S7Yor2fv2evHuELcclkP75EzfCwNbq/cPnSDJZpWsENjlulgdR50
hGhPmeQyGWMNcQ8cKvoo3w+Pt75iLR4vGZn0EtnSO614jIh57jehDxsVvq/akU/G9OWMXzYGE9Pj
+aI8YG1z4Hxz/38XqcYO+Zk0X7d3VxWq/WJgOorFaVG7ClfgJjyJYCt/mDuEE53yaSqebROxycuL
pBH9MvJon3eVthv8Wk6Uu/Lnzb6O2G7f/iqam+RTEsy4YgGtIt73T7FqmUaJXlU40s4gZouJ+JSl
8Jxiz36vk0G4LcjT7Z079e2deiUixkd20Hl6Oxv33BygWmLNIXjSv2mxWSgr7kVWUnRxe2GTTmKV
cKa7URNG7VT4OAQ/7mxZd59RL39i9w/ffkxmkuEVZO0pI50TP8r/M8F1i0KkuhnW2BwD7yMOCmv2
IXzQyOxUWmbNvuK4yVV9L3P6aSSJUVBJg6+6ot5WpXHC7O2WN66OxJpZGjIANoh8VKaDlvLHmulI
+UMnttZ1NxfTQYO9pRi+wQktynistycVHVs3Z6hNsiKHKTQ9FVtHR5zfpV/XKFxValm+X1YYrvWP
fPbq0sshktP4XeWpZyDKFQex4dbWxaJtjBXt/UM9q8djcrXUYFaBvYGPjn9o+hT2z/fvG3Q9JUi+
aSpy7xZyPJaMqyktP9Igi09Z6OrpQIhOXfo4q4QD0uMmNI1DtH4oCdDoPPM1QVAVKQ/U0rE4ypO1
KM4IjjH640igjFvwSbpnfol8oLxcyt+BkY8/LFeYLH5jklgJ+miGhraQm5mlDaxoodQ/cetItZ9C
xal9eqcR+lmktsWAnqZErKIMMhQhkaUtJBx6Ip1vtzbHn+UZQCpsTI7I8cR6HpPzJlUCR1Evje6I
8bx8OxmzWmP80dyNUToWVWc2TooB+twmu7w5qJMCgegASAA6C/2n0iCze5pOCuS6CKavbPhsR5Lg
iK3zfA77NEbgLSQuPodW7rVgGOmLGz+VjNTEVq4BhlXsmgSPfNxMdiqCEiP/C4w+Q1MFQpZGvfdq
fL1e1MnCRBxAKGTg1mf/CZb0O6jXRrWnfs6yEVevwknN8aXwXjR06NCgQAd5Z4x12eeFE30AUBpk
eDJvseNhttQdJfd4q8X6jPRPj71WG0nlvjR+0mzVaXw/P2k7eut7rqDCPk6/JvmRhR1ZhBJr+VGO
XdDUgmNUkzZ2Kn3RtU549jtrqvF7ebnKQRgXEwXGo55PzeQW4p/lhU3iGCdBO+NbaKxp2s54mQR0
xHOsgh4K11H3a+kz3rMko2lNlxamcozJolu2o5DFuHZfgvtKNwztY4q5fGwITsM7bYeyap/5ctB5
/AoY5WIXVWWdjxUAlbxDGn6Bw8UOK6bmvwrfAbAWGpsfVyidFM9+5ou/EQEBODufY77BmNWN74YJ
g/q64kCJfoN0rvP1KXQkyCr78I/2mYTIZLrj88noAhk2tmqqo9zyikVGSxGZdzsqRRKkOIT6r8KL
+AK1oWlNu5bG2M6QvSezE8UTt3Lg6L9p7kuv2deY8ZGfuhsb3Ep2C7tbtZ/MIVaZ9NdhGjkbOei1
XWFSvCikvQRO11tP29H5AdK+AvVBvLfpcV2jg5ACO/b0dhjdUgTNml0vaJzEdncikE5unaq7tu/9
2dhBetPXBlWP6n8AiHWOULuIf+DJW4c29HI2WTzVT/wwUmGHSHpWytcjQlRiYMBzCrUncGoE6euW
Wp/qCYX3itLvvBKOJlL1yJdyW+EuoQ+E/QTT2tMtlvwHNHqBYmt6nxSaO7U8azjE36WW58YtVSc9
ironXcSpNPvucJn+FTHKbtJaTsq8/0szsLzXuq3t6mUauJc9QimA+qD4hx0v6BYb88E97EbHahHe
gIk2J7T1/OFWub7HaLRWhUxjmpYN69X4QJCfp3Fb2MlOveWEtWxeK5JNO8UryAI+BbHPnsdOVX48
hVMFxfMsA3mEIfdXI6xrUeN3KJYCj+sSwXF/UXrReL2suZuZ7YRTgw1Ud7vKoQca0XEiqBqdJUlc
ilfxtZrNj5X5DXUDNk3NLaCn3/i3N2YPsjC3MT/IJItakqDZWxuOPmv+bqQTB97HXb15wWWOjOzp
x7RrP+75yl+rc/88CQ0wPcwchIdFPNoq6qGz5a3OnILk985968MOAD3ik9x5k9in+crDeBAnGhzx
dRTCvFDGhJ4+zzZ8bBTVFqzrZsJQJgEWNtV0t00HxMXmuNilQX/5aHkigUYtzwyBcN2XA9+TaHNu
zKf7yV10ixL6wRLxoQl9DAYGLAMEYkxMl9+OXgVKPbcGvSePdH0U0X3hl1vkna8zbRK8Ftl7ZxIv
DBG28IPSq7AQovA8Md5cE0frfwHJ64voUtK4wlzetxzo9qFVWOu06V8HZmCQbKHvfj2986MLsL6t
uQD9iaRifj4ADC9pwi65GMEosY9Ixrwid/pPj9i81zszDKG/qGEazB26fuQHibtTeKf7TR4PAiUa
DzjfRvl1ZxHJRYNKdYppvDNnonONYBDycbvbe3petHQGUUe6YPgOEI8fIdod5LrI+1dolU3+tuZ1
sst+VhAgTTOdkTFqfbkX+iFxTz2hc0R+iiQOdvO1APFG4clwuJJCs2D02CDxa3qtn8H1D7KtVM0T
djZOlMoQk4KJ0/a70jWikr24GUIHxwCwLSKH2oTJZ7bHcFJDPXMLevyoJAEyioOMmfSH6mZIU58r
YjUudZ7G7ATXCpUfAcO83dfAWoJUlw/6oXh5z26SYp4rXKmzRRy8hCNYaONdmcEapzaCXAXSRW1u
FN7qh1PekJPLVPvrq+scBcwG7OQJoOzr+QhZioLuiPPgyo2DfAmGTez8fu16o15gEyxwOOHbfvst
Oz4NhJedoErxK5NLZwvzhFIWXjOV7tdNVbuL508WS2HC1WBEaqzoNhJhdXZUYfQiEllyOmNaSU6l
jlL4Z/FcIC+gT7BsUcKbHppOlUSd94DocEXzUIkwapDFWWetdc0OVtYhZ96GOEC7wVrhPI/CDYUU
KoavF319kyvFRIxoY90OcU0lQ2J15P5eDe/0+Z+YfsSRSjsNl73CDjZXMdbHeybcjPl1BNQV2eDi
D7dhzakhdetyaACj5M8Queor/RGYbg7bhkO0SknD3Tt44lJiwawHZFtwF8sMaTEIDM8MXzufssz8
DvXXL0VeJu8UY/REvZDRGzotuMDDDREcCAaWIGo2ZHgD3F1KP5yfcNpJAJKxxYwYlCPKkObyQhts
YUco9k6fdSun4aZCI8R6A3hG8sgGfn3cOvZi1NtEh1KltVS7yErxPqMm7q5MCAcSIOsOTorF7Iis
IRrsO236zH0S2g2lsAUcu5iKdsyjeCYpIFnVGMDudKwgtDIXxvIJ0raPwCt+9K/DF8RFlZHMBEva
oc5MO6CqsBbxw0gcg9CbYtR9h1Y1oIF43tKFcLDMvX51/vNnwDQLDbp3CVza/WPSil2NCbLptJ1v
FEMz2guCr2sHkdU/AXzenRRixzCzt/sEqmxFofCxY0Xl7nZpd1aYZbCKdH75HRbFSAhcTgiFPJW/
KGOrQftaWBjYz2Oq/ExyOSCEtKHp4vMBo1Fpza1m8uFHhb5xat3KFwuBbxKy/n8kndmSqliUhp+I
CJX5llkF5/nG0EwTBAUFGeTp69unojuqq0/lyTRhD2v96x8+IF3gL4MoD4HasNCKFzpmx5VXS5PR
g85nMhL4r6f6T8xo49/8QmRoEWLUdHkxdkAHQ7q3j7KSHpmHruK7jz7pvkqk6AF5/WNcD4o2HRpj
CQsJLEFIUJPKSMI+AaoiUXp3G9g9LnwxRCMcE1iGCc3zE2b473TIiBADrZnxkYb35fOh75WtHtus
n+5jG1hpywJth19ERaUnLmwTpZ/fMbI3bMGMZ6AHo39i8vjoqLTDW3KZGhdD4mFdwZxG6RjDf/dH
vWtwJMOXY5oL/EhJgRknf/KembgxX0aVNf9e2KsoHJoOEopBLWRRs0G8rhvnvEt/YqDWxnl37pD3
QUf7GKtnn3/RZK8YQF6x9GaiMAypoVqbdo5xWmPHpvNCI3W3GTDrZ6t42VXnenwPvkIj4pe0WNxZ
+o2EQYLp9HdnWJHZ6XxNV0J/Qs3EwAgIprNVxEyM3mJb5zK5VXjFmaI9UGKbApH6kqpflgi8gOaE
cDCv/PMXEoNDDU09OCJ6jLzQmmmnnRsTavH3Y0oF/Gk9BoplHr1QbS5fxqQc/tBqUeJWy3ab/LTk
4HV2WrpvbW3GIfXuQPyAJHw3Tv8aP2ROOZuvGPWTDiBTduUWLqBFWJ9B3wO8izisc3tIRXzA0h2+
xgWjBD7PzQByPDW/5j6e8h3f3HeNwytoRnYJCwlxS+zlOAQQVgNkjFSXVLSLeJwpXYSToBWKdwNG
aIrN12qXpA4a2vdJh8knf8S2Hy3kyuehprWrfgKkgyZ+oRSvulfHnrZ7HfMakabTbUbs+WqlDpxv
T91l8wVVu+JrclKhNfdT0Q0sleekij0Vrz1xFcPZoIkGcFerjWmO02NZwXiLmIEjk/owThoXObEh
3mtBbtP5RWP5ZN2E/dNTey9FSNr4GXFhpv05c7/NykfIN/hUmxpUm9IBm97KSSuH87m+NPE0fc9T
TPvcAUc2IdDDYNTbKjrsxn5UZADbzKWfZERuHsj6mQvfXdUcK7j0n/0UJytlyXDNJCMhAQ/FG4gJ
ouHM9Wo8eLOSVvXIlxKn7t1M8zrSajbq9D757KkQzsnCwMMTWXE1e5hOnq6H3zF3faVvDabYVRkk
TJ7fgk5smov+ZX8wACqtfaEHHd6UBCaBPczrH+PDAp2dkeigS9HH52HY38cDiuZ8ZmaWifyf3J17
cB86/Zcj1fIL/pu6fFMEPJznGUvyZF+3vtHY39EMteuDfGYlKj74y/dEvTGVye0ngwfdS74rvbQb
2Gat/W5ts7TfxM9+D8LvHxkmsglkHIySUu5l29Q3sJweA0tudj1wKuaH/PXE++pkymz580SbnH/5
v+SeF0OP/16kfg4djNOmCJshXnhnoV6yhXruFTLhFkIM7jLcRXr86NgT6/YwAm6C4RLduRQzQuzt
BAnz7wjTe9hqqm1iKYLvWxM83v6j/ZXReCn+GW+/oZuofoXvR/tLsaHg58THgm3+sjLmZucVv+H3
4zwJkGvGlDH3dFrdFxX0V0raj0Ni9bea1+fVp6BKxNpaY+wIWSa7os5tCVamkMlt4zelD3me/+J0
wTcedj8lBnW9Y+iuVEwge7X56g6Z991EfDBFosynRj2VcsD/fjCMgQdN1imMLHboZ1F1k09/bVNH
y22VtGOcA9LZSAersZ/QDdN60TYuf4dvVFCPyRgL6jMiRacSju4IEFxYJlir5cTVFdgoPdbmapWR
IrJCCU+mRmfdcnJrP9N8PxjLfut8x9iFIfSYQjKy82vspzvVFb6SIrG8wuQR52mSmXCN9mKcBL8O
sxPrQyt4UkJhZNNty1sO+o3rZPkmTxq3dFFem0sKWNQqTTpWQczS/asft0PncV7EimsQElhEGs7F
3UymVZGtIU5756A3nQH+TXQ04kH57J4C+n01b1FjwROU1+84KPSw08WzQmaDXb4t/BvR7v4LJVfx
rqC+buvxCOufFrmjvDR+tLlK7AXh7f/sMomPmleEYhHx0cDy7ROoCQ3KWMXRSJ7IuAaj3ud19cv6
+D7oOm084Kmd7vjco43ifH+wyVYF3a8lSecimGChYL1A3RjgIqbb2tqIXRUn5QOlUAB5IyZGDPIc
xSWPOPhg3Mky6Sb6sq45iSKZeI671fyprVM1KJREddWSAgPdq4LVR1NcdoHIECdM9pp3kwqWTe3x
LQRneiiEBgBxyWv8vdF6w/A8akSuIVK948lX4M78jEyIFYbV8M9vqOfj/DXp928fYIwiEDIIlAAU
TGcYLkftmKKqApFlXwDCVJY861KbsXv/chtmw6nfXx9MsNxq4EJjA7wyuU+4XuV9A1U8aK5gd8R8
LjkYhl67/0Mg+M4tWvR2ZNNsS7VjgDVDgJuirTXFLAuAXcOq+ggXRZXGMFNr3cqHHmL+6mx/hl7f
WkuNhon8TTAK0Bs0zagTTPrOwYSA2Eqc4PWM235OpsaU0FsQIAwvKyezn/gny4znOuw51CmGNOP3
HyZUR1myYuxxcoZOjzF1CpwXtuWMcsR4eRoNYda6OBS81lBAqtohy02yPHo6R5ncd1LANzhmRYBW
l18C8dSDMRaWpBcAQFBnjwhSB9xnxcyF+3+vgmhNszVOUhcCtPMg0wJhIjNyGlBptDhWDXQOKZcC
XtXCnO4skOFCxWLs33jZvmntYWsZDNL5pytm3TXhkDRulr747jGdiq1fiL+pnSpWcZWhCfHkY9wS
VIav7ojAAazmTtUaaXM4YCAzfs4o1M9/2DEu7ydTRw7KIQmphBMyxwbv40jfFWFWeZDAXO6vI3nP
vz/TqSmP86HNMfYm6YGgR7hk8UTDlB41o+p/pQAlv8ya5ewtR5cP6cmQ5qLRcGp0JJgt2se1qxf8
+6C4yKOtqsyNdGEiWDeWvXx51s4IDgiKmXM6yxWk+U4zuGIhS7tipramzO5Ijl+TWvoz9LBQVLrv
H2l0UYeuqS+7dqcQym2Ecr3o+5X69jMgSnhKuFXmqwQZXvMladfDKESupq2C7QwEYpriGoCtbo6j
Jho0Eao7+vRGGd/rucyZeIbTqjHCJQyCRHR11pmbJ6ypJ+hhqkUv2MGfT2Kng1WPLxwU3OHzcMbh
osJmZ9rfvUJbgJ/3LPtE3mp84pi10uNbBGTNf729cRRKJtgK8DeSEQZs01pZPwrss3Y4UNwxwHGR
wFujoMZuz3CVq7HPDq/VCGWyGg0W/VOciP+IzfgiqCtzlcy5J7hUvrxw+L9cEBJ+CYJrLcAhnE0p
J8MaG16/PYIGNMXkVTjnVvdi3CtQl38nWeZqGD8DEShEBn6d8zkYqXaNQufLyQy86Bq//b/LkJ8+
Qi0DE5ZKwvuWNkOcnApij+oIiuHo64DS1mMW/yP1P9xYjcsuHrx92tMhRHDFKjFtsQ8YeK7VMKGu
hDcLA/1LDmZXUwgHMqe75FVfMFC3FN0SPI9uITNvlBTnibsj6HI91eGPKnBZhZidASeWimkoM7g9
VbA4ONF/IVX08zcj6lOJC5C+GOzfc0ZiCeaMAEXY1PDkedTXQea22JTEKMbVeY5AXfU7Zfx6M1nA
Y61Y1SSlZT/VS7K+rImW9r4sORh1A75ccusey+x1+XLaF9HjfBzKlzegZXkGKnxNMhXtrHfPnHc7
sGt6Nh1K0UeYFsxyMPaaP4++/OAv5KUcw90WUgphmY/PtGlvBedP7zzY0RnL51nPm3J/TrEbEEM9
RhkpZMgHVhxnoHJ6SMC3evGMRtJKk9ec98NybaSOIq3g1ZXfcJRybOaUUFAXnG9z1Nrlp57xT/1D
Ec+e+Ib3bDrUThlVXd4xsGP1PiOmMvcvROyytPhL98FhpA4tXWP3U5n3h0xbKC1nGKuMnNd6Hrfj
VzqPlfWr3OtqVGJarey/z+daK8KXjItfE3Xw3dnsz8FBi2/ndIFON1HnjITKenb/+vD+QYvLtYKF
RhE03FuDa3x+g6ktYp5jdeqlaSNN2W58ByZZmsIr7XZxR3PnNfWMHSce1wdKfgGtyWUPsynV9pYA
FxUVc9Zd7D5b9DzQiSsjbN9bnUGAmm1apbXet1a8imeUESzfLWuIaqkEHyJzeFncDf20HU3LZyRJ
rZcql/581Jii9iqHs7wdnHca0UB3ZuIcHIjki+znxetrOCse3S7n2Eh1Wnl5+35ec/7NLN72q/+5
w7CPu2XzPHAYxIi+5EBTF8aHgUFYxLeknn14l+R2UMLKaxm+dHlKsg3n1rnzK+kv4wSlapaDN2Yd
HJMpT1jVLZPBBMeg0bJ7f8756itRsvYUIDBGUsVRm7+83PPa9HJdjLyGOXA9v3ebYvsEU+0eTl+C
HmCpMOCJ1C+2cPZjMFLJS7/o+J1ADZngKQSf8u4M8oYAP1hc7e5cIAhx+RpmRIzGVAYVnZ3Dm2Lw
p594jg+M4YGqnqKMqWAJ0UIwQtjWuLkYXMCRCalBOM1SXXCpp/mhMThhReAvb73fy1f1Kl/fN07T
B3u2WTBnEqnAGpr9iPCy1OP3hzCvWEO4xgWt0rTI/PYNxP9XGkwyOInloOLsyPyOkSSBVbdNwawn
MYgk76bchnhU3aoRNEbGBitCJUGELEKl58qtYTqYWyq3IZl3UBQQIlFGFZybbCHhBsWVj16BAcEO
JankY17pDoLHthCqa5jX3vZsCUv/zn17b7jphV1BxibqEl9MuC8id8MhSBWrFy1BJIo+FdN7vuqB
96Kgs+BaizOMjc3eCT5WLYQYnrYGhMM9W8Kfktl/qGBtCu8BhkbsXQyK+3tU1xadprZWl1+nOzGx
dmXMUpyO62OjOmebyQJ0sDcg+uA4hMH0S1gV6asMpaDoFPPy1JwoRFXGK+DKmK7L3jCq1++hxdDl
DYGncdr1Ax7csoaDsc2c2YcPT+okDJ3zVL7VeGjvlKUEFwkCsRMwP54C2drmGq7wH8Td9BeAN/lV
nk51kQ/VXynbDhipo8HIKm007ZEiCufTk9r2aRPJUFlbUP3mkp2tNzC5TcoaNJXzaYBvLtSAN7y4
Jz4uIpRR8c57CDLWbWil2BAm4OyoWEQabOnOUlfftfNBqITEicELeh1y7pCtqY3fia1FWenpkK4g
wW01V/0dIKWiwBIcte8K6+j52x2suhbqpPiYBEURCiXjOAbQTdvYYJmLF/PYvKR/7My3AfDK7GO0
HuE9/s9sgKTbecUAYPfZ3X8Nj4tjBHCzH10HAysFZ58VbveDBn82wj822cKBglBFuUFCgqAwyWN6
cJhHsvWlIUWgX9ka1eBNyce64mAq81YCgp2IblFwnKWODkPskwgAKTvrK9kvLG0zx2TxgpLdHPBi
KR5/YYAmXFxjXd23g9X3Y8nK/sxnS1GfVa5nrp7b4RXM/pYcNJAc4NMdc7HkdvfguzymIDkefkWM
4CYmxemVJuAMtY0KI/U4lzXs3Ece377n0KK6QRX+8lKUYiQhgrjhvlr6XOvPV4B1+6d2akyv8Ys2
QAbhzTHDJ7aFKTIG29i20F5BtIsRb0f3JTGZEwl/TAYERR/Ayhhi7bNEZTo6VdjxsIq+Tsn5AfNQ
cRRuoKL9KwuMluw3eamxnYGx8fA/wKKwKsJ6ZA9QQHZgymMKOR2x13aU2QmVBQNXfBcVa/BCIe0x
C4fVCxg/1XRUdhQwHHBUQI4En3M7xIvIWZawajX7ORlOEbd7SPcpB+eGW19pI0riGE8lPcf2e+XO
GHAiSRYLGPGeCAGi6Qhfm2Zz3hUkPd2IRzqQxQrcRwTbXJAegt6BBwLReFLhAp7tTgyUT3dXyIzg
ctIg4lj0csrMKSTKjZle2HRkNT6+Pf1CoCJjNxlwfiL8oq4m1RgSsilD/KXkSRvIlsmJR/I5xT/F
efw59bAgwcfHeHQ3mBvSDiPjS6s1VxYlelNNKf6pH4CHXpzq1VRJfYUihOoR/xX+eRcYRpwCAemo
91g/MXkfgnIe38ih4ryHX5aIWkbctWQuZoC9kP7rJYHuJ5F3953VuWPsBjv8fv4w9cHKgC7JtFQs
Yx+tDe0Gb6HPAtPyPX5r1xo6G54u5grRHmS11jY2/N8BiXm454iYKXWAFsK6Y1q2/LAj+NlzVULX
lzFDXBkLIrKY5sxEucf5crvHdsdfiB7zwW20fTFUq6zCPo91BsEUz9LsfRuNPG6xF2P9Ea+RHEYZ
5xAj/ATgOSaTf7hr8NcVC5bL+9acHX4QM3Ug3yxIj4owMhEGQeD5H08+VvvhLxZiguOGFmcW20Fz
uM/aktddLfU9cs31cxsz/UYzj6xId+PGlXLnoVsYom0o/5VfPrpJv+BjuulOUs3G5QPmLDj3CHzc
7Qm2gGPBXb3VMBVpnG5mBF+UXVNun5lx6EgtgN2NpexmiG3rpp2TkXgabunir2T0kBCQYj3NVoWQ
DEW+YJy5HvGEDAalQcfTAgWQNg2+9tS6/xZ3jAlaRpbPv20Oa4F5/jDi6qAceq2yxNdfMwad3d8j
C7SDJoMc2CU+JlcV9dKK3iWL3jdpBiiUX2VgArAE5Kbr4ZWyF1+LCbkBToyVJplgpS3j5g1dsQ7B
X8xDjK0oOYMYkjD6YMgCMCeK3HqrPi2KEY41ZQwtiQ6MYqW+tVvTi6dCIcb44E2iC7X5lOs6Urbm
9D0DbDMP4putQHR9A5JkJ/KjT9CebOqusXmMWU+ZyyHIx3Te9FIchFSTdlGI8oaCiWnb7E2jNvQ6
7hVLYZHNeI3YWfRklPDStgIbFKpPwHBQRNc4JvP87iGC5RNze/KFGFFJNhuHf7Zb5SaHTEw/0FPe
FJdWvuFWZd4kPv+dEyWzuqsGJjqn5HpBomK/cdYRYA/SREEsQp8r7ifDbaPu7cIuOr88Rg/ahQK5
XqY/0JrQSA2hlzP1T9wXueHZtmJWrCFSATX3NUi4gOVoWibq/PxiHacLzSb4mddIkCCYntByqDaf
BIBFWnV7DS0Qd533Ik8CXBV0E/MHqsFaUI0w95O4z7hBmCvfGYQwJ4flxR/AUGujB7TosFqdKQDy
4wgBXWOnx++DQatL3V6sKjyWfhkdMFfiv8qEoL8syFlUbbRLG1D99wohoYQS847pSME92y2p6eob
rDP9WpxMFtce/gjY2mdNBZ7NEOpy5FbL1xyeVnp4YT3abTAvuaVD0sdbuHP8GOSo0eDvfilD6J4L
uNc7BKLOfVIRfED0idtsyNEO8xBzRujhCrjoXxFgH90vBrgRwIHxKiA6jWGoOm9+kB3i/AU/5PA5
KNH5QgHIlFiYmWHrfN8h9NLfzgur/h/1UG4+5IMh1jjFf1AiWRW+6XRzkbxCTJvEwZU6yRqcidJO
/sP7x9YDKmzh5UGxJWoZWmmvdjEKs86OvOJcBsl0TVdZFD4UmR1UXdhKHRm3WqgAnDJf2nyZToOJ
wlbBNi29Att7nE9TfFX974KjyRrBCklP0L99ghFL674p+O6iAhIK7s9AGHAauUeKaGRoIWMH9sFr
j5sMwBRqZZY6ccGnxzxx+LNmGnMNsKC80dEE2G5nGfAYD7fZ0wtwArBdBDyypYeIt6bb7Cu/Pg22
Dc2+vIe+7A7GfFIeN79JBkYqxrQ41qzx4NzCpsH5ZCytQNgJjcRMbvq56qsyoBQnogevF/TtzM4c
sOYpLAbuA24JSLGosu6Ta+P16weCAIXg6rMz+tWOpEITL4UCd0LEqzU6vvYAWl/JAmkbHc/hVwKN
jyNyjA843a+IFHZxI4CY3ewxgPUQpIeMT0YL4xdbc+h/eONIKzEAWORkFSJnFAHOLmeHvCJVjhsE
0I0aDq0Ahm2iIvBh+qPDIwmWoAodO/wuaHVxC90jeSUTQD0g0K9wkIbhRIMnPOIObhrirAwR+Qtf
nPUzBtkkY4669by+3LG+JU/D6ncJfhicANbgoJJAKEVfR7irz4qQkZaVQUCGDDT7YbeTdTiRlu/w
PoZcjLMPAwpGEd9Fb+EZ7nB2MaEoQo58ncoZm9YZwc5hDowHIegxA3Wg2sDYHjhs8CMzkKCrUpfp
3/sAYYqFJH7cHREBpTDFJX5AQbUnjY7PjPKF4TlptGdPXWo/TwKmjBAgrJ/QTRJn1hD6BMd+A6Rc
iciQpT7fYRGMYWYiQTO0VBz8jKVAyvu1uvlnfyGaM0waQiTnXPErTgKv/ZE6S/bpqqM7dXrijuij
sI5jjICr0JcMKz663VoZ5vWCoP79EV+cQOFLXILajLByABPpVci89ei/QooRkjKzEp2z1Yu1NSLK
uPcJF7dXWEIuXhcqCBzwjs/DnSzobtftmLyCDydI2bh5yZ/XfUYTBOgSYnB9+TltXel+vUQY6uMb
R/szIysAWxPD+p8VJijxOAaNnxticpFPuIAD/tAe3mhMUUJGjAjWxD9f+kmyjyOR1EyPw/DFJMOU
mCF+GnqiOVubg50mdbAyw+HiXyyAzXPByjm9GneOB1K+xAsTBDi4/cWauAWL4uEKKA/OnUxCNN0s
5hkjPmYwPA8FuZLpSNhuxh6pzFBPSHdcD10eKAFR1MYhkbURT2+BsZ7/meDXStsa2yNiCWqWtbmC
mwN7TezAntiCO7FuozG1A60wnLRypXk2Dn7S6TGruUNIKXvY5QGpN79HGuQr0+/sHzaxS+Qx8gem
TnQKAUpTBynvnAaN2Fe6XK6dawJZ2v4KI9cG5beVLHV+I/dIlil/Q/ZjBI9zEXALM2wJwW9nbnm/
7eLlviAlkcKVTp/zy7E+nBvb3D5JQb2juJ7fF+mMdQ4n5zx/wgBZPMcN8SOoSkm96awfM8Iy0F7E
0XA1nLF9iPTSo8FvxQYeWcSCTAaWPul3wMZYUr9mH2hiBxYvEad/OAxhXEjrKRGVSJrvWPuBHr44
E0FsHIaG/YSMsewm7UKcyAtZDAtAZoMrZcSsd6QrViAI318eIyRsr4DOODHpOELqFkJpw5KDdfOZ
aWj6Ge3NKoIBmCaPByRoSxwYH2ILOEP3DB2ZuYyTS+cCK8EzDthFq2xO+9TAwE2s9zGZKmGGaXEI
f69F5to5Kc6DnD2XI+w9leE5EwHFVdY09jKXCIrSh/3YE8FNTLY8gwuxhL84IT49kE4NGfXKmFje
sThukj++Zsl8Pdm/yELOCb2Pt1g/zdVlEqQBA4u9ycSnX3wYF+EG0xGdNoIZFZY7lk35tTD23J9/
P8HjSjFHnPaSh4t7mOyjJVjErJ7zj3KINy0BQxzfyiIOsdCgLdgnYnEqmHdR1TI7pAbj/10o401F
j52AgCqEOn8XxwmBYg6pcwZ7DKbUP75m6Q4WkNO8PQCti3iJzOAXSWG4FkV0DnAzGY7POC4tEuFY
/kM+RjWGbuvRVhMCTa1Dunq8fWHfwVCf3EjsKbHQdyFRIWqHNjkxOebXnG4O7A8XOU6BOxmgV8XP
alyQJt7Y2YLJhRu6/7Av8uS16+3hSlz9iybgtxZHHgcJ08MJMe6tN0C7is/HHfEhXHEArpcvHOQ5
N2CAQpW6/1YhizNBHhl9aF6cwY9Jyel1f5/8pquoaRcZviEUWXf6KSPUV+dfygR99fbLuYS/NJdm
gu1a7NKRiiffI/8aMeqDXOKSX0YKF2AXc3x1hfWai9k+nxClHO4QD3u7Ny8ckr8pYhfQHXRijGfs
fYmRMdYkoCRWrNgFfndvrHudrBq/oOdym+EcYInYlNYZVG4/9HXKfqqxp8sQXJbcmf4HYU4SzgI+
JOyWmAwWRzaWk2j4dGDDxpQGJQYIUwxv8iy4g3++ELbkUxVMB8JpzARHuo9rLJqfbiyHEhhnJ9pZ
To6OCcbQMghXiWHu+x+SlwfHDsdlZDjoJTkRmgC/HTT75KtYVZQtu9+7e8Puh5PPtCl/6NLv2376
3jZXfjAGfqzCGFofS+hYRO9tdxUZtIDHFEOD1o6jRWLFa64GbgSUsHAdMedjyEHBAiloGS9pobQx
fsFWOw6NjVjdL5z379tXMFij9O9XcCYJ/GAyC5x6obTCvf+UnZBq72DDSPMufE8K5pL8yIdjekPa
FLzP2QSCq3C2fNR3++H0PCkmj/l7xdSXOEXJwvphrCkMcRmLEs68o6APSMKagyVTqAlMVucGJIFA
MBbtfkzW3UyHb48zvM/SC8kkQRavT7+3eva99ONu3Y+lvdCsEqiBFA+0KIA2gW4R9bMF4shWYcIW
asQfseY5cGFosuuQTtjZ9r6VSJXqDNw+Hh5tjMgu74NogCWC7qWcM56wTcz8FOMma7QdevmYKdPy
9nGzDcW2iccsmDnR3QSmuzGYNPb3t6cPAAEJgpoNBpuLHaIDxMQgRxljkMhUBGi65G0BbF+/oNoT
+n2U8lLtZVukJU4f1j5M2kAUY1M6MWKvEPsXUcbzEFJU+9m6OC2hZSyWyAxCMtIpgzebjyMEjZ8p
7+CozzL36XLjFCHetp7YOGWKcJxYaxwXHehW3IVFT83FnqB2o8YUE8yK+39bklebzBgjYjbI1loY
7MQ2hPnlV+FrJu+g7F7isYxA/ElBNVy2Nf7qA0xHe/yCAHtXhmX5LB5HVJp81wD6+G5og4fjgNSD
XAf3MfPN8U8N4JsESHx3A4jU4YM5rsNF6Q1JywRV8x4Ek2Yk0p19tN00P5/pvILiemeBzJRAxiqU
kHJqpE7459sDDoHY53Fw3WKjTEV/hCnCUoKipZNKeI/yyn5MUQeImRrPWYDLAMUcnJR3uPWQU4VG
scEjZRmPU8Lh+8kCblmIByYpYaCbbCIcGYWj0gTuGLWJZGfL3Gl3MrGosUv6k8mlyZycz5IJX3T7
yA8e2hQkd6pjhrVTZfNB0SgGwxTUDxqbz9Sg1G5cUj4veoRZFKe2zouDlEe6l23OFtQL0sy0WSgL
It9t7L4J9DsTnNFMgGQ5qOP1BaEscwEcpRI/t4+VUx+xRqQRGc9x+B4D2FJR4lYi7Ff4pWO/xRtf
5J3fyD/EhokTcwtowwy0pybhtZDOffkz3H7NEJXSmjp5ssUBkx3Dvbs5g1URi3ooaX+Y3NvIJsiN
IMZu/Q6AKGg+EhfKD8aAAgSX+JC85xlpVb6+bSalOCSOcqSf9GUeQLodY14C5gLPEYpSfiKtfVIF
Dyz8sTMEUSc+1CTEB4dWkkCotlxBpsISO3W+Cy3cn6nkyZRyMn9vcIfG66cz5KVSs1u/jCsg7mNT
VWJoW0boKcj5uEOn553/iCBlzRKjnM0+D7SNSsHJNRO9CordkH3PcqQwXP9Qqdoi+U76BbXX3DXz
RnKeFa8d96cSix9FpFmNizXWrKT+kOU5A41z/9DzfrFUBriaJhCCgK2vyP9FmYmWYsJxwSRNaEE+
7kRbUf5i8Ipa9PRgMFITq0oh4QHdYuuLYYB4OpiTY4Lsa3hLYFQX8J821ZG2hlkQZddUhp2DkdOY
+vbNmS+qiT0Hf1Tt7w75sxz0IhVoCmqMcdcjos6CREbViXf1ifBW9om4Ggyn9ijS2Fq0EfwP1Tom
FcEArhGQ0AIABzkz7R1FO9RmJ9suoD1A5P33wZ7MHo7Y5xTMiuBCTE1nDZ4wBQjw7r4PkuBRghM2
y2zjTjMDGYh9oLv/9ihpgCYiDQMnCJ2QRaAQmNvIXJfoKAgGGLg6C6sI5EUPI2ienB7EHvg9bxmJ
+YhTl/oMIx9SXkh9wXMfbg8u80hJCUPPdiTI6QBBNmySWb69r8+zkXDnIGyRpaVuzN83vznOPvJY
+m3/GbFSZ/gPwIIFw4wa5GAO6opDMOFwH2Y+QTavAbn2o2k1BmHdltvkVF+1lXBX57OdV+piwDfG
1uKmvdwzjewKSgXmErjmw0WiScvmWtD4I1AX0pEFxYnQUPhTgjg0w7mdBcO+dtJIZXcZcFgxXLFo
vBARkS8bYzcIP6K8QUU3Pw5fX95qzSen/CoeMF901QEwZjRbRO5+GD5eaDxd6gFHmBulpDpmPzzq
10kEhZsT2d/Gc/NIKO4Wlt+uXTM3RNiVHd5QAG2FOKmcfCia5ORSjctZHfZ/L8O+MyQhhCciYIMI
ZdZBwvAhpxNdpM5TJygUtooVfoU7X/yLJIFyS4/upOaY9DYtOXH335RR/Akh1/sXDl277m7Ful6/
WProI4qAVKKj8D+SAsx3wvaCroifAJOLFW/YJffLL20os1BwunjKiMIV08oB6iIc2v6YuTkqatZI
OL4phDFIh8EOAeFu+ll1WIQR48nuHIrBFLmVYHQOY98Id4MgZ6Buv048hDtvBKiUsBgoF3D9QGh3
Mbc+9weiQJ0DQ4SUP71JSaihIU3jtRgb371BRWGHmMfOGb8Di57ElBW2d1iPiw2qs5CTxxnijuYi
VuUAlW8McWA6xiE9CvEnbI6E3aIeX9HIec2UUMGxbRY/7ToEP2Db6DBuuUhnD1IBqdU5Q7h/idd5
CM8oPAGWCsn0781jpn29NkRK/t7QjjJ7pYwtURHgANbbiNgAXCjDf2Nwxs8aHxrwF4SNK2ohT2CO
5NFxRkgTjBpwvLXODf9+1IhIp5rkjGd5ggjURKljFM1aewTt5sNUGnfjyv3WNqDI4GHDLaHfwot5
C6UJxgaFAT0GyravN3lp9paKj44KEl8RmVxN4poijz14BeYWMdzH3RKPaDX0ALJ9Z36N+KFjcnh4
X9HAnoR5G+ruHR5kARHLhBGCauWReeQoYLoPiQUnC5NZr7lrec0cwBAACW/8TgZojrgVJKIHzfDh
k1V/MnCokPyvlweA437CEXn2KA7YNhJb2TWmuMsRm7YpfrWDvqRxH6szFdyP/cptjQkWN+QbGNXk
kkKXxwfGuyTgmrgA33OJmBQuJOeB3VE5FT8NdznFn02LtOQ+KQjlAG3A5BU8ooM5Yit47P1gIi2d
BEN3OfipQhMJlU+dA/OVfHivnAF4wHHyUSVRx4krXV4BisMnbGkH4QyHCGUhzrp3urA9GAnwlIpV
Ex+ZUw32RU+aKr/F6h/wy5rDW8gjMGtFO7h9e9gUbD47lWFUGQAM2i7elQx4srdV3BA+U48Oqdli
eA3n+S22MFLxeu6Q0S99aQxewmSZ24lxmUUzbPd+kvCXhlQY5CPhEsNRRDYwDSYCE1eK4NGSnf1x
Y5tmb4EVPiaAdD1rhKRccwKgQgtCBd/smOXYJWCEZuE7tk4IZUeixGesybipwhu2nj/MWQOT0r/7
o78N7/7Paycq33g8O9sjFIr0AEPkvvwo9Uirm29FkifXIZUKfTRVaTHOFpBRDnRDUak7P6ZbMQLd
Yfwf4gcu4sA4XUis4VhiZDLNIgDnmHYJS/sxRFXkeaQWbxEkRGTrUCOVyz1jIsyqeL25T4qniyT1
oITQ5o5YBhJUZT8u+gSf72W9eC1RSrAbP5PaJG9IdC9JUC3gsITvAyAMlftUEL9ZJLxThBFT9Cgs
eLGAwCfBj+DrBxfVrZ1qQ84Ql3o+g8y6xDbcVULYmY66BDLS5jR9G1CtP5pUwBA5glCNOi5MLqOD
CFbDoyKfXPYl+w9extSYMtPx9S8iMKo5W+KHfS1KzUjCP4P3tpP8NxVWFdyxdaQYBSitNqShUwGi
dp5uG5TltJzwVCCKYKMJUOtiNUPrwTSTd3F2/6dmQIDFxghgo1/wfAAoHpQ/oSDs5MsB1h9iJQtG
OQHsG87nZifvIPWFEDgAIDOnjzIPZYtT/SuLVtQJBmAhHQgzZW5W/QifRrhhHs7RJzz/qWEbVVuC
6aYjl3IZw7yBr2+Kq8BL+sUhd5jgrRBvE+sI1bc8REyAOGuJF4lynD/fDAis9yKZGtdEZKhhhO3W
1zYQl9NDhDuz2u7O+sPz8QE7efu6I0AOsktP+YmsYsKEifgly7SkmGe7EAS2J1eGaoIBjjsTHvn5
vnJCmXhscHL6OHwCOLq+U2OFnQegpnh2OqXMdyUvavyUcHFdYOvDRI/w4HYtA/WwtIvx8IJavVpk
qHlJ3PncYH9vHtErKrwzuxWV7fHFkhkBUB+3f6WHeUpLIamKngLojcb+X8PhaZS8xuzfKREZmG7N
dRAQARqJxCegRHWCxtPRYNVAZusdcmo+tDRvK8U6nphMdENY8vPReJ2dUz/hV/iacLENTWHM7BLR
xXFGV/Kea+iwe9zIAqDEp74S6niyYIaLkr/Xexrn4mNigMpQNBKPrmKOSk1kzr6QctXX7kU2WgGf
4fAeP4HK0wiboMN/JJ1Xt6LIGoZ/EWsJSvCWnMEcblzqVkFFMIL++nmqZ50+Mz3dO7gRqr56I5Y9
xKf9/AlsNh7mqCWJI/0khKxlwwNWjilZZc6XjY27Fregub6ncM/kaBLl+rCPDyJmakIv2GexulOy
BsKI28h95ShNn16dgK/yzpGsh//Utb6TXqy4rBhPYo9m0hyfOWc+RPSMbohBAGZHn4jNFkUicc+j
Gysgb8FKAbFm56KhDu6TFUaNz4VLRjNwEqUEBbeY5D3INC65o+FuyKZICtm8jH4LGNj6YOQtJ7eo
PXxBCEIDx8TGbVnahPHSui2MuCd2WditCyVyoJmVhzjEJHmU7iEcKuDnUMIymj48CRySr3PgV26x
sygf4nE9Xr0ZUScsPv/wNt1qFhsXfHb8DPpbBMX2R5xyS7MYv9gJK0umyevMKAkCE3d8AWyqHQvw
6yfWJw4HZHg771EVFrQ19Ag4ymWO+1B8SAiobOCcye3iNRGIbYKi7E3oMSdt9mXV1taGdaR68d9i
0VtvrAnJ7PMzZCpFndyw+zKWiVvV3M+IdHB3RRKg+cxeF5pOrB4H6iLFIe11HuarGQFEJt+Rcx8I
qiJCqxY4sWMGVIRGE8PFGP/dMOX8O3oB2WPsO/QHuKupZMme+xugbuff6LaHx3ZofmCjFpI8InDB
w1S6Hx5RSUolgZB+zrvKNACS6l1mv0XLo5EBz8nOYAXOFZKuxOwBOnk7ViDfKE+RDtucz+s9ZjTe
lusk4o5HEHFPgG5ejIAyTMoFJlMYh7oQWP1AfqT/yG85qFCmmwmh6iZggmqFlwCpqwe6xAl7glJy
k8svsw7p3551C1jX1rna3zn6Pka165zZIyeLxq8YBQ1z/MnFBid2n0HGMdZjqBRYHeri+dU97Iv0
vH049R4HEYY+4KYFuWXhJhBFiU9oxOHDAnjk1yOiWxGuT1MA4sHdkPqgWBN3A5YkJDoUc7SWsnr4
D7ARyipmzE98uYv1WTyiBg/VdcK2a+MH4SQKETurM7yv3CuGYLYKX7Hvk569wovwMRc9txfDDzDV
NQ4gZ0FffQcgRBaIAoRlxLCNG8pIP5yBJeD3hk27R8q3RWh3b38QGKCWHQizXJ/dg9jNH+E7ExB7
mQygjvE+xuJNwDLDzUDnNszmgmWID6CfHCQN+Gs0sF/+aWAeuMsO2JV3Hq/VV5GaMFghH41qEOoO
YJbxgr9h4AHu13k8+8mbdVmnf+ppQ0Q5FI+Kl/88FFme1hmVacjbzBhUBzCws6bEKyKA4sgJWWRk
T8595OLb13XPXPVTWDQUeUxF/TEzAF2ZgvIAvKo8McNhDYk3QAJwNOyxk2Ewb53XVDfnLGFnZIwk
KP3bwe7gea+IgfZBXSqqHSvn/fxwD1LXvRvsTu7bnxmie7Pzc0zDXBEYX79LriOOvDY7Acns3oWb
1QT3xhHMgoJmXLK25J+YuG+kvDigBPbAstPZk7ePwhXvZcZicyGViiGaCGkjNcYQppMuQe9GBMA5
7AMyomlLcTgAeMJSSCPoNxGLaz0qm1+vo7RuYKhlu5ep6cUrCXFjhmNqVD1BcQjvfheqZIbZD5JV
XS0gsdkGhicfwZXZiQmvcwy3Z0v8GPiykWEYwGuK5XNVoSJr8BVt8c44zi4vmPGZ/1W3uSNZCRVQ
adXVhuZFwaZ3Y6NsbQ5ivefyfkc+QR/xySt4D7tI5K23UcOYqe8G3P3NXCHOb6lzCGPDibBdsdHq
mDNBPP7IviZDiLZfTOGGdd9x3peEjav1B2lvTJBXP8dqEd7CxiIDTKHwtPN1kP4zAzn3fz2TfQp6
0XSD3tsDGHdq9MaQvouWgEsL4Q+qiZODamITbP6o6c14Xn7CgmrE7Es63vVjVZvDtXHn2ak583eR
8ffZyQtONc5h22eIzq/u1WWRQQthoaiCcyAFfrJZidncyHUSLBKMQ4234mAQgsa7yEU4pAT9jDRg
Ln2Goj8TlD1XM/p/SORK+xNQhcQpmfZWLzNnNch4lwQzD/4zrjxy5T3JyT/Oz+ng0mctUCSXZflR
zXNhyVWAtKnChHaKhC72F3wm5+V3hqScnYnVrh/le9GFvRfSgxjINVN334RSWQ/AVLicxIp7jgh4
ChQwZmB+E+kZC6Y8PhG2UMXiiLwh4JDMCot8ISZwPjA9u31y/k1EZmwMTbqtxBsitjdWZeg11p6r
g7oheGF3owPYPPsDlhWR4AmbyRC5EsfxPgPzaQeTKM5M/PzwsYRuiC5wmTdVx33ikNfklX49OoWU
fH9YM9Gbhzxt+vhs7xiT0J32HHFojL/2HplHWs36/OgHfHgWT+cZcoGZy6SNnIufCrn2qgeqI/xG
jBPwIWwvpOcrNNqTLcO6KkPXKyxPyAkm8wi9OThhzzq+RkWoB0pKgiy7jEUlu+6szrzYAkQeFZQP
15PmvOkcfTu+tL6gUZpNyoFVGQSLIsqhbhwOa6xl/QSzK6SpZm577MBXc3GfKbnGb/Y/h5xEnKVH
Aka5mp2VM4/5YLuc2Xk03766IsWEm+o3ZlFAbRPQRswwPlupHGtuabAjAwXKZ/epOMDiwfb2fBzr
KJw0w/I1fHl6OPT2YoNAH1Ja+hxAh/l2PHvHCgcf0dNMMLZdjN/iqMYe36GsRkMGyfnI7+PKQsVE
jBL2CwQmY4gAi9YWCJYV8RxCVWIjKiBe9bIjaM/heuZqGjML+CQ44yOo6BgXSx4RLyxBFUGbb+II
weUnYsd73+AW2HHcKaJYbwGGbApiurM5pFsNQzuSBEGmsYL+LAF4ntzCeVGFxgmkYuxn8+HCoP7f
xuBEJmaMIcBdEz2cK0fVcQ1HtIGTiF/2BOXg6jdeSeEzWzHKcQuWWR/r+a6Zwd8y/3MNsEmWmbAU
PP2exxkBXqBz6SebCEgZKrUxj7KFiJCXJnv0cqMkuHJHb1LVJvKIUji02Ku/MtMcJHO0rt/p8kZE
CCyAToOnZeMKtQSVbS6tFPl7gWYa/ebxn+FCh21i9DdTdrC+Bz8PGonFw3kSPEtE3lyh2oVJ5j3b
2Hkq5KF3HmT0QN+sinFSBLg+hbrCyHouDWMs+PhefSKUbaSIIYeWL0jlCgQ12lPgnC7YFgivAFgX
mxu5bpxIUUpYHYcIApTH4M1RMTrDqz94IHdSQP7aRD90KUmRb5Por3aqsGuOFcXmfpQ8OSzmRvbz
lGCP2Aok4TTzjAUlKo9oL/ZI5lFH8RvYLGs/HIsV6O5ySmZT7pFTzVekKKVYx1os1kp9zoHP/wYP
KIlfLs7EUrhZomVy9ldHi1oYnnLKgKksAZ70EMyOUhEIU5tmc8g7Wq+puJ68fAQ+T57aQYD1m4kU
D5Dd++tGv9F1TnSBdOBv6SkeECMqm4QPFeTeC95RXBoqHrkmHBIEB76/MG0xnHH0h7UR75McAn+N
LtaqdkEt0H9dWOp8anI5zAKHgXH3eTFPrN7/sCx0V5EGmoXwH6EU5g+2i4c549wCDIVgQp8Ru2Nr
WIV1FE2WPlIRqmm5vB7OGidE+4zk2hp4f31ULTdOvRsnBNFdnReiJxrXC2eb7+6FHcCu83dA19oR
ZwSBBhhGj8+lvubiEP8AcFbGYqiXDg37CrA2VNryvCAu6Um6wZZd1SzHRAmn5wXaABZR8G5wnrjH
Wgn4EQN+w99a/WSYENMZ3t2rB+4/eYTkcImDHlJF5wYnCMbLTwDmRo+e7PXTBfFy9gdQzw8XgynL
DKvB3VXBcTCjuyUY2mP7jgFmbqkg24RiQrKF9I8zA8MQQxYDsXtN78gSjAGyEIZX8wblTuqBCypM
EQWXzVdgN4G5DC70h2gwgRw1c1Y93lgawI+7Pccvoc5iDujChqELNInMYstgaSwZloSKS2OgAdhW
6cwhF3uPgRpYSgUU8D7w9DMtUKGEoO82KyWnfiJQYiFMQ+oEKnij1bL6kaQltHliRpRWwuzUBvBg
R8VsOpMz/Bh7qT0sTcAeuJcRUhWWsjo7AVz2IIs1i09BniXQkYIA38L8rSW7mqo8j7o9J7pmXvpP
Vt5QIaX3vrh6Hw9X8QK+y9uM68XXa67WD2ATN7clxVx2rt4FFI8y6+xqNXZBgrTOGtz6DWVnp8mF
+A7IbSAxhIPE57DnDVcPb7NTbNRcx0+62XUO+KD9WV/9l/fOOxRwPHFsPXVJ9CdHbiQ6wLhTRgki
iMhZs67Uy3LWhkvuM+W8Qb0v/occ5jOn8Ic3wp4S/mLiGmjmO49vY8NV0LwixaLczyb78jgHB3kC
y+9apsX88yK8BuoNDEx8+Jb1TDUXg9XHSoHXgHhAJf8NZkdjwjVnC21Ybthh7r7kX+b8dAA/3fbB
Q7KxmsM5uVNGgc/Kq4HxkNJj8iHv2C2QQ5HRD284eLvPHYeOyKAQKj/tsHJyVMmvOzRSKp6G56Je
NGRYczk9XqYAoM4Us4rZdrBguawng7heNSnTv4aOcIkIZqYn1fKCZIruIRFi4X6RPZNyATeyie4r
+pARNaDKzW7W/cVPxMEdepEQvZvftig7WuiBJauHW4w29JzfHVH+i1KqFZ2JMpr+lfSH+B+yM3ok
X17x4rvSgjJB0iukEQxcM/E03fzvSh7h9HPYS1f1TidG/hoUOSmr7vIN/XgOr14/UJJqN/SHuDLc
a07ofIxKitDx6M32gevWfhHlNUF1uaid65JBnYvHSn3kKcfGg7Ew/o5RS+426QM5z3gw0mCwhu6a
8tCx9Cfn5a6PCvtfhyNbuQI5Sm9jr7Fq1BKHd8X3AONaqAE27Mn9qGe3ZT8bIOJnX9qiz5z+VnqD
u9YaBsycvGAwRSaY14wdfAwj5UFUkZQBkktDelRzCwmltjX8Ey//7zcRMfX4xVn8ObLZL0/GRSEa
MR0cUv4nuTonGGifzmBWCcFhUwCdH99BzyU+PWcb8aqpYPGo6aEnSRlrDzxMtPxYuCIa0ZSQvin2
PA7Rj00utBYk8h/kCXKcEZCdQ+wBONvTQy6VDbPCWw5mb0cZQRznta8l9x1sjkgORALIs8pgJKRj
uHLcDklqePWvLEi8TcwuUFajurErm4MS9yCHfR5frBxuF7RrqmJZUPhJQ24owCAWTMiLBZ/Pfz7c
N1+j8JjSLR8My94esf65LWMcVkeq6ojR5m1Q82E+jMudHlxnuOIDnYpz8Cwb5NIbObIVF9xZmjkb
aaOWgA0MkZTcGc5nyZMQva2/h/X3c3sjHYbPJrrkPK3mdA0lNXEmANE3St5syacWs1XNclGREnB2
lMLlgT4x2DVzZLs0gZ8dzWV9XdyA1DAX5dRUmB+J55ucC2TF/jdU//jv79liONvMQLD5bpgVTcUL
h8mWNB8AZ3miZy1KR35wf3bPmXk4o7xQEyqIK8q0swk3M/2/L/645Dn5pDq7K1pJULpz+I6uhw++
ulU/Py0KEmDQ9C2bYMkKceC9QXUNpxmTE98b3yk8HvpFADhurS7smJDOYYHul1YQdk+wFfeec4t5
3KoJ5YN2NVEpvaJtgqIL0DDzWpHSay5ZOklYZi8orXGHm4Z8Vt4xfXUx17gIiP6u/bv/pFokepDJ
wWrOzchp6u8aiKx/jWmqiUULzJ3Aa6C4oS0Tp8hjgQ/5zkF9DCGoyrT7kNfg35jjZKePsYpCwjfx
yNjNT37JPymikMZUN29+46fqSdwNJ/8NdQPCTl5IVlO0jHaJA8rQ3v6sBhHosbE3CTcB96S+6i3A
LKyTEBhwFmEHjwiZBtehNL7jXImKdAXuP2oOV4+kbUfcpDjAWaMEy7lxZrAmTpWRTcIWLyDNf9ov
M+V95zhWhPjEpm972MGxtlzZgit8j5myoRdHwNc+u1Igpvwvj7t4pFAKupCXzCnv+O5+YeLR/dxJ
bI/qrCAzDf5Mz5GJYGx9JJCl7rm22AAWLeKgM390mrw5037QNTzRyzxpB06Y9cD0CBN8Rw8KrsUO
TbZKcNoRv06rgviAHoXV94ioCBOuw6eUKemv2NPChRB2i+Fewuc6nHBYALondGKQkrCIe0a1VXNJ
t5qrZiynfsE9A57kFdM+G5USAs+E15yURSzjr0DKnkdjPVgriHEddPOXWBY8jVXhyWaBIvaqh41n
kwzCKiVwIsO1zfeFhEFAIPpMmn0/EAVkFHghkUMbk3G8tBCnohgxywlziSeecAJSYi15AzthizbV
FQFIoZ7pLOzz/qqhf05UXAg7imSNNRD9u7WrnGb6i5OO2oqzIvorq4WoOpHti39d3XiHKTchA9+/
2fLCyFG8Ot+E3MUZ5iWKH0q4fOa8akz4TvVzPqIr2T39stebBLGgowWEC8eO512D+1ZUK50hoP7Z
MU5zHaVcaW7oo6aviHxDTJfm+o/NOmKhchSeooH3HZVXk1IqgzmJQPP5239BfXAyq8zdZ2HYyTNE
vW5e3Wl/XSVTOaIBGmOVeUPQI2Wl8Oi7P+LRTHK55xWv/mu9QYHK+M7qzeMJgISUHlwTXSIpruh9
k2tM3mZDYSjLHrGVA1zf5PQfH/t/BgYTHR3CIIOCDGLuuDL4dyAWXwkUFSux5DfxxtuRssWyuyom
RFd63/lwP5w0S3EhpOi1/8JRQD+gGyjtOUl5I9kc46FCS0rE0Z77wL8s+kEdsbtzIjB/Qd+lTIlK
KSrkkLjI4npUfM3nXN0bpHbyX8fbvo5wlCQa/ZakrQjBa582Zs5bx7759yIUtZ+9lnMoURvF3dcr
qe1A5ZCIHPs9kSpdNnrGs9HzYUKGNwm05vQZfr0PetSB9cr0Hckt6CSQvS4JVmJIWeBACkpGEpEd
JaREtVPNcZm7rwl6fCq2FBB7xIRoImrT3gUdA26Plp1/rW3kR8BFJ1/v6ej7jueIchOuCofv74qb
ii6ETKz56JS5zLf4T18RA3q3cKsFpE6SOdXBm7I7AHVfmRB1Lt11ghnBHiAAHk7Ysfzw40HIcY2J
rYebhW78WNvG4irYJQdI3R9maJhtuH8bEUn44Jmln4Au2OgePRctih8drrYBXAQ1cqZ9Vwur+SD5
kdtIlWjh8gu9a0kQFr/BxcmXXdTMdHBgjAXfsTH7htxrTpVSZoMwm01skOLpK+JqfkpP5D/jwBwT
DUbuwt0fJKct7h6fhjC7wk1xo7OI3MWsiatU5xi1AnIfX+3P9PTE+mgTSvucE3GLofIVi06yy/wO
JfGAVgSNtfSMGm9eNzEl6WlL6Zn2jA0OsRkpspMS1DxHns71ROnqkLgXP1ubfslT5ciMfH3vAzyK
yALDbM3KV+74gWljaOweN7u4acJbUAQDgqPpY0BzzYbMz2/hvyEdFHsYa6+//cwBG21DvELCpk3U
TA7FrlR9eQ/WS+zpGtkQ8Q9yJJUmNNGPGiD6lGe9WRYY1bmUjJxIjSjKGwAJgNDNhI3e8/VctXn1
rouhVcQ5zl/xYHSL5SX3VBFrCITpXWeY7kLenhdSKJlyCZYodo1d0RdwyayPtOiAOblBf0oXxqMI
tY9LSQCYdpVgOamrUfmaqIqrdfMBMp2LR+e0jBgX0SvbK9vcv5NLi5EMyPxslUI/Nxp8SRQ0L+T/
1bKj/qEHJIZ80gtZ2Z2BA88BiIF5TFt/kCdJ7g1mCbFRjyRv946qhCrKhEUiKFbIPWSgFVEQCRoc
SSQ0mhUqewiD7Dl7ZR0//9NvksesjSja2DEx6/Fwig42+MDsT66+UNBBS/Rq4jDQETukbMcdSX2k
Hg1F/vcPElgLKtxKYxWv9O4GDYge4ckpHvwGhcVvy7nIarPX+pH40CESh5dzJCEu7/tvRIZYCdCg
DcGHmIcZSYxRu/vKBH2Gw4FdUjp/mda9sfJO60+uGKOHMN++ovo5qeBxesRj3S8EkW9OaYemnvLX
po865UnQ9W3Z46eV8dK8ALU769FZ3yGBu7iQ464m+ssf4kuCFNasjqAqZOpK9GG2Mwi9Fb/6itsb
+L9LpBuxslN2D9QQgI3gYmx+rTMY+KRJ6NAc95CAhz44M5go52LSWVKwvbPT+k8AO4aIgflrHWPx
vVjfweyH+Se8c9LUEL9Xow3riuahFWshC9FwfrLLxuXLbO5hAYWN6NZYDzHWP71z3yVeQSWY9UwV
ICz7hRp5ESN/I54WSI3hv/N59a+L3aD/vJCzRFCFV+kJgo/iYz/W1zKUD31OIhe74BS15t9G45/p
YyJ9pUtuQD+te+cIf8PCxgFscFltNG+IKYswfR3juvuj95JzGzcRDTUfTzqSD/R3AZjFqvKm1UQY
u9TR070uSk+al/F5DhqXGzHAFpju84AvAGzTEJx1jFgUfR1sNFzC+LMDZw6lWd/DqwUVwVFauDNJ
q2JXT8RuOfvGL4gvyj3QAakYMsI7csYaGx9+ViMX+KnCgO9y1OWIeF+ouZyz//HUqERVlBmxndZr
DkDsfchlYR5iqXzT63RCXNnzn9llD3XOr5pcvWlrv+PN0CT7xgPsC1cFZxfOMSLc71CBX5/n/bCN
Kd4AlC5CluLXDbThPKr+vSGD+CeUiXWguS+P4zkgg5C5POEC9zTpqODCqs9vhmVY8ChV/unm9hHN
P5MhJ3jy7rzuSg9PUL18Y4klVcYSfYpx3+F2wpCKmAupFM7Dn3Uw7AVa2wx6xVJHP7h3YkGyOvmg
QMCFbXUzQN+Qo+CTYB2Brb3ZYJkd3Gd8yUvcbKfg5VRTYQ+ATYQ35gcPZl+3DHgTvAEahPuOyby3
w2zFJD4gcYfOAubNvvNLmFPcs3V3JgWsC7ky4ELCeiog0dJlN7u4KHHn56GlHvvhQ+hs5PmFg/gY
NAmmEqkDItIAZxkSP6R9wpNbpNeUiIb5ZdkdWCtawtyheBI090vMjwouM37tjTZ60sR3bClvXULt
kexJTF2d0BVRAxtMJKb1oXs/GAFQ5uQNPhZ+cKEKRf8gGKa4VEqeNHgNfSSStfFRlBmy/wIImJLT
SX8E4AhI9fFImSE7qaE9LhJ3pBTeHGEe+L8LCqUG8O9c8+a8/eC8KxXF0dGwiviIlB4HVv6GFiHf
FenJ6W84wt4WIpLE8fVPv6bhVUN3yXNsC/u7UJH8omokvNnMFWgiPUFCPvEhMSThg6g9fYz5HMcn
UO4zqBnq0cAjvKjw36gRvSq7K2QIxh1wbAx5gE04uKkFJi0UB5TVHy/OGYdqOFhyaSHEkAaEqJeA
RhQQLKKKgqs3QZ3gQePBXZd/IM75hytHfBfY3sZpLc3jqGL+1e4IuZEG0/Gn26Kx4QHh9QOMJoMF
XQEdgP/gXBi2nKFqxA4KzDuI6XiJyP/ghC4q/D62PuEwz4BTwKnwIpZAZJec94IxmC2M0UMw8RRF
IxPnjJg/0iFmZO4dcsvyr926LWQcgw81vs4mFJ1pBK+yCHm/+Y3hoUGDgb6P4FWPRCZuboFgfyEy
BcdxRHSdioClwWhiCLE3IuM2fsDGo7liOO+JY/dUaAKTavIYkT752RpURygm3/8DV4BqeMlve/wZ
ImW2OYmAM/O0PEcyOhouv+F3+LcRpVBqynRBXx2ZSsB7KFh/9L6oNJ7dkxyfJ5KD5xQxD9MObkLn
POZ6/nR7QJ7TN6O0A1/iQA8ocrgBFFZEzlHTfMaIAEdBlgCKYfS3MGYI/vjSBnYi5EncNsZ0s5re
GIALyG0kAg4eSNSvNURTDVDMGDW0N4G8uIT3mYThjQ2burgeWlVXYWrPkG3w7WBOM8WjRZioDTrk
kMQKAdcgv+7Y8cs14aeQ8sVETxGM8IRV03FpavP7SObWxaPLt4aUZoca9XwjYs/4xhJilBuneaH/
KcMH5x8FGr0cEXqbaFM6MNCMIpjs0rGMfWplsNiKrC+6VqwY4bUXh0hVchDqvxq4a+PIwdu/THr+
Nmb8qBO4J0hezBxVtGHLINVpDMvHOkaxG1oqwhUQDoYFXBOQAE+szn+j+QqGYZW/toXPzWBNX8EN
oUw/3XileTAyecznWbNhwLPwC7UJZz42IskGCCFwGtX3+OH0eCRhF8hTQCgAe8FCwRXRrc20PCjY
n3B5CRAQGPC3JBFX0MfWc7lxzzuckSOYXI/mku6ITSARSzA9IziFBtFrRIbOZUKfs9NWSMhIQ+NW
4zTSeMyxjfVzqoA9FLUDn+lhHUZ4g8iF6LcczBOBqrzicQqvMzAUeCjgTzg/dG/X9DSVabTffzO0
L9BUWANQ+QtfpTIVFvHNZPxM0EZPn3vQFUg81TvlAxDowa7KaptURbZONbjtgfDhjYys4muqVE8T
oBtclxD9vMjNkrFRDgcZVYMeqgqhYZLYXUhWdrGoyKy3Xci+JBylw7FK7iLhun1Pxl3Wwv8UvgBh
3+4tojcMX/FjwkliSkKpN0yGoxuet36IALg4KgE3Nq9WyMzRg2jixcAJL34IXYQlCQ11Ql8cy4mI
JhD3Df2XoHYXGz6XT1kK5X0p9JVTobttgy55WFsjw0DNLs79+EpvYY/bjLXsznZUYGAQhDqyaEvN
eP1gi/Sk4shRsYf4CAjGLeucBdScyKyoKI+f7i/lqmaCQEK/J9RIt5m6YvcJtdE5NjitjsVRhECZ
2lxiFkjIWoMLgtbqMfc03t+XJOhyPAROAPVrw2ugHH8c/e8HRkenvx8wBCO0fTrGqCdOXXW0Scvs
NbuOvpEwQmEpyj/BjyN6fAJkI8sFQPYc05S+vXNc1DOO+hJYGxDfnqir4bQlV1Ah+C19uPK+ewNf
1zxsXc6xiFcrB1JMTjDCNXG/tQBE815YpqRfpbAq2zodzJctRbacWzhPtPSLRFwUEGODDmNe5kJJ
+9Nb3Odor+/L7W+v8iU57QHlLsmMAQvRyM0ZuqQr0pjYMQOJQls8iHS5k42LgoKgrqfZAyQaknah
E0BNNHVefFiTXymM3BX88mVfkEnXriod392fQcR5TULspLhET9Iwv975kt7J9Px6/eFcLv5ekOs6
YyOzELKPk4+fCujySUjhBA7J73IUtQfaVRCCczkBWxzAXw/c7E2YclAUPvarhmAPA+IbG6Jp0Jho
zkSFLiKn5nBCQ8aPzmS3fW+f8wtSK+pMe2sOvadbgFtv+KeuKCSET8pq/HqsAEQHCFM1ggoXjCPW
iE1jgIC9uLt4/NhW//GmASse4LO+xsRAi9MlaJkNHoycAp/+rZSEmEt2mf4Bxn3ECYsXjjA0B2yk
SZ69ICPOBc0On2G+2AO04yt+k0t5hd5waWsQKDVN1JyLszpSxoQDVTsp5jND3hFO23ivdhtHWZxn
2riZPSOi3fzHEuU3NgIFbiMZ8ls0Z2PE7MzgCrQW1Iv/WV02DFfkYSQygwDYEAWzIi2SodK8TI0M
jjahZQlamckJuJfZPyHXGD8MyATf/xpsRm1I0FkEJJ7xJPLnm9HvT3OkidC5fYH/BbB2HxGX7m0o
B2Hf5s+e4Dr30ScjuKk3V45fYgGGDP6WhO6X2ljKeYkoukSdLWD/TahuQCRJ5HJ6hzXmTnOd8aG7
Z1KKprxLVCDiQc9bWQZ0AzgcRAd2IkorhFVLWLY+PK6PuBzLdqZHr6BFnJ1/t3r2o66lcj77dqSM
B6mORIdELN36qsTk+psZjjFwoOGG+mo9EKkzD5c26ZAyCndAsybQDXItlohYiqFDpLcj0b1AWhrX
PxZhn5edAjAnL7+4P8a9rTz9BIhmI3QSIejGBckxExy3EagefVxzAzZna/ScChNA58F/QMuQuigO
yyaLvPX74zatFxr9B80CtGLYi161SxppwW6LYgnayECsiacQXDIw0rsvB7QneF8ahT/uv1s34/Lg
S0+7/JeJVvFz8ssJEg/Bqc/Bwy0SXKeVbLVsC5yQ2cF3hgO8AkpfE8484NSyaw7QMgFUlRQfBXsl
ImGuCV2xgGN91wjp98F1Bwr7y7TZY9nC0iX6FCJwUXL24pet5zyvXMLRN6QvKGUGIj3kJxY1FcUL
pjoLpHOPwuBPIW0aneTFwR/3OkgEuaO7Uhz5bmKW7WxD3LEjEOisSTY7EusI+JR4PdkPg8WOU6oI
W12xSUtTVmamqoZSeFQpVuF1OcQxXoPeblKz3YjiYhhyHjZuH769StPOhB2CRYNIyF4k5VwYPJYa
r0O1ZeIIcImqW73wScH7kAY5QOcBvgE4oFBlKQCAv2vfbTk+ad556PTuIQCANpj1y8ODnU3E42zS
PmRfCSCxe/qAPoQxjs8cS2XShm1dXl4Ujo5DklCZly4ZmZqC08FsJbVJM8LrhBdN2Z3YfUBDsB8y
V8tomorRCS/gDB9IG/G1sXpCw3KG08D+0CeQF44lgehg2NM/bq2eoBzJcoJ5QlE7KVg7nkClwuBE
Hmhvdw2BHjrmK0JFinjQ2GA3XJQNwy71CUb+MfK6F5e6V5PtKVl8sIFiBxaJiCI9/dBmebKvOKau
0Q2wtu/yVz2EUxJpsh3hXWsJ+YqeKgWHNfOy38AYZQAhHRqXxFD9NrtwjqYP8zWDzWpVxIpW/2bz
Tw4BYLGozXGpavaHqh3AFMQw2Nr0tIOwVSy1CK5XJo0OqBljHup7adQzxkZlnSv/zvOJzwkii2M6
Z4Mj5Qw3w95c3c1eGr3B4+CpYw1PGz4vsluCCjDjxONDO0RQQ9KvW8bw/WD3XQBFasI8PbRRmbhV
2ipedbNvdN+g3GXcm1eYHzlcc3YmI3CusV9A5Q9NeQ/ur54Aq6X9DffKniUQoF86OfqkDU8LIkSr
I8VVn7dF9NuJKBEcLtYpPTPqfYnCw+tj9o5wCKexEkIawNNHzBOvWHHeqbQcvrGuVtty3G75DBDm
39dtnrCR1gbvtohWhTGgJhCp6u3vQQWb+ZYQ7tosVuDPPUgCWm4IAuMM7n+Igkbz286Mk2UgIBwX
yzOnwxX9VX0EsDHg81haXO0pyRZ/Wn4KbxNCUg6PFU4ZToRvG6/O+QrKZZUE6x2vW6Jg2k2okTjH
4B/3/wUgVQ+7ObJ9vnFkbU+egtwAOOkz/RikWUcXMLfZff2eyTyISEfIsyBjGKPgwHyu5eljRf0G
lJdm3TJJtgaqrcwGcwBlUXz2mtRhy5VgDyJQNninXayxUwTfeb29bAGcnV/8iTVGSG6C0nzgu8GF
itSNi5qwKxA/5HR/4PbtvHt7GrpZj3eimKpLiC6iTUr/nkoknGI6vhNa+og/y/t84CnhxisqUf5+
2V5zGbtmiE/fVvcleYFc5lOqeayZbPwS8VdS3BtXR4Bmv5zXTj/n+E32TvwNYa1wyddR7Qhzl8cY
KAf9lUxgg9dSH7ca+psPm/gzOnGQ4/lQYFAvOKExvoYtcRc3mChuUYTJBw5KyInQkq80qNGSZCWb
e5l1hQ/oG4Sx2uol33zcltS2W8ICpGjiqR70bKKkKGhr0A2WTv3367AmX9xhjjYm+qw19zfncCgQ
XrFWDDguJpxCcj34jpUEntnRp/RgoOqVJpSfrcf7VpxJxiw7GZQW1AF9Z8q6Pz0hp4B+olpwrI36
mR5TFXKiL+FHwCw1fP6ZqyE7Sjt/SxFmaca0N5ZpTBDSikfw3PkVaA1FOonMD9jPFWrUOXTdGKV9
ZfQMFfimgokDBzPN3uq03p2aELf8BifXx31dEOwIqYQMvQPVrNOMtIPzF11yDOagLcZaZo8HuZqX
izZkJv/jBetTRnF76EMQfS34z2+4Oegc+GI1G0D9bWbdfrN92OvC3fVCwhwLZIFxRagC0nwM4TsD
kIW8WAyWj0XRmcbHPd92VMIazwlaDzZXKCmWF2C9r3lk/c/wTHCw6e16JEewb5GghuCUqZ31XhB3
kxMinIbV/3i8eS0Oc9TGfLcrlN4XDaRQYYyW5UA4ZELDR+GHDrtLZljUbBXUkPqbdcXsqh420SMc
xOeIUDnQYewOFo4CMq+9W4hAlX+Ta+4A188Gi8FOvDBl1+CK5n8EIrCLj858HKnd4Tm8cMx74Ziq
sgtpykSvOY0HPk7+OshtEfJp/iMRZkbh8xB/2YvwwRxgN1H5FRgxkb6S7aAja0NsQkQ6SZb8/2HP
DQshNXM3DA5bm/MHoEuMt81D2yxfLmwozJbHoW2reZCZ7PHfUGc8OU+HKALh5XKZ8w+Rx+l6auYM
8AvZWmEb/yNlj7C3FarGH7oUtONjT8QLmd7e44w+LuP9xlWmxXGRi8wewz6MuQvNIHOTxPCWS5Wj
GhKTyZJmJ3P5c/W9YmUBwZRgiNZ0uiYSwrrAEdtA+yYtYkxLLo3H/O9urmV7vSaxOeBPDYJs2FPg
jpz6OGfLfpuRkMrzxD9swUFq618myHOarlAJDf2RPwlPVsgMNWLBEMqce1SgD4EtiPSpTIdV3gnB
xJDjHyes+w4+7bljtuW05jE5SEJJOVy1jBIYvL0bC9WOQAJGN1xDTeMWawi1BzMMYJl4n8+hsigl
+0XxpcXygS9SlKWTKP4fZee147aWtulbafTxCMMcBvPPAcWoROV0IpRKJSaRihTD1c9D/xhsu9qw
MWj07t0u28WiyLW+9cZuVVGO90Wxl44vLNvxgMmBL19m9RfoRbhgZCMNkIyeLxYfyJteFbxRb3Ts
FE8LTzuMKfD3UNog4IAMWhGPw5n32peJW9EmUGPYY/kmlYGMURqKFHHYZFpA+TBjwqm7CF9SR9nw
d5E8Tk1Gn5R7j1+EaOLX/Zz8UpIWZsrxvYJp4qKNDdQTwyweAAMKA0EjSit4I8/cO7t7ePHOgnU+
nbqbDdnslPwnt06nigvmvLS/9S+8ID3DoYfTuYc871DmXyYmSSo6LW2o+VfOjIMdR0rH8e1hbg2H
PNY84Bima469V4IhsHJz1kXPPOYah8iluNI6+vEFXUOMD2Kmgg3v8efiUNof0G4OOl5cO8Jy9DXW
7a2QgnlaHAwWio9QcvaUeGsbfpZqmj2cCpiK4PNbUKBiNR0DxutCz7Z/4Kib4abaJl2vVYkODzWb
CMM0UQNgL9Nnoj98ga2IO2GOEDHIjx2aR7mqk9sEsdzGneavn4ZdjIfSn5N4M0uomkLdMeqtyOTr
tMqNChjX4nlAhhyY6/ajB0NC4sjbE0nGok4adqsKEzIgS/8QQTJFUxIUsq1GJBYu8S2arr1mDDIU
EdxRptvu6h2aodlyIOHgx3oEnTKe4oUv7NwcwGGAV0GeLJkMk9K5EEb7pnzXyXbGy3/M2z1l1Bic
s8KFBdIOlih7PTG4ssxjFEEMAWua2AZ4N2g97DU8vOCALjNEqrUN2SxHLr9YYqQtYZOctOnrX1fi
H4inY/fMugMBBTY8j2CItz2HlCw08lmJ+/KO5e9pWJEwiuPApKEGV4fis4kWhMMQ+ljajbx6Z2u2
pYs6Sa4BafMFiDoJGOxMFQFILOoUE5o9vzKBhhhkDwSQv3exgtvqjV4L/7/80QPdiwapsE0IBgWC
BTM+aIM0OemX45MEt8w55FtAExq4OC6cHzcaz2Czkp2C0pHaD+p735MKi4TJmBUT3YD7LQt5WWFA
2+7VvVBa9cPveqNcGZ4+4K2ieoAXNYFdIWEJeTDxDVn3EgA48tXuBeWC0QhH3WvJI/380ZORo94k
PpB1I4PJHMK8CxIxHDLpxDgeI8tQiKFwTepOhb4J27aOcYbrwxrX9KMTRbO4nSXmK+JKqHy8uNLT
fz/dQkBrZjfZKIdouQ5fd8q3nTwnjqnr29AcicNnb1TvupcZnQKqXyCicsPZG210HynNG5lYR+f4
hK7jKUYid2MnIheHgxXx+WbBUthDLuI9DFd7EXEDxvoYdmza+6jqFhA+PgQoGdI134SUaNOYkj7c
EwTxxcfel0DrD+vMCxKAARMw8hG0vHByip11mBzG2gLKwuCwgVCL4JB82+yW2Bv7NQTSwyd+a4Zd
x2k+lUUUVOCHa3Guz9+baF+tSHMjvaH/JQ71YzLIxtQOKny2X5fFDVOkTQgZGDh/ByfjCB+xRpp8
z6LZknmJnwsUuOvrFuAOfbKHO+8sprVVNMjgM54f9zldrQkD4STeVqvUffmQaH2dfAtOCDdMUZ2/
UxnVfgNMY0zLMfAMCC9foomyL2CUgrMi3UAdqDGa/mhXWERLft4DeU3HMnscOCmELnqGOZ4ppIMo
UfntXbjVc4iLQEfZ0JFw59Q7dZG9hdnvIGPZqbGIvTgJv0gmuk5T/zUvUPxr8wltS9iPCaab4tsf
NMsyNDbpoDd9rQ7IDSmBYPk7DNnBiKAn04IjNUw+NBZnytnLe+KmRUq+u7slvmE4SlatYsDLf1D6
ZSixl9WdthDtcMdsd8A2z5W7KtZdlTodVydgBwxya9V7Ys9jO5xnC0zjOCyQdGAoUJjE6DAFkUdo
zOCTu7S6Bd2AdGCQlx2RE7/RByc4kfg5642x6bI3SNiZrv4DF7XwiWfZzhCz46KixQxAmPkhlBss
hz0PDJAwz8xadMFxGhMkQLr3Ayt/o3K1/fSDyAEcHEaYLVt4nhTKJiYxj+shmwK+0OvsOViKJtiU
+QAilMvPJTS8R6gE2lOoM5vKQn7ngQFz9YCHODOs8fOgrfAZx/mZkA4B+HegJdrJ3EGLV/J7IAIc
OqVmgPGesTXP1ag7dwvExCLvunUKJRd174RNyZjFQQdp4jLhuKA6MWpJh5g2dwEJCpmINrmr0+6i
bwashrJjDONhBUuLlwAttmsA48KyYPugM86W1rk1Y0OFkUkHnZy7BgevPBNhu9fRPCxyFLNxmHDg
rAjSQGQw6yDoaNM1xQD+nV9QlUjD+gbCsBRhMw2xIRUtCKOQiI2yY4cX0vIwegVvYEdQFYuUpXiv
BzSjSRhAYbkyP0LKwVD7GGnnBJaYgQ+/EShOPABZWJSAvS/Epw2HSfY9v2bpJMAQjOrIOWwcfzZr
xMuEYTJbDQWPBEu/gszIPsA/Zwqny85cZRK5N6SSSfaBIyh65nIvo0vZB328c/LmwyYIjeXOHMqn
QrFvGHtRNhAMojsySQcAo9TDaQOlnBaVL4Cv02TFfkWyeQXDBfb0VAOxmVE2QQFJTUoCRmCSFnGv
1GOVI6WKjYWlnhHE8CdeE5Z2Pm3I7XpOy2W+TD/MWTKV1xrTZGeYaOzbGv02623HZr9nN69z+j0H
FVCbxTR1dUmdhGJWfwRDRW/rRRI3mtKpwQP8WKc+SFG3TxPV1vkskzUgLQNQV1LEG1rM8IpQat1F
Z/sI4VaM+Z8mooFOxWx0gQA+Qgv4eOKveTAb0qeZ6xwAdvWTAvElnCKkpuAdxucu/EHaUk66RGvS
DXiXPW8th4uiTwEHivchBqpFFuo7A4gv/eq5UD1dtVNkD1hXOglChTyEERaYjY8OWJl8LffMGzoj
/AZPEoV3M7IAB+2q8XUy7tDGoEjPyVs2l+koqew1sRZ7IyTemdebdwW4A8ULJDujcHcMvjqvT76w
hvknbStxeVtRM9OlEzY2iXxuzqRu0XhOi8Fj9DxL+xs4CMiSwYu9VBDF8qP6gGDY8IVj7fE8En3V
CXpAtaHcqfZVh4SPskgwB1IyYFpA63XZl7cqzqYzsv10BAmM8OUE98eigUoHDFuAw8bKo4c5SEdv
JNO3DuNGpT3t8h1hxUl9wv5LolSfZEZr+uDPNht1d910ktj8B6oFij/JhiQiWso8XcWOtgEjPkww
qSQMWThAko94mU+K6fI+II7lo92mREPpRCR5QKXcTmKKCIikqwamNvboR1jn6x5RL4eVOcLZ0BC3
+lVuANNxLs1VXFWhAZX7mZ+12Yu7dOcVY84jO6f7XDp78cfVICiEohMBBBQtHyWEy3LQDB4jaC37
BGU0usyx9JJF1XHg0hSyHEI2Zd6f0S1ed4FQuwrdMot7FwSWLRrZV6ulSPdwtUbfKF9dQwdf7QDx
iPQH5I5U1rEdLu4cGKgkJEynRrnfyUk6yUsXW4aNCC9GtmDgQtAVVsvr8r2O/S4aAOi3GrKYTIsJ
NiX6rxB8zt4rIFyG6PcKa+S2E9cguPK1VbLptq+cwnLEHez7tryLndsM4IqfntArzoqx93Dvzinh
kzUGgmE3BF33QDn0KelDYEEAqdQPNG4z2phO3cf8ipK/Mws/fXFqBosGpQ4BZbyt6vTgXBCqHFgJ
W8T2oouDZ9TRdgBwbrQpxk+fkigoW890ym3l4lcH9+Tzwx20lhDeKySGwJWhqg6NvQyes9JHAoHz
pAlhdTlTo0qHhqd+Ikj3pPlzWIzZA4Y6LS7U1k17ih2TcMByc8o71faJtwZ+KwD5x2VMRxe4DQuu
OuafhwkYEvFgjWnfCWFKx9RkdisOeCthEm0nq8EjeOfJTcBXUu48CA3W5hemPYAXkkMqXIxgabBu
Ctji6+UYgwqS7O5fjyL2F9Tjnf9F/nzTqGuDb7qv02NZeWQmOizqN4TxycTIeSlf9vqwb0/J5taz
kPrWO1481Kh1JzebVDeK5/vlBrJI+MEY+XDSiGuYl+mpMuYPsiVxN/Fta+5+FxqJIdhHxjhmxu0t
oQgyztMrEjsbP19AjVMxUA3xbl++eEdYWma3VbQwR+3iyTDFKOWmk+4pxtbldkGeYAsZHgdiSkjH
1wfSqB1LPtB5yacJ2VBjqiOLFicNKpgSiQYsoZ2veWqReSA2cpVhOnyPAZ0wq1CYhxVrJfmoWtbq
OV+ahHggqljrrD4XXGEtUb1d9O59irqfrzwG0pBwF6vZcBIOrmHVNevyw6BxvmAxbzzOmoCNjjnN
j+oJ6fJtC1H0WRUdZZlAErM7TIpliQOQhnNsGwbYU+eAgOq+7CSihvc9MKR6a4w5GA8lL+NsoQHs
YMHKPq5nY9xbPLsQbBHUXuhHkSuP4k/AJ1a9CasTC/cFG/ji2HwknBiwGgy67/rBhlASPCaCOHId
uQ3KLzRMqgjMaW0kIQGyEG17eb5CRdnPCd4ElEGr15TY660ZpgFk6ujxEe0e84JbIByvYTqU19EJ
JP59RgX3YmkFsCEuYcYR48DYDLfrpOfmlB7pCSQ6r4cjqms80FBUg+d62l5ox3KnZujd/fc9OMDp
EFZ2fIIuJROVS4/dhkbpq3u/d/g0L5TIQFyMWtGF1Y/MJbwSyW+LH7EtXZBZjX7q0Q22h9XVhxmU
xvjXSEX87BrPlroVHjCFCEC5JfYwogs2cKJUWSLkrgKEzEp1UsWhXA+uiUt2qikvKmJjqN/EWfyF
oBf2hnMpSY2zF2MWDwp728xwTY/jVqcObVfEnWARVgNhgspwjJVwfVEY604Q+LPOqfKkP4ht0eVT
YqBqAQ/Fz46lPkza3o9aH5QKJ42LR+yqd/U6A2WM9KMvY9fpoU4ArGKEpbJgrNvvBvWARkqU6tKS
YgMH8xSSJ7iEJF1ka20P68Npk6V5w+M6OnwmyyzolIaYQoYLRAboZXujNozW0bl2cWXg0ejMBUgH
ONHSrtV0Hq4INuDf//qf/+d/f9b/K/q6Tq+XJroW/yrKfHpNitfzv/4tCvK//3X7718PTv/1b03V
ZE01FdnUBEFQJEHQ+Prnxzwpou63/4+4eWu6em8vq/wcfaSDp4NigelRhDOz9Yff4xxJHhWdEghF
hQB3i+HdJw0d0ZZInpvHYGBGBIKYs5YPe5wZEDXNuNOsw67NNGLU5ePt+IKORKOEhotyX18/tpT8
fKVUx+QeSFJM1im2C5SUU2FJTQQH4yv7KRg2rhrOetGBpC9+EYkg5QIIzyoWDhMjxT5dvkFK3IuE
5BjcfPwgVEFCL/3Zm66aQIYVmtZf2lYYMR3CF5sLZa8S1ESFMgfkT2mfjqJjOv7zLZV1/Xe3VBUM
WTRV0dC17pb/dEuLx/VwzzTlskLEQY7JJ280tttPhf6EcbswQ8lR9u9twUaLzaoZoDJAOgTUNFEJ
WmPbCB8Y3C+u/JlJ3uMkYQQYZj4R1LcF28P0PXzENOtdpupI3xx2FAmnp0fsGCTenjWm54lMn92G
ae+OVjzvx4gHI6q+OZc5MJb3wjN1/54GzcNl+dMIVSg8lD6QjvJngrZ69FhmfFpEc3yIw7KL9d9d
K8dEPPAVfxrrS+Kgk4KE1D9pUds/lgp/p2E/lpedsY5YxOicifquRJYZ9fTyBq/YDXKfVP6g2tZz
dY4p6QrhjbIYozG5WC2AFimAHO/cp/tGjjM2QIfwh9jpQtjdaEAiDD/hxGssqE6a86/aKQriBFkd
aVqT4gNCkdxZZvZpPbiswSLoJ+ZfWakXgMW0osjj5sRAz0zYrt4fnDbeZO54xaw6Jpsn8G20gGwb
xV/aRsHOeCip4Dssy89kKn1SGFFQlbmVtpy3S4hM1S2XylZllbwR0n1bV9v7lt9uEkuJDrXBXXsq
1jBPlD2HMjMVSR5I6YNsLYMYEM8TLQk7Bj94beHsoqm6Lz7UsxbG83h4Be8PbiTP3iYVW+m42Ohd
iE88MUbKJxnVVvfgNy6adSKlylEPQfWasRN0wk8nNKF7+ri3v66iEYgDYoAJEAMMxwcnqceZoIen
wqZ6N633mfIVFOP6uIK8nUFTmcjHyRuY5ssnAB3ZsCgLU5yyCyZvutax3UsbVl15gAukamERUgJh
+sU4mdDqOFenSWieblsechC1spweVgbiyYcdL3ssu5fxA/pg0VsmGUktrM1P3HxE9YMFoQ/BmKNS
9r3Vxq9tg3b6QW0BOzDc/baZZ75eQst3LqryLEsW0qPtG/T+7RzkwBSHzW1QXYP7lF3sucTUGTAO
bKIdtziEZlhm4Z/fa1E0f/deG4Ym6ZqmCIYo/vpe82tFekkfOLhV67WNOauxXM/FT8njvV2zqTMN
oF8VPKUNlDNfUZzXFvMPsnYxfO2iSeEaGNUe7tO/jNrtdWJ2WaL87yXMHQMmLEAJ5YizF4qsYiL6
REzhun2RHkJOHLDeFQ9CxrDYc8R5BZBEbi4RfkqYjxUCr4bo78do0T1CW0jyQ7yKwvNFyC65J3zc
A97ToHIJ+vXIQbvpNktpj9QoKbwGoFVd9JTzWCPkdMughxqXVjGPUJ9pjGvitqIPNbX+fD8V9S+3
U/r1dr6k+FKl9/tlVT66UM1kDkefzQGEOrb1bFT29dyeTM5a3EkrxjMqh/LiFSSwDuY+m9IUtLiD
JbpkXcH697NR5TafCblhgNrIkD6vnauANLgpg2zP/fPFy8J/XrwmSaoumIZqGKLx7eKjMhYvulJc
V2sGu5Hikau4Fy1aFaJBQK3KWH9aHmfQATVKCK4XnLhPp+fgzxeh/PYiVLYZXVPYajTj1zsoKLen
YL6UgotYCA9L6I+ricCjEgaAwsFnLyUkw9rhmSIRj4ymwcyfxaNhsl73htBbHTDTH9Kq8OerkpXf
3Zqfrqp7jX7a/uSo13vfdLlYDd09UvxlfewaLm6hvFl6CcfZIS147DzEEIKXrAb982V8Pb7ezgVi
2IDk/fPlSN0A823A0aR/LkfvbuJPl2O826fYXLlJyngcjoPDrlTIAaiHHtLx6WhHgdpC2FTDBcIG
wLK/3AzlN+OVJjFbaaZq6oxX325GXTdx+r6JxQpH6no7dpd4SjonwVfNMg61jMG0Hy++8v5UCqaF
NZpgA8I0KAA7EPVuTfq+X1kzYQLFm/3lBdR+M6f8fG3itzvTiyXp+UgkHp/tuLbH7/C4NwYYQvoB
V4XXxJFf1lFxjhFNxW3s7BUcvUxxg8j6YtPN++/j8k56aDD/9EYTiiORsUH4oz/ArMSwtX6STkZR
AsoFPtj5YXLOXO04i1x/tv7zZyz/Zin55Sf5tjLH8iETtYRHrpqtK9y0pnXwwjY48vTF9jIwdvMp
XZe4bx7OhvmDBW+Q+ivUlKjY+veNGPz5eqS/Xc+31eH6lgQ5NrtXgKYB0+qsH3if4Qytr94HvqAN
Uwp452AVW+buDKP/5++v/nZh+OepE79NoFksPl5axFNnrOzuLCraVxLpu75N6xaKQ+IOo/6SaifL
vDkB/cY5HTFfrUeV6Oijh/qZ9AXkjhRb3PqL2OlzyMd6rthUf3WmvkVsLTj29P9yFjF+u3D8dNXd
1396U69Gplwbmbu2puEDBHAvOLRMcTobk35shYhZx1uEV/sxz+R1z2gUttZ8XmyojJhiqHJHTEg7
xfKIfecPecvImk6nDpGZ9L1ZkBw+57LDWLXsM1qKi18eL6sIvHB2+ELkB73j3Cz5jGED3S1S25P0
l4OB1j2F/7ES/fTzdU/NTz+fkt21XFf5VCq4ATdzuEASnyeAhcuytAPyH47op67WXrbdYD5/gQc/
u6zGr/emtr5Qpkw3jQ0HJpf24DBcZAvSDi9fp4Nu+bMz+CvAFpAnIiUyzCh8Of35ofr9lvfT5X87
KcqJZiTxncuXxtsfoHAyGfOxwIHzZAdf2lIb8XpFU1YtuQ/iD7fJBlNBQ/3lQZF+v6jKqqCquihI
5rfH+yZEUnbIeFBeLiUfxiDMB8uaR0Gcdxhs7RBXzyOKTAqQN+3/+TaISrer/ufH+M93//aYZm1b
C71u2ewNKS8nsYLp/7RvA8rjJCdMhiajDG+dbm3RWtjozrdF0CXSlPOl9JXQfEwywnz/BMMkgzR4
Y8nQrXaxfrt25YxdVl/o2IE++dJKElKVaX1zBETOk65d4jCkrhAymhIGq9yVqKJakvo31gjh7MBf
VPBlwEYwczNaRAdONG1p5O7j5bxgyBpMPsQxVL7VHBeweyRJpoMFcs/c6u8qWwtBLCfdoYZXfs+a
7Z8JwUKkFf7IGSOGA/DOetFstJkZxBGRVZcOGG4i+8wsubzZf77N5u+X0H/u8reXRX9fDuWje1mG
hE9Y15ZldG+6IW0O1pXAUn24fK6WvOggDf0s9ebdlFH7iLZ6T4vN9QUr1tduxJ4MP1nyaTkZbXSo
edx5CSUJtDASjsGyQEb5dLAoZumeOzNA5AZk3hEqkJpTfsarASFKoAws7/pmD7eXAGM8QTBk1IqY
gsr+DGPnZcyKSEblDH/Gn++C9Pst+p+78O2dq29yfYlinnSUcf1kjjHQD7HZzqftfJqNmKF42B/9
1TkKOWSciJXx/3wBym/OPJx3BEAOoAzN1L5dQE+P5PSQ8zG8XFJFXiPO/u5R6eDqK/EtOeo0ogkJ
7LPu+2SWLphpqMUx+55HrqDivvZ5F4pA5cR1OkDMk9P3xHJFPa1tTov+Qtpg+/JmLLZ/vmztdxug
LEtM6IKi65r6bYVo3kKbS1r39Lzg7mp7/zgxGCcW+0ko+kvcmf7y5h7WxwuFfECUgRE834GCw7Cd
UC023uxofeXhmCD9Onddk34EZdW1DiULwFrD8pMwX/iI6s6xszjPZn++/t+uMT9f/7c1phUrvUq6
rbANIR6fTjUbD1tMDHH/eFxGDtvBC19DQLeifLz251+HkfkxHYFWgAbsMPBZzy1+TzBzHvHaIfW5
+xkAm+JQPf3lXv922Pn5Wr+9qe+32Oi9nPXwxv6ao3gca/3AnYMasjMLwRRdXGP3VwwPs4xs9L+t
x1J3L76vxz9//2+PaPSqk/gRqcXq6oxNa3y8e+U4YbSey/y3ZncSf6Tth40DXgi6Oc6tPUzC9G2H
PWsZtENr3utPr5/T3WQyuAycCc1Gn0Y+74HC9+vNcq6cAspRLdZlSiTxiPRxlWGdahA9WJsd3JfN
0N50M1Hn3UHNvc6HD+rbCZnETDe/jMFFkDL0Tif1xI7tLdLZmX8O+pzJ2TILC+3GpM98gnbjTHwr
C/3Lfu/+/Ej9drpSBUE1uveBA+O3V+LQXl/aTXjkK3Ye7AzP83NgLsWQ6BkoCZBSLMkz1Y8GqivT
G67atf1cEdTvJA5rLDlYa9Ej+Hv68ushfQEZFQ10gpPDYjG75JRK3/a18xq2vkpdo0z15hPvNUCt
jfxMcXuz11kgTbcYpARgUVCCXobUcJmcT30ak0uubLpGNkQ4QTpMQiB47oNfzHrTv61o+u+2b1VU
ZFnUNFEUzG+vVi+SSyOtk3zVCxUCzoCjPJ0kw+cgY5vpEpuaD6QHCY4LNnSkW3RPUwJ78TPkhDwB
0FaDpnU0DU6cmlHBuY+Tuv9g3yFM/1gsdcqRAStsHpWRMJUc3MngEXvEdyZ5Lc3S8GXSAUC8ae1k
GEB9ic2zWaorOuosMPAqJA0BedRd6YuwzdpMSCz6ZxEn0rv4dUcYOiaO88/Phvo7aEvnnohMO7os
KfI3JKGO2kjW5dtldWNmGR3o8UXxKJ10c3zNbQVPJhoyPmRqlj5SulWG3Bv9YYsUkaEUI0qwXN7G
RuEJGP5A8ikRMRY6KmLmFN3L05kqTw+yVxKZSXEiDDyWdn0UcSNesX8jJpsZCAC3SynFn0P/Vsvb
k2OlJfQTRVhYEWIWool8k4ceU9MkxHY8SKm42oJF90pqhImpINPTU/3L0wYMLz6TxePha3OYw7ay
32NpbgIe9cDXzocAyJYeXAI/vBht4eRArgORaIewOdAG/KWg3oJuf1j3+0QDGkUP0DjiZ/tyYvLd
iCjcVtC91eDwnCbkzoyf9SiX/ftjcb17ZuIBNlEQsiaXmo8TTTHdJDBd1UdDRlUvPGAE15CElJEL
6D5uw8WjRoJyZy9VOW/Bq6JoqgnkpHTWlnvwQLctyYLCzWufjsQnAHHVhkXklJgQaF9f9Hr7Q9PH
fQFVXJGpNlcXt9hOSP9E+a+TRWzBkNzgUShALhyCigj22nZ9PAtSPLqZFCeSvJO3T/oCzUADgk/s
N6quwlHIc4droAYDJRWWUJq8DWKPPeE6wUjZZq5Cv95WflJs2rmiDucy6iuo48AzDtbr7coDxi9V
Wt0b70anDYaOJcCulAaXggBhcVggYl6IFALhzCHAlfCIMO/WHKMhw5+mhBf77Khu9gR4VtbtNQcU
j6ihaSfNawDi+Rzc6bizbxtyHJplcvCFkpgrW8Uav5ACaFMd3tfsP0hpohw4W8gQSuT2otnjsWum
ueZFZKDSitLiNwoLzsDTfPHkmUmcVu0SXZ6pTUtZ+3C1gws/ofygKy5oJCCwkZVAQAwqtZ8vSb1O
Fxdka2RJPi30oY2Tf12QzF1cTQ8cSs6LNrhhul8VyNhIVCP87OM+Vu4kH1oRWnJW0G1OQfIiZ0+h
X6IgFQk7nPckaXeGr+qAJ65fa0Njaqz5N5SulIPOy9Z952Rh4DqzcsmW+JTPGQ5HkhJi5LPwoyQj
I1CS10XPqUIEr73bWnjal2GG3stmpXmvXhMRHUPjkC8k8WpcQx0BLCK2afTySbHhmAoAz8BLuiI6
SGRlhKPC3Cn9GEjetB6by6KeiwavtM0Z+4nBiFQGtExTljAZve+0IDqQOcXwqryfARiR2bSPEIyS
MYP21WnnCd5L/M9Lna8UdsKTdITvAp2QkXZNUx5gCC40SLZ0txvO+VsTDyIlmIarEiDa5WC3CNPh
KVBSYALB1YVWrCHct2cdPnUkXoVFuyG0ifxVjspHwMPy+HjAOU2AzIVAJuOEF4La0FV6TBGbRBYa
Y7Tl/NEGYSqc2qj90DbVBU8vOtQktivSTJYPaD3wVspQFxUFZuDVBClfvRtJTFj0JftCcc0kg5Sb
QPOoawUANPJY0CJKQKlcLGwS9Z84RL4K+my9Rzmvlilb8OrPy7r46xnK0AVdUQxJ0RUIXp1/fgcf
n4pYpq8mGiWXTTR4lZNHEpaH9bs5Zw0mwL5Reu97ZB8weqAVgV6vt3++AvkH1/nPcPb/LgGAXFVE
UTWFb7vts25bJXsn7XKY5CixWcQO8JHULr4oFKTV0iPJcls8SB1OkKVBocUYxYaYqWDloSHtw9fs
6a+FPa49b7h/c64O34FL4gcH/vewtpYM8Payh5rgYY3D4GIHX9F4zgnaCt092rVr97dEuMaLQBrU
tos/3TqqpPbMf8x0N8Boqi+mZv9rfu27brjXP7d3Z0jG58e6tPz46wQKo7LH/RDeMc4hGr/ZHNa3
zXkcusWi+5umujMdZYk19djNv3hFctxAHtmd6KIDgNJ5hOBhLiFRYhpNLDrOo3noPruvzrPVfJn7
brZvreV8rvPYn/iDNfOmGx7WGCE1plWwBdJq+eMEV/XZSqnx0kl2sogg69doE5hIL0MvCbBIhJMd
TtTaTghft9oeyTHOBvIymGt24C1jcj6WxxDPI24k9vBXN9USO/P1VRxfuKBooB5sHkRee1PpRNPO
u49RhuTmkhwsoBVWTtcb1URYOekaUqkvkgfhY9gYxdk2YcdCWw5d+rISEboePXNpJ5Ilz5im3vQk
09jA/93QSQQV9Un6FykJHFKKh1sPNoLhNWWfMwwyuw9yjfwVwauIpt/4BV79FWgDSDjpy3jzZ8ZE
iaynn78mPXzfzqP2LtglqJSXJ3XpExaEEGQpCX1pkg/rKa8uTufUWhOVfSXzb5iVLqU45hxFEH/5
jBzL0jnhY7Quh7+cn38dNv/z8f92NtIe+aF3qWpOBUyWDeocYxYdPl7i/p1NCvUvRyG9G+G/v2ym
LEqaAhqumT/Wg58AxoeW3F5xlScrFKkL01oe6BZH+qgTqobCAL0xK3rnN8Wj+iHRc8LPj/bOeZPJ
0/o5R2VyHxiLPuQRBIlF+lfXSKNTMtoVnjTum0KMG9VZtQPAPxDomgJwGCPM6MoYHt5HgSD15Qgn
IoXwkBOlcfUJCurNVuhW/nJfvx36uLGGKEGn6JqgCLKq/QAAfvpRpVhrmnvzkpfD4Tab7HmgtXs/
dAPIt5E32dENeAfUthb+8C/go/YrItJ9Z1nUVcUwdCQeuil0kM1P3/mtH4qeVrTpJDIS3FdPc6Yj
/jkEdW94rfzDZaA5RgH1nxHx+mptKWfzzvfCa688AEfe7QFtEUKqTe9wmTyMg11dBDsqL54hZoT/
y3SfiQu1njf1JUwV8qQ0CfkISphHKwRXEg6bwi2MxH3eOcoqbXgpEfMRJytHNceGaqyrO7N8hU2x
jaQiFJAsq/J1/kSaocT5RBI+6gd1G3LstW8SKYaP5/Mom+c7Cq9KizD5HoidjeFbTVT4aR0YPzQd
RGbuyisDf8ZHfY+DP+8S4rez6X/fU1OUTEWSBVVCMvPrPX2mWlUWDymeiDraBsYM+b0wsFY1t7Uu
SNYLj2FVrhRVCAxl2yKcS+PckbmfB8GcXnVxbmCq6zbUGuVayyz2RtNZ0/rAfBlJiq2ICFNNRO2w
7EURZPmk95hFSe4BMdt1qrvxHUdYbhJWcdk860dQJYptxvlUb0h1fGrh/d2MuWmL+bsyvaeSDJSa
+eal7mr8ZU95lPB/pXvUL1NMlRmB2rddaXiJ5svXgSbghkmWLNi6tktpKXjW937XS6ld9t2n1jwc
vUQFJaDmYLu6YDcymNIILcTmTRQQC+cB4feV3JJ8IgpHRaJRPb9DmebTDJOckBIQeyCvXWELUrsM
sVVP8m/XdRbhF073UoVr/qWsmkyePV7YTLNBkz+OQhn793e6TRvFvirYMCjraihfui4MjUfJXN61
ndTzi5zekypdiaVm1ze8jBj1teYeICnjQ+EN6OX38AK+2ram/5KIHhAtXh5SAk3nkRrk4zDjZa02
VFOkCBfRs6ImndyMi9cTCJhpVRyBBIDc8Xm2ehDr8anh9HNHmNQecj9Wrq4k8bnoN7dJ250sP+e3
B5Hehtm/mKsnR8sK3lEAt8NOeUn0vlle562KE0io5s1zKhUyyT16FVQvRueCkwgHKRTfzzfIxVuT
Z3UPucGD+dwk8gdJafEcqQZZrFHpxreR2uw62WGs00aKSxZ31cuMGRj/cgD/Feb98fxLiqICsUpM
aeYPzOKnNSWqbj01hSoeZcISHOGQfAn0kD7GmfAXsO4H8/fLFmFwvAf9QeonKny/byjQUxJuTawL
cXhNNroZJo/JJdnJBt0S4iZvp6/rV0Je8XUj6cRCi38ZSOXf/pw/ffdv06B20AtRLQ5xqMWtfXh+
mXxowhMPwfNA+yu7Cuqm++vm6jo2ugNycpLJY/LMq33ZSciiUJRiZnPsrqlh8aJb6QFOAttQeWdg
L65ujPjMiB/Tpzj6jN/ADOl7rF7PDbbPZ7m9XfNB8d4owuqq/IXcE7tL/35jgZUkBm1J04FQfl3C
LvfoHWuvWxwK13UujEVh+r6F93xwfXP8xt/XTkuiyqCFVALwsGNnyz8vor/ZEWVJlTpES2PsF75z
vmqpvq+NyL1tWMtzzvnPhCNFSn+fwrGU/rVsf8eHeMBckNKnoxWllWjaUGQr6BYOA+1wxrH5Ju1u
4v7F6adNcHHztNftSpDuo//vy1VESTcVlBEGlyt/o8jznvZ6lBezXpr+cDz+v5yd2XLqSJu1r4gI
zcOpZokZY4x9orCxkRgEEkIgcfX9pP+/+9tmOzbRHVUHrqpdTimV+c5rrSGe+9zfhE7o+M7zM1MP
088Hjlv523H/XPHuC6m9TK67ntXO65OzvHiSS1PpzFjD23zuzDRvsotfyE0FJ+Lg6lE2f9/PEjfy
/i/vbSmWpti6paj3OZlxaHtSc+ApeGvJFxFLPNMcdLVffKaFPOq/n/qDNf++dZps8Bc3X5H48c67
npWqrU+XDMC2fHkuN7NtHRqgKeXp7qAv/v16vyyl63xQRl4Yd8EK/7wFzCAz+SCX6eh6XFXVZ5FH
KYKH1DpV7enfK/1y4TReigiM1pRGXHB3gKo8vbHD183g3BvKhPi50uDcj9q8yy8RM81Una7DA8RW
23Kg5vX0ejHf8htzy4adPtjgX06WQUxIyG1KBDffc1p/mO+ebty2UsujtGjlMUmepYOqd6ZRmxxl
hDMwOjv/wdv/bHAJj6EZminLhiqsuKTfbfROMZkvKZXeqDWhJLeh2UeWMg825uqQw2wlYEVQ7u8e
WLm7Xs/3sjQDLcm2ZZVSsXm3rKr08p29ryTCbiF9RQ4bM981m4UDZzQCU+u60ElPHzbdlb/yKEsz
dV1lyk1hhN227gZ8zrIu8VnFuh4XdwjHkFtE8/Dw8aX7k1fLYYoridZR6k8hBZ8+sBy/LU6rwJYM
OieiG/rzUO+vJ/N0uR2Po6YIt820RZNM/rrkw2tJFeOBi5R/uUHmn4vdWalNc5SOalMhcVPT5wPf
BfrOPAzzwNp/tCAezhfKVObGzxAhKRrfVASrUcKjbDTYUdLL+cHZVn9Orfy/T84AnaFLZFk2VaSf
b3/RenVTnY/tfFE4XsDAR3BzxvpgrkZgbcZzhh7BlIdI1jwlUHDAA/DkAm16cNyFifrpXQla/vMQ
3wNPf9ywcrfvztV53847Znkga9RcM/oiQmb0WwgC4dfewXI+WPT3N7cly+CWWRyxn29+rk7qqbkV
OAzgahrSdgYNvw48tAB1/Xutu5GW/97l/6x1d8C73kWy8hu73O+/UcdilsGZfa3qwHfonCJb5UEg
9e8l5V+PtfKfJe8MaH1RilrJeT3JrUeXSTkGI43Hd8jv84imvRGUriCXy98e7uwv1ovP+Z+l78oi
anm4NtnOvs6HZpQHxVcGc+71Bcak/0OU8WOhe9d3zLY7A5+Lt5W+5uiMf4Vnx/FdKhjCVl0hfjFm
D3zg9xz4X4f1uwSjY6v+KsNsqcbuDpe8nS8p9LVOgf4k9DSCQDKSRg8+ovbbxbAlW8WvqxzUu52s
zso+rTvpOk9D7QuGFkDkXbIPNCEunWjRbrV7YA/u5mn//0kVBWVCTNOUv13EH1fR1EuCYGEPvKHm
xkwaz5Etip2LO/AHI8lzQQZE0637MIr5u5qNDzD+WPjOEOXGzpKNAhtwpBhMe44CqxTraGQwCqHB
wk03BbnH9PDghX83gP9Z93su7o8Xrkpbu0hpKc0XHCJ3yHTevHLnR/gTCRvj2eTFAd/qJ2eXyRDQ
JczxhzAEPPjOv9kiOrRMm9uWZCr3DtDYyVtduXGmhJ6yikoxAh5z5B2c6XX6YClx7++P759L3dmF
olccD7aUtfPeWIBv0CR+sWC3vsL8rYJ5//dq4qPdL2bpBKaaOMK2fWdjjaNUSdmZ8/stDuSZFByp
QDJY9e9lfsl7NUuSGQayTZWU474PIXdNfSrT9Mr+6Y1bjfTAhLwcIcr33AjUxQltv3+v+D1idPdm
P1a8u5n58WjuupwVr4kCIQAkJ5G57EalEFIId1+yFl6oXNAMDqiodNvFTX7XPgHKVR70VYXHZMDz
aQgHU8hPINsLjw7RnlmjjeogqISMr+bt3yBOB/5Lf1wbAmmTRgoAaQ4g1YpEthbtIwiM+vfXsiRF
MqnQ6ZRfjbujcesdpMK88LUktxiV1Mthv6HP5QkCDqYFb6/Fg9BL+eUw/lhRPNEfly8tD5uT1rGL
p+UGcSma2VvNBSTDyC/iK4HxCue+qFMjZTraCOrw3uTz0RTebzHZj4cQRviPh+i2h323qdTrfKG4
jLt6DXORHCLnA3Sb9JzFr/JQdHGdf5+gu6GMb0tLZC8T5WPcObZ3J+jUyIebUV/pDcadaN2zsk3f
hqFH136Tpx23Hz1dRB2aqM4eLf7bxtNKsDRdU6gZWSJ6+OOdU6nZnfelWY/Veqgd1hmQ/cuwkock
j7ve11mHCEgdGtevwyP78z1rcn9x/lz5zs5vzoqxtfYWlTAQ1zkDl4zFDi8xHd1wiJRCHMShkTur
kz9gdAqa7hE8gaHvb5nddN3151R9sBW/eTyB5TRlU6XfgPX4uRXVvrLI4/gOJcrkPYadEXDwLM8Y
aA4Edo5GX2+owVADajPcD3tzOb4yfg1gGNTPgyMhPvnfe/M/j3KfivTUq7Qrytt1nq1L0GKq5MTg
n6gYIgzqj8qv4/jhcNAvOR8AYRwvVprSnfLtH/84CeVN2m83lxtkrJ43JKQRKQCoD2d1hu7hQujv
Jok37T8CUXzDT36+6891xQn9Y92dbWj6qeyEayDbQ1Dn4AjGgRRVzn/v6t8+iIVsPqz4ypRh72yM
ubF0w0yJaJRhD9Yk2qzSkzJ+VR4EEr/EhT/XuTMj9q00jkqtyv1S3oRNNSryA9rFfmEr/qE2YHNA
e9n4ygoU5YriAVZM/e0lSV4VUaCUCN3udvPWVBsNtA9BaW+VRRUzhstbfLEc6x3WXCbSoFqjW6j7
0soA1ZO7+evBm9MEopEL5jDifCewP0EadhkrFYVZIbV0GkFaAjvOow/yy6c3JFOnOkgbk4zfvgvb
d9edeqrFFzl5vXEWzRHIcqAUch6EOn/vCcswmaBK1N5takg/T1h7OynZSWeZCjC5i2BsUPqyO3oU
Cvyd0rOMTWtLEb3Kv7pbvX2vOxwORj5Xko/9k7ECvP4glxP78fOqUDLQuBCqYTHWfN8/Y9q5bq28
Po+vNL01ZVjkiNnB61I/sj9/e4WfC4lX/eNOWub5tmtvaj63hiW0zKf4FKexGqZjsMzJ6X9fbbJ0
VdU1Q2VikR/vzuwVRyBftUrFE/Qi2F1jcCdvgewFs94CizcZwNYG7MHbho8rDn8H3ITaqpgrFvV0
Sk8/33SvbtXsaspdn+55B8PzV1v58k522npWbWZ7Qjgm9S6p829T9MvJF8tSnrRsqtUMY/5ctjxc
zHqrVhKAvDaG7pRZ+magidD70Up/n0rL4MyYFhMDtsxo/8+VtE3R1to2V4bMV/r55+Wbeyb1mFld
pasrSHgN8mEUn//Xd45lKZUajCkYFIrvghrVOJy6Lmu7/rHo9yDY7Dq4cYClbceMDBTmGInkf2/p
33eDBcmZZJXOPcXLuwxjd5a79JSXjGAcfP2C3G1/e/APu8W/V1F+OS8G+yhRn6SFLd8Ha9X2ap9l
q1HnC2/Yc4JgnjkhaBTqNwKak3n9B97kl36PJRo9iuiiAIG6n4Ao9VNzKNSLJhoJQ2ANQSza085k
5bvuM2IJzJL3H7yk/NtemhZzFxaNcaLSu9Np7mgfSvUJgQrwzdejKXZTSYfKlTFxRYV9B5CB/XK7
QMmy70HvYUGieYDoXNmjGQn88fQIX/vbtlN4JzjTOFNs/d011Xc5Nkk5MQeyFGC0OPcY1H95ZQ9A
gIF3fpSP/O0yGPywFUkAijEM0l1YXNjVJd+cWa9xF0OgXhLj4sPYCUMk9wbFxvFfwRZGVALW06n3
YPt/aZ9alqWpuq2IGoDyXSX/w/oWV6mqd+0Fosou2m2S6zY0y6iCMvWaoGaSa+sifzmlr4oGD7UG
QYv+1h0D8/ax0V66Tb9VotttmCsh1K6VMbwqfroflGZwaqM8T9rjrNqOzd663K0siORKv734+RaV
twe+6g73L9Ia21JsWxVv8V1R/ml40t0pu2rdsUERQnDEFy+q6m6XEo0S1dXeji/FGoZWCAH70HqZ
jIUnl717QBgCCl09VC7D2yXQNK+CJh+lDLjHzl6+kN/tr/SjQRiRyTF46RiUZlabmNgI0tGJ3Awy
b/RpreDft/6XqMq28Ov08+iF4C7uPJTSddeKuYrzWH46QXlruNaFCIo5Pc1jOLjqEqP3eWROG5WO
i29A0iT7LfpiqJygMPoFmOS4VE4RbsWG4E6Lu2Mk5NCB7J779YGxZcGuw5CazjfzkfXAUCJTVj1y
67+E+FReAHl9GxSDCPHnJznmvUptrjW3CJgXvObDzQxi85beJKypA7+jPeyUo9H7w3aouC5/Bi5U
ZCxGVMEWKKpl8uPPhbllu+Mxo3N2OE3P1/AK9bX6BWtyXQyZcP/3x/qrxi4W06nH2pTzbdEL/bmY
apyOWpPrxaDXhBI07cdWm5Y6YyAS0y/l+sD4vaUsmy0Tw8ZleqoNx1IZN6wPnrGVkIPpM/gzOUOo
27ROA3+ukh98U+/528J68Kh/3XT8B8wSdMUNRbYAZtx9kIys3NgxXzTJZZRxktaY7Y11jSYbme+Z
ARto1Wbq1s0QWxieLCe3EvPglYV/ske3wzpP/TRinOK0iw/X593k1r6XVh8Kw/2XVb+bgxIKFdcw
EiPtm5sHj85U71/fVJclWRaTLASjpiqcyB9WKu8Yyko3uTRNs6GCsBmoNSay5oWcHKxn4DYApDTo
6iwpySKJIf+EspxTSXE63J6WR6hQu0OfWen9CYGi+MhIq39Ybm6McKIUDfRy3V4EcZvK/HkeQkR0
aHzlloipcTnumGhs9CArR9nxE1alE0ohaeds4ULTXvQSvuxZPtbg44LaZmO4O1jaEAlwr/bich5p
TLIziwUviqYw0QrMtlFBx3rdp8VcUG8pJ4bu13PYwbszI+wVN/Z1l4VbqjP6rIaFesY0n+zD+bx/
SS+2ozJYpHdvr5fFpZroUCfkvp1jfxvoRQ3Av53fKQPd9FQJkckrNLzPqDWnqads0JcBfHiZpHCF
PnBgf184ndwP20vAIKaN7vyl1UoEn2lVDHKQ8Bu/4223N3CD+0TTnpuifHQahAH8ecFZjwtOBA9Z
imaLsOmPw9AVXadt7Ho3aM9hzqc4lmFWP5+NYXMNzSyHY/arhJf1Osz5pv++7/eumjvEiBPO2tC5
QiDFfy6tb+tLZTTHQnTlK8plSiKty74J9VMOqfju0ZsSMYvNu39ZIOk6Iy2KAtuHeKI/XtbWirNd
yfVxDldlBALGdqp1C/dhh+4VUDFoiLer9nO7LMftB0y7o/1nG4vJdJuSg/EKoM4BTjbKZici/5Yh
atpH/i1ioC/kLLN5etAtzAAFiSnSfkGadH6KVkSKHsQ+VsfgQ2fMUCeN38EBo/hLHY35xjcS2dsk
tdvBwHpgGrj1tiBcl+3gwDB8j0GY6/S8uvrdu+QibxFT40ogJj74RgHfJx8pKOcoFHj72j29MH4+
TSnSS5OUiWDdh23rAFbrBdCP/kItW0f592m7zNEj+SzJXbh9IbriTMxTE0vaoPP16Byj1ZE7C0Gm
3bjbeMFotJIYieoJfCXiiRCMhsfh/gl44Zv9cUzShAeWKTxBLwftMYoK/taDX71YZkPAnXBnHt0V
s6J0voLVLUbE13bhkoPtIqOese+rR0h5GMN0U6CH2YhXXRQgeWFMn93EA5qR5J8GWsL7B810S92j
et6x71/Qiru7kBo3M+0MsLtl3xpcZQhsDLBALyqyHp/pYDOEQwMtHcjPc6/5uvWtLdqu5VNL1IXS
ERR3zunj8nGGchdk+ZBdHDTQWYJagHR/8CU7KMuipHyiAvFivytCgdMHRQ1wBVhLjw7BM5JMR+I7
j18d64A25uAeZJdwY+OrLxf0s9T+bu/39Ei/9ZVjyJR5hmpxwEg0eCQT+YBFkZzH57hQwitBFkYJ
bOPZt9u+Zbk91U2vXraPNrs4u/klZFGUMZsQalIkqM7nRMqGV8u9AAQCMqTazBuHMFbCa7dH5rgL
mpMjX59uK0lOkNyTAHecQ/AWIDouy0YaMnRZMk2LIlE5hXFOOqHC6YH02N1itIEq1KQ28RHCMiH+
cqaB8CS0s8YyHIOmVyBdB+mgzjS/u3mX1qDD8IHv+ae0MBYaEP9TIs+pTtfwYh082xbOoL65VygM
NFcFfJM0SDwr0MEacElJ8QGUFBimXQTz3g2abHBUcYleTEAUz8mykv2cQABA2zb3jlePUqDISy/O
8d1mstioxbakh69zNU1v8ekMnsYVFMmanzfhPh2CXMmYckUx7xZbx0VvMzC2UbVDhDWQEfyAH9py
NTKmesA7q2giGAJsaaPCCmmzjmzMeE9Ie/TObcgAX0fRc0T9BqnS/dEtv7aQSV3gTUNTIDjT2gVS
DHIhRfwRhn04G6wRiqeIv23pUcDbzlRkAEQRWizBzm6jZAg7dAAaEop6H+LtV6iLtUSsAXoSTEUG
Y2/nLFLgsJ8dZVZ1XcckccXTGVUVsok+o80Q6PGf3OMTJOo0maH+ZLI2p0C3iaBdh+cSinVkAzkm
1RwmlekZ306LAsQiHIhnnDEK3tETWCu/N5ZmLZqn1YsK7ffzGYJjaF4rOn/0b5ivsMAbF+jGMr4c
Uc/ewlB9eDtPd6/n9x4iT4GCjC/p5Wbysu+DqEIU5ja8DNECBXaNQBxEBbrT9M3PEqrZ61oKb0/G
SEdHaFR6DQpDZD3gX/i2k8PWMYNmcZh3b/x/0IAeJsVIC+Vxh2Q0jPduORASmtYQEVH/FKNl7TOj
PFQ6Txqdlu1SWmvrw1yDYHcOsSt35pb5OTZlE+/WKXcSbgTG0wEJCNzwtQmoJZ0DQcZ9m2cZTJqQ
kmJ6qNX5+qCaNbPuucK8aTEQ0ILhdjkgMqqFZPTeq4ZcPJTKDfBRFT0IyI/XacjXmyF+gRgnHgO6
o7fdApmAEQJCyf61HB+8UwyU3JOg0DgHveCKElH5iXwZJtP05VHce2IremMZnq6CyYj9AlkbV8hH
COVz+B4C0/moQ7AgHhyvjuIDFR/CMYhjQt5eTlBleT28dJN0fn6RXySEFhUXnw4KcNECAkXcVBJm
h+KylT41SNTdoloPTk14OnnDWnmVQcsdQiC2xTtXz2bYt0AzdZ+OD9jStY7/ND1ODgh1mXFegEqu
nfnZiGfm5t2WMOrFXNbeE6bqYoUFNL5NqIWlGWGFtopTQJup9/mjG/vpcBgfU3+DB8q8C2xMHEy9
f0F+D9V5Wpd4xhwu8B1mmA4PkTVMlKmnv5KA8je0wgCNamTMUmTlE6QUkddyuJqAys6BGkOfjATj
FVjtK2ikQB33wB+Be11dlmS4uwVgNpJdaWRQTxPwdqxdPsDemROL2QX83ivyDkzOCf3YNoAfXXef
IInkqHTwktvUARdlDNbZXqXTYtGubsirW1NU5MLiQ/1EWBSy8liIibOLR59x4ybRV1Cjz29LRKY0
IgDN3881es3tC9jhnbMNSjB0DPje+u1H9ax9ScObYP4cmXQYIaJE2hDEkIen2M+LY7/hKZbtt17a
edkk7B9IBX21G+1mmwi8roKRvK73g20MHFiQ85+W1rQjSF9qYWtj0c97l6vjdbBHwQadoJFarfkE
wmIUMBnaA9AsuzXEkdf1dt6ttWTzbg1b2VFgWkRkAyb2lTLLB1JihSo9IECV0F1nyAfoY0hwYsNf
NB+NcwmskKwtG7VBO1ZR00OldwS3/afO2P9TCymxNpKhckHHDEtjuVdkF8GPjTaBEIo4xJuZFt7G
J5SbEfmKzAECPmN7BQJegKTHGc5trO9ddQUBdCAlkLMeUKCzfEzFiF+WGEPdw1zVUYmqRPdhfNQ4
Zyjc3yyERnfwESGcE5/DjZfDptJxAEGI0+A0BxUU+jVCfkLHoBcbI/AFAK7DPDEiC72Dz5b36hbb
CVBciAbzSTlAgJa9lyHg3aLj3DznnoBooa7ghAwYVMNLJPfzp+J5D3NX6bUfADlsGIVRjkcchuLy
ABXpvQMSyFjbTdgssvfTgGAIcmuBp6NUIgQxshddQcwbeDjE84FAiR3oxlKKflocR8SK/ElkELwC
0TPIYJ43U5j6sYSkNmN53IuUZDcy1hDHwS5Bti2UtQF8IJCLLIGEnBo8mdhWzm68HZKEw8jRvLeB
ER7fs+gS1+/ZyEICGUxCkI16q/0EuP4ZBrrLQBUXH8goQOu9OCGXVcPTYHnhfoRY8A30aDvWIdh3
cpQ5bPjHuXxybH8efUTjOLF2cMNAMjAbAXyg6PWhAKWU3MvFvWjueW6sVQwMpA9rJsTT8BYQCuST
YtYi84tuaZQO1JECIULcvBaIqQI6lb3tq+ZvIoAz+aqINEjKb/5xQ2oVyE3YQoaqLpr9EzrGGXHI
gHJddBjYlLuQ5FozupwLtuVT7cNZ0JZTooR2M7hKYS2FsAikWt94EzqH6BK5LdO+wzxGPXlN9gyl
bxZQOQMI3zEgcnG0U0Acggvw0YXYoUaLQw2OHDVmJso58kMxIG38PUDWHX11YRGAz8POfl4ZU2OI
F88B2m5GxxHfLimiFhpXIzzxxNroHKAeyiE4flleGZ2j4tmeKfGhb4EK75f9LOFfjLKkN1PgLOsh
qvRyeWFHha/yvklEwKsjR+epA+Q1iR9Jd1raGsBXaSkzlf6qMguoxPsPA18zLcD24vo0sFNIvEKv
j7YwumRZqFZzEw1UCa1ir+JqQgoNt4M9PlTDfTVV5DmqWTfb6Rt6X9t7zTYqTsEV2aFekN2iBjDV
Ju6qD+qlEKVZ5A+vUwTzbGB3atTIbmYHx8q/Rmp89PcDeQndBEXFRaq/YInAVDhFIlckWM3XZLIF
hN4NhYy6gYYL7hFw7ta7xKC0lmxYWM6rxQ79dZgwcDQ1swOSR7BnfuYVoY0dSlgyRJNpbD3jgVj/
UAmWLSU6Bj1aavuR+a6+Q/xhQGihJoUd946ZA2S9uTDDNKvPgJhoTTmbFO47CR+x1EfSU8km0ywd
9KaQgk/k4W7MgNAWcg4PRRhlhJBNBMxo0UExsIKuA5farRuyPehaULMicUVucB9sjOBwCzIjKCim
7gYkYPwA4wdUKFyl1xM6C9A4echI+dwgz/a7sRCvIqKKywC5EHK9K1y2VdhG2dAcFaRznI9Quzrp
PMPvOBa8MIwPneNd/xDggCDJfT0+b5Lc5eJJqCleeAdtJSc3dBntGRXTzfQ4xbEPuE99cYjw4T76
wBQoC9I9slAvW+z43xOCJSUmQ2W8S1s0tVPv0CQ/Qev8fuMwIs9An6mCqiI5q1DpAct1UjQr3yzy
Lpwx0sboJCClg3ILJD4kJmtYtHetd9YInYrIZhCmSuLy7NoIuIsEAV70N0OKzkXwkRIBckgvjs2N
luLeCnF3rHxbDaVd0hwnmjw/HrD6qFnsPett041NI8ot4Bi+DZKO0TASCttROpezml/7+fXFILZG
emB6TeSTv0HAZGq1TqnDQA+GHj74qo+LA1dOSN0kN5QK8P/IRJ6DpoB12BgZYN/5FKiZK0Nt1vQR
AaWvV/eR0PbKKUpdWHA8eoCMJn1AzT3l3Eb8HVETFZkGlycltzHo6ZvuWjXsI04On9ILFrUdo6lm
zisELvAXtWuhClAj4OP2JhB8BSYcLmq8/YLGx0+X4FZxGMq0wq9JkfxFqrkokeZBU3GPH8bhj7Dd
m7XQpsl96TuFgc1ijEv3YQwD5IDOtGssLzfYhLq4gFJUR+1SMIkpb0RSpyAdkq4RkCFM2/nXmc0B
mh3f94Pruq6YVoOxIUIJlpD4MjcSKPQQ3jk8p+51imvkXu+wQbDzpckHoTEMYNlcCWAK2TtfN8d4
vy6Qb3M4PgPTvbwcQwlDP8G5bRw4hCBvaQf20oBUltCZg3kg7rpB/oz6xzOs+Fhswcgo9rhgNm8X
rBvXCBXuSzY9QgWJRtUYiPqog43CyZksKoRguXuOdhDa1ENk2qL6HV4diy9KHammKQB2611Il6gO
Sr5UlrrpnpijhwpX6W1GJqsw57i8LuTg7Cmj4wuq4sMt2cJmVPs2M3IH1CY2o1Nc+OhtUlWViY6q
6IpOITYJQqS5MjIHNvEaH32JaBjAexTzIKvG3DYQK/ZeYBcLECP3L3xoGR5VBalX8k1kr+sFJV9U
IRxGZMkDCBqIrZ7zN/SJoXHOZj3uPaz9zxdnrAbEBmVcOzOYqTvnsj5R3rHh0b4F+eSQhTfSGqQH
3lCTprqSI5EMH7yOPoKI2oQDOyCTQmGsg5UBZWbxu0/j3DUQkK/p/sheV7ryE3IrgdRXHHSBxMAS
QtN9qJUghjgPFk9tWA6vUUmSZC/lQHfWCHMOD7DWh4cv04N2L7nu8VZttMdM7Rqm7zoEnG6XSKdU
ljN2jWgPJpHfBrlZ6ZFWi9SMkk1Yk/EWHyd+J5Rk2bMxKKNiiK1EAyV7t6YceSd9hZHAhT8hEGeS
QAIOKcbv5bVQE7KD7WePCuAHQS1jZrZ7hT8hizdsCGUpM6Lm5iNsjcIsxSoKb+hcIdUcibEs9N4u
CbQmBJSB2a/DLBEpG3W13DvjHzjK0FSNe0SEiNwwWDfZ+WbQDbUjuZ9McJQ5q68PplWpI+6SyWbA
p0L2kuCRylQrOTJmOL25m35HMnYasOnz2kUqEADfFtYmdoO4Bz0MRl6PI3gS3WqVf2DxHRV1QFeb
XjwT129CK0wuG2ES4uOIavyUjRTEFwpcKk67OnQEgyc2JQ9atGp8xL8mB0F+PsoDta8HFIN4PSqT
VADP/MaeQ28Drk00dvoqRqx2qyHxhgMb/jEOYcLIYOchww7Pfe3VeqXCVgtNU78EUtqXB827LAg7
X6/ufnILjCF2PqA5EMKSgXZJh4HqYEqATIbFrv7No2RNNm1RaTsNPo5QwMtENytlvCLXS2j5sQ9Z
uCPRJp+8uSojg1uvlDlIEke4v4nKOWouUfO8HfdwytlTR6WlcT7g5ZB8YIm9VWEBiaaJ65dnAOIh
1TlEzc2InO8F0HqgIskIAT+xWzmwkltcj3DgMOmc4nptvd1WIhrUA+pX3LegN4KEjOjQOWXhVajP
i4orkg1J9Z7VARGIS7EGZZ13atcMtwoptH1MCkmdhPT7PVugvhyfhjZmk6vJsEgLY8uxT4EFfVvn
Ms58LQYbntg4/3wijqsuFFGa5JqQ1JnYglssZ365EeIArRkzcHVYbslf4ITxKGfzl/1UvDeL88Ud
yig4ExPCRIepy+PTUh8TgV8RaHUIdLlq/nkAk69Ldwb2ik2/RzZojXpzBqF95GGxC89nJpQ5WS9Q
txANcqJhIoL1nvQU5W8Etpv4LCpjg7WBMtUakgU09Z6qeUZofPSFFiWkDQHriQD58sKvpMDIKqmb
4vI8WugxVFXs6y2yvHNCXyrchRDrc+HgL8Dv7mOI0ng4PdDJxETJHPqzYEZBfYi8GprVInU7DuUP
qiXvHzUTI9kNC7tPcv/zxvegIJHs8HFXDhgeJdgHSF+48lx5r25QGx/YZsh0UMu6En/VU6JOZDpl
yFfQ6KM+vH/S+22cv4J9R6fDxtBpbvV2mdgKeZYdNf6V25QRnil+4Qfa89ElyPIB/3KqREceqa9w
//qtfuQgQ0lsJQ/auJrVcB84xXP62XHno2zQrGiyK0/8iKm/OlsmNMHPSkiynMQHeE+T25wNZEB1
u87XvXd9lsZCyASEIv7tab/KyeYJHqbaM0jpkBr6AV5k+4k62Z4ide7JS8o46AJUvvG8RcQ58zYf
qLoNhLeTkGiDGdNnerH1UDAK2zrWBx0GTPIZWYT0sR3sEFGgP4BSRTVTfNZleJwaC5UbF2XyYRNJ
ITVYKEANdJ5SYuEhOsmhQqKqcwREJ6XwezORqHD38JMoRSIPfRsgEM1vwGl84LNhmyxmV1+lEk7e
TG4iPCVEvorP/uevJQ2PLrwmUkL5Jqy5JWzyivfavUsJAaghCgjEB6Iiiwrjk+HeyNHkCe8c9qBb
5w3WmxGfhFqt+DCnuQWZzLuVMAx3mhP03DzC3q9mSOjWe6Gk2by1VBqIzcF/x0TXKCbl+KMiaV9k
5zw3l+WgXaE/xthwQZ1U96SwQG+osdBNPwKUH0kHX10ifUvuhNwd1fIh41oeSs38SQqohVfMpHds
2HRSDISFK6Ld9EASnE+oVIitfUbz01XCMsZXc142YFa2gxvtnyox+wodr218G9tzwz8taQOoK2wb
xfsT1BijIqKRQfENJi7KVvhxykrUYYdQUiJ7BYtTRRJKOYROkglVIVl56lAZu1CV2MelsAGOhcA2
ErOEQCSvCZCoqWC3i2TMLdQXzzKHKziMRWaiz04ft4hhbiqxwtpDRRjro+LZiqWxElufNL2KLznS
hN7mosO4MF4E4Kj82H0dn3dTeLpbCs4GJ4o+G6w6cCn5/JN76Ys/WkKVeSYXi05xn7niyY7SRz1K
E4oq3pFDkyK5W47xm87Fb90ZrrdvB7oC8B7dUEqvHpJ11LAFMqYKyYqI2TD28Wli8/g7X3Gpg4qg
4faBQBCPKEomxCTPBPdsPlfcPaDr7UE0WI3UwWVejUS8mlB3x+PKQT3q4apJnwPpq0KGlNO3NMGb
RkzeMAI92oKzhLEPAaENEmhHzvOUpIDGB/lkSKeB/o+CnuT+U3qvRj3bOY5O8w8qIFrrSc8tUQFy
3F9kPjTuprSh8o1/wg9kfOMWhsvUMZi64OCusxk1H57pNOgWqB/bLmWNzP4uNeTeajvS4HhcXz+v
g5WFJgHGP95P8quosKgDY+edjsNjFzfPVXIbyANjsUHJy+BT4XvnyoID96F6vRV2NlT7x+dLVHmn
detaXhXSuKjx2+YSiTe8HrVQBJOj4zsHHGkrbDl00e5bs6b5eojPsbnUKZMjp4NOiirCnDnlUcIW
OpfWVFB880VRRz750MP69bAhsJuWQSEo5ejcZv1s78HtsZtukKacZUNhNnr93boiP6Q8u0vSeCaq
7iKkbfzzirEGOnyXlzz4mEIBpBLXaMlHNpXofpquCJSpVQ2KEcmNq44+KjIUO9hQhIFKY5piaw4D
ZoFdOaLSO+2N66lC2yC8ESvjLyOqhDW3ksdOmmfaDWZUPpGfO9AahWRO8MBuhhfSGUhOu9YB5iGi
TEKByOxT6qqD64JKL/fmOEvXdOG+UxuOK8f2gu9mJEUj10jfstGZey+PMZTyS/tiTQ4vWywjG9db
bUbFAnlf7zaR3poEODPWj6aId0mMQQa/W1Au1XGdkIEThnbPvY/tE0FVzKA2uzRhk6c21M7R8e08
uXyeJvtx7WbRlawrfRZ7V00zXwSLZ8jeqFI8sSRp8rwg9qXz+C5O9lwUs4VCq44C3sU7E9XAVOld
Jpm/AdvinPum+/UhLXJ3SZWAcgENmcTEHFD5iLnv3NYo81cmBu44uhGiHofp53egNSXC4hnExYXP
zecE3JzyZWi8dcirbmaU6bVkO0FcMNFE0BJfw3KMDpaoxdFFddPn2yr/VBabzLlevBP89mlcY2h3
oRbHaUhTIKHUQLMKklzRRW984mwCYWS1DI8mCXXiNhCLowLmVV72fJ30fJ7gU8waiAfdPZ8j2lG+
idPnpHstQ19ZtGf/08GYZAhbmHraK068WdMUIP5g20cpEQZTRYMuyeO3yg1KtHOh5Etw2iHMayLm
BkngUSZckbIrQtxL9VLI64QIRknVwTVFRcHZD0W1fSxgBv06Uic0BojAmHejAn1zLIjlKOnM9qqz
NAk4bS6ZOPIXPPolNvvW19LCHTI0kYiwVhC6gwR/lmmP2z6Ve64E/1IdWiz9oS9Pcflqcuo2z5lP
ah4rLtKsRFQTa8q948GQU6Sjlv8XS2e2pKq2bdEvMgKk9JUarDVNNV8IzXRRSo2gX38b+9yIEzvW
ycJUmMw5Rh+92K6T74pTjzOboMpDzd9jYlKDMWHU90MmWrbRqW8F3mlHGzB9g37Re3rvCWyxdXd6
1sQzNQ0RaAFGoXlng//GO9I/iK6EikBooaUwq7eW6r1a/8V+b1PE+7q4rVVLfsgLIOE7S6VliU47
+/DNE6f/5D6GqpLztNsTUL9bPjLvte1PbC2HD84WvNvJqFmCF9+vu51KUPNoxrWFPRPNwgmbozks
BNJ5FYv9N2/dNynGP8MU/14cyRw9Rp+gBc6gwl5XWxwOeI6E78J5Kb50z61xRuet+pAVSIQ8StQo
VNEEUgHo/1PsYTCStSFqUB7gwd2b5Uec7KLxS6UZPMWdoaJNo0KFMsKOPYGshgraugF3hyIJxiu9
nPBaiGZO91EZ/PeJA3XspKIJfULSjPrlK5qBcWhK+ZZgPVCvM1e4anuJmn+brWockzGG9d/byJXY
Z/FwftmwQgm7H1KLN5bJ1lhiC2tMz/OZB0Tv18JuYevXZC9wtod+V7vZKSOlDGHdSUinTyOLji5b
SskjwMM7us2Z2Drkms09vze9QywHr68A6UxYNZ5ooRWudKs8UR1Ld5aXuqvO7+sT18iI0l/ezYj4
Gtb08KePywRRMPAhm++4RDK5eIxPsZ+vyO9SdyBIdPjcjenaELo3z5aiBm3NSt+E/mVmcxwVX7tH
GdmskoNpmgHlJlvYHWGpqPeDeXzEA6sDCOKZybdqTvs99sseWy7qgfKehqDgVFzFmtzA1ozxK5Fh
zuE3nXNphPf1E+5xLHqVjLpfP4W+1tRbWfyK2lbrvubZ4x2umoqT48lA+r2WLOG5S7Ferrkk1ucr
bradZL0EJ6R1JZOXSpkvLzz1Jt/CZ6B0ntA58pP5KUKn6SFXlG/p5Yp4K1QETiviLpHcEuOpj9Fo
f11+ahEfs93N3fp117EXobkab2DQsDuKlzsqEOos/h1Wm6e2bOZGuKecZF6XMgQw3zfm7KSn9pv5
g6JsqhIp5OzQUr8XR+kX4gb9cBQjY2rwt7NgK1atNyPoprXb1Bfo9vk6NJjNJ3YlyiSqjWon9e6C
00uBsoy/4L+mpDhp8eXDuc8t/tSP6XSJDf8pRY0uB/RbcHAqZkh0x5Xd/SPDnHw2AfO6X5wWqy/h
Gw9tPpbYB5LufTo7f5ltvYvAE2JbFnyx9V6KXYQGtTGDdKVZz7kYEGGeVtesKdZfq0VywIyYqEgl
ho364J0qL+PD1YldkdJYXuWq3baGHO+nTktfMuLibz4peufuO3Jm0TIB/+uYczsl3MQiwWB3hdvz
AnNvIJfBbXajuMHPbmFqUMyiKceWeQxD/p6O984yVGNvThj1z+LlJHsgMgxomsRRKWoFQ2WWMVHJ
nWf4nSgW/84yO22PH0qljLu0izK3pni169j73B8MBdpsxwMg4ei2LHA7r+1SserKoSdIfqR7kU0D
mVk5FTDAvbHRnmRif4drncHuCeY9RnmmJJr8t6mn2MpU8ZU7NoBQqTpGBZ9Ah8SFdmkGfTdIPu67
NPHHew823VNxZF4K8S4a8f3nrXTyFLtZzp12WOdkOyfOAkyNqzpssMAfj69dKtlyb6mVk3fHgUOk
M0uqTGk5qq4YrTQt6CGmPWi/xMqSKdnpEsFM+BGS2amRBvxb7Ch3YXHN2bR/Xzy41UGNgzm7+8IG
ZYZqjH0g38S5OgSl64zpZfhL+bYqmCpY/A/OSDo3+x/SxlWaufybqnhQN4K60SunY+b0/H1Vfrmv
6DWJwNqS1wEFQBQseTRphpIcL6hpSsJuEFXmixjdkqj5a6QYTX8UHmPKzCwoQgfHsAgLlMzq5oeR
JgaPNm2T1paOSJcCh9hOTjhyxYN3jtufE6W4JEIhM+PLIDmIRXhBlWT3FAIInq+2zqdY/Cz04MVV
e+4K+f6Kf3osbvThIBfWeCzfaz0JVH0n9ueSnl6A2TbftkwyaWqLYJDWyWKZS7hVUxh8lopOd/MM
PtlByg51Q88/FFYm2ENLSRZtImWfPb2a6SxCx9bS6D3K5NI3m9nI9JgtPX2epPku638HkkpC4Yn9
vFlojzyGig8xZSWBHYwNtvi8H/bAN5yCGqb+/Ifn6oP/Z2sJEQZMiPdXKjQ85avCp4Hvgs6L2zDE
sK5mGMWJQ5Z1U/yIsVtFO1VkrAC/cLjzf3CF5zFVVSfWHn3uEzcQC45C5/FycWnLr2m3V8FN26/3
4oJR5lgyE3kFfFphYUqhUfRemh+kGF7frtG22WcfoeJSMHc2uoXTEtMwd3r5/GqXHKwfjsZyNdbn
tDWlbjOnfUyXnExKaOqdpchurqwb0e77a5uSZO1qQISlkysuD7gi2jnsSxY+p2CIhbYZKuYc6wvO
zMJbHOqZN4OkQhAH85L6rKbW7KDULvOAqgri7EtSA5SlT7zpsBKQalesobzZWmVP5yEjwsFsRFNO
rYaYjpfzofkSzSfIEkd4zvY9M6rWbBffYbpR002Y/BKRNB/dqDTHfjcnWBj+GPtIaS5KS4vYhzdZ
deonF1BnDgtMdLIH34ffHUpG9vJa4D9c8grkS158XMjbGTXM4L2HPQQsIfJUyBQ59goBbq5Su/zI
W2VgpaVuV3od1+PtyvLmqduMvPlNwFy+KA/7eXnrnpdSpeb6/LKjPGkVdZtKRmEg0i7Fz0FjckZF
uLhKMqM0Fvfb1fLagKhRM0uSfZEyXNkMmc3e1sdBNJZAOlN1Bx4JVN4QsTXtWfy/XIXiMPF6lBUY
sp5ZRIdCncPqps6WUEcB9hX4xD8KhdZxcdbueO2fpMiY42Y1zdXNJIU9iRjZIVPtrJ1zR0gZWQiJ
23YWxVsUBQslkN5WTUkDV6ZiPTo1OlY0NTteR91RtXngkru5zejWm++kA7cjOS1AVCRjccgeMxrL
nCHAxwt36p/qzw6AK8LxMTVpsxsF1BUEtTFH/gY8qClv3Hgx3yuDl+yGM7ccA6UMnixFcoKjIMfv
6s3PE4DMQqYKnUluptk10ATY0RpzjXdKMIGd5mvM44kafolTilbOMDaRjmW66YqprhRGtwV0KbyO
/Vwrgx5OBTHBRFRzhytGsn15S6ugLVcxP8BT04b/BMhyrHWCuNJsT9H0Hsx22PMksARYp9ULqJbr
8r9JlY4IjoH1im2WM/hJD6YQKpPY3ZZaGMEGbDt62q+J1fwrk1zMI2XJ/4W5poyvP6uEmeVnObMF
P30z9tGJr2wfeArNEGu5fCDe8MQSL00BDPokQlXgIaDwZ0LFo9yzeHa80CfIfmZnIOFj5MHretFu
Uu4rHrRXGIX8NkuXt0x/fRfISHgMD5Gqnxkj5T8DPQQRaCi+oiW0oRugLAyv6Pa8UV/B0S62j5yc
VXZ5ezPu6dy/6DYm4vUrmEiDuVE6L557QzUWt9YZp67dLn91KyU+plm+zOyafSWrx7iUd+BFAaiG
IeIz/f6NVgjR4ZymxA9DRTc0N4FOyVrfYzo7bmb+QHw6afOxV/ojtDcfQHWbbNstad+JWRzYTil0
Y7OGUvcPe35PpCI9k2jhfdzEH+1xk6BZ/gR09QzM3g6OFhVLs7ZE0pIwth7tDh5ssQlZyvwMbs4/
7+d2phEwbovvdT9uQtWXy3WdOfz43E/E5QjVc8ceJu+Ev6ZZHmR1VUjeKNrhZOxCSGFqCtfwK3lI
or04hJh38Ohcufgv2X/+QIhBss0sjw1uJFmEAghPLif5GShfu1V0iDzJU+4UZH8Kjt7O50x/7wm7
hrFibTJLm+hJLJEZreqDfebQOiq6bP3S+rXvVk4/GcjTWzcGYKK46kK45WDNcHP4jeejWYJJmXTg
Hi3hT/jHQ8FVSWjkon1xjPZsnbKPGoHK1Ei87m+AdEbiio2J8h1eoUf3VfELFP8MI4FaQjDOxYER
5dQsBuP9c+bTwmoww6Df10Gyf540rz49cRzj7UD9Qd5mE1MMyYYEitr6BMIxOsk+3dOtOlM+O/xo
QIwBf0YMot3g5LSYfM7ZIQkYErJ4Wz5l7TZMo36x9vxON7/RSbN1q7UWe3k7EfRDJnqmdtCm8QC/
RAnv05im/NZn2a7VxwDLloMGKltE/sTCDp3OU2jcgKz+G+BFDx5YjzOKx6W6p0wew4CTDOcALOVx
xQdzQFRBPvN0Z63EpUckBUVfEZPxgwl+9y/6SsjajH5UeGN0wprdkCVuZ2sZIlUX4Le+mU2z5iPp
WfeMvPPijnpgupjZTxbMbDzZhV1E0nF10yAcX0n7gHMM/6pYqtfIfm3pq+an4hheO6wG9Ku6A/rm
UJvCne8vUEOMX/8IKWYmy1NwAvGzCo/kHPr78dwtScTYzDbhbmRoNQ225KP6Ozgh1ssGW576JTGD
WSds9XM6NlAnGaybiZOXkMWerT6H2OldijfwOmAlptVzP/NbCwlFxq6XQSFPN1PokUsFVPtgoWsU
SBvYEtad4OrNDLSzhIkOappAmzcX55gYpcTWlspSg1/GJ1z314nkOH1sgVfuESZe6lVryYD1I/cf
o5DElG9AG460mtvE0p3qNQQy0odbU2FY87RTEngb0H/N/u2tGYqklbLnsAm/8iUPKasBUUt3n6Wm
eC4Yo71JpzqGfnSKJ4CufTxZQSeRzZQ17S02dAkvj2xVS9/OL63VXvnXUTM50zhXvcpucpbrdHNZ
A6b2TyNZm8vi9L7mdvT+rDxzMd1Ds2Giyo+Me20j/jCh2FBOHvWjvp2duGzMGm/DpZTM96WmFcX4
B+RPMlHFMbl7bzsbvWvLPxi6bvqv7KJ6c4cNcPX0qaiuwGPGpnQi0bhmZnaaTavBViA12BTbDDx7
yDkEvRt4qbIVCry07gDA+JoZbxsw0NHMN/olvNDRBdqJsfwFhnZupAdC4/0GKh8uPM2jW6PkEu3o
77kKHd3/5QgtV8QIm2Qqukw/jvpmfjhRBh8Ji1kQKsEUwGH4HvHUEN8KkOMgmXWo4nXcrio3ZggR
kyH69k7X3UeEEVZbgtPuyHphJEB9zzgWmoo1eNPsDLnVl0iA2tNiKGGMQbtqnfcu8RX39i92Q16L
azojCU8/KNaRyRg0xY4bNPBJSyvzRXfVmY2LchCdxXM1XVP4o/CYQPpthdMNkrD/3I3/2Ewg+qQ8
XNG+u58FC3joQNIMTNkeecTin3oZ2DY1U3HTAx0ZAK2KW9Q/kjjtp6O5gwNa5Yh27aAi4DC+lbGd
z+x+RbF9lHC0gDNJ2ELrn+D/LoVzz5iOUTfgBaPswp0vO3gs8Sa9zdGEbePDFNoue8Kdy4F7/F9M
rO8/Oh7knyLnl2LIR0E0FAH6mJlLvtBNRTsjkom/cIFpsIoZUywc0GpQbRnmpu7D1PsBFPbYJw/d
PVJ4CAkfhffKlJqr483/KLjkKT2Jx241O7FekWG0l+dFuIoHhJwAYKv0TCcABQYEm/h1Uztpbrxp
dx+88mSjWAKDTBzIHdzv2tS9bBf+5t/iP04As1k2d/0rW8PtdeTV3Ju35omzAY4FhHIzovSisTOa
QDdchEZAz+KhW3JeTCKWY7oXuP20+yiykIKjPhGA7dYIwo3XozvtGCmfKd2gsZBw3xDaCfeStLNV
vSWeUJnwa8XYN666LH5gmIF1FysJPzph+TyGG0QBsR3zU18UyiR/ImW6pna6X1jSHxQjXhP+Dv5B
BOUVOOblHlodN9v2y3z93I6nuZf89n7L+tyUf0iSyP4jWcmo1uN6jqyncelpjwUPlRRkJK8IzvyC
LsgSPBlpgAIBQqcUK0zem5uehuWNrTTz8V2NSEPT4MCDxVrfAJ0uFTfCvJ/R1TmO9a1gwb6DoBVZ
42CIAwqBiRzlCJSz59ku36NO2jOwBdlx5eWLGyO6Twqkz1p5UNjdUNpIQemXXwtXnFxlxlN4Tvez
wYQiZYtmOzdme4lkmJXmamvAVyMPMCVz4hPBWvQtBGulnhTM9jinLit3WHYn6jSH7WiLrIIJ9JNy
AViCz4JOcyWZzY+ame8vVGVsQV3wdqIQRRGZCT0cBeYrpuTyGwfmVN4LVR5/0Sq3wnLm98cYZQP/
o8qBDyXQd9DAsDBmAdIv52mNjwz75yXxWTb1JEyJj9uv1CWraVynPye449aVmbeTElJOPb9JDiFj
IVBA4/VTuQvrg6zpGh40q1rfWrhamft7I+/cHdfCEiIvw1cdWl//LTnLxEr33dypj0yud6idky0y
qud55uXr+V2yp3r4ZXLlSLyvLjwID1rqDat0leyKwh7/yRyTFNXJJUYllTL97lH5FKsZ8/gFS+AA
ZxnVEWUq1YsrXbO7BAePnYH6DUM4/UBQb/zIH9wnFZxuhfvJNE22GCQOnnwuLfAWm7PPI4Zhl7oz
RvvNj8DCWiCLgNKRmVMkbrGWHvPVsEo3GneP5uwkscgmvgJcBI/gq8trA9RmSYfOuKFEwwhKYaA3
paKpHntpIFgdSnRYHysmA+5oVjcx6L47e9rI6dMcbTXRD9ozunSEBf7sj0R2zoUHVY5Twf3ZzNwj
jNCTvOH7couUTT5kdxauDEPpzHlWvNBNKwydoPcH0nTVFhylh+xPvSDyTW/qMVqxrozOnVvdrfle
BM1BIboxsQZqd2OOzQ2sXN5LhXxsxuByLXgJRxLqSxR3xxc8esbAhLSBoqDDGs1SJ7jLeVGQP4Sz
iprzofIIkMIGjDjQEWyxsBFYA0yBNRx0n50pdKb4XbdWaIzfr+9ZIFR+jWYFsTqEzbchw29BWAEc
GzLmljCjxOYRld2u2WQFH6XdvV5WrpnYoH3MNy6vZB0a9TZevsCYvtKFVR3i9ylmXn5Q2LK/Zeaa
HwNy+DyBj2O1nRcu3FCxZSr1aMnVqUDCEWFAF4Sl+TGF2F7gMomhCXsRdaFu1vJKX9zfHDdfarsX
bw0fI7EKbKdpDyryPqy57oVGGLmUoD0lNDgsY2sGQoQYzuzpbMbIDIHY0+GLuHF00zbREexETsqf
AjEkMZLWGuDH4e7BSUUeDU/pZ0rsYe33vPXYKiCjJKbA/XyDYZxAR+TeLCsMrqz4UGzEf/rvkys6
RdeVX+oFiHYV/VEX1TQcf/x+etAls6cmpQGFlX8genTDl3tpFfd3EQErErlwm2WnpnWe72P4dmTp
m3wFHFytQvCUzMO9nZi7+KC4SDShLlZ/cX/QGReGR2qVkUpcTk99uE3e53mOnMciA4XeamS9JqG5
gG1WbfJqV9Um3158vGxuYTykSpPWHkN8yriUf7xIGj1kzb6geyC6EJJZA5IacLZrmTevv9CzokYN
t+F4nEF9QABdbufSFAdIaztHVUV3yz9QLMmobwMFrQO5g1SG38+K2kL8F038wRV8hWiXxCdm+V8f
5rwLFGLF6i2CyZHmYuhwGJ77z7I5SwRmv19HibCXYtfOnHeLef1Rf+8kmfYLC4TZz0wzy8aTBHfx
sp4dMwQAbTN+uovnUi/3Ba24bBNaw3frSyvbImoUaEfFsm/xtbNzZJ7VThiPRIqVQCOiS1BiM7O5
XWQeDq3PuljMbI3xdrL+fGxWVJMj0WMKZMxjJhnM60zi8yqWbrmdKeA5K6XcjXyI96ZcbMPI7hBj
XSLKSDJka19pjTlJSs7UCs5OEVGTqV3Bjv6JCPP7jSlF109cKYwSn/WfjNPGZwmdQK2AVwAyhJR3
zYj5A4OELrfxQo/jwr6VPuBv5P/yuIHkSBvwS7ezIx/akJ9a7c+kAH+6dJ+Ioxh2rqY/uZclU/jN
VrNH5FNeHqSgXoHrwKHrHelQeECPp/c2PzdnSghPzs32wvvVV+EfcGn5AOKLrZ1qzFwcgAyi1ehk
o3WHG7kH+sWGITuZv/jJcqxv7KfPmRxxwoXYVIIN73MeQvm3+BZdQJp1enxUtrrFug0BHmfm+z5j
m3xOH4owkAEfi3rX3D4QkakyxiwQqfJvPF8fGwim3YWXqLO5EdO5oJ/fPlR+QPxjBTvw2PxEvzUJ
npNSmOAvkn6qAuUnshF0L4X7kQ2O6YEhToFSgNrD417D+KH0V6l0dK+gpKVc4S09rd7nAdwzsUkN
ZV3RKMRMqH+vkdmtiwAtNIUmY+PQGWmFGIlCkWdOhwFzbI9uyTneuWifHD7R2yEH9o1sEySYWXhn
lEfelDluU/OYLluwEHAtG8QEtvEMzGJ6ufdS34zX0AxiL9/wXPcr5rB2vqZBogBXjy+79+GK8zKT
NgvUyE0N+FrRDUWBNR2lk/0C8bGlVXYIFNJVuoAf2FLTZ9a1Yb3MHeqO/VzgxJvfi0Cyyz+FjW22
fgUaaxDAitb/sxl+O1ATegsFusbbLbjIjsAJSh4bjsAdYlFSTR9Ph/7FGMirXDBq/cfVOGJ7gpa0
PRenp9NCoJq8YokzJCYhthEbCqt2m1kL6PmjowYTeS9GKyemFr0Kpcc2OkpX9GaqjQ3rF/ycdR8Z
SC1qyGxUbtERB7x8r9+HY7vjaGDfr8lrtQeOFXN4mWRgDgQlWFJQbBQzPIekrg5O6WuUNf+gAbDa
vj94oaxRF8qRUQOMM/zCyLj4jZBep0zSiF8kziENijXq25kfB5XbmDVAHwXV+Ii2LXHiZ47r9Gd8
0CqShNodpuqVccB17te/LXgqt9FQD/qh9XK0Ig3qiOzwQi1bWZPuMw84zS4YIHD7KIVW8lpfzzwq
nF2+zosDS5Ss3PyU0rtndvNY0BJOrTe9dfaX6xZHaMKHijefABwn/Rf5XILv+WUR6F7vp154nlvX
zx4gDUELbZ5ZAadCsL0ru2GZ/1A0cPPJ6gp464t/+mXm8jD+0AjY0nf5VdzSDVPRtQjz9zTanBxB
t+/9fPP0Q0/9orBidac2hTvtrXjVBiOWDQVCwpZU7W8VFuGt+m7+vehzaD2ADAOZd9WDH+wjH5x2
Sy2zpXOndqeRGSes4h1b8i/Ns1N4cDEAh+i4KqT51GrIKZUr4wnhnpK4MOUuxDbKYAra9IfnKaSA
zSz5nP+M6+wSnkXFStG21rQLuNoc3hRsEaXqkVf8CWlw0Sq0frwsGjPBiMStiCt+Gf0qupCaXf6G
yAQgCzZW+r3AhgBd9EWBiHNp/jGGCERgKzZlzaTOp4j1Z2t+6NqY4BYwdOm3vZqX1FyEa6SzWRQC
RwmQQnYYBSzZIvSFNV+gzSjcytVGmMD9nbVcMyY7TaX/u10uBvN/Xym36h3N8k+7/fw0Ac3BLj7U
K04WUAPgCpUNtaVn6Y/zGdiHFkzbaZ2ZvNb8XFD/Jl8TvFC5/R3KRZB7i6BmS2vLKZZaBTAqziNj
mKOCm/PCBZ4IQFGIW7corE+UngOfKPo3h5EMuRWnF/pOBFSzlbrhva+hQU3uCANKB56E1Kzvg1ce
0YI65AMj1FmxrH8iUwsEwFVAIJg3/5Xe1GD1V7tTl+XUmMCLueZuhEdCuk7XzYlNXEMjyrjw+Dmx
N34p/9oVrThAW35r/cW/pz9c4O/bpTXavTUA8xtXUnG96BjvPydWL+OIpfQAyKEiLBh7ANGEl5pU
v030CL/Ur8r+BKOtCNuR/HecnsBcmFif2/tstYwpxJt94qSuepiLtkIZvhU8kFL484VxKsxuMOeH
LDVpZcarGHrlFDhcnjFYqH51G8uM8i7+lUsk+YPnsX1EW4Vd2dQAL3Sjv7/PjCOeVAb0GZvX4XMC
L7AFD+Uah9H6xTlafuW3T8Cx90bjzubBsfQ8znY8ZjPGvmfEnG75pQU1t4JtSUstgrJ5QC4JSnMO
uH136s/QaL/6ZWj+g1dyKAl5bE0eIvaQ8GO9lwNLilMIt7fMqbf0ficacJha5uvE25JOESF937zH
kLWzZWA7+Jps9cv3mQak4qxmcQFqnObnjqkdoYxusS/eezzuVFxi4uAFJWBGs2I8sUnf1kBmC3cg
IEE/hobuUGyY9P8LKAebxV90ZLmxnTJ2j2DCP7SHchqbnfCVoHkGIP81tcRsNkhQBecDmARdc89m
bTIRB+MjANYVzVNiSX57lnxmaN9aQNe2JnJ4ss7ZYhNk8AurBbARcy8zvY32bA9FbTvRojL3RfdI
549JH9iDR2g2CSvivncqdtkaReSkjp1dm7W6jJflV7zR3MhMUbDVS04gafe6shD42xCqDgjCuC73
N6wmdPOfm2Tnwf8+Wx5Ip4zLHh4ijPRO4A1shqzy/KT50Z3jjAOS5UEJxH/AEVh6p+w880FG2IvT
R+Z8OCy/dDjCH2OqzAOKkyVfx3Ag2SDMyzY8oRtlB5hx1Dbg8SEYV2+FQKYE3ToNY/q1uJ+tw+0L
7NKRTrLTr9ju9F/FlfY0urQ3cw7UBmUaB+WSwZQrBu8LICTwR+/XAhEF9LWgpBfAczu5Dqvz3HeR
eoXsFQOKNj7ifCmfx01+aG7Fh6BZs/qXM+3ZT3YpIV654n64PNl3AupUCgX9VwYRWaBpKC4lH6Zy
R/fN0EVk09Jp3v+QSK5GZ5KSa7vYhpWOJQzJ9jYI0wgyppucplQlmgs0ZCWWvMzNzxFthlWZH4oi
HU2h6OvsVlC095kzncD4fUEB4sf5UyTvvs0Lz+FyvlTB/2bTKeks9vTyG7x1MIRBieu052RSFvJX
AA1ZEwWax3YJFWYp0kwLl+jrTZXsyF/FvX6Bsw87hnbsznRAs3UJEPu2lBMlpfGCFQfk/N8pjDmk
pRI9DnLD8bC6gURAQsZmDmhGvQMRPaHFHXIvwsvBt9XLJxgoI+bLdqvTRerbxIcCYY6PdsuJ8kUC
vM8ffXGQ2um/Cdeko+dt1qAUB2pf9wPwF1ELNpeUnmSdAUezXadrZK1zMKQjhyfHKo6ejnqn2lrO
LPnQBjo1SAbKiG8Nz0BZBXq+foNTPNLqABSRaqb20Hm4Rqsmjx32SmLSpdKGgutnPawEB2pkTVcK
omlXXnICs2W4wbB3AdJPB22H55vilhcQAcDUDhztYzd7ADpK1Zx5tzH+Eiv72aJQGSiiURSIfo17
j7fYQZwC6kY2OZ/0rOFm4VMmpm7hAogkRzbcKzSpX8Gd8PniErvxCfiLykmG3LYrQTYtOv/Unll/
MH+1aVtNoWtR5ehwGOAt2q99csH14AOwjSQLTaT8y2acUXRpwRlsZsNUhdJ3fh6Mt6tYuM7aks25
B1IOTcVDOJ0ZmoWT2WTBT71cTRQyq4E84VEnNhQxissGXKwLbvPQUjBkkSUCjHywdTbzaJtJlgLR
LrGyxM6bXbD4LjV3TLxoYeit9VRWQ2KjzO9BUS4yhXfJoHrhTmMCJGLmKT5EIFA5IcSIXmDuvdyo
voKKELgu4MqTmMQrPX3lbVbfHVMvRPU7UbdAr+TI7fJAiK0MzPMFP2EJbCAOFhhJvInYdi7qdn5k
1ui88SqHf7tTjwDujmqww2GTuuLguT4dlNKMFgHxjFPuvpdPh2Kw2AiXt5Vd9QsQwwTCTekF1Y1N
RZmGBCpI1YTrZ2bXGcx6kScw9/nYKlVgzZFLudlRgv5nnLL54Lpy/PC8Ypd4EwFIRLtzIydeadbM
Etnemu8nh0NzbmDd0TFra3ZDetbnln2E1jT/rojv5cGFFkE5L3jhgckGZah+IcOH85z1pJBxwO6D
BcgkTOZj0HJYrzUDEW/xRY1gDisGS9zvnu1huzgKe9Uet9GZNUkdBBPiyBtZTqsZJQFSvEm1wnOn
bt545OEnzrIE+6SFSFWzoHJlHHfWqYglq2txcGL4wBbMB4PAaKUnTn/hDizY35HU4xNaeRSnn7cB
vtRNQCUMHuB67mDJcKd1hJ26mgS/WCr4BUcae+cIBFlsJAaAc+rQ98x8WowTlu+5xe0Of6eHF3Xi
23m9eSBMIJPh147x7TQHJKrTer9yhwC/xn/Fd/xNa8NN/q395NoECh3hNqLdmqZtKmbh2NxgRBTb
Lw5VmMY0pyipcA9Ertv9XvrJIURkH83XKmTHo0J7dki26tlsj6S/gg4mf8XHDrfygj2tdyIXOSdC
B+QQDAB1g13oxE1zZusEna55i4Pu9Dlll+e1XzEkhGvqjP/mjrCSHRqYGyiauv3sUawwWpyf55iL
Ab5y6xX4SkgOGFQxlf3WuYKAJJ19m4Z/i2tDZdFhJGfUF/awHkAgcyRG19unM/XjMzdzaJPYvHr6
QcZ3OIdIvgGi7/T9RBGgH//Wkev3VkDruOeSW5r7wU+iZNP4m2+hcUFiXhACbNXs//T7mTMsGSZC
ieIEe7FzE2O5fJ1kSOmU+u2qAa6nTKP35njeA6nVfGlA9C3guchsjo4Adf+dAcT67XmJRamW/IbL
1geuopAcGUDU07gkwaFtxbnVc3RZM1dY6exyfLwdNz9Q1vVKPqbf/YXHxaJ+Fc7FDw3iv35VfE9s
GPD1L82f+awRZxEAbk6jjM6DBsXIeWbDmwVVwimW6TL8RRr5aU/qnL8SjF8+FL/pf9Ky6bhR2PMZ
QhxZXYPVflVmeWbtWTxdePfgK2kWa0p66vE0qHiYEZ4CUT+t17esMXvu1p1ZbJjvLLi1ExFEJhxe
hTairGfr0bZPER127U2GFDrVHZxW62NP8z0G2w4nOZhEYdMMbabBgA66kaManGabEkusZDOb6otm
kx4AS+fkQPA9fmfCcG7E/Sz1r8Jr2XXli8iN8NVlCL5Gq0s9xLQZoSJZ9m6I1DLDDYoFwUhvUsrw
iN2qVfK98BikoGjOtvT0cspkAa+gJbO9jgpqts/8ZCV/SS3+zAK1x5FLD7Pm0VvCi+OdntNGlIoY
MtD+FNpu7t00j0FOelhQC52AXoOPeWNB4TsUWdJp8PGtMFTS0mYHyBQVE2aVSU23HsA1KF9p4LVd
hbC4B/dcgR+tPoD/nMM6lUTlUmksJdRC/799IevS3XDdwg9lgOwstogyXXzAzsqOKZhufNbAsvwa
0M4OvzpbPDUH4NOMYXhqTC3JSSdScKo2u296WIfCNsis1OtuE62mC3BJxSWBQd6JeoR6HAoIg+b6
Kz2IAS5T1uvcedqpOS/s9peh765C+PHefczJxoYNx4vXwETR24jdYv2+z2ETfL7zDX8eSjU3jCVv
xMgbEO0qVjk1XoAYDAQBq7AjGZYps/bQnjlYFE1+e0w7f+Rz8vuh2ayt9x83wYh/hNIC6MPhND0V
p+E+Kx0u0HBuQOn+j7DzWlJd3bL0q1TUdRMtjFxHV1/IOwTCww2Bd8IIJAQ8fX8zd190VVRUxYlz
zo69VmaS0v9PM+YYYx4tFYOLmmDdO0cgEATz14iESqC+ATc/mfDATCvhDfab/oX7WNkNwGGYd8MT
JBZYed++6sIpe8C7aw9M+5Cc91rCTnbk8BHTJhL4bXUckBxjPveIvDqrOFoS/LUNtIuQKQpYP5UY
y8SB23/2nDtmZm/mT4ACAV1orID61KM/kIbpats+EcVe7pGynaIdihB0VUtG5LxSyndm4WEFRb+7
DDiIVkFeooZ1fow32xGTLr37//BPnS+Bg/JyipAF5vRLtOCgSrKVHS8r5mCRoJSYgVjTpi/BnLDg
YbniY4OCQSU+yyhhewZvgBkpDaUMYBjblbYL7pLQfoM+jBCqc372BT4zFRl2YqB9nqBswzCQzuBi
Tc42/xqvO2tL7Zrth5R+MZb45y64F7cnIlXNKbvPbhR9nVRKwyyrrAmdlBXvGT8ygyV8h+BVCgAU
c2fwWEHd9cj0c2Y5ONOvKmJ2c48zs1UNxw8QrnN0trh5ZnYcVIwsXwmEYWvONRwfrX0QTCYG4u2L
FeRjSKz8p0B7dmBcCUWASBvtAXLdfUEbc6CI4RK3YMVARSWBcr9RP8Md+QbwDdl0m6dpKuVmbfGx
g/2J5vIYZdstZW+vCE7C2OB7UWnaY4jRRIyrt5ySt4Sh6PD/0TCtHTfaY8PlZnixkBhp6O1zjHjD
fo2qcJWnD4sHMwSO2irWuMYNE/T9HlI1+lovn7RplE62mmrO1Eqio4XV19fiF21RATyt+W0FNWwO
vZ9emyRKpdff7D7I4u7k8qu9k+KQaV7yid5R7bnfJE1OIz5SagQ5XIELqBUYJnN/8B2Ky4718mgN
fbh3DBy5KY9Yvh7vzUCoAjb9vQLTSLNStxGlKS/GTqt+7n7GYExOPTrYY+rTs7VKacFCfq+CIzFW
kpaDPz/HHCyMQqJwbvh0pUgcrE3lJIaVDnMIowC7IF8ZJSEImK2ileediHsRFcCFHlbcElcGP7zi
2Ffez+/TIsyXkA86iToZMylJVivYwD5P5+8TvBye5kpOXZQasHvSaJ89eAmkm4h/FImm4prWLM5Q
2dgARMeAJ5yxYBYHRku3HNrZW/TZYeTHaxv/3PQezse8QLH2s3jj1E7W/OsxeDkluZXM3XOgOHCt
AppqxJrcCMxo4pi85IKlc01IKMyghy5JY+oPdmcn7E/nadte4QAh96nE8XDLX4uH43nqM3N6B5tN
koyHNT44eBjJaQ44uTeK5ysIDxgP9y1ascSdjGivbFYkQ5Kz+rsLZMY+MyQ2ptFSm/Ymsdz0y18x
4nEw5NNwX3N/O9G6y66THZzInU6T1B3v93irnkPVIovCp0gjO8M8DN+Qs91IgASwj7IeTO56pUNc
vlh7iDLWmBdgu5AmuL5uGoz3ELUwCGCGD8smx4qO+t7e4j5bCageLv908BTUVmfUB9eK7gmHoGmv
ohvNVcotPnhFzHNABuAHEWeyn8yf1nAcTDrd2exu9Xqhd7cm2+wbDNNkwzGIrqTgCoclFIooe2t3
JgJlNoWcrMV6jYkAAn6Evw5gMtzbmMWiful1WWxaWDNi2jbbmn21n21L7zRpA5wBX3ggTkhkcZiB
d6Y7IMGhStTTrYXqsbXnnXwctidEkHr5vh3/nGDrBdimwvQ4djW3ATOE4NngpEh8AHvguCCqBSrs
4wPpHIZcDaEDcaDk5B9Ihbm9vVqznjc69344kegBdQk/UEWEiisUcGhlz3RLi55hG0rQIB+98YfR
h+fk4ajO0b9AU+hg+SVri6k16qBmggWiz4jDjxnF2RrCfgZV+BNY8Taw4cSVILRQoqMEY4Kv4K6f
bltM6x6YnUETsBsOYNsBCs9pKBfx2qPqwKq/Rat5Y6RC7vAg0PLuQJ4nAMF0djQM11BWuFGfcB6o
3aCgbiDiUYVGQUAPin8p//WZj+BEzEneKxbIC5BZagdtyyH2Dtkq27a2/CHsE7qw+GmNmWzTF31Z
lMkgkM+ghbelXQANnjzDjBuW832lKz4KZzg7+8EQ3JaD5GRDLqowSXPoBNSOkVBn+tJCtTOaL3R9
yyZjWcawxFmNocTJvwJifgJMTs4OHh7xw2vtvBF8e6sP7SsTFfKb/cJ9N+H628mULOyp7jKBuwbX
R8LTDQxr2u9jZNvVnCckAVixKD3HbO1J0gAMBFoKhxu6X/8zlzAxTNmHijEMX6+63EPi3s2Ge1Hw
IOe5pfS4JkgGcGv6UJmjxeBb29zulPU3WERrqeTg8aptJ7Th/F152n3/bo9CfwoLxnHtaA/909aH
rLPZR2npUluESSL1zwtS5pwkBDDs8eifFkQaw7KD7WHPmbHIXUXAJ4ygN/Or4THiKr3pxR4cHYqk
EqvqOfvassrOiCKSSIcVZ0CS09PuxA/araY7PEbf9dcakk+XAu2bzjBKJW2Zi9WTnAzrBKDwiL01
3QGEyRajnHtInXUK3/yIB9z/52DOmQLL0HAi0dOLveFhM25/UzJN3XEQdFLpzIibLLb2i4blp/zS
HCx7la5WETl9vyWwT3jd/iKOKVsqazhkrRjr5MG4vDgYQ5/hJnIcadeA9M8Ax38j3yB4sJg1rnAF
jqlTgqzbNZFhsxoVD42aMC+WDeBxPczEOLUQynBa/tqYc6DOYO5cWfcptXL26Jbd5VSb4tECrGh4
q6ZN053YqyEZ+JhO/Tdnetd/cBV/dkR/BtoeczTwx+bBoyK0pif7yxmk4HWm000fbzKij7WZGlZE
Ba84Y2bd9TTbsrLeygI7kmQrYXZDV6cLtyH9DSTrUtla89VqDDDX7hN02N7U5en7++0rqLGKsZ1Z
T9juI0+3Zlg3rHhw2y0T5ZDiSXIhN2s7ycNJnIFugHnCFiNaSgb74qekRMRUxgpdXMcRW3GIOBfR
aTZOC2J/5XDaWo69d7DhAm5kwwESNWuCjRMeUbgiyyP9e5eQltF+U2Jk2dvrZKVEavnFCBariFAR
bre15bjTuRsJH/JqxQEHeEwloDJ9i7ZOrODC//MwQdmIiL9JSngkuAJB9QQwdDHAHejSmB0j2Ax+
Cc+zTQqHOPX4i2iQgJIxJSe7YTgI11iOmM6vm93YgPAOGcIgS3kBcs5ggMLf2Lz3jYV2QClqMcYU
kgBGtNmjbeu90+oEtiHexznG1h0Pk+MuQ1wASJrlhv+mbT5SBR+DD5SGKrjNdOdEdY65ucPAB0vX
Y7+9UXu/XmvQ5L4jgO/gMH1hSE0EPg+ocTIUi1Eryd2D154fgJpBcM/QUaupUEY11pTSnXMr6fNA
MelEcRBkmwT2ncUe53Sa0qYguZhKLgewFakJ3VdyhrXOrfhaE72nfWmqt0y3gM49tV9MmdfFbfcG
vMt6gVhBV+SfILfmEYU0T/wwUJg+8ctvzoBIT6BYqybkA+JxyXCHIcEHBAiaaRwnEWSHDHco+AWC
ZzbJY3hCa2272jT3aS5wmRuofXyjEzlw4JRYO1JNRGBgXSR5zic9HlgHJRNHjcjD9hHv6+ckF2Et
qPBsH0CkXej/cGUwpSbEgFIBTzS4sWfsnztUKMWanI0d6dulo+fCB4AHXG3mmaxZ50iwVqPOmsO3
gxdkXIa/WQeuz/CW29h1KgMdOQFKOb4lusWD/YK6wOAohUruQm9lgL9q+Cf+1Afi6rUzaF1t5ktn
PtOUops3Iwx4ODekelTPOGU0EWXBd8dlkE6FKTzwVqdLmTFkr4GOfffsJxZUMOO3+h994QOC+fEb
n+gMHs7IEc3gBwuu+IYdJk26ygBzDZOUqeJ7x9D7fJncyxifM+DyH4YTcEyyes1A/NGRX4F6qOkd
CEyCOt50WyGxq2HNB6NB21HJdQhDpd12VabO/uYQPkGvEyhVXTYZOj+oJQysrPZQl7mOjbZu+8Fu
Fey0GOWD314oOnxXBP1QQwKxkaoB8dU+7TU2KXnIIWn2fn0OShUfP3gwWF/MvBrBm30fhJul3Zw/
OGfdmmGYEi/TXE+aDevSxBOwfEMDpyKeQCmsEwziDzSz6vzmiw2oWEM/sQSFY9LlbtlMi4OSM2Cy
ZJvpAC1y4T6wExBXW9OaXNYFRu0tvKig00BvklXFLNTxCqo+bGkFcYIsXJtOOT/6xuBw8m6+Mi0w
u2D3AtdvqGBn0T30bjuZWDwoBjnrCTNxe8gw9tpjBgBK1hlS/kLwIRKNyRSU8gpMx8/qDCnkPnyL
Fu64MHSwNBhcfN1h+Fp/ajyi/QLjg3vADB8aVnmJtZNXYQ/BaqUn0tS9etjfHp6BpKJr7jRP2pXH
glMCu0Zh2HboE8kXVKYgY4F8yrzbmULlio+SjYPXkCxF9rh0wQcIxcyuuxBW4bcQ1QlsOF7CVqan
5oS3vNxabmsGaZ5Bjc9InM0rEAdkQwVnekLcPm3OsQwMXuF78AIyZpQ2Xsaf7tfCCY8BYSt4d6+e
CTTQwFj86RWwglTo9k/qZmDTAO47qBfTIsYwJ2CDnzv+TnN+pTelifTavE5Lw27KO2xR+k2EC6GB
a9Es8o+2UCCGb9Kcig25EIKWMd2a950xVbRWXA9eoFiKnajE8ZTw+SA9ZkUh0zTaauoFYteqeoqZ
UIKfZvIE7gsvWLJBBegyY6TMprUsvCs047ujrcuuGXItB0RpaCWd4DKrRgdAAaLpwddMmPv2bW92
ywmDZkB49NyMZItNYwFnRMj1vGuKuNawU1JCo1sMH4PcPTlx6eT9LxkS2Jm5GzuqIpzDnBNkhc/i
Q+d/t4veOy1G8DGUJOKhR/Ua0oMZPrrwtOmWIbe9hemT+xpO/dz05YA/hHLFbHhXT2/dskMD+gpU
54TkbyRG94WvGF4Dd1VG/wnJZKAKSWXRWSjY7Gtdc05dYj1Arc1IpY0+p42FsgGuBYirTP9TO+jA
YHAqHWi8ckJCWITQAy7ocgYfrOgn1AUmeqEygvjv5DQOSAs5xCA75EjUQ1R5q0b3+QdItLs5tgo2
OuEnZHTA6SdiPAjqkgW/AYEfuVNrc9vLgFtyhUC19fAElQACyaoKTQLwz89jY9sefHGWERD6vDgM
wV/pN2nU2tHYnKMCRtij+6Dberhfvd02yFvLgTBJjQqUG9xJh0EVP8edoMw66H2OExhGaCJgyDiI
ppooEUkkB1kQsX74LAbkIOjOWadWwpcIOAv5Au/vOmnhikbVhb9B7w8EXD8iGTVSdVCQnACct0+n
9O4A2ZfeIzvrXmNf+ozE3N9Ei5kawpmSpF4ykldDfAkjFlP0z6iK2NBjfyZV+F6Y1HxInNo462FX
jr+49QHEBIZ3cKmIyS9kQsw9qNQY+GcsbsEbmJKQprbZIzLH0K043T5JsIjNRFl00jp4jqmISyiw
JP0u50mftyAfCXjxiN4/2vxDaSOZwrFo0iR8xFDWT0zJXpIzOoQ3Be7poY/5sktYTbiAILoPSg1s
oiFW2GOodGFnyJgI9oFdYsIw51OAAAOoZobH14FTtYbQlDU6uXuytE5oYRDp/DMfg7Y7Ku0I1iKQ
ejHvwCwiN9BNs3wOpgqCWeGqTPEEoD5Na7/wjVBocOY+2ZGZnd20TtjRA6QGXAeKWoQPsDhluExa
nHYAN1Y80KzgP8juBmDvtmvEX95wk/N/D2HgxvL73BMzY3LI1Q0uTgwvmh5rya177Cqe0nJwXJS+
wPKX4cMnr5YDPbqG58nP10J2XjEvaUOYApukk4DCAjoGFMurf67OOOegaaZCpR0AKgYcDvihzIIu
VPwyM78427cDXEGVJEKhyuIVQZi5MlfipAGm3fuv5LjCkoLokq8qD/kfzlpYYi9+mQxc0AARy/Vu
jdAOTG/8hbRLkpoA8uyoouiVBm1Ecr9UC69kiCncrk0dfhaUBtgqv/0KbFH0OXTVtCanTYlJMbS5
N62nwcN5prdIEtUQbyMehQyntWFjh1TKtFqbysNZyL6ANfaRW/NL8no3ZRdOyZrPDoUFrKHUIGg+
JyvULsydblGxvfabkbkwhpcR4lGHI9HsPhZ1IIQUVCdQfGjsDj0MQaN7n2HBlTNBbQPUCHnFywP+
1XLWFtI+gcvstogdNHdZB5lydeYzPKyP//5wskXrd2faVk+vtPofC50UPJUz6y/67CX9oK5iyszz
fg0vs9eQLO+DIQEa3gEvGhDKngeIhCqRY9vc/jP9ekYtuMQHRnda8FnUND2NbodtRznpGjdrEcQB
lPeVOMKnb1SEDR4BWhVIDcln/8aXakNDvyUxOpO3B4AHWeP48DTye5TDw3aPBIqLx4aokCknehyp
vmjJIA/T//hUn/sCMxMGul9ypKSeZwpKeiGvUHkds1bMsliWuPSOTwjUOINDIOUvPwaMKqgRpMZm
72RUDFcaBRxY6G368037F3zhhVpTzau28DHolh5RATIulp24m/oX6FzHrgqf7B6OzzxQFcoR/SdE
AcYPDrNm7wIU4C9HOumA50ZFX2eCdAijIH0I0Zf6gAoCjzWwKmMNSeHtjq893jX3XaYlAms0+/f4
6Ylyb44vUQh2FFPMcK0qiu6cHuK+htWCmi1pDx6uzN/FNj/Al5BQbYBk/4Ce/9E4NUHiObBAGIc1
zNfwPnlSA97GfGZfErGwxpGMuYq1f3t398AUgIKkv0GTD6udpSCEfaF23t39A9ksKjjOBQ71iBpv
yAxuAFX6h9m+Eh/dMxU/XsS+bgF08kGYGnwJ1PAmUMGiND0QSU8MUDsL0XKNryM2upGUPj2eEv3U
K8bgkyfGSDT4QMYonHz6yYQ1jUohXgZMTORHH+nakJiNFSrmkkVO1p2nB6l0Jh+VubQhM0f6pOsh
uVLdwKxCf+ndFvh28Lsu42KLFEkZdQyrQXx5SfsgFEr+4uqXGT1o4Y+4xZjt5hpUhFfvfXPTAmVZ
I4KE/NRnS0QZbCtDBHSHpoLol/MDUcaEXhovDV9n7RBCEN3R8ATGL1ILkWJfCXW192oBD7ycJ/FP
FpC1YjycCL1AmGCZ19CtEySNwr0jHeu/sHYEAlQzbOZxCNScmnUAdxnYv+3BYSyeDiGWXujk9fTo
nPDEFCIjTl3pg0lUfnUuCQlirbpwh0LCeoSRTHjqHvwm9+cLU+1L0Cwcjn2LOvKGjNnA9BhBLA3Z
xLS/oJYjjfTI6DRkqQkM+VeCAoCR/rEnuwEbO9AuYu61b7AOI9+DTBLeuAqs8/A6G6OCGYQ+4BI2
+NmV92YdT8jHxkaXkxUa/SU+GNimYW1sYirhX90asiFSRxKc6WJbEbYZ+40+yKxCRpYThDaza0j3
kdTOc68vtBafuOqq69/aHOCehmtCcy3XV9YBGfjdYmZCJD5hR38Y323M9+3P+tYzwj8dBbaQOPhg
SoJhC2YtIxPbGOQ309Ycdox7GJV7Iesh3s0+H7c4+doI84T1O76tJenKlSBEHxfcZcDUZoqN35Lv
xv9UMJRj/omRbGtz53s1B4813Ad7xcxJOj9aYJzsmZtI/fPrm0AbAh62OtBQdAxGjsKLO3TPpbWD
qJf9s1QN5hOrmLtUeWaSIXEjCcgaC5YxgVcCD9BCAcSiS6WYX1qbE7ijsslXrHzFp3mJIAcmW3Zm
UMmAHISXKmFFnzDgRkKNBbH5Zsc20xqJQUtodRtxR8AXn7oB3QB8HUosddO2kK18KUyAMiEb9ono
K3jJTjUl1HNnKUp7yCCAXNlxgqsqUB/IO4OwI+nYTRkOTfEJ5VHAbM7ObN+g5SCQIJ1mBMHK7ODe
+wa4PCFOweDlRyHQmkJgbvHMtHEVmb1H+E7efTEmBUig/yLYs7vp6XXSAwO3lQKw8eY3kLLw6f02
lA44Zjh/A1lmun9eviy+IcVMHiBqdItA6x/CmdhZ5njWL+hSencArmVPVkucHDiQ6wYhBz8lB7NN
t4mrpsJ0CZIolRdduIFNb4s3iljWLxdHBNcih/6xPPWPhkqWXrovoPF/plw0MwT30xpCmiV+DHKO
Mkh/T1awBfje4EHaifhffrLmdZgktucVGwM6jH54W1RR1y37hkCvlmyp+q7w/uYclHB60IikKxZL
uuW8hFUmywvY+OW9MdoV0o86Z/KrpPnsOwA65vQcKVq//ofEm9tjalhas/TAVBACGK4DYyHMMhza
EtUFfkuVkHEs7T6BWcjNDV4IPzF4wSi7mOzmQ+jAJHyjp58A4qf/ZRbJFtFhMYPUIJQ/BoC6gmk8
9TUHExoDe4V9zuaDSmuuWGB0vGtAUq41NHfploEaO4OaFVn5TGWqsp932s7rQGcMr4nKdKVnJYzW
k72c98EG8Y0wkxNFglyW7yfA8K72W/KeYgdFLMxryp4tr3D1YPfAvubwlH6d3AZmdLAzFRScpt/5
TZjXgJfzS4VQLOzJdQXeyFm6kbRAC9t9mp5z94YYF1SWuSdNp5SC0u3fhxi/k/m+DOKEbnWz9xMl
Eq4ndU1kxG2baRH6GP4QMk122rNCFEd4YDjr3n+vKKnjj1/wZZVtcAqZKMOD5WB+I+BO2JortpBR
uIt6BEkjnC4UWw9nn3Y2D16onskLPThj8PPsDduFnveLVQV7/EIyC4vbp03gH2ZRS+ZgiMuYyuKg
hEs5y7D6QjvUspaswUGywZeBCcBoRzhl7zpDBHyMNcT7pk7ojTSvSDDAQSecpUvQVGzg4E9dnIyh
YsK+oIwyc0D17v5gVZHu/O34GzbpNp6AFbAcxOn7UMJ7nOSuOfkx6xn9FUlYy5uzxoZJNgySo4UZ
LdfgIAoIJjx8KXdihbsTMhkoq/ayBwDS6i6BHebm+EVLKRD/F4oByoIOTHk6MqhVQKfgHxC+6E1f
kcAdLWZHqosxGPvMAGQ+iwIR9I5+tenRYF5e0InjiRbVk9reGzgviWL4G16cxqjhPS7URzw6dkfQ
Y9G8fSYU84Q20d0BBKM8ARuqRnXv1c+DYsisFLPfHGOv0aEPg70rRdg9+FCbxJ/5K67jv/DEFNpv
ohe2VvJ7HoYowuPTEWiWv93sF+tjF4JByS9AuNNicgQ8e2pqDqrpS6RqZy0T1OFKdpPNIYgm7ANW
njjDdK+zH3T9KzY0gjRIZXqz+jROvFtYX14TqhN2JMR6TIIi1l2iLSNcRWfAzY6Ptg5+dO6n/dec
bNLTx+1FsWmN1KwpSgqkYDWRUrAFJidU4uwYZPjKBaUa5EwKFQc6PPP8ORwVbrLkKl4aFQLcWF9o
ACJvr9fG4Ls+wpeE/IMFSnsOnmWfIbO/uVYYxJxZys55Qt2fIApObquE3YCsKC4Z5i0PKIqe1t4c
drILcc2OpqcETdZxdRlBL6pGRd/kSnyQpVfb7xAhOxYVYisTyUZI1lRtcmoWP6PGOiP1jFARwaB8
7gFNAMYkoCx3jEHKTcl6aqZFfF4Fvh8IEVkOpuRM9/9gcGpyLm6N8TLbwMA0jDFLIjLoo25732JY
CB4advbyp5kRn0HszAR2ZsQ6DxKANe8Q+v08vU1O4CZ72m8IcBTiLHUIFb8g11hbIzCsL3edsSBv
iWwOvaprUN+JhwQ3cvKE1sL4U++xqJS1UhovIGGv7TtF1UhnlMleP1ZzguWgRwcoerLt6eCsmAF3
oL7VrDvhWhOB6TBY27rRseQwLRZfqb0Oq1tvIW+4soYwfdoAmEC3aMSxZIfAUqCbpEZAwgBZj1fc
7Ak2LaWGiioNJJczN0aUwlAU5ieHfcHgmJ5cKPGKv8Xd2Jnepvi5iE6uxlGCZcxQvurowFob9D4u
kjdmNnQS9JulJ3HzDT+P3M6wrJOppnUYyCQHXMOr4Zx9nVu0qj2IsOQo8hQzI3PzBPrEneIVi2RU
ZjNNmH2YlzCvrSgq8X5huxQeS8xoKG8+kztx+jf/yWyUu2W3xi2i+8FptdheSADA70S2amxBdSPU
cMJxUOFr0KHde2+uEDtaoHMYrkYd87fB5hzIjf3TtLAzAoUfbaLAxmDzFGBCBZGUQukgwcvZUgYg
+xaOIYeHYQOZrBNN7gjiZI2VEc1AEyE9YM5C3QiQKgCdgfPWASIA4+cvgf6KFRc2AlsBngTUKLo7
sSiqE8zsdrgs9OHpMVNkJHrytmeu8Bn8pGn3Qc6x1zLh2I8OVv9JfKfP2v4zvIIk7dDuYJDFT5Qp
1HUFtSOhtSNbavEQyAt4x9vTiCNd3N/Rp1HIsJ7xGE7wRZY51yQpWo6u4lNhocxuRB9/KycLrV0z
eu5NNEHohoGyMfEv0OIOxznMTyaa8iKF3HKfmuFY2lt2STB/JAF9nf7RQ+OPOoNwryIwRsWLOb+F
GPXLhd2yMaV3BIGWY4kW3+t46h5qhyUe9KxOz+mW5TSyzLrh/c0kmXLNpHDfmRjAdTdiCdKCGirw
UD0T8HUr/BaGO10CQqJGoGbOm1vkX7e5uwcooDY485vtDTsDxudVZ1fryZW1r8HPq23OPEAmdCNE
p/CcaY0ELSdWMsmRAhBcgluqWl+2aJPbyieFPxZEHBTqMkw0u+x7IU9BSlzi278XBeKHesX6YYJy
6jH2i+TvHn3naLK3jooRCgpdNHHb39U+fF56xEOo9cDiZKC4P3MkMUFq5E6OZPTSr8MmFn8Legw2
vVsoWuEc2z3I831tu9xyQEYwSvzxnpWddBU+9aNR8i3pQ6yGx3Cpw9h2/GOoR8fb8moyYxXKaUNx
DzODFOqps2qF3SPrDtoM1LcYtDgyypyju6RCfJNcKiCrFpPTP4WujHJQjdCc8x1rRlJbM4Biyym7
OISmN0tvYIm0Z3KxgcFdUjO/NGOpx6AaihDjI9vcsE+C1WfC1pYJ+t3Bj5Gs9OI7lejkrqmxVz32
f0vdQcvpXbYFtnTRPy2bdiFakbygaLLDhC0uiMMCEtGGB37zJ28H3ghv/Dwg9z0sddAKAewncF7G
B9CLN+GFheX2tDE4DllLMztZ4lxfHigQiPaQT6zvavSBEQkWQANssdOjw9oV2I6o6IDYVCo55MPe
/uGAJPOEObjEuj3SQwJEu6+kis++pdllwOAKzx9y4vUvJQkvjhk6E3Hht38RMqSX3piXj+KJA4vn
AbU+k1G/mJgzA7dDb8Jfj96AUc8JehgUpFBcKEehiw9f7hrpP4CXyVjgj31PhUrgCNnaA5GKC0bV
YjMv4gmzO6Emw7M9Rwb4ld9j75hDgUU6uCTzM0ysKpljTD8rXSRi/QMPpC9lHPNycKlthLiWb/3C
BUwWORgR+zME/WItCJKzPxy+gWoF+SJcltZCXnsTmBYPeZhAonIrveaG8KEhcxSMicWBTi7IEqXa
LeizTQVBgNpt+2/cIya6f8MnrrZmtF7ufU/Pjd4JrA9K2uq8El6YcEo/TO2Wg4q8OiF3rMd9nA1p
va8jfa/D9kUvTFpV6OyQCDMbNlTmwbiLp6Lpf3GjqXW40scQVNted1jkJK0FqhhPgdeq9Virau0E
wikoQeYIVVxqe6Abuc3LdUV7yBBN4q2z/dBzbxXb5HmmkyEiA1YH4ilEdG5IlkPRrveBz9l7xE6I
pzWh8c8HBbtZuTFBBQ3lta5wVmBOYiv7yZg5CnmfEjs60W8U7paJ3+wykqngN9Dh0BCK2GiDzzVJ
4juEMkAvEtj4joHuLwcwY0md2xu0LmEyChoqCxUxW0jqATvf+DJYpOC3kDLykOAHltAhu3/4dKCg
9LqYS9jULktcekuaWxmCy8MCSHmTZojJchouvJsXiOuBTqsCRwX9sw2KFZL33eOrNZYD58zhuesg
Bjn/cssy77tQImSWCHb9dZDFuEcs8LiQoLBbjr2AmkextaodUkaLXXb2d/+lFvxrjVuUAmpkzGBh
uI1gC4DIh7a2b2D3J6+D7/xiBRH0h2nhijCFQ7ZTIV0iqEz+llWrjpK94mZPcj6vkKoa52TIA2SQ
a3pIzyFYh8gS+DlmBJqvR89UAWWhHaFPejsZa7l5HgiuGVA4WlQxI2VFUgETiITKc2D8B4OXEsRw
n5t7rPgXpnONhBwowzqccIYGtEUsndCrHUfmUNbaIKeZl6t7vz2+ydczU5OVS+czwZj0w0LnJ4Xv
0V2Z+wZnWvgmpVOzyizpUB6d2W9mOq9A5nvsK3fIAIN8kIoxG3QzEFVZzvpIhI6wklVTQFkWz+tv
vWfAqyQwQ35ojJrSNRCrmfYiGJKykYWqPnuMWMwo02Ip51oOq+ZoLBV3IRhLhsUJylv5yJfJk22m
LN24rc/sGFNknx9GNEfyy9Jltk3I02Ab8xFX0pXkfmVLKISTk+b++B5CADQDYwHBAaEHK7mdy5qe
DK8RnUyCQjZuLdQKAYvGmsdqxTb51XLBYzLhCf16L906rMkIz00DC222b046+w5ulZPPhk9wmD5o
ttDXMjpNnpuCVYQFS36uk1rFNsJa7lSGCvgOMIZfpnBZcGZjyxPFvvZj26qKWhDzgP7Rp/hs0vfA
Y+Y7UVSEqPqG7bDd9CD6JoeVPnxFr1itMxmXLOzOtFw8BkT1ywZeUQsVJjDpFaY7U1FGWMsh4kza
tZzT0qKWpgKFherCGqD8nBgLbXxjlgxegP/bk6ek948MYiqsqOwjOu2TVxpuwehVcVAh4w5iQgmd
PfOwomFidIzQ8ITcEY9Z77tRu60RcP122Qee1gNlIqarWK15n4h5ptZTKBJh9c7yfWvD3Eoi9P52
Su6q1Uj0ud7n0vjNmcZiYalrjwPYZliHvhKcq+6YX++x1Kj7BULQsUGamqr4E9UshAw1yG6g223d
0hX7Rn9/6jOd5OUj0nQVR8/YuUA6vQE6vimwgD74YY3wPTamBVCBYC7ggdLLPAJaTiMpNsbwSQtE
HyMjEQShlNIXv7SmX7rAjZqKC3SNvVeN9KDp81cRgEC5R9/8mOgo1qIrwOwQKgUiZFDkv4ES9ORL
TwvaK/wIXt55oi7avhqJTLWFFw/qPtS7twgriM70C1kP7tIfNWu5Xk55Y/DZEVDJ8O3gyXM6ImRn
Ys+J5VVCC44uazPAQyZh1+4QTz/UF2f/xT5mGZJ3ur/tCzaR93K1o6x/VjfCSXt2qbZrihgQQVR8
VLnBWAUB8KreZycgBtIFioC9kGcYXZIOm5lYx3zc6kiYlsDc6F3SZfeKm5wnq9La8BZL7xpf1qd1
BxG26KjyoOVRhv61+WcKvotAnGDkJAfZmkg4p1kGYqLUx0R+VeA55l8DqQ9RW50w4Kin6vwaI7mN
S8zBKTUWzAUKxo7nCUMWcB0M/0I4C141RVhMYGJWDCbTgEfxBO+Df99hJRr2u14LYC6flZSBo4cj
q44eoULFRKuWtEM9PJEbhLU3IW7zrpbu02PxI3kQrmFW4EhA1/7s4n4DK6AtaCrmspimkwuaYOjE
MhFjKtYUmx9GBVAJA+oFT35RIvHshE1Wb4KuUhRurRjR+pnChAEYCBgRiga9suF+3q1uzmImuMYy
GTxJYyPBiviJmwr7VqXYugKVMofjUbdh18HnrB0ONXQ0Sh7Z0fBOjqMjxnFDvadkZ6gVYpp0X7cJ
B3gHyQBCTF/e8Ftm5wBFroxc+2938wzKQFTW4gMFRo4yWQBrIKqhgY4Jy0doYeEX0Q/nhiKCDy02
65Km7phInYb19IFf5HXTYmFxx3uBClibF5+mY4927F3A5xJyhyyCZjkArDvOEL/hVuaEAOksMXb3
d7pekr7NvEAACiTIaJW5nIhz+bfN6Ey9xpEaC5uI+DkQ4JWGDEOf5xgBqs8gkjbhgQFQY4tECfk7
P4YNTNIFFMGvYeHR8kJmDIVeaGjI5ZoYFdDcIyHrIn9O4JwBTB8DlY7+BKys+SUzQ5hL5raCsvP2
XyMG+oa4LMliWsQt1n1lMFCVy3hdF/iowCbH6AhMpLbQb4S3Lmf2mRX9fIBJ23KjYjeXIkHidz6k
F6rEM+/yAk2M+fWXLhftBGxBM4TV/Q00amltcN5hdcTrBusoGXMiDQFFankGMXpxJaYII0+ZHrkC
DadkCTd2CNidDSkMvXty6OdpHVYSbCvS5J7XR4kGe12gKyVisMIRfnsl+YxPjAIXcjUyEVZdMhsJ
We6Owwhl+hhuI5rQfPfo3hZ38L02XHAEQQ97+6//8j//z//efP7XYXfv3/Pv4X77l1t17d9Pt/L1
b//aav/rvzz++dfh9t/+1dCbitrUjGZL6xiGYvDP/PlmNTjdDvzt5v9ov85586C0z0nR7P4+pdu7
nri+T6zqfJXwdLpHjcpvHC9BniOXWYa6nt0etIQH020fO4GW00sc6BaNTowh0svI8o//X3/E5n/y
EVuKZqot02x1Ooqq/vuP2Cwbt7ou1HPCCsnXyXCq8y5fYnn+LiNdBTP9AcYqhbcsogNbJDrg+Pdq
8t98BnkM/+ExtRRd6yhNQ28pRuc/PKb7/f24XL73c6K8Btqz6S9vS/f7frBqADCcXVH5rwwauMu3
n7KY4+GVHw7U773tKNvLk+Np7P/rD6T/p5/HNNq60VHNlibP7P97berVfD6K/J4nb/zsb13j49fX
BYze83/79BXzv/lRnX//owzj/Lpf9AtQV9YaV7vO/rVW1tqCyvm1ywv3ujCnL/5b7e4LxrccWvLp
7rsriDg7dc2ikhKPfmj4i2rQmSh7dXSfPmetyZtFJGxDmI8ehFj2s4KYsLiAKd1avgcTH2yciSbT
J3/8sT7ybzHd59s1Fu/sM1ZGOKJOsBwYkry/w+bktyqY25bj5VpbG1NYzvroOavX38Fhqo9A+g//
l7Qz3WkdW9f1FVly3/xNn5AAAcKc5I8FE+K+7331+zHSOQucKNFeW1qlWbWoYtjDo/mat3lr30Gx
PA1oky8aVfqH+sf+iJ4HIDkbvvuo99Vz96GA6aLvyq5/A1QrfvCj619ONm/M53g5i60g1EIL+ZIC
x7yrPmx1l+fuQssgNb+mdTd1MuO1Sk5WoU+tArOvXkUp1pqaeT9NnE1q91uh8dd2tPfwpHC7eZUK
lLZU+REe9CPIzesPfPH7m7ohWoalaJY6+v5FW+il5/n+Ngo3vRzPa/BWABfdZuYUu0ChiOXf2PGy
dGGKJEmVLEMzVdlUhkf6sbo7qRfMRLDwDNbLOxf7WKjUvUwJros3kov6f889rtPjZFYMtlcsHGLD
f8jieltg4GK0S6PcRAoW1BXelsIxZIdenxRJvPSIKkenphiqZRjjA0H2cjMVnWQbOk9quzNA1ufq
MTbuahwq9V1nMr6zuD7opZUjW7Kpm7KsmKI8PNOPaan6yiwTpaKSCPCrgZcN907fJMHBjI9FfuMj
WJc+giLpliyKqqhr+ui7m3IRGq3cmrsWh95WmSvNfSo9yvm7yW51DzF3WBJTKWR7F425KJA3W6jE
qoItTHPHmaYuQW9DMyze2tpCGZRXnZeqp3PZefiOkQJh0dT6/yQ8nMOXgOarmu4kgaDfQvzXoYnb
H9SwGNwcRRgEOmB1A9Ah96nLE4Qi0g6xuRIKDgllVxvqynLANfa0zS3/DtCaHRB++d2rmreTwHDw
wLL+yfQhoKBYxHcp3VlPfO6gjksdIuu6NFVaeoc+3G0JLBqqE+W283YcwfOEsC+Nu1nVuJjggTqu
7akg6UR36eQld5ENC1ZCAlIBkmQWaUBO13JHxSY5Rf0ps24sg0tnv6IYmqKZpqKb4mgZZLmg6IHr
YX4JjQ7Ldw37NQoHWLTArLm+4i7evT/HGhbJjyXnaHXuarkIvcSiZJucHG/fAsU29jaAO/dVik8y
zsLip6od/WZzffBLB4+iS5ppGKLI244OSkfUnMbS0/i+iK1pAEMob065DICi2KUG+CedhrPzX4yp
KqIiGpJhyIY0GlMV684p8yTYUgrKMX2Qd0xvXEyzfCcAIglm119RuRTbqEywqkiaJInW6KTLtTyu
hFhNXshoKDgRydBBZH+kL8YimzqYv0ew4bfOPl8NJWwIDFSZkYObl4jYDyga4tBZ/uVPrz+XPhxf
v+Md09TQu5ZkRZFNzRytMTsT88BilnZBQNrsvrfGl8+R2uDQSKWt3YseW1E+BLr3IHl7LXoX2y9V
XAo1kX9+cMRjQbWiFPGAN9gytBRNbVGF72m0xxIPV68iQ8Ay2mfQHZJBqvHAQSGJ/ia38XcI93JG
deUdRy7EsqFHZ+Kcvy8As9W497IQCqpRdBwhCphA5YVs6gnBzCnxJckUCqT6qcIsKu0xkunCOUej
Z0EkbmgDVgYFp/6ljd+vT9j50WxakiQbusJkWZo4/PzHPglyLbAj09J3ivtu9/R+msHVThbBqeRf
xGXXRxtW4ejrcA/rbApFliRJk3+PZhWGrIk9o0kG4jCZvBGjf5aHYOL1YaTzk4Z30XQuAJVLmGvg
9zhqUNV1V7MbfDl7k1wgdPgperoJb21Zqu6Uo3Vqcf92OcmRF64qNYNWBhBAxMauODIXURXd2DLS
8HLjl//5UKMjqSBX0P2m8baU+GR5b+V7/iaUyLTcvYg3hLprbRISWZ819o2xb83HaN6rUGmTtmnw
TWxBwgavmoE73jGnqOt9XJ/687Pv98yP4nvdS325FlNmvqIPQIus3MvupmqWSSzMI3stZzeu+wsn
PSPquiLJpFj8b3QSBUrWFqbVhNtAxBRvGXLIIKKWvlsxVr8LqgLg6lEHa7Fyqu6vv6x0HmoMY1sG
q8wgx5OHef+xe9TQzStNT6Jt3uZzRf3yq31b0CuyATdWr51RLDLlIBXoC+1vjPwdM41Xk65biiXp
7MazA1jthVyXcsd4jMkr4kVkvMjdLlem2IN2MpWIjPQA8XIRGKS3dvO/SXKvJvdOPDeyfV1NS3OV
mKBeJXsm1I8RIK8abB5lNT9e2/XKo9cl05RD+BCWioY/OC0xBBc+QYtT396CYna0r1bcKTVDmctW
XKryfWEFU5UOYT+z+n9YXGKILcYLT9hoc/VFQvgItXlX4+tAA6HbJTDgMm63tnSHUl/56q48e+kj
Y7LPtHelXFSDBwQM21mO9d66y1Z04xuMB+g2BvMMiq6yUmCl0B7VaL9uEgQFvxCndMLpILBoxWRd
qJKhHuGtQnVuCMcUHOJjLy30/kl6MJa6vqyRTRAXqNTmRzwlXEDqwvbGlxrOmvGHMlVT1GWZA4kc
/PcaqRTV0YSgBHnUHFR559VHW0bbONnYFCsAIUfs9/DG8riQq5kWRRHVMrkHTd0aRflS1qaxF8fB
1kVuq0uWtbDLGuwlv1gGQrNPiRKGvEQvo3VahRtuSRI0FXso5a7Ovlovh7+CtEz/EHTFkrssgohb
S6uhSmCUQ2Z8GKoD12fqe7eczdSPhx7tJsEXxVhI8+8DssFf0HlnP/ndl0gx0oOWIrfTSrCQDv1S
3XseajitFbof1UG3DqK+dtudAzaBtBT+dPLUQtsxBhCBe0jE4NbDDkfmr4eVJNPUJVXmLjMsQx8d
O1rReKVhYWdcoGrdQZtp8olqwZlulgoSuX5NQIQcvnMnIA7mrfC+NoHq6cssfPLyYlk1CE6K+swS
0VEUynnuP16fzfPr5vcDGqM70LfFyggFm3Q9nyfhhqWXEuT4Kg14IBmEY8rWsfWNGu8i43h97LOg
YjT06KYLTN0z5Mrztyofrnrvqw0xhddsAusguTcC34tjEfQSUZDjG+oo8O0yrzfTPmas4Qjau8XO
a8nzwY8hChvcuGzObrfhxX4MNtpWidlGVtA50UMJzCv5qoBby3c1vAUMXvi0wt31efwuUYwXmSVR
LdNNS5EscXSbBklYBKGuBtsSyrYeIi6aynPNOjjFfd6hJp0fSukUNO9DhJm8h2G1lCK0+Yz4PlTy
WVFYWzU8NulGDwHxhXudNdqLuzzeFMXGMuDACgcTnkb0ZHlcBfQEnP7LCvHkUaBBVe0kCuACOO9q
AV62cqd+ltzFdJTa4K3zgATpr9ff9+KatRRDlHRDlxXju+j74z510jrprSoOtzZKPEhvKFPQzcwy
NTWDRhJrGZsjcN7FjbThfGBxOC+5xamTShqxxO9DOpMNUtFK8reduLdhVBbxxiJnaDa+8KgVJ5+g
P51WMoBa6XD9nZWL94NOncqUSN8IWH8PbYV96Gk5EZNbSxNfAxZaL22DDFn/cm3QwT0C6/PKfRWk
Q6862wzLJQ2lV4WmL8V1ynykCU5izCTzOQEjUARQyaFJFUeNpisfXTKIc2sqjN5n7d+I5y/PGxOn
cQRS2zm73DQ9dsKm9rcBkDbhXfN40p3bbDqRM6aeWiA6vWLX4UPQnK7P29lW5ItZqmgq5Nck2+M6
FnFgoddSG25lZJfNaBaxXijv8b1ceac7R127cagNe/vXXvweUJWHgj7HjDk68FW5iwTfFignU0Wn
YI3DM67Q9e7Ga11+r/8/jDU6tqXcU7uu6dR794W7q7k3VvVDts+fKSdXu+6AE+jGX1R7648FN6Ad
itY9DL1kCqcpDdBnBq8yEe5NkIP9zGloe2AezFfQEXy4jz+wEJSBZn40b+2+esP/F7sh49j8oziF
5cZr/IrdHRHzO+yH+/IdkyvlVL7XEEviJ+U1B80a7iG5UpWO5HlBxxUGtfGJt1w3A40Q/NE+tU8g
fgNEoUONktoVvaJPB1qdsdCAHoJYMCa5MOAW+D8dmndPyH9+yE834+NLmSap5v/7Wt9Fwh8niSV1
SR51VGIpVjsyup5L2kFUgAkeKqDRLJYSVxJqcCacMNFEw5uivU9Cfv1zXii3skypkKiSamiSPP6c
cteFcSTb4Ta1HgI6/yqYGIoArbKTIbmVzzaCdfL79UGHOOlspf4Yc3T9hrkka5Xdh9vQXNIRy4Il
5QdH/RJuFZ2+q0q/R7JEqge6IsuqpmrG6OxqfaOLxNxNtrS2JVr/2kzZ9ujcAOfWN448KT61gJ05
scFZB3dddyOtPd+Sw/BULai4K5Iiqb+PzkqJeo7OoaAo7TixRSqtzaEjAbs+n+dbkmEYRDYszdB1
abTzY6cyvbYkmCZfH6oHttDMGEsneKc6RFJbRDdOgfMvOIxo0Di0qJWo1iio0T1HTM18ONy4kynn
if4rd5FBk+TmJzy/fn4PNczxj40iFWFbuh4bJUBsICZG3HDRxM0hyTYWSGMsQKrX69N5vjV/jzgK
85VQoCqj5tFWKlCeAs4CmAA7t+uDfPd/z5amLhoUmw1LMszR0vRzSnGWV8NuER6T4I9szMRTLz5r
Bg7pW1cDPoV3trPvqpNurxO9nL4TJ914hotv+uMZRgsnUvW0yBoBNokLlgrKXHfq7yIoBkAKvDkZ
DCLqxfNz/qV8Xh/54or9z8DjU6fvayG2JTcYTr9yGzh7Oi4JNKHhvPug73h9tIur9cdoo/NGq8zC
77uID1pOK1QIB0sHa620u/9yRun9q7SRRNpJo9sxTH1K7got9Sh5lMynHI9IlTqGElN48D5apJq7
t9TdIJGko4KSraMQyLHSz6+/8MXppfCiWbpKyKiMtqdYtGbpyMawZ5ZNMk8pHbTVq+9vRPmQqBxC
++vjfSeT48UsU8+2JEWm2qSNZlhVu1aMSx8SDozU52ov/FFfwVyqx+zd+qPSBKb9/OaSz7/6b/mb
/7c5un+LYwkqR32Pka5FN/QLVpv0hE33EVmKI6wB8S3/0F/cV+8NKatj8YxV7BGyaYj7KlIP8bH+
MkFdQZVEF+u5ehx+xD8AQvuS/6iD71SaTfCSOdUYrvpz+Zh8XH/pC7Elya9KZU+TZU0Sx+0iKUw6
U5SM7wSWy7tUDkqxaysqU96G6KuDgd+5y9Tatrp54/S4tHF/Dj2a78o39LJT6mRb9OjUYxSlULsX
/l1/wbPMVfz9fqOcw8kTtamBZ2y94tSALkLIATMJbRkl69S4sWLl4ZedrSBNpD1EOmnJ43goFLxc
iRUq4rHsTk2sjQCY5xs73BANUaAlMqJlpMDH52IjMlKik+QA/0i/yhCEe7rzvLmQH0gnTCgJN+bh
0hVE6qCaMrAXSVNHF0JeZU5hqQIEjoO7RsYbtfJsVyDTu3Jnor2yH1ugbu4ug2giPUD9diEAEw1/
FT1o4k27zpYaChzgi+N/3UHRd/GbgvI4XtpcZDqkROHgdQtV/UKfifw3W5xoyZV/wQyTMayqQWmo
++eIj8DIEjwPECb+ixLFu27fCT6yJB0dNJxyAGPVIEoh7GjSqkWQunnMd+hNvOmYhYOom8FJVtol
PSHIm9aNQsD3bfXr81F4INtRST0UXZbGDQ05i6ym7+pgG6j7RAQe+W7iUtf1eFrLiJ+Bw81NUF3G
kq5C0Qc7qTLWKt12torUfirI5FgGasG0W10JLpnVP5exhSNwgLntc4tmnGDAVjAbVKs3LjDzDmXY
3iJMHaC7tJH3Qo2OTLwiFS3IxIdfVHgGDrf+rNG1qSUcrFp5cqm+mRrcxwxbYPlYClOni6ZR8NWJ
O5tDkj/kVJ356oFmR02RsdWPuZdvFQM4Tr6PEkBk7nsCgrDvJrn0ruF98Kj1B/dow8xpCnmvxuBc
kpwufmh/JTJcOhmVUtmZNwH6uJSxhegjxXXYc5QH10uWYn0Cb319vUpnG3f0MUang6Mlid6GOr6Y
5aatNsyx3uwd56Ra7Z1F3whIUKghIRYC0ZN3VLy8CJPn8CMuNUxRrCVdxxtPdLa7v5/IUDizTAU8
3Oha7Dg/OysXcGgFZYpUkUIOZmJQiotWv6jUqcqq9AGSBl+Fcrgx9vC2Z0tTA2MG1oLW8xhm42d9
4ulOj/AYRTcKUYq2AytRBxuNqpFNobntljVOKDEqKteHVpUbQ4/u4QIYS1JJDc4gVDYVsFfEe1Dj
oknp/FGVhxAHshwMqLKSHeUl6V/iErE9dJsMegYNZsEmzizhVzsz0NxybG/N+tcQvwpA60f2Qnbw
/Ajf5e7ed2BXBNY9oKGpZPxJqj9JCuV9yLdNc9Ek4GxrC+OFY6tJZLUAOQMZBvjz9deVLs80rVoa
CZpiKaNQ3WzqUgwsDgGFulDeLAuMmthIoChnlrrx01OHmlPoFxs7XV4f+izC49YAcEmhm0aGYn73
4H4kCX7p5FnZFGSUTjQhlgxQIwgIIqa6sb8+0qWX/DXUKKdznVqXCkH5TrZoZ9UIHHrzXprqykwq
tw6CwAh33oINaN853K9VzGVMTEkbXBZVVvEw9z/esJXFumCVyI8aLBU08h7+ui/hv2BXpIcynQkG
O3rtJB8B8OIKkQNi6Cp510P0ivtZAh1w78xhQ9orPDmMfQTgGvoRPu1YWeTiPnCeAmHZ4CfF0kz/
FM5K62clWovONteWjYRHQrj3ApwF9e22PkFLm5lI8vaTdCHiyXQQ5joqHEgb/4nQ3naKoz3L71KI
i/ty4j60oEvdlQVAGEGYgQ/abyJnFQ22y7TxEHYOVhIIabjkSB1Lf10E0x7AOGO1SNcMgALc+f6j
AMMo4Nc0xT8eED3Pue37uyy9A7M3iQ5I5JgIhg2/2wCY/aL3f0V/plFWbFcxyHqbNa881D31/kNu
VFPFeevVB89fph8YqgvoB9dztBfgMHDfGt5rwL8jApq0i/uMfmC/7bqPGOWbRxY2kPlsS7aS3wn6
Hl0MxPeqmYjgJgIkoo455IJ9WgJkQqkiXbeI9uGoYKGnii6CPBXhzqBq6qzrj2ipLLnWxPAp2tSE
wT18D7QasMYytupadoIF7X9pkJwWsdUSZ4TSBwMv908doNhHgmwMVHh0s8R7wVuaSMHD4U8mkTUl
8MBlfmmiJzIt7ptmJiCY5T3Y6tJFKKKaGwTp3gbh5GRb/rFnSkm36m9GfJ5yWsRb8ZlMcNse4iM2
Ea3/mB5FepzRPDcWHU5VGaZri5iKSTIDg8KsBcLb3oS2guJzM+E/Ab38IIGcjxet/9IGL3wAFXFB
d5XW2Kmv/EKFO9TA6zGwTkCIicPOQKsA5V8E3JJpCkNSnFfao1fOciCjiNPYg0rRsbXm2gmj4133
qaIXpm2ap+x+YNCDF1i3SL4rs/Zv/FeqXqj1CfPqi4EHV6CI07GZpkNlD3EjQTn4C3Cz8osAwX/z
BmHkBVsU6zXy3lz88SRzKtIsf8ISizR4LT6kAPYNVEmnIcATktS7ytloQOnTlYQW9aaFklK90uHN
mCwguhPJm2faotBnErI1xar2Hh3lSHJtRnep9anDK0GrAld5d+eAzRVmlBgcc1ZSRemnEdQmmobF
xAUBoWIYYKLIKHb3bftgzWNIgPXatVuMCAs61FMv6DG96u5TFfkG51+V7L3tH11YuMk/PXpTEx+A
+2AyEkcztfgbE28hMI1nYwzgH9iZXfx1EAra2vZMw9QbZZgkKQbtGlmaCyprDChf6L9GMAl2Jsg+
795DDriDpCFANFpFJcSAAnIz8wUfPj1AI2mTdxGX6HSexiixhtjmAht8MrMlerkKuN80OxQEezVr
za0gnSvP9EoK5JZQG0xQlYBXsZE5wt3PsnyQHaBYhGwJUX2ySZJNIPy1TMTrlIe8Xmuf3JJiAVaF
g6T2hYmuLDvxUCb73CJfoc2vPmbqMs6OxV3dIMD52hEHG64x6WGFcDjl9OYN9q5qTBQFdwDBQHlT
rRYn/5D9wcyBlSYtxGQlfLZIRdHHaKhFfzpSPi0Rj+px4vbvXNLWVcuj8lvfvO5JKP6LEuIQVXOb
appC7eD3uW/6jRb7KiDxHHVljfwypXhQcTB8Xb/XLuA1wCFpgAAsnexLGaNSSb2C1OlTfZd4fwSL
8pO7MOA06TMjRaehWUfIZX/q3sniGzSzRjl4iHW4JzFdqkjtJp+BVd0Iny4gZyyR2rQoWjSydeU7
vPp551WqF/p6mby8Wt+yai/hAuHFcn6A1fR0/fUvj6VTAwf/qdPQHIVqVZTkVeCpPhVNDngKqLK3
jxDMdmllldHSg44hyIBK+hiH930m7SUW0vVnOAtiuOJp8imgISgm0Ln//am5+4W07AnbwVgTJCfN
vu+OCfpd3o0C53kMMxpptKiCFEAuFYTkpV587D6+NAzA3hFgu7F0L8YsP19oFCpZIMnNyK+ibQLy
n7omajVeQ0sn6ucBJ17TBTuVHmAQCHfAQKveujMGAHKNZymXeGnAyS+oGWV/EP+/PtWXCmQ/n2z0
tfUuiNTczyLunnfbPekdJC1FnKvNRjU+uzpi0WuL60OeJWUiYaMoa6ql6hZd+tGc66HbK0Wahtsi
mtMx7pxTPhxfe7qjN7klQ6A9ChaHXq1Ih1qzzLMqpJVqgVT0tAIjbNWKJXUGCWKHdqMJoF1YsIpC
uY/Kn8LuHEMbci9p5DBT6B39rRGix+Z1MC3YOTSFn6Stk9+DEbUQboja5xaNABhvH9Iy20pTzMNS
pIje8N7EMIq+zAq5sBwFneEfmofBqQfHi9MrZkenFFEqisPCrOhn/dv1b3JpIyjGgEke+nAkiKMi
fNDafZ0IAEFAfHOV7cKYNtGhBjbhHerk5NbHEDTRTUzIheUHMlnluNWGE25cUBLDUum7EHByNodK
MckO30xf59b+G/bXaBkwjEE5DZKBYY2b35aRF4bY1iG4Z9TqrBMwc8NUNhQ1PAMLTBsgvbgrRGuq
xxiWdvCdljc7RedTLEkkZCAfBxSSqevDIvpxiLtWQ05jmNEA81Grg1Vak6w/RumpqUn+oedhCtZn
07S5sTrP9hs9TTqbw+yCNtfH0EcxtwzHjkoarPmc6qxHGsGJShUHCAllwusL6cJgmigr9HOHG5Sr
6vdLtk2rNVKShVso9XlODE7MSnWa+6NNwH3euCjOi6VAk38ONzq+lFpXQnBq3QveLX/hhU6Oi8Xk
yZgvtxNEmOfPp7vV9fdTLqT2v0YcpfaFE2S91iqIhrXK/dD0A4KcRx7s8k6amcKjqRXTvsiwV0YN
h5DN18nochl7YCkWxSnlW+CWAhTzwL8v7WwZDWFUWOA50AfvglS+htGzkzq7QMy34EFYkK9GdePQ
v/iRAN9bBBT0KfTRrHWVawdeBD+MhiXdWPpcFJbT/tgktxtBZzt8+EI/xhrNV5VKddWn0ncPMWjS
aanxut6uzeNZSBEQUru6vP6JvpvJv3b7aMjRRsuKItOTknbEEMHoEXUtlAYUmoeUXL0eQVL50cwg
EyUbvbWwUXgs3QbtRXA6Nx7k7FoYHsSSB9wv2HZxfOw4hSdVdaK423RQGiZBxIvYeLTpuoXtp1RT
dCuOGVKt7cGDblbHPc/0JIh/Q0APdfx0/WnOQZujpxm+1I/zJys010z9rHuZ7Y4ttYLFw9PTl/L0
NJ9MN9iVnbD0mWyenz8/r497Dqz4Pe73z3+MK1Z2qikmq43ePwBX2hhVBGitReCBZKyaAePP0vn1
QZVLU0/sbhLEc++fsWyUpnWrpLa7F2uV5ZPZ391igefh19OSKw2RgWD6Ys++zNmj7s0QBhMOWwyN
MYn7/Ny73n2TT68/zqUNB0qAe462Ce2B4ec/pqAOPafWgiiE2/uuIzkdxOvC/hLUl6whIb2FfzoH
e4yKgKM9V4hyX9WBSxOyEgburlzNXOkpILbT827my0hTWQeaRF2AVEeEdWEzH5acmZk3PsOlzS/R
eZXA3YPIGFO/Xb/yi6ZKsofUP9hg3J4McU4BWIZoj7VGe2OWL35z3SBzUbl4zsiLuS9mluPL7tbE
z0TaSdoOHEabLKNbIMTzFJElLdGg41MO2Mcx6iOCdqTXuoke/vyOa+f4sHYma8oLy/kcP7vD6lb8
cmn9EFmKQ0akAz0cdQ0kqc6tyKRvLyC+0twp+bqly3Kys6n6xflWcYbs24iqpn7o0Uoq51EwLSj2
GYvr6/ji0frzQUbFVzOyi7DPUsh61ZK8sNKxuFDvbdQrY7pxaUWB/pHuuoJ2kOCeBKT8rj/AsHLH
R7tMSg7gBqI8H/r3Ror6xIaqrgXDzQUnlhYofZvaOf3fRhndj2kbgiwt6fda5cbjHgeAEveA/2/B
Tobfc+1tRvvUUrmlUo23MdU9Y6Tu/iZKUbKGKbk2yOg2tAPHcVXLx+gbu1MsyB0KtnQK+yRZt1TL
FXvnYWbmlXcJQrHRe+q8m/lXl8KYowIpqDiPwm41mtc0y2BwoPmJ6LuHwJL3GpvWwkOe1UuRYaTw
LxNZRkpyT0QUZ0jmsOeljSeS1pV0Y5/ANM8cec9xH8TGrMlIfcJ+EsonJ6A6r1W7nC6JXDw12VdF
3XjomWQVQVQZz/IUtza0vf2geIzEeKOK9R/wv6GEJl+CBVWB0Euv7lV/UwbNo9l+1G9Ro+0xZ3cx
eouwE1GLmas9pMILiaC/g/S76BrKleKrmRZ3qqlONInXY1jFwzMjEF4cv39W6REnSrGS2m7dloDk
CmOWRZh9denKSd9btdyUyNPF7X0kOhPVRo8oyKaN/GXDFfODL0FAWN9BCJaSsGpsgmga9M5jbaAI
be/42oC3CvNzgMDDYdwYPrqh1FZxnZew6bDWQ/qd0EWl6qKIqLIkxptbHRx4kVZUPUaEEVoWPRmV
PnEBg+fJRor3PY2zoMU/BgARihkIGkRLxlAtm3MfR6rmUTXXVd3Mgv4xEIqFgvzNkvLELEpXKbwc
XhVTqI/hmYjSYsQ0ubfmKLcDWI/7Kcfuog2rp673IQztY6Ipi+6zY558gGExZHlNcBG8gaZTm489
eYYTS5NGa7e5+mYx1UNNo+v4/LoPejVW/rlSugoDysOpPvUY3IYAklv4+qnVyXlW0+pRLOKjh+bG
9T3+nVpe2xejO5nF60F397OtbWF1b4qLQEapNVcWLN9KRXNDuxdd+bWQogVoSQoJMyFZN3m7Lgza
L446lwtllaUaF2x4n1TNP5GOm2Kbj5mIk0uxCUoQL/cQ2+rGXrgiCtA2CiLyn1I0trJ7r2Pf0O79
5Kn3jWnS1rNMiZ5EG1MEGtJZYq9FJ1imJa4WqfmQl+1LTyn4+hScl/q4xn6epqOIME5qT247Nd6m
/7BLlLAjGHphU/8h/FB5blTGkKmCylPeOMXPAUPfAwOZHHBS59IGTlrFlRmF1BhD8HUt9L9wpndv
LJdYW5Qu+kEilAaaOmr/BS/vxmtfPnb/M/roRHTazqyzPKK8SNhPOEby09oH2rR8eU7IojoO8AgA
s3PYUy7nP3lRm916ikuJJJQkXZNN0YISI/++yiTXS2UhMkgOqBElx4o4TKAB0levwA1rZZdQc2/b
jajcQMef0xiGydcMkbDYRH1hTHoPNcGTtJg84A5tqkW4WCwM/nxYrB/rCRJh2/kc19rVKVzu9683
Zn4o7Z3tuR9Djy48aABa0Ze0jJXcmtR0popglaCGpR3FIJoMtRgvfUnUOYwgLtvSu8ECvZgCKSI9
ZdrGusmZ+3vOS7Pirik1Xv0vDtwfwJdW0sqja9pSNJhOJnNMBg/lwUOMNTyscK6+/v6XAlRF0gB3
QfVTzDMARt+nhSeC4GXZJ/0xtNdd+w1tJ2S6PtIwkeOJZk2ht0Tdk9RzFCfprWrXYhnE297sJhDK
qOc24PGi7MY4392AawMNe+1HZhPYZSx6pTjMKKsILevHj2i+XviLp6fm7XGLTj8+7s7ic7babHAc
Rxpr9XoLA3hxWmGWSDqUIFU0Rl/VEPLaUszum8QGNpoFRXIZBezoG5W0i+EvhV4N1QL+UsegVj9R
xULNy+6lmKdrhaTyAQeecu69bO+92f/+Cw5AfQqGJn9+ayb9mFg1bjxIChDKPEQU66XpvaKFAxbw
+igXk3M4OZQjSS5E+Zue+mOYVJYTM/SFb+WrPkWFj3aw80XwAaq8BjvRwQiRbhx9l7IZoHEKGdrQ
0BrPoh5JfmtEYFTK0lu6KOLT64AQpCL/FXPaWreQ88MaHK9RWOc61Gu4B2CvRms0FDh4+gIUGKzG
76TwZiQvXx4D6gF1bA0dr+HnP+axM/rUah2EaAw8gIp3DzPaZCKYT3ZwF/3F/FIBqCjMk3oJDQgI
aZY+VC6qI+saPMFgAofAZjCjUIpUJw4l/81H5rwxkRajtzluH7JiI6l03HALnDKJ55Y7R+dKePd5
oGjavUjNjdjq8qoaKvrAzEB6aKM0MVOzspJDerVZcj8U3+IEETXAZeLG6gm+j35wam8lbRejGV0f
WL60MPgKozOvpCNJfuIgL6DdqRHoMOnLbg5ZC2MIVbFmGRPTCq290MOjEXz1NGduTPOlc+jnA4zW
gKDWfuT3VHkQFdBpKczSx2yf0TidlnD3UfxFI/kRbVeUwnCMQ37kFszOHF7xbKVDyKQGYkEd+m5B
/FiFshGovZb3rPRIW/YWDgLeiv5a7N6Bs7UqFwHYfZ2u4Fi1+I+haZEA55nEOLy41Oib+4LQaxC+
05Sh6Vp4XMHvhnmsCU97akWR2MxBi3rKXg7+2IazFsvjl9piqm6uJamdqlzgZiGvlai55/wVagTa
9GOJEYmVg/ml/KQefNpIDSBDGcyLltazGEWkGsi6la9TbQ7uVGxRDE/BuNZTIKkydhsJyapIbX3W
IbLb/GkxtgHacGqRiR/csmhR2zHq5uGjA76IdYUcl+WJU8lZhQAtJOPAdg8yoFnirbreubYhsZRO
O0dS6GCJkAx+b3s0QaSwF/oOnI02+Uv74WWdTNfLx54GxPR9ejp9zj6vr7KLh+ePEUeLzCrVrgga
I3+ARU3tPgvzBbCPCaRX08MADFzX9fG+2efna+o/rziK2WqCFt/q/P7lbodR3dKiyfKwe3h4oeTl
TNoJf7ysl0/t5AvjmsnTIzWw6fQZqwuUxafz7YR/Yd7fTdbLyXxyv5ltVpiDY7J+Ou0Hj5q7/ez6
46oXSo7I5GhDdCcOFPDRFzHaVuvjllJZG+Eqp8azsvLvHaPe1Gr15uZLUa3++qU3T1uQRhH62LKy
LGzw5fqrqgckH/0TZ4WPEB5daTCbmTtnbl0S3VxBoSB8UepTQM2tBA+TiLQP8C2UoTXozUYvN7Go
TYMhEy5wILLSR4e8XfTkpSTK27hEyqbZB/1OK97MGENujiAF+4QatQyHbsCNmZDPD4NfMzFaKW6o
h5UWUl0CbO4U3aSsUOSVNmXpLizn6COBHiP/Z/wPaWe63Kbabesrokr08BcEAvWSu8R/KDux6RGi
h6vfD9nn7M9RfOyqfUorK44tme5t5hxzzDFAg1E6MObuQ6wOtTctP0s9xgQTDMNwLy7eIU6n8WiN
NUBIGW5SFSc3GrwF3rBoEU01fIpUTLspETFvhn9qh0Rh0JeTmWwn/CxZBqbkMRIf5QA5Bbnxvr7Q
zwqr82pHjZPyu/JPk0+n5tlFLZOYXvS5pHvFtUv2eIijZOFJQD1VbU9G+/7NUf/phZhB9g9HvZkX
dVNrcoUOy7bOcNhIKHdqGBuYOhJtq8o4ZhDv9eA910Ln6wN/ssv8ddybaLdiC4uGWE5mZQNJ2wTq
XomX0gLNmO/u66dTiV4mTUemjK6PG9R5jGszM0o2VPRQ6CoQ09KZocHer9PNpXqf2wrm9gM93s0i
iDLWHCKO2xVtKAVqvtrseTsABP8vLv/DSd2EFlGSxN0wFPm2lB8X8aydJi5e6H+MsIv6+kjSJxn6
XB79n+ufJ9iH3dTI4K4M0sShzF2maJYZJ9Dl/AE2oZCfiu4xwu0WFl6HGBT9zaBwmDTmE1T6eIXI
YAydI7D6ptjGAWpq5jcD8NMiBE0EFPcpn/3bKDQqnXaVMhbmykXa99m9P5/PC3/1c2+vT4n9+5uF
9bOiEqvqfw53czfGNheVpiEhWSx2k4E8ZLCjmF3oz0a74xFczV1pILWGAvcaSQM2/eG7jnt1nlK3
WxGpClkK7UcwiGZ44cMD6YdFr0Zqm25bmMaRDvEanKY1CAommKK7gAAPFSZbTtVVp+HyAgE4QEkY
atNCq9wUYxylfphhVlPERS+M7WRUVq0xq70ha007dCjTM6z6koRmNmbK9S6qEZYII7tW3wAq3Uue
LXUdD0iEJ/kpcUU5bOLymEPsr2U4/qGCPftmNF9ngn8IsbR/BtKnKDIpP9DznRUUOWUlsWdA9uvh
+tnOR183BSKqIzob3xw5fLg7SFaOjSggX0S3bq6bryG5VBd3rpkvnCKpV5VQ3RdtukI/KLvmfoPF
H0qwek4GW+Dnjf0IcHyO6KqKQoT2fIlxp0D/6LK42vJ1RVadYMP6ZP5alPt2UCwcV4WNYGTLuIX7
3S1NlDDYBTJVmgVMFpfnSBjtCCm9BkX+CYHryYnHxOlQUeqwYR1ev778fzl27PofL/8GzByVqFOL
oqMJUXiWJ7yWOlsq3gl1Z3kQFUfIbseekNKtNusijVfqgycq0FP9BvFM7akYfkdj/BTm/HBKt2kQ
3aZ5USU9cNfiHR25S/VglO/Uv/+b8gbMJ0MCTMp0yRl8fTekz6fK/wyGW3QxjdNOj+V5MOgPF8SM
zF8KClJovKmNiZMaT/OC7ihOjmoN43sL4BZGOsXg91LZzU+XWzW3zDN4L/m7IMqudnXE8T6jX+zr
M/1s90aTRIYSiKQL/93so3kdXyAc0xE1mJZ8gJklJXj51Cuy5EQulkwZhdTjO4Dss2xRp2UVPQJI
pgii3GyjEctLFwdjtjXDs96oloE18wRPZ1b9EpBzjR9LeukSBJ6HqyXWDzQMf33hn+zjkHnBIIkj
VJVy8t/TtZVEsRwFBFlQKQHgycc1ASd97t9Ssj5Drcj7qb/r4IHmQrvZx6soE4uiAR+jetde7QTb
WNkRun1EEwCDQXB61bniN4+BS+S1hvv1dX6SsPx19Jt9w5SnOBamIP0/dM+YzBgOBmX5smIt/g7h
nX/bzRZBVx2UDxU2o4Lc6d931TTzqYXTC4OefpSFUXiCicUGBfJRCpZaBAVCQvMiEvJ1rkpIEOLR
gOqpWDhZ9dZeaTigkPh0LUxnQv7URJuufm4X3wQWn8zNj+f4Bz35sFDHhZ6HpkCW3qI6O1GGnK7p
rCR5RdD063v/r7wmHAWE5SCyA4zQ+HeTDTXNImtbk1GeC5GbNt0qqvdz4XARv9IlUhlOLqzwdWDP
Q/ZHSipnSlpWCUC/9r1Ro2/m+mdDntZhACGC9Vli7++Hk3RKUjRBmRzQO6jE84iVsOoYVxrEv5Py
+2zQEbAyEmAZmyie/H2kBuEKDd3m7FDQ0CUGZ3PRekZQYQ1+LI30VAkbYhedYZFc1Y3K06eqKyL5
F0PFTA6Xq0H98juy4mcRlPHxpG4SsjIEhssnLd6mLV1baWLLvbjU6EVZDCdWO3bhoFIc6rNyNiv5
LQzqr+tvt4bPVj6mB6KuOkWQWQzm73tzydRcCzqovsZYO90w2jT1r/R8r7BplmHp6OzZUwuk0O9S
Tq6fqQCK+E0W80luYXwU5btZ/fL02taq3mSHcfJqJHppHcxS7v1zEtR224EafpcPfzokPsgA3oRH
bVKpQQ4p4dBLJ1n+TXXGSqq7WrwThxAF8MPXM0/6wwG6WYn+yh5ug9W8bKk15elWSXAYkQKsvUyy
5bS/2FSdnRwKaEkXHB3bSMqO43PX0+GnGF4ivdfixWl+aG3o04hsoYlS6zLoGAunABllMjZSP7hB
r7mZictKUnl1v8q0aEPaSRt1E7c+CyvlglGQH4UE++U+dtliUiU7aP0Vk2MgwXjVYgRXvofom7QR
RtlEaQjNS+KqlU75dXJa87ITLwLMhX3YvogpZ6C8lxPN/kq7EVMMstEfr3qKtwnuciJSdNoJBCRE
bIJtE96E7tLrGpsP6kTXWbuwVO1tTiH1THe71nS7kbXWxAcut5TLaiZFznGH1iVuBqNBmFtltYEO
JQzxpPcxn8VHT11ULCGP2LLYPc3XW2BtSESSXxduluorkUZMtgU76x/aZieFC/TWYTqQierC4E7c
LL4tt6hNdleseWKo39Fip4Q0VhUXP6cfV66xpwkwXdPGZbYolgkpnTLVrwFtZhlPjIZ2V7vXzc3E
laTlDmQ5roVZ8aLFGY2AH2Gq1XyVo9i+txm6DdDdiIVTCCHScNKU02CcUPHrctFJ+585xAdNvB8q
j/UWgGSRK56avFC+CpXBC+iaQ3MD3Jg8sz/N5zIjp2K82KGcvezC7hBr8apMRcdED5Z5OtL92CxW
mfCUCE8w2NPhXIBD5CidhC/p9CpKhm3SvYri74XGfaEyZmQG7CchC6hZ9qkTDlNLB5xo55f8MWjD
VZemKGLP3Zx0hRIjasGz2QEY6Z4ohku2yUi6a9E3W/S1VYsym+4+eygV3Qkm2YZWrwAwCQqO3TCF
SiV+7PPerdHBvaT5MRiv6x77TLjINgPYjunnjICuQ97LienotpF4Qyp7U+grGyCgACsJl/qxGES7
NnEtb2Pw9QUduDgRSohxk1Zdm1ONtEQRWD9Bn03aSUPz54gpbkSm2L5f88a+Jt1BIK+hwjw3vFfA
3jkPKg6rl1mPIB6KZ6ghdiPsIoYzqmRDd0LbdDlkbgM0pu6FyTPAF00A8UJy+3bGyRbqrs5GO8en
4aI/z9zKqNQ8aMcyxKBWiz01KpcaYqw1ji5zIE3hP8tbL6tOUia8Nk3vIJnj6Wr0zVr7r8LSDFV9
ADJudkO6L7Wu6hQsDhClRGq9F+kIXzEMQ3Tl9GnOi8pSAORs5j4IJJgTAE5Wkgur8tfL4icRAGcC
hREBBAV08iYUXTTjOBZFnW/jYu4WZ6DPs41ZOWIB/v93qBugKBdrVQwN/HSQVIWORoER0mtQOvgN
fX2gz4CYvy7qJqzR+6IairBCsSV8AZXAFmKWASs6xrvhGlr1sxmvW8FottQK3FKcYYOYSSHqj/EU
7+Umd5UJ4k2EGsVC/q7498m2x8mZugwPHdjkT476IdjMhT4yirYBpvzTbQWCYSX6vFDPAGXQPX5z
L+bg4d9d7z+HuxlqidD1ZbhAvaaEv0ZHOBZ1d3FjB5M//Qi686Dvsno53HOZhrik6hlGS2LAZiLq
sK+Ko+FyNvP5Vqqw+vrMPsszTXGmIs/0D5gRN/txq+tlPkZGTFOhLVZ+c1fL9HVC6rRi7cyzijZJ
7399zE+CHHMmqYKawUswFzdBziQkplotwCpV8dEQsAtQHi8czySvoM2vKFff5j+fBfwckr46uFUI
nd8yk4MuLYtKrok68AxlSaNLts3Gl7jHIpNAgV0KhVTkIEz22yEG1BV6X8O3Un6vktcKRPfrO/BJ
qoP6FpC8uiDXNY3bSZi1LCoQSWe5k0X9xnynwhArD18f5fNn++EwN8+20OUmHSJiLdbSWaAfBRsx
QUcueSQEqeOXZuyXkP3c/LsqwKdP+MOBb4a7OfIQsgBZxWv6fk08Q1leUA3IXpRfObYp/Tdj+NO5
/OFo8+T7MJdL81pqkSJTe8EDctipiMY0czNNq6FP8M2x/izF/8zkDwebH+2Hg9EY2oztiGRjLoQ2
SxpenESdJIsVoNkjdUYE3L9+jPJ313czX5SLWKK9C1RwIRzJQZvMxDIbCWsq9DCA8KQOULeCcIzy
Qjzi4hw4BVoeJQpSpYgnhDELOyk26LQdXPBZDkf3ArMwzu2LGdC1DsZ0lf0hcYz0hxKZy0UUucH4
OxlPAmrldfgwyStAMVtK7kW88WBRfZP5f3eB888/3FP0ki+LImyyuRWPBDQJDVvs3snBWQ46ampf
389vH+E8ej8cTjfTWqxjEw5R4cTNIx2QFm6FUbxLUsc8DsoGkPvrQ85P6ItBY95shVIEpX1syKYy
xa7bg0yX1egsOjcSv9HZ+lc3f45p/jM8b3Xz09Fsgkge5+pms+mWpHB6+z4ovixjHLyYfugpMmCq
ZOdhcpSl/45uaXGjeLQUIywI2tHt/+Adj0QfutBtU/jtyZzaRGvWKPboKA5so5O+GeSfoXF/nfjt
IFfEKq1nmgpeXqiRBRY90O1b/qbOA9lSSbgjJ/0BD2gqvzv0fPe/ejo3w89MlWpcXAACoVlwVHiv
V518jkqHQqZV0xYUriDNjeo609Nvhv7/YzDS+0pDNh3Gf9bwD4NRWphZMwkZkYH+ck2oFaIpShUN
kTqA1hGSkJGfiPn/N+MREhKRM706f5ojPhxULjuzETrGY2esLpNTIgaveVXm5eU30ebnG91/DnSz
NNfF4pIY4HjbTKKFIJ85Xpd2hVj7N8/w0wkGtQFpQLiBEHn/ntIptcVSqdV4W9CAg0F6NKPGtBIs
vnNr+Ywrixrrf450u6eWtaxVvUaxzRnyAs29taarJJtMafzywmA7KTVOtdeVMqi7fPrRVRq9nJTK
RGgoJc0USP2BnmqgBHq88EcUhQDkERhepeT38KKt6kqufPz6gX+6wv5pAcM7ClnpmyUviTWN1gIE
P41iNQF0p9R9nDp3Jckev0O2P6vvIGAAy43YjrbyW/JkVQqUKRfQmZG3K6ulKFnBo4jKUYGMv41z
D8SRAWPm70J6aY4q/pnH/znuH4b3h1HdCLXYlDH9SUFo0tAYP8jXwKZxhyoL1bitAd1s0YozzQsh
Mrem4qbCSamvzxqt7wB+o4qj74gcAemgruZrRa4eZrPD1til/dvXD+TTeS/Rq0UZnQ58aAR/j9jr
kPaaItGMGP2+hvmGmOwS6w64ECinirtnQEYcfcdaEv/Ypd7eo5mdgYIJAhD0zv19WMjlIZGEnm3F
SbOrFnwiytF/3Yv0NLSMxbQDPhNT+0JtMxkua6WtvWunbCpkm/iZVYKTdBGG8niZqAMGwPX9MD0F
6g+BWFLo6B2e7Gseb8zctBL5amOVir3Yi9ngPKiergllVHZc5Q3/Bi65z9HrbOA9wr4Mn8UFY+O6
BmxpNRzjLy99Pr0pCNOFSGLB1Kna57R6qid8qgH5IIfPa7OYz6K11ysy8QCz8Nvy4rm4vCiInjEh
XTp25oJ1p1QrrT0p5gO1bbTk12Y3eaUMHseWj086Qk0cOY5bdr/LSpQepgtuwxRAwTl0M1+CviC6
p1kU4KEurBYglYDQIwJaJK4zQRisQKfOXlPOzZv2HrjPGQijEJ6DXKnbVyiA0UW34ir2+xxJ1hrp
MgNyb97C4BtOZWywfkj2BP0vpB0oka2r3lgSkktdvzW7Z6M0LINnNJtbyIgITU220werrw5zEJ/Q
vyqmtZ0w165yaY9TuSs1yU/zkyyejLCxVGHPs1/FF9+cYE5fkSpalE9R0foZtXBRPwyC0X2zKH+K
AHwcbDdpDmqsqPbIBObEdbNjj96Fdrco0LpULRB4hM0s07jaUiBs4gUQroEPk7aOaHXidqplc5Ri
AeAMJlYFXib6X0/BT4kskgYljqImVdbbOrRpDFotDMVlq3SSjaVUazgTUssjvOtOghQKMW2Rja6R
7FMaHokFMr2zO2TGsgxPKqSPMA1MeyfRWLvjBBtk8Zvg4NPIH2cNvCAWswr4bWOGmBYwE+aOSz3n
OLMi7KBZGuK6Iua/EsrqUo4GOJvexb+0b6GMuS4S/Xnfu1OG2DHmhwCwocOQV2eUVmQwxt2LWox+
umBuhisWm0AX7avkKahqXafHMolAdn9j4jZjilKYe1Uue8loOvEgsGmM3zyEz/gJ9KJLfyrdUDTU
mwWpVbpan3qQkTFHGy24i4M7Md62UIcSfxSofthJtquMu0Q+tdM+ENww4KytBCJitgZ1/GZMzIHC
7fr48XRuhqyWd2W5SFDk1ObO1ma0IMdLY+rOyNQcnjGBCUbDfWhUbj+su1Czzl2abMbcdGDDzMWi
AGfElkatMHzQpsn/vkXqs6CKjmcZ9zTwmn/Gbd6WmZgoaIj3EMfDM2opWYrvnoBn+rCqF4+CsguN
Ycljnhva2W0V5WHuHxypA3x9u8Q/5nT/3i/OA0wFiwjt5n4t1GzRJKNWHdq14LY25Ok+tlG69DI3
XguWvCyW/Q6azCp1QqfBQLNdXpfIHPiBn68uNj7GTuKmzsD7xU2+y1wWsWXmFu51VXmXFYRUaEWr
pKAliWrIkRrp3bRReTeOcU7jXezI/YUZm4/T/WqwkK6zaf90KKc4wTJesZev8pVpt8vSGexxOS75
sN3+KF6Ysu7CXVi5O26y5/CQnbK1do7W5jJc9hY6N17/hC7dXvbTp8IOl78r627+eeQ0K9pOvMZ+
D+3eAr+33qVZmKj10mXkN9jMt3dUji28453LIXNKe3HSnMjHlc6+OMkqXgo+29lO9OV7c4lt3f8i
1dTY3v/vA5kH+IcgaNAnKQhHhEXwkgJKBuiqJqgby274Bt/V/zzbj88e8Sh4VdAJqFsrwHg3QWVf
6mKgiXGxbdfyQTlhiumLfr8Wf1wfk3vSxstkZ/fjY743TtKJeDfZygfzTv4lHIQDuo+tXW277bRV
t5e1uul8Y516nW+6+Vr1qvvLfn4JB+OU3Md7yIKP7Tra4iFxiO6vj9fHy0ty3z72j8X9dV8eq6O6
xT3wrjzIG3mTe9N24DcVP6/ncFPvh215n92j2Hl5oVta/tEbdv5yeRTu0pf0pX5XD+lj+hg/6nfy
Qb9TTuEj2hiLFQW4Xb3mlVsXD2/ADXqMh3HD03c1t/cVrzxpnuGiV7nuPbxZUSR9Qhxa26OBqO2T
nX7sn8ZNuROOFNqPwrHcdbvRzzw6+Hbjpt3UG2Gr7Bfndm16phdt55e2M3bdj2CnH+brDE7BSTjE
Z/NXfI7P+TnetJOlbuNNvGmOg697E39UL113noGIOF5o6+QY8aq2OTdF3RSHelfv5I3OJ2Q+p+b2
/MV8T0Yn62xXsncXy7Sed+let+hq9ZEpdH/sRrtfV8vebh1jVfnicp6Ow6bz0lXoAHl5NRM6XAu2
aeOvuByZSXSte4o12IN9RKbfg4eImIhiYUWLdlzrxnZjzW9ul/1StufXxcczzrkuY9MSHkuPOqmF
PpFfbqRjcK8cy9ext/U9novNk3ak6p2+BT+NY4guyjl9iB8UJqlom+f4rRRt49g9dQ39isI5f2NJ
uMsvdvhM2eaKd6VNaxEGlrXd04Z3NxiW+iSIdnFoH9JnAIZT/1DdXdfB+rq/7iNa0ffdtjiGHjpz
x3yfwgl5D8+wJfbFfXEfzkvPHRSI6wMf3KUbRGlbpMwGBnJ4xrm62mb39J5LfLjet7wWu+5O5Rld
19OW35Hb+o8dDuXn4ojRDPbRNENZDYNX3o4TX8xftvuGD9f7yxlSCo8495gfT/UuOUApX1rhSvNR
l9/1D/KmPNQsa+oyf67frrvwND1Nr9eH+JSeai42tbND/Dw9JXcRyrZLbotihc/5Q/Az35l77t0O
5NsV1/U2PQoreZ36CO9uxVXow1WW/GIj+dWm2ph7bus8jLzJSw4cBFeFTeCDKa1yv94CI2b7Yl/u
xcdyD1USosy+2gtrYW1IVnoMjzL00zWMIsKozgqP1SNU+PReOKX3aPvFx+jcPQa/6GwZ6A/Y62t9
XeyDX61kJftJWofH9J43nvncZGs/4iPHmuzk3G7jIxSl+QfBgep7LayDA0KCW/O0+FE+5pJlnopH
/TSto715mr953Wb7bN9vW7/1e//qDjtq4ZuSqO50OWjePDMnyqtMUm0zrIp1x1ftwfA0L/+lv7R+
uR+33Z62PA+DgV1+Fx9aVgQsPHbFmsI0m697dZVNs8vWnLul2tJSccG+me/8qgdpkx/yu/SufIgP
/LkLIys467KVPYR32OIcjcAuHkiWhJ/9E/JPAQqrx+wBg6ptvjH5g9HUUdhGO+Fe2F68dm3s5nXD
sH/Xm/6p3FUcVr5aw07ZmlADNslm2GuBJW0VTlp+ac7VuT7Wx+bc37f83d/LL+19db4eq7OW29dj
t7/+7u8llIuP7f31eD1CEG7OcHebs7hrzg3v1B+H/bAPNso22rzAiMOH8Vyt68UyFq36oG0uh/IE
L/LQcUPqu96w7uw1PlvL3L0speVlqXiLTXjQj/pRPco/82+Qz9ug6M9mBHXnz1YkqeoNfih0bdnk
ZVrujfYBv0YhfYfFClz5XcBzEx/+OcxsdEfNbKZn3myv/WDESd9R+q6d4HTZ1ycW4I1go1a3lazw
F+jhJvgmC/j3ytBrUg1Q3dmj7p9yWXety6iJ1QudMgh3JM4irOxaUewFAthfX90fBdG/d3So7LJO
ojWTL/nq7+Ahy9NCihUt35oevMttwq6ZHIv7bpscA3ZlYrCdsNdKq/PmuOry0G3u38w54lpRUvBx
W6uZXNW+98FO2fkK9r74rn819pdvnvY/jaVwuXV6VuFv4g5L9fLmTHtVV8PKxOCkRYYDPbNLdKWV
bnJmYrP4EMDeJLOf458Mdvuwi+kyJf/vZdQ0+vWlOhER6Wm3XMiD01X4ZcP+aQbe+atsvqE8/YP0
zKeqwM3XFRMVJlh+f9/URbK4hF08UgxrXmjFqXsMhixRfqZhr0IyA3Oz7zqJ0Vz6Z5gC9tGNrWiS
Rkfxbb0T3c3LMBUIAFbisq1cXbT0u7hYIQxfNusrWU21TIm22tV14SvP2l4vbNMLc0SmlzjtXsQd
eKaW+K3gmNIyhSAiONfnFrnzn029SejnQCH94k1QUtIN++r11KaOUHiBshyTFQNkcQd8Nb2SdFyf
g9JF7MR8Qsa7S+1xp+91qC3PwLTKA/4dC8O5EjdMy05bG6otnxe/R9FSWkz8QFj88AE5sNgKNpJ3
/aH8Sn9GZxEPwGMtzswe0+l/qqfCG38PxEKkOD9SBRrUCtgl0B3hNXyLGit5r7da5ID2mG9oyqn2
Aj61hYqMeRJHZxa4QeMtXRYOO5WSuWq+xDJoapeJ6VSUz9CTLthoTDCL1o4VO+9W/Z34UsHNcaBh
CRcgp93wjC1DESJT6YjpKk5tFXX5HtM6OOUO9oCikyXL+snwen96TiF4rlBTazI7fhFJaQ0b6VsA
0UyFpGVFW5TkBXYpZTWeC/WbSf4PPDuPx49jY15vPmQIKSzIa3QRhPtmTqJWb5bqkD2S87BFf3Os
f5YuWRKh2EIvoJMenU3570MtsjLCr1eWNv00IevLVGucUlos5Yv8Tdrz74Jwc6gbPLUKirgbaQq6
H9DtwKy4pYG3swY/nlsxYVM8iPvikVzyR5NZ0KgS7+JeDr2n+8Lmm7XpjyjsX6von1OZkV1orTTY
3+TEV3WRilLQ1NBJzujHmY2tEV1kNhqyI7aoLJWJ3/B/shDDRpue3mtiPIfODNJnyGNKaZfRUh9d
+ie5khCVKPRgiPJQw8HHdt+Plp6hBOSMCBPUXlM50XV5GWw8xPphlepOQ6Z7hVxoxdd7KdnGAv3l
vlC5jeoGuidlrtTaWkWdd6ldT+XCz8JTrp0XzQ9TpZfHrdnZ0Y1nBj5o5292mH8WJhnZBgPSFV2o
kG9uF8NrbFSLIRaVs/qrpTsUNwqXXn9mf/M6vIIpk8491oIjl45po6hP4E+0XeAOFNkpLaeTfZHs
+rJE2R2bi2XiaB603FwBQ7RV38uepa10WaZLvXO+OfHb4oLOiaNtAUGY80aa9ybZjRrRmDk80nGI
MCoVt6L4Zqq4NCnnOE6XU7AWaO0a90V6sRStZnVExHBZRk4SL+Vl7Lix1XaOsLCb1h0aTNCUH8hZ
War5VPd3Q3pHg5LbDMm6JXBXr264SsQXHQrnNv8taHYwbvPCl7VtTvegtvz60qC935aH/iwJqDAC
G8AkQDLk73kqlaXWd2ZWbCvXeBjXwa7aKiSTJJJk5bFXHju//E0nuq+ty622UtYlSEcJpiGtM79z
WfKdxqVvwK+28b7Zxmdt3eEKZs0ZqcRHwn3jVi5Vg9erJ9OYp5CrNj59NK62MlbRMVi1TmYXq9Hr
N72HJ6vpC7xqT3OgbW61E3358V6jIw0i1EFb5/v5AKVP9fJF5IYTq5TbYKedsJTi7MutBGd7W20N
vjEfWfDy98Uq8rUdfWuctMHx+fRadcWlYmPt6lY+sOKydCVHXioOmbIbrCa3d+gEfircGHii/H3d
6zy4LVtjw2crfz7sYr3gFuBzuUq4HQXfw65wL3ESiT+DPpCX3dJtV/UKe9YyssijveY1OYjk0Oar
6pluf25X8iZdzwDX5E2biDVgk7myR4vFSqL6tNI9YDQy8HANODt58qZesaXyDWTnV21hK78rr9mk
u24zeLwH545Zvwfb+8LioPF62oRr8rUEGqulknHu892wmTzsIzfRXeDPH5r4N7paDvYrm8abAbTY
H3/VLtJoLkn/euLkqEqS/nZ+7Oluzb8A5TC38AZItXZ0SFKbX7EGfiHbHSJL34y7OXvVvRTwYfBF
EkWruW/3NQYYWxOXaKCf5j47XvZdZ1330zYPLYB3f9oG68s+3eeaZVSANV24SvfmoVrqS/PPS8fH
RHMMR0FX7OeFATKu4325jYCJ8PdhCAtYnhg7EzPqLTjuLrpYqPztkBc69aRN82t+H/ZK/AkgPlvB
blxrJ0RKDsJdsGPnoNikH8Z1wQASDikjOuE048kqCIeb7Z+h32EwEx277WWvupodLWMbQi73T/JZ
f71gycN8CvwUCFIB/2hdedW61x8I9+PpMgMm5qr2JTf3O9tYCiAjozs4c84YeYOT+xdcdNQV7Gjt
EPshWKov7GIfQxo/30LXWeN6DH0F5b/36F1c1a6OEUm6IyR/C/yGJ0lpk3O5AnuGq+wpBkuVfHxs
/GmVoKrHmw2/2wiOARQ7uqMruaIjO7Wf+z0nWru1yxDwzJeJghHHCH0o917hhVvM7NzABcmxyo3i
a7/VfeNZ8U6bD7pLd4ZfeaVXgUZpqCm6opev+1XuFfBQIndgUDKGvMidVqkvrueDAdwuU8bxQEIR
rtGC56xNh6GqO/MtW/yab0/l5Vt9NZ9jsMkcxcsc726NL6i9WC7IsU2gCxWRMrt6hzYZs9Nasc9d
84t3fTet4PLWjOSAe1R6EMGXwTJyCQicGWfGieVh8sLnYRO5nTcDXPMZUAV05TWtyj8lMtdmLy2z
dQVgnKHbNDiDMwPJdPS66qpytLv+F01cPyqemkSmmzixS8csYPOCnBeQ2StWC0+1QxtfNb47OGBf
fD92i1XKe/htPHl9HXmig9IxebVPbPJTdlC8n68Nl/qVyU/nr83VxZ8IZqHR8ah0xlHLvVQdlacc
rlAqZOY2KBX9hp6ODMUqe6028arhT8rrwiJUMHPLu8KVl5KjuopTsjipm3a1eJO9BR0YrERA8Dwk
9L/W4Roe2HH+2HVFpvCcr2UPw6R8TU08dzKX1qlVsGQMcctiPwUPUlckD9vUJ2DHUnk98VxC32SY
VU7Di94AnnIB3h8t6UEGMESPdYnLOjPG8JvNPCgxlfZNLI1AmPIdVH0wjQ2O4JMHjBevGV4O6ozM
pXnMC/ZbR9FgXr5EXrKHx3h+mhfbeW2bQaoBxGqGQNM1P6p3ZWGpLLXyRniV3kaSk/Xky5ElBNbk
x5txr73MCxULEXHjpgJilbe6m3r1HrcCVrF+n8C847axI7Ak5txaEiRnzoVzBpbA8MXUZ6/bx8DF
l4gWeHJjsiKXzCTwqH4cSuf6a+KehH5EDes9jv8MVXwh/fmKWGu3jOR0Hdz9uZPoxG/NXQMYh6YB
/Sp8DJ5QZTEpQx99ytV4QBr04LiKdVSfQVl5Q7jNNuFWuqPXggBuHW+nU7OGZ9JanEQJmf9ijb+F
t8BV0R9iTk+cbulZYX1AcHJjxEtjK++LJ3WP3M2+fFLP6hlEdjsEtnZUjvq+eYofmqeittFKMn6m
QK5KQhHcNvdBA1YLu6V7DVQg2fhN+5nVfCrB3ekYPujn8ol/62cRf6CAvwF4tZ+81dxrx/mvs/Yz
3jWv8YNR8Cl+5X8ju68x8c8xf+heAXlfZ6g3GNbDU5BYwXEeKE/BT+EsgFFyQiDDjKmdgKgqZ2Du
m9f0ocFibJnu2Ol+JnfsUpDwGHW87bl+SE90aDAo8tCOTwCo62HeKn+yqb0GPvvkG79Zx6FserqA
KJ+iw8DicRccq9rmGEftWD01vOavzL3xU0O/xJYB8mp7IVgxMHWPB9NOPWvzFel7ANen+TbgF737
c5mBjN0kPyrwkt+FO+mIuCbJ87HYBFsmcrANWVo1Xz9XLKr/Rdi5NSeqPW38E1GFnL3lDIqHaBKT
GyvJTEREEEERP/37a+e92HvmX3vKmiSTKIe1Fr26n376aXnKz7GYWufknjkpAyln5sPyFhs8F1R3
Jlb4Orm6yU9OTru/mdgGjrplXsuJPlMX+syZ0teofEXwfYpOBqdDs59JHhblRE22U7kOebsztdZ1
z/XwpZwMi2EBWrC2psWZ/zpTZF7TbdyPWGa76Y59ac+vzAx6NZlHg21my45RTXh3l15TO9uxed34
xDYsgZZp2BXdUijQWAzC8RbH3QXRBY+ZnUAr9Y+Db2Hz1JCmsgqFyHNnDn1IHbu97hnzcWbMb7lX
vOzoV5dpczPTM5WvTemxyIf5fXafHRQu01qPZpc3dTGaDQtnfdHRlHV7IICFvPSn6hUR3rHqnV6N
X3PE9O2frbfu9YR1bz1Z4s7bdrF7RxvGcXHcPkev1dwmKJkfl6d5T9JpyOplTTrAnlA+Syrrkl2e
qaPHANWA9iyppSysY+YsLIVFe30lPSGpzGIux7hk3YrmVeI5Tcaqy44UrZPxE1UP4tPlc97sLGS1
GcyQzAkPKI31yNYDHk+G+bC4PQ303dtOZQXYM3lLv9hPkdWyM5NB2U3trHgx3KZ2tyujZPDKl/O3
uZRh0/k6lNiQEfWOc3W+nzKQS31pLocNoz1e7tbjpTPfrXfrgm6BXvmiyQEMPpi/2NmYF2NPARqE
IQ5g82GD/+vLcWZntGaeanNZEju5mt0UVGZMgzVJLDAx00RLonJSxULxnNjcoSxeWv4kdCFkMxln
1/QU32E5TM6vuyVkxcmJtWMkKOh+NtkeUV8eTXm/M72mt/Q84BMdyF/8SgPoacNO6oSntAnbH0pq
kLVDBZHNeYjr3D2w/w6k7o4hnkRUh1d2aRgIGnh/wzsvSZsoUR4r+B1wMZXosJA9WMdN0jlIB2jn
AQuds3wpOb4Bg0DnM346kVRwJuaHwp5dxkZcpfW8XlFrk0JXAKQfNW4XnYFHqWSdHMgn0kgMF2GY
KAk/T6B29/Eu3Plbr/S+FX8frlbUwEbQJ73z0/EEcFHGxaRPlPTMc9LNrnuvXijf9cIGDFCC86y+
esfFHaYWWZjj4rBo1ifSM4fFcSF5mdPeI1qut/y5eCqeDrzB2chPx3XxtIcZ+ER7u/xJWY5zjwqU
cnaZlje/hyJDYockh5IC7u4eCVBJkkh2owx4GFJnQlHX5EbyxJqYN8+akPRgh0nRAuHerxmZiUnF
T9akmTdzlVanI7eeC2jGL280o7iB37qSP0Hu70SH3vlh3pFoYQQZcSUaBQ6jTzowIr8y0SZFWqTn
51NGH++jA3gF5NbH5c/dvJ8ctGCYHOiFN1EnTeWW77xrrk3EcRSfis5ZKxI/2XZWPNuLkhkzmAg7
OYd5dIkvTAfdwLE9WnzKaFGXycSQ+F9SKh2c/CKRkK9ICDECiGi8n6rkrOIfawBZyOF171dejgOo
umc662W71fZptxomZzpQkms6c083/KdV99xlCN51z+SF5sXy9LPsSfmcns/PxqvG6EEeWLJwSKk0
c1Ir7/J9R1EY3Lz59We5PPI3lta8WdWrUe1df7bQ/XdesSyX3bP2adGVcm7hi2bqZLxwZqNkHCMF
uqTmHc2rjbGkv/Aj4Sxp9eNEfzN5U5EVmTMbc/2Z8dRMlEmbXlKJoZxMW143TsZnHdpEkNb1teWF
5PhxMqJRAgeAzzejxUBWTcek99uXC3n/8aZY2Bt7c3iq1v1Lq0X9i73JDUAeYB417huyof0L5X5k
8oejj/LM7qklt28NwXjevIzn47mWjucUXC7tuZrmV7ea0pnUIFQbU8dAkC2B95D2qcrF/P/lwEGo
J8ZsvOYf+TJr5szyTFoUPpOhp+aV1nX2QmZeqTyZ/jHpeVuhIY1XYJb5+xtFrWThcGmuAbk4gzaP
3n5VPSPUV1ok6ZTFznH3iqdcA5IbTPrdHyfkmjzNow1d1AZW0MZ1RwvLgoPnmG8uwXqynszEgkWw
nV0+y2dSItI10Qoml7ScmnMjtdJdLLjCdUqBWL4Q+IL8M7HnuHZPQnIgVq5IyFxezE0LbfVFBTwk
M007bAauPPIbfWN/7Wf52lk6S4lp+5RQeKLEMiLV14Ue3wIwJveFMZNhKbKW5V0y51R/hLt4m+7A
Oa4knJsU+sSkTu2Y18TEs8ZPonr4hvt8iUx+OyaEuM4p1lxVYBMUk9CAD5AfpEP2wDb7hTooT3jm
cR/JUW9TeRULc9NNBb1pLNREuOjd0wkkqI32aTE/ZnhEsgeIh2Qkysf4w/C3SXInGhGLPwJhILsN
7KEElb+PoQZK4r5L7Nolqw4qJIjTFeEn8Ch9pUVA3Jshcjwtq2N6CUVVlKeY7eNci+UFtm+xiaRV
JhCWFfRgORqoDmUvMvKCblVTWdH1C1XRO2CI7fIXQQCJ/9gBw9oBiEgYVc5vBJcnolZIvI9gixx9
BNM4IpRgXhndCNDWiipAK5lsC5DD+e5gqZDdBzLZpxWgEMmsQKApObPK/NWBCY+oimRPKCOHCzSi
07RK8sXu6cownpPj033qcNNlYkRahDYzdWy8tHiIlcQGQjOTJmauU+GtXPkLWn+yTWE6hbly5jcN
iesGNLzmK7Lf8T7chTQamDSTGmIK/S1DO8mznNViJ/1kP2f3LNi85DBDfJyrE3qthmok10pFb1xP
1KgSvE6ZHyFTMM/N7H0fj6ayBhjbeb4Yb2BDxDS+Ty8ZHIXlbgkX47leDtmQoXuRdXN92s9u69G0
pA4R9MhJK5A9+mSHFlZ3nOSRnNEKysz6LNJTpsZIWsLeSnpPBuiBFTKC0X2xDXbhKYLp7h4Iqvv5
6ckK8xjpgZyNRSMLULK7yu2wi8B/zlMtZjVwr3vVtZMLWzP2H1hyN6em4DF8D3/B54OpnDtP5e4F
hgJ/fBdwsQMTEjJJ87RNBSYUkLDcuwXUqC7sQnvtQAPrY7YL2fpbPn0OLynwZLQDFdhypCJxllZ6
ByaVown25IDFgq768OfBiEbsTxr5KvmZjFFw4A4V5HLbyTWU/YmriE6bLlRAZn0ZKGSuUxoLVF/0
Ak6bb1VAWZZlzaN6IMynTzIRcjkfQSi5RPnmEMviBvvFjQcrhTN1ZuLqGdIFPOCn8MCnzoCL+K5A
CZM+MkA55Wmw0mqN3l2+OGC5QM7of3J1jbN7BaNlxkyfXN/rjx90t3rcd81+ep93oYC0VqCzUPn9
Z/154Tu7z5Q22S0PrbxdNuaWhbYF+GuhTjmBTM52dggPDAF8m0D8Ohm821eeON6SKIyde4+Dlacl
vRMM6ipcg1J+lcWLCdAm5Pa0iUxhkRoxCsQ4aFdcAXwPesaKkyE0Bo22vNBBnPgWnaB5XGeHwr1F
5kcTDom8jGkRtz/ENSninFc1A66JBNTBHTWjtkb+zhOkS/2q6Q4LmKNEBvAfZVbhLgGJg6V4jm1C
OwOwjoAJOKfXaYMt8BcoYABJkTcLOgCFMe35mKC0KIX5FkjZLqLNO7E+hMd3AQR2SQOycvrsMEaH
qIvJtEL8jrdY0DayX/fpMdquBQpCTgLw6xrLYRpfj9DEDeHme8eQ5CSmBho636EzAGKhys5yEzoL
5aK8GxU4QE2gDL8F2IH6EMqnx9Ed9+oOPNZMOxoTN76xOvN7PdVCA4SRkgwIoNspBHiAM20DyJkI
kHbxO3CSOwAZi5+O3m3QBihSuJWHNxThvvDwXSbj5Izl0pjMYmmxyvE6Nd9h8m2/C+llL6b+HI7j
k69iBik2TS/fBX2x0yHtWBDnLzXafeePddfiuRV4eg2seAxJHskDZ7uXQJmPx+7YjtlOYd0BKcP1
lQOY89EXlLyLwMIP9+lOvRTkm/OX9Uw5cTxg+pSwezuHA8fKk2LK427Q3Z5PSxbAyW7zNihIlOir
OsB0TRsSG13YBNfwxqsJJDdy8s/+nYzIJdBdeWX72SXgV2951MRNUJKg2McAdHEF3jwEvBUMT+W7
4OI8DmvHE1snwcSZfe4iVvkH7k1CySZRxYVU568XdQJiyduJmaDpt3MdLl6JMRDJFu+tmpLImKoI
/pFGkUE4zPaz46x/QbIaE3Bls3FSVEfSEdCYGT6SQNy1FlE3L8+xwPHidwDDh87dbYIm2H+w7eHj
5DjNQ1RulFAe9OHI8CvhsBN25d0dMyQn9u3R3AoOr5L3qegh/V0kpykDyWgGRnQNr+H2Wc4CnJ9s
39uAaSvduH6tP1vuj8bRYlLF71dj5/PAYMiebjC/Ut+f7BuPZBKT7wQkQKHwPNiNoRN1/miDnQvD
+kMySTT+Y0pvbwpWqZ5whc1jg5NbM+d0/bx42FeSWs6S4SGdPM2Z5TO37mRq5HPL3J4s2Qun32aH
l7OvQ648ui5SNRh1NTqHuGRBhYNxmpLkJ9GwzXpgEgZG4g2JOCpmrohwGYNqg0ATG3EX3lnJJRxY
5moqQ8necaKBuM4wKmHLoMtC5yfJarOlnOkpD79YCQ0Vh95M2B2JMAc8AzZuxkh2PY04tIsIykJa
WL+LH4A2w9alslgCrWECTe3ADl+kK3n+fm374j2VRNUG4a01MXgRhczL1Olc6HRCdLuaPvGHhq9A
aJRtnxDXaSe4xM7MXrAwJzvYcxWBCZTYPlYJmrhdcZf1BauimTQ4LeOk7YiejvgsBGzhgP2vgws7
aMPQMst8osr2cxUvTjZhdYJ8DVHhUn4sUs0fR8VMT4tZM71MA4ujyBEea06eguJnEZ18IzrjS0mm
U14lY51nt7c2luxjzwAdyGq5spYoXns6fJXB9rUMuEtuwa0Ht0bKvHGH2Fsp/uW19MT3QI7FpyI8
2D0hYs9yrfEqMTYT9ilSAfK6/iQmPTO4uy/ZcriBCU9r3HuqxxON4Ws/d/6KgDI6RXlA0StGDr4h
Se19eJh/MwVMYIWaEEMkL5tkCQ8z3MDo+vY3NvnI/p+5YUjeFIpKrQ7i9f/ODR+uyr53Kv26ViMl
Nt67ECa3GunzaiNOjxJuKQw7u5sRAZknjsc2U1a4XuI6VMlh5uDDyE/72XmqfxmpyjLfuyUeDlZb
jI4ylyegT8WCqw/7yVcWuCx0Wm8ltMBNx6vrpprKc3INORzvHAjCTxgIeaxP/AXV1S/nfUjzhxtc
JGLEKlLV4rM/HCLORDov2/LCvcq4zmex1nQoPX7LqWjNis3Soocnxm2IlRGrKLYAMnSo0uqbX19x
ofCktpnBjVbTkjuEpDrbzYqkTHaYSvlZJc0I1UrlSuUJ7yRDLWGFiMpjNix+W3LVe5wkNRX7Km6e
8oh1b5sysfkJM4TB30FkN4nM5LWN6AGEM0n0FJ2Seja8kIiu1uJiO5HEAnD0+IMeEjs+EtGIquCN
SpJcmUteXtLTA9EF+wpm1VlKhEEinovRUvWbkIxNiz9KUj9fW9F2WSWS6i8TnaBSbKgR/bqfE7ct
I43LH4vbX2HRtXeLbUSiBfMH4p2eueZhYm8lYuC5k0cO48y6jUpcX3kRhmCGcOvYhmw2ouMrD71Z
efLs59g9saESMGN6pzphDLvgwy5IFGexYVoBG7Ck9sVz5GRi9vAaH1FezqYsJjuP9p96IuaxDhrI
uhI1iAtuZUrMPcskJGwuVJ2Rh5lBACCo09nUrgSkDuG48Z0vNMLKjqlgWDhvPh2i/WvOBiI3KwZX
FrzEJSpLUNgHCr74g+/KAw/Hn4WtRsa79i7rSWM5Ou85K22UlJvhTBp7992FozmK53IvEoLKsMk/
E+t/wRIVP5VEnQyTfdgLRMhvHoYvxM7FpwijV6bYY+J4Klrm+xAqMSPeI8OExW0nFts7tLIIW/pA
GfmIMTmGRXAiQjwSbihJwSTkWRk9EAuZKsjHmGJxuIvGLbKeXwlqgc+wEL9B/iSXIp+Uvz5emDD2
Fqa35wJlh1ESsWDgmcl29kjUm8mFD7Mx/eAn5hB02v81qzqzryfHTzGTAxsL94UV/3WwE4f4FV+J
rWbPj8orGAu8CiZPwzcrEhOjssMpusekbSCo8nVy4kkxw/HrEZSAcCUwgg4zP3zzmbO7w6mhqoRD
yEHkGSB2JtPOg7DlobDSLeyQ8yNi7/jKMuAZFqsjPA95CiSEF7NGYMdCEF8OG/+wNr+eGB46Sp6X
pwQ5nWnzQQjUHhGX1XBJFeo6Kh592CocYktxRRVWfoNXp/tysVUohJEKCspoqvOzxGFXYBMdI3CY
4Y/WJbiXhJKjOcwYYrwaBwdmYmTPL4BmXGLSf585+o6VvK+BEyjGoo+FS8rSbT2pmjqtpB7rRrb7
Kqn6RY83G5KlpBYAugCJSGgCafFhks3VSeBKVYAzPyYwFsN6Kti6zu/UsPiQJD4J/C8TmkY6UHeY
EAN822y82zGhjnxkCJF4yo4EOpK3NUmQngh29tGguE5ym8ASeFBIOr7V2TapI/1TkvAWZAVJdZHU
JldA8qrjSuVXXWwkJfECEQ2fvTLhB7orFL6kXagggz5DNh/RBlK/u9QhpfzraOf4aXizkj3AkYRa
ZGc5yS/OAfEvwJeJ1WxemA0mXIcEdAo5H1c9Iixrw4rEw+WteoRpXFRmB+TVKZ4o8QtishP8+5WA
H0Xa6p7SCWFNQWZycsEQoyaxvq6p4XMXRkLhCpftHr1rLEk90oVSuiPRWjexGR1uODiyrZE8lyT3
NtxJEEd53I1cUBUKEacMJdu9S4vwmGl0QeTzwjg5TZwfXBcjJGP0i+sgEaCMnISYctXCBkEfpuWo
8s8Oik+hDQg1QmWs5fQmkyM/wf8gdXZ5M3zItW9k+JNTTIfM25NkIds3iUVlseiMj4SCVUz5D1wO
+Acp7A6CPIlfxxm3ELNcpn1oL0epkvWhkrGsontKVnsUjVhjQjbirI8lIvhZGxq+UFpOaM+SoZYL
OgX3yH6XBSoUA9oNElTK4vzFgmjImc/aDZ/ZtKFKMLyVdcxU81j5dkjnwrDiUVRfdrGJcVeDY1BH
MuwytZfNIwPPYHMAomjORvoURsgIVtSeu1NXejR6xN3O3IzUFVOcCONCxvrMPZOfotbwx5VCGRk5
efF/nifuje8ygzZLf8t96S1U2zvTCqTMMWRRcJux/E+m4/7Uhsqz/J0HMZZHrItgifyUjMSvvARu
cqASiEugXfvHMCf/gP54WhF2G6HNmMgjLM+ZnFpNile5JJl9i0qeDmbXPhrP9j+leKvOHjZgAiub
PCM3Dc2KtYCKI3Mts30TBkZ0ZWWThIucKYwBDn0K9HeZpQra0Y4RHPEwcdkfo/cT9y9MIDmlLEG4
QyzqQ0aa/zyRg8HeYBqcSFxjcXLElIq/VeAkSGSuhBWsw5EP02omziDmGJdH91F8ZEbkmfu1undZ
hy2A78RdHLjAbdICQFH+xi3IyeWplSUtcymcEvnHe7OOz8uscYPgJ7LsZKHI2ro/VpisVTF++QtZ
bl9uhJUdt1gCOdovjo0sVJkfuFmMtjykwsM5sCL5He9hlDk+RVUsbQS3Tt6dt8iiPyRDmM/EICIq
y1edP+ezUSpUMKpixULKsB2j4tXk+uUJsZfyplEkudBbOuKlbaDWTGsMioAnZgqwstF8dDY/BGAR
BpFUHF0SK5R82WFhkgKVtKcSVcRCNs/OEZqOFHzVSTVTwza5k1sz+KQRljDTscYAPgSApD/1wHwh
B+YXsbyAtujkyqFIaj4Z4f3FCM1vAwUqKrxayFkK4I+dCqftMm1YufV6zDmHqQa36bDgzVwr7wEi
mN0DKkXYFh74T2h82VHD25rkBv+snwqGJov5sh7x/1GQxzdu7s7P8lv5N06PHFBIUcPUCFW/TSBX
vR3f8niYygDIJQtAWj8IWHILTQjHgjyw5utBTqSr+ULdgkQH7UZ2NZ0LH6Y6CcYquEYGUJ/p8S7S
gERg6QMAJn4Tp870lIiGtdygXL/OWcDNcfhApojsxJkVtxMvGOdU0F5ya+ACgqA38aggnC0JQyXa
E09VvoIs8xKk4Jcf/AvtsQRBSOVjACvvA0/JgKdCP1LAGHFTxBkXhMTE1TplconiZskx5RPj+L4S
MOJM7sO4E6t1hIXWX/jQoz+o/VQR/CMsHP1Wt79v9K6GM7yFzVsl3dV9B131mnTkwoBKbx9vzoby
lr+Q/JEHJNj8F7VezkrTFWdEQRSaCL8VFOxP57HRXse3NXR65K0KIJyDOx/N6UCsN7G96nzI8Yd6
0ukefxiWDv4fBJYaSOm8j3CUTkqE9kzZptfenW1+rI6un+qVd1/cj3O8tgM6i+5AtXodtN6RVL0U
praze+0DyuqXRQ8/FViYYLb0tTntMp6+kI3cd35+m99tF9ZPTwQVA/U2i1FqewUIdulB/M7oRnPZ
ICSg1MF1O1mAhBoohcBECKhb9C9rHixqxXnv246AfzO80j8stzxQHL/40fkTpZsPl4VterPNLjx+
lpl+Ckll3vS/lfT/wdCXIaY+BGVUC90T63cu+JFm8cWoOM3s09KEVWnv3lXa9NX79+0N4XdpEtF5
PW7Y30TSNKmd+2Ny/3Hm32rr9Gt37tWDsl3jLJtf7yF1Rd7epYW8Ofv5qoZbF7Fa6u0rMJK/NbV5
iP3/fm4Rg/3VJET9vYO6pV6te11y7hcJ2JznDiz28ATzISgWTlo/Ka72cV4wGvFpPmSQp8LD8k6z
j8RNAtdz0xOFCjN1eiYb02FD9/S7vwVv46j8GC8tt04obD276Sr+nsR/KTcR/OW/rvy38rJDXeXD
GW3RqXEmc1GliNegXV3rP/ctoqLviBz/d7nAaCRH/OOMtBGg/RHSRY7xW+3dTj8bd2W4KuuJT4ed
jHk6JcgeBLcQOn0WZhs1td0JwLbtZvQCLXy0gp+20caXbqfehxIF8Q/TbV+y7P1dgXkJLf6SzRO4
QY9CHYhS7M/jwFhIaeE0iN4GUg9BMH0NXgM6pZr+Kv2IQd2qAEQy6HPgw9wlJ+lq7nP8Qek+lN3Z
ik5r/l+G+mHU/rxzijCBwWhO8aj8+UfplHrQjaa4MNbSGiOHWTxI8Zc3jHL0jTP0Pyg43Z6tvzyS
f7QmBpSzpXmmNNOzNcP5zdaOzkbXdBV6IhdPiTOHPtxucwj26Xx78I/ZCaS1h4Hurne4aa9CtSUY
GxKwAbv3rlQwGLPBFhzgr5vAH+otv1/Z7/Z4b1tDeb4oa93tPYGXbj4Z39k7bRTBuzeTF4CRpela
S/7zgsKU+4KKcmaC8/fe5h7e/Pe5JKJcI/hsZtD1/PXTk8h2oOuUQmEKWn9RoeqBHrcHB9hD/EYk
BdwvFBtnP29xQw3/3f38ZPWh2O6q3uf8JwURbfj1ijL31A6+9l6E22NH05EnPvMtK1JAD7+gmfGB
FF4erMgHuuq0ARNR49Vl8mP5tz682kPD5t/L5t/z91ttmu3c9ufbHSFNgXiNIPc+awQI4E0msBmp
I/68Ltg9A1QC3C1NvgNgtyhfH6VTEjplOE1r8wsBvUugpVf/5t/9bQrbnQPsU8Lf+hneAEInACMu
6rUwDK03tq4DHcp/oqYSfjov7ftpblmeDpWjnLdR+0yXi/mdOpPaOzxvFyTDvZ27uOIYi2uMxOdi
m/w8eL886AMyD9riLEw864exEFmH+5g6ERiK57jq2DFD4lgi8czgXTqIk3+23ScqTX7StxsbCeM1
96MZPGu/cE/LKlvBZmJvrT02vOD0XGRNAE6ejSt3q0f7s2uum/j+dqOfWOVRCA/Fq6UnyzsL+vzs
IMHuq2v8taPPghizNrTw+nIPnmmMM7vOpgV4B76qiyiqabJaGv+W/gzhDkEZIgv1ZbtkGLldRORd
JMtoYjg7TulitoSEqpLpnn10QdEitAWEoYWHRU9mQyMVsF9doPXiYc7aV3t9Nb3R4rY4fDrRhuwd
iKfHhbgkE99JOC1rWsJ5GnLyk9IDPfko2bNsEgPkq8jEUYX7F89I/3PXZolZ5thyVOotf6H4/7BM
zs1ohmqk19PSbt2D9ZbXI/dyQEEMJQLG4FkxkiOyUcFR9Wnjc6Lezn6jP1vevDrVerspECVt3g/W
1KwRMKrj45li2XHu9wjaWjSvAz/d2+i7/WUv0R5l+f9+NGjDTXdYiiWRoUTpir3mH9dt6/rxvDv1
1NNBbaN5wkpqYg+xRoZhF4xGiAdOC75ByFFhPfPtfvQqOi/igElVM2SDAs78baIrqdV46kevp7rh
GWWCyqGmIWtCnQPUzpa6re33+T65jCmyRIHQPe+DA9BrjjvIdGc9o1av7r5+X3UJlWsDS9dEnB/B
uwjU/eQ6+1TfQzIqf2ij+KJHNiUw14gipRvl8eJ0zrbfJI4R3u80d0BzcEpZk5J/aKhf7N2D6jnf
lYGCvAfAxPcqpEHb9fCkIflHqzRPNX0q/6jY6pGNGaIT/ck+L9F+H1O3sFtWNncVn8GIjmihu3c9
2eex3rwaawLV3oVeXpNHc4J8jsQTz6Vw0D9vhNmtdz8jYubRVKImgU8tWdofPb2KdnhT5JR+7BZI
8sHxJNnBxI9deu04o8XxR6Ul9d5HRLOYsX6sUKU49SbEiPvz8MVjUp683QYJwWFtaS6RIrWZ6LW2
GbX32jNcRDLLCGW9wE41SW487RUfco1+o/Tl+OaQYXs/1wuH05muqJC9qMgTd6FhThUsGGUQb3U4
Rl2N8piPI8w+6h3ekAPx0FjmdBRyG+GZ3rtM01oZzY9vO44EOWrFR9k30KBC/uP7qgYOnBZI08/D
wesonkXo2s33MVTT8kSo2kwtlCvQfZsSM568XgvO722XtSeXDrslnYo/aIBEa4fb8HxjX7sFVkub
DRKudo8III+XdzZJpY9//LeD9WcxJmpvNh25DWesG7TR/fcjUZjHe6U1dTlT1eWIZwJF5H3zfjr+
dLgy9fbzv882+h+iD3RKNFV6xJsqjbqd385X3pt2GO5Ov1bf78Xz5Z4MJmRf0mXb7B6Ojh4tM6Kz
nTbVk2p5wJe1p3cutat64bEWNYU2FUhD+4jLIBqHnRnDD7CisluyQ8WW6ZfzPqKxnUcBY0BlTczO
U4QUaKgExCjpeGDfrzfX9qwVAvxfF6Bqt/WPmy44Q7tWYW4fV8Y1RKIrG4E3kfjkAoJZgDtAZdF0
O6c8JoRsS82+XhPH09uUCqQKnNuFddwht/Vs87T6/bzZ+tB5zs/LXTjDN6o/vhEizazwMHJ34fB5
rr36jfK4OwSeERom+Am9e4X383x6R3fYCZUXbLwzYRugV3VatVCyq+Wm+KnfEGn07BckBsjF/qU6
V5zp3wwkZeRocYxMZADxAf+9GnaX3mxV41jO6tv7qEZ7ULoBabvn1vqLLf4fbj3lv47piEwFtcAP
3YB/mOKTYQ1FdT92U73z7iimzpyXmyaqSYDle3SKPHUIy9noOU/t5L/X4J8hDBL4I8QxdLSIEej/
zYs8NXsaxaqj21QZ0aqZVj50unYvurenN8BNHrL/Pp2m/blb/vuEvzlkjIN5rrbnfm0cXH3V7QIt
4o6NejEC0j+SzIBHc4h3rYsc9FxGANoH1atkXZEobaqfV/OJ0u4hMF726dGigokqFzIo/nhmwDaj
3Lsavra9S53b5qh6CrgCpdx1pOnhcan1yWjSNUH7vLWn1O+MX2iF0qQRnY/PI+9qQ9bxtmhjUme6
PpDQ2GUU0Bg1fXpAi8cpOJ3qk7K5BaeXfOawqMGfhqdTZKYG+E/2cX0/RSKTiNZPFTyTfXCH6fjm
nZbt3RdJstx0Aww4U2rCBfTH78fc13a+1QZmtSBw8Ng4FQ+q/1lFxgWCVe/eK+jSP5z49o1Tc/a8
Tf0KBeLz29uIxotQFAxUNqJy7JpvI4T+vhvKr+1YfUeUJU9b+Hx4td6WlqPT7RO8R2uMCnQIzyFE
fq9aGyFFPIg6Taib9ItRCKNBI6CL8fppQnP37goBDc0AfWNNWU7cviEOciO/GYrcH+7OHo1OPAGK
BPrhVQPOez11uHd7XL7as7ZeM1m+mFUIADcMfrXJAWlcWt/EZJu3HpDL9tP6W/vG/7nCCI8tlA6Q
vuAB/vdj216LYnzdld30oqbVONrnWXFZKs7yXCelTuEhVKScYjsc1XxGGSxdz/LTT+l7mVvodtIO
aA+bgu7a1t/asujyMP1mUBwUflSLC1NN9MX/fWWHWuQvqxZeaXJFqMrwtqzvCbmdvUbFEvpoN8lq
kSYihiAeoEnp1afWh5zWZWrkPqIRDYktSilW5FL7Jcnd4kZe3dHmp/1fvNoHkvDHtWqObiOloamI
X/92rdfRsKvtfTe1K+r5nVQHXgSioyAYxRR6FCZUDYw/KamaaEQy2fh9PCtWF+rUt+jSbZpM9xEB
vKBBg5PEHTqVS7ETyDbNhhKWWL/CIUBzC/JQQPmME+7A325SBMBa+YvNeYzrf93Lb6jJuFHvyrm8
Xab9LTh+wJe9B2qZ2uOIlrwG4qzStgxe95CiH07ans4k9EeyKY9ukf8gxjhvOrK+qwHfF757fK7c
20q7uRhL/JacfoHo+DnRaKWmTOs+RimkpxqEJV4mJLwoRDsnOcXMh6nzDeWEGmni6wsdReMtBELa
kKT98qq4NPWtNlv6BlPUOZXsc3EM8Z4/73t/6yDseTtiAWbddt0hi1MG963fIQMweHs9YqB7Ylcp
4G63sdMTe/hdjKkaDXOHlKvF/yDF6675vqcic0ydFhk+fDsbDs6b/Y2ij4MYISxrZXEzfUqEVpTg
oNb8SR0gHSFS5bkxvQ5c/w2Aa/xxyHbAAGQD7ma475I7jbuerTV4CPocFK+3kyP7MtyyNyQGyYtR
pq+k3Ue93kHCgJETtsR3B+9AcifFCRz3PkhOTrOtwxTNOloOULDilkCzYed4Ds1xUjTpjJDNHi84
xxjBMDyTf6LSh2fG8ro83hVhPQ6VUXh6hypO8xF8xW/KCmE6+nwZvd2uQT52j6+T7eCPKZIFnacZ
G+VGQjz/2646+h+O5Fhl39Qs0Yo1ft9Wz6PK2Y9223pqqiPvYpgbi07UJ70Kqrp567VmpY9JTVET
dt2HdQ/l1fp5I8YeS8GmQ4nYQfM03OotbWP++2F4AFb/ehZ0ulxquqqZBheo/67e1SnIevVjy5jc
OpSpSvo+WwSnTb2pCgoHzF2Y97Y/Cs8j6+62Hxa9DzVTmZjbD/2Wh/UOhclqOdpmN+RhlG1qHYOc
3XEMl7VlSOnn55+3A1u1e2tPnkMMpYJhNL3qOkXnD+Y4QSXsVJPQOXya5pmm00+Xtlgrg57kYyu6
nTv3ZhJ07PxhR7Ck05Wwej/QkO/mlcNcweIpFdzmqx6cruAldW+7tgbh+wZUpdWZ1VxmDa1Wm/FH
21/D6uiPTlT10cdNH5X+roUspX0Yt6de2S1bFaEdbm/XXv0rulotS7qZE0qVLaIy+255HK//e+z/
0JSm05+qIS1v2nhaSMr95mw1WxS4x/3FmpXHwr9cS+94RK3K+SwPZD5yqFOoEFg6LPBCc/t73NHI
rWLRyoAiUnWlXG9vBPf9KCr3b50K2npPrS3EFOoOh/aMcD4aXtdtrFCMtCUXhKrRvni708OjHp/C
Ri0p2mlcdd8He+dZ7QK1/5upHf2xw3GHuMv2GIFkg1aev+0anZPTT60/UvRC4LtbbiEL9GFpRRcl
bhS3pfWimhz6hUF1y98Ajb+e+zcr317tm10jV0edQHql/P40uV/T3En7wif9jxjTSVvu+qikfsD4
P8LOa7ltLduiX4Qq5PCKwBxESqTCC0oRJHJOX38H3HWrjimXVN1tu499TBIE9l57rTnH/KWKVr6V
0Tefe1oP/lPAB112lfyshkjC2oyurEQTLD1pcAm5yRYAvbfCa43TPLIlYKnRnNw9052sw9mDuOFs
qTMQZsdnHA2sYhYHTnlSVJelbVKcCvRsf74T/1CFblcB3aIWsQxOvN84WdLQB7UeRNlRG3flw0U5
iZpztV5jpLHdjKcs0lZmsvj5Rb/LWblIhI9b0xRRlaTb6N9sMMBEjiTtihj39ml/R3wnIR5Fdgo5
el6ZGnYxTrkqXBOQruQ0H0qWkPOlVp1S0RdEAmeRxIb5kpSHpqAZFa/4Z3VtQrS/Llp1+CzYGn9+
0+a38wpvmoRgQ6MbAO1QuzmvqHqkNCrJBBuOmXs6Aq7ynm+Qv4/0OgFB8vPglUg/p3lVy8lNdDi6
zEFnMJVRD9O/MNI3nn4XDKwj7Cxautc/YJrrsmUOPtEkIqQBkzphxJNPTOodJ37EA9PEXWT8YjL7
L+44/qJpOr3mtDMxE7oMWPmVDzcudn7LqtD/9RibsMLoayo0QuSbqccgt2PRyXq8M0qvl+3krMLD
vQDrczpx68fuBS9a51JIW0/W27hsXq0n/1x8UrF2SA2Q+SB8JU0F98POX6VAX64P6VfOSaR0M9nO
ntBG3Scr09X3eulChWtNp1dnLNHmR/MpvVlH7n2c3yvAf/HrIyVDSvyCCti7/WTO323y4P3nr5kT
PU/o30+ELFORm1Dz+LpV9Wb22nZhVyfkmBx4gs3Bo7vIL4SHAMDoxeVwTCoEJAQReNusDOYF9Mhh
FiAFDhfYYulv6/Socifq3fL5ktvYr9oHX55pBtjfCuM3jKLcseKZ+Dq+JS8BSRKc2GriRW2QoiD+
2YyS0ZYHLwT5oD9dlDPnlq7A839/RWxNK/TCbIksG9+RYy+tFm1Fgea0XeEm/s7A9XqFgbYZkVvR
aZbcQt5Y4uoazsV+nkHkKKlSl+wE1tdkvET+ynEMXHO/JHG77udN7AqK3VpO9ETxVwhu9GQ2dplA
MnkQTia3u+lcy20mrIxx0RSHi7jVrksLmUV8DNX51ZxrJdvYStYXOWY1Bfe1rQTbKJlxARs6j+R4
djYIte4gQOJ65HRKl1/rXRnlAu1A7oJowdwonvmBV8SzAZzA8Gi0r4q+joNZytOkTvbhkbPRhYRy
G86bcFlwyOx+y4H+xzL1951w88RHQUGmsJ5XBxGU7Sbk+LKtiKfIlgq6hM+OIhucr/ooSnZSebm1
6xCZfrT5DK9yfhIMjAzXt+6yL/OTrm5bugcfP9+r8jf9h8IbZGDONstYkt7N35tNZ3UpqNOgOcjz
CKVH7QmmLQjPrYnH2k6ud+Fj08+0XUUXZGPELu+v3YriUYxx7C87u3lsZI9OmvXBvOfnt/Z9Sju9
NbJ1pjGtKoNe/futqYXko27o6sNg3JfL5qjRYXdinwCNafqkur+83PRVfHto//NyNwfqgWGM2IhX
TPDlETeQmsyJWxwyMjxXipkTIjGllsObHUHISIANKufnN/At08eYPi/zeIVDskaa0LSQ/mfft4xM
jpue4LDrV4M3A/xK4ySda71bTwJglUPQO6aAsc020YusgUYOZwW/QP6QzvAH+qhrfQdelNzYPG7F
xUWvSgYw2XAo2oitGamubds8oj96nw6mbxGz9gCLvPLQ/nbi/z4Pmj6LptL6pkTVZfFm0Rci31Ab
hc7YlSitwmRN8uWHACJTPu6kFkkBVlPjLRPEZVNTIQv5wcqCRVjSrhWpZ5JskxdK40pXmsyOwoKd
qBsFkhdZ7iZ+ozDdRDBnqTlJbrFoq720nOauEtC9jJZXdyGoOaLyoAyIUbokvTwLddf3DwOOmzHO
KzcD/NhJFWdty/xS288OUdCVWYH66I/5VqM1MsK/rWHni6vggrpQyNxrx3bbFL/mGE6F7N93Hp1a
jkoTh1qjcXtDcr0qSl/5gi6ti2TedOhCi0Osygs5uTwIqdjaJaGNV9o6ft/YlnKWc4CBanzXBpcZ
JyCDJ7Dn+C/E7lOgDa6SW65Mo6X2mQQZXJDLukEnLykOicxN+xJfXuJSm8dMazJaFBmTpsJwAtK4
fZimA6CD8IJGOznVrMVJfE/ckBkHbk2xKZQgAq2r00F2GEXwEJytLulpIN869VsXc55gLK0U0Cn6
9lwnZ289jBqPTuGaueIU5jlu1ia17DV1RLX2PDWKAaQSd2MgN5eyrZgO92HHC0iSM8gQQyLYK/W4
rEw8FwWNQHWYc8IPOvGst4I7/R11QKh4ELml3niBdeS2c4SCIE0LzW9aegFvW4P4EwxvnQrBICu8
ILyv1NLNqYw5wV3CdpuPDLDMX0cy3ysfkl1Ui5gumTVMU28e6I6EzUTtWmlNLCFrKfc5RXyhPFTD
IWhM+6KecgwduaHaUvZZdnRxht8459PyfXNrWYC1achza3FQv61E8quY9IkB8ZFIrW680ulh6IOG
JO/JM68SuoYLHzurDMPjCvmuetCcRaHtc5PMsLyZ/7zESd93G0NUaVhaNAEVMKU3d/pYK3FWGz48
F5jz11fTzI4mHXk/Z56Ta2u9mlvkJyjkOBHTHRQePbb20rhl2Duh9VsL9R8bjCGx4lqmaegqE/eb
A+a10LNE7zK+H3kFY3zKrtJxGyaLlDdB3k7KLDUwftOoGd8f979f9mZfCxnGx1wba1s2DpEq4Bu/
xk0DefSu84gpIbsG5Ak1Yu1mAqqS/l24N6euXPBpfvhgD7nJ6XxtzMZV1hf+v7bV95JDU+utRU0L
6sdlqwYYCkEOtFgEiPrR3xC4cYALlO52r9aqWeJ4XwR7izAT7TV6KpDSEGuI2B14TOCyRubOtfrt
y//+uZlLqZJMpaEoXPKbx0G+RIovRBpGTLr+dSBS9vfnTNDmRSg7vUj37OL1tPAVE6pbIs8FA1q5
Wq/itF2EtCZ+vheV7/fi9HZQoErTD/rto6G2xnSTBtqhQKiDB6+D6dA40oPa7CNYQPe64aVrcbjL
UAjYGYNtxLrImweXh2YGdMsl0Q6cUrljfh3s1djr6R29a+2h72cmfKxwHbz98pa/lyjEIkpT0pml
mbL5Z9f9T4UQtE1bRU0lHSQqdRbb+44O+IrdIQ/cCuvTVpEdIBPRYkDDM4R27DvS8d1CFEXbBqJa
OQvPIfIKPK7v9Gz1fT9XnifnNpLXl5/fq/x95eG90uwXdQuONuzwv6uZotSjfEhkca2G97WwraDP
61eO5qhVZ1bOaTRqZnp5bjiKDcrwWZnVY92XtGChuKlXG4o/U/syZyzEt6H05ooIUi8C5pZUbjH0
/JnUkYcK7ZAA0fXnN6/+80LLjO7JaUCM82cd+8+FzpVeVv0GSnSr6IzNABCEiwSD5Vdde/4XqGKy
3C7RK4ZM4gBtS8AviUAEFH6auz1iDf8ZwJkdR4smt+OpK4upSnJQYDQcRxRoKKQbzFUcguM6eSb3
6kFBrMoZKX4Mtefmt+Tp7/I+BZU1S5xkEAsh84X8/V2YUj/W4iUTtk0yl4BL9R2A1bLbXakkRoB5
sTiVgvRR4XeJpyh+KYzjOMLlRT6clQ8VogLDdDv/l5Jb/kdDhDfGfI3WEXeLqtyswFKnhlUSCLAt
Z2UyM2YFGjD81gnjCDSoKQYuddkd1Xlkjx9qtSarbSXs27sOWI60t8B7MAClt8kY5eIqERpOFxC1
vK9qJ/Dhjt+N1ZN2r2vIcVZXMNUCqhicKSNZJyqbf4Kdn8gCwa3StxoGOMCPxOn9pWnQcmnWMFIt
QJcc1GhIB08SXROEBI8cw1WC0OfNpyYfjUdqMEwy3ZnSc7T7iNHDLsodGQpe6CDzUZ/TNUL6F1r3
9EtL8pIatC8O5c66RvspT/hjQF3iup/XX33vMUfpz6hY4kO3lAvw9zOufGp5ZLlssnf/gbtJI4qp
BpuEN8HVXngZ5qgoGVQJijqttsDFsYdWDHerPw/Nu96CvRNuJGVbEN2D2hxaahE5fndooKA62toc
5i3IBqBQ5qxA94xBTnsxP+TIbT7j6EGL5zyWqQIImCw9AgRVNBekbiBNjWaa6p4gD3hCsiAUSs9s
YhW94Lkw5td2l7npmuOKdASYtojyVd3ZX9pnhr3Jfu80J3yMF6tgdK+M894uBiwB0hfrUyW+p8aj
Rov3sg4tBsoyFh6u/MR9WSA2BKF0ne2o45L3FKYlXX7h2NrGSaQsXBUQcdEYljSrZxZn1mrdY2xv
G7udcLAw9x99xmqp7mSPQormzMaNPxw6SpAjNUZV4PsVQVmp2+YtkB2Ta7tohHkJKpD4PU4BmRPP
mU9I5UvxhtAoxn74maGwXOYaoVEM/VNWg19Wo+9D6Onx/c9TclM1DYGii34qqAdQbJh9RbygBL4P
p6rz1H6u3wWbzo0XBRzu3i5XSUqXT+SJWPxKEfjHsvjXG5nW/P8si3F+1SqpEEVgcTDvr54/FUhK
5yX8nAXvRU4qsYjRXym9LttG1mibqu9Ktf9bWfuvN4LShOGAqtJR/dO+/+8bKdLebCpOgmUmuSEa
wYgqcoTxZkLrjZSz3yB1ot/XuGh/LvWzQOB31f2WVfSvPU4iqF2jrYlGQNNvWgaCkNZh3cf+NtNA
DTdbweG6pG/TLOqOs+l1SywsdEv/ruvm0tf1TguYT64CoIn3gUt6u/JRUImHtvLw8/7174X1T+NE
UhS2r9tegmhapSFgANkpjJOro3zahtNJ/05mPadO0OEVfWmFy/qpHzJxKbyTrccBGOdPOlPP2gJF
Ro+aWJr1T6gcKqdBlD0SG5OdmpMBQrk6VDBNJ3PdZaY8Xug3rKS1+azAfET2dSKlZ9kfC9ffVzOz
5VxD5qoLFNbutvVdgUZz3YFVown86q86j1n5AeUfUP0Lnc5Ly7vQeIj32dziDD9X98VmA6B5hxfQ
CU4+GoIFHGNOiTCSAhvDsmO8qO/BcoCtytEYqStRjx7qAaBI3RMC4v4tQnP+ClGEUg4D5xYNtD9r
vXgSiaFIX8Xz3HnWFYTRufesLl6r2fO1s41zvVPXV9d6vmIZa8/pruGzeCBRSPbi5DYQH8n8eYMN
0EkJPGu9UwTtMXxJZtTje+sUn0V+6zpDhDtHyOKg+4PCpM7oRyOJPF1nxZuwTO7TrX4Ev/B+Ae0F
AmkFt2CDotyh0dk5wGJa2+d4ug3OtKXokwcTmYunbG7dX2S7fSq+ZK7kxCl0+HIBjs6Rz9g0Sx4E
gLG9l921Wz7EUsJCABVgsM2n4KFafnGiODf2/XjOXOh5FFnLr5O/JxkHAc7VHj0GTvBQmje0Byis
aywb2S8FrWZMZ52/z6cmrBIVww77vwWX5O8V5VIIhNuWtXaI6WgRqmSu2WmZBYfpsxo+qrQZok2W
rQVbpQ2slrMA8ajktvqplKbAFR/2HyozUtUqgDNf1GJ152l47H03xsjwBPHjXQwfU6JSBi8Sl2O/
Do7a8KgLXv2wl9x63z5KEDavq4xtK17ipjW8QnxKXmIQLtdDc3kKGP0hGJ43MvLd976VbO2Jf9Cy
53GoD/aYgXn6g+qj1GnzGzrpDFTaxX4cOluFZy3bBkOYK9GKtacK0+eRyUdhQBvzZ634JeIw1A0v
6IQu1lJBqyl/MR1aohV7l81Timh3skoROKOWb5N2Op1ehi0zELyA9p5LFYQ3KO3gIYhOQRA2y40l
eSXx2iFgqW47ZLMkXrcYrg3aynZATcA3TJdZ1+inuHXolWi2WDcZ1uGWLPExc7dzqy7Ne2T9W+bv
0aOJTvTy+Wri4xYcXOpMrGg1iiRR6IHijflK0vYWIELU6gWfdEFBgXKF3tIlWJfKnTQLp/2R3hvc
hMuOWQ8f2tqkdNiecOA8ichDyFRt92rrtSCGPtPkSW+XeutF2FmLlQjBAjI/YuXuyASP3HPrHUaQ
OC8+0vk5+uqf0m5eAjMYJdsPDjJow3YzsVai9k0STuHd5aP0UXcsu62PMnkTBHsNbF71qfcP+8LR
xjWowseOAIh7rp0hEuJ0FzbIjyY8gaC+tAjRilW0PQawc/q5jAe/mMvZjGo5fuOg6Atf/HhpP+Xk
qKjzDkcz3bfUlJ0oeetLR5PmHeSr7AV1SxLakXW4GGghPMTcEUmyFIarcDgwmJrcENJSlN2A6wUM
78AonpzxppnX1ZuaPowOszALCSK5dXzxT8hwLM/CxsHFvtoryakaIufdIKWQUtMVzLCkWOlUrheX
o6OtoxEc1wrU5gUtbKrEVD7wkgWm5kekwGq7ZHYrP4y7CzfuXN24AE2g5zCM4O5InoZ0c/lKlqi8
ITnZjbyokFni3zICx68WEiCPYttZfMNOT0YbOHMEfBJyLN3pnkuOfEzswB+3bqaetAh0kvE5LLsH
ztaB5ukEehRu0Ti54dawF4mAHb3m4ibWqqr5iL5TE92YP4/CnQG0qfFXVeC2mPBVd3j2g1XrOxSJ
DU7lo4SldlzW+Toc98TAmybrit0HK4Bzhv6IyBxN+zivIReseg/9GBtyjfDnpIdIQsiL8Ezk8jLs
cWJZWi+Dab99bs/Rkw9fsBbsmvjNe5quEi8qz/LtlYZ7euB7RNAOJVC3W9aDzOlpINVHvm2ZIh/c
H88mksld9BbXbvDYwBtYZsk21O7zeD2yK2x49aHO7VzeX9SV6s8gK1eylwGXSwkln+Wdw68LA/x0
NeBXUOYygUqV9NG+6OJ7UrgXeVuHW3IG7UpCIvkpkcPBdBja7utkE/gU3IlPzXZUkSiwkxyC66zP
oXrEDhKehvv+qz62n+w57YvGWXYzUX2UO5WadnkiDJm/KttgfGX0VwZbYVykmApCSEjHlnPPvIc6
8ahUq/TJZEVcjipTw1cV8kwnPFW64dQkrohrDTcQnSnaTSb0OtqQPEuya3JqWqnEl+eraNwoHL7w
qT60xrpZ+sSqMrr0Jr3pujNmP9dJ/5hNs/0gzldkgyRIUqH+3n6EODIKWY+qEwIjJHMcCWTQNYim
ycXID8Fr/Q4CUCOAC9EPgV5zbnwSBsTP4kB9gbELpgJHljVLOPNpbnuIGoPDUEHcP74nsYP7JjzL
9XyalR78youWk9cQhn2PKw6mZMNCSx/OTQibdFb0axxlSXDczx9Smk733/ZYkq5UBnnEe5s3/cZU
KIzCT8PguH5B53nSqjUYDsSLS43oK6dCdvzbK8r/ekWLURZDO13HZ/n3ZbXKa2uMWSKtDeWcRmDE
G0qu7kyPr+5o7SpkShMO5pMKPAwYVPRfjgfWPzqNEoqo/3995Wb6VJqFesnb8bKDHPvO5HVP/XSB
lb6h+f8VnAnrewIRSXAbuC57RDy4KmxkapsXazb9hCA2d1sYjubq4QKofjzK98aLuQf3TV3JjesU
OBJsyC3zyaw3UkfCgtnW9qS8aJ4awmCQbOLSMlYhMUAppgj0FmcWGlf3eLRshBfFmhRbo0Sc55av
KRLvcv76GNtTLutCRimJEeK3b+UfDc+/rsrNza6UaVAa1y48CGsKpfiBUiFCQ4WQyKVXmGV2QQ9k
xYFJfIRHWLz9fBuq/7wPuQkNazq56bp204WSe024yJZ02ZUz1XD8FzBypT2UFLyXj+L4ZG2MJSJe
3yEJYq9vRcC5BHt6aBkwxTJhttEBzujiYKQEHqW884VOqJ8S7JR4lLcKkU9Qv6eZNJ1zhlE7pXFU
bdZvAOo7895RVhsEgbbsjLPqiEGBJXRZ7uN9EGColD8bKDPBQqAlf3E00pI+pBnw8sG2CO4WnkJa
wKUzLn1kVScErvPkdeRNxW4Ek3DZHDIOFCoQ6x70CZw4uAVo1jCycC6Y1Om5GwMBJEMApbwACRpZ
LOyH4QtE1Vk9xc+jy0tesNYUp4TT/eAh8gS2B2kbJ6MbzusZ4eavOiyqi5Pfx3vfJWdkXuL7LO//
l9BN95CWDDlCDudNl9wTAK/mvfiuvpO2/GGtFNKOSJ6yp4yv6+HCvUs/CaWw4z9HzJ8gVgvY26Yk
Kc86heMUHR0sSfh4o+pE85bYUGHIZFAmJYAt7RRCHeSH7klEBotJGXxJ7fXH8JyeUeCIRDxVd6Jr
vod0b9AiFRM1acJ04F+7PvTesCHGGPDJAE9HpZ+ekT/EtDVdl5428R5ZNtltqIGRL7onn1K4cyXv
6mKOQ/HNPpkeJlMRsF4bA2rKhzPAoqReMpMfOVihyV9kLrD9Ezhot1saq/xIdMJD1NrmO8Gi4bF5
kGd3iL7u4ZBfFhjsgTHVWDQIVCEKgz9XesKpw5gwenTB1oP9OjrcQaC9XkvmJ5gTqRyKB2F0rs/6
AlVphPwX7S9YboRVK8RJi5Aj2f1upCSDxL0Pt5OFFBLJ6uriNLrDFnun3CPj6VY8i/07lMNldNQh
mGqSnZ0B0E/qMNhvNN/m7Ij5yeq4uc3d1RXt5/EAiBj+CWFWe1lC1xdIxCPob8MjRwi4+FyaOzmc
ig3Jo/vHW/stuJf2xj/WeGyqMiI8TcZ3drPGdhdLqdv8Um0t9aMWyk1V8F2X+Wxo35ILx2PzziCP
KVNF10r3yfAimfuLLMPe1e70EORiLiRb4yrPJKk9aIEx0yOcJk6a5Pgqlb08vhYYXMeIIj4q1zKT
waiD8hZYyz4tPrJ0VdPckSO0re2mInLdBJCIw0huCR1M+eZy3faLC7Pe8K7FxuIXrAnQHKb+kCE0
bp5AMeU+q2LIMWRVBNk2kMjpU/xVSUe2wZwWqJyzk/S+1YZVawxuoQJJVtHFEAR6bXma42SpX5W7
rDYXMt7QTn+r2vYu9qGt0sBFfnzO5A7CyeiIFUGMyWvdffqcb3oSc6k6++Lq5iPEM2WbC4rXFJdZ
mZac57DQlIZDz942R24qtAxRAVo3WsYj7jtcXQIQ+17u8DqQMEn/VxfMlSEKTjnJ7U36oNGjVCKN
j/J5H7dOrWK6uw5elxBtZ/DHhNYtR4L8pBZ6+bDsTVyetbW+ENlYVG4okAsnvBuY9SaZRau7gRS+
+eLzJPFVli0vcqHBF6fWTC59OjHHLlaO0gAmVae9FGk7GRtRoeOg7ZA1XoO9WXXOz5uJ9Nvdd7OX
9c3YFXWQN9ucp4odi8XjgYLM2rKseHJnXwVbfKcZo+LanQ+/5eH+r8F4W1NZRKBSTRHPrNyOjhPT
VPo4N9sta67zVHjueR06a5oXNtJgV99qkKX7WXIewV/B1YFLeSQqc7Pd0jOYiAqdQ55DPVNY3c+K
7TYO7Wx7va5nnXNQ7PXHeX121y6tN89drwEPEwjwh8Pw9LRe97OnwQGh6mr21uAfw+7YPm35HzhR
GwKeUzhHzn3OFB9Ygl6YoGuArVz4uSjp6KXlNqgTj2oDkPdjwZ9h37ibPy5Rkt7NJyo4zSqb7DN5
ecSbaXje8v19AptPbqzYfp/CD6lcIcuNu+I9X8hEwyHgR4v6zuB22bmm7e0IquLHaskvdiXLp7fb
OYt7NDqu4HY0NKZ0lYGTAEcSex3Mpqv38y3yj/mjyrBLlqf1CWv6zWgpvqhNlSkKZ456VTdeQox4
AUdzPmAR//mV/ihYb24GjA1MZBFaEFj+R2P3n250JZhyNl4t6a4mRYFotte02I5g5fq1qc3o7fQb
sbeRNF1ZJYjv5ewUiwsFbaSWEtow1L+8n+9OYCbkKIzRXU2R4Uza/y6/2zCLrmKqAjRK3BTM9Ohh
gdTq+UXz0gcLnzxT4rn5LH5A1DAQivsL8a5foyGTmCMYNqrEgICrftd+6VcbVN/A5NazsNTQC+kW
o3UuBRus0RAtFu2sCp0y8vzXX67pP0p4jbhpRSOkV5EV/WbUUGoIVhRf1w75UwEFK1lP0FCFzgDF
ek+81lbZXaCkPeISF/eK75Vnel6TRefiyRgkUan+tuRMh5abb/m/78i42fD0pMg0K2vynZ7sSos+
Tnt1R7V2fJ3tpBq/BMgWzVdaDuerdLYMQiqSl8ugHjD5Bt3g4JrUd201/DJDVf5xn2u4E3Xy4Sdv
kHVzukuw2ES5NhhE5FIs6r0b10526hqGd8bbpVhagktbx1C3/jNN9XHdZgvMNxosUkbrD/E4McJl
KCDanaa5Y35izKaFH5epJZFvJfSGH8odzhih+uWN/2sJxzaEgWUqIVBh3FxPrYJHnTSKcUCr5uOS
RJTgpYwdNgqWuLXpys/s4WAPInXTHoRfXv1fX6Y61S3IE7l4t77OTJEkxs4NAM7mKKhfMaMqdG5M
jobLSx/tOu2XI+m/Py1f0mRpwQN5687vhxAJithBau/csNin41pOVlY/2YWQCOANDCeEgdSf6Mtl
eeYKNcI438E1+POD9Q93CQHYdDqwIUhIAm7l+CjoUvWixddjknioSxWJBChUgkQrP2ofDEI5vbBa
VBYqQFyEC0m0cUDjfs7owNhkQLYrFDMPpDpGS4tIG99Db+2/66kt9ZMZz8N9+lLcjWcaZT+/8+8+
OO4WSFXqRBoxTet2z7VSc5S11OTboZPZEL5VluNcysRtqYBWj3QnDvk5nosi5g8yQ1XOaunBqOF8
DQHlHAZROHrIMH95Y99mGNP7MrVJj4P9XbwVMZjXizAOqh/s+uLQgOloCYB1VXOJuXYM5z9fBO23
F7tZFyW1UwbB0KIdDXaQwfohJE9qeI3W2cFa58+S22/ah/FB2SiP5l3+drmnKRqdrhPtlJPVdZk9
vd+ROgIYdGo+cUqaFXtz7a+xaJJylX9OgHvy2uYIhlf+MQGXk55EMHXVL9vzd/Hd31ft9gkUytQK
pv/t0nyr10dZeFT8OZcvh7tdYlwC7ZT+gkaQv20qf14Two5kaKrFevn3xigIQiHVMa8Z9Ce5I9qS
jFn5IMrPymXwJFY8I21cDN5+1jtB7wlvA4Ule58JaxjFCb7BBLykhQEs5byuplstORbAoqPDz9/y
dz7izRu92cGFztI4dnCrc3GuxHdP1sIrC+X2wvIQlExLSvqMIq0FwZVQ7YRj48bNL5cLA9ftlodQ
j4qGBRJdPAXOTZUtF43RFUMj3pGUUk85Qk5JqMvgRIOtfRSPmu4llov1sESfOHF83GDcB9T9mz52
OHQ1f5YXBdFyMxlSeACrnbK34IWQ8fDWPjc4pgfHepA6JuC6Z+wRcuWKjUMzphMl2xMHHxYJQ6sr
DeGTzA/0XAdnNO2ud6Q3FibzgXEwbdZ+cAJyMUkJfOsKmzE0WqyJlo0XsnGZCONuZuoGZUuqALFM
3njUztPKhg8jesHxqTsJefCwtb+s2HGj9fKK1xfjM+lONcACJDY+E9DBYaQjEf/RuazWCb2h0uXV
fcnGkETqxmPMUdJGZnQhz81Gm5BzxHynQ8K/PxLXhLVa9QQ+8+AF6tSALxNe5ZTj8KFtUrodfbnj
9bnI7fEFnEnGfIz49Ke4sk3AZvDmp3l9Ph9pV37ivUFOdw8x4jl+ChjUvGP7ey/pPcyAEyxaWCwR
h81FxkU5sY8wCyI3Y8Dk2nhgrzgsY0znVkLkwm/pVANfEsEk3cP1DiIrHtZfnvhvhQqlHE8epRyI
GtgkNyvXOAhBkI3c00IzN/GzXL3q4klwJcLfnh5pui//KtUA4WhQVlQ013APbymQdW2lWevjCq3J
COjfMxQ91nv36hPipsJiRwt0HGL6jqJD49418bwN/GdKvhi8yia93i3dj5gSkpyaQ7mxnvIH5U+k
D+n1mPFkZ/s2mfJGGoYyVrwe8x6ENlfYhTP89g+ovhyOXw5CBqrrCXw3J+BufwWmOyAXgL6+pCmM
1ouT0nN9lmhXcUpz6KDRVxq4CyjHIWa8NhvRLdGMiazUJJ3FNLWARM811/jNgvBdyXJzxW5OS1Gg
+oMq1s22ZMpBUFjzVXwp+xyzXOnqB5mPZ6xDNzpNRpO70E3v833/oZ+Jfzs2Z6GxicnQD8SDUVak
bEHcp7K0Co7jU4j7cH75yM71e4Oom6aEndDyPUC6B4GODA0NB7m+S4ycS6KsRcLoLVL/wIJwSlyn
byg1AAwNz0wnMwyN9zSta8El89tY62fLXDRHheLl0XrMMDbY4R6OUXAK3/jLtlMWlbm4IrkYlnXv
+U+XY08H71wWzpQCFs0uq3IrA9N/yfYV4/7aAc3TL8oX2DilTXoObre9dGIbBzYFPA5KVbnrCV7w
vZ+Xe+tf96suayJnVYWVX5H/3pesSIyGcgzC3ZRhEj4QHJI7BLGIsYutL/syfZichPZyO3aDbTDR
wM9xJ5F7j3GetEbb2GvvuW+HD/i3nctb8dS9h4k7xe+iECSsvpginUlT9u+TzH6nH26zoLjXTY/K
4L6d/p0Z4pyBsPcOh7i98J1xT//incGXC3EMeRlUPrTE9+2Md2W/knfOUD2mPnSTzQg+BHVI5PYM
KH+5Mt+rBO5LnAKImKhaJ3Dm31emsWo9lqsUwmGyjrC/KP6rUKyw9Y9N7m5M5Yy15ecvQ/rf5b5d
PnTWD07y9HhM8aZMwBPXtuolbLbkkC3Dh/zBmnWnS80A2kUdwHbUfKqRS5VZPlMG6EyLuDcMt2Ke
RBZO4rXvHGnaBoKbyx1f+F6D1XO00yd+zpiN4zu01Z24SwWb/+IDhTBYLFLOrExS2f/esjflGbVo
8WbdXdjYtUnFRqgxBv/yk0yQF2Q/ARl/UUOKOfnUC5hD9PTRhLwQdQ5wH1pBuqwgeiFxkvNl/QjT
EResMuk2FHOmIvdg5Qrfkw4D/TYJ8ELPLX2F+rYiRzw7xiS2mKgzFmnkBONKHuZl4fHpi4PG70Tu
hUhpwlQZ327E0WHBM91cVx00tFdvKaGD1R2yB9FbZnMD7cyq2QWbgm4rXxtt9A1QRxIBWi6TMi/3
NA/OiDc+8uf0gz2YHgkkkwKb69F6ApM5U8h9AT+6CgGbTSpUkRgz2XQMxQEjSDYchYI4QPJg/5ym
QsvrmbpCPnT04KfoGdPRCfk5X3ejyqUv2x3sPs4KAn8aBcx86lo/V+d+xmh0q26nLF2mwK3iSE+X
O5JBhEnmEz5kr608bRiDra8UF00ac795fibDjyGw4JClO68nIapAgcJZY5WbtvJIFVl8KtNRyRFB
o8dnSpMcc9uEhCDnhGEy8QSk2CMq3csduahKtkSwk0Kg5FuHhQQWNnOM0EF1Uq79mfkcnOQ75agy
jOqc+C0Ubeic5duVS7hsglVySj6Dz/o6a5kPRR5SYUY712ZffF4wQFFFvSDL4exETvcsWuX7ijJi
PaJvfpk8qY9ptowOvGyOrvW+0kGB+s+wWbnJSDYJZ9JjtGrY9ni//BXz1JXsnubLyXrrXrqtsVgC
+luIfIGbcam/WlPG5Etll/vioCxUZqLFlDVJTAr6QKTxs5gdsAZSQio6GmGTJSmbVEFcrnH8P8LO
dFlxZFnWT4QZYuZvZmpGEhoQQn+wBYh5nuHp75fV597TVX2t29p676rqWiDlGOHh4c4QCWPMjjvE
uxjuT/1l4lkLH7s+uhKFwe6GD1c94k9Ij/4VQ44RC4NWuCvt7HBIulKr5iAUiOLRStFNQvsaPwGu
gCTACYU6UOGeeMJqgV1Q0wzvfU0iAdzF9YgE94646nd2G+28/sbiUmHWOpi00RfXkHuDV0DSkREo
t/PamG4VykcMT4Q/4xgNMUZ8Fa9KPvDtbNPveAviGvA/95bDa5Nz7KGCpMgzfQI+pD1+jQhT2wMe
eDvv38UJ/1zi+e+MEBZ/EDgRRCM9cYUhQQl53NtyI4i+P+ti4KlNYCBOUUHgO7ydeULJGs/68lMe
nE51Hj4Xt7Dx8zCcOjhKdkA3GJG+p0ACqHM0Lz1VKwx9jvSq85OtH5wpRjbsyxXCAwV6loZ62FtF
T2R5nHzM8+KWcOJ9MxgpHdTdqKSo83DKvLq3oMGbrSTj1EI8B1nSi8lTvt565L6z9xh1ofPVZlxB
pT44JEZdfBANsb56zN37KREohZ3VuOk3PY36CTsJ/syUdo+Hmr44VB1WeA8izdZn566wp206KxQS
UKKcqsfLvDfMKZy/leQA2/fJQ+T2Tk+DqlcMcZfJUvuUI/KX5wpBB9R5f2c2/dZF3AI0lbx6zlm1
HtKTyinSwYLnPGyZ7JMDhOu7yyhY2qj4CZVF7JFIku3waCBT9fZRmcPl3kJTExMDlNYE60lbY8qV
PTQA0RsufiblrUCkjfygkW4Yb8RlUdIkXDcB4MSWMlR2KloR4rsD9vV0UE/JEloR3YD0wCITipUW
5i2gMJMnMTxOFqvhI9sVj+HH7eYfF1OE6o4q3BVpVPtGKv8Ort69POJxh/1S3J+00XFhWOIG7TVi
i6YTladRi7XvtX/q2T2enpURvA5kdgLdvNzIP5kR3Ngq8d57U1wtH1RBYb0Uq2JHlQVCEaL4DNMc
QJgjlLJ2K4S8Wn3LDgpMe78GG+KNt8Ix7FmfwSOlHhv26f2BCMHiWBim3IptPE2IGYd48J0sdNZ3
8oIwU3WhNj/6YECbIOQ8uQ3b+ZXBzjfDVrQPD9mD3OR6VAiYcUVEDesR4efdhjzzGp9DGHXhp+jH
ujA7xVSvAaO2j4M3VRhaa2zuaWgFahtvzU201uZZw6Z3GXI2h7chFoho1jm4YGFfmUOgRAgDMS11
Dqg3N5Tmvs13co9mHcoDhFPcM+YFhgYtX/bBOsprAnUnxiQLqUrM5kivCIZxz+LYx/GrPiNdO3MQ
W3/5ZRF1gruggCWvHlo97/LIH+wdckF7kzKVYrCFXE+IStDvNwbdaupfcGps4M94Zz7YgyODncYl
FR/gXUdhQxjm0dxMaJW1NpNb1vUaWgnVodc0OmMk/5nVVHOiLcEQ0euF2vVr8ZjpwAJBd7DX5JCe
+ILO+JSSXpT38pF2fNqyaAqCBL1F+HAvdpPvz2pyyhCT/Y5OllHV/W+1977VLX2O9s55ZSHw6/Sc
W3rHGuMarOg71hSWaVJbOfuKVnP+5NO3vtUuvVd0ccAMW1cblDxJ9oP1CIVomGY3DGXhmu8kJdJ2
dZicw2514EKi44RukLbqTdW3mhZQ2p6l5la8EXhS37c4cVPM73g6ompGDEJ7BMxG9CTYmKPzUTGe
1z61ARi28jWlqCxqZwuOWWfMintFr4Vm3rWkkd+yc4JT5WgdI3Xob6t13MVLRU1Das276P0yr9xC
b/niOI/fwR6Xubfs/nR/zcYNLeKECsnL7Th91CcgPKBvJh4ufiWMGiyEalPQoHlhyWvT6Xtw3kFo
OCLPU9adO2Zz35+1v/ZrHm0zZsunIxPN55ckuyeHrA7pebTTYj6k/WxhokH6uPbloyb3/cG5xKuz
mo7v5RWKyd7bFSfrlvYr3dblt1qyDXGXVYDksfmY0Z9yqEk4nY/0NDya7xHS8q3xjarl7L5CxUPi
+vksD/PDHCMCVjEEIVxEYZoAroIpbBfvneqNn9XWw7morI9bY7qJOuNpXQ8NhwW0xUe6mr/4obg5
Qkh/dkl3KUZywXVkjGirxZG0vAYHFmXFNI6e5WNxT95lZypo8qxb77Au6lkDjYfd/Ms7n0cHq63F
i1ZR46SQ+6j21cZCysOc+t9cHzHHGIzjvbP58p5FNMiankG6Q6VYq33zD9uMzQLeg/h6xqQ8895u
cBnyiOy5qP9C74dVYd4iRpZX4uAe6+XhTBFFWVlPIIEzEBsAz4dGI++B78yYkcLnAzPP6DWukaDO
TlcbkTXWbsP5VtBGsGBtclbASXa0KD1jiEEoNj0HKECArfa66qv3yukuHkz1utqBaTlNzN/2AwOL
QdyHs562NANFyl9kWOZX31mYMRgu8WywRvwyfh5lk34GA3bkE/QhQw46WpvYCDp+B84KJEsMFumJ
MttAaW/V57L/mBrzQOfchmTGqoPvbU9NNiFCI3QozL49sxFu8iNMuUY5DfpRzytW8V4hdRqt/D5m
TzCsd13xHbZWwErwtZ5V0+0zNycsuvFx1U2DojZ5zA7jT/KJpwG1wn9P0P6BgOuUsEcTLNWLpkHX
wO8p4bfR+qKUgdb3+TR5NG+qWXdf5F93gqSwdR/++5f9g2fw25chwvf7l923PMLzfH77jXO4wRCP
qItDx7D+/Vsamvr2j4zz/70TNYTfv+awatUQ9Hu8/cMpXOGDuM9bTMcTvFGr5NWN8QHL4g+2N3DR
+l6X3t/PLVndltfnW63e0ONoim2/iDuOo8tha7XY0ttDM/33p2SAf3vMDkUj2tJJiLHsafKb5h+P
ee7sD/VL67AZF27UpfGmSINZbm1CXApMpwHv4O2fxMwNZviGIL1PCFmTZkOY6ZBqsRgmGhaLGjjk
th3YDkeX/OBkH+wMEGNtJeZOOoOajDj7+Tx3DG0S1rqIDkL2VXoQ0dTdq7r0V6BzpBkiQBKKXCbw
g5bpn+wyxkIItiA/bXXxyMCgWcSUQwdvK4jQjYa4OVWyJZxhU84razhJ5mYzIOWgMRTrCjXjsWAH
ngSGRB0v4kNL+j7pwKGAwrsGecC3ZvmFX8+v6iMjvr/jHrCtFtleWH5BfVoU1hSTsrc/g61hWPQT
qKguDU06FFVUarZGfFK5A0NsEZRfXkHRX2S6lvgZ0G8EcVpZCy8HRRABr7P8+Ties1hZGLFCDj4L
ZwQEofKCf8u3o9GeIZolkOScXDs0RILuoJiELpgJ7Y3AqQhh4wTe47ZFHKTQIgP3LjL7IMu+U/py
8VZN/qh88z60XdNOUuL1xlMbTlQaYEQMsbQO0j7RCvb07yLpmgdphDR+MZUt5b6lxeffhflkZOkM
EeYQ+zTT7gn59iZbkZpe2KGHy51bbzFxRlOZNiV8QPcmsKvoYqlkj8PUx8RJDAeauzhwvD58zbMp
vYFnJoOeQA+huAjfgU53NWH3gGQNJDCEwCZdLn96KKElqPwzOjZwOZrjIp2vTJRLxegog4cIj8J0
yBeZWUA+GaYN4ZijxddqM5xNb75WNmpYg6aH/viPCEcfBU4oyjWgWIdxMysbhVVBw17ubAXMPDT5
4a+swcnsqitNDzg+MKH58VxmdZIWS5RkQdaCcBB6yDDjjhEwQ+bSdKRdDafiYJmLoCk8jD7FKJya
BOQJ8aQN3Q3t2osZPLz4I4OnuhFIGjCC4AE5EI18dDy9POhJSj/Y9XCNKUsj1lc1ygN+VThEUPwh
PuhWqKgfizzw47Pw1iaGHdxWR7EW/sOM8p0idl02RVrEwUZgZMLKXN6l6YxyaQ5ZnHsZ2pMRxHSB
0VHxEgzvR23Dn4FOcbzJSk4+1pupNYIPGPbXxBnLBiYl2gCFZLSYCwou9JQRhBIVEv0peLD68x78
b1uxooU5Mkc83d309jKNi9lL5ODMjEkXJmzTAjpwI7/OjNHSTTged9UqpS/aOYcoKyjv5vz76db6
/Qz+5+H2B+rXqvU6m9aFw43WJFk0guKrZsEeZ6Q8OCt2a7KWyPTxiOBbs4w1c3DngweOd+OeGEyB
RZ9MYpP1/R/33S9VwP+9HP7nwTq0J2AbxPHb+YMo8blejdp7utmM81XY8taTDSaJqDvRYPkU2cnb
KixSFfkJmvZXzlC2KuC4Ie7eLVhbq+AdH2djb16nmQs4g9QmR9TIJI5CNg2/M1zQT+NuhsEzrJro
5T/+4/H/EB/4v4/fg/bQaqNg+0uH42/sqDqmBMeWMV2P+84Wh2+DMzuHMo1VJRrA0DG32hrR8K4h
PSBJbfCpy3+f2M7vd/g/H+CPwtP6gjBu98r4EeXrxfQRapecktbPncZ4sUU8s6KB4zLqTTbeVDWD
zqS3oFFv1qOLJajTEOAbYYM89goa/hmTDphvQknQTR97mFE9bLr1rphWusEWdBzfnI+Cd+sQtGWP
xTahgiNemkLcpy1o+EPN8j9e8BfB4J8L5H9HWEdMfxvh4/pi1O/r2nqsJxZvc/UIWKQcENiqU9dW
r6RWB+lbxR0Of3q9vlobHt/Re0VJVK1L7ReJJyxeSpRq4SL++/gbunrxj8frto0+7vOtZr2p//vf
Hu9srLufd72xHq/y50aXXgE9BI0w1591iV20PP3XTv49QvyfCYdkA/+Nb+32/phwbWjYuV+M9fis
unNtSbp2dyjHYfv8tdg69F3jxg6YtTOBX/FqPmEeuWZkCNYb8x74tfewumYTP9aG+iCZ8rE6xTlZ
WV01JR5weoQWF2ePGDz2XbRq/sdw/X+X69+e/o/ZbNUO1/aq9V2PO/ZrTwuBaFrX4Rmsb2shy2vf
8/vPGScn1f+PIuAfNUDa12ELosxkIE2KIo7R/CPWfaymvddn32iNoM9IEk8OYtbRc5hliWvPTTG4
X6THxbdMVZz/+0v/+uy/r5E/v/uPNdLsPlf36Yrv9n2uPl2Z/aqypDVTV1SnQzuxUdkHPMWCj2um
Lpxln5tRLP6zpf/3UpweBANJa/gOsDl1j8of2cV50zpuGs9Le4SjJHeQISw3sYe2DEcjXtv5j/du
/1K8+v3Ff/u+1h+He/283tzuj3N7dDMPIkA3Hv16r/eV6+Jh1wyazajpRRunLLk7tzLGNl5q0T5E
8E80JjSHMae5T1z5s87gpDcOqoWfeRccCrc2M4+xmvcxFqV1oAtQtsrbwnC/k7yj59ijVhF+asM7
aBWQiLPg85dX22vuRLqxHL9PkP6SLebiDOueMOsirH0UHczgY5aa89x0eZ4HuWQOl7mgEtEgT739
NBAVk1+U+0XrQpwp/MBXD8fxufxNGCRqsTgGR6KifdVGuXq2PI9eYECLBZi617D5GDR9Nwk5xVfg
b3V3Iex+G/JTZqeS/uwRebiM6sFF1E386c5u4e+LA3xrseFkkTmjGIBNz058QosuEj5L0EvK5aYJ
KLNOVU69GgIEpzgDE846vFW5zqBdd8IcJnZgnS2LqDfZWhmaT6psLLtwBHzqSQ60pOUi9otikxAG
3qw1SUbe/loQ4zb+Cgnt6hDvLTDnWte7SGNH17ZFd9ljtI+SHkiaAkYFzr/5tydSEbSdyYoy//Jr
20mdAh/Nx0D+Kmos+3AQIutGLWCt7rMaoXab3m5KHAJJGMyO9mJ42YqEMHUlMvL6utwPymglDhUa
zGp9Tb8tQvzMbVtlEPhd0DFRNKQ1039FJvaKHlZB6xqviX+aM+ez7qJFqyLueqnqD18z6mni56Nw
kks3fZFMj9Zt8hq2O6qxMr/IFb3UpOtdAUQ8Z9kjSIw9rpTBxICRS/mTQPOlQhgLBr8y9wdzQAtc
2zqfw5eqdRUdnz/Al15nBoqVcsqO0LgdPtRpZU+eJjVIN/yk9/Iuf5Dv9+4a8doo0ENKkKO1mRpB
syOwLo3W8JXNS9QajLCV5Ccn1yXqK/bEAz0Eh9mlurPdC4lP5eBUkEmYIduGBg4r7BWT9QbHuIdC
B+Iu9uOhib9xuPZ3Bd32Xrp8OYt87RbBBjq88HN/0Xe3cQruCpT1QcVGU9jBTrcVi/9BTOXs5fJa
tfqWRl+mtOxSseqjGYOtQF10nHDwQq5RdAY2tfQQYRy47+kqXaBmG/NZ6TVuS3B6YnSHxhI7JjZj
T8RcMBYQtTjX3U/RvWoflfDh/txjIup1TA4J2YiQA5EM8V8EbDS6fjWG/nk2gbTg6oZFMNJRf5xN
zcv+joBkrzlqBX7xVhROMvgGYOAUr9y1etMTVoeVJKf8Jtt5319h57MbUWVr+oaDlQeML0hLR1dk
U+VaNPFZNR1k3A4+3eFm/2FCdjX3RUGUHXGyxFG0HbLx/WzLX4djg7aWKGiQyslsUJQEHvS0IWVP
d0MEZ4CGM1EONuhC0L0l3IsdHZyI0wlDs/ATXHYi+/oJ1WZWOOKR5ttZ8fBWeR4Ua9o2TtiI8BXF
dsAv+yKiGJSdU+pfN5VdWXS6vokqCYngd8Z+1hWtxyjjZQV6CiJxXctqIHzJR1gz2l2OKjJm4KQt
90S+vE85uW+iVCXZBMSWBEzZ979RQWcf2lZtx3VXZqL3cUX3W3ILtqo7puNb/wxlcIqpJoGJm1D6
WXNwuFF04otg5CALyC+CaD8vGxyv86DYDzClcGPFiniwmAEsvne1cJZYGwnlBEFDRrNXcOGRNlQL
M1rTHW6ZmqiemOtQ1+qb7klmllW+zAA5huBGWyOsG5Lmjzz8FN3CMpBuyD7V5mJdJ++sPcjQOKOe
xgvYHfJeV7izqDx9Sd6CtYyipu9qNoJJCQ+1rIPEh4xve4vMoub94XJqIkcHjBHUZVkTTZWxetyv
SNClZp6Sqeuui3PkfuvC3QgLDvrdaQ6iNWgEtXbbPWDce5FUhKH3RRt9CFpRjYzYJ2ljJgmVXJdz
bt2zqg9gN0o27g7PzSKvl4vN2URQVhznPshQVxyZw6NKkga+RtS5+bomsMqMcjLD3Z2XQVQfbUR5
CiNDZBTjoT4dRe2r3LVlJ1ftPplUrKnZXvXrgnuDmezLxGX5ZmtJs88RgEj/8zjL/OMVZTAD9Zhl
bj+prs58jhvekbXrERC7W/RuqiEtOHdzbNfdoR6wfY+XE1VrwZdQAM4y9kRQAL9SkpW533sL7jto
GAXRAaTMQrEnoih7jhNGCHxqbQFAWe+UIAYCVd+E5hFqZ1HiKvXVl19ZXjqM3iyb1uhn3nj0clZR
y5wCPRfFcXBXoFhlcOR18P+88uARxec+6wIaluUvtAtm6tByO4vBvgX2R4uueonbXSwXXJh1/LaF
7vDZqJS/NF7EkF0IGIIucpM5R0He/uvaD8ANV0kAHpg1xztTX8mLFTw9RAAtIg1wubIIPgdV/Oq3
8j8rscDJIPZVEGDCwKu4dmKECZvkkJSztXQNdjotfUgKRbTMEoTQZMmmoW5+AQUyrCBgOgg13uF2
cJ+38Vmg7wWYgTfL7xb2TTbhyEtCG7mroMzcmhQ6EMvWKtHpS5KxUi5eCTgb9TmCOCoEcaKNY52w
5wlHUQZLrW/NyvuAwOjIv4XG06rZ1IMxxL9MWN5Wivxr5Bylbn8qAtbYhoxevsd8184pL+Gs7/OV
4HDMUfBWuWGIQFlWhlipcFHqZrmOV5T93Y5ebHqJd0bISzwI3jl1APeY2m0x+yCfok4o49C5Lqlz
yFlRlyyjnGLnYRz7wTULVOBPK1rP9KbXYCBbOZrNOBgSt8+eE5bVullRC79aqyzRj++KosDOj/XH
lgMM/tEH877IATGhjInizPQcZRwbQ6cHG4N7ijNfgyplbSejrD1bcUDAemBT6/FrmLPgSeDX7bNn
6t40yNtp3jHbahG3J8BteAOK13i5i5ZOn45SSdQRrzVvM36MHbrjvouXbGDUPujRe0eUWTAKV6ut
725Ctw5/O24E6tek0wBAbpPmuzWrGBV5dicX6BecmUWiDFhlFjxRuaYHXnBCBZzefhynuyjd2zH4
SBEYrKK6aTE5DE/yTWyEg1gQL5vIuOCbfdyzm4qLxMexg5dM2rwsOGkWlQGDxjl06QJgN1M/KKMm
BT1RthlFKCpRcHJU3FfLjaUxA4JGe7E4mfnFhEn267yMPuFaWvuhHvQi6I18nkbPFGudM9rAf5hr
E04I4HN70JHZgTKhVae+JaxkZVd6bTadjNjcjEpeji4CkNW2G1/YsxRha3yrFkb+KrRN2LR7ubYb
H2U0xSL++KmuYl2DJes14BrmiCs/4U1Eb+6komH7Pali6uEjyA7+6AGqzz/Lvhu3Qib/ExdgknTZ
nsR3zv2to9wakXNLlh9TBZ+E2XqYGPE2rWJ9BjcvGz3FLcDQJT2ORULU83J+Q+CFC8eazR4/dVQM
1SWkX4WfAljqMoMWikwuZByxTt2k5XK3WnqnwDeBfgSb5yKtZ5plB6DaS8AhPdNTnPcdfZY+HvAb
txTEljDTb3K5Hy0W/snJWVJ9QxQHmr6EKldOQO/tHBZwwyybV0Va9Net6ifJsJFtiOuvTpJwLGxJ
SgSHB6ECuyYqgidlgvtkBwS061kHQy7WgY8Oo9Rlkwb5D+NRPvKIH826ThTR1vnUwO5TQemJrtnL
jlhxUVQ3Z9nN5pzuH2SvwoxInJh0yDZQxvif5G4A/luJexhxPs0iaxf+FSTk76FPOqBuTuy/hww3
+m/QguwCDwjuadTFUCjVImLHd8h8wVacyoWDa8ySVDvGl+Ir4sVqqrpuC4pCm3RU2wp+xPSr8F/m
upIxnmtu7DheKifhj+dsrJg/YotB6AJdAfau3WUb3Ujh18u8ZzrpQaX6KOfTbx5QN27iRXljZmlt
pdG1vFFcepkczZxHhojcnkoIVA4hhVHEReBDPGVDtiEpeyVbFvsSJHy4r/UhVIJe9FqC0IBslYCH
UipzCM2d8eTTbmEJxs7fjPwSpIO7cGprzLyo+T6OqSSYG/4ym/qGnzm3/uwTlCRUOEa4UfkccJtw
gPuot0xPKk2dL6TKZLncqGeFVhcno4VR43KlFtM6ES6ZpT4fmxlnyW3p+/6y5aTpnjz4M2bbLdpD
Ls7Y8cy+bUrnLNP+cKkdWfyHzJs1q4/EUJdDfe9eMGxyu6K0WBDnNKujKHgnVyw2OQNGbZdiC8kp
ymZNWq8dHVptazLrwqiCPspCIQhzUfDUkQzap9k6zSKkxxgWJJc4gPBjOVIw+3I5IJ2PWkNeb3PQ
H7GPnX/yqdeSkZvtOGjcKNiE+ic68V3trtZHvx5r6GbtXfWSGnu4OVvbpxqyHuqDQp9Qp1FmRV0r
0hlrkF8NxVl5QnmcGN81sOnybubRZeAvCU44nHcFz3UyfXIiznmHBypODovrFjkyfkex02JtisWC
GztQ05hDuW9FMAvVobIAbiw/4GjbcsgXnMfukeiX3HxGLTBgx3ErkIS1GQivwacAqhxHUsrBgAKS
aXpbMwVkQRrXfvm+08wcTegRKj/Pc07qviBU6VGCWsnZ0aLbCkctBcAB6Zd7jxKdQ5bY83H5hO+E
+bC4Bt63XElJsIQORD9DxLTvLndsG/kOZQz3yJHO1pkK8DVQ5pkTt90+LQgOzf/cmkVEWI0PHlue
IJ1jNAV6Ju2kn0RsUddi5xlbQWfIcm+OTsO3nVLEqY9Tb+1DLrrKFL/je7AWXrdjjXqsvGNQUx5b
j3x6Lb7ItAkiEQx1pQPPPYVIcTSNAEu8wc/xqUZwbXiFt0TqK+VOuIxjj+/xwrYXSpgm0YZ6TMtP
uR+QOpOjkEIaXqmFU9sNd4oStnLYJvHNK66KhdVkAJUROcBHSzgRXBnU1qB26KCwnpA7ihZtCIBa
4G9BcMnR/KNpsrcbFwXpT1G0H1xbjlya8LAM0l/lXR68AHj2irZy3nSHphL41XOSa9L8nt0FLYdO
GZkumuBV+o+m4TKuO8u9TWTAvH6EHBnmiILhZ3wPlsz8SyMPDGLNXT4r3plkvbMC+jzHdbSpSeoh
7ug/3aiYkScaZfjjFq00/OmXuIcN7ROWsCSsIj/4Du+4jDl2t4P8w4LnkrKSXeBa7KNdUr5C0o1b
XqimeBAYOvDOPEpqI0lsDXJ2tYJiGge5z0GzFd6XI4Jjh9cAWJM6jj38KCJjuLQYu/JCoCXePVwf
xGhTeIgRj+FfLaGDwTYLcFIUNJWp15j3bjhop4T9hjcZhSjPXShKAqvQCsiqYbWa9/woRlfBOL3E
aawzyyMkOU7ZWc+M+1vzKKFnIbZHSPBy4q29rCkHHatQDPpPZT+vYEI3wJ+vOVo36F5p5ytYUh4b
7mynTEHa8JfLTuIAZ2yfytkh3+IsY1xeBSiwXibIe/+KtKyMTEgXtj6jGYe7wQne66pjVj5CFJvI
cGMKvMQVFzFdcm4nJ6SaOdov4sP1gS8qTRXcsJCTZ7XxNCfcCnYErnU7L8pZc6MIDgjnNQ5Ylr0K
ACHg4FGKWbikO4vS78paXGYrxT7SMQ3ne51N4qSaHsYyYukDUAEOwuSt+Hdnpkuch524B4AqYlbP
5Wkt9xUDvqy9dTqUvrDrhFzFKaB/3ydN4qznyrUfnh/TDsDvKRezeaCRLb7mDxQiTkDfACnDDgRj
dJfpphpp0433Ip/FtWZMNPw2fZ6VnjC+M+aOzh3eUStjwnLo2hezCE4/Bcn9Q8Rsi49dPAxWD3cu
EVhJtaF4N8EK31f1tRDTQFIIV0eJ5IROYIjYrgPgaY5u/ovOjmtzVDZomDqYF8DeXk7eRTzMUUVr
yi5BfPppGxbz1Bezlw1qabnrtKoQresTnpCrlYSATeINPvrKni7viyhLKMf3b2GVJLWtxA0F7ADg
bIgiD9HVOsquaV+2jtbK7kNE2BHfEPOg1fIL1+zQWUAirdOJTznLXEpxk8yYJfxi+Dz8wksJD+tm
lOlw/G6Y7S0f/3pBXDjITfV0Viuv0v8pg08l7VpYTTeotOdk9B8DFgQdgzqe30daKYlv9vEJlXxb
2QYeghffPSsr2iEA4Tzo7RZ0MzYRGuzbraMNW3lln47myilbb5ZarWjl5W4DNHMh1rm1LQZh59DK
cGOqutiD0S4grjeGHWT7QEesyLd9tHXlndSHTJuYOm3hBgrNWhCMb+VhPDWbExLywM9zxXHdHLHn
Vyykh0BqxCfUKX/VEQi+rcDXWw7oAUCUNsuzRlcxyxFLqpoajue44vSECxvXyAhPDqBQ8U19HWQU
6IbBJotHI9ipHKlnDcnqq6Wv9LHQ5P57yLtV+DUYQu95V/dUkqZ45Xl4O3oU3aIWUVsd2gEZLIAK
gQTCEs4M6I3RZD6TqhnawHBulpxv0spqInoQ+XFeljrt0tmPDnjpsqQgkr6FxSnKb3WXAmFzlzsj
SyDhLeYfQ9gJh4Zd7doyqXpuQlZ9k66bJADo9mQfDkz0+2wXtIpK+uUFEKchpppMjg4ck6eHPHCY
DAFONoGRgMbQPaOTVVQ8efSAaUSwi6eflewfK7Jcu846JfB3eYbZuUnpyJ4OdOzPa5/vgJ/UCHQ+
swbpecDXl/0VcBcQ1fCMiMavRgOytohdoZs0Afp6NjGpHvCDaPwqxzF5UHfI6rK3sL9hNdzZiZsd
QAOo8GbTPLMqOvTqXZOm1YqYbwANo40VsBifTdslQOegBaVC1JT8wHWJZPHXcxhgsscKdEBTC77i
CooFXps0honmGLTc4fzoDG0QqnUqqqvf/4r5GZifFkpwF3J4K8Oih5EhbaEmkVQdEDV2+B3/cVDC
p8+EfIaNh/l4iKE5qK3JDV7uT9hchjVm9ChaUH0mt7WahJ2TCOtWDy0Eu20fem7vZsKxWDUGBqJp
Ab5+LfEoBnhtA61RXkCsuFOc3Kc5mDxpt2xl88MzXgXQ9eWXgKKPugJkosZWPLAjD79nRKSxYE80
V6pNFgwO1xVMiEt/AX/IUdLjKHvp8Bih/LefXexDkG0jkDHztEov0qWbOAN6HN1sw0dE7VHBwjkG
9+io5W5767TrN1V7sNsG542JWXzd3H7TozE8hZseTT90hNkceQ3iR/6P+407AJNeaFm1PaV7Mtjd
0Qy2k+2W+U9pT+D20tBVQWrG38Y/+6rKYK/hagAa4Guzo2lN/BYLkG2Zv9qC6KKWsuuuGod4EFKJ
7g3M/EKMI8kd+B5aptiZZK1AqoGubk1Jf07UrBwiS42vN2KOoKllvK2z+tiLDzF4lyibgne0sv7K
SvL8rl5UQkCKirLGeaarfn3R8oICb6+06MValOhIKP4ZXQBQswB8aTP+Ri/9Ex27LL8D7vEnm0mU
O6cG1ycAUKBhDqfHQa1P6/ioRkhEaPRlijWNYZ+9tIJzlwGxIgabh65LOk63DfLE11Wz9o64S/Ka
LYIBbi/9TgWZBgFBcEnKX+A2u2rrFtw5RUHqC9T9K8/TBUFDA7CsWWARvhdTHqqYHo0/8uDQFw6X
mdkHik3qQ+GyT3iG/pWLjSDC06MX0AKl108ZvUgrr3qIP8vex9Rz1OVcugRTIOmNvYPi9lnYydOv
XltuMH3gABbPXslxYeANyQOfXTr+dWLaQU0QljxfdtgJblY6aw4EOBM3O6pbcnXJlHWj7kfC0139
4nvRD0f5hFLEam/j58G469pI1cvYjdGnbGOfOAJP5FPWakstN9uZKCDEszoQBlEU0gI5YfddY7FE
UN7sykVj1caUQTDWADfeKX3vnQKNK7hYFnpvd1a+CSxBGZ5Rm6aSl9WERsw/1vMQUM88iCE6qDZZ
e2+ij6yV2MlvKMYdMRmMdqT+yzVeDGQfHr0vewuy2vGoVtD2kdJ7V1tzdJiHFzQTbbw9MQk9yBsa
6aIWwIQILuq2UuOnhKnR7ElIe+YpGx0mozO8b0J4u1sTZDr94bGiWdOB9vdKb09Zb3NA3k067Cko
0ZfP4Tiwv/YchQxKa+sGJMI6wRz/7ee9nIz3CHDTzX84YH6hiTyplzboL6qIr/YniyZDCCFOShpJ
KxCcQL+fj8yQN3lq7eLBDbrbVWG+1HypDiqySldGJ9MiHO1020h4DPt29z5ofazJ6+b0u6qJiHwD
NXlhUuZFTavGgVdvqhcQqjZ77QBEJwcaklxaq0B1ObI5rhHdJ1J9Omc6EKk5j2iSmg6TSg/+fCMH
9qcYD+eNxara2MYzvzuPt9cPTxSEIua95zGBJ+ruyaYWHu9Ovafo6Yw2/uziAR0k9UlLPc5aXLJZ
vuONpG68IfhKVt+CctjKwbavAdcweTpdiHsqMU6QqPZTNJ7Hydt/nX4+rf9D0pktKY4sQfSLMEMs
Al6VSu0SiB1eMHYQO0II+Po+UW3X7kxPd1WXSGVGRni4e9jDRUv3txV8/xW33X5b5+puug3APz7i
9shFuEA31FooduY+2FsouNAakiMAtgxXWY+4Ul2ArCLdjDvA2uBZxDVr/qGaBLfXxK72Pn49bRIo
4h/u6YCnVFlEOyAJLPQIg3WcK9TBl+yIdyclxpxR6RAELCbSNpwvrp8WVhY55B4cJpwOTZAUJc90
2o7taanPOcfSAvsT5OcxhgNAUFJx241XArIYnt8Mhzx5prgBn3Bo61VF7jhv2Gz+Hu0i+WhEGQ47
GKxmZqPTxLFdN50mTUSwK0ywadWB9xSAagwsJakvaacj+4+IqSQAzMH2m93iAvLevoYNl0Hkwqeo
fJwGdFHzyidurhk9lba64+MufAPZwRiATyqpO4HymMyJx2cbaGTu/Gr2wn0xatBuQo8oAsa/fsG+
7Rgojek0RDT7/Zd83rg79EGqgi//PyagaDTHpLMJaZntsU8tYGUEICQJzbjqJDhNn5l2NEFpHtFx
L/yE2/mle9AXGkyPeWBjqTskC6rzoR/eY7jNqn23+hAjiCkITi2kkyhAf6gdncf87tDkNI7cD/At
zqb+1Lm4Fsy85CUsJS9CqYDFhgZm+pDgkkUSKx+EzE9dUwjQkMsEFKdXmLv+gzT/7Vm9p/dzNWlR
FE3wbO5BvMV8nrzFyBRJU81/6gLcj2QSwVgSiVxZlaNuXCVg+NzbZKHTuOZOyc5OXA7VLXpawHzb
WLioufG2tzhRHYuBuy86tzgR5BoF/299ZdaFAtpA0YzR88yr0uwkSf++gJlasw65e+sK/Bq+DQju
40XdGdfJ3b9u+Kj7TM6prvgy8nXu4uu2CC8EHF7Iy0opEyEQEAHaYgjyOYLoCI5xVcUEf5Nei7n1
5BVep2pTH0JOcR74Sll1k18/S1VNOAvTGH0Vq/YLnW5YwH3gHjJ37IVuPRreUlJ15CcYxdn8B6kn
F1FMXxqNJjmk9WqTAf6sNwYRbH8mS90pi4xmt0VXFM+W4c9DEA5XHC/lISNrGKAQglwO+y8kroa6
jAgaf31fEzKw1yZLBZPrMpFBCHoPRUMQ0auXqyotlSH3F3rZIWJm2AaTfN5owMGznnA8rN/kg9NR
r9lfMzR6vf0UDncfP5I5qTyEpP2cxei3m0TYxPT0bHbvG/gyL7o6wlHYwubSJdW/qPLm4JEJHXD7
80gd6KQFUyoMrBJxSdwOizk6ZIxkHkHHqZq8ZRzoOddYiG8rhvZrDXtb0UWmMdBimdnsT57rcKBD
WZfiZq8RAw/RWXepJ3K1bSY0LnNc/DHrLzSmdoVzD9mMJ8/Hm3gIGYnKbTqVPht1wZyYyJ62KVWt
IVkJFJuQwPImx36HLbok7QoDTQj1RGKuMIZCqVtHtXeMjK6sL1XvWC6PSXxfg9Z+np7ZmWAxYQzu
a6ADDCek9Hca8Wb/snD3YYZGugOfvKtnfIJ8X4a7TIPUm31wwkFNisbPHAhx79wW9pWcGeCIPwBy
JZdtKdhkXjn5Umd+RtzC7ODOELpYCiyGEQ7VfumWEKOklHKHt4/FElf0dbL1+750N4cV7JnJA4UO
RwSwzg+707ZWjyTrQWcQlgduTPClEF2rxabCLeid5fpb2Cih+hAnKAFwE5nAV6ewAINaOFevjZyk
og+2YQbSe3yM5OSzm/Fm4AXxevrn1RH1hn+ixCNpS+kQfu0aHpiQAi4izOZrDpll1JBUvIbo1BOI
YCkJLRYoROSLW+WeX2izk9SJAkw8vYXlvUfdX22rTz36wLpFv2Wdqt68w4BWwqyQ9ey86pYk3jHg
d7c2qvUxArXJwt4YQc8XY/JRRoS/ojleCjDXvFbY2JI4p6+qnbMyDNwh4ZIPcQpYJ7Yiv8lV68Ea
HT6hdfuYWfCTXhAeYHXCnOKmY+BOTuLKyMJD22fc621SrSqx0G7Z3ykFWhud27KG9/JqULzAaIMa
TS2r9lZLkz0nmdMrWd4Q2+3PCvHsx9oVYbpQdGzpYjF0m40EiDSQvdCxYXzgWQPocVstyAANuAOI
Bz5M5IGAPZx04tLGyRlm1QVlP0w/K5sfZQgJ+dsRaa7Au28QhuQ9piV70BqfcgOqV51NXNpv4njQ
CUynEYFDwhojs3vARjN5Nnht6gaq9ka+/J6DjbIbz4SL2BgFdb4Glx0dsDjM7kHSnATvuLzb9T3o
yR3oFu7F3canFJTeLQ21ez8kvp5sSL/HAa5JCIRHg/scqAW+APD64A42alS8lMAOOxO+qhe8liNI
aJQo6PQRYfyQEHIk7bLbgsRZ2HnTb9xpAmQfoUi80HkgDG+gliArvjd7lxs47x1ju73vVcS82Nkc
RmcF/fzFJtxkTPFgRBzvhWYY13LUyvWt6bSlAd6uksYUGjOZw/Iddeq01qktO5woXRm8mPihq8Fl
uUjpZJ6dD5Upgg6uVhKNafZizlm3nZaGi8ssO4ibwaS8OjDyEtoCSjTD7nTiK017rK8Oik4NI/G+
+tDcVAZT+jhM3okMnPAhpNxz74N3eSn+tl9shd0T3imFAwQYmXe3COuZzlf5at8FP/cg+jFdCTjg
wpBEnbUZWqvuewv9Z2fvP8/hYAdqWVhjIaMRlwFV7Ju3+IpQtjV6NJVx9ujxIYRjyRchdLnlsnGw
l0/mVMSt7fOjQe3Tg67MYMVaI97agnkd/MPQFzs4WCKB/XF8eR8LxitZ7zRp5c5phpIaL9yoamKK
HtUknpUVlSPEN1DHDyozBqbCotejl0hM6fvQFT0DjH5huIRN/g39awmCVjlQnD9JWWgm08u6GPrg
vplIjLS0pc9NZVaxVoufLZ8RKT+lOw+lNcM6J1Auv+1u8+EAoDB04GwZB8WUoQ4OSzZqfuZVdbNk
dv3paH8hpblM3dmhX1JpTEzDmoD/sBAqOpKOZYmxw3AbP6lTZin0K7V1js6WquU913m01O/0lRQ9
CGcW3gvI3zOUOvj0ntVxsqGzeUb0XAM6XOiboenz0yPz6Hl6b9fzNoY/vfqghYOGxzekt4ntobaP
QRRLaQslydcBbTTpbUIw2OJc13A9ZML4wWg9+MQBNu8GUUA6RRtjs/EeVavT82iewUUef2YPr6C5
wovtjIMBbEu8KkE2B9IniSIgoUigo+XIBIp3dpwV+goeHwXInnFYf/0JK604CIcGH7o8VABCnvoZ
Fqw5SreqlVx6Tc59FWBfuKwJbSwGDFmq6HlBWs3UTjV+TjIacOrVoFpTgvAXXjqQPmEPyTZVZ6aJ
JI2u/ltyAlLwNK3g7arZZ6cDMwwSuOuY1nyt5HF1Ap1hjYxgnS2TPgonpdGT6bY3umxGO9Fc280Z
bgBYJrvpXe08Y9Y5SufQ3nfhZj+8pj0KHleCikruy2XyJP8xrW+E/TVihm/BmGnLPeFnXxkDAb5w
fpYc3V73uAkhwlbtkbrHA8I8JfVs1FomlJzWbQ07NUKVNzn5F4xC1ChgpWnmLxUJ8ezKA/PvRAVs
Fz5MggA879ImQg5dzkit1P2hsHwOAtOzZR7tOPUGCZQoxjQ60lZUt1UK73V2HrfcGZaTvOwsToNy
eLBojxUQUFhAhGZ6cg01kZm5MDUrhUIA9UngHJtOhOIT75qz9DQIUAHQhElxHBh4UG4qXfptoVcN
b7SwznuQBJJr2oJr+lFf211D+OhPoiiAPTwKhN8udKRiDHw2Hqcg5U/3MniZiv0bKCYdcEHFo1nW
b8K5bY35q54uaLdLe5G7ASanZGQ298ng4ybBw4/eENp3rN+i+2FZjfERIyc1KyJNE/HiDEZ7VQyf
FkQB2ohpudrlfGsHyqZbdXP6TTgeCiBl764jUiiiyE4aNE8VenSg5Pjk/E03J7n+1IwTFIxu3YZH
f04FXKxBokvHZXgykGiiOH6XyYaFwEnTflrns3+tu1/fRGZOPysY5f6nonHnGKQFtYRSs5bb7oKf
m7wm3LrPfCjFkCV6ffhXfMAZ+AV2DSkVx84LnrQWl3XavOUG5+C6qdqETQaqrl+uEb9UlWPMXX0i
bACMhNfM5raCPb3jELptfoIV5R3LTZIRP4ObXv/iEVc1KYUoB4mue3Xv0z0eHNLBKGAYk0X8/rgc
iKe+ptXwgIjtGV/nOS3qYCAe4p0Z7VzdpLwEvrAJCxWu3nPQAEUWlLitZkTA2XNZtRfWCXSW0G1l
XlBG/OsHDgRZCSq2F7RD9RhymVzdvyfhOjIUHcAKC8Dncd5b+qYjc8Ld28fxi9/UiCEdHuDScQKj
YbEyGQxIawkbHWzacJ/jjvxg6wCdzv64T8X9NrgxdY+41eFvfSkzx4eudVN87OWSdESLd/p5+dIY
xswivRTmQM2jUyqx7rKqw8GZDHAAIV14uud09IvZRc0DAs/LHV/1q8uIPlKGk9rdurTnjz3wtJoV
yO5GPvnwqgnzSWnRfBOueSCROpU+gKpXgfG4kzlAbLCk9SUQc+rzcLOfwGlAPj2vC8b3jM5DJq+Y
rukyOqeNIAnApa7qD8L+mYrWGNCiAirYM1AMb2G870Fsf3oOkFj2V8XIf0OcxMyvL/06Z/X25233
B96hbxylzzr8DV4zA1OjJufg/PSKhvN27k9v+ukyFIzcDV8Heu8xR6OcwM9/rIyZ0TtyeVF166JN
OJZ3LzSN9srD7URoVoWqw2aDO3PwwdAbSLyH9UPPOPTuR/dyUI35F+nLgcZSGb2Y911CxQiUofTv
a2FMTRAYQdLhr43SGzrbGxvWbw0Al70xpvV3Rlez0wcjhedNwXy0iQ7I/vbWZnd1BwPSpWXQFooK
7bRWRLa6hmcmzzj4bAfQYhm4RtjuoX4WvUWgObwjD6mOp2a6uo4e/sLiZiF+KO8v3DAOp2UDBskt
6yVJe62V2slogHBa6drVgEkBO0TXfd663JHuwYUfwtOkZ2TQnPXWbEeR9uXnZUhq4X5mIl/3gGzO
SULWkar0BEMtZTqZOuIKYdolD745MbpYjTtC3IeykTLrhC0I24tIWzqGZMt48TUmzQam8A5zeYuG
zyxd2iWcn0Ggufd5/qZ90zehDcNwaFnMtcgnmwGCmoEHk4cqdLHdZKjhK7NdevOua/KmIw3tYi/U
Sw7ozdbNXQK14BWTeGy+LQs24o7bI62+bXgPegN9iGjCABbu4d2ueVXEWWMGiTe926cdOMfFfR76
b+TET+dO1YeeoO0+I1LfOaPnqTgfrr+4wr2VlrLwbMTX88akKNN9tGhL3Av1q0U3Co51G19GWETM
i4LLBLoEOEBf0bHbl8SsBmV7Ys6ZWHa2s6iBc8CqSeLX/nSbdX2mwQNiR3iajs/RiV7Nc1oEUiQR
c5/KWHIhqg3fhP6OnwhuFOfBLTzEEKoJdD5DyrosPFNjsB39qDt2LBijhM8HYU4L53JwCJPjmxII
I7m2nxy8EZGUWSTwd7i0rsrAryMmpA/YuhVq8TalYDifiujAAW8B0oc96rBBoDhMiHrkGo+Fveg3
DF2G7PQ2CTbotemN+EsO6ZGgI8ej3htT8ac2mdTy4BXPeEbtz82VlBFxnmvgy013VZ5MvrLeO0kT
UH3rvMLQM4+sYjaRxulzAtE4IaUj0MbsqkSbazSpCGLUKw12QoqAwFgKPxE6nadGFfhV/JpTUx95
5Hm0wmuc09RTAR5QRaQC6oXf3WJn7LzWWx/mjIz3PiMUOaFBhcxkHFVXbXxBM5RAH8wJlVAaJWpI
QNoTJXM95ictQiR0CzTyAzhdSyYNWd81yazydnbagNPIoR40t4OLyJkyw9c3f/Z8WpM247yERjQY
7DZhFXeIEDcHiuqngvLH3NId+Q4qp6Rq0wbgPgPrsA7L2WmYJG8X3s4J0gd51mzSnDNjdoGh0NNi
kt8VvFFyPUyXljWQxt1osGvZu5o1mnHhae6MJ0QVnqUYSOrfxL/AXR/pMkfRW+OZkFRSXU8nr+AG
wa1j92hxTKo3Ugf2NmPpLorcgLxTCwcFmv6ne9ONr3fCz9ka0+6AILzHU3V+dXd2JbKhrt7GELsK
QudjMHq21HdIHTS6ptxU7A+vSZskNIQT06EvDQpEV5GgP+2eQi5BXY4PvW42hVgYtkclC2/PGQTP
NJMwD8b2WbD/8ZXyKRO0d3yj/PDOesncgvNRsbuFu7VYMPeHuVokKR270YcuBeGvE9IpEmgECJmG
OhB+SfT5o6LnezZQWi8VSSdw6NOppfY0HxdVH8jbhG/IdfNxa2QJn+TPRieBpupAv+HWNOjATnMt
1WclAhgZkGM+LcqB1sxL0/LbZ7hqGGKv2DWVQ/ePD8QVZ4Ekx0bDPmC33OcwU0zBvksqLmwuihFx
GDH17czFB/tUSH17R8hZ5QKXMY+F5uLnL6LZqMoxBPm3NYc+8rGbMCRLVmnHVnnOA9hlajy9JNBU
9x5f5tPqvSSlSWZJn3R4GZe7FqEF1HjS5ICyaz3Ks4xzs2O7XGN8X7kUYJrRvNTv6MfcYThV0CXD
3Tu+yhhRMOdJ3mV7wXDj/VzgktB4mZ83dJMP9nzB9Mvl6rrhmmUl/wNO5qgCB7icpK8bnxQAkEyt
Y+crKcI2HWablSzOuIWJL/RsqPZ1qiKdP1yej0U/U5MCZLM+aHfemXXhHTStnC24RCLwNniRIqtx
um8I1mgaHuBPpk6BT47AMeftnbaCsxuTPVlIHjpkMU3ah5OLB7I7/ayBSoRhmr7QGIEt3XXOokj5
taN459IV2jpXJ6Rm/C14OMyZ1iKK5cHp37nws5Ib/jZQYaBbCp1wM347p2U4NfyMVFgBYZEhDAag
TV/7DslwIAS5mpUwhSwZkVoC4yyXzd35SiL6jRJyUFiK6BwA/os/oG6BhdKYmZCFJQVvWFuBNzjm
DVlEyTr9kVul1w2qS4QZ31AWbiAGiv/aedtC56SKcHfpckqohOxdadl3O2zHQDH2ofex39inYjEb
ZL0M9vRmD43h7H/HHU4LyYaCGg2RF4TlMnnNeKHrcVshKd7dVbAn68M/8AAyR6Xi0baIn4gm2i/H
gT4Xh+Yo3ZQMPiPhAE9oqV9cMjaLQW1buJWgsaXTMRl3Qd7DnfScgwkopMwBjYinDS7lxnenHj5g
K9N0w5pRQEXNiJCQUlACgVDYDlxBI5hPC9xB+GSDkx0E+5K/8dJlL2++/SmCwVrmn1C++WfQMXbk
kVSzJOU7rSoRzgNgDGTNVS/YK9ymT6qNq56KNN58VL1HCFRnPgbszRD1x46fV2Iu5oFx4uEjsMJA
LWtAZ0GFzuIY14Do3XDqd0XgV7gEVMDzIVGVKmMu0+Lp7JNSQZLyKOsDcKfPElrKZrSn32whAgA0
o8mFimeRfoTeIbu1XNaRcOCI575gtSLOOobEsoVL7k77ES7yBsJnG19mXqo3gNSjbr2RFI/k+x66
VOIsGNxvb8Nv54Q6EJXedqvbAvX2r6DrtR25T5xjE0O1jp4Lp7t0ilslZcHHOf0YUIXN7AKs4UPq
4BeX8EjzirUnQYBSu7fHlK/TBeeu+mVtCU93dRnb0+aQ5LzTJGuUV3MLERKgn/Gw1aZs+ct/d8TA
x2RTTqg+tZvPtF4CwHHFF57CtNp5jmeLAZeVBj8B0DlxG3mEjr9lEkVEdRcbF6ih+IxTxlhjzsaL
ZPzoDM50ZqTs72zfOMhY545ChcDuSHm8JuOOrc6AXyyc/coUnynJgA/MVyZ/12OQWFi1JpY8nR54
ZBVrppPT8EjM4uDcthP8KK1ZMziQvLQ9HX3PslXISUms/kpuSfSY6qj2jAAWoBSSebqDP8p+J1Zw
QeHkx7pVfGUygBlaKZrzOwxJ3ewZGSExkzy7hmOa08BKEMqP+CDsf1aly/5ijrg1bU6/2vkmiFKR
tjYZvjQSrkXRF6WsOAMdYgCiATYu3m5zWW2YGUiynNOSoe4TPTNNJNHYISgU9bdPJ7MKxQ56FgcR
Plg8t4UXa7qxc1BO5nzEX/i0zfD/HQrLR6rF6bj2Rrpp7LlPw/TqekE18oiaZsKJjPhuuaXg6DAs
ZlphYDLoUy8WcQFcIlQesEOQTd+53phww4lixs3m4GYqD9h/Uy57vhGbrww4FmLICbddOA5Cz+3O
T+Rj8hLJo8j3UX/9ZSgPSounYxdcRtNCN4LHkjZrn0WB30BXZE8lIh3KYU7L5knvSHg11FDhISrA
r5U5otcyhaQoDRJ2EuniHQA7i063pA7N2Gw6ELUkavBqzvTSr1yl/nQ+p/e7EpElg6nb8AsrrT85
m5On3erVrkyK+avpF1uYZu7bO9Joui/Cll437FdQzYOH/bLWfwxWKIf46ks7cx9U+nSaYKQuPPeR
67s27d4HT2mfP866/Qr/vXDcHGT3+QCuO/q93jPcNvXku+4xYFidVx3FLxgfeFTammxPtLsx2Hde
QYvG4sP+qEhqw8ssSVwNoXbVTNYLR0ck4EHyi3F+cvtIO/rHOf+8T7a9t7KixjTiSaqGxX6hfsd1
iJ1iTPr93jpyA420PaE16u4bVqOpmJKYI/RtRxBGEBOxpFAw6RtDHdoc8dzmf4zJreIHdsZHPdMN
v38YCIX2kSLseVsv4UMyY7f0ahWr2XYqid8tXbrPb6u3r9CihdKypfnsMt3H64vCzYHC+EeGNCNZ
OVyybVrNiHOxAx+4UdT8WmIYBvgnc0YZd9uxzVlHl3V+ELUQxZ6x2gdMeCEtOtlYQHNJsPAz6XHf
4NZcgvcAsgNODLRd/e2lVNs+m0ooBvSmUd+goqX7OQFcHC7gZZZgGymc09Pbq2iDtggu+0/QAfS8
ff7u1t7KH3OoxhO/W7e7NGYoQjH0J0pDIIVIMWnF616/jzyg5a344NscnbE/XHVfhOtiTAtXxk/A
aZfn+WvxOrB6WN8epLAyeb5dTNxQg767T577Fp9GCzs3nC1sa6GGQc2mi0Tr84drfBsjXtv/ZmH9
RkMZWo80+B/XPvpWPqdJBQ1W02DtqwMuRYU3mY5cuJ9XL2KkeERPzJpQW9SfeK5dph11hxPKrh7V
aLV/Ji3RoH0m/TXuTpOGvabxx87O7Vpvi+m3wdn5e5Bh22/1W7xW3r5FeEzdBr/ogRENadvXuaAR
bNsHOimUZDf7PqkIa5s95DunbUXdw84SWSCB3hJNPoQUBp5AjyUfRKUOJWd44extG6SJdWu9blI6
Q0/Wk8qWKUguUn76vHh1HFRNP//oG9uM4LqXSTGNvTeEFwpzTiSVyPwXO8RfwlwWumwFHTVYFi/U
Pd8hN3VaVh+qrH0liE9eqKegxgByITyiUIB5QXh640Ho4DGAIjS9uTTr2a98+0X5q4rldNbzufBn
O0gXXY4lTvljHfV6i6jmb+GRsOEMCvTzGrdyeDx9DBOhKxBOYfpSPCPRP5Ap0MQ2/RJYNOPlZ23Y
uuxBv5ks+INqg2hKf5ikeeHAeIy6w3pY/JEX6CtTLyxEay8iO7PHQ4mZuN9/WTCHCZ7DvcVbYjG6
UDlvO9wYaUvKZB12TYPOh00chLF/U+YbYjM+9FJ8sY27iPkYlaRXDlyPIeNURJVRug/1xrBha5YB
KZ4csSODnh/sa/4kd0sxXMxZ6YsnbBumOH91caUkeUXP3HtFcDNdvM2P9NSpxg6QgbjVOH23PacQ
7vFi2NJYMAzht+094ZHul5wvjiqvI6wxZJcc8uXPWYrw423hN4OdK7Mb8V3wKj7+o99y0GEKLCLs
4FeI+AD7CtYIAu+caVt/nwvNAzzhFDJkijQL+i/HpW37pm0O37BJxeOQZqzbgmCL37nUgtWmE//s
on9L4XX87BquzdZhfVA84b2pyex289uS7Mz9TK8/kl7syLmyqbzDeMraWEVyZyYBHVzmIifIpNWi
reZX9hPV3rEVQjSu7zFxTzvwpWAXCFdp/0EmU2PwEhcTO9s9pudBhrN7JxQOMqlkPKURBlFMsGDJ
pho7+rl3n3kW90pQa9lydTO8CTItTzltduVfxRKniNMYs7EgfvAhMMrazedCkqhPhuIT9CcINt39
8jM9+6cxJSXUvQU0tWsEo41ZtLQ8vrtL0jroKoRriB+EYyt8jD/8QTbEwwC+q1mis0eV81eEQnFm
rIDbglZxhL18/VFcL2qCRxuwYIULfJNsH4z4wcjnK1Qe96vbO5rtN81238Ps6efLcy9fZtJpKU2W
s/2x2zc3uwqZg+FWvG1zPC+WFauxhPYhHhyNM5X2MkZgjCuJN6dVDiMjm5GEI1s885y3oIs3BE8k
MhLeOoxaeM1TEomCrKs2JymJzz3kRrzWugPnAz0mBPzuiqIG1wU4OhMuNLFGEYOn/29ijeIPITkO
/xCS8YTArLlnYRny6tWh71E4QJPCsqPLCuyXcfc5gxWUnMYtZjRqdKGsqLVa/YQrwpbvE1QxpPfF
xD7tXh0RfVNeHBQl3rTLdOB5N1efVYaBixblAUTDH422v0yMmLFtbyw5RjFpz/RhojQ/20MhOSLC
hdCBZv54UFgXiMsSTzvsm3Kz8guOLQlbXRScNMOn0wpp99NGU4U2aQTFH29Qb7dAuHJcgDoLOgi6
dyW5TKlVOuspEk1ESpWet7kD/kA86CDo/dlHTywJOtwF5Akn1RNFgS/L+eUkcJCg6COJ3nB5u0Ok
GQ5ipRf2Mg6h9SgkQYAq9kotEBY/mQzyciDcW/K2bXLXgqZFC3sIe3rASY/S8KxqCR8ONrN/IuYP
h6t4OjZKtzkEzhFpLrkugR1YF4cgA4k8NEAm4SCSLiiRHuApIaK2AQpoUTVWXXg30AYFc5iS7SKQ
BbXUFM9Wk6Ld81TVUuBo9bq+soM27cSWrLjmiiKotWabt6G9ynlE0SynjJXw0fRgNzNs6OabV/Ad
8R9+K+HNcZe8PT4iEhleouQngnRLbQK6A1Fbkl9ABdrYuz/AzMCohh2Qk8oqv38M/P69yipj+MFu
HD/XUBk6mNfkACz3j8M4UHmfYCqUTq+obIXzbuHu5z5JGZRdoDfI5R7EVqTyU5wBRL3yGIeYhnkQ
XUaI3pw6kGekBynZdsj5oKbFtIplqnFjTl+k6LQJ+Cp2YoZndoddi8jfvINYC5xV/JQAOABmEra6
z94Qg4N44SJF+HGQQXk+Pvu2BTVf5DGcGihzPBxb+c/TiZX88d0PndrSmz86QCPpQ/8pv/fez4ZK
igsN8kyGxhDSzusrZ+86QMPGpJIEsISifEh9ITogeKMXEluofV1RtbHnQDFDG8t+QSfRM4aU9d3H
aAiY0XXifSL6Y5uuTAqwtUq9K4wE4Wo+QuC3mCdjt+IYlsn+lGuadM0bYsPSWccGV7Q2h24fGj/p
YQdhKGEmpv7NGrTP3XMD45/DfLBp+RCyaOhBZVJMXA433/cY3l4KHA294eFQGMoP5IyNGzFqjik3
yBHQYRoK75cXh5SawcGP/sqOM388lq4i5RszrnmhPCZ4gzmpCpOAXhNgkx49+8EAp4AMgSddbnsj
u4prVrjXCPmnTEGeYzHCBxSfDX77q2rp3b8OOd68w31/nos/tGi78OHprXug6BP8j/rdpwHjt+iz
qU7BkEvVoSVzwajkQZgSeme//0Lcx6b3Y0z84ZkiTcBnQ1pNrejgAgjyuJxSGrYCHTEXwGTzYvp0
WcKoJGCiOLAM70P2xKQn8KaCPvqRG+Wds4PZQaQb8IpwBbIJqPcKEngiDdrkh1wiRoSIr/G15nPG
odnkULUz+4+pN1RK0ujEwLBrlnhIfSjijqnZO438XntIKQXt9BNcMhgZ1YONS/JbPbEvyxmKFzA/
G5B/qaN1tupZM+hrS62pf5q6RxUHjL/8ww6XM2gajBttK9jWTO4mnQTD8lkBXBv90+iiXl6Lso7x
hvB5seOzJxoAQ/poQLgu5mgRNd9nQhz5Ctf23aawyZyLe39RCuAN9SK1v47fVJP1GOajM3Tewy4G
1wwDd83uadFtnTymFmjLqg2pZ02I3GxWaaXxRfuYgsJzf4oakvzc9/PUH368BmkSL8zoo86EkpHH
3S/rNVz45OqaJ4fJ2R6u1yzOF3wl4EEhquio9nFokdDYiuDP0S7D1xD8DUNMuhUfouiM7qlYrQre
OKiuaMpG9G8n9RQBhe/6MIb99db4WS6/rQJISlb0vMAKPd3jSzpEhWBxoH8vKMQX1SsL7L0wTbg9
iKPcKXwqqyeJMD5VLsZ/8AYjYxet93A29JtFJ1Zu3Zd1GMtHvnsI58I+obnrbzvL/vYSi2aHRjhX
JkpD9lJdMGuxTfNFPNsXM7XV3mOLZ+IpxtxCrmKuWrLPC0sEEeNK4UmrkWiMELw79LOVkXCzd9LI
cqUoelt1VK4XRIyEIglGfGlIPw9iPtc10psDZGPqRO6M7G4PMSrxt46T50CKQ6StfmNYoWyq4Li4
Gn5CIlqzv+316vFdT/q4mVDKhT7+RkyPd1uKLFkeHSboQS6hDuWQbiWL4V7QA1V96vdX9Sy2kL86
hQ5fASk5d+opQflKUX4XdhozGCyNDOCM4nDBCojVWns5b+8MG3+iJt2bvcgV5SedlNEBMDlGE59k
xPf9hbeF4tv/9nifxYvtrWDIfG8W8z0S+NwU/30ESCQGIgrEvcP3hQLXa2oGjq0R0/qzJZS0wLTM
gZxDdu5ic8lkgpe/7s0Km31/mPCZ99bqoIZk9MJJvrGKmCW+gh6OTC14a+LdBUADvnFR3xlLDzXP
7VXGPeY7ckZVPq3Mo9nXTjLPdGY07uCalDA9Kkb8gSEyO/kwpsasRWKoUV0HjyEtuAM7mmUK0OaO
cOTGjWL2Y2MHxkgdc1oIf9BPOYVsdfMxSmxEfPApB6OfCM1FzAI/y+X+59Qc/GsteCRcssHvRjcL
n8VLL7liCtBUS6hoi5DuZFZzofoeVITHORjuRTOtFFy4rk9l2Ky70Ucx3Pwhf9yw4EJ2qAYRc3x2
kwna0o4+7r3X1QPaan77JzeDe7IVunvrZlNZT4iqD5fW+IUS8a3xew7rC2XAih/llZ3UfZTqX8yr
mTevyWH+WnUktcjPp3jI2c2wi/tmVUIt/mXU/76Y9gz5z314niHiDi6oDboVip14uJ+zxzl4ecfK
oOaerPVx1KDZzGxz+zKq8C7xz+W7BUos0rdPemoGZguTWTFqqq+44/FeEpkzuftrSlP8Zz/vKA3A
FAQnbbvcDF3HFL8qH0RgxcUFDkh7rGbRTqFsaVEb3/HmUWSqIttcffHrkEytd/WplA7quGy4zwYD
PrJoAfcQ3xWklsLVzXxzfkHaWuVaQ0lMjCSNIOlajMYkWHcQrr12HIfcNZYbaLWqs0oibGp2eQCh
juHL9bpbYCr1nCwQ2KGgk4KzHSUfvnzWYciFt9jia8OsQR7uFvic2b6/wo2r6R2OznX1h9XsRxxY
D8HGa0K0RtIi8ahrjlfDWzws0hVuinAjij6hC6iy13sFrm85j6BLvolL7tfR6x7RXxUkMHwFEQGp
E2KnEwoQvgImwewZPolWCxtJhOqxwYwvOxTIh1aFgKJnI4hMaEFP5wUwiUYMXg3WmYAa7wnOkx8p
stlBUm4bLEKu8xJuRtsFw//YC5pw6g29/6DfKAWtiwRBgi0pqpRrfq4/65fdgQGfMjbqFMNAbtrf
1wjiAz1XvG4whawPHvoDZdmI+OfLWWTBHj7U4Pu2T61hwcg6YcHQifv1IWmPvpmqQbCB0VHgc9/f
INouA8x84ORAtEc71azTiUEhT6+T3wOFP/ikOx/emvjz3sLNldohjsl+qnoK6emNMySv9gngY+G9
g9ls7QR5hjqrZTkA25pkqkArJtY+4mTHPD7Sen41pp2+8hllh5oGXKjvx/SB5wyBEF0V7PJgiJSn
Me6uELJa580fzkBX7aIXI+CpAg1prl/reErFBlFlGsf33qE3jetdew5uodj8zkOt2N2Uz/EN7lOd
e6xYokU/X9WqYxm5/0dhjMWdiI96I7Xc/DXkhTYYvHJrtCCqWvCNibz0/MQpo2z6sD38gzWqepiv
9PcqGGTzQZCcetBDgp23IT0uvHGHxpHDXwgPF1+CtJ2EpOqvfySdWZOqWhaEfxERgoyvzOCA81Av
RlllISqCIAj8+vvtc19uR3efW6fEzdprZebK/GF7gsnbbxzsh0jJhYBwl0KlWaMhYag/Ln9bnjti
MXg7LdrN2kh0hYI6PPFaSfbkL02WuxIxsWDIwHUYddxJeuUnXmVXZ2U5yXNGWfw/eYhn4BNUSU4S
rHDfEGt+0Zfi+RsBE0NJzWY+IzTFof+IVkcgcacF/5Uvh7ryYeGFa22G2I3XkzZN5eoTBx5UlDpJ
7ROWk2JOoQCIGhXZC/IkkPbeQrovrrMXKTz3pYjkWyGx8Pl/QWy3/AXJMG2WyT0GMsbZlNQgYtTB
kgBhIvu0AU338E5ZXUbJKlK3OVf3Qo8CVXEuXM8MJOBg6PBEGfxKQH5myP1mUEGsxC6m99b2AjwM
aJ/ovEkEAcFgHAOjZ6Hce7vSGqInAemi91yw5cofBnjsGb/BB0pYT2gToXgX3jYAXnaUXYSF4GmH
k2wnPrs/ZiGWmXOAR05qDlNGNXJPfwhCsoc3mgGM9jq1NGPNjljxg86+Aj/snxz4mzlFUEGII/lK
HRr86WH8MxMowEZghwnAkb8bEvgdADWm2xVDgWCw+JZPW8YsX9Rw1sX57vxykXwhr6ecshBLJCkx
LmSNid2aFWBea3DRrx5CfL/gk1Z7cfHUtIynHV+A+oESyYPMw1jOmpxVXczneDY9ZReAgGdq/PB1
6PR1zRxdi7Ad5X88iGm31t1DJZA3gLTZDTCmms6oBGP36Wr787kjRoSX3CLol58pWu/LeLVYkKBZ
2Pu3DcgaVUkEyC7yVPeUX90NfH/ExjnQRySfOVZMwU3QXxiFsRRBCwMidIog/JSSTjFYnaY0ocSF
rrQ5UZ0CPKC904hwAVQPAyPHcLUWPb3w0tR/ad3F38TJPYDRs7q2mJp20C3HAct2P/wxDfNOAcCa
0z2wAMeBew5/FLGwJnHFg3bXHzuzbAgrUcyjCJCe9+SYUL2eSeKDRwoeufgWqBSQTcwCnChfq8s1
j1CPUs1OfB/MK1/UnINrfhl2CYmSgGyJH8T0cNp82OiMp9P7RqO3Me39KVQzdxqgUg/6X5w2Whu4
CFRCx1OUc8Fq4Jg3OmAfAg2GK+ii1SVroItyB9LiHxWBvyyjoro7Z1xv3IAB1ryrHMaN9m924U2B
WaP9sxzb5L2ncaVewrWc7K8SKwAOHIbGq8tzD2/FcMQVPv5f0I5Y0n5LvCEwjcJVDG+aZhlZpDWE
UB98opvf8ndADGleNlWSvVp73ImcAu5DBsp1VQU1M0r8TPoPcyxWYLwp3xbuh+zN8YSYsxoxXgtg
ZCYGgp7q7w/Y0/FU+Un7/ThmbvnHXcrsW9LUB/Yq+Rr7tFyl7DHzUfkSX0puV9edtIjpRgBtRxQe
O7AxkDmZzqRbsyy7F/PB9BjDhgMIeGzbFtzTqyA4lrb3doRhAOM5wNBqFXh2PbUXFwUNyyKdiWNw
db7Ecu3nOznj6kvNXa9osoOpFogJI+9h4ODk9qnAPWcHZZkDlCTnaKUf9cWT2YCvg+O1Sc4zugBR
BAasmUX/onCOCtTtWNIYm1+ASLDpr/eCr4k4XS9a0S229kXsZFOfLMDDXXUUcyBnNePv7/6mhHKu
sAGZ+ayCC7BpdhYNKVzPxVywv8kZX0GQNEETgH7zOjAeBbwCJMFLYvC6yAE4AXOT5gXvCXMTmPHX
Xadp4SvB4WZFguh+n0dYg4+ZJHiLhHlt2jubXNzdHLfr4gusGGoNqgsjTzY5AJpVx2+2rCnzU1Bc
vaMsfGZuN2WigwfitW/4NWkPxMz55g2xak+v7AO7fy86DCskrlLgjractD/UwAA/Ih+DMVRFWSIs
2SbWuuZadUyW4Nl6Vx2SZOe42QKAhi7KwjV7OmgVBJFCPZsgthGPBqDcUii1+P7z3Zhwnl7zsRcU
J/v9wFIHBwxA8gjnQdJ3IRUcgyPGyOgdvfg08eZTbhtfjy4XFup504DUxPUm+KHG9EoTvlJ8bdxp
M0EXFj/FgWLCeC+4NJqe3AOFHEgz+tdv6sconaprDhCCwjeX6wN7eOAJMQ6LLdAsdU6w1RS1SwvY
4Mogmmfy6E8cXLX+UhS/nm1eltc/frRJ7Yzdq5OT1EkNjP7J63IHLiZdZuE9HIevmTR/h7dnaNDm
5jNZduRzhfc/ebVtUpCPW0yfiekamDh0k2xZjCcFGW3rVJ+b/OeP7AtdwzV4+3pwDz9UW8PZl3zf
ZDrHQ6TuPjM5Q2u3zthvlzK/Rsr4na+KbzF7cMU+F2MZIwTEDU6ehWJYNZjcKM6eRE9yZwxmDXjB
lvA+D17boSI8mNDcoGXLn81f9+nDQKp/wKN4g2fEBtVOFSGW4bJ+fYnQIyXGNTQ25xkj3oBCtiBH
EK+babXurnbRYyUgwCNR4Yl6nYL9eFksrgqUJSFp2RFZuUjFqTk6TCvebGO3iDd58DinXxg3wHzg
RGmw6I2DEoLVx0oKtKVBYtX3Y3I9uZW8pYtpqHdUU0cOUsgyFMocBpmP+nVfmighKl4aweiiUrDm
90ATqwaIVDqg2hLALouxz5gyZLBHMjiVpxLZrdMZor44rboiviNHSUz0mdeQiOjOFEE1xrzFTpSH
YsZEPiTMcH3lv3YP1A1jSCjl4XaJiUyuTmRyGGECpOTOh6R9PMp+H0uTO60jRAKxyTW5zjqmlvNs
QuusTYhRxj7TSjDPnJNKIxY4dRyiRH8nyjhmdr396UMDCIfvmQlmNvKgpSZm8IE3KIV0Dt11NByK
Fe3ls9yU0TnS7jxhIk29x2uWFfNR7417X5U8nN0IcmEphavbjC7Vug2pNTSuYnmUps6Hka+/zEiN
PgsgrZ6+lW6SyXR3lSj91uT0sfUuVo9KpCQ6z8mY1AhXtNXtjDEotxb4J/rPLCWaup3ov8/JEJjr
0rtUCcsCljuep955ANAfBRVLPgFWzd6deqvTR2eSXQo0sDthBYDkCNawm/nmbuQNtGA6+PVEWtXc
mfewWTHspO9Vbu3193nktdAePXulqFDH06crfGkEq2x52Ak8bnHVU/Uxb1285jwLdgQeHiiI80Kb
WOnb98/4ALrLTrg2+te2sxf7xOwOnZNjeP8OE3a8RGllHooujlYbnmKD4gq4eYM8oCGjhXtbQhCk
xkk9u2DKsTb4o/2sndzDJymeA8vlWCTyikpetcCKosHJmm93FD8IfP37eCOa20kxAGKTcvNB61Nh
0fMhPy75MKoPiP/IQ6dmpTyuzCN8Fkztue7sn9rtvMf8LVyr8Ec5xS09CYIppuMxD9MCfDnJQgRT
hpnsntxzumphohOiIsuILfR2kX5ZTsW3LvvifMsY/snr+31W8GEHvGWvb/xAhBd5NUmjMasrtIz5
VqfiFX9Sovnwo9ggYO0ELMQa4h1S/lq5EuGO6rZHAYC7LAvOqxR1NQM+MzpKKrvaKf7IbVddcBv7
7VKTWJdwi6Rnjx6VP7WAp4pqwb1feO309YA+Pcuw1dleuy8kHsXob1GG+1rCSYeVf44azZ/R2E9s
Ya3djcmDR3gj+eYxu98XgHnVOASvqQwhrKrARJGkDBPtGTF68Jw/SP65UB5FeL/P60/0usYfplli
aVlruwbKFqlE84lMvkAamTtrG3469usvwtrFqPUEC4JdI+KlMZCxYR/bwgbFaRYW5mKog9cIrg5t
AFoGpQiuFnDKKzHoGWsWyKNrPdPHm4E8YBDk3sfK+J0GmFlrjdPettl3QXUod/UQQXAb4kvjmntP
SzO6U3vZv/1WnPdvg/uAMXZKhQYSvSbzCd5qhOgi2GQJ6TprwsfWVJNcC1iGKj0aTUlzOokFHH5n
VNeopK23W6bh5IH8kEha5CtoI2Chiz84/WZHG6ik/lg93yzheoEDAo4feKKxDOCktCZznLnaqexf
T7aL+QE2v4ZE/FAJ04IsVobi0YvdSGWVdFicRoFEVXvYryFs4s8yHdnjNkKBi25kWjT+GwNoktXY
btKjhssw4fPwkWWWj+fN7r2gmZnRL7aoHiiKmZgKUT88jjzbfRcq31y2FcoIx5y+/074YaSTSoib
ET/EA+PXjjML0q4uujAPy01jORI2S/QVjEV/Bvk0rrFgt5OyCnPmEAF/NNhJ4C8kiWKfImAxEWXg
e2y6pbhpRKsW8Piwd+0DK6yezpPdktWOdp45T3FK0BLW67CMOQVl7t9TXxO0rRZy+eN+2H+nzxgZ
Dyq+07T+os/fl3yK3LuHemwliP9+rgECx5MHUvVZ9rFVHI1JGpfJE12qRxlUh1lZEyzKmiPSXRJA
HiEaimyOCZDbrMMrZp/XBXZiB+WvXIwnumQ/1+Ob/yGxmGr3xgmEmwBYY9IPTrt4zUbHIZTYLXHr
AC+M15ZmFpN57dBRVzSfMOKP2+D94HSaV56CU5DPZVQdbEbhXvdzz4gAlkb+86e5hcbPYzMy+dMf
nI1mnCz9vc0b/5ntjCY6abFpHOXx3NoQ/BIJW4LJVbm8rk5qzdnQGwXFpPBPhxwbU/CyBHWJEqO5
R7CORuWYGa7agYEh/u2wlyhMv+EdH4fXmbxI99nuoaAQqCK32fEiSQqFWQoN5KGT2hv9dS4+jLjP
O/L+5j+1oIQ4mmD7lKEtcLHk59Cts+/05pxbhMDF/jYbF9PmPAbRoDIRC8eNUbKlOZXdV1w7/VaY
qF1/WATzdS7MEJpx8N+ZS/eLK7n4jnpWPp23cC3uV92YejTVqpD7wvxikLq2HtlJjjq9J1I0mnNI
8X0rzXCYli0lx+OI05JAFbE4VcePjaa4XLMsoPEElDz45LhsBQw7/Z+cpIBtlXurlh1nnp3yw3ui
rHP0ALQe8y4cIuaDZjra0bAlxfadQUZmcR7inDV5o9MGx47Tr9MCEGN7DySnmInL5rRoZQ/k/IYp
zKUlEIDnBSvYeS/czkQ0GjJRMo6iAT1JxeH228zmMJKy96uuDBelM65HmkO0e416wn/OzDcriABx
oB886w3m8qdvakaRY5Be4gsV0kA9WNZ0zRnmVxMcb1n65WK4mJ5ZBurDkzZssvKW3jGdOXn5PiOu
iQbY6H0gX03zqug1Ci28/C/GhIwMZCKnyDx+AA0WNcePK+b6mUhVzK3d48kKXwt/u8FwajzNv/kC
8BHDKywnRM1aD6yOdcJ4PZvfNq9vM86xuP1+fQ0TpFP3L5yJ9e9R5zB95/dAgcgop720G788HVHY
JBs8Yfq5KbEuUTwYN3yNMKRUIms+YrF6r2zU1BXvIDR8GtaU7YpQwSwoJyXy2FkeDHgk6TvgKLhu
dlHZ2+D8U9yjK0ZPaMH0OQai2FxAGa8pl6wVyr905vItyJiG+RZ69lAyECZH2199dHrDRJpbLLfR
kiBXQBkRomrYVOQgznSArp/bJp2IW2385hYWM/Kp8zoCWJ6RtsGLnJ5fmY1iIbuSp4puM3BQvB5B
upTmRfBe08uIx8pOB9lPVk0bUMOiHwiY+zP8s7noE0U/ZwSHvZq4OBJPTg7wCwb8Hbch3U9y9e+S
2NfePuZmwnZbwtyoaExifeFnhWO63USbwXZX3jDPcY0fr4bPVI3KyQA0Pi9uQdUseMIw7aN22Zk+
U8A1GYh31Cbv8cKkDtOHwNTuVJZ0rOjqCdTw+TNa4mk849qmLopJmSnFv08e7Lchf0fXhxfLTPP6
Q+/iKLB+X1KfbQDScDNHX6D+Fd5UnLL+5olP0S4koW5kBCBEhDK8vX+ZSMvQE/8ye4VciYgBYPtR
kKCdAXZXCIxdq8s7HfoOTJ0nml+01Zt+b4tux7QtY8ZfYuxfwekILjPumFrTGBxFc0Eouj0/faQ5
jMDasvPqjREwCKNkNnB1w5jMDEysSz4uZAKKFmGHvDGPr2BsD6zNZBSXiiQQaY6UOSxoqcIngKdB
J2Tns/NrJxnbB4xcGmSrSixp02WYfzBiGnanv2qs0ycCxH1z0deEM0j+bZhjvMd1OmYc+T09bG6q
GvJOcbppSqPARfHa5UpgSQ9bog51k1Huff5dUghjnVHwFgopBiETw6mr+4EfejFiaYyNQYV4EMFn
OgoAV5H2cHLdfAkY8PFecfEMXt8DxB6QgurxbL0xUxWTWHjn1P4bOP64IFU5el+ZLdzsEWa5iFhs
F5k3BkVTiUgtF5kFwIyicoZ50TPiDcYiSvEki3r/zMkLHbuKMCQr2GLDySu4HsWrzXTjq68JiK1/
0vzn8b4k94otYqwM++1t8/nLBwdAe0BEkLua6tXPIEV6AsgS9oM92qKRHfT4Ztotb338SGkNMcdD
VFq1IGAy8Ye0PZ0j4Cg03SwBX15pJCHOaJNx67xJq6VRno6XvWKnmw/7rEXchcwZQ5gtSanKHot3
PsvvXoXTGcwws5HlpVvhjwWa0J1r+NScr3L59I2Kffi4uyX3O7fa+3N5MWs2idz6p3LLb6eq7jAO
tVfwUZknYHoVWm6WNDrHwoqARoT1W2PRby0d+26XsZxcJg7wuYsQj+JuesUfHBHXrYnHiPL0HP/2
yahzb4d02+1r7M2FZ2S5logK2w5RgV8Zhy9JmXJn6nY8+DWSXDQCZSh9X3vvRt/hOWl0q2xNQA5i
ft2yhgFoCu42Bi9926NkHKSnEGAnRQScHj8N2Ga1p74igsCKEE+gaqKMXXMD4LFu5g8VHL5tnFd8
9ZklHgYbFkaOCul77ORshXCIGIPQiWMRp/lZ2O0170dhK9zhSwIorvAdpZmPdW7BRN2cpiat1hCK
r8xumdc4XIc+VrGcLb4ZMZh/8bwU4w6tODwKky085NdF9TrmkiH6wqxvFAvV8EyXI/6FbFmxSeX3
d/+EDauReka5tGC7f087efIki41jev9ivPwVGLseSrPbpPV0QEHWp6cL5JLB9U+LH2gAj+/vfKMm
2dSwnOIJKKetAOMb0vpWHb9O577Xqc2dgWCCBxzf/BH+gEKrxQedgL6JNYV3nwzxyP+mRlNRHOXw
8d84L+CV/9v2OGdB63aGMyYnm7SESHli+9r/MM5rPaVc8Ca5Y3xJ3x0l+uNx8WMp/13xRgYrIE4n
+yV7EhHBJ7h7OCcHJ1n4k5S7G1DqQQXtszwEAdRdmBeQuRFwFHYTLBUdRkdpd7uHWo+J1eTj5ti+
Hoa4/+WeeIfYuJfnlOsE7KQEOYiz5eLJye8D3qs3Km1A85c3nJbV0/9Y4CPZOKgshuqr9yaEpBIt
3VgPc0HXqKSlbK33xgp1wwclqHvXRCfM8IWk1cQhYXqNCjKj/xho9C8KrrqsKld/EkDsfoqLNcyL
IdS3WPXg+hhWPutZIHkYYrz9uJ6wDfuMDL7VNxgaYxaHwn/TkvjXzal0dPamcYGyMJl1TDx6nBL7
BzPQDhziYlU45Bi5mXPO5+jRaEIUl/q9eZHQSL8BL+FjwxwoNLW/HydbPRNpns4KBi3LTiOUxUN4
PXTrBgKdLs8f/VVTkpuf/k2xxz8dqp+Ol+Hks4aBze2aNeSUHu5PHBtq5PEJVzV8gg4WkxWSa8I4
pM4gvo031PAQNUBUkisjxxxWup0zZvCF78aKewf0btha4KohTVagRGwXQyKAJ5XAQ+n0uRvjG3QK
Nznol1vjanYiOZxbKw9oHRgIRNhWKEx0+hhzRf89IRtdc3YGKpPunM2A9qePifIjs9s9P/mFhFrn
uSoSDMME6Iy8EyZyAI95BZbTHK4DMFD0WJSC+cAKd21u5OCeOyWHPBm+jxmbVdoqv2SxTL+qMmUk
2rw+sG5lIxZjnoaCpCJRjrRpvkvPD3R6P2qAtjBFALzSGau4qkbVzzDNKRM/1+9WWtRuGhDN9Wcl
NNXPOjJ+TjG0r/M5ysvmgMKJT4y+NvXoe4KWAmjNKuoP3peqDdDywyedGhOaez6RMWMAMOiOg75y
UV9NVLcqFuYpxmfAwF3C1gJ+oH7ATa8HYRCEE5gz+qL7tEbfi6mHXZoO29K5p9teIQXXwTPAtxSY
a1pc8VKr3qcKLdQaSC0QV07e2J3bOXMKkwd2xoEU0CJ5o6ttQBDWB0au71b3H4XXPcLP9LVpcaRD
XQGq6o5+8mk6peCsTpywfksrsrq5XMBe5mAqjfOyz7waaIjv5g1HVUEJqNi37d+xT7KoB9wn48FW
aZP0kY+qb8qQxEr7LcjxcrpdyXrNa69x23nIKrt9j6jWtz3pDkew+dRgxehW4qgZU8LGMcqqxdVb
/kok3zglzfUXnGggLVvuhub7TGL8dBwcpWWfY/P8EzRfwM9HZJMYb14N9wG1498C+YPay/1Ys+BK
Tg7nf5aBDZqXqztaWzMcoi66PeXKxvWzoZNwTqTLOrjQCC9Sg/7y9iM5jGlciA9CHLtVbQWvqMdA
MmLTb1KD7TdTGaqZbkpGzeMrNeNqIPd2XuDGY4+XFUtNsm1tn1nUYsiwMPJQaTZPMGPm52d4a/ht
UFtLv2N5WxBexYHopsoHWuYpO1rpPdTkvSdbo2PZAJBldDbfyeedgICwMyGBrviQCcqEgQKK4T4P
pGGlSGTfsj2nnRyW6kYH5JMncffa1Fg8fZ+P5ZuBqux2T1Ii7gut+7W0YAwA90UgwqWHSG/V0MDr
ST5IL95TSURqFIBbbPzoceNpP9gNsqA+RIz3FK4rOgf9W0dzGeDazDeO5+E/12qF+6A9powe6Zfw
/GVTiQFV9lHqkxwTpBMuAA56KLZz2PhEeh5jM7pFYSTAVu5mwA9qqfuElx3NRhd+ayUufXPBZ7lK
/EAuoBVDVMIAzBUd5CVFSyD4/PJUuA+wEcLx11xYuXi+icqRinceWzApwoYXOuV5BIpckWs6tzq7
BhNaiETOT0AptWmQip0SvFZM0+eM55ki7mhfbkb2RbocK6FkCbRYbRA2wlyRbsvPTUDFGqpwyVYo
zbTCW5Ed0ygdw/2Ia16yb8yRld/U3iAH9bQmTACf5jyq3QyLYlYnX4WANNtzmkZIXm7r+oICFQ0Y
rYD4TXRpOiZYUnFTOojK7vFZFjRBuwFn+/wh2lNwOv3WgSS8mxSn+sQ6xbjhxBWAIjGwEWmMv7eg
QUyE2oO7InXVGPpHjQzkRR0sp5kQNoM/sCt46lfANf04E4/LbQ0xYX3ft/KENdIonx6HP2BnO10m
avCYPtGZlLWr/z1+u99T9JPcCpcVrmCkuirkcq3hDxu95r1Y9tbIFvw4xN+tR1PcQVlQX8mL7Fxg
LqCtcQRSvyX2hD363TTuSXi2xyqXnL4wvDJE4Cnt1Dsy1kGOszSYt71XlgsFhOaP/vsER8/iFHWz
dknZKnNEn+wRLljGfe/MRlwdtavmicpCqLGWTgd+/oet01l+ecKFSrzw7GEhN5z75wr9UBfylfHK
xp+g/3CFqSwsGmwWE3gCCmTDRvpgyhEFmX3Bn1fAku5BiUZthFTONjBvonMgThxdIwIMuoTe7n5v
CYKgy+Pkv2arn2IxjvuE6nWKRpHJAIGkaBRlkBckJyPw7hMZhSe/k6sYbrsmkEN2oK7Rq8HLOVL4
+tamAJjnksyEDk2fgm/2OM5/ESahFh+wOEDkqpG5fAUmNQ4DPr/9y0U6fY9E7Rpq/9UGVTxCqxW/
jj0qm8F5YejiQ5aSBLWhv7sW0SkqP/5g+s8zV9KzvQlG4yaoWvpI+ZosjPan0ad0LtYttrZ9fkQS
fEeTgJ66Yn++TVKPfv3xTTvPE7ykaB46DFMb5x5BSOABlaB+LaEy4yZDSk8wwBCOOKS+icyO5TK8
amc5rexno7P7HUiLZ+GnbkFlOprzfJ3/vJ33gPGnb/EVUcXlBU4BmrK83SNrOY55s82kyOwq/9O5
AhrJ19/OwJqggTxSocuhVb8wwrybv+cewspyLoJ+LQIRR1SeYTjgmmpJuEpUHpdTGuF3K8f0QUkR
3RfZwjzU3BA0BbSI0CtaLP+N/zhz5bd+yBasP1e7dDH8nVgJBJGOUSHnG8x+Ok+GDsv9MsjcEf6E
1aydKYjzxjhsVthfsEccFj6uMrN8fY1H+3tCxg+aPHNfxkWSYZZ49/v9GFQZZO/uU4gjw9U9kk4m
+CfMjchaWIvHzFyRh3bDBILtEfzItljgNPRHBEhmOOtlgpKQC79U/PLu1iYAqf9QJ08YRoO14rmM
ubffeTxVLMb8MfrkuOfGxSvwBSaDtmN+58pXPb2BW/FbDBhZRT42R5ll93SqrK9/8nK85BJks8Kr
POmrjREGPyZVyL1bHxEuhwpvFXLUjXJ81I5ylCrHWOlRtTfm6lFdlIXbAuYAk0/1KQERym+Newks
qOGMEiVRk/vU+NIItEWMIG27WOzmW0E5L+eMmyT7TE/oj/JodLCW9fRfm4NGe4xbJHZam2uowoYN
Xj8dPIYoLAulSIuw2YCpxFo4uHp18g5yCLKrV/jVMj28l01SfakTdfKe3ZM0KWejibLP189lFavT
di5/50enWgHaxlI8fNebYVdB+B7MQ6nbXe7yyO4bGOhF9YiVA88TPA41HQ19b9+++4MCLPpz3WW0
YZZzmjJ5zIwVCENJ96wsJCCv+5YbIqVjuigLis0apxC66ufeAIZYwLer0WN/O1/PLf8drUMbD0u2
39G4D5wrzprPr2y3mFEW7siVYgqm4me/+ea6aqb6wUwgxmCxdiYe8bPHRHcrIafYjOdKJGI42O2M
dN/0r5P3XPct+jRrefvWUHvJmJ7yLQzLO+p0GuJdsckob9f5bY4jJ1shb7bXe3fs3MKthBYem7ig
mpUXa3G7nHjHttLvI5AwPdd+rakcPQ7y+nHI/p6H8jAKzC3wbHk4bUeBPgMfrv+uFIaf+y5jWzHd
yWt0vgw4GkhXY1eH9qfkX3scXuFwNH6Lc4/iEKvJ2XWrMOmz6YVLuvYRGdnp+nFJ109VmOllSX9O
8RU7S0geJ9YxE0ZvT8Cmc7N/bI2FETGvaa5CIGw+SQlH1pI+JoKDBnV6/5aS50b/U16oNsiFIdWh
hoEqliKpKPNK8thhx+oZpiH1tjTpZ59rlHqIxliVQyyk4qOA3GMDW6XG76l2YOATkgMzeEafP1Iq
eK3+blG2S3f98nF4sqk5Wqm16JxU4NDSVvi6VwVC/5P7wa5KOJCkyS3Qjq+95Wr4akBa3bjj/rnt
SFHm4gGSJ3mCIjhfjyYS8HJrkPV8C6woo5j0YXMWP4KSAVAd4e65GCE5nSgrCZr6eagOTL8KJfGn
qafZk4oR5lqsSZGMFyh1Wi1c9RnxOA3IztLTRpNXPTedwfCMjG0TZITBhxaKvra3T7lHd6fmmN3A
LpmWd3gzFQWY8y3FAidWwoT3mc2cY8I3ScGynlPJz85mHkr8QnX4O0KKX4tESfxnBsoTrPUZy5uT
h+IgkI5v7Kgbl6djncJmxBozLjvSzYO3ZgxzcrBGBEf4joKYFM5zibv4HZoOy+2ILW+ep+mMt/qb
TsTuPwBDL/9qTaTObbVl06L3S+7q+YWrBy+H/+Cpg+XLAOUMLEAf0vIFoAaM0tB8VA+Xm+ge3a+u
pE+koI6YH2Sve/l11LjK4cFabj3NTwxkTVSD23jv+SdzScHALA/uhkGZMjJ4jCiNO/zB5U/HGIBc
v2pKZ4dSqPWx3E0dTHQt06v6uCmi3rQ/ZWhBtV/euF1hFokexyMufvvYVvkZdk3d47LepCnmwaBv
QLo+/+xtTHbb+4ThLPsCJOX49tdQlp3s46UayZbLDuF4F4BHYvDSnkm8uSX1JxzOVyT75LjMHvXk
BGMCw/OZDWG6JCAOrUILB8OWN6buIZHC6D/gHFb8JWKfgMqGFIzkhh4cEcUkENH+RJrSKHmXTAQ3
I0Y7OYLumeUF4AKT/1JviEVyXg8vuy8YaThJJ+Dp6HKfsUL1jNrWf6wRtNTXGDpAbubXBPMRIlI9
Ua9OP3fU4JvxEtOpftEhPptA/DjvyagNK2aia4gjCR/Q6n5IMTuluxHO75X9og4Yy8wIb7s793gf
5rijop9gMAh64S+DRDB/H7X5jTMJwb5F2tDpM0tN4ICxP8myefueK7JPGa9l0qDn42p95Ygf5ZEd
DBhuKB5rBM2sW/d83RE5CyLnDuyVqa5826i4stRDaaQzjpzpTox8wryZTwETnk+vH80Vt4zLxm3w
u1zh/glpg69w5+ajvXnCgtW+S5Nye/Pw4Ua5SsXkQsiTV7frtu9ViabFjCwQj1lXhBLMXKgRJ8Rq
GMa1vZMbYePuNV7+g9S6D4QroD1JGZ6m1z2ooJPh6h+2SGiCTzYfX32GWqGTH2zihu7B8z0fGR6I
DEgr/TaWd2u+NRg8TfaKNsr1qXhmkdCNCdmIX7KIeIIk/6LtLZMOaZP5q0YSg7viv34LyKj7mrfQ
zZpAbexcClo1MGD9uG5A2h1pDn0E244sZPssaPuAyGSPq9T6e2mOChytoaLAYPqvdeiMO5pmbdIi
b5MeQddHr/GPsZVuMU1/lYN3ymWQt2vAMBGSYxY+mUlCGHR1zTbkvCZt6fmM7y3DO3o65lvcdwPG
w9Xo58p4B84/dlRorWpHf8v3da+9F/vVH7cchVySV5eXmvQK+8LAwoipiQGoMmx4mAzAa9mhBoVN
6W394fSyW/Xgz84IWJapikoM1HFobsh19SSfGjNu/mAU6ZvTRl2okfmrL/QjZDuk2vhcXfF+AtcH
8Wa4Q7N9frOFd1SweXGBg5FPsrTYL3qk9kLsB85ED0HsETRxxk6uL+9qOkfoE1YGU6f+rTq3Vly5
sp9/aTSsDHYCjwDNykavEE0PWMnKrjQzlm86SQbiSPvSuFFYIycdyoIy4J+uvLr9qQkmbss2bgHH
PIScjJ/VJJs1LWA7zIoLBSPNOT051ZxnxaJI+FLtmwTIOYhKVVxqEqwBrDcMSb2nByoBbvBXXMZa
eI/RfYcwcdvTAp0hRrZ7yxAMOmex2MroRzOua/7tr6akaqSQECbAX4Vi72dYptN3/KQfKj1mjQNf
ifWNTs82FeeBOE1iAZba7IKLiVY4kGZvz/oaYrYEbrsH914sEatn4hYSGAF+hSYpCsIF5zW9PvnH
I4dMIVRA/TECBZvR6jtdmKCDVOodtYSdz9e0mabON3s6kKgMf9ZCW9zAduYGCoXtdavTz4ZSVG3z
hM4STEnYZ9J3KT6gPdLeNfm4wiPtGmR7sC6mXixY2d44GhFXIFME96exGBveaV7vzdXrXE9ul9tW
O94ujxkVDsSFJunLKv4j6byWVcW2MPxEVJEk3JJBFHO6oZZuExhQkPT056NPdXWd3n1277WW4pxj
/NFDTCAzsgw0wrxh6F4VdApojkAy3AcqYGTJ6OKo7nq4XYR0ikSM2+qJFoGkTx0Whw8RIlttYdZh
yY7PCcDDbX3fC7Q2Zj2564fXe8Et9dajQrMrLvCHbH/XqulJ7OBAfAkrWIKa6miudEfmiiIljtjX
uvMNyQZuzB0VUi53a0K9gyuW0IXsgZwiGAoVUEIcyngzGcpLYH+UZmuDLYZlkCipu6PJbgWMewty
fcIPqFJp6PNSGkXE5dtV2/b7l6M5uFnX93xor6i5lXeyx97anGCFSP5aGxYPvpoI4gS7g9AH7d3u
lmLwOo8I8msjc/b2htrNXyjfScgV5hJD4Mhrfj4rAjRLfRSiitZKoiedxmsBX+BbYFKU9/i+MpDB
uK/RuJ9e1xwvIzX8cR/KXg4AxWMCywPhm/kyrnvX/DMq5Fh/+loNOwpZ5vrT18kcZDMikt7PfLQy
81ukd5H4DvrcH4L/CFVsjgTOr02eV3jsOz+L24uYZEUZtSO/Hq3rK2+iY4YqszBH+9ngf0P1oD59
oHRfGJOZkfHAvOkEqHyUNfumcl9TA4FKLJr+32ua/xNj9p+Xy7mnxiRFV/MUnBgXwIQ95OY83OzM
+9mgukj0fWlQX0y8g1vCxJ5/olOcKyL1TleEZ1+nBVOBrpENu9THuswiBYHYO7nst/yRtU28zKAG
DpGl1TOZdLGr3U2KEDXQo9mi2Sijthnav4YwxCEosU3MIMUBhJ4U2kO2bgqHGmlBEh4L44ANUVyY
v5Uujr/pAr0DPKe8/B1f65YJSJt+NfK6wB94CnmugancvfygFKe4UZ0y5csoimXc56iPwLnQzjIh
/rglsQhghsGOII+s29VNy2lROUz4qG1EwrL4QPnIAJDtdbD1EBfkPx8qpsiFjqft60tuunv8sTXy
Z4Toa2kJCxrt8EJkn83fLP3aFEQa2JxP2bxbPmdXbHorCLUBJPVkwgFt0nNVOMXHoqpj1bv+Ig1E
VbG5TvbpP8T4eNE5KUF85JU+UYwpwwanSgR3wGTB5+XBvd9G1LUx+ir14lMFTcjHnYI0/x8T00Sy
K1QncT5yZWDWlTDL7Kvu8JqLQd0SR6NRZEZgaDn+v1QXoi4vvRYCYYicoThLvCgILBQC0fxDHUo1
lgpqBnk7mNt5ubK3V24Z8LOo+iwUiBHkU+gvOFh4yUMNxO4TPAw/V71H/OuSrFnqaIrk6POxK9Rf
8A162F3KzXvaczv8larHO5HmkY5+SpGchkDJ1KUlCrPZPL2HSEArPTTmrC1IPqWo3AgkqJWQ/uFX
tYkw/vCWvlyJ5/LrvcLbrNv0cX+b8iH+MfK4wjfsIqDiYqfOf3kgcqv/1iy1aDYPteyI0pxjU9lV
Rsivqt77PZ12V3sZ7YlIC1uP85Zg9rAgkMthX+A4tYR/zw81JbTw5IYltFE1IvaZ7/5LFgveT31D
Jfz84YtjybSvudeiDYzBo14IDgk/YGP9kIepFi6fgRndWQvO9R8M6pQH9nXCMF266UTBu0tUd4dJ
VwR8gQodTi/D5jbj5vpuSM3Qrv7znzQxGytdpErSEZzVnITYcMst4jFkTDyv+XgElk6OMTuyaumt
/+KUn3wSXrDNGwqRc/c2z7qI/Hrj4798xtOhm68ccwwQ5DNNl9crPzjQCciSCErykoMR7VBkIo/P
w8jE6cB3f40UBH+ZrTDrv9k5SXTd5kxkgF4oFjSw7yFZ4hrBIJA/RkID5DiGBmYSHbbp5phf765s
uKYBtwBlrrfhlsYnIa965i9KuhBDhwDPHypl0Rxoz4MiBhL03N9zqTfW+3g1rMu0WBAqwC9LAje7
MHu4j3VTb5RrlOZzART8A/GAQdjgOALB3xbnPKnX+U5Qov6gMqCxhDcsvYsPlFNMiKj3O92Z8Uek
PaaLx7F5eSmsRp88wxfvBpFtd0AaISx+nr5QX/ZoqjnqKk+5vqmrsuUXDQurQQY9mqsrbonBs6Oo
voH6AIDt6ipYreXN7yTqIYTO0uhnNzGA76P7dVe7cLR6KHXJQ3A/qPXUzY/GShR/+piyI76rDzPF
7M5IDs5tMwhtP44szO/x9c5A9HMAlp+9pwjbFylhD7R7WLkHMFCLr3XYJRVGJ/q6yM2Txsri7jez
YeC0mbuVKQKJ5sR82yFN9vmNJqqM3aCjAea+h+0ik6Gy4TBKFeMja+brqAL3qF5XTNrCRtOnOQPO
72M3GgX6aI02BnoCpTtNSJQGFu/gXiVPcQwLWY3Z2GoiaHl9ON2DEpfOsjwRBgqVa8A8zfhRGcfC
ftMt1a//+bnRL7ffja8e312cy249msrbV8s8Hiri7jXRM+euR+8i0h4U9z1y7/cdCx5xzrz/4vD2
l1ynYJpKeL17tTolMbYbJSKVCegEP7YcP85N6nTbOnfzRDvy9DGQBOk2d57eR4xTGCA5+KG7S+3y
7j3W1D9Qa+wxF/X3SKR6m8YqF7WmOUvl4MsPB3OgJ1wk6NhHevCiyoWxXIiUnEcuFhlVPvsvA3ie
h9XjkM5Nuo0TyuqYwrwcbRjOBAR6b9SI3Q2t7ewz7htKVy3u7OcPNxD1QL8tX+fBlMrUxrfzOjOU
5ckP1Vhnd0ZEdv2QSR20DHeUTCbAqSy/FZBgDi9VzUUouo3mZVM1MUkf58GA0bb6Tb5D7YR4jzTa
oUnAOAJT019BL8ACMTuABUnsyB0Rd3B+fx004YAJSBgIEH8FIroscj8fk5S94nMgJv7dxvdyPFJn
8kIt/DSFU/1N0i+QDWZ3ZtU29/Tb9Fv5ygPTRXqdoELIyYREXLF8qn6eRdpanoq7n+QoVKUzssG7
iyd2vBaigdk8tUT2qJFLJkpxt++zxmELLMsgm8ro0j8Tpv7PjxSTH2UwWP87fAfL6ysxD7g14Mwj
KPcy/g6r7i9U1q8IGoRkhDMAsEdiqM2xpCblTod0lbb181+quAViUglHER+8SY8cffr6k3cs6PnI
7tQZ50ZFPyKQcaGvxJn5HRevUKLyC0hhyqty4BGH1a+4b+CNyhAZlbSpaPvlYMFZVkQmzLLpMDiO
jOTZB/mmPgkBT+w/c99QC0Qz2LnX6PG1KtrYcociPmBXM6QNyCvA/COVFixOwoNAUxBRIAn9Csss
93uwnx2g86WBQ5rX7vUR8z3IV3S8K0aNEk4EXj5RICYn3+i3qsREf5HPRNGV4Ken/pLBnjFvvLzW
3n9tUKMm4g7iiRK6Fd+J1Yz1GcnlZRaUUgQBrWJcecWgiI/2vwoa1Wui1+nJBXPsuWkchdV+z+ox
Uh1asb7Z+HOUM/u2LmjqFP2eNgZEDcwsIDVItzufD0AJ5LkgkJwjws1w2AWE5iOcVmZNwCUMlipa
TCPMK2BHd0ciAKbBiov4gsGIix4hRH749ol0aRgPde6Q3i7pvA31jf5H/yLxXueSG5nKjDsgHeKS
F3O7kx9z0Ufr9Osn/cch+C4FEkblCQcNlIa66L+OQslRv+MX8rEBmrBqLeDCGBuMaisqAS93kKu4
TeSpsDKBGyB6vk30QKX12dXsiww7zhWL13vWGA9HBGgYfSZlOlWvEz4X5RfHS/sJsjBN3eJnI/LM
MXJ0DHVXUvuZqjvnC9wM1dRGXZZQZVIIwSuFH9t8G4xg0siWVd98LkYQWU1QNyCitnw0kGD9p1GU
4UXCWyjO5Y83csz4R3DtnsnxdniO1iCU6XQ0IpopLLdthmbcaYXwWU1ZZsYMG82Wd2ZoiQRtNpGT
Kcnznqj5hIKD9M2j7JqKq9ympATIQy/O2x3zDIzMf4PxgHnS3AdDkZUOC75GVILbBW9EFhFNkjS4
V8PnmEq4Pa/Z5A2MCftGIIfLkP78eqgCywsEhOR2vnoY7HZA2pKx/lyoa7pPRz1It6Ufh3TgoeKW
3zBv9yQ+0d7F9XZ1lJCCHwLQmQC2T6x0OxT61b4SEPq4cBvE7w0NTwjSQOF1HadJ/UzyfsKMiGie
w3SdxT28ieYihltBfK7xSDKP+ngdrbEDr0GU+3tbYT1ybgg0fxySLgozOf5SQqQsPikd3CxJMwNJ
m4bdjy0LXYbzzKIPhYdkxFl6AkbDNH+z04OMFa8hpsDBU6c+Z91rWkbyoX0uaE1ghXmd2pENbC+K
rlQvO2P6qf5UQJPS40MYDO8VhUYlaxPIyNBIw1z4Y0n7xkJv93/aaatojgFKiRzs5YIBEydjWhWj
zc+9Qstttf3ZdBsuHzSj8gwA8T5R/5HAO8x7uy+i3vYwonoINTIriC1iox3ZiI9A30pPDgVbWowm
ytMnVgpwi+U4MG2VZJgdTSyxiMuZM1SZa8vy40DI0HMa31XncdSpm8qcWg6zO5OdheyndgV2flZl
wJtm/CYFp8ODMlhC1dv0vdMngHajzm4kB1suWoZ+UVczEdKBjyuJCw8KkvZ9Fkh4K4zw9XT89qJy
WJ200r2vJPu5ajf3f/fVr5+NDtDtzWyEBww03G+Xn+lzqhGUjUUGbzUvKUJkQOE2+TLsfpw+onX5
8zgUl6tKOGnwjE3kI/9B1SxwJE0zg1npx2naKWZQKZsPw+Bk9ON91RyxGfepy8+iPJySL9vNsPC+
sVCMUQQyb/Iylq65fgIv5Ttd8fXFAw0w5XsoIZ7Zpqypo3JM1EAZ3IH96lipFyyrMtKPJXO1pv4D
LGF1uJP1f3d/+YLrM2udJpZJ/SOkTKLH7U+InsyEqp1XDP/DtPlXcrd6JXFc2vJNfZ6HmAQ2pAc3
SUsUws6PqdxkZOscls7rTNWPbbG5t2PAemXOFE2oNbV2r+jnQcmAqBbo3P59vOG0HggweYy+DQDt
OgOSRJqIeEDd9bA1pdV9oztbl+GkLFk2CJbPhVat22mq2NWis0z4QxZa4W0DOafoF7I1J7LglCtp
QgtPumAV+Sy16evMDs5bLkzpEaKI7ruAHr6Darh/akCPHPHd3o2HZ1z5oKxYHSm4I1kEcdtokxWY
2oIv6cy9i7Tl+fRIApzcLiPfrvw7etUjzimWQfE4rFb65oW2cnW1r/avxv9ILysgU4u2ZRQ8EHmM
i+kgXOhZt7DUE8PLXIUe6jFu6JLDxlLyOe5nUFlEeiBW5AjbP4K3814y7y6p/JrLzt+fYj/+hAOh
UdKcx7nA4UWcg4eaK/eftgSMTQwjfx8fY+T0CBxutyWSUGKgWvLh3i1yGw15IX8HWLtfe423snVa
dUMQ5CNMSdTpPXNZpxhgAHfSyygFduQWtSrys3IbjH90BOwhAon0iqIICkAup6VWLGrB47NVeaXn
z3lkCSRLRxy5V9dRhtwN/f8qG7lUfzD6PVunN45fgNk3nyrMHff5lSUkwfdDTW0zJLeAlLfoc+pV
4/8gA+9Od4ASU2WPIBByeEYj/31+4/uwlAVbVSmE6n3KYSSmAQYo9pv74BDZP6HEyJRBzW0ghmcS
Q7pG2Cl4HkQaMvDvEn8XDoKBxT++5zXyRuH4jvQ0fOr4gu0HmT9A99/e6XT3rKLxamLhHuikGxR2
9cCvH91Qa6B7j5SIS9oycvszk4ewBr5UScBysa6YSYZII7AxBX3MzX11HvctAuZO3Y92OEpEHPBA
4n85F4CBf4kI9AjgHc0RtNwImBlTNJDsRBo3C1K/apCZG1pwZgZ2O1BRVDg1iZCwRiyjCwxs5x9u
nSa+kscIom84vrr64aRmAf5jEIhRvvgDiH1zI/MMRsssnS4BQD8kFp0+sfCecU4xm7bIMXKPz5ko
oJok2Y3+rwBLjQ91z0VDsR89iuJKVW1BQE6EGuGunpHY/qBLrwm30ZvyEyI50e2IYUv135RBXITM
q/uwABXavBDgf6ZIRV7sWwkoPaIyTlFiW5ei48KXkb8Dgwi6z75DnCX9xVRsgSS5CGkogeEHOZvF
Av5bUBy0N94jd0SyBbSJcA2u71Df/47Gz2tJN6olrwSlmlINSGY2MSnurfBY5iS8wq8YIPEGP2xp
MMy7Rp9od08uIlkJssEBaJv3ZYZA5zt96fbr8F2b4Cl89t/7d+1TuD0sDEyjd9lVt00i8UK5dz42
xB1hT1NWOiawN1L/PsppR0IkaaFh4oxDs9S2DoqVJiwW/Dgh+h9PtVy1pqxtL9GdYa4H9EePAPyG
LrSPDVxYPx0B2M4dTmeo9AYl4ayrnEz1pWp2Tmf5sHTbIcFGpH+h9rYQX32uAQH/qOOgc2EcZ9nf
Nf6Q/mr3IauWCb1GAIHgD0zv4IpsZpB7IsSUcuoSrvCH6NdfOy5QEmguOqJXOQbw4XoHASSvIIQ1
VDCSIdLESYQUfvlA58eBraLg5kOmUsGHncjDPyYNySap6jScyEOiUJdM28pbu2b0ie94lK8L/b5F
2AJikOStjdoGmfnlhR2K3DqnmhroUVwA/7WYGCt11c5B31PQNQL0rhyJKMREIH6YQm7L3ZNaOeba
Pmx2z2F24GsHv1Bl4wUU+cQjOxtZ9d/QL0LeUDOUwVMXa6LuOpkH/XCV4s+JTAF59WPVmX7g4Fkr
EXdDhdtZ73W92yImW73lpEoej6R5uOj9gR3QDpK/aIRo/KHgu8Zqj8855t2BquuY3FbPOoCdHQYb
3W3JZxurbw+nKeGNLnGmkXq+8b4w/UH+tKlPdr5Gmgh+w7FQRAqsMskX6G+L6DPhvHx5teCkG+KE
e0TO0PJDZgdpoLMHJCNCcrTcD3HSoE3dXRmye1v5jx7jg9hgm2O1QPOCElA/fEz6gXyo2Sly0hUO
Kp2nhSALVJFsvF0wqJTQIXZ7AcUHmRp0kuhRjqMFiQ9esUfy6XE4DiKqYPDkoD7+obnnsQX7vhah
3kzenMHHFBRHcQQUCryOBgtgnuQeU/Ye/StdcaqHfDTFInNbxIrqIfHWGK6ORg3SBJXGXAnsumWb
rrcC4guPNU1YwPfnE2GhoM6gfXPNHWVi+hrjcKfnjEAlnvM2NnXkVRkDwlpLhDmTj/I7lr8dLAkA
rrZixOmE4yMw0dyRpQMaZ3N0ErXk3ucqBX5kiCyEyfvmqpDLyBhUDdnYcyKvsTM2i5KvRaXI4YXL
lOFi3tI5wucNwNkBL+0S/PYRp2/vAhqYPjSNQY2PeSrq2MA7JnvPk1ZhkZhki/19ZUGAYYGFwr1t
aJCW+PgT9mjnxAXzfr9mrjDcPaAS2DSQLCg4Zz8Xxm2E3ldefcnnkBqbrryvx1/Zld7Bb8IBuDJx
s8ku8gbEskeKh2RbBJtjPgGGmaIjHxIOCs6MSP+iq/ouP+SJf0iD1AasUKwn3CkDBzsxZgY1smdu
GCQvLUsvx8sEx6nOs4e+iBufvZF81kGrMvqSpOW+SqSjOP6cVp985ip0a+mzIS/fJDz1kcLi5bwS
sXG56ClCKgCSpKAmG14iqa1p3LoIpdEaM0yPQuw2vj9C7Uwerw5phmi5CrVHeIe45ZQhiImwj4Cp
SsU7Ch6VCMb0hxMd+d3p9ZfiRF4x/D2KaUtdZDEu2SpA+ebYRoSYZl/yEFbaFKWqB9Qwm94WgM+K
HXcIT8Dh9ACoCEqcgYKaKpADHFcwODuUR3hmKUxW0VlTU+YhVcPCNe1eqzdyPm5e1lRnW8YVqF9x
QTKN/n11G/PISZN6/mXcw/tp9xvJRjSDujULzLPsdE4e9zw1Q6AuOx8Z8VC4KF/gFuYYQHmQ5eXr
ohNcPFpYM2hjtCmVr6Ueu44OSDl+5XQ24SG7HT80E7CG42pZaWH2CjUFWQgJZUt0JVuMuroSyKrD
FETTlqZiWxsiqSSraryrtRBcjRjQ9VD8omwxjb35eI1/bG0wHej08tlv0h1oSUhJXg5pXTvJEWs+
Ztt02pH8AfZM8oIxSOxvy2x0QMGRNysd8QKxqQy8bYRL0cc/GdQQGfb55imjpDTcV1L6pQ1rAY6z
qqjyGI15UvmmFRAWv/pHuTFSAg3oEcMcwzrHWiST6nDID8SY6O6VkpN2/F4TzEvxEeEMb7uSLCcR
yvA1uuSD4B+cMqTDypA9ZdsHyGSUQPcImKUqYRRkFQHhmVOee6pTaODBO6IsoYM5CI53rkfZq3Kb
C4+9jgA9FPsMe2d5c815WN27Mf7upWGUxU6anzUhyExsqGRc5c6vZbF3ecoJRSFjiwCaPBIQ3AVP
tLYt2g/QuTKWPcnYQVc8y7Aj4YlDZ4eQbVaGaeeZ/KzWH4LPDOfabHShu2q/BVUUKx+/KCQpqUvA
epw619mU0iscdk/Hck+86QQZun+GR0+8YbUXDtp6IIhZ5XiIUZ+1zoi0hSnyJihVkcsMf6DL44TN
xr7hK7RRAnST6Ip+mOs0R/qQoUPd8uht5WVtE+3eOCQ2x3s4WaSLbhmnKjJVyJ7rw4OhtjLSVlD5
OHyCmtIFM/3et6rl00dLq2S37QJwMT5DM7TJXeZja/CH3B2HxJIk+/3x0xGHUhLWfA8ZI0fmlqdL
2BgUAQeNEELjp6gDJefUyPE9IgaudmD/AL4kMJzSBaG9YOYYWYjiiREI+cQPvRN4FxsUyuUiPcAI
RJ+hKxgOx0lpsWCmhqPDNUEWTemqoi8l4ttt7I0x+TpdYZMEwSxASx8Rybm1CbqB557rzngszinB
aXfgUfxdAazHdKh4IRl63f56nlXW9usiw/JcP1admeme2224YuXA7tE5xyKRMH9Xs95Raj+XBhql
Xf3/4TSLRHSrihfABdu8gWi4+OlTeWg8Qk+WI4NdoRaMGOoG/dTwUW//CzVfdLOZPorOUACWFSOj
ZwlBbl7hXTh/AzZJyU6destn327WpY35jloUHsr9rH+7PtFxiMxQhvGH+m/i18nOIoF/gVGIArMF
yz9yoHzck8/3rQmB5UYgCGbp7FongR+1vBWJnGGI8pBrdb1AkWtucZjlh1WSZdaRHDwMKccVSUz4
930fGfqQAsU/h2SkeiYoGZ2wbobK0zWX+pLnh4HQgSoAFZV2nw1LwowB3j6uRmwd3ITvdTqyw/Qf
AZwD++bgFORiZcCuCVQjufAM/YjJiVY6Lvc2WLU93VMoGBEBcgkZfJvmdqXEiWBxEVJNgQmdYcCV
tivNTh4zYsBus8bt7N3k44qHocp6RxT1a7AqBXzbH5+M0etkIS1Q18lI1dzXH585l+DNCM6JfKK/
P66JPV9oFaPmRraAF2XbR5xlqruNt79Tdqn51Pmc7SaYkBPXly3nA0GyTvzY0ONkjR4O8aUuWkhm
syHak5gxcnskHDHmwlR42KpmU4/RQOKkpmVwkAJyhA3OL/BxOFluBdXZ43R4WWstQCkTp0kcq9as
3M84hyZqwrb+JkAiv1w3ZCV3LlcZf62St7/iT+T184bGgQo0MOfPfB9WKPD+EfYYInQlh2FVk7Jt
hRp0g0tbg/B2XtqkB0Mg7I856cM/JwlpsaPdrt3xntofvFp8xbodE18FJYGrFm0Av5fqvE4lcoKJ
57FUO6q6zJh/GfFw1d95S95HiEAFpxxhyWE5ZXGOIf3s7pzzlToCJNmuj5Vqk+pdz8hVsiqk2e6N
qOLOvS4MX+5cRpkJXxPG/h/aWZMb8hkxhwfJeyG6nSuc0Hamyy8evUOPBxIDG7kiw+sjnQhY2rXD
YcJ5NL5vM3v+T58140vFWkh2jnVBAm8XtQubMAc3cSD5SMjeAUfgk7g5FP4cyZA4aJjheHlHgpOs
9MqCSaUZgHuGVxWLK6pg7ktbQ006fPda5/MrRFGiKxCoOHu+nA5NmM2H5cYqgFeQQPQ8rr8kmQ4Z
4tXqYNI3NLQvuUPMNslXoOMWLmuwZoibzSgsj4i6L78tJGNymSN/p35kou8O+LLl0mOvwH/mDQ7D
CghxcQ00w75VvDTEZPUlb/m8EmefTXmB9vjgyPHQOMx5O8VQCK7JhhDYKLMFxN7FQZ9RVwWXCCyG
Qg9dqY9DHOn88kkOzZDfOwgoQUDCY/NX7MULM96UORB7I1f5kM4rTP2aix0DHUOM9/na5MKilR4e
Q/Ci0KARi4Sjj00g7cc/JKSiNIdP75oy3A6xRZzwBPDxEfo6aXSb9YnwDx8UOeY7EcCcYOCh7ym/
KFnsjdEGkGRXbq6aYx7zAxjubAhRHTxqQGGotjmFgQowgt/nqFIz74s5/Lb0n5M8ujmDsBbBNMnQ
6JtvKPQgK6QCsbpdPDzlZx93vD8KradsBVSSuZyGbah4zz+IUL5BiCqshpF4EWlxwNCFKIjUZGSV
K31XMHkS5nASbSKw0Eij1jEBgcg7Gao37lPYEMLFhtvvpPBUq4MBoKa9NKMa2YVrQ/Vw8yHLkByN
oBJQ+/QIOn0UZ03nUPLalXF3edOygO9Rto3LB22nFOTwBJwdR6o6FO7Cq8vqKOFcOVNtma8HoJtg
/wWLSVzwKoyGGILWQv8xpCghWdX9p4LJYDNSx8yhIHhcUQydVwKH0pCNPeatrzlB6iO+2xVTZ8Jr
WsiuCfKe1CTockNwF9F3+JPHKLv8aiVe+ndCXruMX3OmbT49Z4Z4eXNaoX6gx3zCqz/FSDjTl9mq
rv26DKna60nbR1hDWcFugt2W4x8FmumRcPeOQCjVdRtyvUvf4LpAIrWrQol4sFqxlR1FONxfKLVG
LuteD0fLY/m1SF4wp1AFIZuIYCdpGDKJCu8AP6FWeCkFhMMTwwP+YviUGu/xCwbReY7igqeaYZM+
BAKczpSXpfuG9hiDXpIOnQouVd0zT4iJvwSQXL1PpG8RsJOQ2rN6OGTwATigGESLCYLtwT7v0UM/
LXEJaw4/Q1EpiCQg2xM8w5zIiaBGln5IUWDZX+45vGKdeyMAaA5IL5poFsI3UTjKsOIYpl8T9bYD
bmbTa73uflBIS0A0PgZwfk7oQuR4JljIlY634z0GqeFPuOKxsdHwDHKOE3xSD4vmF5MXCS324yA4
BenMc5U4mA8worzNXNvGuo3E4zerNzfNyhFwvohfYDv7G2wOuOKHzkwGSb7D623BQsRnS5pzS/28
mwA9c1vnTSTfpuYTo8Ak9cicC5gfUNHY5tGUmIqurrEfjd9+04CVs5hD4Sy0pbCh9fAIyzEjNKoh
vOiskaNOpqSE0q7eatVw9fM4ejy+WaJvmykp5S8Gg8/0dnXE1tEih062z4bs1T1Hucz88GUKA/ED
QSUCzziD/hMW5aTEpa3UqKeZDa30DWE1N2MlE0xDhCTVtxWiVhJNvXzdEhFB3ivvjMWT5yFFtRa8
87lLz2d26jj/5+TM3F1yZZPmQ5ZVHmTD+vabELbCf4v1wlwgc2WhkuKSMFj0uRBLugXU/hVsrbWo
1yp95evfeUHPK/61h5aepQmbiGecXgGgYb2lPJHQYz5UwQjXV9AHjWqtjoTxTpOFMlHGTBBs3U9O
PlwECQvcFyH1489l2dVBxQlXZ8Aqtl0C3pYxP+O01flgqDOCSO/0n9vyjFRVk8DwQrIx4Hsh4UJ2
ge53yKQVcELePMqqECzdJ3wu1ky0M4+JwuRNtgRevAGbAL/lFAMW411lE6tBz5kcn2t1ZmiIqSQS
DTpnAXhEZjk3avwhWMBH6/J1ffGfstBJUiQTIXlye1gLgPwAdziH0nMNvE5yI6cCWKXNqOJz6L08
gIzmPNKHC4gfBCN/+wpw/PjcSfha9LW1HdSa4FZSNDjOjdsYr0lHkAEfR6VztF8gnBGnsGZ9qaWL
H5d+2ghU+zEUUzxFRI8NRXTBuKpwek0EshQKqqV5T/mog5hGxqz0etu9/oNyFGltAAhQEyTJbyu+
bYyvs7d+u1HUXnp7S6poMUQ4CgcbnMJohzYnHZXenJscUSVABFscFNu9hICrN1dkgXM81TwlCIDg
eHffi3bio/fi4kE397RHCIauYPL/0lM7FWP16/whH5+ChsJNCVCV2DNT9JF/Rbd+zkQ++h7NL8Gy
Q4A1RPmHj+i9bGQbfdL99H3bHySV4Yjo1yb8MXEMk45VRFzUSLtjOWb7/c6RZEzoxLVSxJD+Rlu3
mWUqFpp8VF1SHfwqazPS4zvKdKCTtZHZ/GN2Hv7BBo+JlNpd640VpXia18vsHPFfrh8+/Jxnk4hq
4y51umMzltF0yWPU8Ggyr54No2BjV7wvZWphfaL0BLLEmLQCLMLQlpHdaBMbapmkhLsnjlWidGjl
RVBp//7hM7JvnPAbCMCqR4dqpadMs7ZUJgGMflH+lhH6H/Fnv78BG+30Ljv6POXOzuIPxhAybZSH
S+WVeALrB64CNUTwevXbTfNPJE/jFgzST0hpXrOtiO8YrBZG2+q2xfDv3i7FdmNl37GDKOH18mON
ffjP7dVDDjY4LrUpsXDzxxmSDG1Q4aOBQM7sDHHo5n5MQftlPDchlvi4+zX5hAGHdTe2kYOMA/5z
WQfm+gVonnnHeGGwiEMRKRhMBxZ1e4sec9RNuHevp3sC5vuY35OLoQPquY/MRehz5j34WctfgHwP
6rZZPq8O5zOTy90pWKl96UyV36za6w7AEycPJN8ZzQn5G8htKPbBRliQwmLfHeSZ/i9ADCPOkTO/
n1SnlFsJNcbPJRhWaSxyWgc3Y4ZhFIpjzxGo46cJAcVxjFxnsvUg09D08mVdLO6pp9yDdcRbmeGJ
Gb4TGbq4m+QErZD4YjoGzLgZiI50JVd2gXLIBOezRMe85ODTcCGGgyGx+Ez1SCku3JyoNiNiPJ9O
MdXywXFYgX+kxIwFrH3f1dU8to9IuSh9ohf/smktQyQ9op/2AbXkq7k6VbDMLjDng/ATcyOJFs+b
SDNefvUrFwGD4r+kvTCAKHAdnIEjl2RxmDyitartsGkPowXHGo81ATeQQQ7+b4OAMJoxWNy633w0
NZxFJbnEjy/A9p+tD1A4PX/ZSFuUrPOnfZb3mgkSwP8LMwv5ywrArvGAmMB9u3qfWdJr4CuKquBw
5pSqACxY28ah1cDFlEbkIclOC8J6soJfP21zyklLRrcr8du5ChWrEr2jvmVSpqv8OCz+0tspMJBC
YZwRNYB5tn6ZgWmDaAj8KL4Rb9mVYd4/k+a2EBHiRI18ZsTxfehY0/4Q10pDnUook4U0FvYHUmGA
7h/95B7CB6I0+BG4CHLK6jwzHI0fjJqY+TEE0eD14VtVpqwJFDVn1I0MIQUc+3z51RBLIyrO6XbE
rImxgeuDJo1ZP9X56LYi3RCxJFJfzycZ8PgNgRuPxJCgBSyN3IqEhlWAfMK6H5Z6gzJmzYlPLQtM
suXeuGljpLU8Vrj/U2vPe/+ytleg5qsrrPE83sbt4lzz5jkzfRDQCM+gXcjLdtDr4mTK/w9Ke+mV
iAdSKJDDC+BlItAFxg2nzZfgg521/ZG0LaMgznktOPnT0y/OpgbDWuy67/ghz/mP/nM7fhcgDsNf
gBTIjVVr/w4JTIKQHblUEVKpNNjOebT5bS7VDyfBBj3g/bft5cvGWhzYdmEhNMZ82tnbqbHDOBVd
6IEV4n83DoQjCjYAa/Q7VWGf3LiwovUyMKk0OAFnVKl9xh44iztaEeH39r07ZbzvrP10upbH0QsF
hYXulid/Nr876ESiiFd36MA7VdzMlr99/dVEs8GpwCBr+Ii62poa42Vwdx7nIHLtWFjH8aDwn7qF
/T+SzqvHcSDJ1n9lse/CypvF4j6kIVN0EkWREvUisItFee/16++XNcDMoKe7SiaZGRlxzokTJiGg
kjiSOm6kC0SXM9TD8+q+FLoXsgjTvLDYvHVk0LN15uanqWbKZNmexC9T8Vm2hg8YzBpbw8ews+kC
XiXIYXvRXoHGPjcyhxjm7VBnHJAX79QSvZ7I3fqIiTctL+cCIapg48XjwPZY7M1BebgWsd2XgtVL
wBI2Km6ByzAMaOgfREak433vrIwsiEXLuUcd/xI+QEQSFVyNdmBeEaWPEUurmNML8u5f5db3oDHd
9EjIThBsiApn+I7w/wZ32Qm4V5AK7uCmiI4R6pfLtOCjVMja9jKP8Nsjz9AvykZ9nDDr1kuq2tRq
Aesqwt5kFNBa7SH14qlY/w1mVMWrO/9TU7Gnc05wC/aiFwYR775Sfmvse020PuiwIumZlxUZoI1M
X4LHlAMZ66e+DKmBA0+vmiqnyQwHSIQ/moIiTKL+T1ScveTIL9Ct/syN8aI3B0Tr4iq85Czj81bv
pZGR1rUeMLnQgNsRa5LU6+y6PfRwM+CM8nmZ123eZPxWYsz/ozsCCfhHJDjT+sYwTbaftkTYcELG
Sh2HV8om/H8O4uD7cfVO/2Z2apDvhxPwVZKNY2QaXYbS82oKeetWltWLochXnqX0s6zDcDskcKoD
ekRXVX9I5o4NwF6eHK+Ft87F8QzQNeoJdyckd1T0rTbjr8x34z5Tr6cURQyZbIS0wFX7kI9Xc3yw
b4ygmSVl59yeVWaMYZ8yNTJCi+RpJLTop+NB3Bdw4AOvkHudmNhOyn3TBi4YZtxTJ2SMvvQahR12
k2VzRUsVqsij7vwcxNxCE2GPLTvd0noE1ih3DZI5UX2EYbXW8eaMJpl0vgEuwaoO2J5fSW8rDfeM
WoRCI/25YI8LlL/U1HaIsCk7yYbgFDZTAtPdC9C3WA4jyHPLgORWoXX4Selww2nDgpYJu2CNhfKW
ydp2uvCjz5zn2rBil+NNigIzkazeZRgd+XobZDF0zRzI9qRf3ryMlaH3iZW3Cx4b1GWp7g9o5STN
zDwd0PobvFRDWiGVAMMqe4rGU4zbWeE4YUtJFpJZtRP63L8dMctfqrjLJObdDZ5jV9kal5eG3EuO
3IOMZPgSMZ0rskr3OoqCYGkCV7NDqu3OnlfmwEEfmAQF2atMDcllQuacXJziVkZ64OY9O6kS30h3
FZwRp9A4e/qxRmoBrIsNYS2cmaxIUkfF0/UqZpC3/2FAzMxMdzabnbo0t7iIZ6KVTHcqiZcR79V3
eO7bEBviWWK0ZqZn3ooJ5kSid2aDe9GDjryUEcnZHdcJ1KLpu/DgrS5qK4rvV9YuONcob+3TS8dV
7yf3lKm79B6BAeJ3wHMhqffvcJS6Nt5w1JGhDvJe2yoAgAmoTu22sT+Fu4O3eghvN0pilRHZcDNC
Q8nkSOiVmvHjuIyTE0Od2StUlQRXWCsReYk0JTPSuu4xmLPXM2INOzaJCL8dQjTzIQS0F0ef9Y/5
SWwyGH/3Ht1w7o/s7QE2zxIVH2GnEmLkIfrIArcYvoY9cPMB1nz5OdNelGCVMVD+idi4Hb7k3x9a
4we7B3t1doeBwfqGzaA+vU62gs0RMJl3lt8CWvZpvyzwp6XgGvZhYNb4GAIRcBnP1kD6Hbob8jfw
P3Lu5t/sY8k0qQSLkX1s75WdU7G/74z+w6qDiUbDZ958Ba0Eupz1Y0rRR2xRsPcNMa3WcCPdhEqz
2n+619FKMXs1t1Rc/JUy8vomvQ257/ecfW5Gna8nMgKmHowTjzuEga8d7KHmPTfXa7/I9YxgjvfG
NIc3d61DATuuO5pJBq3mSGnc0zAn5vO5yAP2uCj+nZcH6Znw+o7H++Ldy/Ubbcoz4ytZCB5ar8B/
f4SvSkhXmqZcxMVHtJ3nV/BCXJ3hmM04jZ7RJi+4vR4qx57YnRE1otZBveDyZ/0Gn+OeEcTt5fMR
ikPH+M+XSNIU8lHbz2G4SFiaBe7yyLIfDPZ+zpFUZy9Z+nTr8bxMZK0+dLoVbDq02sRLuL+D3X4w
hYK7zmzJLaq1SKOIeo4R4B6X4Nj4HXX7CxxrbTwZPVgiHIAkqQGragc1dyrSh48j9tUsX0dSH/k5
hpBKk53w8OMiISLriIaW7SRC5sr3PtNy0XaKx4ideqZLz96qOrAqW7R+2t7/XLJZc1LGPFvJ1Fws
5sOjGXen0Kg61xGvaD4mJjtgCP2FVsbRlkkSpAhIKEVK9LipKMWexETc5FRmHqeJyBJphk0n3MHC
X6wmTemoufq4KmaU+lGe3yIhBdDBrBPn/KonWVMCYVfHVdsv6HEkTWUqol5JJvbYa00/HI0pFIOA
ESkTVvoTk3g6yluuDvhXKnwp8yI1pjaWbRPZjLfhzjRdXuMUw0qPt5WV9M5edAsi7+nK/A2rHBGW
DUlKtU0Jvgy27pJrcykw/1qvhoQCXsAzMdGFJGRHc6YhkJKlennA0ieUuul6Ybq+Z5mu4KxZfM5N
kpAyBre51nZeOKtKetIav7D4JVXxs9bIXrodMgyUnU49abM3OWGU9RDs34qsfngaF6uSylyfJ9Fe
U/sGvI6ooRlhNzzWioTuNQKi2Ckl/Y8LpYLNNVGtR/7mPzzskIeluYeeRNuWe2yuOKaoj415upzJ
D3kMD0kpm1xsaLQhsmuBKB9/0s0wgMuPeOonRczFiye+ykQDfOXvvZD8XlKfkRJUdfY53LqX1pXd
vWbnKMYrxRkzRck6+CA1Pb/pjARNVZKcak0bqDFsfcomv6zOaRXbpgZsIgf0/EnG4vnEOrQXKK55
GbXJyN9zP+YzeKSofKZ9pHPsKjjBbbwWmiJlU8Z+zdikFW9oXmhkEyYxMFlGZ1hf07nDyd3+cmvt
ZfJM09eI9K7Iz7bIvgRoBF5GJrTgYTd4GBdsc8E3q/ERrjJFR9U9q+S51yseJHkD2YGXcOVw2A7O
HZ8GQgjzsMgkZgd2Td3hY10nBSmqDCRxkzpGlWUd75FZN4rj5ZJb62FUYv56ZcXnnynPiq9pZ8jR
hXMNLGki5q2RTz++s5V8dICJzvh6ctp8KYWlkzCDccWdMKjD9r3p5LCLlGW48icf/+jGmb8O5lDX
z2DALENL2TDkZjEQ0HRtb36n0ynAPZ+Qfg2AaGJL1jEdQTJ0th7Z/p8Gg1+RgC5JoDw6wF9nzWAE
uosGaleH2OnrBhYFwW2gaM6Z2iuWY1FvaICY18XlR5afSdmFAFzSrYHm6fhbrR+qjD9cKNhPyMSY
5QTIBeFunwz7uYswBXQblMcDxZ3O9yMogNfHacRztneVTZMN4/YkkgfmqcznGE31AoqTfVhunPsv
AehNPF9JD0O+0EJtquyUp3/l69/5l2u9kXad0zhyg+aQMH/PmNsdpRzb7Xu41YZ8DhUofOJ9wLZB
eQWF48y7OsPlkjTjw1eITbbdaiy04tu/ajcix8bc1u8uTNnLzWZUU5+Lrs6h7VYjrtbclDtjByom
2v9sWE5iOwr3JqCE537Wg9Ub4tQ1rhFJaAzsOroBJEWphk6mwMhOJpSxk7hZF4ZSShy1t5/cpunS
pxduxuow/olNIkzj7LDYvhdFDcyktIezRdpAWMzteMkRHEZnj09vIkkEi2quBALdES07VIIWY/KA
XtPHGG5TVXSAkggk/olUqJPzoJ06LmuDYdnXW+b8dkbLdH4cMrfy33NsSe/XxAlPzA99jziaCZ1O
JWnbD5+t4uYzR8RhYVe3pg0m8QxMeTPsrRaDTbK4fNvd8phRs9EjK5pRyRAlnsBJk/gzjc9mYw8i
cdKkrlAAtL6yqXE2vwcw8tcH5gHM436gSYPnfo8wZDM3Kk/0nn3x4eS+wCPJ0TJ6dCkye3ZuEaOQ
rNzmlgHxsdnxspDLnWlXTjNbzFEGW3KS09IlSyygUc4rHFbb1enGW6GFblKsfPhVKDuMbvAgp3HK
cpjnJRFnbQ+Qu3/I7EMs33Op2+5669HysBQoUSfE1oVnCLLLRRd1CGLdfxXob/VMk6qKmazjh0x1
EgwJVHNbeaun8rOOUmAPhvBRXMZ1VbAST7V03yrkImXNG+OyXEZ7WhApAXpjojARuSAJtL6WRG2T
9qk5uSw8z59jm9+MkQSQfrxHNjJuGJ47J8i84A+Cjx3ixFesrmiw1AfTEfQH26t63pjn9jlFy0XW
DbuLwUU13R1HmNnfg+DCUxl3URJiLSXfp/SDsxUjMgirj/Dir2jx3WI5932aRg1z9TPoLaPVQGZo
Jt1zD6/ufv+kPjd5AIhhgjj6/7OpY5/MOpEiWiHWgWnIRwwqL0MACiy/UaZha5HvwUA+DrPZBP/+
zPTV3ou/1AydFIIjzxHEcyl6r6SIACci2VSP8Y6ZUjLeTHw4IFF0CsM9sZgrn0tjbGJ/+SYnLz9+
QoO/jOeEydVVjJSywTeOOwwZqmEi9/IZV75IkrtbRCvgFLAXJhtIMha2KPM3qr/1zVQM3LHl+GFd
xUeuIxawx06q+OOWinR7r4vbkOwxTTZqpbiifN7xle2iN8m/YCf1sK2/FNsxIie2LQ/i7SCpuDnL
eL6jrNwOkROwzVBCNCfgET5A/eUfJwpJClpRWh59Q/hld8R+fAIxWbG4wsgrKcjWWDhtRQJ0BBxg
bCtnBIeM9ZCqPq4FDAqn09d+Nt2paJ0CKqGkAux55hdT0t5QXV2vgctpscmRtpXEkNTat3r7SEpK
4IQiC5pgxN4rmo792kRCnfZ9Yo9NsNQnBiwgWSXvB6OKyahKFaLs5B0czvibyYGm3MxMklKH9UdI
VD0qSAw2Jr6/D8L3RoShbQ2vmZjQLL3bkJyGwUmSoQc0/80CPMsJ7SlnwcR2oPVTvd+zuaKcIueR
FBSa8xerzSxj2FhP7WZEjiRJsPvkiBK8YpQpjeEVEYTjw963sC356b6QUXBBOoCGv8DLI85qyEjs
808WWqEEndoOYsDnnvcjIEB0Sj+sy1BR66GWmZLiwacQrPC8IQjhBKyW8Y6GP4blDLmU12OrCXx0
fH/+0opcyV5Bj4ztlJ0QE444tU/Q2wO2/gRRGJShoR83Bvf5a1YBmyIhMaU/J4Xqe2HWZolsiEP5
xOPtoDUSdlA25Qf5lNl6iTI+O+3skIlj9l09nWxtHz3Pnnv2Jeb0HjjzsM9YqLN10pHn3EEIxC7t
8zJ3vMvkRw+RZIBqL0ZMLZIs03E84E17IpxjvpqyNB2R2dBmTBUVFtpLPlwnMKn/YltQ1sUd5lYC
p1iM1ve3JD1dLmCKrMIGKFS+DGQTrCAr6sYVBBDISwmwwsK3as5Dr+nIoGVTreDCWkHYrOqynjFF
JsCN5xmEm4JV/uWy0KzXZ0aobKIO+lgj3YwCHHHibYTpHrqw/lMx92sgyg/KFLUecNMsuyoDwgEh
DJGtY7TqD2gDj99fVLDyzTiht0gw2Y0r+KvEXvn0AcIxulZzIDcJbBhJ7s+R08PBAyltlYdZWXLD
moRFAGjYzchV1zLrJWTItuH3e6fF+FGRuK8Uj5EUh0vp5zvKGF5X9YYqBjazUBJt4ST2SG98dKZc
ffqM8YCaI98Jv0wuVFiiEONLbNbEafJv3ZH/sCaitRTx94Mh6LIbh70E6PVn3VAZll72NbdWT9ni
oqNTnH1WhmH2oUgVy3Dur2a+jSSGZxku6T7h2rgrnzmXHGYw+DJTKnxFC5o1uAWvqjWlmR2118qh
pE0eo2NdAwNHRHPK/SKRFRv4eLN4ZmUBGJqg6WWjw4DtCiR4kfMDUTAcHZgEtaM3fAhTPoNggs4x
U1xI1MhpOX9OQvbwtDPYPkDmjXUbalaL7g2J9QpuEr0mH9Te/Xs3Wetk6YO80jAzpcX0WRT3rO6g
A4Ge+EMAC9Itzz4z8gew/heesjyuuJtm773ko2UcAW83OY5RJm2wQCEU1BI+a4MbshVsB+57bafD
MvPILibTsJyb11HAdHLvkZTaqjmOcZ21bdfi+NMqP8yPuuj5/KMdB8kjilaAqNoDIbPY1actpORc
2HSfMF8Mybg6EGmZprjF8EcOiIqyOymBz6HRF7YIF/2QuW/28IVIhZ/YHfOHxYa3aokFaezJyvA+
iJFeSHvRjrzX6kbHGN0i3DTf6A5CwHzHftx8qQfQ06EDFCHwPUFQasPKnjodnNBwfddv2HM7nIQd
FSeprU+mNTLAkBWVrlkR/lSyZRyVOCX0LhJPzQ46AXKXskveypS7g7g6Ae48cUW+RG9l6eaXWKc1
9aiLknrwaPp4GFnE8Lkl2PXo2wIKOHMHyf4Cn8ordVyc7f69aZyy2B5tzeOykcBV/MUP1J2q3Ze0
83sH/9MELPIGmT2YOyT1HNMDCgGwj9ua/BiJ0NV9jTz9CPLZUwY/rQjHWAnYwD9A4ziNMGVPHEUF
qVzLUe829eesaBViYpUHnXpwsDG/eh980cRy1l/T/PikfoIL5Pq/3Q2QC8gfkATVMrfoNydis0JU
PtS+7cNwaS38Vox11RJXvmTtnaX3Xnjdi97Ru4iuk7KhZHVrQ5vVYrH0crwBVzI72q4axYF82j/Q
Ctl7csNTcxNqPvgTApgV90l3IxA4vbkc5KoE3V4zRULyn4uznG1haBq/G1YR1dQTD2ysyHmT7S+V
XMwIUYYCuUf8GHBgUrz4BymVd3fpocLCEXP/7Wha55SpVTzBJLSvXjVaQeHAidtSnGkQx7cIB/ka
85LeYtcWk3ZN4MYu8GXf0WGCXUl3Sl/6md7Y9nAyqdeYxmUm7uUlLYe7+4UWxgbK/jIdVktVk7eX
5OK1s7GvCTruw68dQMuELu+0WMUIrr6q+RxeadUTTMy6uNNz8hXTR3hDJPVvUcPUQq5BTRA9PTDI
vzACqL2WN336C0JNL6QhT0xf6XQ4OYTnWXf489O1+rJzRacPyas+084Hx21u23+nwwR1Ynvj/+LG
KQYYoXk4zYOzNHCHbv07Ir1jzrOV0bLdvKMd42WbjU7hs2E9MPuEF0HH5AFBdTxqqe2fQJ02ScLW
OZ1s+w7i4AmN/Q98wnS97rTVbyf6pZEFd96h29Oo61/zLim37CbXq9ghuxuNPwNAvNclvFbLV7Ln
IM+PDe8O5CngiZtXc9dL3Ozc5WW4/SCW6op9Nrt/SJdwvsLEJh8HjROdeNLdo4BTsyu6NG92xhOB
6VRaQjt4GnANfQGg9+sS0ykRwwX0JSW0reY1AIvejGdnnduwsZxjNgCt0nakTElHYzSh0uaac8Sx
qxkW4VA4NVU1ZxKWZSui3TgH2ERuBAJ2vMKr5h4dvk6XjI2U03KEryQhZwFBBIwAVLh8lalOo4pM
Ij74vVHDWWz80WKOq/Xc/1DF7UxPYFq65CPrp3Pvu+0ODv+CsZRcq4AIvQQZFZoH58pFcar4UfdJ
iVmPOlN/KTHSju2bXdgf/meSxZByNg1ex5UqN6gxx2Ucw/Qwdfn1r9keHs80M1MjIEnxLKYDMULZ
doYi0HaBQNarBB382a2pQVuRYlIdw2dtwyPH/ApbssL1B4+S9j8OmhzA5GSHGTfuai3X5Gnzywds
p5FkpC6WY9qGFCXUivMQzTn5luaes0r6XpOMIKOAuPE3nR8u6vM8u1EAm3L9Sy7zwDUbbKbsS6aq
i4f7dYio0uao2ecAIFlnYI3snZzKEiabq8t9uGS46Y7oudZYtVwG8LXr9/Bhubdk9fDbXZz/NmLd
NCkOiuw1tT+7TewFaA10j0BnWyb4QVQxeNZrnkfF4+nim1TDTrBJlrKbnot306N57eb0XqAf3fq4
hjQN/SGjFJvigrr853CebhtY0r9flHAdf7YZ3oHVaPCk7+GrphtIO/raUaWIPsOh2kQEJBa0sYIt
Ma9n9Rk/0QcyaQln14bzFse6oDljzdcY0W0lpivRmSHkXmaocYWdkL7FAQspximd7JAWH1yOncJJ
kjoUJR9axAYywEM7uvt0kw0YkiKmZClv/D8MHrZ1upF/V5jXorcVV5pO8PNElYLkpOe8kYTIFU4d
qxRxBW5uuNLeDqPgMee8MmsBRaxiKMogfGNkAgJ81TesQ8RhT64qxzs6ZoJee/5hZqf7864jmNFM
QGWutvxssmdPjHvpbIPBIk2tMyTDOyDoLf0dR1Td/OVt3hZWV1JL+ZsjjiTLEbce3Gw4O5/8NlwR
/VoBZiDethH2Kf+/zn4dkg7/x0nqW91wzmpzaJ/Fis4giYP5bUjOQqtoU3Sy1001QEdh7z64UOZ5
g67bYYG07NhXR9ghVDTOF/cWVNGQF2/vS0uk/dKnhsLPyga0p20+eWpA9iaQM+5ZrczuiLdGl8Fr
tmFqaRf7ZnhUvJAJPqXHBPM6aqSbIrErNmNmZeWDOL9ruDQ2BL0wZ/6eeY01bT8U9GXF/uALH0XO
xL2P2nKd0IHk0M99tyO6UDvRJ39RbdzO0Yy0S0Y3oNg8BuhHGA3aVZChxL0Q0SISZKYjtNFaEA7z
Ge0zWsOy/EkLEg7P/tdGD+b8CJve+2X8mFUUo61pFscPv8YIMUkjRG8co4aHWgYoTBQ5554YeQFR
6qcDkimKXDLwmEN8gjdHAgJ3S0FhLCJB1OupTd+hEcQW3WBEe2MDLekVws9cgog/Q3v1p+ZJDnM5
E7sAhXezMt6ClKLoeIjDP3QqfR/aGs9o0bdKF1u7a2ReLmlTshpBDqRNJQELkVCTApg9bwRiuwDP
IYzY9Gv7CzZA3QnO/3HxxiR3iHyC/Xx+DkLKrBIux0L7tpSFfrcgKxkPU1Fe8A1n5b9/2sBx6ykI
ALDUixWrL7LbwzGsDzDkjVKGHIiCk25r+H+cFxzF3kGmBcQiT6b6Mh0uKsFR2NZym3IzgK+gAvVY
l+5Net/Qw86ITri31wqtfZo9eO1ksAhoUL9CbgNFPKzNMml666hISylTgb4tiGNQ3gCh0Nnbh9nl
ogdMFmZDQrgbfS/iNUoZFwSM0QwsRapKRpeTs73gO6B5SGxXCpqH7ZA8uav/WQkMyaRhFIlY4Q1T
RpDgeKPddBcDB9LEQM+eHqDmAwkhE/24oy9y1kPzVcfSBl0DwBXJLH2I9P8WIIls9Bx/+yEvTroe
aZ66RAvgIpJ370R2Q4qwGjYgbSicwUQ8VKkSQIqkXlJWW77FB6gw0ut51l4acUUPiB7pCaD+Q6jw
wp8QeIa+ef8yV/qKYNuCLz4oQnPGZcdAZtqxdSVh1GIYlr6+YnzAiFVVkpIiMDl7FXhQn+kqVd+n
4P9d/eBlyiV5jMmSVboEbnRzFqERB/C55FsiTWlzBDIF2wHzXpvgjLKIQoLJNxlwvwrD3s9C+ZRB
Pq0S8B+QXDLbuvc4MXu3kneg5x67nW3Azow7Q4t32GdwBKPeu/FhZLh+gVe5TeFedyrSXy9/wm5C
5sYnC1ecSNGrEmBImTWLw+9hAORF3TlaiqQyW+MBZkQk2V2kWWgcWHbFTgcssZeq9BGfepgh4K0A
PRsEncVsVgvtMz4NdcVRgrHOAyR3AX+IonfEa2o6NekFJ1/H2APZU47OO/JSxmBCyvGBdBMZC1Ym
4uv1Fhtqh2B2+5kx++4WsHqonCg0cg5nw3WJcddsZhm8a5UjTQHTscnbKbAE5xNlsYpyKUts5qwW
hAqpYA7feHz6mfHy9qT3zSn3PGjZtYdTNA38MGXFY0gz4SDm/ejcDYpmcGdD5fhiDFwMTtS3p4L2
KNfEbrZpPu6Fs/ZdzvC+sEjfRxWI4mAydqIsKyhc6B2eMvicKS+mUSqeoO9Zsh0QkXBGi6vtYbOo
oFJtp8GjAecJK4NgrKt9aYq240XXOIqQplv9VdOWqTImQhH/3tltlHoJgjkUE5Z9PRGdvSUkzIei
jG3JY0+uEv6+kPGR8MBjFrw26Jhl0TIfeQ0CGvJdLjcOpWV92zTuM5sXAZ42lW91ZqZMjprbQ3OW
DMHI7xO+cPFlt3RwgBHeZ/gadgakv4kfP3qiYjgOh2r3z8o5oM6uNPoui6wWrKyu8MgdZXUke8if
Aa40BF2mQHC5SerghsPgvIn5w3zZnpDTLU096djEGUbHGP/8c1XZmoMPnPz3IVPNgCIZ8cpxBRXI
0T3+9Lk3/nh6WaBWDJk14Vwz7n1ZEfTsptSpTF4kv+A3fi8hbFebBL/T2wyUK2Q6gcv+iaHViYGw
PYVERch8DHYe7iYRAg9QDmXZPZuIir3tXUTkMLha7rfH5L85KCbyGQXlYY8MRCq6CP2OougwLVDy
kTF/CJnAJhk5OAfXejXChQByUpLzDCs2DKATDDAiOfsp6ohC3af47UlOjy4sUl2xymAjjeFxnpEe
f9WcIynwXSwZkZNUhN1/HbqvsS38Al5BL9lPgqaEgyIuiAxswe+caYodVtZv8UkmoJpfkVlAZsE0
wgVMKzhs26v9DERYL2hpA1HpgtXN1wH1Q0X8wQdJImS12QJg9HpiYXS+HhIyYtuRXaTK9139LSNU
KtcWpbz/gpPHS/GiEMIx7TA8GMIvVU2NHhgHRIymFFhD1hf8M5w3wHrUB3I/gyeDg4Ylz9TCCacb
PRr9++PGLO4zh7GxULL1pbZD1d+wdwBjFj18MZYCjRGTOyzmefjYS7bCCo0EH3mbUTgpcj8wHZip
tEBKd+dTjx/ef/pP2c4Xc39SKyDo5zY3V3c5u8d3fHCFNRjayAIh6okxLgzSepTde0yu9r0455Vg
feFczR5850giQqJPXLigRBs47RlmKR5dqZPdGDmQ1bkE7RW5/gZLRI+4c6NhTLwIjIRrJNmnYBZZ
2U/kyapslf6fDKEujhioA780NEwYTkk15scdhg2vjai07uDvR6PZMGoHnpXtpUeMdsGD3jJJTw7W
28qGPcJJG49a2x5AHuWhAMm9NjGPFLTYH6yAaA0aI5CyP1Az9sExatkY2QYULZEEqphXlMmeoEMi
ZTVxUQHVg/zH8jCVlTUQW8ZHE4jmT+DeHJeEbZUXMLXQr17jyA/Itu234LJEhoBfMUELiJwqDddG
1DZ7NjVAPlQMwR0tyYE9QCWcVPbLFJEHraI1YszbMGDwqzt8+xN8WwJSVFm0NOfsiAgibkaQq95t
DBfPKefOa6TQR2SWW5pSKowS0NT8aYNms4stRFAK4Wt0Szi5b4kAP9fob1JSUTAnNV8B2pPPGWU5
4717I2WFTZLcr3jhdQ0aT7ciZ8UcaYsxQks8HYgNLKtARPleaFJE5SXbJ1FAb5xavo3XIJwnycg7
Egzwt2q/9R/+ZZ0/4Hqx6O8RFL9balbIeC54YAQv4vthHeFEefeHfBwWHnvZAi7eXEMo6biB8tXC
pYhL+JbxOoyh1r0GIGdK6hBzec/9vhs6HD0IHp8SCy4EuUG2CM9LkKOaeEQgQO50e1ZTGvVhQ2jx
FHOLlHOz8RXWMRdE8iF1kbE/MAq6PMS7iDZ0IKvVCxODtl5ghtME3G1M4bIt5A7d3bAMTUjnZ3jy
6MyDVQcU1+8f6PD1uFvV9ZIOXRoKXFAuO2yghouOpaJbH+Y8SdDdeYO+5wEriQDoibw0IFuVbVw6
xcMwpgMpS4mffh09hty+uSfQpsE9Sph9ZExklHOdPt2EIVuQf+7LqrjjNR21mPfzG0zQIHejuOvy
ONk8eKP9YkSJjQrtlu/336WCiuNPbFmW7a8oLeu9pHixUvBaAGhxRUPE1VW2Yb/+lSXkMJKWF//t
jAFBkZrSQgZcs1z0kuP+z03jiPfpkxFh1jADljruL6y6bnOTJa/ewpZO0s7S4h9JCGJOAOqM9o03
oQJBofpnUDIAp8HmafhiIkL6GUa4yEVWRwK0unHqdwLvYExxwWbfc0vTdvOPyRfld5wNrmzQ1uiA
V4M1g6hhx0j+TZMtBlIKZ8pm8HY2NAdcARI6GldDypuMhJpsUgImo0FZEQ24piCNZwgoOW1l2SRz
PlQZJoUdy58xPYBHDsELCMmuZKj9PKSciaVElI1Uj3QRD4EgDzo7JITAuNRjJLRbrEXgqk6WEAAP
UX1kQsCZiwU6hrfaRfPeaJB8GRXK2wY4aYEfBc8ndE3pvwzKDvY4EHnNs6q9ZfjOrQjLrzYKMVPT
0ANDBL4KefyKO03KIGQSITdjzX5mG2bbiW5DkQb+dfVhp8e0DIfJ9oyReO/JDVISVzyMNqoZLJtq
sPcu+6CABXiHnX2GaSaJbPWAS2KL+ihpL39OJ28Rl9vfeB1DAFiBlput2BCzzK9hIeU2chKp2ngd
v64ubpnuHtsqb4/tAV0NtNfRJNd6WcEQZaEqP8ywrUOPsdoDxWy4lfM37q/N4PSHJnyug8yKsVsg
p84GkgnP9Kb8BudxnZv2PnXqLffffe3W9YrhLbBDG9vJX0sov2k0pPFHM3FLobpGmEj4OMzILrcp
2B53IRyvuXwE//6K7/SrbXVJBuuz1M2KrIfaGFoSHTqBqyWudZ9WgdbQtq7tUyrNrTQDY0tf6Gbo
03Dlc1TpyCqamJIg1vpIElOePEK27/ghP/GmImFGWEXrFVOZJWheM6LsYvkk6kWSHDrvJIZFtMJg
600SM6y93Xj/QHuwVDgJrpylBNanUD17toBft6E43lActmNxzTQpebbzWf9KqM5ZlNtwgC+ChP23
N9HlhLDnT2bN1UMMF5t/6FEe8H81c+6lxxdZX5OgljXGjJVZCep2XB0BDFejowvU2WRcAq5A/vGX
SprHN4Zry65PLoxvTnj6rSr7Q6LvM/CiImG37wmicHUAUOhQD1nsICu7k7iW2wTiuYDcEglype8E
mdwF48iN5R4Pqu+n9zeS7z2E/7NL8fwOB7/kZk2T7H6S5j9wEKt7urM1AVphs5A4wknaIYI2OSS7
6RHUSuIpXzKjmO/hvD1m+CaJhdovrFbyPCCVZT3EhazX2ThbKBZ0UwSZXiGVZPxikgB1V/wVynWw
C3sAyatQFHFtcMM5tjp/6fT7FYjR6Gr65XcHLsc+DKhB0GvwuhCYPDhcqjlLntdx3dnSgfvOx0t1
nVniYHodTZfqd4l14xVx/iL6K1ZpnQnRBefBQB7pF3Kj0xR5GbCFh3+cSvZpdfNvfCB/PeyI9xwG
/j/GFMRSNO/6mHHWJdWBYiUYCRkfEfz7g98UQzJsfDVhACVJBDVAC0piV3qPzOwoSMonV/N7NC4F
FKnauSj2xiO1YhPs3VZOAci9HHnc2DqvdWi2kvw5adMNyze09zjitODGZK4tpcEYxnYl21ZTVywf
tl4m1PwNEQAfduqK+QofeiQB2nkoVmhDd6ot8ChpyBEphldjz35GrCNZy4IeBqTGtZTSg6UAESAl
h9bqVUU7iLp/CaYKAqSyfCv2QFnC8hFhYYCP0/30BDHbl5mBCTO06ovi1AAYiOprhf6fq2VRdc8s
LarVlOQpuDmf0hXYbVn6GxQtCqg0IASoU49h/BAUKvUPDwBzUdOC8mPr1jivYFbUBaRyBMXSbwzf
qOYkosneEOSLIR7D+xOCgLC9UymKf3JhjBgDTSMJ8A/XGMypKNXR3cY77si4eljf+ireI00It6jK
axISktzKalsT9Lrvoz7diIsEdo9lMx0ry+RfPavSRVI8fw+4q5AgtTXyEnRqg4fLmNaDxGE1qJEq
UeX93WZOJ1j8yRs5Lt2/rI2eZrgCqvelNsBGtsKGBLqukUBaLUpq03rQCLS7FuxEBPCE+19drVAV
F+DFv9EaO2zBR6UXhfmJ04N2Rnb2zgOAuKfuNFEgG+0wmWI3qs9uswGc1Hg/xxN1xsX7TwYTJowA
pfXcNfOM7u4xhm/pjddhY7z8pQUqrM7smjOES18TW+BQ6DkKbuKC0xGTVXyMjiZL9aUhtevi9Thj
ePsYL3cUruiUYKXVataPjmHdEKZ6NJ88CCFFK1wNl/5d7mOLlmKOKimqiZ4ZxUINp9L7iDlplt7d
xjeQeKTdF4IVLamEMXLIEjmMnL/kemkTBoEyLbuRoN8Aaq0pLgKTZDVnY/cpjE/OX6lBNUy+RyfC
ipByoZt5zA6ggF6RKNi1/e//+p//938/7/9d/Z7+P2HnseQ4ki3tV7k2659m0GJxN9CCAtRkbmgU
mQAJChAUIPD0/xd1N901bV02PdPdU1VJEAhEnOPuxz27ndv8dv2f6+uS3Y7X5+N//6PJ//mf6v/+
7/jwv/8xdEOVJUsyLMu0NF0yZYlf328nVDz8bvn/KZ/ubMgV5v0sX4z3YiEhM1EGjVC32pYzwrgu
NocTLd5XtD/aiEVf3V2mQLaV487FsBNt8EB8Tw6sOvjD1en/dHWyKdu6aRi6JWt/v7pr0RjGUyv0
eU9C1XPupyQ8bb8GgeYTeInJUwLl89xByeAHAkHEWCvonPBBlBgCFeyAzysFNnnhNWWM7p5SEarO
v1+kKi7iv26hqqkmN5Pr1H+7yHvvaLe3Cxd5Q7tDOsoYvyCm1+LVKNi9BAv9PZHiTJtef/qYdjL3
JbvzewCqjJ34/N+vRVP+8VpMS5YNyTYkRfz6Xx6n0XtVhtaZ2lwUKkIvB7AxqqVgdvagtjDQ0Gb+
Ozmyd4U+un9QaKEKASUXM1XPAVUBsIvpIQdVhv9+af98mzTNsFRdNxXTtP9+afemOr+sh6rNvQVj
DV+F+xobdE7Y6vKfWRFMRBu+3ow2Dgg2VnVo9zFfFqJKOhjRM//pwSmWYf12u2TFtmzLslVNsW1D
l4y/X1Ob16eLZNrFMs2pNLZ1HpY4UaK7wuO0y0BWztX4vbfl6ZMwzuQ8u6vj3gsYifQDYfiDYN/p
qMNz94VbHHqTs1+mBSNhYcugBNoSKvwGeOoNBEJ2n5AcC90fjDajaqzck1c1jjxtIUr4i4CkwgVq
w2KonJwAJpCz+TIZuhV9lY0n0NtT3Fa020gfyGwrSAwGQkqJKKB4PlCzIqLDQwnjb6+BzkupaDl4
rr5AHrRI6FeQmwGcohKenVbUyi5JHqBjhEh6bLMcTGgbaWLzSOIKJPcx7K0QEkCBQ6dwnFMifZHA
jKEMf+CVop5Hmc5mwdbxpZIsw42pGD8XYiY+/4M4CRmvgN1qgA171iTvFXQGrRpZmWjx4GDQ34gG
qWFOmreCv6otNA6jo/AgTAp9UMBmD9pPEhIscncQcqPy6XmnwT2yoclwzcRPrMddHbApm7FRE7iN
b9g5tleai62+80zvpAIOP9jLYGWrYJmXPHwx5QDcgAMmGtVMmsBKkcApGD6hgikC4t4xWKcWa9wT
MV1xfUtkymBacRyvG+7joVzQppmOafjnBmAqNQUISIl8nsDjKRNyiorG/ay1Id7mpJC9mVg4QRUW
AoeXsNBdcngP7Fm+syN1dO03eCzybD8xHkJhb3lJJTIJ8BlL78zQzaUlDR0VFZqnZ2il9+yztcMq
3cxMzPQhPUX+Qz4jwnDNZQs5TgcvZIGMc6Jw0KD/gWEjbSQjMGNxw9ZsZWeviAw+He3ZByMjxisq
X6OAZVr853Ydojzg1+jksbprJNeqg1tDSRFs2E4ePqZgRusfO8JDXOz6nk+Xtld/+M1V/J8d3WKL
fy+/f3rDCNOXttci1Auvt8LGX6aMxYuPXDZiIY8T5DuG6WlC9wkoVQPLPD3Gm42Biq4cEYOORh3B
BHlHgsMSAzUIfcz9KX4ef2lgP945VkJz9ESveycipWHXJXk+OvWck+lfaNDQo55O3iMSPiAYqXJo
z0wxB9mJmksMwBQDwI4VAlxC1TuGUCF/zNgUWNFNyCaZMODk5j8HVKZLcZn6Sgsl4nDuNIFYb4Cb
oCqlcaOL4Hceif0QNnH4wKG2faJQckGe9bgOdBJbCKjXYUal0KZQ1NdHj5c3/AR3DrMJbxNBnbzO
GBrA0wCM9aInYleu9Lpvk098TN5LdBbSwF6eGZEevvtdsEEsqH3ZKoI69IB9e/RITB54HlSDDS35
G39mVH5ub1TPxfwWdrA0kyVXegE5QYvFq5B7Wvoa4aPCNst3HwkLwHPWIz3CU4MX5dOky4xBg6Sw
Y45s8tpqLqaZPiqttEqPbr0QTpK94S00U6KxOQHZ2xTwSOzyxp0n9/lvYI6KGX+aDt3DEt0rB3Xa
rHvuOSDfkp9VEuVFmQa8wdaA8IJumdfQq9Jz7Tz2CJz2BNkNjnNsSXK/gteGq8zObCTTVxOf7TE2
2j1hvI1n7j13n/RcKQdgjoIG1/uonNzIb9YZZcJXEe3nacZKU5IKn0NtouaeOn3fveMJXjfQBtc5
KYs4ymzcPDiObE9lNnuYU6yJIUFtePOPwxxKy0JonAfaUOBhNKujJ1M/4MWY1pDc7hs/aCU8jLZM
Mp3xkPRuBP2gFyePIH4OnvToviaYlx4/x2ZyqxHYhVcgw2YHQDuuDQRvg/ETuTSIaxh2OLLQQPd9
e3QKu+nn5Ix58M0PMkp6f6Ba5jyoiGp8BVO89PmXl48pMrsK2UjYaCKk/cRGePshtRQPvfkr4U+O
0SV7edr4+bAXPegG8LXEvgo7zt4kH2Bdvn8m0toeHn09sgPs8tw8ZfkHzz7vX8B2ke/IkhPKdGLC
ArHQ7kOIiAAMI3emPU8Kq/iOX3gzQC04ufOAP+PnsmPNYE0Tk29NYg7WFbMGZ4Td45vR/3QTqn0s
vgtnh3iHd5vBiSFOzaHqHSNcEKePX6K/ZphHT+Z0GJVwW6wP8iHjPch76ugWgvJp864vcRM4FfgD
x6hkfIU/R0egeO8+PwqHXXBAz1reptpYSTS3+b5h/YkpbnAZ3xIVV0ReJcI0OrwIbUD3Nqg4AVF8
jZpQ390IKTyP+E7omFUkvQWH4xtncu4+LjVcG+s4a39Mp00aXCzlNcCt5X+8RTnRzh6aV2aKkbpb
eKEQ1XB4fakRzpDIopFYnkaYiCFPeuD0TvX/lafF0Qdzbr6ab1Y/SZoPcL0Y6aqvLNgKydHeNQMN
JUtwH5/2Z4RKuO4tsVBM7vNnVCOQ5anhiOtr8J++TDvUIegKbjami72bw505x/nkqvCEqr4VHofM
DmGEPFDCI/PCo3IoVvLduSXm7I2nPkDtO9SJBjFdw5rWj/hkDjp0Mw9CPt3bOcLD8NRbaWZkXcev
Eb5ixa4hqb7fw2i+eDrKmoPYpvvjOMVkb4BI2cBx5IidOF8RE8/joETpvr/0AQrKX34KN5AJKD7a
rTy49PHjn7w8E3EVYPheO9gTCV/bKUs0NYeFZ09UVvQn+GQkcfmKT44Nfr5sUsx5fhA63Ub3gPDb
BAtztMFGTGmR97+1qTE644PPNjQ9YiLtdDvUYyxYGgyMgrMO+R3jF6/A/LXr9YZSDzdgDk3yUodK
xqHL17EIjXmmR7xr0uf05vJE79+b9dl7grZj/29k+UAG1nN0FNAUPCIkYljsbL/NkGfWu3faSfyM
+x6ohHyL4ueEIwK21LmjIAWG7GPCfP1mWu0wqVHPiPtY4/Fz4HMee8wykcfdibPxsSZE58T3Qnhp
EGYeKVOJmstEv+c8gKpBktOahbSkit2fKa/Sbix9HAKhNGJ33cfavCZUPvgUIXC1MPT+9eWMT/jm
e9zDR0usmItFqowTJ6nXynEIrPZ0bpQiNL6AElWSo/ts8GlyZHZobgNvJLZgdyHlZe/WQK1Y6h8s
WzzczVn2fMqGjM3vBuoEQ2YshD+EYfj2TiXjm6P/gcadNRLUlKErQn+br9IWcyHuMTISkuYWz/hI
2WYS3/7AAW1yBuvnZt333GrpFpDBfU0fSOQIqDrO99hGORXPjpdbYtRF3rP6N5wKvLrhHaPDSGHX
zSywOuqoIYZQ1KNtn+nL+YuiPzIyJWNZg2CEr/A8wwzUyaMGoX3rUnxT3L/7WD37n76CnSSfFVUi
ZGCDUkrg75hzDZl3Q+dLco3mqouzv0m19JLJSQWsEmhxsQurpT1hd0SOzKs/P+NstcavEzdVn9O/
OLzf7nNWzR7bOsNMI94jMAiQ2yA1GSuja1RHH5KLOE85/KrD5kdFh0Ofsr+OuNVK/KEsWHcXotad
N60BBLl/JyYJE0iqhc67oEBk8RCrBfanunaoeTuy4ObIq11j23xwPaT685bIVMJicp/JNNetc8PM
BNVSfN2BnPh8jUzEmhRTnF2p79mVCbVeNLzOhFLzw6fi9u9wqu35Rcbgp0KlznogHAQ3bXQ11eLB
WLzllAfD2etDat/YOtjorJ3L1zvChSyW1uZQi8Gs6PwrfEjssGN278VU7Cs4pxaBG+YEebrBM8Hj
dDPjFcUFspzniW06KrZmCDeZXYjqHUWFu+FyY3VZzklZGvK6GQiOuA98h3XHBxx17/gR5Yn3mLPF
M8tyTOyd8PS1A9nR0/ucjYBo32wvcw6xNHh/Kx83b8y1n2llORdSPljYcTszv88QlMx9C6SnTT/h
x2+8Mj72Tz+K7eyVURU9o2NYp29nuaFtsefmIEeSOfigZj2NuAfmsMZCh2aGncRXwz17BHDwT7HL
4xyuYvJMejhS95HefsiYV4cPT1p/v3enqZWA5igfV7xF3h3jUN7XnKEb4kWhRlyi0uPat6kiJmVs
f11ihRhpHi4NbVBvmT2Q5/ep+CRrJYzHy/41Vb/kUJ48gm8dH2p/w1JCWv/CqtlHmYe9vhTXkRRr
zvd5VxFkPZFzHiSPflClOrNC37wfuDhO5bT0m1BdEg2DUJfBOTyFXM4e5iwu/P11JTHXJeEIHX0+
Z6ezYqLpQismR2Syt2LZCrrlJruE3dJcPlwzQGUzuXrNxFgw8Ft1QXUJpAV9jF8FM0hfDvAmxE+N
YK9vfNOwdJPD6hUpllcfqrUy15e3cAPgRgMITMpOqYUmn2141x9UrVDoRc8/b08LNlx72Kxfe5Jd
2ap/ZBzNlMrZX5eFCLPeGzG7DsA+3zr/lifHATsSGAEe+jmb05lVzwDU9up/8AR1bnbAjDt8BZgn
RJCA/jhzHJpm0MCfzZPqw0RC6hjoIAGAAY7m99hyCsS4VL+IABHiMk20UDmeGQolJM5pAesBtek4
/XtgJ9XiNMFCByjAIhGR17tITdjy5/aOnILdZ4HimhNE3PYf/pavj3vcHos5V4MUJlb9jaBGSs+K
kKJGJT58Qx254wyRCaobLVLSQsfjxwMrDd8h4eX0FNfklJT4gkY558iRqUKfeGTUyLHsv9EDmyF8
gKsFQgPJ0lzJ1FmqCNlVx93wuz2wnJY2xC4v9ZqT6vyDELrRfN4u1Gi9rULTk72B23DM1fEMJaWi
GoJHLLmNUIfgErkEk+WoU9orCGi+CAcM/Rrxnhxqhw2Ljy+qhMoA6fsERm9GjuwLRvCFo2Wbviko
meS/B2/EcVKgAkmR+A37ZfnGoA7svgUtBpSfR/BrrRZIZaJtsmM3KJ8TdUQh1QfRpglvd48l2S14
bU/Ykbn9G4HIbBjz17+tdGt/G/xsuG+XJyxKfUOkdsDW1kPFq+BvyRkeH/e/HllEPAoyHH4MOMgt
OB5QmL1iosmDW2ytJM9ybpmZnKKmD4nxWbziI/M3R4dFa1ElX9w7tt+HU7qZANPQCquz1vBM2odB
Hd5GBjprwahYez3UOAFYS5lQ3lxBPvr1mOKvzySQz2fNquF78Jheh8b+5UnBccbeZa02I74c/wCi
iGJCEBzcfBTt9EfsCdCZsTXQBiKFWmIVX5AC8gbMT/6LFWNwgt36WAaJOvvHGJK4QZ+qRM3otv4A
NN8OxuoR34nkoihx2I3QgVujYqLsyeSlMKCk0/2K8Plj35q+6HRBNRFtMTmspWasHoSxxTXknzTn
ztb7bQ1Fr495PI9DQZHJKTUnTQRwDGIKq0/E7zVvB4CGd0R7yM0TCuDeuh7UYxGTrEXWUgHKeTF5
FtVfYMucVsF7LCb0yWhz0StVk+uE+uf75BO9G9ym9563JRA2usOyl5mCN9qs1P3LjNWwrbcdr8Yr
U32tbwTvLYaOIgeuZfjmONNFwKpFK7ZqV3WEDyT7wHHF9mwmvR8wM1iSBVlyH4eRjuNI2THr4VVz
RtFGYvqk9CjFCrQMEI7zjRgpr9Hg2KXfpqeEBz+4us/Br3EQEAFk0Apun2im+lf/Pt1aUbfgczCG
D9WEYrcg/U9Naq76jeeFm2fCY+/q14PerFzWe+nL7ndTC3QLuB1ri6OFzlNGjfdcdMjyiqX6VRJc
RxkqAicfhLbLcKJirRhDafIAT2mTOgD2aQDq9Vho/Sp3+xnwRPBB+JGEV457ZleKqBhHZSZ5cIbO
+Qv1Ry/eDGGVUV7/3A7qNl99vtsIRxKDslmNVP8+qkJVfNY51IagO0rYjpXQmisAy+VULUNEvt/v
gcLxRFjyZUSIX7l/Dpu+jrLsloEoJLr73FZbbY9oto6lVRl/FriLx8yojBiYwSAbRJQcOeTcjdcb
sGaF0hsNrng5UPpaoJqW84iXsrvnSM/79oAoyNAiVO78g6wa0xNz47eayLXvfTB3dapFzamLtSAB
aC1lMkuVb1uG4piYvdz3vkHKQB8ZUuJdH16d3SY0riTZP5BnEcYD7sxbhwSwGliTG4KzPDrTymm+
SLzI4egEiAGiNvyM1LjoC0Nk98q0N/QFCBfCC2XJBEx8osIuFDCK3QNTGlBDWvwCPOsOhgcwCJDV
iyxhX8dQUu4yfnBij8xBSywiFD+jak+9sr/xRO874ryz2049hsguQwBrUIp3IOQvY/lgHwCx22X9
/QxlcJJWCMiZxtz1gLvXrQt6VGTw8sXYXutgd6DOmO6gm+nLmUC8GAoHUCFo3f+FpyKJ0QbHBYhL
DSNT9Fs0j2r2IJXSolV1T4xWdLzknEaYN8xb5B+MGYQgaSKjXmfeWexTz+9jcJniCIRDwom9t5ld
meW8hiyq4guoaarBhbIFFL7BSZOzL0P+sS8C7mzhBQbPrx5+CTQLGQbxtCzA6Yv7qg3kH/uHeZVy
r37fpsaTNCbn9XTsgzplpg38nwzn5poiCCKP+RnUQS+rMPmT+vA1wi3MHMhfnTALZodSvOP+NqIS
Qx21Vb/hE69zLk+v4BYc4wur40KBj0SySokHv3gN9fUj+j+ePA+ec+hTVBGXXcM2HiCN/XfKR/6d
XPxFr9i2oimK8ouR+ju9IhWn48uo5WJZQR/0u7Qc3PfG9NE/J4+09weuUP6dK+TDbElSDMgvW5ck
+Tcu51hY17N5ehZLeY/WB1Ht7QsuZGmSfTChZbMHJ3hW/0EFdvjD1/ydAPz9k82/f81atTv7bDTF
sl7Je5sZzDV1rOic6blnTfaZl7vHju3nDx/7O9f3+8cKcusvXF9nNeeLqb6LJRhKTnG9pVqi22Xr
4INFBcGB0GNY7w+fq/zDU7XFk5VsRTFgzdS/f+5Gr63X59wWy1dihLXi0ZM/xsis5g+idtHRkt9F
NQf4uH1kSirEXqeP+4fvLsjCv3Ku4rv/9Rp+41wNuZYupsk1nPtlRJDU7BJ1/SOCxK/rtBzIiUIn
SzLExqJ+OiX56N8/Xv2ntfbXjxe//pdbXz0erXRVP8WyF12GpH6I0TWnjDZJ24lxYYVtNlYTPQFq
inuTW79KLgcmKa2gjKvoPkAfFXNco9+QUpLJqVHsrPzDNcr/tDz+eo2/vQ+fT/0o8hOrskmILUrs
QI1ykjzMxX1mQDL8+x359Xb91wPRJU2BRLVt69ei+csduZ+fqv7S78XS+upsp84YvBveQT68hmM9
o36/zJAUthy9HVzlHz78H2hcW/7Lh4tb8ZcPV86vdqPYfHg7Nr6asTTBV6ObmXtGgSkAVhZ79KL3
pR2kw2fLVvuHT5f+azFasiRpumpqlqGapvobs921+bmRtVKed8EIrfRPL7rGnQP34xMUt3/GiEo9
5QcsmhCwhUwM9xXEQcaz3AyeHkt3YQemd43hhzHw0AMCweDByOJxCBTmQA5BGvADQUfMb2/dLwD3
wBgDPPN7EDJS/F4hTBlz+EqmaGTrhuRQeSGtQJ0e1xGcAPgn02g004/+pS9T5+KbNEFExxH7rBmy
0kBGgzxQdvilRKcwLeCkbruX/3VKxICL/Ie1ov7X4/r7/dJ+05x0782jsc/cLzEkeMTd/ZS9vXN2
GRv+6UD+TYIWMiLiTO4TM+cy4eetsalfoPvvM/ATzcfTVyzRGZ8HSrTx//1pKv+1mXNxim0okmTr
qmX8+vW/rKW6pzR6tankOQ3icfEEtgtuk2twH5SaszmYlEbZ1fbezM9xnwePPhNWpJ0H2oljtCwC
8/inC7L1P13Sb29y3nZXuWq5pHr1kZ0rNg+YEkBWUwKB4FKV/6gCz2Xvtw41ZdqgAEaYvw8bPExW
0vY8rWfklkxuc+Vnc8Emgfl59zZWFnUXFBvno08+HgEJ9sKicb0egjZ56CxL6JL2PpS2bcqnIIXo
TbvorE0gfij3p711v+3rB2ms/ADZSttmsRkoSZvyu1abq99Al0KprB4FSeuCW7YPD2QILh569eq4
4NO/EaDF19lj+MwsEhoiNWh6fgMzvDqTeU+clNJFbzDZraUHZm/71CFJLfe4xQVx9uznl6TZ6vmQ
2tdIcG+5LKid8sbLh1ZyTO3daXUbVxC0G+dipsQoXeNzX/csxho0bDEe6ZN8m6CbSpMO8hiiclXh
QVTtuh1E0wGZBsGBj0QI4iCX+6+f4/a2INIpvg2bBds9/mqT1xCjp5FBp1g4NzguJnQA0chryqn0
HZQtD8KQOAShu6nlmeL5gfGBOG8XF0Rww/qIKOOJCViFDVyHH3Ev0J3dL2uLwHrzdQ+vrRg2OGUn
KyofDnoQVcN+MSjQLBxIUaL47ajlas8YH15wvXX/nBmJApWo+dZ4d3eN8JRpCzPSmdCD7YX/Y9Yi
wbgE29TQPqy4HZOBxZ5TM5OsYJBzR+5KiZiAL00xcvgugxfTl22IF3P//GUhJTEz0UMhEvaQMZ5K
36N/Qj3ci5PzAJ9aOmkMnjxUzdHq3F/dmMjQJrA3QxzhXOwI3shGBJGvDIfUf1Ggxtr4gyUVTCkJ
rMRQfNJ7CK+bWSMFPgMtLAFitLvYoRA1ex6Jf3/HF5/3zfk6BQSdYCqiD4qAFCoMhIDhodlYBiRR
6CTERTXQEdHCUcW+4nVXlh9x2d43o/th/zj4RJmgkj7RY2BozqMKHsNzrMabgRm8vV1oB59oA6nJ
Hgw+jWkACYakLNJhsOcOrUM72ozuGKeTcYFeDxUC5rmkf+KlixFE/+vyZcTPGPCKlGsSxXLSK85T
lqp7G3zimuxLYmbbm9sMO6/qd3uk/w/cb6YXtIYAb3hH05sNO+y47qXbWyMBvK46xKCDpE02/mZA
83aGaZCwF4VRg6tU92jAQ/yzhHzvHipzCwZQ8r9pHzl3IKxGyiYy8ALPx81c9aADFexMIFATzZ+A
m7pvlH55mLPdO+8YSo6i0p4qxNd/MgsEQ6cP827RGXQD9fq8CE2WVBfMCJQPmZHaHhnJa6ND4xIa
7BsYG74ShA/w43R8BFkHU+SiQN5iXA8dRqAxTo4yCuOke8p4cTXHCxeVehMjjMRwQo+ZUMQGmwl6
6jcXpAWFJkMzdJ4Q5f7D50+nr+npxbjbcfG6eLzAvOOfVeexY4+uHl+635A1ItLa+DIbwIVzv2Pa
QiapWIdDJDjFl6Dle3vEBAjuFzUj0jRYG6db9XA/xzSVpm1kB3nK1u/ulEyriGQoXPLObNbfpy+1
Pn+pKwUvSfYpbLke7itp/V0xlZOzSCRRCMGGm0L/ymP8UfQAWaAdnLIyMTI2TZW3gt98GZyIrVov
oT8HbBG3QeEew2JIrqcwbe/jYeTDmfn32duVvCkw1wf/dDtpUfycsOQBdAcpKhitIecJ/UGL3QEJ
xiJp4E5oBOOMGgy/BhX1cJGJgDHw6DrUCUTjwdZAGni96agYvZd2au4RIKAZUSMLOYcaveYqk10q
BtOhhe3lmRUNzhpjaRcZQASMO4mxpuNkAZ++gh1ErXYLwU39Gm7i2N9h5TJldDFhb64yeVRPn3DM
Jx4fIgS8OH6VQPxv7ZWTu6sz6AL8wnU34WZsBxUXhYUVOWV1fJt3/FxIYi/n9nQBHG36cZaU3VQ1
JmPQR8C+N+wPMRLyhDgdtBUYW8Wad/o5LwC0lZFNpMjw+TM3sZjzSH9DTW6x07DJaEwx8jdhZ4GI
zX27u8dEkyKFxjHVQ14ePgOrncAcOms5vaYMlYyXm3UVcw+njHRyB69TzM1ClYoOYbPKweU+z878
QTvva7HQrTVRG1B1wf9obGiQP6GKSue8ACcdmz7At599Y4+POMbZX2IdJNE33QIImFlL/xmCErpv
vKjRB2XsoTSz6vi0vFa+UGyDbWakpWebpNyWkZL0IIvY8Sdwe+pQ9roIX6LpbbJS8OyR+0xksb42
ECrXTI0urBQSoJP8Sx8PzwHnF94EhOK40GtgNhSrMTahVrg7eRP81Mmwe47iy4KoC17fy/AUPIIP
OwbSK6ReRYAVlJOHV+zR0rRlU2x98q4D0DL6INmDYo7KMSSnIOwnlxWQPCaILB7AeYxhCe0dwelF
2XmkZadAHerjOoo1VxyM7N/DavQkYVvIIKv4nZ68V0DG+urjqsMj7oV4pRDYNtnw6jHqmtDspE2C
CMPXhdQMGYk4hC4+4USp/Av6erADNkOF4FaTfZCAOLb6FyvYJORxcArZsMoRAwJ46XmPMUoCwCMJ
uZaJKl1J2JDPMbDTyOC/QGlhmQcykCegpX/HwuoVdGneP/06MZ5TeXleHucPd48A/Q57NdwjkYsQ
nODeZMXg82DzuIN0/Y/3HnHv3QnC2FRQUi9u4QtzGlQ9UT74hDlspxJbI3Tog+u6TDbrMsSaP+qN
0UBzT6Cb0BIhhnj7wKbC1v/pkllEie1ROY4+cGsW3ur6IL5ToUwgwnjpIETpMc4enx+9OSG50Dwp
OYvZRXlw+oRQMj3sSlcnDgOriPkleX0rArVN2u3LpyY191p4i3qjclIDWbU0MB8kX9WqiMthDn48
UqdtYo/Qn/gc31GX3l2Tc1d+uCrn1ReAwRUDPrf3xfT5MWQYmaGnCf5fYQ+79l7IC6yGTfyIGXso
eY+Mkcbvd5/z3L3+3JGKDvHvw9HHcE5BHaF8ASgTG5w54BD7ukNh/hRDBOI8HuPwHH24tTatcIdt
XNZ8E8UJDxWftiUzY5E+3sBUG4QREzXKm/9tbxGXB7ZbZcdxO7/Ptfg4Y+MBPaQY+UTLark5PNAY
dA6fDcKFcu0NlQkBiEokDwksFNfGq8UoGE+cmmRf+gY3/sjGb9AJbmZoBZ5sz5fQOHzeAICG+yIm
2sbKhtBaBBLz6ijyDe/ku4AsULXw+OkOX141LWqfYE+9TdFz7WUx2yGP8h+NvdncOA3wfxee97z1
3I2OkSDF/yYa14dwZ5OvsqsId+wjnggowcO1GHk2mRQpIvBLRknhnrB7Cr8v8+bj0p9d4PILUrpR
/D2JGI0+ELz4G/FNNGbHQebLEeda/vEVqFxOxfk9kfei773g5KQHhadxBIkRSRGPzSZ+xv2RoxQ3
NDMCteRolvuzB46sODfRCJ/wKZXTlZCOVRmTdOiVXdMpVrkcmef+B78KZleAX66o3BTew1tSxS32
SHirneNdhxICVdqAKTlMTx/Ec9g8zmNWRTTgO308QLLId0SKFhVTNqaQ0Ea2TdOV0zpaUwe47cqY
yeGG4IA8vBBSkPtvt40xHoLYYIWBfI15N73LOE+eDtlRFOoj4t+iWwzfIHKZngx9CsHJw2NWnb/b
IeOXwnoIRtG5eyVE7bxzVLQDQr9Cgdon8ixpCHDoDUzfWEMyb7Qlwplnz60oLvHQ1CnWzxmEd2Qw
TngfVKhSLuMzY0DjZvJLSVaWIa/E/evNiBr43KgUygFSkIEC0NHwDdwbbqPcko33jLrhNdCQwH12
LzbzboMCSPEriIJ8bqASrzguuvTKcDOi9Jp9LjlGZJ8j9P6yt8pIGlDnYfTaIeTEuY79u1hTHdLM
8Mg2aOpyZotubGGUazQlBWCE4tfcf8tjrGbGEoMh/8AIM7NJpm/pqsmJTnuzVqMvBUEinJyHWBMj
6pi9K72Q6gQx2HrIcuBQCkqdUHexwgPFnuOx43WoVKgqb27JTyOnrX/nDmd2cl3ovM6Nq6yPQlbO
nnaZLbUVCrbJh6eGEYktwk1wErJ98kdtJMtEt31gPqlZT9zORMMSsXEKMHcswxCWSd5pExx1R+Yl
Y5/mefZ8nV2KzxvRDbgUB1SexAkfqdF5TfxTQC74sEX8c1D7/E5b9Cl6cPQ39AQ9yhxOZR8NjHtT
g03pX3lyPNln1EIbjSUs3H/JhkBpHohMrXHLsn7NAYZWKaNLMaLEr3woukIK95j9nPsI3e6q6TdB
pnHn7vvbGsFE5Xy/k8rJrk7Wv3k36MoI1y9F948XEf3Zg197z2vT24vT1BzonE9apoYyP67JaszP
Go54hgxigSpRfzqb6XMsQ19jE+gYaIbZh5Pe16VZIgDRmlBinJbqWZiv3UktE/k4mH1/P51vKavh
KAcI3AIpY1x1S71DO+e+E+og6wnLYbtrogu5DnQp7JqlOzIZixNJsNrszQYCJMQrhWD+jePOOYWx
Rlp1TpGU87bh2R7r/gkPUKSVCf5g2zPsVlrRO6LLSe8rqEL/6U/6MifNK0B6+cZUPvskkE+WGR9x
6EF1+eJgxsdt2JvU9Cgn18rq1EDo0gs01UeCZw5Pdx8zR3bKXYkuYK3QG/MEGPeILWLyoOMpRdFv
KJyWxGAyM9myGwAN00VY/W5Jou8HJRq9Z+7qfFdcEr1iZD4c9hrApbXlWGTvDZpRG+RxlRKhTF3D
q9Rz5CWzJ/VjaqIvSS5fdboZWSvfHhvTMu6IXR5SCZRfeWK9IgOQ0VdG7Qzsw0svlddCrhphVbt3
mYqSkdrLiFBWQs08pIH3fRP0woIJkDgzuWSnZIAiPA/ZzhRFOAKeJJ/LXBJs2pVhLsYIEBJFcMcI
WYoSHvSNop7TCW58JvWPWb5+Tza86AOG7BmGTMXogzL54AKf6UIarwzqNkB48YYPrv1PE9Z7hSCV
hb4HCqUWssJuD7q+WXyYfqHl3ZqYyC3w7MX/C66UYhdtotp55Xf+3fGlB+dROz8SWdC/yANhjMv3
K6NrGxRm1OqMazunOWT3iwPs5taDI+2HxCwrJQt12NIAZOic+zNDI/HaYYnVEtc+aGdiJA8NyJcE
nEEKLfS2kAFsm92Hzt9XnF62mbzHNtt76xzq8Oc+vUyh2ufzXgwrgXjyeHi/Rkz+tfy1e3/zIqcg
TESNtwija5TJt6uH/fGdDvvcl0iAJmuxi8gqN3r+hu6IGeEFcz0wtoxnSKfBmVaa9v8TFqcUvYux
cVG2XDF9gFJeP9lVVd6ON9ZB7NC0Z+kleGU2J1ZLdYKfnu0J24GXv1MRcL8DZLYwRlq/nDYzZkqt
pbkomYHUgioqZ0ZAOeWUI/qOMbO/N1r+UeXhC+EbQ3ydkJEzesl4wxTFTS++JhXt7gZdmxG0sOkM
OwYMGrBN4IEUIx+eKnShvQRulsViTE7OGpEqgHnpSiOobtRNBjoRbfxY4sSdSYnCYNQlvFPZZKeT
+Lr1rf++bUuDym7WUgZiZdH1L8/0ISFgfw9vm7UEFOvcHsuu+N5cVsUH+W5Fp9ZQEmPWGgB8F+l9
pO2OU4Yq74/0gpypFzWv4VknKEmnyIKYLvcdBLJxi8zPWC+ix4stZ7b/JNufOVZVcwZFvad7Qhzm
nxBwGKDqOWztiW0lwe9lZmFQo7tJHuMN7Kj/n7Mz3VFcSdf1FSF5xv7r2WAzz38QJKQBY2bb4Kvf
T2Qfna6icmdKWy1Vr6q1shwOx/AN73Bjf0mzPFrtRy/3NFH8K/ZGKOZ84IjIfU860cqAWYEKidAq
BudDByPBM9OlfhRkI+LYvtHuHEPFpxgAUAgcjs9lMwRi3ccZlrY+9AVIJ00iOygtuKspgE0hkzl9
Yx1bFOiuvoa3ACc28D3Oa5JjetqQrUKgGV/ON9f2p2LjS2ADqomMNvWECljFMaKU68qvoLh6l12I
vukNfC59nJDjBCLzEJ7zxce5xFS8ApfxTfOJ7IDXQHyIv0APy0Gx93bALlenwUUFs6KvyjykP5cR
JQPPDm9163GEtBwYpZM/HGn0TEfXOWAMRAG5nYEnotwxKWK5cm+d5fraW35I4NX37nXvWhOs5Zbr
Y9+4tAiUcBOi/0h+vHf1jXF3bn2DqI2kPlB6pNAtfWLoXuPYwqgahEFhBednm6762QyByqEG9FgU
EJUWGS1cUn5k3YIC41zdLw7jGqzuiYmtps7eCLLMaR6wo8ffEP2ue6QLISkw1n5NFPFRxbs2AuSN
ljJbplCz8v0AAFZWEIs0P8v+/dZSWIF16qi6i5N9jQd8s2XKTj4HU6fBGELSOPf2L5+856b0kTrJ
ekvyfMhO9VQr8VpuHZUE+zNm2IQvAyCobh/YH4CAbs7+I4WWS7rRcDmDG/R0dtGBcOvsNoB9Abah
JQYIQutcDKfcYp1EF2YXKLWf7l0mtoToDmxsfgZ9s0Dw77SVBlLrutKCCwqRkUr5a3iawYCES3Jt
9MykERe34GZ6oDPkzOVkvaWQ2Q+tU2DiA3QIL6tpnbsKPSq4woP0t/bbt90kVWs2NUk3ZI3mzd/N
v1quzP1uqUljxsRBn68e8ZlImHKaBeiM6taU3CY5f+AcgsVz9z6D1e+ASF36DQ1DbhfATU6OWQPO
9l7rJTnz2a9VtFzcovCFDs3PDSZVtMf/6pTSYFJ1WYYprOqK1nxrn5fnfHko1ZoGzQdgj3SC11N7
H9b4CufbumV1Hpgq64NlCIJeDbKg0SJxpYLqApsIDgMgTOMM9b75cy5v5N7PYzP/6WuLsTGLpqbp
RtNovnUyG6V+lWsxNoMCJgXZm49rTA5tbO8cKkyv/f2upWA/3Xoyf6Js+aCeD2rMM1n3gnmVtpqi
ueIo3n11x5ADUFY8a5IJPfChsS/gZEg/cHxdtlSnkWB81mgN0huhTU13szmdkeUUtY219Dnj8/jP
ykVG6olBFR2pzJOrZGZSD8/8DAPt9v7mpZdQpu6htJUbmviHQE4wFqxG1zWW7foc0/itFFojgg0E
75tzmCs/T5gqFtc/H/O/E2a+tTIPL+t6frxe0rgRGv3XZDmBz3yjP4H+CzXmlmQ5u9ynZdA3MN5j
O+8GFfqksz2RM/evmwnJ7pfiqKQsALRupLMgf6+HX4ap/DZMAen4o6lplg35ejL5rurHfiVVLi22
l7MndOw3BhBu0MnJ+/sAmsGeCjHIT//I7Y1kHy4BlvvzlMnfrv8/puxtv+6tomxKBVNmjrMVjUjM
FVBGkH2LujV1U2p68HNxSf75sYpokv70pd62XfOcatK1kKRxOjEOITzHTwXl+w2tUpmUdhnLQUq5
Jt6X1BY8OTiT71twhEjz2xI30VgfIYb185i074ADf2w3UzR+//gsz92uKjS9ksbXyYlWINWO7pOS
yGmk+k8/pVwRScGrdaFuI7UoaX6o7fv4Pj+0oev4ejuHz5BSh8hjfOonmnsnzgCp6XCgazvKELmL
0tRpce2VHeOX2TTfP6KhIi9gqqqiaUAftC84yB8jP9/lcrk7GNp4onPee0hTtWeLRR2NDkYQrRE1
my1IQoCe2qhXAz9LLJNC8aFbcNc58Biog6rDhndaW02/Jyy/7QbEN2cKZgFk6VyYVSg0I4EwsTU+
yROGQtrj0nfQBoLq3d+EDmj02xj9qCM3nIcos+VWeNOPN0Io4P5yCRpc4tHNz5/sn2X0/uJvWK/j
63KUbzIvjoaujVY9hFwnoa4RBfWgRwQifEhUdL/wEN38hrzS3pFXX2Id/5VQeD9tyqzcXcpSYdYR
LtO89iN1J6LfV7qLZUD2BXx6s8husCAgbNgUybevXu8wqWYg5J/ElFLdwRYd1sHYqTJn2PgF2KG8
Xx9f4zNkUDCaYmiG/HZ9GPuyPmvmS0NMpO2XIw0O8d6LSI57aTAN8JOVYiaGkLuyJ1b485cB2vS2
w9+errydxQVCIaezVDM70Dairn/td/39IElOH2iwgGbRnNdivVjQ2DzbaxUd+BENm5F/74+QARyN
brK9HtlPCpLqYEslcn2lDaKHO92pKcM614TckvKMM9ieD24QxOYMYSN3SnFO4DLv6I2CP86t4NBB
kJMCSmDBe4oR86HP1FkhwxsOAdsjs+X1EesaDq1DAPF9i/CysRY2Q5UAHx/Hfa5JhGM25mBTNZGm
hVX8peLZ799bP8/Y/zJhZlMV0CVZtd7WsgnCLjsemTDhM4q7hkaLQm+PKOWynHVPoi2GQMh4573C
z8dWWBm4wBV+GcT3a+a/g3hDMd6buZJfrgwCkdKkuxgJ2hyFTihZg54H/rozFoLAB9r79i/aN8o7
Duk/C+a/j35brlKzyO/7nSSWqztrfiwUhxzR6x79Uc+Mbegm8RxTUsRwh6cA7ST2+8/v/k+49fcA
OEn/Pv+1e56binh3CruL3J5Jn6I2vrhd7HXDrkt7MdKnYic/qWbbT+5jTtPnw+E35yrKxFJlsea2
MBiJexjVHw4RlqVB54Rhc85BhHjh3CwcupsOrpLII3EcuxQp9F5/CP5wKLTv8DD9khaCqmGKapBr
4jm/AWANEU4ctMZveKZvP7ilNE1kfSTLUt9ikXO1LCVLOmljKXAR1UvuzmjnDnpLmHtUJpAzR1Gr
34w4Pc1fwqCmmM8/Y4Cv+f7j0W+hR33NGVXJo9ELT8DqOXfqkk5EFygYgCsZZezxgA7ANKb/DiSb
An7dOc8sJxjYqB3BqkBd0epVQpRrAtJDWsyQBLUXLtrUrFJ0yT6FCmbqb7h+fl4rX6ja97FbEtcu
qQMgS1VM6x83blo8G4aq77XxzAWTsJgJHWj0Il/4Te0c2WbLpPZ2nwxGFZqmAB79LbXWXu/h0c16
uQLzB5I9oOpCCwNNWiGQhz1IxWf+FGaeP4/W+Dc+kPmI/x3tG2RNvsiyJb9yDdkJYWv2mLWlzn7K
xdw6pt6jCNnsSv8xm824OruHLp8/5n6IQSlOOS6DG9+hbvXiDPKzan8MROcShU6fT0OGHQNh7OAM
i7w/R2n7lyteE1HXvzNNdiZL3GSq+bZKCqlqFOfTUh3TpAeIiZVhQlvdWYAohxJPux+oyELzRtE5
GUS79Yfcn8Ye+qTYdOYoyNXI0TlDrjghQ/vztMrfnViWrGrMLL9wZP+9CCxDTqXUMFQODOR5nHTx
GtMltINmCyHAYREiqb357WJtfhd1/PHQd7im/krTOmPxjamJlUI980PIEgF0Bp8CQg0eLpRPeCy4
/VByolEoPFLg9qJnYQToCTw/oMqBgaJ3ufMNNjs2Lxgm7QMLrjDlC6AIJZraO1Q66Mfpc9BEuwGp
pL+Bg4ELCYiytj66tqX1MSHcBMz1y7mgfncuALskbGmC+9RVsSL+2FsEuvnlaLK3iBwIXHr0bboq
d7q9yIVCb1ePR1NaDr0Diu4qbU77OkQCEaPtnz+v8u3K002pCYZaNa33UsalzNLHsjiKCxkUU3dk
R9teYE89VPUwXmz3fwsoFbGU/1nqvF7TNGRdk5S3CEAy8/NS3X+tJ6EQvki6ypanSlFAFWLSamEF
ATTql7f8dj398dC3G59Q5FYUL13lLdlYXGaEGw+UDwmTHmwcKFmbX/aNJt7j7T2BaBtyU1OVpiF9
IWz/+MCFflw21FJRv6J26l+AsXCzBj1De83HqXc349Kv24BDOhDuUSWhcX/36RZH8CEL5MBTp1wc
wufkNkEmn0JRZz9X7OEQqLnS+WWwX6vtn8Eamm7qpqmYnEJ/r8Z6eT/oh1uhjnexfuo2r27zg74+
EWloukjEDrPg1b2iBbPSB2m/PiUgXXdYO9lPmFapXYGeGkKHd5+71ukSp3XcBDCGT+P2t5T6u9NI
lgC9s1YlDQG8tytJqkvpoS5P6pgz8jrhOPJga4OEoIwfC10xnNqn7mvwyy6Rv9klfz327W6pFCM9
W+oZyqZfgERKri0o4dATA8ihcJyWv5wO/xQsiBp4nqkqVhNukSmJu+6PxbNfpoeXsuc1UfH+CsGW
EffQy6XCzjv+9rRvwqO/nibe/o+n3c7Po2YoPK3utrPPyju53YG80MAznqPx528v992RwzUneAvQ
NgzrK2T643GP+055GelNRROIw3peI5Bz8kEhcCQvuxVbIHewxkIk3oOUCLj3vr5Ct5z/fCTI3+7P
P0bxFhPW2W1/ul2v6lhqpbBuAZY82ikdYAGrgUYDqxKAaOr/xhn7LgP46+3frvqqzIvLrclzsdhd
0Up0cLsO9PDl0VnsZn24+oAJLA8sBnAQDTI4bB1afPL2iXwIXUK0lH6eia/o95/N/8dMvC02tbpV
htG8qFTH0LEBWCa1pODZ0yiZYH/YKVqHaPFKrkDxcLl2ZcjVcP3pOgdZ6b02pwldfE6rGfnS6RD8
PDb526X5x9jelmaaK3WZHpmtmRrvln7a301LQfOCHmlbCFWPq3CHtOrPT/1K299nRJB7TF1RzKau
v32jS0N9VUuTDSGE+UuXIkcJpzHEpA9UyghtoZXWpSQ9QYlkbaEUDlrrlz356xDePop1ssziYDCE
hy/jKFCf3asMIAKs7QmSdDrUqdNpEDI8NAVcNGXP07P38yx8e9b+OQtvc1+8ymOaawzhiXs2bSNn
5lO4dYwNAHMCzmWX5OO3uOjb91YUMg7FgOlnNd8eqj1T5XIsj8o4zYMCOfijja3Bvn3DaKYnbXoy
maadFUGjjx8V6hJX+//w0grxgCkJ7c6m8XYsXK73g1llhCdSgJxcAHpftjNMbTU0NRCGAcDy6EOQ
NqjP9tkh1ujn5+vfhNuyQkuEladqOlWSv89iVSkPSsOqVar7kwn1ffrlIHxO0eLidxel8HEhCZvw
f2Zwi7qy240GSk8Ym55JJAdPe5ARDMPOElBj3Cu8YoiBxhJKRgsZaTJGZ4gstfvzoL8rEv416Lfw
an/IGmV6lbiVEdmazMz+DBA4BZ5ZglxNFIHZsDFcHZhxjLsgjk6EXcJfbSgy2JBu/ubn8fzTnxPX
55+T+JazlLvG43x4EnsJ47gqd2f1R1PAvxGmJfbDCVoeRaDF3AFo9Nie4shSA3inO7wLyVlrexW6
v0Sg34aDlLs4TfiscIbfvuvSrFTLSi2FddVuE+wvRkbmdvf90dbiq9EGAPfKLDkDkP4H7yPAvQt5
WFTWnfSMVctjjCz/5/BIMg0oeIN7wS8L/7tkX9Tj/v8A375hetTyp3bUlbGbJLfNlcQz7yz8ndP9
0mPurpXVCNykvUXNa4oihgfOFzEHBumoY+HmFMRLFNs9HAOHqEHyUYtfRvg1Re+nsiYRDqmKYejy
exWnUVn7x6l+KuOLO3OTW5ws6pEPgg/HyOSjxH3SaS3baCwFQxHP/7ykFHHe/vTwtyuhqWTVea/y
cIWqWZL4kZ9f7cEAIGoc49LkIREfun31l+Pgn86tWMmaIlNAkkWRW3pbNllx0qtnWirjSrjJCP8J
PDv6T7eJFLioKEfB9qravSzuxeBHj3eb43GKHzO7vN3/ZQ1/Bdf/zMEfg3lbIk3lcW5KeqFwLWri
ILLTztn2u6MBQF/krmBGnWRnq3Y+UMXKRt68GHWcIba7dyGdYJW/XZHi3f8Zjso5qUu0hQzzLShv
yNVr+coqhV2OdYftrzUH6kvGNtrB28qdD1E/uw7V8ZDi9i8Z01ef7J+HNyWqIk0Lcen3/H33VIpH
dlAV0YW9D1LEE5pY0jdU7+GjtYrVyXhXhg80ASUApeeJpbiNrpnUmxqyC/Zt1BrowkufWitB1rH9
opTWkgEwGW6VHPy8cPMkTfbAzvcEpehr1VW8r1qPF+gZ4X9auLtVZUYKYkCGq1/9HQU3KD93T2ik
3N0rEFckKoY3FHoR5K0XN1D4iBePYdchEwIrbvZUbH0oR3cYrVxkWCqHP2+Yr7rQPxNE5qJSdG0S
7r+llFZjmd53Fhvm5mtBPeMib852qj0rVtAGY2PQQIZ4R6XZP81PlGOmV2ivC/DKqFANwGA2VuBh
ynN732vdnGr9SEwT+Ntp/Fs94tsoR/tjnG8X/iO9qOaBDtdYKGEgqglwyn1MceWKs2jZ1Vv3iO7n
ASBZET5/4ct/f6L98ey3Q+V8eWWl+eLZareaoNoqZBeXiJIBIw+w/u2l8R2RoyJWnWGZ7Dj7KZ4q
QrQ3wwrl/MsX+zYj0hVwGGJHNVG2eAs9GufbrqpyzlfaAIUQgPN1L6rbCmW2+bFz9pWzu2nGP6+T
r3Xwvk6oe2IGQGeXcvL7oSKl90zPdsr4jOCWgQNASd/l6rBe9AIn26sW5K9QRwUv9XTVkdBEGRyN
4PoKLnogT03Zh8ex2zk5MloY9/TpqCvdBwwrnHVQiTnFKk4xazAGd7DUCLxqEdqR5c6vL94OY5lp
hW7Jy3FYbHqwtGzJ1WI6wJjRgZ9AXglRY2hawFE3qgHC0CmB64LGd8IHarUH/4xTa4XSs3t6BeUZ
y4YSNb7uJ8pNuATW83r482TJ31XPZF23VMOQZV1V38t1B928qKqqyewDCfLbA6Js987YgUMD8LbG
OHs9gNajjPqMToqnmv6HULkbyohTcGqDUFm6R9ecnDYUbzZF2T2C2ovI5oz5BZRLw7GmB8CBTHqS
XnwaPSqo3CAbwz07Rw3TT7fNzknGnRtS0aPbRJsNYnCGSFvm8Wvj0Uk1u37Ghe5cUTS7QkqykheS
FLiL7z0TD8GdV4JBuYcUr4/wwU5u/rGr+zK4z4t72yGx3qoVEdaT0phNPzNaKrrBpl9MzcGygzFP
c3tAam8j4zfV1ur4RgWYaPzuPK7j696X0TSbAzKTaGFawBl7y6YDE/yQD3YwsDBTbMCRgMXSe1a/
RCdficE/6xhtEkBh3EWa9HYbyYV6Tq+vki+jOHK3nB0erRuq/qCRSB33To0aOhj5GiLgnK8GiRyS
+WnzHPHdwOSHuw8Vtak5DETEYxtbdXF3X73X/NR+AVDNoUHAeFNB9rj6ISpkVw/Mj8Yuof37AtCl
upSIb4P87mIC3zkNAE23GnNmEZxf2t0/fvFVkMW59P6uhiIrsmpommp95QN/VHB2e/NVSPpTHld9
Qcsr4fRpLuwFTDo8xKF/XvRf587b0xRycNXgV2Af75XUx/OwXObGTh7rwwNc6VOcrQ6Y6TQ+qon5
ee88Yz2Gtk61Ep3ydta6jw/E1Qgq3qZKD4GCbJxt92O4ipv9VshSQvEMMighDShW+2CfHNfcr9YA
WfnWeSb3QUedqLk+P5cfiI6tzr16BZxlgB3r6DKoYu6CfjZELr3RK9bXKQJcQAzXl7FQ/kJSrMbI
pl2jwB81R8C+9Yt9n+o9NTqhR/XztHxXs0V5iDRZNlSMVN4jkOx5Ue+X000eg9Ce+YvDrHsZHrpR
tIVjNL19IlpHWQZvJKF2lvoWclNKZxP2X+1fQqHvYlSlaSlc8U1FpM7a3/fG83RZHs3sIdMhEsgQ
Vj1l/SaUGz+CjcMt3rr7IncPPITZoNY4K0zIt5g5KoNfIlT5u/Y2iZ+qoRFkYIzydX7+sTLPt9JK
jzmTsouSykuaYReQPS1fy15+ggFHbXqGd9zi2llcov90H8ysDQQhlGOtRWS/0zwlmCWSM5M8zhUH
nAY8Oq4ODkXUN4GNQTODWiI1BkpDJNtpIvFv3cs5HEEXBmZUtwlCG18thgEqx1GK+LyjsBTO7lZ0
qZTRx1TvC3c+bbY8+qsO3lXDRu+z1XLQtO0EiOtiGI5MCiDnneON8ZValZOVoxL3QcqFcTEeQh/H
x9dYh6Hem9x8Tml8OyC5I8swBZh/RHbNEeU4xBvor1+RuVRDLDSrdqMHTaJvRSgLjgwgK2jbodZX
TPsT1yUiPNt0mCGc9sNLMsQTj7i58dtqaX7X3FNMRZySJHFEG28RV0M9m49GIxfrBYIZhDn/7kSj
eloDNVhbKI3gkrtv7+0m0E2c1WDwIlyB2ALu4Xw8QFbwGfFww6BIkoXRxGbDn7Td7NMYh5sjXh3F
+ujoUdMtG0F+71T9iUm2AkTXhvsRXroHaPIo4uAAI5hM+IyCPRBGFFAKgk/j7H7etqck9VGyQwvg
y2jENpOESswqSYgybs7k9IFQC0on7su5Tvx1OQR+hkbODCcCWzl78Bxqn59ITsPRE01C7wmk4rro
Fn1i/fDKNGckTrPHDJ4qySQuBVS5EuH5sLnxNTCjPAQbsZWE0/OM35D7V7bwULu4YITvqEbyL9FV
4YGIOLQmOuKVWOk+Sg9BO+FKhasDBmJyaw48y6aR13cnFUVd/EIufNPLmQtyaPFDSL4VrJymfYnB
glg4PNrqLGk/u8Jm7mwvFndnIdMx38NqTkaoBAmthke3wH/DvX2k08xOfDVeLCotKGzdbc9qH9W/
CRcTi1JpwbDOcIP7PG37fX2DIktoDYvWpDo47XoYYmAo3otR9K0d2BMgAZhm2tA1oRshxp/VEIuZ
9/vLmUGXFisl4W/HYz1BdYTf/2f+ctppF46a8uDAGoVIQ6n6ntndZdCMN+q8/2ni3nznQ+YMZwZc
hYJpu+0UcGVtMVHNeWWTlbVBQp0dZwhQwcMChZPT+YTRb+vUXXYKq6G9AXnRmGISarMMPpcdLbU3
llhA/b0Pi/WEuXu//+z1+5nfn2SIyl7sfrEehlcBgcGrI0Bcd1NhW2pFwk2OoIX11p+IL9IfnnEk
N2xhRIP5qO/NHwhtdpD142eRMFl2sJtt45ByvzgTscTRRZRayX6wWKM4jBztJdQf9sg8+xEC4VJn
c4TzX6CIWBpgy4G34E264TJClTTByvLmC7vIGR4dkay4dylESIYM0qk/JDRQF5g7VLamBYgCHyg0
HS1SxnSi9MFls+6EqYY22c27a+SN7+NlNELrYFuMLVjKrd3DIafb2V0cJQiXjXH71ZotIOcA2L5S
D5y0Q8w6j+NjwHrFxTns68/WA14D27yHkgurWewDtmpX/UgAiGVtn3O4RcMU77Yq4VFjasERTkYS
h+moCecRnl895Q/u9PV32Bjyb/ZbJCHawaMVzHeGHdvbouk97eUcW6wLpEHb/iidntdSXI9DO4eW
W06Ng8cRXaSh1sPwoDEBRVe4UxgUnDZxPK2B2M2z3JnmFDcQxoGC43nQQYOo4W016LqE3k7v2Ma1
G++OlxMgW7vKD2xDTCr9efNme9NHa4rh9HSqQ7SLAVABRF2SbML6XjKlo+1gIE4lyMjUBw+5I6pv
vOj5ao+OfpHZwqLxxV2eiAte3jlTAHPB1oAm6g6WzZi7BwzhjX0TkEbX9oA5OI+zvgpHX12ft3s7
QouhGUZPlOG/7jQUOeAld2tgm9QLmM7dMEJr39BsgLMWPi2wpTGZMIXlWZNqjx11uxcqLd1116L1
ylUIc9plQQFyZz123BmAXCqGx24E0KK0IWrvvZNAbJAj9Hc+va1tiTWhS5GTCBfs6qSAlAJ1z43n
11lMv6+IOvH8oeOrZkYUlADpBsoISgKMairwghALP5b+4BBKcIILA4Vvdb3sjWTqUCxTzFfsBTVn
sJUXf0HfZoFQaRd6pEMc8FDshcFgXpc40jwf/GrSHUVLV1TPwW7W/sKOLiHSBdEgqsZy+0yOqXh4
Bq7pivER9LDri9dXJryjePulG53cNUfWq5/MuhF/ghCH3RuAabcvwyqx/MSnnKE4OJoigOIn68fm
Nuw2TLvbVOz1o4dMSzqYPf1288FR7HETLNbgl48fzWm9pv0Wwc+FV2fXTRv0CmpttJ6Jati/CKeS
pQowG1phdjfHjWKNhhAG1K+k2DmGcGIzg0WCHr3gSIxUd/HyUI9O15xKbDb5IH6FSM0lPKPzKCKk
Jo9Hk4Kjs1vG4iF9kKNnZHzRz9Eh250OHkbAAjWIHy7KboiHIMizNp52t9qT3ewN261pyCM5R9CV
BobJeFXF7l6R/VGFEgH768Cn1Dsk4zpW2A93+zyDfUgNZ5BCPxfbR+vCoqlcb2pHmTfSY/jKAnOe
tdfXjoY7PTsiZcdFz5sQoiHzkDRXpQKpJoVlT5kl/c43Jl4r2w0nwFn97s6toLNrX9A2PnSCnoDW
PcP/hBXFQJngOigiDP3SIoOmw8rCfqxRzPh4dXtHZHTrlz19tp6DYEsOIWSj+NlnyDBussO3PjDq
0tFkO0AGACUh+MhxfND8xtiwkQsI5iuala28O0TLQ3aGZyyeKW/l3NwStqo9w56jH5NoIZbxLeAT
eEp/YgVlgj73UxNT89ac1lc4ZW/EH4cpc7Ud1EEwhdNc2j0cAKZT6ATg7vczzMgPHe3mzh/wAeeF
SyK4WpltvIbsz9cUx+MXasFl0Dp1+CtvS1ciChSbPAD1bwd6P4ZiyC3gx/EH5oENh1QennhHdCZg
h3HKFjoIZtVdL/LBQpVQCPalZM0GFv+TsSjYY1LOPzM98J+g6nCUsfGi18GlVr7zaaMJ+xpAjwcT
FvlsJkeA3RqA5kn2m0Q3hLKTBDx0GPmoULl8GLLho89xo30uOAOxv7EPH0Wghuxas5e22JvRGWl9
GHQeRxFxQCTWhzbfuRFQ8KQeigCl7EUDKkIlhw97KRpxZbqz5Zjm1DoaSWd0KI7DCDPAI1sODHC3
uziNFjwsiqo5i8WG0uixZqJ6LXA6aULBaduYgNSqd57/HHG83Ak5diavjvLSAokikRSvX1RC+Pvy
nYPeMLFcR/ATCjrqMFAEfJLrCqObFOmJIB83EGug/Nu/9bqj5sOmsfeM1/c+Z5rY36Qm6FNUDjai
Ejz/Re7dk1F3obP9c/s4Wiyik89PET6fCSy1F9tZ7EKIVPsGqhcq/xl6YjYjLYjiKoivOXrYXJP2
rVvOC2eSdmY0GPyJ3iumwHWJSNrt2etzRk1ObOauHvp8Xvs1XqdWu7uoJmd7mSY3RBRk+9yH93bu
CzulV1K7zxGHFMdJd5Hs218ARoTGEMTpUqS/3VEsW/ZzJJIJu+OlI6MBM9ZSu2/S4ABXSkBjwvGz
H72R3t5DU+eKEdmXe23GypOaKJY5TnOsDXusskYqrpI9Igx5RZL5wcXGKk2dkeEsEhGKT14YXusi
oORkI4DAe6W01zLc9+hr4WvPIHdo6dM4zZzg2G4s5KNbzYKgx9XJ8duLugZHmDWzbENpyRwPZBAX
f33uD3IcM7bK6NzA6oOdQr3KWYY9uW85H5fQGGHlYScNmZAasDF4xYM/MCLAUug79KQhrht1K7Z9
5NhtfTpK/9/aVbhkaoLsJ6bDvDjtUvXs9eidjr78kOjGcSDuXOqO9sf1I6go+M8Q4UJIzu+x0HB2
5D6MSFGzJKd6C8q4MR0hfJEKVRI7Hw8+HthzopySCysSa0nN1N1XHq2B8Vb3pstuHL+6wdbEu35J
itvA1GA7yhfK9uSPmCJEcuz7XE/YuajD84kJT/jzB6FXLvsNR9zuObUXbuledD14EZt/H2oemlVR
8Bzs0dy342PtzD8GjUEW9Ho9DjFAVBFjJxeTiO3UEMkhVmWzfXQHg+bNGYyyyS1aP918UH/526DV
gYcb0nhhd3FdLYhdUkApyHCv6TsF+mIKtVI8RNkBT1c25Ggtk3Rasac4ADmPpt0zo8FotPZ9ODSv
Fq8odkWE+c7ODzKHTxoQ351W8zgeEL9wYfIlCD2i7m2TcS6dnZFwMWHSKmTC7CcqUUcaT2MuOt98
2b7Pbn7ijAEpeDDKWwMbX4Nu7exHwXTLIwZ7h9MZ2ueLiwW/ksLJ70hl2Cw4AEg1LkqeDLLA1dcn
El9xZj2W8MiD7WXNSt3qUH9wTe0FWFOj9WDMMMQt+57Xew4G0py4lsjQJsRcWS0v7hH9osjQY4p5
pvKhBkGRur3pnAKprRT8hxT23akH/5h+fEd/Cu0hNEv8jnCyVQq7p6HgM/haCKzBWw/X4bYyHxgx
hRzEpLz45sUvv7MLvYc9UCWGy+LUaMjGXhFnPY8HDzgvbWTXnuEHZpI80QKWcFo5YAXJbLLhOHc7
6mejr7eW9uq+d1soO4wfSQbDGx1pLsLch7kccqDdghTAbzdstca7EGa2g75sYwtdAlpzKdwnz9d5
R23FuQYbW2115NVqflrxKVHVg4mUB5fP6QtXNbRNLDTVHGC+INbtT8rLny/7QgseWDrw6c0Zb4Yb
Lo4iGXvB1eNgxiJsnFLRt9HqybeCldMlxBLn4i1HaIkc/zilzHNYw/blL6In3SoCxFXwZrQPD+fO
Fl7OBw0vYO8DzLjc/XiquaiKmL09kxRPjyu+B6XbARlJi/ivr0n2vYtv02fh1k6TFLhqa/vYOrog
VuPW2W2ZUzlpGYoL1eLY4Yfr1hww82lQ4b5DEfg2KSM1zrGm9O8rEuVlQnQJYRa+Ce0BJE8lr9v0
Rwhair1+paMxLYxYU+380Da4MA7ow7Dqly6H78FdzqMbOnEC/cRRQSy2paaViihrSJpFMBOkpjfi
LGgM2OskJFtu2ldvGrzQVLB1mDVoCxf+h3q3H5p/ghDtfgCzf/YzwER0HfC4QYlVCFWBa3AOqIP5
CuVuDHhdzAP7gJtmVa9+ufXO36G0RBxfvGb7Riincznr/6e2Zj5bI3SP1vgtiZiGY48j7hkvR0oj
Op9WitTO0Ybc6mdvpyWFPDTSCY5JT08qh1cXSvYZcjD2k7nHZJYekVA5eblV7qhSREP1ABn5GMKT
z7GIqzsH4D9xOrL6Twu7I+UR3NFWwZjJcKna5VLvkSanUzCF83+/h7fcLT+nnAGobCFIl4qnaTev
wtWAk6BSHeq0dbS/uXojrtBUQMqPIvZlVLzYhqVHeHdGBMeVXsOVrAR3Wi4ogO6dFfX+nrzC9HYF
th15GhYWrLBVdummD080XHpFpORCbuqjIYdIDeDXc6MbjWX03b7xF5zQgUKRGZr0voVvyEKZvqhS
guu4mmj0RKL8pwtNoROqqRaeyKIBefB2N0pKD8CaewxkoPILvIWIW5sVNDtvLLmropGUjKtmfQha
qF1IfkOOLPw3Cvs+LLpj+hXWFooTVKB+WeBP3u7vYV6eEPq4JcPPsJ/JznLQf24PfYhCKpEkbSqq
J5Q00Ryh0r7M7VBZ43PPZlGmIboIeaP9qOY7oqSrFqb0454UN6+SHQKEuAWhqL2Y3oTCHGAqolyH
eiBGEpN7+LnLvEaEl4PwDiFGZiSi1VvgCXMQv6FG1G99Vu2QvYHJaBuZQeIR0yvCHRdv+1lG9dkn
eFV8uEx4tZt6kDXQgwoRvUEwLm0V1NgUSq1UXGg1llFha/LKMPp3NCrJrMzc3hwC3cUQGH7iBLlE
HN8wTDVJtHCm3blZE/Ece7mte8ye7NHMkbEKvbkUABMkA9pLvmfDVuc0yahRUcV7xmi+rmp/hj/u
F1sHbWGeH1eOjMBgvbmTTMpeXUYNfHbuuK7hUDJcDvZuqJbe/zB2ZsuKatu6fiIipIZbqUvFWm+I
4bBAUUFURJ/+fMyrM/PMWHkidqw9Y2TmUKDTe2t/+4tdSWxYX59dAAQxL+xNn0swM1Bpq4USPmzu
dvua9Qm1/U28kT/6c9RBIb+u0Ph4ITQyP6bl/RBje/URLenYvKRRRygu9aP1OHwsnFWwcMXoQnWp
j7CC+Axx7VtcVshogazZkkCB3tZFtriCN4SXx9fX+4+qT8PjD1Ekw/sAFPUBPEi3f79TOKqEmGCq
wcs3XLn01dKBiya/Q+Ijcygavt9kCgY6gn2IDAsRQI/u39ml6eRBp2hpwb399zArR5/tIaNHLgS+
9q5q3UZJz8kXTyLMRrcHDVMm2ZVxT5Ic3xzjunNJMkTDLMTMmEynn2B+dQvnoNUOkSSoV/a+adP6
nfc4XeD9twx5BS9h/22mFmPiKZFHedRYZHiEIWbIO8M5nHu5hz8gVYzhkdHQeWdTFhcg8PWEqe3+
QPFMEGqUWywnCvWe/MK2hjvlkNflpjC+hSpRSoypD2ev/E7uLMEvxrp48fWl+CBVJrvm9+HkvQGm
enHVZ1irTgMyCkBLKssLkLEH/u4Xe7HSQsYh3oI4FWDUo8trnnFiAKe+wgjRANMF6vki3gmxPPRZ
BybcoAXwwIpahQAcp6lc3IAgxAD8MPthf7j+kjKzQOPYMGhQeJXnYWpwNC9etM8N7bNFxzyd3uaH
xkK/u7oN2ZlFuKCrMTFvuiUwAB5ziaBoSzX8EbQhBL4rBQSvto16/sc4YQ68uvIiE3eMo8/FO5i8
M7m1oKspxkm0kIOdul7ssE3D1MiroelYhs4V04Dqs4t1fy8eeCUt2UL6wBVw4UPJt7DP852MzSRo
9bPiqkm+gR3MfNec9lC0OrysmLIdMMmy0ucPBsR4KmNreHEsrHUp+aC4qOTQCpinYIZwGqaES2nD
HxV1NNvMhpg8wF85eRKL6eoDHJeGE53WvC926EGJqao9xOdlbZ+Voc9nkMY2JH+MxcK6xu/Ie525
yMuccrh1MuOIiBRvOIZCVsLOV07oyAxkyVZ0MEHAI16+0eU8HFHO3w8rt6blZWDxmcs+Sx0Q8g3c
+9bsxQvwn/hoDfx8pNP19o19Z73nFDe3IWjLP6pQEDh6DRCewr2AWWME+zqFWDjK0ayHg0fE/I1b
O98AKzU2KqteYsyqYNfPBtxiX2/9A6ZNVP82/5NVS7LAtY+ddZXbshewFpJiGPbOcVBYT1PfrpzF
/WD6duQXG/yxejgrY8GkMYHrtHh9glTKgYVv4FiCnDarRCc7fJg8OuU04yPeQ1/ZTjNzTI42gdX6
UBaAbofvZThNqWDB4QduPQyJ82B1reOWoLWAUMkra5S4E+owala6YCrQ4idGC/cKwvBwSzJ5vAPX
HoY8dfi30AJ7Eidx3VE3LnjDNkxGucjsbo3c1QpeywpDb97fxzABD1kcbW6QjSZqAVrezzxoYyEw
LArMKmIOHs3qWkdi3aYMM44Ltjt4kPVMOvFXr2nSshPrFCLU1kOm0LpqGVQxSKl7LXMP5BXeccvr
GvzDmBPtBE/so8u5+iG8i1t8ONqvZno4ksKN+yPwkJOZs8K7mpDWUjZB6jPxLzRz5T8o/v8aB/5B
gpKa20kd3IgaWBTch4sdJTJAxtWnkTxlV+/TOiKZVFqIw8vaa63+raHo8YgRtH7m0zzNndfSmkq8
BRQUxIwbMx3L979Mlv/6Lf/g4z8LtVSfFd9ytfr2QECfHqBYo/d+9upRr4oaH6n+hHcWIAGCbBP0
OvxbpNmDoJfjW1i38V5wFjAuMmaSHET/H7PV/5eX8a9b+cck/qLJVfGumH6fGmz3kpX6y/a9eU3w
Hejp4aBi3vi3vg6XekJUmORSOfbHFX5eh34mHP1l1qv9B0MTFj3KYU3UZRmewh/MAKhtWv7GbARz
hpUB/1o7YBVWS2iIHRdUgYJ9OZuVfqW7pCyCDtJDXIEjIfOSaEZvWAVk+zAjWMbfjAIXY9txeh8x
z1zxzhx5+dlgp/WGCRtBYDXDO3zs+5Prf1Mt/su14F/X8cd9Nc6mkj80ruPJu8m+uNmyV/bwVGX1
Dx25JJsNB1rp9kGDPYYb/Y3t8Z+3spevG6I0MA3zD0r7R7/k72PTDebJ4u0wzJgB8Xl9cInLrCbY
g20MjZgx8z5cMp5iCtF4xvJs+ZULg3yqcy795Z70z+5PVs4/evp/vhAxWP9+tpfHl4gQBU+dKNm2
o1lvfYtBp8eDs0Jagg+zRoadi93//lj1vz8WtosyMBUDxuC/P7ZphcH1+RYHqLwZnfMoBiTdJDd7
FrQA4rTjrCD8pod7CjVnKSNM1D2gnL4j/A5nE8eDEXP4RNhiQHOwj8uFklLPVA+U6X9Z/fJ/sKQg
xRBDpv2TUTT4Y/U/y6sJs5E7xKOysLWN9R4YffzwlR+4VWFbzlOitMfU7yf/RXA7l/xe74bfjOYc
/vd9U/ol+v88rv/ry/yxhBsjL6q2Y/3Y6Pdhvty/IJtAwiPgxx5y422cTJhAlpazdJYPO5bDNfIM
9gZMHHAW5oQoiKKrrSz739/sv8QaEutZNlVTFDW+4r+faDE4FfVXyPsnSmEO6O++e0i2A1c0rUmJ
lSZgpMf5BbWdwtDqkzEDStDtTrB9/877frb+pn36L04TymwZloqqSCh4/1jdgj64PxT122sNbrAs
aoUEgUFoypY08Dsbx3ILEJJE4+TlajqJ2+VGt1DhpwXw2BfUyZdAEE74Xdk1aSXfv4gX//r1/qDQ
nLvTEZukjzRfKRZRBdtuJIXkbWERXUOVocLQYHkyA6uXvzWNIvPqRPp9MmTwGlSE9gB+vjF8Yb7B
dlXMT4Zb2//7qWr/car/6wb+8VQ/jSi/Ly9u4KVL1dWpsb6z0sEe3TprwzzG63jMqLYVfmAdYYFp
X+dYUsctAQQHYCcaBuAQrGo6+21L2Ip73bTC4l4hGmQ42LHrhjgARE8SkcidTJW4grvEu2/VKYPK
k12uCAH22oSsQe+7vqrDmunmlG6Y+h53sYvo/uVq/+Pt4mpxQUC4hm7tn4Pw/6KdHe+d8s6rJxEo
83NsmsOjPiRFJzgR34wmQ8sGh0RZAKgz+XTfmKvAMZcOV98FygdTZJREhAn299/h4+Qdkwpr+PcY
RvODQX5nvbZSb4uJyyP+MNUDM37lDETWH4d4qBIPOb+hkwXJsZfC0eo5K8fDd3cd/O0U/I+t918X
+QdTm1f3+Lm+uUjuo21OBx7QKhEbIr5m3F4fW3dAUuhZgGqrgWv9GKQ+qn9ZV6ryX84JeBnCO+3F
mQq6mH/vF2JVqreBZojEzVwTZa1lOE+PzMnXp9UnNihPNEcPrpE+PTEvrkLubCrMjqmUPKJ7RIyo
JwYV/xLRBmRRAMNNMYWO1edQnR1zpk/LQ47oc62Ou9/T4bLCnVEnUsYkWkDKCvbMw3H6HZdb0326
l7CXxxqZQsDuQpw+4Mt4EtCZEt5i01fom5VMH2mJlF1T3LVdAzsF3HynfWRIcCKD7YuysiC9RiCV
T3YG/nd68YyNRKaPPmoAUTwabLI456Bbq/tPFxP64R5hP2lOQSKVHrQY/T1+4KEzGsM0OOoiguuD
IlBnQqx4d3yJ8eVK83k3lhJ9JPu4W7NPQB92br5m9XE8fYCK6l6Ct1elJZFTrwNAypd41n5DuU7E
FT+YvBeD7DKrUilTV/ziEP1Ggj0dkDf9043MCQNfcbxaA8J7gg7Q+T55Zy9Mzr+jy1yLnkhMBF8l
CkdCPsrnekJwXwoxrlxGZjIYCDoKuEAmpMCIiUaYYwe1/K7N2fNXCduoRoFwWeaxFAqRkpTbGiaf
EQ6IMmAjSMSUtBHXmIuBStwRd+I50sLoePNOvGVk410jjQAjNCeBSjojqN+khfBZGZZEENetH1Tm
4d3RfZLuPi6kPtxD8MiUDhr2ksSm7PRVw9h0m09gTM5V/7vtx47uOe7Gp0h/OC09i5TxyivZADjF
P8fY1SfveTG+/gi/A0icqwqn4cEYrKpt0TQA2jCCmGK0TLaYctAOUm//bQu6n+POu9OAGyAzFD9k
kREOpGOGD1W8gHBH9E8fviv88pEa8WCyQSys14D9s998yFh7vnrVRCtB4cMolUuT4XdsTgdz9sma
1aPpL40/IOv1tCAdjMt6HAhZG+DoilH7L/+AHVJvcIEdvhUXOiUA24afKng5kwejuPwxv83/ZM+1
NNEmb18AyLqEUqRaLdHfEKVnpHTPECkuPxH9uITh8WCrEfU6vO2h9Svb+5ReXJocF/nBjNTVZ2FC
fS06a7AUdrJbZiQSkvCmx+r0+LVl8p9ANs+MD1ItLBJxbaRaesmEgPTe6WmBNzOgppFoSY9wkt+w
eyVYqGWvBJBX+P0GakwlcZ8/5qeMTK6xDv+uR0qFcYlp9O62f67FNQa1z73B8IpKZzPQh91aoZOb
NvsH4545Xmkjcc2qqH6IXdNJkL1uNWIh2ul5JsYl7y7/DmgInr0StxP1p5py3drkNldqy9jc5tcR
Y6vLSn0N34BeBDc9NlV4D8/jry1MRLg9LrADQna+xnV0m+Qwk5UM1FQM6oA6YgBlh699Gmyfgq9P
qwUZaA5/RuB9/lvuDFDAx4eSUlgpzF7LUBgVU1Cm3DdJoLTUJReu2G/W/31STwdXCAas3sf+y9uE
3KNbMtzeKfg83jNjAZijMc20gXNyjhB2RAqw71BYvMm+3sGnF2fy8kGigT1YEs7lcJx9+YCW8yuT
t+fZYyEsy/2ddKyQrxPo4d01Ioyn8Xe5bkglgwOC905uMT99ze+bfpVP78snwPZ1q66hgAizc2Au
20idmGm3vExJnJifp6d5M4KghPrxQ1G4PjEZW3YjnpQ4FmbK5rP4zB/dkK1n8v35bB/OPbwfcgAY
I8RYIYSwyhW/5y/vtOd2P2ff38rBNp+fbc0a+JynfWI07IpjxkLLy/6cDFLS2nE2loecbRAL7n1a
8jN9sUSNLv5k/Ext/QryAsRZej2i5pM8ei40X0MYQ1rP7gVuBqUWbHtyX5RLDg3+LycEoHLNWbO6
kipS/RiHPjjpnBm+TmZw/PjRec/3WnIddfsbYqsB62lQ2xK2lX71Q8bQr9l5DV8G5t0II27s3hk3
VJck/2lZPzsy1UNCyHWHbDMlUX/xW305D1g+xMe/Ro+luYPoSnpHEcOaNkfUXa2r75hTjI4QQSKS
q7cC+/cl+Y44y+J2WRGfMvCO9JWZTBzXHKRWnuX7CvYxm8ZBv1gIj8zVM36/3PPsOlH9Z1z/ImpM
zxmaHJhjUGe/7yFM2IYib9ESe/ha3MYmgZq7ZgcqeEFav5F236CDV5Vbpv/8ff1AYoCS6Xex+QtJ
48oA88OGxt73OpzjPL1xuJc/WnZOnikhamN9yrPCp/cLhrX97tU3op/LCoiBDo87wXj3qztPho2/
z1EFTrMFkuYVBQ+GEDyRcYB7ePXs7ou/R99IzGnhoeziWWmpwqbM/CAr1nJ0DdXd42EJ8cC7L6QJ
AbwoovoqDIUBBUBKNQQcDEuTVBpYE+aXobPXTMVts7yMvvF5TNjCdysvnyMRWg2KRzhujDQgu6++
sn3Z3eJassBNewGQkJ5twR0QE9VNyQkMmxkSr5AQgzk0ZDSTt38AV4jY/m387C0cdYz7zhFTJ0G1
WNOMwhhNScl9Ii7raQPjWZySeQce6+bzRyouSRTi8ZBlYZckeoTq9pvbfG3iHZMcnPcWwygNb2QM
Hufdkq3gxMEafwlPiNpt2x46ys7ldcu/lQNxWz+stsL4e9jg+Maix5frap8nasr2oG+/MZXMDCIM
R2o5ObMMONKwi42veJtkeULW+96clQeeNk8st78qcyYi9gSowDTwKLhG9xSI8zIWf40JNRMW/NYp
GzCOmWswlkz7RkVdT2Eq5JYCexrlDzwUGGcfj4jmwVCPy+2JlJJvORsgn1g3PYE1rcn7OvmvA3vX
bfz4oVTmv6RUy2DFFUQRJIOzpcyVDZTnxWAir5u4XNQzDKVrRnsqDYsx67ZvEX6NuMQZ4pXKS3Y3
CbYIxmH7i+Ibgl+SPjV54xF0C/jPx30OtZgBOoLFwfoU5+PnlxQfvustEkIjInkjGSRHOhUHI/cx
MgW+2prZOoTmO+XQpMFtnhUK30W0jpPnipu4L2LZr1itYbfUMFyKuex3G9TMENmIONLA7fWeYNe/
4I0FNn9sR2a30KFik6HwDDuyT+gEfwB2Rcak1CVwSqdVN3xhn0uZxkRp0ygWgzsmqozmlA0bgZQ2
TG6WZB3HysB6A6yMyInS6Lv2pK2XtvbCSIG92oJHxI4rG/+UHVBeNq9lsa6hpAtWJ/soCFlzzJxA
XmBwoGq/DAu4AGy1t4COTcrgU/fj3ItTzt/7MuuznlS4fg/ngidfvmuWqn+aIxGsrBtqOA7G9OrJ
Hvfjuf16xaQLjfi9OkKJfJMeE1555xHfdKR6cneuTgtihlu2tDptUOX5taOT7eE8RwUiC4YxBMi8
7AEWSAw1VK9yRc+cQ4joSy+AdLAQBLuPpOClZS90uqCF7o8m2xjhtX1R4Cx3RIQyx5xXXtn/YU+m
+lUJZjnFwjm8cxy1GOe79EoqRVU5l5/x7RHrvQeS9hhVfaV4WR3fvtGFrZHdnpH+iUU9VLpM7jgG
9UT6rAkn0T4UesdFiyiEU+++r58+9/HyFdh/uAp2nddCg5/wlLH6H/j5G4J8P4ciKAX+UkkvPrih
ROgU+1k+CAfdfXg5ZOt4tdHDnJnwMs85e2+28txXPjaO5+U3QYPw+di8nOx57W+JPZ377dyzMLwJ
w5b9R3QQeBy3X1KS4Ju3kTGXZ0yEOQ8pg64L/j+ieI5NNArs2u+BfccmEhbXllUmTil31F32wOWi
Btm4eRphHy/YFy4YjDTwmNVARn4+7Q49yPgaUepde+P9konUoZh/tkplN63fnJ0KaI1asAn4jaSD
BozeYai8rDy5ZPcn/Xntci6p1KaxEDcBJDKFksltgkFG7X8bS7rViO4DUIGlk8GwyD79xNW5V7Yx
f/apBdZ3qu+MDR0inYRqNYiMVSgV/mnRzKSMkVK5ICfY7Kc8xtLIvsF98gkLKBkzRJKyBhRikerA
6Z2n5o6hB9DB7JpWoXx0RAxSV2X6jU6bV+2Q0/ewutqRXXHKNIxXsVzKI3NEcDERst2KSqTXH26Z
OjO3VJbNTzmrw3r/XnJ8d7+cAfucKSVkVMO93z1qrQY2/cCWuISfjkgaF7mBzlaLVCmhnIUTQZVz
jlsq8BfDyuGbVoCMJMyGF+QzPEYU/pszxI6h+FOH5VTZPqB/T4us2kqpCOB8IIX8bsusYLv6UaG/
8rB+4QActzqchfV5c57Alx1Mu0NZ2NroOGYaWi+01ZPlzB74Y6zkZihNz8vz4QXWkBRQJw/WjdO/
JadMCJWoisW05/mNboviZxB/SuvS82gszdWxQ/4ABce3CZQOQK4bBN/98fcV5eTCpaApabmQR4QP
b8EJwA6X5ei7hvZlEB8XIhZ0qOrgVtj1djDevD52vjcp+87BhcIaXn1yn59n8rhiYI40o2ILMmNq
I20DnTA9QuMvZho2fkcOVELRcE2P2VEf+N2fg3b99AbRHV3b+oZLDhs3N8GT6KQqF45L8g/vhSO8
cYvxi5E77NXx1TUXEhuHc113i7t79jS39rSlOfvO71H3qx5tHCgmpNGF9aglPplmJSdIE4U1jH2b
AyYvOM5Fny0nzFk7bhfUxNbB697fts9IiGpoKrtLTBg2bkdP+n7mfdHTFeLrT3WgvHoMP1BBvDoW
VgNwDZHW/by/R8RfS4jqXt51zyue3FNiZqdiZE6UcZkIlk68MlnxxNK/wnIrjosYl4eUlOBDgXPV
LQYDcPEZ0M0hudm4jXEbCPHsc5W72W2NiTdBke2AmSaZlwl5RZcxY+++RJPje8IwdPpJy7S2H+E9
qmNwHJaiXc7NFNrJpOewRG0wmF+jHsXg7ICVN2uo8fsgXHMIiyps3AriRBcB/5D3SYw47dm06+vk
QD3ZSliMedyaw7aMu9kvI1j0a7QokLG2HfXWmHZsV+wHd2/Quq1Efon7Xj6WRHTt8QEQ3047V8e0
XQ5vV50humTR/5NUIrm3EGU6Fw+G/VWGYCBVVJDlrcSyUxwt/hazVyWhRs0nZDx5OrdGY+jFuZLU
mUGuUUWOkwKWgzCM5E/SjOW1psN3g5VxJqsYlV7WzjjvyGAFB7vM+ZXNJzy17sMpSHuAacTeffs1
8RC7OWYgg+QVQbcmYyu7kooTgXydbbAsdli2dZKMWfv8dmbmQqyOvghgfmpEUXCGT4GY4TvS+ehn
l1X2dvpnXcSsimZIulQvFFFniifb2rrzdUDyak6U2Alrk3xGNOX6uqQ/uBI8nRVeFfGGuei5yBig
W0Lnx57jPWfdUnB6JExE2AaDnL+D0ItjfMzMhp/aXe+IB/RCkHcqHegqefnE6BS18SvBx4OYWqwl
yAO8J5yMqmQDFNz9EzYQBGIXzGCwthN4IbcGi67whJ7HMoJDuj9uThkF+1bX8b+m0L/N8hDWVmjO
+DvAgZz6IyXkXBe5l1eCtW5AY8KYlyO+uZcRlfNYW+sTCMtEERpWsSPbe5wfuH1XGqWPd13ivEKd
DkTYA1Siy1uLTKP6p/4+hQR0wNzjLUP+QmLG2/vAOCUdnsF9mbIl+nJwJl26IuL05enEbd52RxxV
KtoRaUJHq9p4llB0JEL6TkR/kHbuM6pnp8yMqkmNU/6ZEpvI2nKLjqros5z8b4xowFPSfMLRJY7u
G7SqcGAzgRyg8WtymYIWpippN6XfR1kXCeFArKd3BH7nauVQ2QAldcjMw3t6pe8F1sDqhv2D828Q
aht5aqT85+ttv3Vbdom3b4fn2SA7LqUDfXLaTdUpzJPSqYH6SiAMkueRW9zsnP0z0zyiyWBhH2m0
ghcZhizu5WNOIvgLRhOXSvf2e00f4WlJalCzUtJT2sS0qKeFlMJdavqJnwr9Tkqu7tk/R1JUjvQ1
Z9jLF3zUnD29r/r5JIVNXOni4yALWpJHu6VR4C3jlRHHkHwKq5nRPgA2vihRFKhbYCFEfGPFt0TN
vGhsXlYae2nSFzIBG4Y+o2VQLHn1wj+awsoVZrVNiq93CVtvsESJpSQK6b+CLy36LRwF5IhH+Yvv
swP215FfjSzSB222eqLd/ed14Pnze9cGUVWYRxjjh1dm5fw0f0nMpfu23hZmAtaVCDzhbZsRxoU8
k3vYRaf5jb4NMccFiuVYWX89Qt72eZCPL7aGDafJB/oP0li7qGYuOXDZSm05LQMzLJjGnydNqoe6
BfBOgtuXNC/YoOzVIvp5UhGd89fe9pn0mgObPHm4LXJr0cNLk4hIHfJ7jVbaGLVOsxQm9+Tq36Ym
ctztgL+xIIK9tvJfY3fZ1n7uEj3Ig376ckqtiZyQKEh+ip9IagR5rFG9lfN6Bm+Gt622wQxIdzUs
qijdB02GuV9Mn9NjRtNFA/EMn1RS0Jrzin+mjFWSR890SN6LiG2Z1FcyEElBujhfRwypRX4L2vDa
H+DFQVPy9X4eo7ov+HqxCC1dFzeMlt+xyt1rInAytMfSjCRBDn2awM1xrkI3C14ejgGTgg3Kfq+/
4RupVFYFGLyxIZF9nuqTh9v517C//RrJ8UfcKChYKUYL9+mTKEmKpErEdRmbzjesKLCJAqdtAwcm
mokv8oy+0YXaIK4yJHTmhKe7Pc7fZKs5D5BPsrM05+FLGQsSS1X9OYSrck0YIXDwOmWIDKsEDuQb
pxdMNLVQ94vREx46+0H/lTglsEJSJ2WMo8b+TXdplU6+Fv1iD7Qjru9LyJqGJ/rKe8gjFBye8MUt
vQGo7LoM2cub2Ah1WEeMHvilz2W5yccYsQCdOOzw6kSesNvPG4fN1zU271C2yUWmbRf04funGGlj
cmDpuiJt3PrMygy+F3/KvISO7mGzLXuYpRD5wYnOhT0jcYKWNjbGpkMseEqjjbT36vDbjLelravk
7pwT8kHtZlkv6YKhEAw8XscAVxAkDwQRufm4nFfzNupsPZDSKtFhNK51JAAmsHBYkwbKxc2odhed
/bDuhBFWPsxK+CtlVu3B5sBvJY+ixJbthyfxUz3K8f3q4UQbJaawbG14g0Bc2JV9iEMTIk3lnpxY
hhxJh+Oh8lvvRKIrUpDtm/BbhhN4HUDD9c9TPqUccvswqaiWp/RLjwf+7H8Wl3HDI2r1TNIdzHeO
wal0urAJhewUlNlpbsSNv78SElzG15WYso6ZaE/eSbvlfrZTM0WIrLGtfiZapjjcbsoP1m8557k+
rEEoj/SZljA5OPpq+nXeURlISBj9TyLTBG7rKaJr5APnJdOkFXHQk3Nll6Gxfo6UeR5SPccEcSdS
yDRsbcxYCzT6YssyUZgBAa/vr4j2QViZ+oweqfTDCLtfcOqkmvN5wWlyRbkrOnqkTADwjhPSeadY
FgFs8HXvzN5AI0CxHxP6uXzDNx2JAEJfcFYQCgXZe6yttd1x/0jOO5nhGqOR/lQh2adGiY63QjeS
1/WYQOcl2NynchU3d7utyOGPAVLr5DuBAUNN4nw+u+x4V1K9nyk6mBYkFQIGT0/7SZs41Tyd4FCm
jkJscNXoQPjMCgpxP7ci4Hx+AxMBc1bsMho4+s4E9P7CaJ+/nGdAAHsgcX4W0KYdxoTco+vw+Lae
HxtdTa+D3d9+FEw/BLQ5PWS3504+6NS2uneMMbqBX/t2jmerQBN6GvIPbdA1Fgrv1ZwmuQ268YuW
mbL6jABvKqWPAYBOQaQeJzWjl1GHlLKxjws9uFGTXtN3SDioi0YizMfN9jKSl3lA78s0cXZWbI7S
iD4Kw/rs23gMENiJv0ETM+JIctjrgiXWwzdneT0lU4qDjkFk98RMSyEMenEOHkP28v7FADHvwWac
boFcQm3cEVPL1rYk7dZuouKQi0BOAH5fR9/fqKOKu8OCyHfqRtjoyDbmzYLVm3wZf5JGi26OSm8o
UUYujLEYarQ1xw3v8hJUi0qOqlC4+RVbQqyXicQMHp1fa9NbBFDM1YAD1ymCj3ONhJEaIMBUyPyF
hwk4aoQfw3pocMe/Ec+G9Fxi/b4ZSma0uYp9mm/vIcDVuXXltDkov+rVQfkcfTEnagnt9ZptmYHB
UjJBIIxaOAJS+KB+A4dD0IrlewyufjxZLw18l3F/zcYPCsgr/rXMVITxVe+IJfDunE6iN0hyhq1V
KsfF/hkzrvwslMUjLWt8A3lpOcx1qqUbocFlrIyPjEuD7yEnJ/hB4i4OAl12ohtaSxlAiOCwwWoe
ZPxHhPOtI7jkUDRBhwL1ZVXp2yHEl+WPv5HVRPxagYQtkfX8nl+Q2vZUuA/pw/iQ1L37Rht9s2Ly
sDsEgAYAPnDJLPeN6YvtkOdY7RvfGMlZSVNsUPL1vQbv9hoBYPzKZJ+OMpZBZvx68YBIEz4Ku3rZ
5eTmGjfrMS+Z1hZo+0DALy5aHZbdx/nGpvt590lf0rgN88Urq6LWNVf0wifacFBEr9jdqDevP/e0
2hhrFSe98RmrErDSZ8jBzdIlh7QDELqsz8yxFecWtaFif73cLxbHOB/JCVcuPwgaBytnPXNKlrHm
vzHJp711TRfCR/r+KRksII7mZn04AslZY+c54QwJ/RdHC9hfgFg203qf7GpYpAYy2qhKSA8PBUem
5ETcTbvufFG3t0NlDM8oO7tQB6ybizNG0B/D/Cx8MfHv35OXC/K5PEXXfjsOVCYanBLgeqcN1RU3
dfJc3nw9ETYqBcc15iVKEAsTOPNy37ZOo11QQM3rZekRcZiIE2OsjCWbVjd5+sdA+tVGHCWR6h0z
kxOb9kux9VCGmwAV36fmkfk3+gQpF7D8Ob35in1bUliyNdZ8cH8K1/4XEyj2sPlgLab10gjgKfnN
ko32eB/qoODbYjvYXQ4PvFSR6189JeB0mEq/xeTp4eVG8aemZnqLCngSmNpMLz9HjrTz1kw6797Y
n9ERCsLzF7sTVpmJ5Vt0Kpz372dn8pHN9kVcbcBsMxWImu+p3JUtOo9fAasZdfk4ctDokzKAr0Kl
OhQnvMqUJhie89e8awIFKSlQUP+T7EqqXEJILKfj5dXLjZ8I4Jjhpga866tT7p4nSw+7sKamfFr3
WJp2zVBDWWvImO85BDJqyIg3r6NzJi0OTh1d9uTRucbLIWZ+cPfHZmtrgLKyrc/bT/BCYsHucgou
Jr5F1oDaUI2pKTl+K3Yu9IwBp3nODTsFfQJ6ICS4xYcvpIi8e4+04k+OMeU+KHlfHd7sav6McorJ
yq7rUL97F9Xbf7oQ/L52WmrENWeoBghFILDpvqD+A0QxjGndvGNhOU+M+nZnwf6y2o+W1lk5UC2b
+Ow8vmbM6dhCKRupCgJj98YhnrNUZHLUe+Cxy1zddiekZnKcP1EYWsbqvrukDeLXLj76L+YtAtlf
eNpQjq3l9BorNfC4x+uKCvmI4IgtEds8BljYqRJt5tVYCfTgh92wg8Yy0D7E4KSJpNn5AMhAA1G9
+WOK8hpbG4YOBIyR2Vf3ykaO4kcXAg69OovDy7xg/uaSAeB8eW0GkTaTk47dbAVub/y+jw5Yv7Q6
35zu45tSYD547p6pIVBbfhofW3oT4nlUm5ZWOPddY9j61X7L8Un7/TwCBXVZ9NwLeGGvrmMdacpz
1TaoaBhX/ogG2KbkwzJRPGZ35tMWDu/pEejARKajzjCTzNGRdNaNo6WxNDM44WvjKkfvjHE1ZplI
EicK5nWF6N0/7oW6v3SNNmKe8OhJY1xF/goGDG92fPeKIbke1LfoLto104dZa0Cc+7wIsh5qEOkU
i133PhsQBACogir7bauHx9Ul+/QkOTLIMTIdBjaF+0LYUHEiuvdeA++rpG8HIPlFbV1zr3y/h8J3
86S1LxzJ7bxPPbwdct3TsWBBkJTCjz9/rRcnEBMwZP2b72LQolsatl4/Zyqc5hkXZagCBB5MwSnJ
OWc0YbWlo1eRAfIDizACgCkzNbuwhYRFN5TiwgO3jh8LZYISqmUrAlDb8SeVSPaz9dzoN6dacah0
CYQWXLU8lVchkamUW6Zfc2YQEkEiO0FzwLy0LbZrPTm4sz7BXcFi1B009ruLCGmW5EXOMHGs4P5f
YIeAawlilkIdWvrRwhWw/oY5mH4oLupU+hXRLc2JWEZWGgxW5/AamTPCk9V5SUCzeLhC8VMcYS6C
fzF0jpEYCfENgICMYPpG5CwFFoRonS9FQqNslfH/Ie09ehtXoy7d/9LjFkAxc9ATZirnNBEk2aKo
wCAxiPz1/bDuBb4qH8Me9KmDQiWbFMP77r32CpfYCV/+BSrns+a6suRdKoKkddYkkjgvw4e0IqCA
b7thIldt0sMzHVXu/mLHh6brEQ6977jFSZhnG9YngQy2CbyLXZ4Pbq8gvC1rCJZ3J3z2ys874A0l
CASMVsAmdqzLUl8rqz0h9pGZGZ52DVKxl6v9Wvc0pb+/uTLVNajzgiq3OIXc0LrVzBjL+zo+ZoQb
8h4feS3v68v6FmSBigkxzM0pDb5f+/mQf+HhCToVbfzqdmlPRNJObG0AzNMrt/tZOYw274MCzvew
k8X+dBnRXLtonldvrzykq4bDHdiUvHZYoI4N776qQcCE6WVw/ZSP+fI1bjigNH0Noo/9SeHLrjt5
lh1zNhP1BMyBnpUZiV+L5qFZ5aNymB/y6Y1wycPVL5dgIFCkwEF1L0KgSU8QDVRYnbN9oE7YTJ6t
i8R71endPqpAOF6WYMjRITxEK+UjOyLvuzIL7XykQLCAQx2LZYBO7Vxv1EUzymGBjV5z0rn7iNCH
CNTaGXZ6epxDRjXwKPhJmOYs/cjlmD9QwBN5D/NynFGPOulGh8R1go3WYmLQQVKOV6W9TloEWRJI
lc9bINPzYbIRWi9IpNB9jhq8ksWNpXYLjfZ95okJu/YL08S7xbr2XuWfybFg2K455bb5AEpr+Vev
Mzxdr6yAxLs05LwDGpMjM9FN6aaZIoPzKniAIqlegXtiaFU0IO3ry+Cvf62DVOjpWFXH7q3gTXez
0hI74yT3bywdHzynSnUI5dUj3UqYhwtDrTzss2nU6e27doUNX8givlJVnxVMm6XH+wpYkZ1H9KSX
WzDNgil3W99fbldjEbYi7lYXLtOdR3ih7RgPH1AM1nqQ6UEDGlk771uv7rj3GpsIns8Kw0YSEt9u
+O7H4kK7zS/l8g4l7zJ7MiW5WMbheXFL2cMqd195xRbVesdwpF0GAafCb8CkPQOUgt0b9w0mh2MU
QQoELaVfV0ygFx06t7vSr4Q+m3YS1INsHBc2gq1CsFSGPWQD61ZRW7rgdIhJjoM6de7yqNamTP9A
/2jcyD3f58zVmaOy9NRgDxBBcaEBBLzgCId5MjIg5MHROpfAqO+a83oPkuP+QCo1ZkhbZUF3Fq1D
PF5mtH+AxonkGwY9cXNkRsWax32rWMimzUEeMPQLXkfUYJL1RpRNyTTvnpS5OEw3KBsCcdq+Xtog
50JDMnP4Pa4N53DVnJ6Dy+QJ33CTcSRC5iHOu829DXYz3q7wcGTdYsirnguWFIh2IOTJqjNPzuDJ
dNmcIyiTQoGxZfDyx7bydXytVSS7feWDQ45hNuYuc4ZRKx3ObZiDDGrh74zEnTFv3WGvp3L8OqT4
sN95f5qHdd8qJzDnnraBiLl7HO4DphyuMKYRuAgtSpPPBdbmY70spun2OVHPcWl2T5w8XEjwVYTK
XVsFnm0/kr67nTv9W2U/HvA0YmD1/vX0mtXIBMZKiq2mU/L/OJ0oPJ4fgC67F/HKe9s4wlDc3FSz
PkOJSrMhxEys/QHbLzYMq053cFk0Lz/Ez4+WRrCkj71hSW0ciJ2J/rPjKZX3LgJFshO6OGbxj+NT
czJJMz9ujLBK1N0ViwsJTGYT86kq/N24wFVaeHF9pRwcpbWnQxcl7ER/DO/14rJDNJwyxcFrhdlQ
1Hte0VzG1bjDhVNTPwXsIla58dQ8uIpBLFjyw30/1sl9cMv9+sKy3hm9pWkp7HBOMFBjd8b5vRc+
p+xU15uvdlzl4TWNXxnj7m0eJ5MKcmg81vVxl7HLox/S6wGoV1PQqBtLV+HeYz8G/LBDVOCQ0I75
kZaGHoxheAn6n+0evnyzRUoCOaBIZXhQroFpOomDWYQB5kldQHcHKyl1qLAbwbockw0GytIwHNQb
3LIelBVUThj+4XS0ua9xAvb3g2YmziHgpxrXDW4unXLcl2avK6YVxkHa8VcyeYSVHU4QeoiIFc7i
IB11V69JEew3dzYxOBZJu81Qmljxu60geDdZeyt+3qFQZoFK9hTLVnKxBYnUEUuHG8y4go0Xtsyh
0wTsY+Uq032ZqzcrNiWT8bYO0IH/HzaFQTHOvWosDNIDX0TZVg+q8b2XzTuJVcwRQiuyCT1MWMdT
g9V+9nb4Z5Ij9p/DEsYiqfXsaDUPG97gezMDT41RWFCN2fsO5Y6hgnibt+1+g+1hx1PHyjC+MHCn
dr84xabZUyY7FFKdaSu2SBbFgA5H4D3BNl5vf8HuGVNyJO4FYzNojc6VOXLALgPtJNctts68dvS5
Oi9O1C3z9GGL1Hd7c396dxyNmhTTIihXs3hGCJaOb2Y5rAbtVoINyc16wqjDpWkur5W2g7QUXlg8
W2bvDB6cmQzUTVhaGt5iE+o2CoXI8KhDuWtXzMzOt4mMCxJIX2k1w2fvfeg2Vj7CiJCtJa7sa2Xr
OZaMMZgEoPuKr8kudskZbjo7YItFuK0HCTbedzs/Z9iKORqPCV4FugUBKNw2h3Sm8Q7Tzr/cGzPW
ymbDeu4dUTsA2MuRbbydsMC7zmlqKt/kjte6cxUCORvyfjzP1HTyCaBfb1U7V8xodfM5bE37huXV
0bY3xs0pfpVuUbpsG+0M+mYTEKZI0/d9XRteUvT2YntDs4lyhmBqAHxhDKNTtTv354p9UYS7rrST
gHvsxPT9H9wxub+fqV0L92Sghql0kEJcS9rL9K78e+VT496n6ez9+UQaLlrFzVJW2QL2TsLycrON
m73HBgulOhq8j8fiudL9gka/HAJwiuiOgEfj03t7/cwVO4QYaviKYeEL8hhQihRwqRQzxl51ks8u
rPhLTvsNp2NE1X9b0Ai78UHtP5cpAAq7OEOX7ZX5WbFmMftZzqN8o9yTtC4JUAR7IDD5mlCXPGME
PSWStMxh3WFsXFg36jd9d/eofS5el0nlC27EGzZhuind5JxREcDHdQCPAWEZJoDx1hMR5hE0mU5b
ThjPVtAP23WWDBKo9syBE4yIIAyIe2xR8s89swVf4lmmIBt9/PyJxFYQ9kX+R+Imycf8wERd+yKa
Scr08coiSVgatEv5ujPKljiX2Aw0X2YQlQFtMU7/e1ftZ2BTod+AHSeuEvxyGt+oWP85jfbvT4dZ
FIev//O/uv/7mmaPgkAXYUn1aAKcHElstV69N67HILYW9iUvxBVN7Ieo3CtPVgNPcuo+jNB24qmQ
gPJr/se39/qvK/NF1RRLl7I0Uk4pd8d1SAhg3Nginlz7vkV5nUu/eOdL314C8nxkg7hiURG+COPe
lzB6vl6iQKjy2y480Ac8k7pmNouxNSXPhVbB76yz5RuvLcSPGQBUhN/ySsB5ggCDLo0JyFj/vcx1
hPGuKC5xBMjW9b6v/RLN8Z3SioxNzlE2RJ4b/cupXp9hfhOfekOEqWIOMaUdj4vhY4psezYzT54T
TlIzC0a93MKPQZ3h5PPz4yJ9I6uTZVLQdKLidVH5o8v++3GJk7rsqO9mudmNE+s4psbGCUYzj/zu
bZ4mYJBoCvGS89bgVfhnkiUejilNAzJkfzmX9g358gb9fS5/LtZf56LdyvyqSHWzRF01F3pv1zAz
dLNvmMh6wGTTOxm4BisO8JlzgpCKr61FBokJK1B3sGc3MXs24PLDPjN/ObVvHuF/Tu2LGjRLSqF+
XJtmuSIlmncZV5wjjnqJZzIO9damg4cFzmJU8lavwT2+Mn+ROsvfPNT/nMGXJ+XRDY1OInNxuvPu
GG2Uq42RGGN8ODvJ5n1lDOWxbJ5OrUC7NcmEW+w8/IsVYLeJDeAIttCwtS0rgXYv5hzcaJCR6/jL
Wf5REv90C78IsnXt2X1lBo+TTfNgHl/YG1+h3bCxm15r6oxQAa90mBhBCNni55v0nYfAP5eofdb/
en4uj1wJ44hLtMKEDdUetnBRS7rpwwrC6thzepjh3dyn94RuDLzADxUHn479i97626ug8J+kSAJ7
XPeLk8DjYSRq/FbqZd9tHxNWndYx2jewrR3AC8YmBN8h+IMYJf1yCb57Tv868ldRdaHo//+Rn7C4
7eExdrtMQLBU9Lwt2QcFdLTz9OO3w8rtCv71tpMF0VW6qEaR4n/ZdMLHK5evulzjAyV4Cg+mgb0I
s5nuGnIuAkpEfQucWUOrjThNrE+cFi1oBZ/dmTcZAD298d5NeUYhPJtC5D7GTy/dld7yXOFxQN/1
W3RWV/9u3fv7jL/sSfukSaryKdXLy+AP5JMdDIhHGsOgN/C3ykyW6VIvVBEdwo2GdWUYY7pH3MLy
Z5AqMyawpGzxa6FHHhDcpOqsbHI8h5yEyTnIqR0zd7wGdY+v9jJHGdvSmGQVgEbc20/7IUzolufH
c3p3S3BzIkadMijH1/EdY9rIj8d0+FvmJNYfBuX4Bf/CeGD3CbschoCrw6NS+uxt6vbxychODa4t
nnZZA/ze4IEPXzYFP3N9VB+7ooVjU5jCA2NaYpue3oL88AqEvdkFe/LqgUQdvIkm4UIcr99nuiLp
Ykk9boiTesDNyccbBE/279PukAp9zdzHZ2jkvzCC2NQMvIS5NjSmMp31TMosMUKDm7nFuFkWc/hY
b+vhhqoX4ZYPT8CjFsnwbUK4j3Ueg3lTBFk8PK0nryL+Mr+8E9o3hZmsECGHlUZX0/Xul8IszBNV
rWuhXkJXL9+MWMwUWz0Y5XN9mQAFkkaDRFf1H9D2ucPMOvEQ3OUuiv9hAt+ymsI81xBjEIhhQzrB
hYr2qPfw0PK1w5rcpGHWt9d5AjkWaTmzQ3yOGEb2xHFnJ48Ld+83o8gCv9wbQzxlwR/rkzTFR/V5
zmuQLCdeGbUln8QNHZQb2j8vCt3u96/n/1yBL69nphNk073xsNMdDHKeTDKGR+9ZOIC01bsRYQJH
w8T3kSHq1TNoTFCkbS/j6xx5GIOdZImVsommwIHoNwV76iNVSvzaC9e5S8geY3wzquw7Q2xzxsDk
/GoVHoz+5Q95G33uJxk6t3tgjMMR2FV0gNWMbRxCMFQvjJgN83nqxO21V3eAPSFZIm/XxZdLHL9C
hy4O+E6/UOO7LYyOySrhqzTpIP7ooMgeYMLRToZ4n6zOlHS++6HNdkfE6F+RpLa6QOyY8P3F/hi5
Dh7dSQ/qLwz0tmeiZRB+sVsS203uv6vh/1zuL2vLXbzr17zp1hR1AqOSqgd3ysHKFL4vpBPggjkF
Zq91Yd+OzneYq7/cb6W1zvjPCehEl0mC0aW7ak/wr43QiMROQ05WjVPCPrXkqTJv5nhjtaj2lZ88
NJ0wqGSU5F0I91M4SejNqfxPdW1VPW0eHbIzcKIylsaNO54Ubn3iisMQEXDygmLnvVzNURx8CkH/
S6YuOAjZD0ZbpzDAT9e/WScGWUGxyTaXVWbrzO73NuJ5qpKoLzrvhdLO8aENEivhJxjB5yRgwC+I
A4QM8Z6FWLcZes7DRWfaZWCPGx18EYVy5pgPGnc/vY2uog26qY3Dw221373OyGydFjh5tShAMgjp
zO/MZMCl1XF+NnYXfEPiGWhLMslckdnui+4L3njsYPLVNZd7RyEsqeO+fJJfDVQi0i+N2bcFnPLX
TflSnXSvFzHdS9yUHILszvBTGnRbmGrwdrS5Nt7vRHjzO+yFePLh10yhaiqOEKi2jLW4o0ylYXZS
qaPClrTgpX7eM4bGUBs2lkAhA0Toh8ffE0C/e5RUwnQF0VAFQxBbE5K/HiW9SjIlujU15uG5e8UG
kWm+O6ScmGjDt9UW4Qd8GX+Levv2Ffr7sF/W7OhZX+7VncOKHqhrZgnWcBFiwqQMJwNisQlidZ7W
3Jr+slQa362Ufx/3y0qpyi9J2l847moz1NzMbI3jnoPaCle1tdlhLWSOiRN29nYbzGEd+ZMK6nwe
8AuZxQmjCvx12oILc/HZ56l9T2YzJhTX8du/cSOpL3hBcHHCAQK+IcyPF5JW6GCLaCG4AHPwTp8W
HmaMCBysYT08Evta0Ma4MP2p+ii12DKtChJkmz/R/5gCZPy2YxJK/J8FRMQuiHIOryBBNb62pXWu
78uyjmh8x9GhWKGZpbNJ7Sx1DVQgN6z1d8M37v4x6SZtg7aH49KGwnSsWeQRmrB3TebRkgUAekhN
x3RRO3hpbuVzHEo/bztIvObkviYvANdzNx63CReQ/2ycNT5TQmVMZ0AtwVf2egyZ7DPL93mKVaXD
xAmnsnyVmof3CEtdazovl3NMpsPxvF1JJXxTIpJ7FHNKgns6xBpUEMx5a0x6faMtZPZtob7CMngA
f1n+BADpdRYVw7qbjcDpMY9xFLgMf16Q/3s1JUGQZUOgIdAkwob/fYeiTpa+9xWecUw1EmSntoLg
Bz+XaW1nvzVg/20TOZaqG4rWJSdO+1MK/PW+PoQ8l4UU65YL7rJj8cBDKhjWotgpa89BaKfb1eKx
xUxl0jtYXB3YZMHHzx9X+m/BxTloosQTROyroH95eYX0bbyiCktBfSeh+Y6rVQTTOuldFU9J4Gjf
zVlHxL/efMRj5n9q1YcWUQzKUTKPGjtRp1pmq4JjXAbd3BKoA8CoATdDxnO/LTTd7n836/ZkFV00
uiJtgvKlV3vKnVuzz/aESpr5Cc+ODXMoJJ9t6tMCGObxyYEz85nYs8RzXQLXSUmFOk12BuYeHnJ3
TPXxqloErYcW1mg6hHZM4AeVu30NrBFyMhOn0gPJcP7FxKT0PTvhn9kaX6b8BZHWHx+bfhoQLIMH
lr36sFsXsF4cgie8gtEyc30fv0oiZDivh7lB1OXjRTrv3sh1x8r251snt5vQv5XDP1dD/WLKJYeX
jlqkXI0alfh+uBnWD3q5LunTzJHNW8MCqK+YrBylI/Tl7QxpQ3B6EOPU4go9ZVUsrrWtuhhe080V
E5Ysaje/Nw/t829w0Td7RHuuhoj7oaH819WskaSyqW9Ge+c20Yh0N79eBp+LQZpZW6u3nCMe+fj4
7dn+b4PNQQ0VnIGfdFVtL+Bf71da5jf5or+74NaY45E9ceQhKfsQf9AuczlYu0jDaaEOlj7RnrN4
aXZh5gq+oE/357slaf+1AKPI6xLWTjAkCb/al7OJhDzWrnkqLldtHircx2EAKlXMXFRImZWOdzyw
ZL7Vnj10xy7qgbF2anWirZ/x7jUjUk+u4TxSIrMf4XlrtXYJpd2c9OlmvIh6gEfuyzwWh465Y5Jr
oj5eoHogfoynoT7sdA9fGAZ+H513f6emfddAP2DdC5/WH+AjayMyyrnM5GFYIicJglbHjtaeKWJ/
0W4D+8oMahlpMcu/dkR1Nr852OQKL7Oc4AEKfNDmQ0Ws1ADarGcFX3slDr0Dqo9JgtVdk4G5UNZ/
GhSX5/OIqym3IXW8NTNFYj5Kc/syPEZ/RqtdZZxoZWwezrZ2a9cRGQss2x6U6VuDdobbFk1IXGht
kgV3RFTWfbQnnWYwUimUTWb075cp8nmCS2OOluVu5KyZI+FkO4j5h0sr3hFu95r0bguyAjCxb51t
8bDFxX1JNJw36jIV7I2QvzgjgsvineUvy1m0Pfihe56XpBAO52FucUpKZL3wzbF8fD3f7nCKT/r7
M/WQ3eQ0za0pvG/rlm9Zvf3GsqYFeTuEAUK3tfoxiXtPr1eMR9WgJzlL1p1zsQ7t+cPFDIWN0By9
HXMQBRM2BC4BPCguwLIKsMRvnZTlo9Aney9EZsUMG3Ycyw5ghlUdNisIMFDfPexxEUl/IO1d4Yd9
Ftftd5gzXCpnwHv+L4/5d++cSAff7p5Kl77q33cuSzuGKFRVd2kw+jFxOSVni7ko6UHQMgMepiEA
IzgsjsFlBiDB0oNNOKbvVrP9dZjx3wpREmRJVQVV0mQNh8x/T6bs3l9RqisCwbwtoz4eV9UU4YLw
AVXYSnvE7eFq3ytyDEPat/6XSyG1e+fXBRqIDYxNknVFVr/UEq+mE1XiRROW9wHuKdVluGDLEixe
3dssaYjp9sgaLHPnNmqNFHqJCrE9dp9b4UBOVOYFhhteppe6T0YFMBW+BL6uO7FboQF8ztPtZdsE
xfLJk3ehC2vtdRpsyz/wXkIZ0GeWQkSZq/l55FyRTwVvojes9zHiHhDWjXIrM90OcWMeZhVM6FD/
LFHJ7hkN49z9UX5cbb7Pk0YYkw/yDJBFBYZh7ReRE30+sLjCmvY1jJyjBrMbm8qwB3bsdu+YrCFg
9mEC7ysrBXvoZVbkdBxVtutP4rTtTyyYyPXoDp/ehTrRWYce6usp6jSnlHxo17IpHd9HTfYU5L2+
MdR5tbZQgKkyK3R+O8t5LFge6g+U+aprIOt5rwhKI2pxokqsCwUVCMywj7Rx9n4IaZ3JImw5jObu
I0yRiCOkopKcF84/dJ2CWwyKQO8TFG1eMfMBcjHjWUHcNENXLAg1ay24V6TyLSAu+9PSM8518Opf
TdLoBfe18Hr6KdzAQK2tu8/L3ouHBUYrr1U0IxHVYyxFgAZw364+4hzBrWojiL10KB+T7atNyTDP
5+dyf7MuU8bKPRx7KpN/JvZJXvFJnS18cYh4HQUyz1DqFEA/7FtUp2OdYc84dqTesl48xuKxu+xM
nsMYeRbhFMwQLyZ+ec0WOfHT1qfdExVawXugDiglkwFEzw5U2nFLiOOj/6E3QUtTPjHgpxzIGXmz
UmBJtcTu+mrehyhwkWfDkct3JFuoPpHldDS6s6/GmZ9rTjP/+QUiwf27F0ghRhnXWE1j+/z3/dVv
T963BqNhFksWttVHa1k5pKJDydPv74a8TuMxmkHEUtZ4POzbsTed9lnZ7CGBCKBg48XFJd2I3VbA
YBzWgjfuMrZjU6RfVFvVQbsmtZavbZxakPHO4CEznJH36DysWWeECcxiMrmbkwgUHDMWc81e00YW
jQ5zQFF/vsTCv8cdfcAHE9gZinU8TC3Bx3aOFB5StKm1Ru3AaTmf9ldtq+OPttsrf0QmyFIwQc3v
1gfbAwpa87fZxncNBuN6RoUKVRfGu/9ev1rNrrEsl8IyPFy2inlddsa3aeqXH9L6Dc3ujQBmvy2D
/YeA2H5kAHuOEs2UZ1AZ8oOcARzvDz/f0+9W5L/PqG1H/irJdLEUlOyO7y5yHLS8gLHwHEn0+2Xt
/a6L+/swXx4crbpXTfTiMBrJebDOurO3xce7L38rwrvtFvJ1jdd4Og2a79bS+8t+J7z3nVvN3rPU
p1ga5tQ2S9yAZsgYNK8DiADvdwZ3OjR/vo7iN3sLDquKIUk4Pwu63r46f13IyyORr0l4q5Y00NIY
hg+PdBs2Cg/Epy0nsXCwbR+7Zjgn7Xf189GVbz71P0f/srE+O3kZPuQroQdnLBA0rCxxKPkTLNeC
xWNczd8Ut9mUfLbQNNUPehKBWC4LM76EsdrIG6mAwliTrC6jNaFtXhKQEEAXYMJrIJegNRGszNWD
evjnM+8K37wT/5z6F5CsNN6vxBA59X7XHW6IAuluPxAZj8dt+OAFrEiefOIMTwELgrQaEkRgv92N
K4GezMJP8hWJu1LayF0n+NwzW58RNMe+t6CEBicRA29wW6gmcNvQ8RwSOObn2KvNJRCo78efpFdf
h7SE8pqQh4qQ39aftrWqKKwp+45J2hoF6siaX/+k7Hz8VhJJ3+DNEqbpGsRVnkrF+ApwJLpUpZHA
mvA2mKXYCBVT/Hgwyhxft/GCdKMy0HDJwbKoR9gt8SfSHLU06DuMHoQ3Fh5lveXLxpkb2icWApO4
i1FEOnz1bo3zxEnsVnvCZxxIAZZznX491FdqT/GxJsDpZ/CcaEe9dCT04IQEHjSbnTHFFOc+aRYi
1mHwfXQ3bJOyIs/o3zzxIDKuo2Fbvj5D8PgjQwckhyz4XRemGNTUyoR8ZIpRHy+/vXknJWsIuJVD
Rcp2yUpOHENytJOE9A6hhVpSiur7icEHx6DlYr4XDULpxob7s6pHrBR4BmC5N23kccQ9RHXK+GWB
4lEnvMp7ro02SxBzWaQoXQutb5z6ER4yLxvtD/O9BsVexxJ050JvhR1B8OTCTTMMkDrAiTCsh9Wn
fg/ote5ZD0Oy542vGoaa1RriUds/WnNqGHHRsgO9cKyjZRl2PpFsx3CD7GvhZmxaWNzt7afsdT4F
gw/TK5CqYGWRDgtKlNQq6OhKIqtPWTx4lOsOrhmh82K1jUed91hLHM5KZg+LYwdy/+LFzPujRjaN
32a4eYEXMhPDoQ71h+BIgCrQs01MrMKx9plhpIHyMbSQ5AhYq5CKgRDdv/idpeFd335VukoK1Rsk
whPXZIglok3CGSOdd2BgqiX25fp0ufalVu4G4zMlfNE1trIAB9JCmVKJhx4R0+rmjnhtdN3BdFvu
/SR47ph5Ckd5Fp0i0obM5umkgOtn1DlBtHmQFcrUAXM4D4dbp4St79K1NbJ5OTBs4pOE4fZesSk/
VzDpSvRTdhigCufdW1doy9FnZggonbfoKss6Dlq7RgYu+A6SHneZSboTpb0wb30QMb0RsZkUTBT/
WCZi/IWDFvFUSGV6DDNiaJNLetbW9GYcqTsZ2ptVz0L+frBHU8Er8fN69g0piddZ7GL/DMwhy90v
y5lxvdyy5pUIS8qi3bhFvZ3d+B64x8b0vMEB8B0ci6zuERGDvyHw3W/W0n8O3m5Sf21Cxj2/pPeC
g7fhsXfysymQnGVMozz3P/4fP2h7Ln8dqyj0riEJD1yMWhsdAqqwUsJWQ3LjwKDWayOpJXs8G6zb
jEDR3p4kLIwIyOg6vfPPp/KHEvJ1z//7mn/Z89NuYUSVwqlsdmCMDBGC2QTUAiwJghPBZT8f7s/Y
5qfDfUE9b5VWFO+MqyxR+A5dlz3IPZIvNDNng0EPlr3VIyXuF3D6z6T9h6N+Zac88zDLY+nP9d5V
yMHxaSZt2qtpwjhiY5Ex9PPn7Krt4/KfQyqipAAR6Ib6h6rz1y1+13J0U4t9syQP94yzLiNq2Xud
UUQDYzHq50az1bpe6pjBUBlzJWYns/HREa/u1orOxowDivy3r072g7w/c7HM2WUA2Ax0XUg1Djv0
MfgM2DlcdC0LG3WODx9tmtq5DTY4jBhvUiX2jSXwxAgIZvsGnuQFny9JQC0tannYW9ZgxDato6ll
C7CWZe++0ue129Kl2vSm27glKxWmbgE6ukSGYloMLHTGvdwc3i1aAAcTGed8pkVrvzsm6G13U9p2
vx0O/nxRvyuEGQkBvLJGaAAh/741r0iMhTCJmyVcgoIripuQD4/6Nrn+gkZ3vxskEMSiGZA2xJYn
+e+RpE4pv5Tuo1lWvTTortk9k90JkGeIQx79xM8f67ujdQVFV6DuSkZXNb58riKqIlXbP8UluwWU
jMkus4gWOuETvkGZ9/PB5G+Q238O9mXp0SMj0bSQg4k1ZoVF7DTuC6kdsaaw3PG3YhB4aGSMLBQK
l1G9028exOc3xAF8U+cXXIEOhdBHS4VgIttcV/HhkbaD7FI2BXQay8tlWL5cNJud96IuR7hns5l1
gn1j6/hpbbX4lw8ktffiy4v2zwf6soC9lextNPeXuKxSS5RdmayFdF7NsGY8dfpEHyEixjWSsCxH
XWFcI/niolPziTQ7ebhgFoSgoKfeXIkwQ9pAUYB64bfn6ZsWoyuoIIikJf2ZHfz7PCn5uy6jkHPU
8cI7REcVE1RqBAsyzB81wlMFgrku4Qb9fLeZJEnf3vD/Obb+pW/uPNObUouJuIziSdcgucTMFxJu
gkP8gbT5C6un60ial087JTNkhDHuC+cuLMY8FfusIzXGjTw26RSR7IjUjEIQ4otoNejCOjWyCxMz
UtXL1pVVrIwFgj3BvkW9V+U//GthXUDW+lBBsj3W5jwIzWcHue2aEurVJ5Ph2mrKMCV5fnRg/uCt
cOPJ+oRl/9rdJ4qNqgYRRNGxIH0NEk+FUI5gV2gzGR4jfaWsQfVrGg8736jWHRVQ98+4CAsWR9lp
M2pwhTTMPgIt0X6oG2rly4PyjOD5wlJEC+e/vON2X8iubp6E9g1xfTIuByXkTWZxtDpObARy4xek
N8f9q+F15rl6bLr2vrYuIR7p7/5b9+6LIrKY3N1gHz3u887bJVyxmw0RVuWnFw5XQv9S8h2nGXZ5
Uf++JwwvbzXZBtDU4pEE+bJzw3hdmVQPh8biRpDr/KbYezxyGNC9TwYeecAK+GSSQSCPslVJ0aCD
Pj8RqkwzzNKQk2MkaRETQ7KelWUWrurVrinaWIILgt0h7x5zX5Z4nFBKZg2HkC4bo7cEU1Gr40tM
0FtGAVECPsaaKiMt2oQ3VLkeLP4zimUUojhV0ps4bUelka2AANyte01sRSNNthQleM2A5glhGDZY
qkVQGfceNEYDDdZQ4e728ALGY2Rt4MfrqKCKI7PLZydf5+4g8McdRknsCMqbL1z8WELVhS6gV7RW
z3aUHN8gv7RE2xoxNLI4YKllifeBGsSGzzOX55iE3KH4IO1Z5vLyjmloMYoQ4XdE19hvm6ynVkNB
cpX7Qq+n9+4p0yePaHqrBtJ9cIcJFNla0b9WJE4zlcL8DlOWAjXc4CLl2J+8Ses2i3vwuoAlCjx4
yDTftkIOypavEetp2NApRpoZJY58rpmlgllno6boJbGtH1SEbHKv27GfnaXUuPJlWGFxRL9wsTHz
2cM00mf32NJ5Dm62Bh9gJqST9+BSOLyvz2RcvdykXgrDrHLupxt8RTBhmgP6mz4+ftePV2zfWD0w
YhDV/gv78Gb90m2DxxySpG7VKJLufwig5EgcaIEtCYlqAU/awkfC1NwdQkIIWtxhLIaCVzLB5Lr1
h60MuwTWpe9rfwNHC0bKocY+OkioUTo+zvK8/xfy39BPeptH0meKhyc41jQuTs+4M3U+0Hh86jMl
2DsY9rt3A4igIVnmPvgTt9dQ8Ux98cjMNMWEDMJqy4rEnvhCdSGNmfFBTplqfMeNuKuY0PtPuzwR
X7uiDlKtltDxRP5PPDtRO1iqoyGYb7DXWzT9oOx/hkOkqAlKgs9PmDMdKi/EOXwg+BqYXg/Bekju
wmYR5BTmzEkA3dHtGcsGpA0aADLXtzTRpnSIR421eA/egYgGCHgenxJoI7N4PQtN4NYWv+2/0bKb
/1/yvO7hMguvlyUPIOYTbmMbl75Y7Ia7C7aZOxXIkGbNjbd5aT33ptA4KFImzDz5rgFV4TpqJ3ne
5DOAwIxne2dMLM2ChPvP1mvHm8xmiwU9wr6nDJim0kHKcH4tZd6/WsAIH08u6211wV8+NwgsyQc7
xhpdFsYZeBCAWjQwAX+ITcN7KyDEYIuJc8CpaW3Kq05okwnlob+xwXLw4KekzM4svrwBpFy6i67f
erWBhl0Eas+rBs7T2l2/HdmUx23raIYTLIICuJkmTg3AUCQ1gDK5L2sHPONywZIlbSURLhbBT4jN
BAf0gHtFJEziB6i08UbB1kyB4LmczYyuc2UuQpk6v+pmxpeyvg0rAjSO5dPL0EJCszSNo9Sxj3gy
tU59iaUlAGDEubj3+a0HEeW5vVjZLJndJ1roNTaMvzSQ8SeKgw1hKzz7OCR1PbHrQXgo7twf7cIi
ZGqkfwRPuM0OCxH8mZH8f0k6syZFtSwK/yIikNlXZsRZ0zR9IbTSBBGRSaZf3x+3ox+6blVWlgnn
7GHttdeyxBMKqJPzAVLrnKbB0jS7kK3ZP1ILUAZ023xdMQHqp8TqzsuA0Fe9Ibr6XNmxC1fsQp3m
7Mpb2e+E7bdQOkYCupX94+fgISx5B97ojvi5pcc5sZaQtCgnsC4kWpxuIjo0qDTW9kNerUhbvMCH
Uxwv1ZJzxjncAM7rpj0ddrWyExCdPa+/T6aHpHrodMbWEeI3OkIoPLIL//OyRIog/jizbxulB0Jy
q+UlHCwiCMLe5hk3vv7Ix2Q89/YS2+im9oOdplt+YFXXYtZFI1IKTouMKQJ0cOynyA/Oxt9k8O+y
Fv6vY/fdFNBM9v0/a52vr6LNIDlydvQUq0zi4yo7JGmWOzDF8Q6miBjbaXRJTCcyXEKoYpLPVM8O
qpCVO7Wy7oLjBhf0/Mx5zF9/rPkWpXVJDf+9npvv/U2x8gcXq4WLDvuAp7nEAUf70ti3t+UtSlhH
OLpR7gvSId5Yh0V3ZNBt+5Mi/owH0qHN/LuAqov4y6GwuhCHz5Pgg6Ki3IkOAhxBGO9nbRKKn+EW
fyp54s+1rSKiMDCHsT7+Hy3DIZy42+dVskX2m4uZIZHMvWKFeVk7Z9d9LY7lFwpG3A8zTeFiok+K
fxTnsP5DupSvRZgsNPjRnV90i2nHUJVgBsu7Rs31Y1WSfemuECPWk9VfAOzGYwpcABTuUWWeEXMd
aN/gEDIiCVac0sESNq7uHl2UrtqQr9YRozP/iZQGFtS46Oe+xdkIbSz0Q4OAmSiiKsRbEOTJazHY
pt/ePkgOQXArNaQCZyg9a7xyCb5kJwZUH1ynHju0xX//FkbK3Jd+mZE0mcuIQZ35vB7JS38f0Jb2
g5MiDhO7MEFIiewtWK9iSyq98vEHyz5T13AtpqRXmvnRQA47EClLWC90TnO/M5M7JdUBAUSWbIrV
bm7viMaYZFSsr/Jo0TJ7MFReNTDT8iV25PUChbzlL8qWN9FvKCjM3e53epbZ8aIO4YV59kRCZhiB
wuunXucKWhY+q/r4fttYWrfO5JRDyWTFHza1Dz5LBeN2h+EeGjajcxX+JvmLaScLgHcy7v79lU1I
6lNK02cmH26qnwBEp+MCoTjyKAL4xIMVonod7tSfk+hBfxqXE6+Fgm4KFZfOO04ETwVFW7v4Vj/o
iLKhBlWUlWlbvbFRjSjUxByFs9otdqodci9WEHIeBFxtxzlzS28Sjz4miXlUvm6SdXlf5xN/lDmZ
ly3bfycMb1ITsifeKsKv/ivkLubuHg8X9iXkECZAqBtNarU/nG2zo93HTKDlSBMfLpunv6HmPvIp
9g8/9iOP+BVGVxvhdBKe7K7IimcOs8jS3BxypaM1ZoyCBrcXrojPuq+ZfUl8Jc2QV0eYP6qfoGcI
jhUD+u1glBVRGTaYdVZUNA7/ixnzc+wr1vG5g5BzSyaYBZI38rIXfsLMzg8xNF7O9pFGhhIA1a/X
ipgBQ8GcRYuVTP6XLCQ+YYomBwkRANSmp8xEScH6mEvegmMAF4/Qt9k0AabaK8HMtpezEIY4P7/9
sFuopAAEVTwU4IzT7SiQFGFBscH+NUnITP/0ZlVeBZPcxGBlxyz+G8XrFgkx4oY2mG7J/dmQjKEw
vNmfhhfDi56C8eZ2URbnsPlhtoPHHfu7uAvkS079Sd2cy9NF+1vh+s6/zpA4sahjJk7CFJwz9zas
JydbbnOwn1v3cS18efun15vByGCY6k/2Ua0w+Mmezu0iWmd72BlWSAxGjHu1Ur42rEPQpVAJahA9
LGlSwSf95zaH9clfe02RlT1w1L9sBKUszasmUhYne4FUYo0Gp4VeJjK71oX2zSzhWDgQHd8nzYPU
9fAvsyMqepRTZ9l++TP7TQ2G9rZmIQQOPXfPgDq5fkuMpuwjZ9dUFtTVrX2pgkt7eDj6jfz1gZ2F
7BmVBwtN6YNM+IZ+mjxswaxHNMQyuCcb96IYHIxNriMqXu5Hm8j40MwVh2iw5DM3rzZr2Svx4+Ad
2RsyKbUWjmNUtpPMC4zdzMb/x0lzS8Y0JdujCIj8Bk4TaEiaR9BaPp7GI2DN6izDV5texiZzj1i7
TAp/wYaRDjc83lMFIOA1ZdSJCsck7oiC335am3SRj56ws2TLaeSm0wH2Pt/APpLFKPHADFsoAiiT
MOPf318I8ln6noPNQsPqueaqoSZrri4X6APBGFFv5m+fBTwVuRfUnyuy/kokSzO4xMfLSaxnOGic
V1jjjHBQgWc/7sE2hYWw257dIvJmf+R3HzuktVpeCP9zjgaiy6xlWRCxOXOSN0xs8OkJIv5ipm7i
yoabFwueyuosesDJ0xxS+YkZQxKquAkdNTutxQ1MbQ6fHKsibBeYUE6cv8ltGzVfdthzn6I+IcwJ
U5oXYrfyUcST971uea35WO3n+/6/g8vnuOg8WQQ8iXyXzXSLGF2iz2d+oze6xO1pueUpxc4DJdfb
ZnM5n+OrtBCtx5490dbfp7lvHIuQ2BBQDF/QgDxEXwYlmgvhwjD3+lqgQEW1RJTNf/oXYlfbYXO/
70ezOmxkm/u5ogNH5XVFXQLNfDMn4XIMVhc5MhHnPuq6ecxc945GJxX3N9E44EO8nZCEooM5Uaib
iLmWlNh8mztx+hgwPOOWHuOPfW/8CJEgS/vZ79sQoYkbWp4UzCPLZAtSNY+OxmfKKAho4WCtUBq/
v7QfQXRA7GqKR9U0buMq86XWxFi9luwu2iCFSEk6qZRQ9rrtnkLQiWdms5OdypQkc3IZga2OrE7w
k/Y2UPF1tGZ/j5drmD/vZYJGiRXNzQE7qGL9+lXc8mUtH3OE/6IDIko1cieOJLjysFGUvVq5qjd/
OVWxRT+K6FwRCygAR3NRaba0bONprHadFyFU3iLG7J0vmIocK2cOYyqtua7BsJHoi2JMF9aZgXTF
Xy1bbDIgjGbMF0W+1jMHQUg64FCuzS1I0CRZoqsuW4GCR8/OyaPLsr8yBLs30FVQE3GKms0HOFfm
V7ND9AJ54RAB5CtcJRMQoLS9lqcD74XJHwOYZxBX9miszbReqiuv+ziz93c0/1WCt+50kd9BLCsA
3emJdIab8neM8wcLE8vqfard7bYKNWRX/Y59RhTUkBgUg4c1L11kcbYGo+oJb5m9zG23RbocmRhT
r8w1Gn2Po2GO14nPuXGGAbsi6OhIm7jCobVnA3UiRpKXiRzL+eZqru64/3HpAndzjr7C82YVTFsj
lf/ksyCAuSWx7oijDKDfbsX9braolpUBzKnY/M1aPxX8GPAePwT1wDWgzZmmcRMrPbWpSPlUI6AE
PwZa6bnsd+laTwgPbNdGj23x2RrMAKwiYvvqgV0NCB3/xh3FvmCKG68vrhyfBkUrAgr0DhbtGM/z
axh3nGaFFSonfVrzPEhdqV3912i8PP7uHTeonhBDY15bwTHgbr69EvZTC5zC5ym/CsMsDuz9fs+/
wTW+2MvDGIj2GnGmkeMIym0CVLU8KfjTLUU6rRI6gHt1W/L/ihQIIVDYBj4rJn5Tw7VgaRbbgiNF
Mi4XCKDtChY2YBFQK1JWpCE5YI0KCAKGfLYbXjQu+fax6J62LBEPkWolo8DF4ou/0LAhuv0gbn3s
b/ARsHNk+v1awdKiLiitjXadmUjq+8T3C5odiIjNbzEuBHDZP5ueDVXh9ICRL+omBZT6D2UyRkMY
dQKPftWfzYshBaTKc3xES3VDblJnqFWiIa1MHxbx5E2+LuE2Z3a5I1vJ/8bfNrVlZHr1bcqY6Kex
wSEA1npsdbJNDRtb2qZtSF+TRUyp7SduYCwMkaXj99Qji1feU/c1st1/eyQLEDf8ILF6RWYo8WU4
A/GiOHxYgydVwxiBQEbPUrlgr5J4fLNQNHzrRBos+HSs4b74F0RYh8f3Ds86gLSsO8HkhKM9qRf2
uvu+55t6r9GYn7urMn6Bb0nqEeaFRBUFT1TY1wWSbmbJiFy14XpiWy+BOKab6LeNzYJnPgax35cr
BgXPa9JaiXKXaYWuEf5ST08ZvfJpK+hW+fOQLjEd15j4mBp+vPFVY3N2TdHTTlkGV0rFLASkdbmy
7sMr6Gu99x6sW7pj3XUj9A5CIH9AR0IZYjtiobBXEfNmB302+cYq90JBDghwguRW9l63f8+tatuU
zpCFjFrQMkdUE5CAwv9fhxfA5pE72RZI8Rl2OPaBd7HM+cYsio3r6by39+4ZCt9xuojR9EYDv7bf
s4AmVbyURhihH5URb7LEa1SIHPbc8Mc3xXW6nwl4Qr08vdoNn30CFWDmtnUQZd8KXRw8DjEBcnxY
j/4KOtgxn1bv6kdFoS5oZfR4DT9+jQ7u81BN6ZL5KdrHPoHFO/RImj9I7ZPoj37u4h0LnxUK5DOk
KQU2FgYNrrySkIEOr2v1XPZcI4W+a0y/WpgcrYGReWwiR65gqII8/gsOGn/tw2+Wb7q55mzQ9SRa
4yTyX6IK1tiq66i+dcPl/d62+GICSL7X525k7AAaIUPqF9wnjNjPcMED7VwYgYjtWdXg4sQClgGz
dlCdobOVd+Emg9uhzZ7mPyiDOHGMSOxsUQLqlpHXKv/e0XdXyeaAKm/7xrsXyX4JxHPOAIJZghlf
2RCdHSSS3WQslTVOHL6/UBZ/rhF9pA8xTPUHVJkV0sxnFKSh0pzYqF81hJJNwxqCsS22o2i6IgFv
m348I/VLujTWBLCNw/kFEcrBQScboXZHiG1ayCpzMxsRuwJjprc9iuGrYE7TeHWDfLfzNA5Zs1DS
Y0zNj68MinvdDmWpPEYvct/SfmDF9/DkP+Flq9cKrVUIKCUEkg/bN5WjiCYPOcPIehj3OY5Wha0q
tPL2c1r5XxTXT4WQFWJNm+e5fW7x/Xu7VOS/j+C1KT524ygBsY/t//sM3WVovIfsGH0wMamYvaAc
K1oCs5KvGZ08LR7SsyY+xEuQHL34Gf7mh7eTrd4wYYCTtuK6A3+mTCamfljnj1/eJ0GFjW+p4HA7
J3D/llb01wcvvJHAcLHhahhUMM+6DcwJuqBPvWfpCdUiWr2uold4LZvmYyBEC6xZ1ho8nx3G0C+3
vKY/Y4jCAcIG2sfsBzyo1TlCeytlcKog+QfOCYVs//LpJaC332f4DZiJsGiWcqiJof41NF6K5Kxf
/jXIqqElA98dGH4OMov8PoCciuq6sE+s5gzfksD6+cq1ADp7h1D+LgZ+3ih/SXsoIvyeLe6hwtFA
alSDiYPMKxxFJAmhfyUM5tCvZp+GBS9ua+3KsBjHaZzFH8BIJ4fMYyRVUel/9jbdUSz55aVk6qUt
+NRjYbV+gmWzskchEEE7fnhexLJWzfmxB3tEDA1akvO+xDv99rgg1c3H9QpmmA97/AG8+KCv4aqX
FscTClDKt/UcMUzrecGoSp3Q/D2T5uEOsFX/gUgWrgpw5UcrFDFZyp8G0OtpbMsoBd+M6FcOwVL/
feBR1dYHGh0wG/HQihHkwCMWU4LnSWChh4dEGCd+bBnrflYIXPBoAY8WRB7jTqDfDoQgZBdcGeFd
cMvW+tCRxm5xpEbNQvrH/lsM1AtEkHgl+4JsGZpbdd6DB0w61bBcQLnMw28Cj0JwSNboP7ShooYX
ORhqS5mEMCt/2Dyh8JNmkTGoPbQd3n84rOFGdUk2w2THotk1cnAhuRK/SwyrfcA7XowxEe4YGWhu
9KMjT8g+x9vT4RuQIvoj0e+5UOQDjgPdD1kwpCTAveDIZqK2M/54RQCOgD7ZeubvRQ4Wo9cYOVSr
kIPc1hC/B1nMtgKLE+vX0xuQsz5n23Yz0IgUFj6YIMqUIPR4hfGjQ/iAii8Ar6a4Lv2k7gfJfxgp
nPt+Kf977ofMHkHTdclP2MKhCsm3/bAFXxycAuIkrQ3cxleKbL+MEzRyoWD3ROrRQj9PXUmfH/Jn
5Can913bkRxVTEPa27xxOZlSoGwG4gyom8dtK0797hUgDl29w0Y16XWqGaeHdhWpfGaQvC386cTV
R1rSlM0pX9ECbGxtWxX+MLfSSYJf/v6g2kRRwtiScTD/dGcyamCIJ9BahQVT0R+kkTXcaYY1QKGE
xuw6vnRYu8kmOBCWRvmVMpWhQ02M383c4qf+6kVMgcpzw4j5jiHsi86avQt8W7TJByE9U3HUiMYC
rdRrfHDnLl36QhFMptQYQsKqkS0MsnpkuJUlq2+z0aYMmAk3tFUU+hH6jNKeJ9ilMT3trfoLwTKt
w2qoP85jh0ulY8Jlils+1GPilaIsWTmwVPWlKHAdfbriW/wwhX2xAQQuDafEgEzRrecaH53j0xGg
dM2DBo+k+jE5R6DIBqIRvpiIrVpfXLEcLG0rjpuXDSGLPnjTS2jpFCE+jit6r0PKPARw7fEFYzQb
7RqADnNJ3ubsJJqGo8YOZhYoYYCAXdol7YY2EDhCOACUG4HiFSWjpA/VWDAVCdeCZEkXhZxDSvNF
w4kP0M9npZ0AelTO0eRqR3ZCHLH5aXEoK71OtRo82el3/QxlZybTEBylXQ+WOFr9uQtFsi57fYze
ZKvZNhQGQcrjBqyc0urcegSAQJ4RsEdamclvRVzlnCLZwJVftAfQZzr9BI2R+gaVObfb8PPFYLr9
m6HY4PRso/xCnJj5Wk7Fr/7L8MH4RtFe3DQhZSNY4e6BXGLpZOI/hZWZ7bgWtxAUlgSTeA0H/DTQ
BaxUl5uKI7F4iFfNw53h/8n4fnLzGHJ3xPnh5TC0x/AQLQa8lSD1DrxPdhIZamh7xu5Lam/MSPBh
Kr1okQTG+kPHxSiJEfsScRiuIkP9Wne4DBE6DziN1vqEfiPSzJqwyWtqNkRXHbnFmct5qqa21GK2
AFPNw6gLO2paA6LDdmAhRABkk/AywVUG3WGPsVzzcSlPcRyjy+W9utgDpTAaGNfaUJENfM8JiSue
XLORoL8Bx0FXZj9w8+nM6lZ6xRZMTh+3uf4lSxZKt8Lvh2ul3aWJJ0wEURgorIXie6I0gEBRgoRc
oNly9B8roADV0SmEyNzs3OdBh9248ItyRYKvDmM+xEHLfoFgcy8HnbLVdKQ8mGtb80uHGvIuAnCw
P+zts7QRaLgzoA9KvBPx+ztiKYFyolvR+bKhMwbasUSLcv5XK/CjILSslTvtdzm3skOPozoyIi1k
9/lCbhz8Bx97lfrgkglmc376H+eRUKNMh+zvwVcWDKpYvEH3lkZYpcbaiL9YbuWsz+EpRfR/hI/1
g3d6nT0cShnxOiAc/d2co13yj1tG/ZDiUuYADwmDjd9WyPilwK7FyrmCEHmfO5yVACKAvN87kQND
EwozxYkVdteaJerTjOOglArO3JWp5th0iw6QvcInfppYIAyOwu9dqS7zYzYzxb8eZ5WAvEil9r4q
UzlKK9TX/HG37r5U1SPO0OsxUQXHhm0yrOs7L0a4ajhGFLU36ouo2FdKkNdeXtrFA+gxvmPqCRNl
AYwwk06dsExhhFwKazyxxCW6uI8xEILzjCcUJxB/IMmUYOP8jTOA1sdKOtQqGsiEEOzWXohBwReC
5KGQVNFOtjnSAgGltHPKmEUxFQE+0ea9p1Wp4BoxL4PlgDyttIGJ9FVjnz5Nk8rR+cwZRJusLmLt
ywolOC0jYcq0gr4Wz8KJfA1ni4sIhoT3RmpyKbXfj402RbNg+oV5mwoDaYFeV2sEj3QhZV6x6W+a
Pd/hKU+hYWzIavBzWtCN2V6mQBYY20AnKqRl57GayFJJtaVFbEAoGD+gtjLzPt4gOJHXf/Ox+oCm
WN5nf/FX3QU0qID2tBQF2wzLmIlBUE8DLc7l9Khqr1sTbq2pwLcklMGW/Ah8JK4CNVteblQcFZh1
om9TL95zzLg4neMt4tKPDt3oWPyfYanZzNK58zPR4t1K1/Y7Qarr36OjX/Jh8CTCj7hNDvPbTGJP
RsDrFbIy07Nz8+91iqkJiUaJm4U8sc/yH5HLCOjniPfkROv2IS6PrHuarEXOFhXUwdf5GTufBt8r
6gt2IsrvpPJUJZhpq6hbNYBUJg7U9VoOMfv4pE4Tqq6Wezy26It0z+Yosh7iE4uzIhzhYvEdOwfh
zTVEtT9ghSOsnBAjsVW0w8ODgcsKgKCZVNhQhHe1k3yGBPEKR4Ar3gQ7LdISqOvQM+KXOALBPCzp
ZycP+lfkNzy3XZFaMw9IddwbKu4LPoQmYX6kkieLEzW6r/7wWukR5aZKRgcTAeyAeXDAokWObKz7
ukvyD5W1mW9sG/TAi2/CV/+dC2EOI99rDumx6cK6WbIAryoWjbZco5DloIst7d5w6QLxFFOhodu8
ouBM0dWycDH9/vAWEkevkRO1GRor+5iESEezU15enFO3tTdQXxzFNpGT7/Qtird23lgRgkZgWbnD
t+HLRGaKKxy/pDMLDIv22N5S/CGZFGbIBCX7T+0AaHKSDeyXcCzmjfOzVQ6ejXkz8QWfGHvR3cAj
xZ3GR+ENYW5tK8pWO3nZZIeEc/acULXMRUIXmJIdj3NCU0WQtut80ySY8PqPzu/oJIh1LPFWFoMj
KJ0r6E8yc25GR+GDJGMVRxieweyPIYP4wfeu3zWhLH09n151aIhasyBngkPdMU6UN2XxQCueL4xO
uDXtsQm2O6+6yS7Cv1deNhEKuAMWTwQdzq8chOv4RKtu/chZGjEr4cjSDMsuCLyyVPUm308l70ai
J1B9wSB0LHgFbEiv3rvZUt3XF5kKYpO3NFjwtr6lrjJV3ao6+8G8xjSEBXLqbzpnw+vrfUy1yPRz
/seYZGhXb4slYjH912Pzd8teOMKYT6qDmSUg74uY8V0Hh7F05q58b8iSCIvceBOvfsWhI2Uod/Q0
DMF56CHS9LSHkMBYwo6RxqOLYnIPlEOy0pz0h7JGPb8N9NptOlZlp+OukeKSSz09rIn09YmtmHln
JSswnRTrLYB2eLavze+pc+DWuHRy3Qo8zmHflMaZroK8vYBHeXntcX7/IP58eOlWIrEz5LzAjerA
WBFwRZozGpOTci2Wyep5fa/fuxwg00IrXz9U/55Anz7ZrXAbt5kU5VrUiygPj5xubLqt2Vl0XriY
0ntRlDyWfHg7oU499/BTEFc/ZMHLgZqDaSlmEWuKaihvgJIBsIylrwqn+2lDLFRtyvrYooRqH644
eDKmwK0Tv3tr1i+jSZqXWDBH5Pwf1yLi3O0bn1fFDjnjTdl93T8KY1fl97UCwvnQCbInRrkUK4dO
X35Se0y+Ddl+aL74PuYCSukFDhzjjQJI4OrQL6LcQXmEFbsAPSqyfuUtqYfxe+OpDx90jDUlrw7e
x4r26jm5yTFpKLQQI50qd0BmuD3dES3uJ/YwUDYgVImSqQ5muRwXM2vxC9OOFwOBQjYXOOy9l9le
gNdQnKJNulYk+5sJoJCz7pf6yT4r6Nz91888nboRmRVwH+hupgH02nnEZKLEubRYF4oy9WbC37VZ
vMrVZD1UrJvc06BCkoDjudf/9QBMw9TEzCeB/Xqpz7zOjjbv5Doj1NJHTg42vXYWqJA+LJ269Xwl
1oj+/8blSn8E0oEKKMLm+kavEImTUZDMOtV8lc8AN8+At4/U0RAB+NZ6l/JwEMyK8F/DOW0+J4qj
MtrPtcUHQi4YUuK+gGhI9vt8PA5YYzGSgHfWLT7qAvXPInXy1u8Fv3y4kerhnTBTzHwXFf7nUHFf
AMeO3eccD+H4keGzgBLa8gU7psqPAVIri6ZfOmshbkNFbyU+wCZm7PBcDEqGTb3VbkLqDQF7XfVv
3LvVul9V4N0cAhdF+NXcG/6JS+3ts/keVVZjjV/04vTbFIaSXZT4FKDlJF9FtlOTPY8V9K6C5Xcf
/AwT3a9Et1IR+3m+bHDTcl2jqKy6xfyAQn56fcqmsJgxPpNgkWJKpQJq/eknpZ4U9d9HhX3Bb5WF
kmmlGaX5hSx57Rzftrk3O8l/vP/nw+GPonmApQCVHd2u10Zr7FaUf4j/c4gTVAlkM+IekAsEV2J4
+QgGjk3D7t1r7E0ZVrjq6pXbLUf2GRtH/eLzvkkfljpD/D4Q67XwcOp00c/vNdsFGIqG7QVjMXZb
T7OVRlXwlVTWu7QV/vJfd5QLt6asXikZbeVRxcfh18jOqgZq9KDiDaTSrd//Gmgr2K1CzmFzG13e
xpM77/2n1qUt/gF6ZF3YS/dP6gMiPx6wXnusOVSr/3loQP7wmsDLztGw0fJQGwK0C8X3dnQhLXAK
zdlxGBxU/TeYGbmkJnBdzY0Djpt0pC1GPIEy0h03YHugPzYLewJOkzyMOxIvSLaU1Uohy7TkFFuQ
fhoRk/FipSYWnn6tKY+MyMzXb51xuvf6Naevefh1kHVfYKgc5c9wKE7iBuNoF4E+3LmWko+UA4Ob
n5bSXvdeP0SLuad9p7Fl+APS/ubTFRS7igMdSzcl4PyJM6uZAKPLB+Kl5Ko/FEE810Jh2jb1kRGc
YbDqYaEyMCPNRP5HKay5BKkAy0nDeuLQsCfZPMP88MaMO2RYozaB8FmIop/HtsFpgymwoWJWo6c5
l/+K0S2gOcytGLug98S/H2MPXDCh2Hl7tCYT8g9ZDO0R9kc7h5YMXkAxqT3wYym+AeiNmOH8LBxE
RAqn2PAVCWfsd4n/iwK4S3bjQ/n90s2XeGw+fvU+SnuAcPDp6bEygj9V+9Gwqh2K9PqT5sHMYHv6
2V17BTrYEYID+J5tFQZr13Jbb+jsXoAQuwdIEmRzDV976xF5mFvw+vIn6umtB6jQyns2PGUMdrBc
MY3BavBnOyer/C6JTsk6yOB/uA7xE01bG6Ij8NUQzhUHxrc2X9MjQ0Sva7MTnbpd5tDk5IWoHKPu
RtVBc2gw+L3SzMz+TZgIjJfEbwCzCI5v9RjDdfwPGpn43rYeqnsD6NB7yAvUtR7Nkv+S/3VA+VQ6
nbRicJRtccypAgbXif3YzlajsQS+ZgcULY8hLEAVU6IXbHUnrS4S7tXiTwbtCGoGZ+s+tfwdz8GM
lwpUn+tATfM6lMRFnONjj1/ka+Y+/ctXYwvRkH1HhHrtK5wkdj0sdd3XquAZ0U3ujJt+JV7NpIXi
16EAblrhAGormQ3ffKTbuUtYguE/YizBr3u+cXPVNsa/CNdF2Sm3vIZOOWXQRkWuT8BLGtEKQxEE
81QSoW5HZwOi7RfihpLhGinSzxGVdrcwBLd9HUSZeYW0VM7N6cmCVIR07hQH8bKY/xBNEg7VPd31
2NrFW/xrsOZwUraz2SlqPYxn2KUfh4lwgE5xvZ0PizKMI+v9XWCx0Zzeuk96U365h5+l+NwrVOgv
x6AppZfOv18aJrdE+daZseU9AkEKtrpkiD2PTMYBUTCdCIPeI7fV2bZiF9dA//HSCU5mBODT8Z7F
ARVEIHyx8ZB67+gu0H256Nd89nCAsKcQ9tk3WsFDsWq4Ty+m9i/HmYwOIXo19TJBTDiz8mibjhs8
SqIDRW3RgE77rxZ/yzh1epauyTejj+nVPPNmnOPZ5GypHCB70Nbqqa/hNX1+AI8xeMTmDygQAdVz
IR/LeCuIfiZ5mYhccf8NXiPAEK3CYob9jgKF8+O2N6olTEi7bXpq+yB7hUkSYF9Uwf0+tC+foFqP
Syqbl+rUwcC6Clv8rIsb8IdODcwzkNdkoTMGmNMw26+fns0PnkaAY7mxxC0VfOgz6WLxMD4V8MA/
CrK3m5cOAl9wF7Kp+mFjBCTANDBh6YMegUAoaIhIzyy98h47wTgm7yBjPwmU6bn6wIcgjYGyILNO
hBo9aIB9SE8gUFQ+/0nyQSgPMehsdkvpxjvr/XTkWyY7SFz2DJ4S6p8gMtZNYnP3q19G98/F7J8C
wf/zVTx+FAa/cOTZCyIHDXaS+hLlrYoXGNTnKpA2OUWjLgV8dI5xA/dHw780lJeD6KsYAy/gRWrJ
KtOcWRIiWCbLJ/RNmaXk3aHETy9g94ZukuFxan26BaaGpOehsvv8TxtcfdVQuQk8CtLc1MYLwwUH
pRi6M+doCyYFJJ9heMwIhSvFZhGTcvUcaX6fIxYeYikklrZUw2K3xw88p5rI50pzU9NvIowPRnYg
HjoNR/gRPGqSNDo8f5+aI2I7w8rIe90PTscJJdkqexg44HMzxrd8J5pFuqUdCDdcnW9jiaYjhnM6
2ycPSFH4mQF0s4kmLSropVDfkYkwX0eyRn/Ha0g+aedEt5+Vj7ORLmy1sAtVGfdn56OTB78wUcO4
qbPnNZxeyBe2NFuwxadoNvOUtvPS+YoRCJG0Z6O5PLBE/6r2EtqR1aRUNp+FI8rPKaNhdZPf3+mx
jCalhxLuZIpct8XomcTGyS5T4pv7plLCMmB0nkccQONmURkgUS4ts1Ev+r/XL8568/tj7lcXkkbe
Hl+IT8wtetQC+nezbn6qf4riLaJb9XRmq5lhD8D452TNE0WaRAZAAGsiRW0QxOz3H4A9NeyYo0Jr
A0jRJMYCfHYtoKKu0A+MHV5OU3j5zHn2C5pMIekAU0z2P+WXh+8dtahAgavtCdY4D5WZC8Hs+VvX
EF9P6WxVCleWG18QyWIPK9SUhO8RC4gjeg7lYl2WR1oCSsmmdAsLNkq0Nxhlaehl5EGpczn3ZUEh
ELxucJLZolpmV3Dy+Qr7Qg2F53+8r+/6EBs+dpBwzBtXgZhq+LPr/B6tBczRUaz/0+dTqfEUDhX8
2xkR2mQEU16x/ynX7Q0SRvPNbE1xgP4EPUh0/3FizMvyBtiP9VbNyS+UOUM7OQXXzZmCOx0nd8VH
5FKTUkgl5FBAajawsDoavfRpNwKrCG5trJn3GJf4j8kxXMlYcCg8CC+YC4TC7C5ij5HAe6FJcZgN
tbmrqLs34t2gSFgFsxjxQd4NPDe12FgYY/99S+loOqv/J03TS+Y1TOiYckt2/gPcBBFm7ma4EWcW
qbJlfRnnyZlTzuBRmPUR0X3OvfZcolHNilNrd4eJH9fZvK/+0mprqXSi1h2K4Jlb2SxI6jtWnP0b
Yl5drZ7aX9ea2N5+5rc3yQSxSQV2FTsDYyA9D32xa2M7yZdttp89lp2K17gOywFFH9kRRU9HYt/4
qs7Sy5eZk+s+wxseBKQFLoRqXIGoxg24L1hyUu64US8G/aKXL3l1RXEUGV9KABY7ftFgngFCNaFw
Gxwm0y8D3DW2H9lBhBwiLpKJp4N8RO0WCXplGB/njlER8hKzFRa8EbggPPf3zItg7lAqpN8tCpCI
u9MKzGy1DKggDQpMYPWkIwNPqO+b+6LDB7Iho49n9R/8BIG90iu58wkmKPyTH9MsYl9/d/kZzR/Y
2j3V0P3N+LN2WPmjljW89GWpXQgnZFgYe3HZMnRjP8qt9oZiUV7wXJ+/LSW5suHcv//YgejsEodo
OI+K0/6JR1Vdx8yPD/hONp/pRT50PzcYxIG6A/kmp6i01fh/HJ3XbuNWEIafiAB7uRW7erNk+4aw
tDY7xSKx6OnzMQiwQBZOLLHMmfnbbAQNWZzDpyHVfHJY1AmumorbfvviA1AAwb4euyfYHA8PgxCW
f0bBBG9lKJUBK4bZ5od2J7pHKG+daFuxBfRkxSTUqZ/MHrQuRfp0YGaZ7RSDE4AwfOmXtbyNcWL1
I0ErD09hgYE1B1eyZC6VYXUpLeYuz9csEUtPwpkIt4kPLSykn+Ga8L6onxGFjOcLAgJmfd7pWN+t
1OGW9M3Z/BYfriaEWIAf+SEqA8bzzAhV8jPoINqlWf3y8j6rHbossbbL/PBIveFGT5BPd348/WOb
WANaBjdDQFyyFm99tmfg7oFYOhs/oPz/w8DMRtbOhqczpWdDXR9ddVzR0HZVwFudPcDCHhQnCTkl
oiCnvkdk3tBH8TJLRoDIQCIdiI/LpXhxhFbbnIgf8xNblQj/CBrHKu9L/76O+boyQ8xD+GU4kB9c
ZTMoj5CiaNZQLpJqVtuP8lTSeXnAnZg8R5Tih2K90hptMRS/guD02c3ArywAO9KBYHBEl3bAuyHc
pXTLd3resXaEPepiTr/Yz4i/YHER61JaG3BX+hezrXKtKKAjNudYheTgHRhodgcf/+Yz5CVgfGk/
h7+cPcAMnRhAzTA6DWYofzJEMH5l+3qMfXbPEI3APDstnwgRWs2Ruu9uN/dn5wFOVtsqI4tMed03
JYxL6/fJMpVv1uTXyobdcvQVaeuUZ9Pym5TuvPniJvEWpcATmFtPReOBESTxtSUVQVXtpFw9/vVM
uvwu/7UffwrWf7APOKUc7fNk7gxo39BRKgcSCzqHULhj/vSto3rOLoI/MqBdlXM5LUzWfe87yS18
c9g+RCoEYZI67TbbISEU5T3/OoIOfqfsry89lWdoVyPXI6KByusCy/FXuRetpnjb+095U8yS6DuX
QuHdfLoGf87xAyedbVIaAPySd48uqJiOE9JYyaAkO+mmRmAMHcbv5OfnxXxBM5EozCkTtkjr6Gmg
Dft1Bt/HLbngDa1Y80L7c327xc9onWqOEAKlCVHyuOZsUzC8Z3qWJFcqDgn8ExVMrH8UBGDfVR1C
nIxqYMTr5sPKd2mxYkn6g5HucdCHk8oZajT3mu7/rwKkfi6zYyTDADnwqk95CQgBR9oKa3q/d0sG
Mdvl3lDo0YwwGgcKVZFdO4Rh2jLHGgzjcyg4wKDjH06Retr7qOKsqhibwDLabXTF1cJZ36xGlnW3
2wlS+daOfGTawW39mw+/CuWHlFOU7xTj97K7ycMasE7G67xgmJgAEXjS+ghC5d6zqxFhC56kfXXp
vjJ9mak+KssMTzqEnflAA46ryTgbnCgzj/BP+KEyRSdJPnRmIEc/+RenZaptZvyP8K7rMIsTUDN7
skiyPKT7AtvYh3nMJfeReEA6WfqvUYMHg3eypoLHd4xNzdMenifJclUrpPY+Ue6gb/BYLAnKguOQ
mZl9g0OY6mCzKPN0OFEqNJ3F57g3hlUl7vv6zO+nsMtYHIaLiTMq32tweBmRMB34Q7LVxIhJZtk0
O8bd6kErWHiG4rOzhC5JQ3IunzTFfxCDPy6Hx8eRvyUwivP26zApYaZjZmFLekA+4vxiooE3/sZ2
z7ivIZ52H2H/rYqLF4nHV4kt6hal6hgd2hdaARfkLKu/BdGrxmWaeiOZWNnFEP7U/NwPKLs4QU1s
8f+M/F8hdE5N2ZPaPzM75u/On6aVbN3q9p/AluCExkz2eXcpZDn4E2K78vSQWIZLfAE5VyOLf71W
ORMskvYI3zyJNIr3Y9WlPxxvKfi4YjgapIPBSWf5Gsw8da4yPkVWjNNe68rfJJiu8jpmxmoqvAo1
ylpmIla+JNCPXD+SLbnQxX07y1Wp+iWvf++yPVMAEG824gRVpn/KaFSH8Wq9Q3Lm7SF6+zVxZbHE
kdLdTGxPw0p9Em1bH56RG+Ey1VEn/i8y4n2OLzgUMmOWuLQ3GCA4o1PzO7vEBPc857krVCaRYAe/
vrSXCeqiahcC6qifYc+Ex4KZpe7JiwPE4RGWfF+R47P6p28mH7kOzAbZMa4WJr7h/C1dGmhHnrll
IlYdHQJm3nDFb/QLfwhaqlXupN78T2V/EBUrkPPAppSvcdUTN2T+iz/yDU3Jgph4NShPmdvaa1zc
0mr6rdnrlXiqo+/aC0cyjTDM2/YNJ89k+wbnxhaeOxgdYCaZ92AF7dHXlt3+uYEeFdGbYl2ulznd
XfT5BiEk/NoK05/nndhAjHFY7JoYnzrXCiHV5SFsLY/6AgrSvT9lnkh1C/PZ/JqscWt9ESaFVS58
DwGFLV5JyM6Uto2x0n+H5hAqqde1sKpobKoTwKN2e0wsAgiao/mDSOfF1SHhT7iosf1M/HHWM8O3
rUd6YBUpJ/pGb7whBeQ7Je/1JHsQ0QiyH5A6HCAvtq6iK+gOCICG+mjhAr2pH/qy++t+0IN/ZjsI
h8cHAo5/5Za1ZCtOWM76d+LGrT0zZAl981x5WzVQBk/S57+fAP4OtJi5iVFrBgxpG2Eq3+dEoPST
14HeLMjZ9sqfb7v5G2NmCTdmMzorcjW3nlYRS8M86YY4Q36sI7wIaiCiZtRwbYM4cClZhK0r18fH
C9m84ZYqh5CX6qhLodp9iwCpfkEjRnxLfCyLkJ8GL+pW6EuabxxwhExgHuyYePLNrOsh+/D3zXyo
Adq78uRLdfgUmTvdpPJG6YgTcNEckcxocFNkkXNnsFPF2F/061wIMHE8nrTVyNG9bF6SgTUMx43P
VMNpJqkhV1on3u9HJWx4Zw1eRl3AbnJIPx7jdozcgo3CeVBXvgDcKS9e4UPYGc2F7bwG8sFjrzkJ
nqaZI3Fe6EM5SUMUdktFdfKdMdrvH/P/jrQdgySeIWX5EVi/4lpk83Nx1a3QZIcy1x3yZ2P85eo6
28aJozvZDqXtP4YgYy/j+ImDevgC6h5Z1+saXCLmDyl3wEpIbMfxJI7XzgjKcaUdxH8Jsb6yV38D
UE3rtrETzSuBfeg9+LCc6dlamomYln77AlfG2uV+UyEKNYHsIGyO7RFw9rmGIrTo3Xu7bn+m1J3W
GkdfzvO9GDC+Y2BdKRi1Soc2/1Haz78Uui+x8XN1nH8mqJFT/b0aB7yRr3MrYcE5VMEvHK6kgD58
wWQogMfK6XearbOfmU0qvFJ1x/rO6856IxSN5MXn31rkGkxpvBP/CFYqsYGRY9eGOn92AZ/x3ezh
mxRUIwttKeUk5/yUGr/W1pmJWG02h7r4w7/kfa5/xcTr8GV3ewn7GqSbZwknq1wC70XqTsIhP7MO
SQzEBfCzkDFDfJv3dxZyi7mC061GAGtdpitQr/FHw4LjYJj23P0y+kCfrttl7zGyvxh20kBTPIP4
bVIVUDjfQSZazRNEH+Soog0gAo0x+Quo38BMKDKAexBNDWsX3iv6Oo6n2Z/FlUAH+mN0nvypkJXS
OInpVA9kleyAMvsV0hYmqx7Q4R2I+hzdKRqIhIMKg4tbPNfAqOa8IxfMVg46wJUrcuFs9ep2vbWK
+1D8pyITMIdPrvnAJJmt9dNo0Li4TWG30w4hBcfm8/2tENosXkWaIZ54YpOuGQqJp60d2udRNXcR
dnhCL7r942UjSylONKtgJlWxFKRN3Xnm+okD7QCPyWb3vEeB4FmHcvIWyrLB+NceXv0SatlqL1XC
QoUfntQOvIpvmbpNtXxv1ShUUEZu36ot/8w4/T75LfCwgIz8YqjTga4XabLtUztr7QIdkAZHNOkh
ZvkYxPAZPEqkZPLyFfvARZCp0S2VQWRXDwxhv9XDJwbJyF3i/jWw08xpN8kS3IipYriyALwmG+9s
oYh6e3oXCAcuF5Mnh3Z/lY5s5B6BgPY669TPykVkebi1jF9L7SB9p6rzuCtZULO+HvwcAOlzpjS+
Z6AMHVXkQiGP2jJdS8gyp/1gzZpjwkoNrvJ0mrm1kAnB+p6JWLpsPP2D80Cc8EdF7f+4AxLvO/qk
Nez7ob7qqHgIn/ouyfUhE4mce2axp9thTlO+2FxUMnupFyG/DipAmstHgNPWoA50y5tusyppp64q
7BmW2+01MYhw7GCPPJRIC8tj8dzptTtx4A1sWncLrBRJwL5tmXQjzNlvu+5v+D4zJAFVzh56xD6w
2jFIUukBgSp/ICi0HlEXvP71H9UHTiaWPKbh7F6u1nHpTyhQh5uAyOlXUlZQb6IDfinEy+a1HaRb
8gvqNswfhi5LOMtb9MGINz3pPlhXjCehymPzdgC16H8rMhhYiZ3esB4lybL/xebxHNyEftdclCeF
3iUhB9aTNrQarxO0WpIEg2CbR3wjDADZd/5JSxjfM3ZncvwOcGJeTJqUPE9pG7ApCkbbbOsfmZB5
p7myI0FHw81DGfCcW3+Zix5XXfXEYQGvz66SRD7Id264aSIXQIfomRLLgOMj6iK5WrO2WY5mK2Va
H7ToU3iz5GMJRsq29x4iDJkx2NyN1sJUTgUW79F/N9fixrIBMPsYjiRzS2wmG7X18zukISDiDAF/
QAaiOARToDJRRk185cTT31i9HrO0Mgqb2mmXOGaL2p6rOXkiwJFEcu8gQ9rpjDqh5gRFba7uZpZ2
k35lYJ0Ndi+EXws2PgoHbr2Iyqb0WF0f2xxRSb2aEl+ndzzP4CW4L9M/r5G1jZLjAEpeI7PF0c76
ehywL5bC4eQpvby3u2jzBvwHQ4Xi0i6aGHIIP+Q1KblJ8ddJFwJ8ZUZpUo4TeqVM2aHDMK0LuvAi
3yTmuS/DAUk8ftieZR5++VHtxIIWbkovyMrLX0RxY+Pib5tqrxTdCOJODWIcG1/EQXU/Go+/a6nY
SugfBdVNb1lIYFxAL/LySfrBmQTEhJWbbLqcactBNvfW/vIfASPMzkCIUngWmcInXdrVxWHi9aLp
H8FiSfVyLSKFdIe2vr0Kl+oCJSLvaY9IzkFHTORcmc1qKvkrk+yG6CFGhngZwzlx+tGXEPvAM7Ys
L9VdrPznfhZZR6icEIiZS9xBZTfH40hIY5HiIZUiquFKReweCyQMSMpqPyqOcXXMf+mTrGPzKUJe
XJV5lAanCbGE40Q8Pnf9cyEd0w9w6xc1J3Zay9EO2jKioljLngxOJNQIr5ld6VmbfG/mrqxfS1S2
qq3+GWzQKclG3pQXa80LI38bTF20dbD8cMfX5z1B/bYuYcH3KMCwWGEYFA/itJt55iJouzPyswSf
945PhBYR32i4wLiCK3Bt8QIyjCPN9F8bRikP2W/3i//xsSmepyHhhUHsVj5D1sEWz5u+A5ipW29E
44s2gPSwt4cmpixsrMWj82WSPyUvH2aokT88nOCaBms5kW4KYNsS7y3Y6YEnK5u7C84z2GAJUfDg
TU9S+pj3GdpW9CCqtE/4lMhwprtuLDJphYDNoOmBrj9GbVhwlqtedAVf7DGrPALArTfJKpabtHYd
QyiGk3VQRps0aDVQYRhjuzGPJuk0kFT8JNgM05BBYc2aVSHN8Gxk3ibtWAIJEpLBqMe63Y8IZZpP
y5jS9XS53YqfWr59ZYLzNva5uSQ0M/60fjUK9esG444WARgILqnXbNUgKYCR6hGvuw7bGOQ36yq5
ZYWft+RvLcr266GtheXIkU3oUrFUc/BNbfITlOCJSciwtR0KvEqECCBrz27WB+8yrUmdhm3pg/5G
/VnZxiEakoS4C6cqAuQMbUMT5oK1PFIHLku3Ah3XdeQZyWc/gs16s/T1uaYaZCJO3KXxK9YM/A68
QzIG3T+rPM38PwdLFl6j5rNZS7E9bjlI9Ts0U2P5zz+YvaK5GVuON9qf6cC8EgX0HdBDT/8dXYad
RbckuND3afs19P47CWOOvSR4o81kky9CGnJ6bvX9zdw/s+MmKgsUYAh4QP9LP2pAL51Hhr0Op0K6
eiJqREi40Wan1054syZYR1+5qgoXUEBJAzHIPuKb5YxvfxA90J0cwglMik3akfeUQqpw8nCF1O5Z
AWoG2bEVUOb7gIawkPcR5I39LI9A/YrW0lEgQHFfwo0sNDot0PDjuFVXcur1I8pbircUBwiBYtTK
TBLBoO+A7aPu8NiBVyvx6WGhcyQ4b4BZx+aBiVLyIuNgvhiPOUfvjJYGLwwijX/YiquAYTS21vI4
I8tIaTT0TlAIaJb8x7ZSnH7NhJdjiQCMePn4xOGLgGcv1RkrpXaSiXLx0VyssnGpRqso1vA9l05E
yrvmiHUg6J70G5MgxovM4LgSCK+b/IZyO3hdzXVcNv/0xFU7X9CvAlT7Y2cYV7IuE87SBCVVgbVn
LT94ut3ql1jYFr03M3SgUKuxiRRotVF+Ty+bKAlOFePj3W3fJEhd34fZAYbZq/LMf1l7Etlpnntp
c3hVMysxgzOokPQjXQFgJDDlA5cQMi6sa/FhHgLe+zTavbJ1Xf4K2uc7C8Ycns8RmBEZdJfoFRFn
VJAuoAXfwgZcM/3KPwtYOfijRfVL0npzm20ElEfpBHbRLI1hQTuDrxRijm+HgCYFAGJea1dPqszD
iyTXYrdMvx+Ly/jdpeil3Rdbe0qi69vuCFxd/1S6Z96EL4vZHEJ40z1puuBfYLMt0Uf+9eDUMhy1
+irpz987CpqEekRG9BcxeAUWCTXDIkWiMASIEWUjAKd/27piT/Lf+wLenVVuC/+QOkW5pQeTTmVz
twpbWBkoAWF1AbItr/oV32jGVVQG7kvbAHWOe/RmHSMBye8nWsF2tPVpnZ/0xi8HL/lQ/r1RUkj8
nILKnxKkhTEoKJzyPxR9legOzVdUeEiAmo7WfbmnuczBbSxKJEsJLGhkdLF2ETTUNQeGUqa+s+oQ
ylXofwTp8OImvG3Yb7XsHKvam9gINHObsuIAHRykvzG/22FMO8ed7xAZuMXjHpl/hUkF/ETNkdjK
lU2QRURnUbAeqPN7xo0jfDB40QSVrd9inZBWTh7ZF1HLfZM2+KJvgX7YRB5df8WkpaZIKSACOuyF
oPb5kz1XaN+A0Xhdv8WL9t5DHY3yvjNsLEczC7doNqYKpcz1/dVur/iaZp+lfn0V7gBU4FfX4auj
gO/1f8pVKxe4C+Uz6mDwavmTERSssMH3c4y+LM6xkO6GlEAhchSTNmWR+wTOtisU3mS11gHKC6Pw
lYRNqe6AQ8vOZnWB8wLlId5x2PBo4O7ocGYHsukKkf9As2B5ve4SNCtx7Qf6W5tG9XnDm5ZwEEFA
EXaJdxgrejutxYwNFB7JQgqC8bsZuf35edKQw82QvIPSE4fUiE4HQBa2RGdnVu6K2Fse2ICJwZhM
ZDALYzUQsoCotvEzli78dhswgJj2CF+1I6H1SgIRDoOurvf00c7YpyHMDQ4BmjRfFm3NA0HHotrV
+wdzBKdIhOUk6qE+kBjYA1AdbOTbJXL1R7gZz/naMAFalsN/+/h935rDRIwD27aQCqkgYmSPjFAS
+Iz5bWCQrC4awukXIWfxIuSAB/ifdjUAFvR6rVnIfZ3YsIXx0vZ7IE4Vwi3b1u+1nu1z+CqaABob
zCesEvzIl+kydkfNp0lBzUULya+b841ST4aa+sdE8XoQyLRE1h8PGz6GnvmR4Yp0zZ3NVYSMwdzI
x2ENAMvejflDKzceTHajzxkkhif8yuUXUhdem9e0Yv5ERvdElQUgOAtxtrK4GkUi48JJRgSsbLEk
yso2GuvFb92temOh9Q44Qt6RuvrYz8hFFgBCZ6hU6XM5lFTsobj6kIPxfHG+1cKJqVfYaN/AhmaC
RwY9FSLM16q9t+bF6EOhd8HVYhs4xqKQdtTdhQ5cvhL6M1MacwuTxoM11PEn6qJCxKXNOl+g1h2X
KVpnqMOlQ5vYeOVyyaOr5c8XwaohIA2WBgXZe7ODPVjhVcY9R2Fci3MrVh2twwhauuWbxrJjLM0A
iWFmPw/1Dxoh2MfyFiHmx+DFfYOUls7vz+EAPtF+lyG6xZxs6/+/5sOx9gZjZ/qRl468lW/I9i7K
hk5b3kOUvzcqAICfe9KJHmy66p5+QkaHDF1mc1hY37vrEPaGU7/WD2fAJ7P4KOa1OTTLM8ccPH9q
DBQTqUugfTOSl4a069IyvguOuqUip3/ltfhoD9xUvh6zCdYIhjkC8FzaxuhG0uq3fh8PKoGHmS+d
SJtSzpxBGL8MhK4flRvDhxq2sXpe0WFA1YPARl50fCKGumf7cZcgEUfhMecYjaHpp8tpH5+B5fo/
dWUe41tNLdljjy1dZH3pXtzn4esc0QrRMp1JNM18Y91/kgKtkauzlGmz/OKjPkDGtAfjKwmSP8SL
vwRMJD4t5znzZxLpX7cTU8/cVp9PHIze01aWCgmJYc6ggfEupJ6abu0/EQ2wUMfNNsYu+UcDV68p
UVg8Q87D6abt0RZYC3VT/JqeBhK0VC69n19TD1HDF6MqVM3mtWR0gXm1k322HmxHn2MDcMPjBLjo
LjeVZpg3yxfu3UogVeTKwp+fJwRityw+H8RQurBG1peyr142wnUkgRuE+LxBn92/eUIaiF7x8l3v
Vn+w4Ht1jRAdyfGwrtgBf0Ol9fvwHus3FoHPh4d7GZTBqzUCnNBNsbdupcyWUyf6UA/KvfhChlfs
4y3t2V1gsD8zicVHcH5hF1+NT4s8VvfxFyObV1ghapugHrkj/eDgfuyAUCL3+dl/VeSSHN4bqH/P
oKv+Ng+A+COSupPpt5/kQGRAUeto87jmu1e81o/kMDcr0JDog4TVrakDbwaJSzhHzhFD8EvqJRsh
MHaTDxWzNa8s8vybNVSHai/3DuqBZoXtgT4M+lwIm6s4TzXdHvgKO4CFcSRF+ejIDv3TSD18bbMA
IAtJSntsD3SG11bfzwIkzD673Nygkzo1jFzvNa2IRGTCVfsCdwG6akK0I9YFe0hz4oQtPHWT+Wbj
AhApfDIAFNUrP+vvNveFOMCugkxwAYVMgDQQOufHJVt3u+HMDxa/wLnouJDlzB51B8UNYQdOssEA
xG7V7/YskzBxSTbSZ7dCMizelD1OM4UgjpXCXsCRKArou0/5A1QEArcKBXLJfTiDZ7MQ6hlxq1Cy
EgxxeLtIo0aOjNwpvvnRbhUhW1LsuAtxcOCK/jCQAjkjACxstT3cOp7mL8AV4N+LelVrmr1pAa7h
ZhgLs3Vzbv69aPakpeUXDOXMMvC7e3Ml+m8CU5FCzxlyYHRbeUksjN+s3j3SKZ7y/k5/ly2p3Qgq
UqAzN/3JyHTCKfqAOkJd/Vqiljk/ESs6eUAUQvSBUj2dZfE55kAdSMetCOOP59qZbRA74G1WS1c7
N9MRry1NF7k+kJOBQaFiz0J7xjTRsVKWz3ZGxbYVXjZ5Uc3gGNpaQqWCJtnyhx4r+mIKy7AHthCv
2BJLp58h7Xmh0riNd1r4IFnpJKwS8sQETA4IyPM9A/QP6SUELYTRjVmMOQhUp6IuDweVs/abODlV
YHDd0/Aq+ZJDMf7i/G4/EJ2jUyTotvSJ5cmWpoeTCTwPVe0JgZ16S1xeW0Yz9rkh39LuyTco49Rt
8ZCvp2SvHSKgJlpQBh7SuYN2A95YKbawBpQEpW72gOjWcvwQq7D0isvbpbbMrPbCXF1prwaP776H
4ofI073qh2S+Koh/e/xxRN3wftxfZ2E/zeLYdbNiHmK7ghko9V6ptxESKJzDpm+g3zzKWLbDYv1+
+UmIwQHrRnx/qKERhwgXOI3NHZM34/YQGjwAyNpQBq4QdWhEPPLQI5c6yB5QIiosEojlP3Bumlo3
/6fwyh2f3/3wpd7mpIl/wx1dMjTQG2bJJoaRTL9Q2HerGJEeTRqoBnU2Y6y7zCexGbRHY18tn8e6
mbFUZib11rHjypyHxhGb605HGLoYvh6/ZbZ+/JMDdWusjejIJIoL6pqgqccU0332l4YllCYLkQVk
IX/yrjkj/uPf7OGXVsi3Lk/f+BK5RhNCXXsEGwneKM1/eTMndffG0yaGmOMsvAwC9cYgDZdda5gc
8I/60qZq9xrmNNLi/iJIJBMiaMm7ZksvP/qTuk1TuTKETcQLJX11y9FT/6KNBKH+crhuZAYpGAoA
o2lGA5LEY2n+k5EaNSMxv1HBh/K0uZxUfOZ5bQPFWidMNeSZB4wGbaf1CkloDcQlQN31dUqZ/dFP
YoZ3h3uxzdyerlfwkNSBtl1wFEC7/DKGEo/CBBbRSJBS4Ukgqj9QCMpyLH1O7S/IEasI3n90mINn
Xq0lQMLJuBmucnjtOC/xGBhbpH7XIehgrSzb8F87+fN5fWP1tblhjMA8gXfpx0Sb9xeBaKNF/Rx/
485mGLS14+MTZzaEN3kncA/KmtNvU/j6QZfPrMbAQcz7QTrvGbxKjGyi+VQaD7BsWpiJSho+5n1n
6m/6DZONUf6LO5ZRGLe0X4hK5symhJ6dQkBAiPX/ltfHTXztgc3KZvkuWPx24GR47VVKwAl0hlAe
0JBN+/Sk8LUvDq9rr9D42gniSE/YZURavJwHFWmmgnBkb4Yjjj+MTez6hSpLt8NI+Jb/ZC0DoyBq
xDC/yB/6RSKxB/8UaYBgYJw+kj8fEu2+ghkjJXVwMgbAI54yPw6YerrfkaLReODGFU5C1C+M/pJN
EsZISUUaHW3HeCV0bqZcFHzgLSpYsMdr92ZiyFF72Zq10WfBny+AXPT96Q3EgjNfQSIxLh0F57SB
+5Nf6z1Z1/QBwT1nrjxgOG2eVr6rb/F+m/R6XE3j33whz+U1f9ro/Aob1gFTAyGEcwGTA97uglyk
MOcVe39R8PG0/dACl2t0/Bs0gk1L95Y7HRljC2JB1COEm7ie7SA361+9JaD9pn2Z04IsgVANMJ9N
N06s+D7USxRN0f9oyRCM8EfF7N9S4w0O/6u+YYAfSAjuXItLfcp5Z9fZPf2heY3czu0woLC0IFZc
QodSB3tyyjJwsKeDjF5McKI/XjJ5sum8TQ70AZczw0DsoBUr4I3IOiR9JeTZeW6p5YHVOtkHMmwy
aAPDwZvu64RihAyosIJ4kJfprv+ykIeQTo5GHUrYHz8ft/m5pGoR/Ua//fRezellepM0q/X5/2t+
Z0Kx8J8zSHwConxJuLiX/6taU9PTvRmzChMCNUlLGtgbmfyAYLK7/bGLzf89pl8vVNjL9jDcAN+3
zVLF0EZixxXorXYJrLFociIKR02ePt9FYGs2SVxx6z0Bn0ByCLrcSXfrnzzuGjADQGTewCJEBEo0
B37uHvNmFqYVraaw6pgHA8zq/A/p/DXnrdsUWnDyeeofV1zXhjA3xWdAZ6QCwq93Jdmd29foRn/q
Rx1aO+XEIsWnl/7QOSm7HkWUQNCPK+pkD78+LA9xSh32fOe7QVqol27NH1z2E6hRe1bzJW++tCMU
Qye09hst3Hy0nfRtsiY4rWbt0hGvxtvONvU3Z5RI5K9TyAvxQ0dPe65P8pf+C0oC5TJ8kJoyu79Z
OvAtX/q5o4z2RY1tDBjMM8GBAUQJSgPCm8dG2hLiiTwEQ6QPSCsh5o5gzlnlxNnc5GyVMPLE0KWU
Bc49kx6Jx6kjmQETzmL81/7TLL/MQ11eQvLA6SkcB2/icZekBFlP91Vv4ZX4GZEHp2N8Nx/7sv/B
u2WJnnIalnwLPPX5j9KEBt1a/f3E8MTXmEdQm4aZGEHuHhKloGXtLLEbzIWcgrQFLcu2qWoNjDiH
voN0DhXjWjxaJEjRPqRf/SFz5W38QyJv+zHeCfsiIPC9j0/MCaxc3/RO45tr/RdW7D3v54lKV3St
G3elJtZFt9Og5gQS7A46gBixuMW7rv5A7FSEDJ43WnNIzn3IZfEGV2TK2g8uICq4kG2Z4Us9kzMp
mHw7m5UTfh5t8S0ikqv61Vh6pXLovwAD1U2v2BWXx803AyfZqm3cObXtBUYeQ+ujBSZ5AOUwhV5g
WziuHTjDdkNTJx7lQ/5cg+Mzt0i4gb7K7z4c7zEHCCrJad1gagDcmdaV7DUrEYnnhZS8R3UqktsL
7w5Jc0K8FlkqhF2U31tw3eeaHAUIgxsEqizlXEpHERFQvRa0nW6tU+XzZc6peXOsfOmWzGPIeEjv
5JBvOtKnpPPwS+BJ5jUfE+Cbgi0HfpRM+jnpgb1FPWkzjDNkDbYtHbrLo8sbEK8MFPfC5tGuk3ZH
ShCxPCpvWfX6hIB8dfe8cJSO9eRIQFK3p+IQQGfmOJAxxs58XRGFnbjUuk1bfcfNn9RuCGAoo1lV
XuGDxr1GWFOO2Wze0dUBCILVS+v+6Rjp3kpvsWn3tLv69J3DCaQopfiXbDnRpQCZUkoz7ciuF/0D
PzQWjdcArDZR/jbiezMxbpZBibW+CZ/1d5QeRIMvCG21NHKvKRH2WMv8VvfhQ/VzCMIJc+Iix82s
qz7Dobzp6usA8Z14KWC86Vd3a20yZDJPAHAnQdkFNKQx/T0nGB4W/JpkZG/EG6SM9S9Zk9TDpBeM
oz9rcH6Y9J4BLHQvhbBpGkGOiBeVeVERVgHu1oA3yO+J3HzZOGffL3YOZLyn+fWhef3kPfm+SDaY
v2i2J5utOuw3UL8MNF6YQ4AhzpbhG2I4iOQuE3G1xfL5HqFgahBd1X8hrXEq8tO5pLLmPz8ACRor
LO8wcHm/7z+yYV1/i7MqskQpClker5AvxffyCzoNSIowDTJiwcJpFe8yu0jkdYPYKieTk/SAk6X4
s7Hq+frJoYlRuRpOZ9wr9srC1DKMyQQDSOeExRy8QKMrRS5mth7LsrQp0MvKTiJ/peatt7YZtpDC
6Gx6OqNh04gRvgjynQICExKaBemn7UGGB78fvmuOIqHTyXgil7eC+LiQT8jyP4ve6taMgOZhLr1J
6yu/eXyg8XVtDU5odEeV8E/6QBAiICYk7gklQQol4HNG8Bcur5U5edHLH8FZZg38Se79bPrQdG9C
D3ujk2btg/VCKGCL1TJKLHt4XKQmfAsYapMPi4Ifo33usNmJ+mJsglL5fuMkSq5y2zuZcZFa/MXz
+AkWGpNXnOCRMGOdzK9tg4T8EyX9PMpNYRYMoaT4TD/FR3kb9wFo5cthunrdMnA1EEc0waRlZj/D
T94f313QaB43mfMqq34SEimFFQmpS7z6NMWJsuWJ3FkKS+adlH10fkQZxPydner/Nzi294ex4EM8
nvs3AsEVO/VEokKdKZrX9qISEJyyccaZPSbL+juf1i8svYp6rWvNi6b1yF6dglkVH+urcVW287Bf
uQ6HjAS26jYCLLxhD/A9oBLVfqtqWYpezh6U/wg7sx5X1TRL/5VUXjdq5qHVXRfMg7HxPNxYEeEI
Ax6wjW0Mv74fqqSqnZGhHUrp5MXZZ4Ph4xved61n7TOmqTtVuY68nMADDri/jl7Qvh5OyWSGpd5I
EE+/4HZ14UGjXblE69ex5NAF2wLzBHOHajc9dQHZhBSqFUT7F2jcMf7cc+uKj5mKu4uukDxvQact
b9HpjM5WxeW0n2DhFOm5R+hJjsflg3bFNhWCbnNDruLD1oBNsTiswXPtWKTeD/RvSIjZ8wV5jRrS
euMEWi/loYYE1HRemZAVs3rA+A6wCwdUXrraJ6+RdoNNBeyWPmblpDn5NNsRGXLoQeYq2MjWIEov
MIqwIxO+Xl9YVAFTFDhkd8fUkKZadOO5Og+Iayx7HIXGJY4+aiepFXOooCSL4ZzqJOfLC41cu3o7
8XQQ+NHYuUYc9MHr6v5hcdwxo1TwxDhjc3BGBwnWgtL2CcasRxOpvPcZg5RhTPhBaLLVxt1iL2X6
R3gTMBBY43rEx4E5z3SvWphj9hq1YSUxRHAvcvT09CXzC67GfHiRZubIWEDpNhPZl6M96kWCYFxx
ZcTMg+Jyr4avlGbbwdGjA2wv6kndp6E5ZXwZUj2jzHrGzHNF3HeUQ3lKy10MrWj/hG1WJNsJUdaD
/UxrBn3Ps6S2TxkViUU+1A+EedvnlOPb074E1GFygizeIa07jArmJCSARsAKew6QGOXeE2ccORMA
3ZlzQvSlABw+u/TxroaPAW+SuYcdem6XkHiw+/HHhQdUwUdcPr2GpZ1uik+r84g2qZpy0r2b7vYE
SA3AQzESiXDa8GWRnD1Cd2rjNT2oGGW4MfjtZnCiI+sBxSS5YNxEdzlAYLIl0foGwtSTffZ6fALV
7FUF7DKwp90++5MNxDfndHb2TwYPbgyxdTlb44zgbOYRBcrZFM3+By0WFIuplPU3T0UssTZ988J7
Ms+HpMOvoeB6dADqGYOgpO6byLAC42ZEDf86ZZVqOW0mNMyfT7qjtO/d/NW7OvZqWjDHXYi22toS
TCFkE1m3Qjx3HhBKLuwgIIksVN0H+ydHnoBA4Ei9yankFi/3OLB2+pjjjOGAS+GIh70TJ/hYHqrw
k4GORdp/IstY3W58o5v6DVA1H8+eH/iiThwVABMhlogkEGlAjskWOcFNd8BiSGVyImHoTs1y0pct
J/ChngPtQx6LxFOuGOF0TjnyEMrYZzwB0DxjvLHrkFITOJFY3bvG+Er5963XgMT18k7nkFnafnxJ
Uw5F2JMJ6YJ/PKCGgw5YJLRA8alrHSz/hcoqI8tl+ylbQ06xaH9CzJSoDDQfqclwO6/f+U9weh09
dajj0OPqxBChk0KGQrViApkiQiYgjEvaRyM+qg71KUSDmP4t405OSSVE6A/4/E4NyxWCZtVpPlbo
s0HtX8A9XgBBwDDCILPxDYJPmBMchGmT8BE9pPEi2xS2UcI1u/sR3pC3fUzpstT7gZm0bn+TcAFA
Hkgw/dzDhC0JTABW2Hx3pE+6aGK2eSwd3ARz+DXBF9RwhNixC1IfABsi8E3Ir5VPJH5MAvU9PKzk
sEzhiVyr5Z6yuvJFMxxJLqpPpqkGrmT0wjZLCbVMX0xS20Sfn8pI4+1k7CXJpnmTx+r9y6gDmksp
Mt326RfliEP4aco89HTOY2Iay7COOSIan01C7ZnIOxvFMP32Y4LWXIHaxH2FKFQKaqZbH1feZ3d0
vmry0QJh+4a2JLxOEY/LS3Vy1hwK8cJSDq6Mc6ig8SNnYlU+VWYcErUKV8XUQztLy2i8Q4M4jwTW
+IS/Go4axSDfyFrmnNvqga6qn2p8Pi2MyPKGLAGaaad9Svnmvu5ORG8wAyHqoanGKerqNGm5buNz
7wHy8IyTG7odoBKitfAI+duuBu6JmH0gXwX7SgbSZdHVNHgYCdqX+FGxSuAFQJyFSodG3wN5X19B
4pBzG/CRAWx905gumPyUBE381tGHJSqi0Rm/4LJoPukInGnxU2UzMshN+9EJH2Kv1qQ9oPr0aEvq
PLXbl0/xf6T6l9nhEGRo4a6OaX7TW6MUMadRSn+k2D0/xbEw0jvQe5jvMvPisX3h4A+cqm87QW2Y
XL8shW0bE0/lyz4wrJbmHK2wo9dXRjg9UwuIrDaqol4WH29Dvnta44e5qgBJDvWPy5BCGr94OzRz
fEbiFbNEgPgWEy+qs3/+43//x//9eP2f/WeV/Vc48z/Oj1NWFed7/f/+KSn//Me/Zzb/kUnc529/
vEFU3vd/+n/l5rMo9fNZnlceALhTgtlGXT/j/cykfI0cb3z5hEX094sqP4R6S+IfF+2DpP+4qCRv
j9JLJvmaUSOwtkQGMS8DSgdkTy3vEdMH4PQL2p23i38ctSMOUxvYVZl6SXlXSFJQTaMENMi6pDyy
ur4X91+ei/xjlvUft9g/tz9ucWtWnWa9uEVYMucRrloL8AqVyKUe8T4g+E8VjAAfOU4DdnMH9iT2
K5CuyMIoo5e/3c1vydF9qvUfd/O4q9L9dbvK82NEch9m6gIESMmnSv1WQrg9Bn+tPtyTanPoXEmx
tAADqY+oq70ohLtKRzVXyv7+FqUfQuAlSTZkxZAkzRK1b2Hpx4NRn7tWk/oWHCe+bRUQmqZnDY3T
jfoBluExPY2EF21wGLFF3+MdtMtf7uGn4fvnPXzLUDeqrlFeBvdA2PgpfmBJkb0XWRYOztRMHwC3
xG7/in65ah/U/T3o/M+rfgs6z+/16aFVXHVfUPt0sGnXwDRE98HeWnYK95fL/fS5EFauG4poWoYq
fXv7+6sivR5bUZqXfdZlqKrD7U4kyQNfBssplNBfLvjj9ynLummKimZIhvzt95W3aynogiDOH0AA
ILXPj7NmTyTXM6OQjmlNcFS24eSLSRMsCsqXtCAr6paaYCcpvOOUuszbWUvJDXCO5df0chrbCn95
Kv1NfH8Jf95kPzz/+CaKbSsdpXYvzU8L8QuR4ueNwh5gowWmJb/7Qn6MCJbyBDySzBho618u/9Mn
+cfllW9h7pb5lNrmxOWv1vBIE2LYhfu0pqR/9zEeCCmb3PMGUQBaRGHwy7V/GhCyIiqSriiSKFrf
Ju2isnLxer/w01tOMu1bA7Tm4WCQZec/YeEb/nK9nybDP6/X//s/HnVXqqJ1krjebQWA2tA8NPTa
MIfutoAFwCKHFMv/5Zo/Pl9FMTQurJqq9u31CoYl3orLWZrXmv/CSQwq1jeQajrFTJnPL2/11FSc
w9T4ZexLP//W/76u/u29Srlu6aJeSXMx4Osmz0THAtTHIoAhdS8bE/7k5Zf18MdFuJ9GTVM2TJ1/
/Ovzvcid1t15wvPCdGgPHEf486ECJPCx+qkc3SlF3F8uqvz8Q//not8+cqHTn+ejVEpzAKQTRBMQ
e/tEw6MLxclhAz25gL8XJpjjkqXoi+x078Gc82mY0ywRoYZiZG5++6h/fOuqoVq6LIqSJX9bU866
edGLoy7OrRGNAtg5xgf9iNOb4RtDRcVc7DGtcKoW35Fe/33EKf2I+j6h8EnJkqYbuiV//6py45R3
gsS1Yd86MiYRAxD9gfTUMtvGBKUSqQj6OM19QpZdmbwYJdlGuktthwOR+i4n97TkKMn/rhE98sH2
vRqN/36Pej8S/naP375E9VJaqtrf483t46q78OwjleVeZO+8K0IgEMQ4wPhKAPg5xNVCrAY0zNka
semGeDDn4YKkgFKPRiLdx2RtuTfPCigDB1YGKpM26sVDHZ9uIwpTAQYD/usWwcHBN9blnNL9CXT/
ullicALY/tvrF38alKos9yudrpm69W2py9XL5fG6PkQUIoijndOCLuu58kuLM5rfLG4ZKlWB6Bcf
BbG0dQVO58e32wjVK524XPEQfOrNDH/Qq8noISHUbNCuVwNdcyASvKgc1A6SZ6KEaLDlLTIyXLOw
Cqf5OWkz/pScmVTDya06YvEGndPztKmrUjC+LTjkGYxKjoNs5s+f2vp5mlwVBIa9hKw3hKDBojUO
sZMeLmHfPbKlWL7AAVMPEzDVUCJxgWmdtyGMTur3rweaEjRvVOnRvSScEpte3F6MzmMAvyWcaCJ6
qWtBmT35Z3R419Mvg974aQOlaoquqTrzrCh+++COl1wum9bsGPTkGIarMk12fRzfhib14EqWJf7k
lGJr0A+tbG+ni63jpv7RRam1shIEsBE6ZdQIhbNPizSwh949nUM7eO7tLHh6d9trXfranmqv1z2t
o/TGefrl4ghD2NT88nOkn+YPTWHrIouyqatW/+//WKmappPKFmzBHEPS9RCqYngxyWIu/WJuGuG6
JLgJ13Ad0huN/v5p/jR7/Hnl7w/SulrHyyNnTziUAOfEp74OR1VMQ+D59ytJP20//7zUt+WirDT5
Wun8SKwbVPxOHC5Do+w9sF3M4A3+fjnjp93Gn5f7tlCIRdeUr4pfphgRhSmAB/sJJ3s6euqbsuIY
optoCuw9baXB/RGLb1cE59zLev9FsYAiOPLwVnPludANz8aE9vDV8C87da5NJGrAe08rY0YL1k2a
IiaqCpafV1SkTwn9qSvM71+P25jPVBOGR8s7666wzgWgkM5l070C6xUQs3bGM8RGlYSVCTyHifay
b/i1qDqE1fSae/kvi+evr+Db7uRgNgcxb3km3ZR2+6ipiJ9sRy+HYzoFgb+/APnvg1oTv21J5EZp
r8KTlboYykzeJECjFMaMTgwyqUUemXX+M8mBgwHsGSBedMTBbcLinPxyHz8tPhojwTJMQ9J189t9
nI75467LTM54LVzKMBx8IDX4Ogmo5wGy4AmmTWtopGoE9XhUjdCFXkck1SWXFEbIL8OyH3XfV8I/
b+bbHri7b0vr9uRm9ABpwS1DT9CsdOLZfvmuf9ycaYahsCcxTaz/3y4kd+31WlV3frWFzPRa84+n
W8XBwSnfIEPmyW+/TFb6Ve77b9M5eumSrLITlb7PJdfzq1S6qzhvxos2NuwtPi3XspiWz4PWWZyh
xuD3J9eZhhFGcvs0kZ0RvXYoyZ9dn3F6w2qKaZYdnSMinYF+ChvRpRkabjaKT3bIR0m7I6q/2HAa
ew8F1eoSyc5rsNEGo+vm6FZpH6JK0EfhVUVMFeZjlKpfJD/a4IZqr/PzGYXO1ZWKtFtT0LUPk/MM
gMRiG29alodRL2ywxXSz/epbg3VEq5/pQnaeYAY8QJDxBggbsc8E30hn+31WxFf8H9ZkwnrdBfag
HmCruvR0SiY4Suyyu257b9Zbc3KukRVUOKryc1ANBsdjTFeWVhPEa3uN8ASGxADZGqT19daeP4O8
R99wKgrrqRxSj+BQ6k7DJtm9StAFNkdTwf46THHBN06oTihMX0OaD/z/F5aEq+zRKERua8sDCpHR
hSpfbKJ+Her4Lu35Ibu9qSt1RYGdzfPT3Vt0qZzHDIbACX+bvTYtRJ8OVcVRnyQ8nF/iKRoiomRt
Y43X6333y1cq/zRfUyvQNN3SNEvTv5Wu9Fd7ls/GXpyLc3+TuoqdXJeYIuxkdRoaKyxkNrqBRE53
bZKEBME6VzRTrPT57Pp2RbKSSr5hozQhisw+2Ls6xKK2u7kLTAFBOhrRh+k3W/1JYTLZpwar/2GQ
ferZwYlOwcseyeTGz/b2ZDuI7BEC7s0md/zJaxxEM2kZTYiHo7X5EQiOTrU37P/rI5vMR2Ev+54D
6j73LgZXV3q6Bjb+UJos0dwA1vgyR1Jrr0sq8HM1uY7iIWNhGJc2r+5hK5nlJouF0ScK70MQrLXt
bxZJGE7vwXQsBmM3lpx5njhxeA7CcbdG2r9cPP2TnRKyNkqPkcUz2Iy0wbu/MuyF4Y6dx/tXonvd
VBwnKDCnJ3tV3OxkLGSNvdMn4+l1lNshjXfKjyyDf3+PSv+R/9sk8Mdr/LYVtrT8LhzvQjdvUOgt
Hh6/bJRe4w3K99VGskc2VtdpEeEIsAftirK7vW7dt7nz1djja1gs/3471Jv+dW9umoYiybJqGoZO
FUpRzW9r3t3IhXu1rZs5arHJYWhuiqG2ug2uC2EkkRBy+cApkBG1syxjYiSWVM4H+wUedXOSz+k/
4EQMm688axdaQjnwitq46pEPdKHfCZEcFZPr5kHgD3Pa6W27oVGDbtcPGG/iQhrJEwRvNYqtMYO3
/lLYt9soSVzSZI2VCQkD7cna4PJP10VjFBm207mYGhbHjFCS4pN/GEsiCeZMTV7rMOpffpepY2nN
TXjCBz7+7Dx6fFoTHF35yPi49dpTxNA+w2J5RjHZYuyKt7EcdKObawb1m+Xfkm2shWQggVeOy53K
pmeEgG5cf9EnJKz+BQO/Gl6Ht2n1Vi+6FaDRDUqdS59Kf6aANsUdsslntAkDC409XIURCbGLKnks
qSPHOecwzN290ZE2oRaB8EDInVw4mvXtv9PwMC+8U9phs34g60yNwXV4H3SZOOGDJ9PRSISplm3n
1UKc0KnXZogOs+eHNdpA8tnJE2Wazy7RZSYM5LGGER+dru9ywfG+p5rM6R+izgjKkAZtCsUFq98J
7pPiSijUSk6bVfyg7oria64Pv66JluUsGRmpwraARK1K9+PuvfMVF126fXFFTwrPES8qQe+U0nxN
6TF7amBhKgL2bU98fmV/cvXPfj7VEkRy/naM+fGrfyLbSedzpg0e5AFaGVml/OnaVhIo6s6BdOvL
SPWuAXgxt+WkjrYlMZJRsfGrFJ+Me1o0gc74IfvnON0K9uu9Hfrm+jYiyYudq00rboO1sh6XU/7P
8svs8WkiMScaxr5NrSWmk2WRaKOb75tzOs3lANSgMM1HBOztP/fzHE3QAl+/Nm2dlYkJkLEp8KSO
Ps78yWHM71rlA8lVJnr0HFTBzSsCNZNChYRh4FEDM0Plhvq0SoECBG0sj/XgmZjgxelIh+X0luCh
DzhRKtPLiowBxT3MxaaPMUfyM6YJ+LlPug86VRdXTU3cYy5S6PjF+Z4owAvCdBpT+CdQyk/4Rdvd
Y31eNGwZtXHji766Kj70meki52cfru9ycjve71ifl8fk6tKGn+CUMCdHbH36CD3TeVhnj5USbP2M
eIEIMV/rPyKYGJPWx8Gzt9WZsCBTjJZ9/gX6ERXmvESILTuwDvJlm+TLcgm4dK0NUSKG5u76Icz5
w92wWzw+ZJx/GOXGKNQRImIwJixrCgspsnEXUu1eEjA3piA15dmUG3VijM/L9sI1j55BoLgtTq05
VIe7Uwz0mTptMorz+qzJpEn+Lkc2Go8BzIi1vG6C7bqID3PFOfmFg6MnysEMSLE+4P89kVw4NW4C
hk9E7t07Lbr9HKXaTF4rbFQcy9tH54ByAVdc8y66ANcqUushkDsWO4OmtmADiO8wE3ttiO+f3RsP
YccjRiVVjAG2mbt6/SAyia4lAANgF/gPdsa8HOa03WhmcyjynzHoSKCR6WN9X/LCz4TTWhvEcSlO
5JrN/uGzolrCoqynwjDnXYtALHt5rYgz87i5TarRYboN6XoTxMW7ukx4sg9eLT/jNL5ivov2m0ti
MM04e850wNEfS3N6e5fX9ac+MCbcYTdkJKzaDB8mYQBclwo3TsbVLa7ZaVYOAtDjvMn4XQpbh0ye
4v8nxIR1oBxfR6eMVCU2UOZQydBU4ZBollcf89WF2qI22c/OobJRZxg/67k00SaQOBETBttMM2y8
0vqZYjOkhjV/gGFa2tLwNcR7ZNimn0/M2X2JRrh757ZuaUMj0TtFFidOzqWzB83efR+Dweto1zwT
k74zNJK+ekm7GZFDE+1nhDjQychdG4MHHwpmVqTiN5gzPBOuaaWoy5k9kGMDjDqNuvjq559MyyKe
PV7mWti9VsfB8/P0jsHwmZIFtz7H5ocxrlf4DPHJGuntS4tJbX7nonBNR80AyBQeJLIMh5fwkCmT
l4hZhlqiCk+a7vVEcB5zHr9LKOb6GFJXRKn9TNW1uuZhoTV4MR3PDV4yOHTvhrNvbO5UuEiZuubH
v+ylPkXj6HZf57H8jsvps4qE4E1I7+NqoA3vYREchzdMVvlc2F39ffbGewQuiSWPH3ZMIXj7/LZ9
dlsGxbwdnC6oBPbOZJt17/Vc4WzwtCMze/QxvHJUzVXEREM5Kce4UH309myphR2996mD2/dC/fz9
Mj9+HkZT+R1oM8fECQlK73RmkOEfUVbE1pBZh6fCRjt5zb/w6am+ntRsXa0QqRkbcR4doNVyfMNF
cJ3W/IWQjd5fn0IgkWp+TyTPiCu/mYqDJqOG6Uuex89dPPn9jyUD9DDFfUClKjvPrJnJfo6wrL5e
IH501Kkgh1IofN/ykWKYty0NyZ2rMQ6ozw2uLp2AyXV6JlfFrt/rASrz8/w8fgZrh02lHIrDo3fK
Hnh8rgk88wAJ7Yecvd7v7/fFNtG+5IG+vH3mE2SX0QWxkhHwaYZiJNIR3U/ywJoeYymtASJssI2d
iTpgh/BYtr0qvZiaE2t95tdyL9ZIHNaxMJ4TjjvbT2+fzfKZHiHzzpfCmj0ojbZi2iZ1JCdKdhy0
82cEkjY5+AmpdOjW9V53U2Fs4HgXW6HEGq4OT8sFvlU9PgzRcjxilrYyamNlJk7qUMuQOUlrmS2l
lVk7rMDrfAwUcGzMLPeIOAUjClblfh+H28wgFP46smYEJzH/kcX5yQ9gQOWbxxLB+HNtzrfDPJBT
9uu2EL4rS8k9JZeMle+zBjHpM6JvPrFqgyt7Sd2r+Xg3wlT6eA6EcLs5TFBHlezbSzbrpyU9yPvs
uuQ3d2ssjzuNSbSXHRaz1+IwFWYUSQCrKmMxIdx2BShrhPp6m67klOogmaZ4S2RgrudFRYZVE3Xj
27Acnj1r9svWWf7XIuu/7Zy/dxaKqrrdCvn8yrB9Yw+FR4ImH1UrDgEa57C1qgOuPJ+K2v3awwlU
hZo14UuOcA2gSGjBsWfvefumT3RscPXzjZV+BUOU+JK788I9pvVzco2z/oVg3BXXxP2CtJIbD0bC
lfzqNugokJ+dHqRBx5rklMI/XQcgLM6XWKRA/kTcF4hFgLSYTMTHyzHg6zCzqz1a/rxodxYh55Xt
GAj530wbiLpbTiBaFmy8qQJTq8ZiD9M/7LCkg3iWkwa4o+ZeWCgfCfS08yFBUVsZsSZjEOVqviD7
IAqodOMcQM9tYLT41KGrdYFOnWuLJYuc30BH5Sa5mLIeKhG3AS5h6RPbt95SckdkFOLwMCuvEZ2/
v7X/bLr9z/nr31/at1JyWQtle+luzBcE7qLWK8b7CzOrRGQvOdCK6EjDmnU2K/vtTfNxgsoJ4Y2o
MNA2KNKqqbGGGrWPHhixD5ik/n57kvyvBed/v79vRaIuP90eL7l7ZTJoZ7ux6mElg3wIKgqksgeo
4rkl/t0vD3jUfL0JNWwQd+e5AwcrQWVDPA+rpILCFOxJJYaYAY5ThYXeazO7cmwZBLn62kWNjhg8
VHd/CCCWA80rTMBPyfMOPoQR6RGdvX2GjCMoY13rkp+tA/LCAY2pBuQeCTZA7qEX7MkndFlNTWDs
rgkpYDsFSLqnm0fE+t69UOWqvaKOoM8DZQCgw9hG69ltXhsarnzjIMBPINNvwRkvW+PVpL7uIwmf
LRosRh2oeSQYCf3ZQ+Mrr4BEsIp7JKrWHKhb8pkSTAqXPBZKl44MTRpyyuoqlugANSHpM3UtRa/j
u/nsU7UKRqHuvMhUkPoFzDhjCvYIXLuVyZMTaJ3cn9FzH5qt+/e3asiW8q0x+18vVqEJbFgmfUj0
HhQG/uhhnAqlFhRJeM3UFJt/McE+4l7g4SaKLXqgbPG4+xcgsq45rsdXqIWUukgNwjDS2ucmuABP
uIyIQdU+MDJOoQfjMgnQlGf5+uGdbNM5VLAVDMVrOWmgMWUf+rXFOYmij8RRgZIMGM3KJf+avpOj
WwAyA07RyJ0W9cml7niMXu0UPygHHYOzOMYA/BX8vVcWmQNn4GmVJA+Kjpw0UJme7MOSEHgZnzEZ
7gRnLU6EsxTOPRoBSafoCBXOqzyO9fLJS4xrKH1wtl7pbF/2/lmj5R/vw+24pLURUmIzFoipOaI6
Eopk1NIdEWrIcHX3tnEQ8rvikupaGRMk4cuTXZXknw1i/wn6aVSPtsoWzS2v9jQ5pgcmwYu94Hni
1U11/+WcegIwiLhqBjm0g0/gHBdUIGXXo3WKxisgXo6ittHYCCmPtBU4w2fKOtwxQFAZE3u39Smo
5glMDPzoH8+1MIA8pSq9XJTMcCYO6uYqlU5eKqAmwQzufl8LGGhAohZ3FrU35Pgv96Vg4AF/zR+k
TiC1fq9WhwrInE/uj50mZ3gS9wAWIMJYrL5uuOFIbdkKW7oX5Qn+OG0XGH3BGHt0XrqrR1zHECQ2
qKmTBvbeIyTOUT66L8Ix3RFRZhqVQe3h4CXsgCPbhyE8RznGRlGi2j46BHHi8xRjCEZs7W/vheES
btMbhgf7Xpmv9ZktLuPwVdijGw5AdMkcJFmh5gajpFOIQ0RIdNdDNH/oUz0oTumlscPVK886XsFt
ZMy2QBd9vlS4h2TKAr3uHAAd9kIIrUHJnsFaY/6lH/1+bEIjI8ivc2kuBABj1khfgmIm+9lxeMiK
NVt8CKXAY9bHTzgUN/YExzcjfgXXR1+kne+RIDuw+cAq2XvBCS23DVnD8tRAhfsuRWOV1W64pQLY
JrgZgE+wYUzurX84hAq3joH2Psl31+HrOH/deEwJgRzx/ujWG5ZOiEkldhHCGNyGsYIn1idCKqZq
grMMZ8AbJSjCfzldpFWsLB+Sn3Vj0PL74G5HW+oDrwRU1L0htPeUPiqfkc4quxScieXdYA8tNa+K
MSsfPyJRGMJYP9ch3fK6c17wfr1tvE9kvB4T/tG8nYAwvNzmTebbHfrN2d0rgf4cFH1FXtsGBVN5
erHCfN0nJ6/EwAo7uCSwdyMywylmGUb0JL566zGoMJSz48h9caKs8/RqwntIeHQJTbl6Ws5rDn/D
7VBb9/UraiKsnMlKjmkPqGjRvRmePJyfEmdUlznlwKbvHh6XtM9DIibYZ5Oya5Nv4XfL0t1vHjhN
ljkZ3bg6ey83ts5SDbfb0IAr77BGOdvdK3rHCgrVE62CQTnoEAOZbygMQdbcitj4yGPiaoTz+S0b
oZDaDWi+oGKL23//lvul9BiIBPvOPWUs1IkCN4nVoi+73agCbNrJKwM3KY6tvUv38yGm+T6QDyFP
3WxclEn5gZ7F5AJ4efgi+o4DZh5VMbZlgt44BSkDgOuYTqA7OfXkLjj+DAygiayXvr5zDer06AIK
n1fjUrJpoB1J80Qs6WBqMd0bQxxyDolxC36RYOzOyCF2ZmzwDbKPp1gvcVjB9MRYUvnrFcDNE4og
iXTy91SXMDtlZUblEls1nLX8ZrscVZlwVsWXeXGEeyAGN8t2G8t5lihJDnh47pS8cAEWbm/zHkQi
ZCNfcIht384oJp0+MdhTNHhQy0TfP6tKb2LbouoasM5oMFEdRHTqvYhTIPpgxfYutnj95Bg5z81t
fNiBDkJTgrAnzb8QWUAxHe7xYIj2Z1TMCxiEeC34SZlNvQTFNa+ALzIAj1aYAwAz4OoqNOj+4bPf
eESndA9s9wLpcvJk58GsH4iPlNSE4FQmx2XzDO9bt0B4zm5160a3u92DvkxXoAKNd6fCohjiaIZA
o6OdHY1exFvWb+ocvRHFZ0qWg7ojFiYykGFodWAhBWtP8aFe4Lrd3yE4Kftk+6X47ka8LcAWXWZ9
LPYjOPAb0QITSPta3d3ijYkSwtFQctWFoYV89jgNxKgebpVxR/hlHZEKCtPgLmXEsV4GFL8Piy57
2GMSUx3CMi0cyAss9IJJDer0pgZmirQlFi+9/T5/JRwsupHgHzgFYv4nCogUwK2Hs4TqOLAN6u68
9No7LS73AK08YcHQ0GCVvz84x0XY/AwQMu55pfgVRAawszSM8J5jpmMaPOEdKl04YQMowSvWgRY4
ZQFprzBsfn7jma+weXt0bC4JRmrfrjkxQi6kQsOiSGqAjw11zLJjE3qDAwTTjPWYZQIUkugQYnII
n+52zHSxtYYKkETnHN21Dx7BOQK/cruOb+Wm9lhecImcrdGNqDussmR/t+7N3y+rhIlgSBGhBAzv
651LVe6d0sCVWgK+PXNyqtwx8hpOWdMW9ECzfCyFDD4BvpgGZ1Abigk5SP3xf1m4zzmpa1QfmhC7
FLtVOCUq4VubYnGhSr7YL1GUbIqbt5U9sD/8LXWiTraeK0DcSPTJ1nIhuIRT5Nkcfdi0YePHVhc2
mLwSSPmW4SFTIEiiby+WeLQq/r1jpnV8X0sjoV/56FS+Y1PS329pGYfwKpXs8N6tGwrOkj+GoRAK
ux2MgbkJ7W9DRYOlSp/3wwCqR+vQBWa+g21RDYh2Oo7x59GtHDXvwCqY8czh6Rwxo5f2TtndICMS
XM2SqHnGCghE/wHH4KpaOa3skR5gE47Yqzgcui5ztk/VlLgGjgDTu0aBCIFv71MoLuHXeXM0vVt6
ssNm615SmDP7adEOdpQHBVch6qft/Zknkz0ZpnoV3BIvPy5nnetfC4cd7LkI2is2mPgZNWpyW6sv
+zUt8+Q5E0nscg5vmoVhCZJ9HiWkZdGHO67Mp8soaRmwNWDJLfEh0BSnxbDvOJC+u9UdGafHBmG8
sYTh91p2SxbUxnuGYu8z6T/pgBxzWmu1HcjUFbxTwJ/bc/68Dp44Y0k7WSrv2p2eBCOZh1OEHKFF
HKKKU4Hi4yiaQHCkoaC7+bKg0X1yj7YtjTuKGl8qyNQBYYzGl9SFQTM47KhpfkDmuLwJcswpi8A2
pJ04evmMPAtkPJQNKdyjLoCwm4h3n8lFPMbHe1gbbgeEo2/AHhGWZZaNxR+7FVixPGPFwFSEAZxt
IsCx+B1bM4VB5Nps+gl2wygESfXou/5pWO7oi2KpmLcKXc9z4ZXrZijnkSteh+KicthulEM2IerD
e5pDzIVV6+uj9kOTyCqGySrWTIXOITtORPf+JlCgj8h/5cmsXhOEhu7+0+yhIqdDRk15dJSdo4kS
h1HicVC5vR/u7oee5e62cKr7RyP21QkqFo/U6NwZ3YJLCLcbJihfSA+ELDYTSLOTTxImIJN+NpKv
gdzkQiRcvt3e+nxiypjAm+9UUrdTnG6nCG+lMLYb2nezcw9151SUqL6Qth/74DWpAXCxGx2CQCGz
qvIfnxKe0hJAFkZOMI8MY24W3COLgzGcscQVFVm2HsPorgUNnZlmpnM+pDv1ivK16PnPwYWEgFF7
gbLrPDw4RGj7sFPK47QNMX+yCcSHTyKSs0vQTuYxlcC4nT6DdrpdtjYT+45TyFPy72sMq6Bg2QIR
BeUg7ea7UR/+gzo3ku4cQvboJM9o06ljfQ73eQ7G676qTGZMjYQU+FSwcKPR5uSB2dCoy2a0Gp5P
fzsTPMo7FLPhfNK2p4jaDpDxW1WoLG//n6Uz605US8PwL2ItkflWZsR5jDesGBNAVJAZf30/1OlV
XV2nUoki7L2/6R1GtKI51WyRgo0+mKdb6o01Wf3WGas/yh1VPjFKwhd7HB50zHR/y4/Vz7Js5vBU
A22O6IhFnegSUlXwUG+vjj0RB1MIIPaqbVzExiN7mxbL5tgoTjPdtFOLLY2gX0HJkviklsL8I8wG
TuTXgoqXHnlkcqBjzijPrAeY2rkJBkNGWTCAk4Y8E1IPWIvk5kDDD6X0K4l8NlY78mPH9Evbrzj8
UQs6Rgh4GLMOMSEJ20ekXIirS0fxmO1pJ/CjdMPaNZsZOWPn/tiz9iAOb9rJTLO3k/WA1oFigk24
z1zxO4LPDEkqxD8FpYxq7NXvEyf/Jdh3G4F2ubwU3iduFPqn4vTwXqCYqtISB35yQXy2I3dxxdzS
a2uiH/tRtV7GO9PuyV1x1Jgrk0DaDCuDL6G/WnV7JtZ18lWmDp2Uq81To/adY8jzQCg2uNOoMGdr
9MMQ61YJCb+nGBt1xBOf28nEUYWNgrrR6tkFY2fQ6gPJzULhUPTb7qvm01cvxEJL3loYFS9ptdBh
7K9l7jEoWYsvr52juP/yZBUhxiVzQ2WLPZFSzZ4heswQ/T/ftLp9+SzB864wdZbBvTHgsEsJQBQS
bO7nmK5FRKlG6r8tmdsd1MhwEgqVEwdj2kZTUVxKjdNPMH73JiIiZQxZrE+2kCN0JXBTJwR+9bNL
mBJ7wGGrtC3MVjRFY59Bd/jN7rcCaI52eXRO1X+xeRE+3k1Sr8aOffz9ensvYdNtI33e6HPpiUXa
7I10I1GLEXG4WenIGTxQrQ0ycaOIISqFSBQJTq7Mg8urR+DHpWB/aiRAdEXCinZ5nzmP2oWUWlCE
wHauA3iSVIR3/6hemjqsHrtOWF/KBNFKOJuHRDbzJU7uo3hZvJ9+t21QfD3pYRI3n8syGgVXSijS
qZn11h1U3ToHBiV3mw8IGdRjf6kHmkWFjhLNYoP2mbIkWsirNKAzRepxEP9ZYQvX+nZf4yUvkUre
+Nnn70u5PIaQyKdoC40j/+2yqBlokcC77FwQmumGRnNOv3yDODkHxt2R5irCjYzEEP5VR7Fh8aQj
TZbZKRBDGZkQcO5CjxOmU8U75cRJnaK5riOskrhC0sxEnXxYE99scTYznGji1neNUgAWPAKHeaTQ
81EQIJP/pgCiFFpruoc24E2ONx2tVEP5JTlUhvnw2t0Rh+7UyMG9C5JkYlNCfjgMZGkTv5eDNn9l
h6lZqLdK2MnYtWct287qJ8vYMO+fUx2N8bExngDAq1k8WSmVFyG+V+peRQupg5KchW8VPu3AmAJa
7HPXkpifSUqVfo4cTCZtgLl+SDdS7L3EBeJCMQcjCnsRejG17unRrqaS6fL5o6XC17HGrtDUu1Pl
wXllU2AFWduUXhXz/Q+15JNW/8eOPqueoQ7dYYDQ/GAG9q2R9jJ/RI/dxzg8okO6jb26NSOX7rGZ
rlKnq0yBGhvxv9hr6LFsi/MbtdZtP10+whfyrUC6nmwYc8on9N9HhDRqMFQlGnZ2KtjNlqdbNnbH
msEfAuT6WlhhbQ6e8FJE38XgIEk2DLah+X03r0qHwjD/azUfnEF6RLgFJ187u0r+Lk5myPbm0ixf
06e1UCjacNCzP94PKxo8tGQn75/nET2XO4Oj916Oz48bER4BHpSioltdIymFB5UVk2mhxDsrrkSd
rEEbeCYsc1NfUwhgMvhycjzJjtHm4esbBOkSX708gacTYPowOgrXd/HdwN6OdOS1pySKt+JmgCqI
rpB3hxRx5E3T4Xe6yeYgZPeKk+EaUWJobKZL8k6Uqx2UcHowjA12WaPYxj1xCI8fb+hRXrGQ0qVx
MGXv9hC7kQg45EukEHasrdPTJZ3RdYtznpk9uRoD8TcseY8DqkbkFAxLsprIa07Via9W9uv78ZpL
wXOP2g3CLEuotXa9eqwFvKYXhOd51lj6l4yxH0WsNPs1ls9DsnshClo7KH1SUog3OQDgGTuFcenu
CwnW8wvDrvBJSt2FkPOF0mtey8YWViy5VzcfMLGi/3CVSKPHxLUGpHqLgogKyTIaZ5pZAiO9U7q5
488boGlDyJkKfoHFLuoLfh+oxkr/+VQO4solSnrgGOIN8YvvqSjNE5pDuRpWSHRCxjIfJyLa9AvD
YxQCqLUDIhXJBc2bNxODIigzs4tNGh7yYXwMukc++tQ4fjiNLmg3395gxJ9LAQkdJl5hKs+yhUCK
RrVOzwfZF4uXQnwu/wSSJ8ASzuZPaV6Mjh3SQqPQeJU20kwD3YW31y2lEe0FBrMqfweQKHrxCYbv
D6a9dMWGh6eovzKEHZBILYcRD+EznfUaGXLOUc2iw5/ojmwYmczL5hSpkU5LcKanByzvO3nPz+YM
wKLgtY6r21sHysSXImzjGh+nQuNEs/ZG+Tx/e5FhIwtFzj61a3H2corCihHIui8hyX4UF9fJN/Jx
9Sl5BxMgUYguR45DbI8sFf/lu41lAKZFsGod5iw18lKtjDS//qs5k3gPBY9Ah8rWM0goBD/2XYVg
fhDIJtPkzOJVq2ManSN06Wkug49OClRynWdgMCwBckMj5Ss/VItp70fHeM5e+kTuPT7GCIMmybwU
Djnt9faObxVeGjpwJfr63ffnebnHyMXTA+cp3kXNUpCejFwRg4w2mzhivUkMEFj59SMfEnVseR5S
kBN3wZSEOa2W5y9duundaqlq6a95oCP2iu1M1vXgxxynWKwCWoAZj4U1XYsQwMac0FGjxB6ZJj0O
UnOAYwbalw+chlGDRgkBLbRmcMG3ZMpOmsw6Wrwq/cYu+3kGj8/tGQy/FCJGmVvK2OvxxRODLMAz
dIGyRaPZIEU4htDWlAr3OaxFVzu0NLinR9EtaRj1Zk1VroszdUf0o5+LJmCKwKHT3lds/rowiab1
HPPu4DWQuaL+oigYtYbT/bB+Zg6OQciu/bN9/XBCgxGi3zsigGhDojAeEyJ/0X5vvgzg24g+x0Gi
b56/JKM549wLi+MFGAS8YrLCw0qPb/p9qa6V7VhyFuR/AQoVOf7iMKR89b3RVCjhw+yJM/Sb/Qka
mbwf9IML54mh8pCiZPAFZedP/mmP6a1ctvGqBF3+tCsxzEMDoYhRv0VjTDL6GdrdzpyiEfNxK+bB
uJxs7wvS748MQjh8BJ3sIcIKrNqfaPRPnjvVU4LcV1fGQnLhKFtdqNd+rNgHENjBhG4AQrjf99lo
eHavnVwEYpjuyP6QUro/0ERI9x+kutvmIKL7RPWlB0+ODgAgv8iv0RDOw6c1LzY8SzNLrd6upwut
CZFTeoGKEf3y+KYWpEc/av2mpbd+n4GfFYhnoKhsIProdriTjTJeRO9q/4ls7hCz3D1leyMjPso4
BLLK1ngt4327nMqeoZ0C5TduNmhTdGFMSlCj62rMWQvipfpBjuCznqZhO9Ytdp/Ph3yRiscMywhk
/1edFa+X9610AMYrMtf3tXV+pd2GbvgzDmPmtKRliymaQZ+DpFIRTuH3y9rqPs9TGwNEMWick7G4
oyhLsyN4wdAEH7E33Grfg0JqtzLD2nQjlmusccgQugUOZLpfu13JFN4UgiGcaFu4MK+tXAfdPkMx
fhQufEk3bUq+gi4V5BgJ6flTfXla3a7rzl0bGPe/KnGBiqmIARJZUfQ4fu6zza25vmgRoxej/TYr
KjP8YYKYfkDjGDalw2TVYDSbXFKmNBoqnF29ed/RnUfjH57AWnqecNeLHoeJuDQmqwcuFP1Sfa/i
bMtfu2rUm1efZks0QDJd9FsdEh5Bf3J53p7gSv5e2zcDjtp+3h7bmsTwb2K4MhmA4D6eHOTkXWSU
3wSYM4qL1sf8Srb3arRkALkg5Ov+D0tscB6oiZzYgcaSck/SZ8S452HasbfHLlDk98oqWQlgnd4H
0bvXZuUWCGo6tdeaw1kB3zfHnneeuxrL2WYLImDVd2xANAfOSn0TxqOZpcqULfUfiGymlEjvDmcC
pBuw6cFXIf8B2E7dLeJ1ZvZebO/3CXPYxOxstG5f4YKGAQK+Drf0/Qqnt+kzRLVavn3u++nepaDT
jdVbv050aMnoF+KwlbJNpIZzHIu+rmGCwclVdWQQ2HrzkAr8SYwT0rcW7gnzbm3czx+U8TRcqr8m
u9id+CloRU+2qq/CNph4P5eFTevqILrihba2jQn6j+jC/PYHZIrIob/aiRm75E6xixUQvNDOVJAM
nqdu6VHTKfw0DRPUORNTDCaO4RL8UHP0B8two9XT11zAot7UoV9D7JX+xm95+8rf+C+KKwaY8AZS
Yk52iP2i8/FP4xoS5nfGDMTEyDUqsaaHF/7XfutnJg8Sb1KFED//gAEYM1J8voDdcai5T5TN32HP
S2Nd4SgueQ2nw+MPc24nJd+R3Psx56AEp5fiwxB5Hzfypj5zKJdkkozn9CESgOMD8rqasP3Y13TF
2kAEAiv7AAu/nuATSGA4dvwKj6GZ+raysHGooP0C7GeM2i+QX4bZvGH513IpIsek5uKqygUW9mNe
eMl1HOw147v6hS1cpj9PX8FtQxwdN0Y1dOruKgTcyAf6/D2+KWiAgboDKQb0bI4EH70WhrYA50la
/z7B5Kf9Gxx9le4hJAP/Ax/Hnci5C7zIAq+LAHSKk/GRG6dz+C++ykILxWDgVo4XOJCScSvHv/IA
sRFxZSQdl/q5P8pOu3yvRZS5UHoOZMVvXajhD/e9Ogi6xbe9aJOWeCDN43Kh5LdKO2B/ToQU2+83
etFgDPb379dM/sHnqR3sEojIFlehxYhljOrFZ5mGAEHykBdJltho/LEMwuR7kh6aktdf9egMoQUr
2O99U+OXbMqTUcmSRlFeuQLawBhFk+84ekTf1ooMxCFmtbd9/N3nMjhb76FjJA0vp0S2/JzK27vi
GIM99M50RUOz3VBAouQpoFOkIU1qId+OFZxuGTi7ctAjkH95LR6XAOtrbB3xFGS7/yEgOYiWUTno
nY+ejPgzirOi99tFfKZ9FOjcZg6Rllln4yO7z8vQ0WAAQnmfI7Q1KjdO60DbDOwG5Faf1lCf335D
IeuidqMabnwjDnE0YqpVy5tmH0xQpFyPn4OsgEel1N90mIExYOxGd2yLYJhq06UBauWiPviISU96
fdeTlwfYZOJW2IKqHJgQg9dFy/HI9l+8c9YMawvVKhDfyuLlfZbDWtu+TmCBJ+0u0UGhwrIa3mA0
KAO20ctJha26L0C1dueJ85h4iP1reCDhL7N6sZhyO7mmC5pIerN5XEsPKBV3rEu2Deqlkmng8tha
lbwmvwI0TSXYOMxrxV/QVXLjS7Kb/jJPT3aT+1y4m6PaEj6Nzs+LTjHtvYyTw64gFs2TYRs9t9uX
9I0bU9N5A9MpdYmDpVHNtXR1dxTsNDpSKwuxmLhfPMHigTmNLd9wGpdg8BIQOo6AGD2oj+5Wt6WT
0e8LQubqTQJlklM68WwfY6n3nuULUOLNQrJwUwjHXBo6W1OaSmi0QXuTQlgAVDcA795MvhLVppyw
31vqIOm9qrZAm49SeM2IVDQ0M3gMw0IKRbblk3zFM5ALDK+yijCyIydnZoM6jhjalpKlTrcyGrGI
PS4YBSYYeof5t+g8mqDHpU76NYxDvW9rmM9YS01gLIDJJfgoFty2X9re5ORp5xuTLTeJGNgNriD7
tNXizKJ+6v8ZjP8mqyzovVEmgKHIh5aL+QHlkPEizEhQ4MSqvvc+83zx8RJ2gJdDvxglBXL3Mx95
oQkR0Xv/0jnnrnJz8wDtGir2J/ywflfwlerycKa9ScQj1qmIqzsSd7GgHb4i0dnDiaDbybh1bMxn
l0blHWkiERRb8Mupmy1it5zXhZ1CmyiupD2jCZJ6Y+77pR3kPZiyx6n0hi/Fnt4kZJBANl9BOJZm
toC2vkRP1aUOqOfCEuh0O2dYPB+h3gj+Q2xlhWVuzCDrtx27ou28Bv3GN5MGeLV3F//ZGXMd0S11
2VXQGIYvjUM+cyOc6MaZNS8yfittMKaArmbHXDNjri+qDZJy1U/dwis9zR5/s5DHf/5sKbst3YdV
gCcb715yTbwaVE6SrdYeW6eMpf5dkc4LjNgJqCQUUaX3cEq/QCjanPyxJKZBd0y+6H3Y2olBvle5
JIGO5HWHFyZPqMvbQG/tyiX5QZQgyLnq8a7eT1zw/DmWbu5ImGLM+83oyVKcqd1sxieClRgtdmg9
xul9qS7troW8IsDBSr1RFAMFZEQpZMrtejW+L8URIFa619wNlgu/xnUxz39R1UWjQkJlg9em63kE
gcr6mNoGQzEiGVsPcQsWGPnRfwuNS3y7tFl8WrZ8J1fgFF+M/z3t9P7/3W69Z0DB7VOTOvF2+ocN
HPAJVw5q9uKbySASRla9Ynn10Hqedrmi9fa0C6fcvRxEzbl88dp7ovUBGx0HaPoEbzfj3xHy4+OB
zOGRtiz13J3amoN9bOr1oKolJ1nTm+K9De74fz82RedbPtb0n6j/PBV4878FkfGYqcCxw0JgY3wx
bDnd8Q3k8WmM/gUYumAEVIeFL/wgvPBT+GpQ7yUrJqyvyl1zePP2d6dy30A3Z+O1RD6blJsyYj5o
Yo4KliiUYIMDv+jfg7ckq2HjvZxRKwTDpADB+eclvYx39r/NpPP4KT/f7gueFQLj9JBgtvuVSz8n
44KMEciDjw2kvwZwimq+nI/H7MPrEFcEocfUiRWIIMn4qIG1uOKVa7IlOtRwj53hN+c+csLydqov
eoVzvzFuHlGFoyfB/Taxp+QuLErJGrA99CQPW24aR9zrlLX4dmF8ccCMh0wa/H9JHyrep94lP6Ae
ucm0aR7j6/Br/LgahdYMbVRebT6+jDQH4nLNOL8LFvOT5tue42ibnMet0K41p9qMpGXVHD8/dG8r
nr/hjo3T5PEXa2fcKrw2/8wlcnxt6IEjsrLFJIAnzVGvsC0U1jPqgP+daazvcVE8bgkr2m/+0uUk
YDAVcHqrbhES7YOROg9SPZT4OckpQwTLaOA6TH/3zLTqn4Fvf/jjbzngXo18uCXLujuO66pb8rEJ
4da4k8a7V+9lzSp5Sg+/+xt4P53mX8rCSL7GD/myms1kkdkij2h89sz7eO7PX86SXzrfTPgvDSug
2ijeKC/Apw4zj0OE3/Jx3OAMm2Pvw8eTWRNQ7raSNd5xBbyM5FDpMxj9hNSwLW/679L8lzo+1HFV
jwcOd7g0233MP3Inx63Pz0ZBtQX0v1em7DLJab4BPLGqWGYyki8a31ODNwEFCkpVnM7oZroqqxOz
LHf4Y3w3/XdjCh964Z/0U4Sfn7t/p4Fa/0zc4pzbJfcyt62YJnbiVp4K3BSVS+7nwF4Y9zQnLP3f
1B2P1NqLHNUngtiQkix5P57pik25HzmFDaT6kv3L9eFiHCq+EpN5dEAztxr/qNkVuE+NV1IQcOWP
6RdEm+t41NNc+ILr5o9hQLNla7ofCyzSpbf/oEMBl3fSUIHRewpSUn76tNgv2RQ/DC9dKkzkdB9/
oludYyqMxhFoef7UELddsieURiS3DxrqGh/YXmJql+Jv/GGmx2MGT1nqGhcJOnc4ZmixL12mO8V+
81rT3Vi3fLheOoPUFw5w7fHCij8Dc52/tLRSihDhogI4/cupVcSxEJJ/8hAX6CqfFX+o4wgXrmAg
w3aLv//+sB+dNdH8pMO5tSKvRwhQWgwQBCe/Efrn4obcs79704qXnXylr4M4xVOFXjMEm7hpmdR8
xZn94PGN/oMD5srHz3CLOBzvAzyHBPKVHnIyychgPujhMGyalypRugiQGvm8FsI7eEWbmONQdavh
S6hPwvNuZ8wQG7L+6nmUoKvdnRbBXX1dqn70WIrI9SvGpmRdikj2mM9NP902GzKoJ4mx6iPGbVxB
lDAcg6yRZA7JHskTdKvSsN4/GfgZbPkSMppAR2whs2FvxNq6gZ0XTn+z3k5ia9IvFMGcAEt6h8kP
ZkCyV2FGSUlC6d3avYya70pD4Eoz5ggWAZmfxoE0/KD5B/tjAmv2N0rnZXGa9q0pLUXG0uAMu9kk
s3vQPvjXYxwLfUO4MYkgR1UUFx4HrJKXiv3O/KP46SegLaBcYQTcP2FpbBQtgNfLVOCFOsMkxCKn
H+1LjMqfRjtyseeinEv9FrL+WxjRdIzayJiHHt5dy0rpw0RZfQzHyP07Bq39GthNXB1aeF3Ww1JO
PdbEqlvjADG4fT3PO8bpO+lUMYo6vEgMLa6PnLw7dKgG1AWBV7lK3vhzjFg3Op7SJOvgUgyIrIjk
5lYCi8DEWXU4Q33Hj8CD7Jl7EYLOF9ZmXzy3IK7RkwCh79cQkZLFRAo+T5CvJ0Fcc65kTHo5q6g0
tPhaRD/Vw1dp6hcoWAO2vLW1nUhcvC5A/X2Vm+e3Ycw02WYmPfKG+J+u0U22YZ9ib5uCwpRH6APu
G2ZzRDo2cidk+aucoYIt/SR78Qdd8l2nmdORSVuRToA7cEGYJvIJ9BZfqFsPHQrgx96DHt6dFvwm
c+TT59AuIZLQtXiiE9tZRnBAa/PwHq3WHptupc+mP/QGO+Fy4pp2kntqzlB7hov0YqwyiWbK4QV6
8GkhsV5sY6fN8dt6fywQozd6waN7HBLNg2HJ2/pJTe5hl/XwkZV3AOUNxDLoVdQ8nYslWkpk56MC
xUDnFCIe6ZriMNMsdB8F8SxaHzHTAvw69mhTB1MutIXTn3/SQOnbKrDVQgrLkhkvuodslTlYN2e7
8OUmC/UAaDylvyjgZtYBGBqt4TQfAV0QcuPgFP7cK7wNL//+i6+Q0pu69/wa4BE4ZPQPerL3h1fM
1NgVgu9ohqA4slK4vG7OkEdG5sP9NjWbb2YhU1N30StuMOvw0U8HKncE3o7O9vOIP2XXEIHBwj98
AN8OlhNWz6mu/352mAaAoUByYXvNXbYVTOPra44q+w+k2BEg5JTQoykayCjIhsJSd54glbauGzO2
QhfjkKzAjULd3eUmKHGmR7jnwdFWRz0vWCfr9IpR1GhleWPMIuGko1pI34HEfOwheqTEvddtYitj
GfW+iHNAslQ6nnjdvy8qafN7diQAONNRdSlb3ve0/EhJ+fHOBsJHTuuXpQVUVECcEhdVmHQIeg7H
bN6RRYI7gz5mlV9UQD5y6W+ztRYy9RQjcxeqQrOtZtMMbKx0YmRCFMOnV7MFGWuVMZC4M3bOn7zC
1mDmqrOWKfMDJgie4t9QvFGLCeiM66sHU123tnHXY8RXjar6AvQ22h64E2iDnWHAVFph9yMcBaBE
UHTmYgHIYfK756Q1QRiFwvn9jZYE+4tWK9LSTwsQ9BWvZ7aeD5gds2Hq+sRkfWLyJYOfoGT6Bz4D
DjlDUNl86zZeN9R2rVckjsLMGpSW04X5frCSeXZm6pEwnHIU0mwkcmwAei9z68aHOA5gwk2YdNOc
eIWMgOfv1t7WXinaIxanRuukCyDExoIHbziBr5d74C3SADzZTv3Wj7LZPs0YauHu9XBU7C/wOLHo
KwCRj2hhBePiZK2WCKy/6cJvJPYCDd0puwZSaPsbOx4by/BVuJpgw7LvBqxr7TBJwypTsjvkuPE9
BWdHE4AZ+ngepUuMHku/XE8OpHUdCkERasHmhKMPVPh+QpF0yZfGWQ9qH0EB5/KBUoSDM5r060Vz
FDANQE23sgpfOkcDcLYOSgp+AIzPARwkt+ZbQIakHQ3Jk5sBkndiCqvWGlGaAAC0XYMY/CVntO7+
NfO/2EouU++RzfAkv28EPaR/NxJqPv2sveSosCjBdJmfmvlOsIjx9nT+F0G/UL6Swz+HBogijCax
PP/HNY/rdco5CiKWVDUgbOuHyobVMpGd+BvQczM7nyVYeyotkjYc6KmbHOGOGHKfJItZaB/2VgU6
UApLpMHdxMBZi2ltp8w2dMv8yNTBq1lIno96vg20XDvDFbBwYbomQeq0DKlhqIPfWKWreNXNUSTr
Z2iVrXfNadMw0x2djcGofs4I4pctwtojXj9FiGJLwsObc2lGtNLOUBUQGX+Mu/C1QsyDH0ScUfdR
l3p5pU3uNnVwnesZilmMcDfoTefkklCvMRGlb0V/CTlK42oIXxwB83IHrYCiywPiSecC3bv7DirF
hqLbeWaALkgzQGHIhD4eo8isFwAiaCYLc/U9OgNhTufTpqNMtQJ3JPx3wgZQgr5BJXpvtNSZ8ewn
4XP9NXHivcSW7lG7uDBBQ0pSMfV6NVb3gHHmACSEZUsN2ILDz16hemOyybsycp9tP97Y/ULzhZkM
pcwAcNlu0/Cj483EJBZjV21X8J26L2jXtwBghZX1cCZsknTb/WVHkMvS7RVDt0cFY/+orfmx1A6F
cftg5iqZF6F3QLCeN9qsLDa1wAxoh1Iy9Ob82OLVewbYMQ009YcQpmISw4l7fvXz4rPWVY4N0Jf1
dz32QZcc1QjcnDNllmSrBdgfFoOKr+3PpAQ7BsYG5Fs8dcuBPtQISKFHAncmd1/STMchhox2Q3eC
YrkD3dxjUzmiKGk7IZUMwxeOrqcNniz9FmMIh+/YOY/BBj8TVo1XVStywFUhuyvQRTPgr528lo0t
vgf61AyGFSNzOQMP8M3Ywr4/FnK6/EALgLifmZPb/bg2UK5qbHASKpmnN2JZqACqQNmVIW4Og434
Cf5RxAq3FEDvZ1MsgsyEu7rXv+PCaXW6cvRf6D+Sy9DpF+3H4OJ6NR/VjW3pMJXNsoCBJeAdpCDy
hodJdT9Pk7Fy5UI2L7iHdYaRCNR9RxxdKOcluMC1br8pOiZOlDHlxlsmC1ZQENQriDr5iRqMvrnc
35ucMTbZvxWfFIm1AMfuFYg38C9jaEvNtwYufV6ZdBAT45KRCK6gNtfGHozBokMWZXaN4bQukh2g
ErkPtMLODrn7/EWQRf51zy/IWLgBgjL1mh1d/QLgD7cJMo3slBa8RibQUCv/RBYd3YOf9rlK8hmQ
QXwragBxM4k85hRigs09IjRo4RSFTugZHYS6p4n2IRQPQvJRq881KRxDD5pazJNkHAmOnAHf6RJe
DqllC0wEMnr8nR9xz63UedvPpZApBsgeaQXjXaYbQno1SjxmMP8JsE6GHPJ3e0SLgM4qwF9MEBjP
vNEcXehn6WMyF8hbREesurey0Rojs27qXC7d2s0kSr2T7MXPVc8INkfhmMl48CLrHG18jvpkZm++
YIqSRmEE7fR8NgvjyamLstKd3jbOdY6wr073OBAUA4nw8GPctFB8fguhsp5Kqx6lQqB8uEI3Js0O
Cs8leDRhpyv/nBX+KNGjFfmlNrVQLoKgwrPgrHKeB3XPqCuMfqiF/lCr5fZsotU6D4OGQZRG4Db1
BKmrKQCb8OXtmSPbxjJ34RzfGbl9ZmcxvGDtuQCWA7GmlOnLu5HI8bG9r+cI1LkNCnIgcM33sfB7
htFo6IO8sFwqHeFc/sCTX6OpgSMSyUQBrOUDeI7Iu1seORkibWe80YK6sqxRr+sn68kfiRKfQeK5
gTHaqAN2mQLX6r2+4FDN8+0HkyOaB51tgCwkDRHnwN2YlTyRp5nsKKs+2LL4H0ffTDej0ScEUguR
BIwxIfjBQrzWID3xrNlDjXmaOE7riVubqj6rN1NighFsEKcVggxYRHDH/cV7NX70G7eG+Sx21VED
/g5XWFp9mlFEkI8VEZI+c4rlZs5EeoIzAD0d5y54u4eAs4nCOUYSB8Mecc4PFTUOsFrlxvXshhvk
KOK/5b+BDnQc6zNM2IT9AyxaVo/aGRp2zxRGPYQsk1E3tJADkiLNy8PVGSsbv1TDKLcV/2V0vrQW
NcwVCPIFUmAEM7eDmpTgnicSrVEBwmFnkR3RU81Xn5EOevdbNgRNChocvQOitApfYUnbFF6Q/g0v
Nv34SWXLFJ5Au0a60FsMivTANw1LRKT+FEZWyBfKDuJ2gynQmGrsFzqiXIOFT93UB1J513y8ERmp
gBLkbiYhKL+eTW68ZvUw2jy+XISe8JOcMthuvK40J/qyUc4jU3YAV4iwxaoRN3UNTApfIXOiWvLg
Q1DHK+ZSnKcuxvRnbChX+mUawDH5rj+gX54euPWqX+mSu7u0ivm8pqcGvqKghFB1o9+qB8RhUi7M
oQHsutKBPQyFOHM6lA8gJ/vjqpHwYJ1XJ5Ri8GuGXDpHwoSTg/ODgohUip4t7pMz4St2/iZzmPST
OVpBHgYWzA5/yDW0Dby972FXQIMZjY0xc3LBPjsK4mNsOCpxT/FVG0k8EfrN2KEcMdZu+k1aSIXh
4gSXke1LbqHCA7I1xoObBM0rN/9DSx0vjYMquLJk1YN5Wn42tJqQFPrH7aStCCWms5B4WBiULyNu
Tp4J2/t1S+eNeew7Wr19hJAh3oRoFfid9Thi8X0wvnMMbLQQ4R7mhsRWeQ0ZsfxsRfRglgAJmaEg
UaqsjSXyF7MPQGiRmLB/x/7D+lyLdWNHiwKeU/ix7kRmWXXBGB7xnZ5//DcViKm0Z0wahXZHoBIz
J6VCD1cTFyBrin3NuFf60VSeVDe9RgZgZZwYF9BxzuJPtoQoyLBnJHvmh5oouCAtc0QwN8Mv6JFH
9IPJp8oHnOUPN31YvCFhgoNLd9/Aa6dWSdAYbLj6HZo0+7hiU3lt7vyxXf7uC1137ocGeVWs65vI
qukqyou7i2mUuswpeE78wFDY77kGjS9xGti5bGdppYvB9DmdNcfLc5vy3oIdxwtthQNlw/EV8SAg
YhP1js8j6wzr0KJCLGA018EMHA3Uax/9keDyPjWzxC0LTFpH9mPxPkWAezEaSw75KZGXqO5gWg0H
xaaQf1+JES94P6O4TjOPnRwyPQcIGBXSbH1WFdZwgoq340ipf9/8yy9j63rmQS8mcdqkcbgrFOzS
YOD1JlAy/kIDATVnlnU3VxvnWa/JU/KpZyCE9jI/6wd5PHwtOiyElGyTDT8oWwFA1J1RsMqsrs1c
omV7feGamVvv7Exn2Iu+hxLJA9A0sx5J4tKJdOt6T5ZT0+mhXvFlS3VTqpeFQtLOZYo0ejJtHi97
xkYGPHsFMObd5myNlgOT3CvrgwV67jYjt4e2NObBjmqnV24K+HoqiuJ3AkOQe4CKEMA22emPEhgM
BaCHFLy+4/WInql80eYiHaDCbjfv5ogx25V3p5+duIqfe7xa4qrbZEEvKRn1dx6uAdOP287/dyNQ
e/R/pneEYjJrxDd8oMLQEvnaykDKDKO0U+aUbuFipnZAQMCaWvA4vifWhD8NQiwghBF7As4zUHFm
gsE2wliA0vS0rEfkCmojIFjYfgCJmGVymtuqX3tjE3wcVY7fAgkroCfJCyHj5n7sfjkSCl+/918u
u+HjcKTy6/WLID1Xfb903mOBfRtpyOBBqPI6xIwAz18Kd3KtD0kAg4G/l4fSLV18G11stwIMDt3c
gYLq8Jj+x9N5LSfSNFv0iYjAm9sR0AYQQl7cELJ473n6s1b1959QoNFgmu7qqsydO3dmFem3dLhz
ZJG+U30eWkMV6OhAZEXnn8qdGpbNY+VufOZFmqPws2xPUt/CBtLPt9cqvaRurfPPqsXWfkCvfX8z
WHAXhEtbyKwFn1q3Ty/FmK2zkcF0D/flLsIoymibSJxIxnGI4/P4Y/eJUI3KuctrIy23JytGdv/A
KXyW4y2nu+GILIoFY0APHVIVq9b0Q5oLo9leu5HVglNlVyk0iEN2G6bu883L30SrYfFtNW9aFBWt
MOvcTQ9BsXu07+xj1PhJCXnZr0O6oFc1/4zZrJtiYQtdgRrt1e9hzbJDBh7lkXRyTIg4xjUqvh0u
9OfifwfkLnTKaxfZaKv8Rlc5/qp/zSBDx0j2rjd04dX5y/ZwIcFCxBCdaU6cUgsfH+NVr/y1iTgA
t+vQW6XQAtwkMGmbdVzkroErknF/dI9gI25QNP6DzUpYQZNoQg8ZmrXn2rfVHXO4en+kCdK/ywfR
P+tqwj5no8/SM1FJuxFfH6ut4rD0vGO/8V2bfqBJKdm1LzTVpDMBXSbjLTsEUuETL95xWwuaHRSj
8u6xipSWIkBWJgiD/H6tdXvcUFZFNozeYBvkYPRbeFcttm/nnxCHkVW5DI4o5abkykhfRXTRdHdw
0nnR9q9A9qnRL6ab7qa765ZJNM2S3BPfxLdRsk2DhV07H4GF2ls2UI+u9ABpxDRgiMZfV7S65zv6
qCbeMkwlQSDDt/6qJUf6aE9+6/e59owx2cdUa3yUEZIwTaoUKF0+avQzpnNxo+v93nI4mpYmbLxW
ekaQnr+n9i3esJnGvxz2RzkgXzrpYt0+c51rZMNYGpeV/nm89deWfVlrP9UW+0eWkgVY/AN79Tbr
zujhuvmm7LrA2+p0hGgKDG7I/WiMfbfvVO85i49CMqJMiKiRKzTZ1ik9U4VnSvPQZlOE3vJv+kr1
H+jq8k07VYaLsbumFLPQS4StDJNJMhoyXgOaEENbmqwrDud/6z92v0rGZDYnz6RDaeHfoITWPUGr
KW0wh9ffcQyvMnuokDzeR+fHQtcUYqlNaEOf0+U9deVd6AY6/fYb/VqfMvsShDf3jhQoQgp+yPAM
L8j6SlG9zxY+6RyJXr59o7Y2vfwRmlNb2mN/SrWJaNNu6bx7/abV4bzLB55OKVavi/yPNGD+B135
zw5BBam0DhKPDvpYW9yB91FbPmw6h+W/UbdODDPqqmRBfdFBb9ApkFM3T0/wnZj4dJvwpER2dfEw
JiVPvw7yoFPSsZOHXTJ7oCQfBf4zhD1l53UovkuT/SfdRJmg7nP2XOvT1O151S2TuzdLSrXw8+Rh
NNhNmjP6SCi5gEalGGIcrx7M+Z8S0l/NC7kTsr2fpOQrcK+l8IBM7I4GZRLRlB0XB8yGhGWTiyv9
Q7v2VCn8q/dmCemRWh+mkzfSq+WzmpL1foVvfyCtndDFh0R2dXM3fzVBTZnJgEKkHbtaldMK4c2C
DnDrzxW3qvo3jjfJISn/nbqU4XQnD/KQm269d06v6aQLjMEsLGjVyHJyWS26kKKv6CSSQnfcQDtS
aqLmJd28+nA486SUD126MCwSysQxGvrMEn2jY4r8qVgFwWGqCN5nSZn1WGFTuvY1ZcWmuadZskeE
xunT0iapDkY9FLnRaBavGIAZTxaeSJyM/4SEsy4d5tgb+OkKlcu7GZ8Fby7TaGnJfpa83R/SjEz3
MxO98cQLqJOjm+uD7cCvUXlI3DDpVp5okdMtD2tPuZitnPvn0HbpnbdkX0pbIE4C9RfPjO9v75wI
x9uQ+N90R3QT3qApyPEbTtk1U4/q3Ll8Or73Ao5s9tibFWHTST3G1UGlP753vV3TWt+SyH26ZVNX
PsmKhLJmi1PMFD28lH9o1MlSEgC3q72FiHiSgIlvT1dChWqPIIBWfbk4H/F3inhbcYNLsHp3RHFw
izdEtch6xsgwUKyky1adablJyliAz9nH4XlBch/Z3PuURbxqKvgYASHqyQbRYPW5+jMmk15r2cCS
7i/xDMRLVoR+uIhnFkrKSGmUvtiFBe0ChCdzWeEREgdkbCqcCliGfGunokaTf07LwwMcshZQgzdh
X+e7XLuU1Ft7OjniTvCkGrJ8NEny0fKPXezavE7gA9eHoa0lo3tiLXHJETB17MCRlX7ONTzUNl4j
NNAzFXCCOcbJcYQ8b/TxNfS/oAAa96CPPHD84lBMKP287WBRtfH0wqLzWEKvpmTazuG0yRbTWjgg
FtENG3KhPp0AoK64e4D4AyVQ43+b79P3mXJV/BkLZtE939H9lFvvhKmm19dTlxYPuX7x72JBHVPj
j6CD/FFr9mOlU2tJwPJ6/ESygkYCp0X7m2iNS2/EpefcTwOIsBsWm+dnLCPbiN4+F4/7pAFLfO2K
n9gZnpgGaARsfJj3D1RozRkf9ixoV8XuwstIuFNslgMErKS5iCKwNcpkmIxLC3QU1d8Bu0ljQMiV
KuRGHT4ovy/uV/fIWMFsVZCJAEzcAIbGy3Dvut4wm6D4m+oanGr2ine33mNZ95XRsIdC6kUxlevs
YsNCp5tKdg9ofvmHI2JR119wOliCGf4qF0+SRffIij20V9/6sGOazQhvrxYoz032OFfc+gYOiZ7b
rUJSeT59TL/gdFgRpWRDl4gWAwj8yOF1r4/H1PNkljBPhCViFZALMKXBO3iWq9J/6rCZSaAG37Pv
kBedfl1oLQZY7pA1bTKqJCdoN0BQD4BHmMAoLxlvIouIjaejWQtguu9T0gYshlxoV5ALLM7JrkeU
R/d2hDuoru5z5DcpN45uMXm/8eP8tTxgjCaQF6MXDTeGDy6UmUvCPMqUTJhCDcyRvhubLjQYo4sh
4rkVM2eSUBOERXUc84zTNb0OMIyN790zpW2ktnftPSFIiTs4oVH1v13un83ANejVq/Cg/iIhtqdO
ghF/h+Rs7/9oSHLvLSpHkOUc3L4wVEF9U4CdngrAjlxn157/EWqxO876z/kroLim2PQZtniSzP+Y
K0zpIqdU6i+6GjLfdE5LIMXsRs7fCKfYSpYgZEa0NIkggNDBecpawcLTosv1RAKoWXcSbWdwJdgO
lip0F8j7ocjHW1xT4yfP1bP63tivOZr+HdrLDi7zacdWtvlov7mrcYhjWuk7chukYFd0UXYfQjvY
UsJQaE7jHVBgGtMTb/EPS5nSLIf5lmNrAjpEXJl+zntx1oYeNhG+rMBs8hl4d1gjJ6kzDKDYmn9p
vhr0xROjZ/OKxuTMPGbjC51lmeqF7/H99LFElne8f7AO5YRYl4rJdp4MHJiYuKAcbPjeWthFW02m
4rxKvHkqdPOtfG3XxpxPgSlK8fy9HWidUR1if9leBIkoWsBfZIy/M2oe8QPDeavxpjBPSSql5yUS
R0r++D1QKTxns7VNW22l2j32D4lOc3zZn+K5Bm2WSHfeECOBGHbJ+fNUBs+c2TSukWh2KFY7vZzo
8tTaXaxcc3HMWshGMCLXuMqKKDYLrd0jkd1D5e6ESWUfU541Ar7Qn5S9tPEOtD7DFxzRaBgWnR7J
f7Sq7MpF6cPlpeH+5ev2mlC0/EYAhR0kdCKYKcZLni29sFX9RwnDV2wa0rE9SHJMNoN8vGLSOL8w
29oCmvqy4lDfbOnuuP2bF3APG3BGdUCrfnZCqN/tP5XITT7G4MBDH3k0Q1xsnUFNrLpyRNuo73pv
VbpzbRQjZuwsKX0vkMTheIopSU6nmSrCDVPtkGxAfSLgDZJZRXl0g2F4p/eiDAEQPZhUysl5rlj1
ByKa/F8x3XVJMevaXee79pnrWGLyL71ym5Q68ZG4uQiPwcZfbfbta81aBufXL0P4yfAa0wHonnEn
staRVaiKIug2APZt2i2JiCqk8NB7dXw6/lAq0Tvd7xNaaFASQa6RrZGbm8cyh5AywSe0b6/zn/HP
6LsSkS7Lf5coIxLB1ygKosrdLUFxU6+jd6kHTw81G2jCcC7HidOegO9kd/t4B7M+/1mOoRGW7cPL
sl3EoBrtc1q/BueY6KT2g4SGZb7tsI/MJKKLXC1xWXEvKVaHEuN/hq+GYlsKgi8f50az9KNf9+lc
e4+F956jNunMCvTUu3xAF02/kEewHtcdDwYCYN2ePvQF606FT2Mhqb6CVqph6+i/QPqPFCa9T6ot
Pu1U0hLRMcqo2S+jc/O+s+2QznhBdoRl8ITWnaUn1+PbT9DMtPsk9DywKx7ZKQLFWrf0M34LJ8d+
XChDYBRf/IrKs3FjedQdfYKiW2BE+M5cjMiSrmDBCVZ71WF1iAVnQ3smoHPoxPyrDkXW+smAiSdM
L5QURCkUuhNfEMHRbR8xLN5j093/ERAi+GGm7gn68rt/e9xyfWCksGKFCyAxJ0g1jbDQ5Se010d+
uf9AiTlOiN0JqxA1ihXX7+qsb7z/QFl9oxIXX2ptaj9QwmJVbjFxGbSUrBY0eiB/qFNsbZ8yIuz4
5CQ9c6wa71MKap0DrVv4RqrcBKKU/sabL+EoHQ6gGQCZJHimaLw9QbSlqJevveu9otkDS2iFJ911
QWMhJMvMvjSBKm9ehfjGYYgEBCCu4SaNe99FIo6nDuqImc4HoizwQezOWKEJvOsIlquNqhKA5DML
EOo5REeEFYTIRVwKLVgRv7PHBlrcElUXdIskPMnchfxIoIqg+yvMHSepE895UG0tv5zFoFOm7bbD
g+dojRZQLptyiHVzgdkQKteHuj2CAeCT4RLBjg4T3KVZWXSznzp+19Atz289M56MEEq0BhkC1NZf
4++xdztMTQh80ul9lSh4R0xsXLxLDPBRzfDtkBacPv0wGDlASqavZvMGrrHRUTvOLoBkuhXO02gJ
pfGGGWYUi5kkIhPX0WkCTvUIWN0wvlLNs+EKH5HvwCjDrWmYhFgzWDe9AyWuzpp1U7ulagVzAQMp
zeVbYSy/VoGBqwVCR7LWNS2Sq7aIM8ZvRhXFaPe+DrFTFjlx+98dOgcrD+YEwTNI4A/H75ru3jNw
z6RBd6/IGshOsHOLl8RKo4RKEKpexqEQZRuVwA8Ifojdiyk2ux6NCMeKr1QzEBCjbJzQS4vrXoRg
Vnh8YyEyfFr7naSWi06Bv/6h1M59s38ls3XCBW2iS6/OOBz7stYsGsoB/bm11j/5ZhnG2qozPCgd
+tGQ8AqWnFsLZmLkq8w7JGSMJlQmg4ZXpMjQokj6mEEzyxJbBkpvcgohqfDEWZD6Z6FW/qxnrEVn
iBaF/cizAAvWFSCnxqz7PQv8ey7B23yBkOEJYZAlRf3JQXZLeEuBbyL2Dnx0CwG9CCeuHaAQEuI9
mlECe4rZd755S/UXmSvLLqTIzRckyPOe+6fHNfe98XsitpF/XqTyzweAdliQLMrDXWCguUqmyLJZ
4ssKLbADfjBjp6la55z9Hy25m6uW41qPPa1y+GI5aP9uUMRdbS/i67MBFBKSNiXqv46+E89jizgc
0Wu8GAYhZnCoELs9Hr+QvgnJI1KWUHyzXrHAHRnd7zu1ByJZ22zPojr/9fVJbw4RSMzx0UD7y9KC
X+SvChmDawcemfE9wjSzWQQqF6LfPY8ZjdRIhs2/spTh+mvSm/SOcf2+QeAC0oGSnPVoiszOAvXW
hF2FfNbQu9GlCxHvcfV5MJcyyLuHd/0gdI60O+HnPxvEezk1n8fr6WQ1WBom/SRv9MFUy7F4iPva
FyqHBJoWpkiuWeDCjndAaaNBgpIsJCziuADIxDuaM4wX5qeELsGY6AJnsfy9seevFSkFCiisc3Hu
ydttRbN8hQVOEBfYV1GusBih2tB30zej72d0XrqvfeT7rNE5sGUaSdF+vneOKJXgp0op3DKuxPuB
ZU7n6ErlUhkyq/zqO7FnBAjWZgn+fN33X0Fu1NfwvhoFFRZj1EJBBioW6pngEl+zSg7hoj8QMo/W
8XiEGs0A8Qf4xnB8kibgbNzk4EyNHq4iLiER9aXya6FpzYaVZtLeI8wJpGG39n7q+lw1hSVkiyPt
dQYqJw/sl4gJmd5PHsoUbdDMBteH+AqGPDBsIIBFVzxgmAT7izc44OKMzg5t/QI//MZgYDknmGUM
MtPuGrPGsL309gOwwwoAM0ssKZeP6y6sP5ZTEQiuAcdo+xw5FbfnWMGZsGAAdi46P2Vw7OIp8/48
DkCmYjbUEWx+zYksWeskkEgK+Y1uQdiIKtd/qSbu9CkKpU1mCzvDuZF4aSSosLJpPGItmTZnfuJK
pfu97urgyATTlNb68GlEtf6decdToJvEAT4kG2QDwIE0buNQAsiQ+SM9n62Wc0xen4UIFkvkimh2
GvxPp/wmfDYYOb1oaKYEIbPYlF4VvHMgHGGEGDHHSQ4hmEy4LPqL9rAPrCvjRMpD40OyTK1foWjx
K6tbY+cxwI0FY5JtaKKSfGvy4YwooUCm+zHtHQlS8oSxhrRWohXe9oAuK9II6EI1kPV4Ek8nWEvC
N8K5KuwlXgiKOaKTVQjwDd+z2WB0fiAZkbEoGbs2JV1Sb2lcciXGHY07uLjKaRCKEsuIeiZ3LLHL
E3ESC8QyRqrtmMmHH8+aziBgX6ZyAU4cOfEmORJj4Si5AINXFtjL5UsDUAVOsoLD6h8cB6w31pwr
dz2gaoolIqSk9YyLPqt1pH4RnTbLvsMGYxxh+Qsg5JHV/VGxGkCiRaWhH85mdoe6s1l9Hkfb8z/Q
pF7cCtLN1zLUCoIs+Sji7wNVitYhskv3UKtiWZtjy8gi0eT6Gu90mcEYOLyu2TouXKwkZkKoRGtX
tvALj3J6JKK7pifmpaBj+hq4lHYVZtRVaYpEg2G5bIa5LVn1CixgJd9btGwIz0urgpSabx61aN9d
fOZZGptPI8ElLQRs7OC/vmP1aW6bNAqZFiqdCv/KTcqXOAQtI3isk313C3jIt6/04f8rKf46cwC/
wN91ytNX/y5353ZuSGaG7HPoktANB6I5xSEdxWwgSaIuF9I5lkHZ5sEiqUp0I09DYwYy1JbyziMQ
e4cZTdGrBPEyojOoRXFkrknc0LsBJE+BMZdM3a7VXMYc+Y8qlVw0yCDbPeZ7NvxlDLJ+J/8Ts50U
lzWluYK/ab3Io8q+UZ5Bo5frzZNbWu173gWul3KqPl1nlt1xQped9pHetK1DSnKxa7xhHbEzR/IE
OTkFANzkdu1NokRXYJFemfpSN825trSvm2R6T3oFjG3AMIHXqvcq/Zwb5xGoCXOFnIBMquNyhAeH
NpyDt18O1NDjfyiUlMCw+rJ7JzwdakRMlmMmYUvoBE+oTCaWhZjHgFfTcyiCdGVf6XId3AIHzhZo
jvVI119dqkFjxmjqvH1cH7EuAQ9LtktZn1Mzfrt3Lb8zUiuJffycJbfvLAMYcGmd9nC+6JRFfyTR
XemfmLHS3ED6V8FzOaQXkRV5IOogOBC7IsG4G3roVDZEYlPbTt+IIpztjf+n+/0u8lKU4G746/xn
3GFaRcqD+HbIOKZ+Kota/Q2kJXo9/xVYY27+x11jxSh+IHdBxGh1d4V7W3xmjtBOxflAvV66YYXT
oMleAgMIN6Jhv0f/aXxs2JyF0ngHRqiDfIiLNIN0aF+oD11RR0ozZd8Ifpe9JsrmUiRPFxApBiWb
6PBy1aXh5uZtwxGAErdCp+rwezOMfURkyr74P3t67sNflecC7osO+oyXsUiJjSQ8Eal2XTISFqiB
Esl2ScZtDCkCA/G2h9/e47lp/QABTtjvuPsp2gn1lKRkYoOJHZ6u8XzyL4+aQZGH7hq3G35kXuRe
Zqms2magy8aZ/YJvIbtp8EGXKj6g30Le8rtA/rDy4J3RvfQHLMfzKNIzUboK1AqMYs+oSOBFZpAV
hGToPvd9oGRGCzn6w9ZRfwcyyqp+teqGV4LGfWR1LFXB/31YH2btsZkm43wtMcsUUz3vVXGVZR52
BJhiZDQxpy/6C/MGDxACcNwH6Vrnjl5WBoXEGUihgmZHRFt5RnwJ4DZ6kV0+ArzVAuj493hpUkM/
gmZkETUw+u2DJAKbDoSwXcguBeVQZ4hmiac3bK183vD6bMNEUFYCwRgyXT5H5FwWrVtPXEQoQUxb
ZB9EcVOQHIGLvBHZYwo+QnxIfLthDzAjXRVMUKqQn4eXfDwhAhJD0ZcS+lPjoUxm3z9E+ycNiVjM
YEcSNR/CIVFIRsRmWM5zIrcV20xWxGUY5OvrZrk7iwl37g6Dfd8cWIljTOJzUkRMQ0HOI2K5n/0D
GC+gQXlB9vaiX80+ubVqKYIcjwDeObxIAu8I6pl7V1hJZ5onWvktxoRysLPWfMj2etFFLnOWKlap
YRZKoOrTz/lxXrvbD9j0gHlE4Th3VQju49DXGVOIBI3/5HQLCLtZ/xXhy7Hqms3w66z93/HRZ+q/
Vo4vA3Ou+/Z1MAzVdobxNhMo8RfNPRK2hGjK1oaq7wdx/LJl3bmMbiGcUInjFkFfbATCkT1JHAXO
Qy6+9uZfhkP+z/m8HeRwKkKjGtdmrE+VNeaH6B9T5PebCxDleJ6qXiRehGXFiOTBUCoebpl4iTo6
FhzUjFVp+08tpvZ7vKX/ZjlyDyItAY1GtUCpDot0EJYICVzTILtCuG3ATR9AJqeNoa5N1W/6HfRX
T05hpxMcDJbNm2gMqQ3yXDT7ctxyh1pFnQnpD6rqXjB5mD1/dhi7UtJAK6PByszglvWkcdIkumaI
DPDTAJRvsYll0kd8dR4yQiiTb9tcyd5Iy2RyL2opINmTvBDg+Hv03WDWOmch58Ja2EXlL3luMnSd
gzOPlVWu/zv3lYxJZavuoucPi92QoULRulZ6ITuEp70BfKsv2UVklldToY1u/OxNPr9hJojwM+pp
R/4Ba8+W5Y6gsOcCqNgAWArRpmUvL5pWiTTLzWLAMl6haGVPWXgh2jZtCFUCyuXbWw5R5Lb4myZF
+2T1KBuxZrmt27eeC2rZlPxYs140Hd4VAw+DKB+aDcI1SNX9k8bEu7eL0LB7K0V63mLlgN5+6ctb
S4IHVvb7SlznlyEV/GT/iC6ugMOa1oGc4yBSHRJzOwobdoPD3ZP4xJwD8r4/2SQf+0RjU257wyhV
nybr7pWJVWwfsIRKEW2L5ccKrVxaDkywd+3IPg7Gklq+SZrHtpm6UEY5paSuo7AyxHkZm4RgjVf8
fYQBRloit5GDsnd6oebiTjI/UTvkX4Xge3b+A5WLxPX0hy41o3h+4+ew9DAxLjFbHfzvr/3nCc7P
2FryTup4hToLqo7szI2s3VrW3BW7M6jBW8E8v0oT1kncuIpln+Wdy6yQBYk+9p5O6ZtOjYavqBfJ
II7VgcuWtVsBHgOTBceA/45sN+1pwMb6NDvX+FNuqu00mQJR/oKO6lEaXNhaYTcC/eLyd5oCZfmU
7Q8EQoJk52HxSV3dOKFBfzICWp/gSrBVjNSmOw9UAcUk/F0FbAnBdNN5AhigLhgIXAfB45oHrUJY
5vq5/vR+xyezazZdTEtO3KpWyvwDdBDxpYPOKEEis90LV58NJuSy8A4U5WiZFzcqtG+FPn9GBnMW
PL8WXNdtjxahmqhLsZ9m7qSswyfYn0FIKd+v2okj8jTfG5IY5s60e4pjDMlshQETz1UIBDxPZ01+
KCDIR2JzkW6Za8yn+z9xmBhw29q98wp/r7ARen91erID/sC+CSb4FBqPwN7KLdH9hTtLUdfXAZJ4
1GaHZ3p3s+q1ccgdW2LUPdTqOKIjKfvmfFWfRTH0xUiW4BsQzps7be+RV6mjMeRYEXJIXpBuPBFV
GEZoiD1h5E2iPm2zNH8GZcHdid2canzRPgRKWia/ml4YezogeR7kc9r0xGBmfZjMoW2ipot8XWzX
jXGyax3ZQIUUHg3zuofUZhy+zKyKV1yZ1QEeytjU1zycc8/OhLfo/J2H2DWyM5DNwnU5um00JVBH
hfciQNPXBd/ISrKFVQYXvVMjOra4hkx1iMNxKVjTFuxnjotHR3JP+I0fVZlE5pwamBdpvwKJb3ap
atHqkltB1xjoAykEf9iwI8TZNkSakvPPMhzmxmTW/F+VjXMyzu1ArLcjM3JKvJ3LwBGYyZQAr2Ds
3djEgJxul/guIw3/DfFoaAGyaVWGPm/3kqDYZmHWE/RUTG/Ev+AYaUOnNpaGe2nuz/uaqVkRo3mL
6w2ea5DNMCPB/aY2+C8Xn/HtBnqHj9W7jpYyWEA/ISBJKBgFXZmTuzhUCKFJVC7TiGW5coQsgdtp
FX7Ewg6si0EesNA3PUPcRZDC5kn4bYMUj6WKgdxSmHXGkpLCOkbDmpxhTmfzXn0xZVZHkibDlnFt
RodoCFi8hk1m2ZVgZSyjya8KIq/KM2dMgOTz5F3JjCaHWVPy2XRYVgxT3aMKcZ16cSa5PN3qEMqM
MdLeXLE8XraCHwPgTh15rJdBNs2UrEy6IJsOjdAB5jyobwmrQo99i2i40bPrSx6JqX1ajlhLrOa3
pIPzmSaUzXxw4RkVYfLTxZytKJfzKdx8+QVveo1+j75G0SQO3smSOflJfLhDFg/EPgUPrZAIjp8C
gozIlJNHFiP1WErIL4u5ggbbnPO2Y/DnRXlPHPvx2/Rr3UKTA5/AOIxeXPs+jMD9VwVk02ygqU3v
rUMoP8GMG/r7mAoss9eI6NUyGN77+/ZN13p24oO69zDmGY3eUTZqKVFORmoeFAsbQOspvCvq4XgT
BcbtAgJLNj0O80SRlvdYF/3fjQR+0fgRkJpH7rNjtUlhnu/t9CRINn5jb/jW/jdwM5hHMsODIzdC
p6b1XNrzzU5qcnRibHxgoPBmbxvS1pBMOsg9oeV/sWAb4SbXYOLPi3T+m213qxdXYH6QERbbP8dI
OsMRmyTaW53G6IXfCP/CXo2+lR0buWbCScZdAtmZyOXgURxQE7R+3I+6YvPRjX1aebvVXq6dButl
9S4fE9gYPhym87vTOpvKxquufyiidpm75AHRYSGl87CuN2pGC09aA29tds9dgN7YMc2KyfaWOR1W
7re3zKsKVgSVXfBuqPCCLs+ZQl2ZM0JL4rFlhHl5iHLW0y5GnU3TC8wuWSPEkQIwULK5wUl6oWFm
8WnnnJcNtfUKL2F+ffxXH17TCyeSzTBIpE1Q0Mg7+XNowsbSvStoiPV1Gdfib2ekN8QvlcSXm/GK
PVFP1fFt8Je30RNxmsut8T+CjyzP7gpZvWe8jfyOViOYNoh/L8w76YCj8uDm+IoCtt2370R67Q3N
vsgv8GsACIqPT9+sED6ObPEaORZensProuDUOX0hCrsEkacPcCoBRSrvq0Zn6nQzzJENAdpmE78e
4fYtZNTJ7Qj1DEkNTDdJ/o/+qWmDrcO0qr5H9bGDRAcAoA915+ShwbD8NrFsoxIUW68omtD9Fkg9
++NZyavlyRIhl+7/pxgI98HjUidwj+YLrNZFHmWSoEI5pefl9eXT0TBb9C5++4H5vxK3tsBZeHOc
jM4RzpBbgZTa+wF2o+eeqGxkCSBdKcutKwseFTyuljYXo2j+uHgoBJhG2Pp3wP8S4uoo/XEAzGJk
6S6TYPP7UbQEh4oWMkJvB8y3P9xIhM6geeQdlwp6Yv5kUWuJoRWje/LiXtGVMgdjd3J0HXDIi48s
bgcrd6gpJPQPiRSt1DQed5D1t88QChJUwZu/+cYsJanFCSlK/Dyd/VBZg0VCgvIE4V2lluFIoLSF
gTcG84dodjD5PMJs63KKDzSlBPjT9JLWDkETM/5XpGPaAstWuS/jiRZf+R97c9aRI9TNl9Jgboz2
YprS2IVUirwDUIMdQKiJjNb2+/NywEbhX1BS6l9zLtmLFogpV1mFtoOz79A7lNSoHS3ZF8hh4fVw
pTTNBVDZTO58v00DlqGUIozNfxjrufHuLTY8sO7AgAJ4HLhd4y2fCZOApmzc4O2jx8sgWpb6PN+z
t+Kc6v7Stw3k7MIn4U14EW+oQJMZw22u6LWk2OBKsZRVdUT0X1B3lOLiUn1pFe3YE7W9QF9icvLa
IaztGCkHqkC6IAS2BrdE0vCiemMSfDBtb7yd7zKwlvuc/WZFgOpK+IEQVi7yPzuw/jM8wC9Wkfe7
JLVNPjKrbEqSTDpx7LozaqkcQDMByajKLaMhTQLqCt3CcAZSCSffg2bl7+xiqFZHXuHp5JKMe1hF
FoObjxQ7+Bnr1Aij2fznTVpi0kIkIeYhvCZ0v/zuGAUCepqreBRYXflbGVwLjEx5gqzVBTCiDJ1V
bg4Cu+IwqlKisx40JGdV/pIYoKj0jGEVn5EV5OsZvr5RPMMLz0wple+17tHjeRwFOw7qtImjSSck
fv0en9u9eEOlbDIWQ/pmNZgN/nacggKLHczDf5fSYv9C7+oh2rK/R196ytPx0rlAbympde70blDu
bCE66lANm8ctqlMS2bEJaE4wlLh6VjnUq54T3CRjJNlhajpTl3pQz8p7QAMRqAk5lRuUpl+qLkRF
GClfWJlZ69JjpE1zQ55ceNV0NzL8gWpw/3+5X7Wuz5TkQ6ROHq/QrWpxiu3F4/jHBuX2DVeR0+gV
6ccuTXRJJcGQWeboDr1p5WlzPiLsIq4Igda+TZ/62p2EWS2S0M03K+nmfvyQhSV0O6Gme5+Ued7X
jonpaB7PK0hez4rN2aFwRaPi0QIU72lQ55p8fybf3HJeKHW5akkkGZ8cWcc8pioX+pmX6FpYwnTN
SQ4e27s/840VUnHQc1GejTd4ctNaYu1KhJAlgPemdRms3wkOH+HEyMwi7utI4Bs0Iu8DUgu+bZtO
Fm9IQBm7yYVt3n34ikfyXcaoxs9TTOCY2CwQJ/Hox+wpFpaws0w2qEDJhJl3J7Pheh2SyH/9zaIL
zD1V93eEwMxjUbU+XBRTAaeDDgb1u0Nb6ZprXXgxQ5hu0kchzeiuAx/wLM7et2oBOaNuexFkBcyC
h5FLmCW1flbIZDgkZtE6CLKMVMzwXB8pdSc843+ZgQEq79qW/wszRCYkEF/9W0iKnFPWt0ayxP68
NIkLQkdBH2q+3pzwGAkQJiX3oOBpM1hZwQmCzPOFFwgMkves3PGb17uNN00zHNBo1AUI8wpP2dfW
iAZHPc1YiO14JzEJBcRQuJliX0Y40yB5SMoLGELAIR2/guEDChM78Kcm02EVCBCMfq9bl4CpqAS1
pophpSeOENOIRjQurvVsr+kWaapKjlq/zpkYy/o8kQUaW/YBeTSWvX1Q9E6JECk1pEzeXaoCnjbv
V6pPjVQtIMo4aMW8Qj6JEiPaHPS4FmxCQX/9nmI19byznnxvHvUvRf08AnjkUjmyY2oCTg3U8R8e
Fdvp8ZFHmUyintPiJGz7/mvRw2Z26F5Ph02GS8OugfdnHx/UmHhgkOaYj7KlcJB/Yn9DUMxhqQql
0LM5oFOIBOiMM6T6iaG3BipzHzqGSZp7wMz+Ln6RosGLUg3BpfbYypLcIlJm1F9OBU+9kiwP/9bm
sbimQlJ4EjITZwDwjMwl56BN/+hoJlxlnoppQzWGNyS7JYHr4kjWa4Tr5GQUQnMzWDwOreS/s4FZ
HhAWMxVdErTkOKXZt8oueCHiYzlOhZQXGoOPUA/SbhvlBnl4aTPbhM9Z57TaJ9Izxbf6on2ob49v
VC3cOuPBureESLrQOUmxSKVjVqhCYSfNkiM7Y5MOepjGLA5zLWRmeCweMowo2guXLar1x4K+KqV8
9WhLDeP/+J8Mo4i1XQPUwvRpeubKJfwDLWeIlroYQ+0strJoyZXlrHPKG6YQBaS02k3pktYElYcw
BmUSiUwxlRBYiDqO54+qR+YxYJhVHeArgUFGmYrowey7f71ja37vea4S4oJ3agUcXrnVDNCbRKc/
DmNfJ3PvHRDhZsQLap2ekjD/d/xjA1zqOSCe3CPYwJ0KvSAI3BK5uSgV7WpPWJUxhT5ZMY/srlGS
KzoX6CRpoDqbr765DsicMiGy32aLr53iF5w+LY7wrod6KzhagM81bnzA7vtfsoFDEgwABj5XZWs1
zABlzR+wPAO+nlMwoDKkkG0WbtvHnp7Q1O90bMa9g95YEDdMwdhs2NYaveY/VeKsCQz4SccdVElJ
8ZOWYWbqaFaLZi/Dr+bg/AY5Uy70vdIvUWartSYsInZmqLj3V4ptDduw40XCoVFPWblZgXrUIKO9
63IPEP3y+wa9QN0HsrMGpegnAuUrQHcLq18PCF3x8LqnPhp9Y+8/dSKg2qrJwlfgPjHphgumO2U1
l6nwm5b9TG6z40LwaUqBkGJHDxC4TvjOFZeyf2H+UwRkKqDytXuy47lrYtXe9c3Eq5ao2Ha7J8nq
ZwkVVL20Mqkk4u3m84JezXToR/mkWIJeL6YnXJMKslTGlOgKn8ULRjbs7ArD6iIz5JKMdRZLt5M+
SE2rkihtXz+NlexfPeX7S2hs5i0pG487QcHh0U8dUb7vYDPM9JnNNTjJ0Iyaj5lb9XK9+34NSvs2
A14xtQDLa1zigCmGk791ypuUpJbtP/OX614+skmbOV+YCaCnmsTxh0nP0CYBC1qBjdIN0zsAUoV6
iLDSFLrZ4t4M0pXqOHOtHse6Y9cO5T+c3Jrx5qr5BIruC2WEGn7kA3gF8bOlq5j0BCNPYhH5bn6I
+xdW21HCdL6yCjW/xAmQZMIRVtq7p6MxgYShdR+0BRwwXpYVEsjX9gZGw/fSyoithxuvN1KmDTRh
1fdyO6u72j7MOoUW9Tuq6I8Pxf+UiRk0nMT7EXs7mX4UjWYPNeLmh9fJmVY5LUVmNkfhr2YZCXkF
+VmR1LF9PnI0yjpFId/KReZ+CnBUMh+G2viT9CShoZENJEggoBZIVVClv5V+KC7PPHbQWjBEDhK6
EjaRYBQ0JahYcv8Mg7QnhkXqUok7UmsuBeqhYIi/5u1JKxMTKDMIOpUebSM5J6MDOzugncBPGgpa
WoAqlW6ZBmOGRAQ6/1Z0BfGGqQQ507ujkaCziDYD3tVE3vNiSpXgIMixDd2EPtpMSpMbiae14eP0
qfS8uQx8rkgCqBB8Jfd19cuk64kMUHTbanTRayS0JN5/zXjWa/0ZN81s/g8tHDt2paDUEUCQsb7i
D9l2mXm/XeSS2W1wBehArDOLRveEanGNNlbMPKGDL/gAHqgfV/TtUcUiEs4iYY/DT0ehkcy7KEG0
oMKFMBW9j9+g0sV/TYj7yfAJPkW7EOJulTO+WyzpUQLODseo3gNHnsO5o5Grv+Q6rhpJmDEWIWza
gJ0xEfq/H4mNA3BBLDB6WPcaFHzF4yEbzJNLYu+a+KJKvMfu0j594j8KCgUVWBXUoCX2JdUSOe1Y
qe/OyoxTy7RAmWuUPQOqW3KfkZeCzYxpFLlnP6YwshyjXBhOAR9oGtp4cdFq/Cr4YYcd5PCOtJPS
ILjB9BDtQt6yUh0O50Um+HXFyi6KGgWH2Wynx1MQNGMrAkzT59JSANCJBwSxIBtlK4LFD2r5HxPW
mDyMKsJRXpGxLPGXcYZUnKXDXtruXbG3wNkUgN05MvOMKZNao8iTHC0kTSbMsg2FRhT1S1IO/uZM
nlhheg1oRe9AzKym3vdo5IUuUjOqYejGxzt93Q0LfMb3cHapE5p4n1GzEM3PFt0awo9Ze5t9SC9C
svfhiJE3IehGFisUPmySwFfs0B0alci7SCOecLW4W6CMaVeTvEK7LG+Xe/cEc+8OjrBP50HxNYSg
eT7fzcMtIDg1gzOHjE46oGHBgDkL5grryxVgpCT2czLQUIJWJs5aaGhoW8rJcPcZgsyEnfiLIUEd
U8g0uYl1ar/NdUO70leZAXD9mIraMB00A9IHVjfZPGmCOMc45fCtuee9nI1XzBb0OUrtDREE70ZU
nmJA2/xr8syCQSKJrLBKNsd1SxrJ+eVyPZI4CkubZa8BcOGvqBlxGWcppTyljp3SR7C/TEctEHRa
Z9HDbLypgfOt2ianplbG8kwlMURNlMlrGZyCTPUOvTlAjUaS3iv9o1e9bo3zoWjauV+mm47rosAM
N5DLwj1WSZfr4IoU6Jk+4qO4WP9PlAgYhelHG4npCNSbh4eAJ/VOTscMlTYF8EagqfjJ8cvFsHTs
K053CHRJZhkbdDBAfslS9Hq8CziarzLRO6hWTGstmAV1h4QC/s6uswoK5Q1i5jJNMdAnw1nEppfU
KNfoPMOuCHANZRiHXVwkhchz8BIbfstRmGcv9fL9fWAvTJ5TCfsq/2ve2FDoCIGzb1/7bPyX+1eS
GOF7Fh0bfRWTIsljed5R27/YabsYLGSj5ZZJykR82N6GcmDk03Own8IOu5AoRzCWYIef5o7QRwPi
vHJem0AX52c2OJuirgt1L64a1fmiOhe7xLtil1GUe2cnlsECkQbYsRV2qiKOsSRGKcycIp1lbxo1
7s3Uef3+zKGx0JVDWIRwjkttdrOMOa+RJzeTp3xAJdT5fZpIKNWTAlGcK9bz6WnLDFKyWEbeHuyX
o89Edt7EaXiRTNGjWEJjlumIz2A1w50a752ReiCvpGzZTOXu/QquAtUzeUIox0QyCtBJZBDR76z0
Q7oQN6WpMMGiqZD4Nee0DjTFguRdFkM4vLRu5RVZmhN9l4JRQSSesThOUmmHMpEgOTkmOAyLa3zd
qrvHWM+6TIDegwcc9diWtSWaVxARgoDuJgBhlQpmdfI4BtWfqqgmsfSmNB7iNqhHnb3ZRddelmuU
btAuaBkgFZBdytkCO4J7khER76Ik0dRpHPUj9k0xvX/Eemt5TNh6wMy159pLks+ayIyU8ZLOFWJq
XaizbYdLAh9ZNwLC8EOZeNmV6EDI0bi0/bgZQ8LW9EwqaI6zsWDKTMumXyE0KtLChv5G3HHTNVTz
kKm9IpLmjjKFP42VdBiXeNcpQhG6vDIq0am0QZIMTUBWR3hONguyoz7YmNfSHz7Sxh0HokHnJtA+
SQej4tumPI6C/jRLtRndmRrLp6XvWn/KdvAcDPYgrBx81pADv+hXFCEZbOZfXX/mVpSKWR5rkxy4
TiIfitZI1bCbE2lra1imhIGGiApkstiObA2RkvHZqmk6x726/O2rC377PnYFJKC8sO8Su8qx5xex
JQEVtMgp1NK53RW7GfB19pdYU5ZDuyaCP717UOLQLsgKO8wGOhoLXVWe3pIv55zOXU/smRMYDrLz
VFjr2nT90daLZJse3LyXuTB6VPB/AzchC32x6BVhaq0eXbpFxLX/R9SZNifrPG37E1ElINtbFre4
xCXG5A1lvH6CICKLsnz6+2h9/vVUriUxCsNMT0/32d1nyzktkIVk2hC2W+DNCMQn2wCOk2OO815y
YkqcUFwpsuQiaNSJqb/DqXLuSYRWdLVEVyTgKRqB/1/pO60wlUnOnxgy9fS5IwWKslq5qznGL4O2
FvTlJeKkhbEqoiEFf4kmAqNI9QNps8CToiZkA4vjL5rwubr+II2sraA4pJtdGdU73gxCwUcRBYwQ
MTjk7bJ1pWpW1oGvj/RV3WICSVdkg4nyz+c9+L4kDaXThKLbuQmP5wv1f3Ao6C+Yuzo9RrTkpOLl
ABb+qnrhlKBdLPXHlMO/imWEpgkX/XUc1HTN5UgQs5lX5RASaFyonYR9jd7qHEa8yjEhLrdUU2Zk
DUq+mYxSQHQ51P739/odTuJXKY6UOkt+ok12msBzPBkVUTlOsbKarm6rfEwb3w+4VT0dfjpnYvnx
w4duw/LFMLA9kB3Y8GqSesyvYjhKWcU1sfnS/bCEXm44U1aszQMOGqxY+JZ3/r+rN7westQT6EjQ
tDyQk1uUj1QnQmd6J2bzTk+9/lIty5doXXByMeVFxednMYdFF1lb2dqsJ7tVNnS4eJ5eAscWFz6Y
Vvfgzy59k0rV9mSOP8yFVfi3w8KAew9SR+3vuRjOxV57I69SnCsxQv6X0JWEw/6kvLrCt84IKV5G
oF6EsiQs9E7FlaAQidcFo5avBk6XV50jpE540kLVKU10pWBLAinCbiciIEfm8CBkQsLMiSuHVn+X
ksBTgR3JGCTQBSuROMvv2KSw0IhlI04FqUQAwaK63xZhs8Yy8z+EckyyA2WjCnSUvDSBIFLSGCHl
SBcNIaCRQDxvsCjj/3eIWELAonyESabcZkG+ViclfAeiqMT4eFdo1FtUk2Syo/zEExCVMWCzyQ6p
ubPcWzao+Ag1zIHE6MEX/MLFVP/NN11waI7JZzi7ArtkG3W0oHUQlN+/F8gzKBqpvN2oWMDvRa+D
llpMj84vlUfL9uXG2Pz3n0MAPRvTttYK8l9O9n4V/sehSs8BN/EGm2h1G5JbfPOcZNz/ULM/p1FF
uO65Fl/C+gfjnzmzoIGHZXwpnOPK1UN1DGbpnqY1J/C9qw8DnQd7IuER0L/rKITewH/6vrS1GXiA
iUPIZQ40WbB/ad9AJHGNpTBY5+pMd4cCOT4C+qaSjyFMRIWnQrFm7yFla/Yox3/P6S/odRm6i2E6
ga45+Rx4i1csfQ29ImWt+n/REubBYxPc54d+FK5xpZcUqIKK0Tx6FS2xZH26iaBfDfcjnqe0lxoE
j87fV9b2WvqPJ2zMv3TOK9C0NCqApQCe5pYXaT8krlm1hwZ9TQfoReNJaHvxyMZweQ/GaVq5gFEm
vdGnCk1VT8O1g5kNn7eAntD3Z9mYD9BCLBjeiZARW6MtEJn+8HaryB9pZSeYvF/JZvbi4KwG3t8A
jPbJtBF16aewl3eQaJL2BhMaBGfCCjH42MJgPKIBMBXJBn0zpmXvdtNmp1PGb1KoCFHrB+3rAw+8
p334l23z10C5nv/RS+CTEJdbmmRCMZjoeVRPTi2M5JDLAFw0fOX3IP4FREKt2MGDBINJuZhpEw/U
x/TOJKAvt3D4jug09k0AyIUAq5l9kNAjXN8+7O4NVMfm8k5Pr0H+XeDdmT7k/Ddq+RpPgfUewjt1
5PyES6LuL/e+8q7e2lwOqczcQJy2if5SJHM8XMh0wtlCrweXSbLcWvesFQuDxXsYePfPsPBCOZDm
ikvNOr11Ayo7g2xCEwfakwypjyk/r58L1nDU0q7dN9DcT4RZ7ONfPhNYGoW4hbsqd1rguKt6p/qr
Yjnq4Kgmn8AnHRlrpfzpp9NmDF5M4yJYXUiBvdPY9zEm1VzItlEFEZJOUOPhpWdqpnE2z9W37qK3
oRLTXY9aqQ8tm1ixe9irymjhq4dqD4/ihn42v7/ZBFU46t1H7tHn/dtuZ7m3yYZuPnQTmn2sky3Y
TjxKtuG/07Pzu0/HiwK4xbOvC41W9G/I8/3L3Vv9Jf5tFbm0sFo49+AJPxBbYCVpMJDJueBfLWkp
q3Rinejys22+w2qJWN19wxe4hnCONVIu/lNgMQO77IceOGeF0tUhWBaFfVwg8T6ePx9Ru9JIEoH4
ya99KL+UwRxCc+GvVyb02FnZcL2So5p91P6+m1WdW0ZBedo7g1G82AtpPN3zvIb2NfurB0jmzG34
XpP5/QB1/WB5h0jv258kXoy+Cj9q3f2obntIxkLPpxWZr+x0WAcd2LGh3K/9u69MPhC8x8S3lzQb
UD/3gAOdD3EVDTbLjb7t2DI+xEGDNfrp15onzx2RlfDmf9R0GNeuiqddAyHkFTemmy1QagtMabLp
i2RyORfB3gaWgG95QSPJ/9gXW9o6SwlX0kJ5P78okIEvz0yPtO5+TNbJOPtmEgdt4HeSMSo60ABA
T8/XeRE8Gt8X3USLIx8HgzpPuix86G74m8wjy8+XdFrGqhIUR4xtwU/EMyX1/izEtdHx7ZKIvSl4
PO3GcMQEtRNACX4J4jDiGYj3SgDsU7owSU2p4EE6CpWgyYzdea6OcewDOC8JUoxhzZSontgVkmks
p6SGviM9QHAqeEIP0V5SqQV36DaSpixprPLWFyslYS7BVV6ty99xWYcPXr4hm+FK8iYpSwH4ckPI
P/DF4L3sNnDtHcREUQkPCVYiHpEg2eVYqojAEzP/4m8FPBTMOgmiAxoPGuxmKzV8HakcahD9aKRh
FNOg8a2Z5GkIBC+lO8pY5994IoSPgt4b9Ja/0hHgVYGokvJBGgp0YIYHoQ68/ZgcUkBFUQ6OLwnR
ksIRYY5Kgj/N4oi8ZlPyRy7TYi7ETemnFPVJRgtEmIDp74Sf8mv4J+OWPBmhjAA23wqE9MKdKVp8
Z868QoGoZUJ+d9J95It8DMqdJWoweIWQ8QDxmcTsxxkQBj4x2CXt8W05iL0gdrWUlpLg4T49itk3
NGQmpV4KzKV4X2zseCXfA0FIWskP6fafZMZRiipuU0Vd6QDmRfFvJE4qSyBAl/UpyyC1YBJREdeb
oLf4J5K7Jp6L1LZK+YgUqrzjWMKAV1NHIK9ICYv4FkLzCOp3SL8FOZNkrTdtuNhtYH6SzIWdJulN
8exyI/ZJbe0KQm7hdRH/WATP2En+gwBkIFV47wIXiLyE0GM2ZD+IYA4BMGSQIruS4SBSRJeCjfUp
CWaCzjlkC+CmE3wwlyLfckUHZ4laPPA6AQD16U3Be8FmxrmRhGKa/ZDRCbHsm13qbUEmi4rog0zO
cJl/kKAheJsUb78vKRa3DOWdJSvwgaAcAioJ/iE+tODmwkAsW7p8JRiI+y7Jp+L65exDut4GzcKi
D64kUIojLM6t2JfVyznjiLBplyyG5YvS5bv7EpJEWU7CoBivYpwKUlD/0yjCpMmNLW6jaImXS8+6
vCF80RNSICQaQbSEDETeJa+/S7tpVfj/kAssHCHgleeQ5xUERDy9dwmjJLCj6YBEmJeU4h8BY2XF
JEP7hbewXpIfJEBJ8THcDJeC6cAwJjcTSJpm1lfWn7mjlpgOI8CNAjfI5JFu/y7AF4xCIDyZuTf+
IBWd79feiET4+86hGf423l4m+0UE/GJIJ2ZNUabo0B4ISq78Rq0l2iI+kJRKiS6V8D+NN8VUPMMj
LwiIYB4S637XvIualVwJ6K0/C6xSIZgRxYzHbQi58avAX4Yqcz2g4SsW8uOMIyeDhvcYu1hKvTSK
yiR/QeZesLr/RYnhUEAAJGJb48LTk4SMZknFlVCEYCeC6cU/sp5SNy5MWbJWgrnLVd5kJoL3cSKU
LryoCp+XQUoysNzNJqMD51JSpWVcMiXy7/8ge6lfEHnFfhceFHX7OnO4mkVUX57oHSESMZBdJCGf
V8GoZNjI9pRFfa/FIA8gg5FQomQG2rBPUd2xFL5LSsBR1lJlK45dSi4PDrlkuEkFQwRmLOjvuzWw
NAkOJ2/oSrjOIeWC9HwqrIrv3EBnTN7duJDsu7HEafkeLV9wKGg+f3lF8vAEN5AP95BwwA0ZPGBx
lDB3vb5OJIdPyHxkPCq/l3dLio3UADvjxHSl+rQlds1ZIkEJBV4xWlBMHwfp0iywNmQahCrExYUl
APtAyskLKIGEbUvCyjKO9/mTLK9LsgBnxdx4jasZ2SupghEqDu7IAwoILI8rNbOC190DvudVee0y
lSRHqSnjILp78hHhJelh8CC30JgNR8+lPI1kNWocijLwgmxKmSOY0Pgp+rTG0Se9rZLl8OTQHItz
zFpfpi9meR6JC6dzoaFP5+lc+ZI7yGuCQtOujrcLP5kMVsqEZGLFO5fqY0nSbEYmNbNCwiKnpDW2
HVflSR/+DRjndWzSYGs6PMnvS1haGXp5fj9rA0lKBCQecStYFAG/qT2a3eh/AByOH0JupAQa3vmQ
jx9tKqne0dj+90Bjv9KibNImo5kjtS1ETHMP6m6obeQkfK/Q/2TgvbZK57Xnioi9LIzQFlYrQYnF
3BAOAiENFWzilRiLANdf2kSO82cTDLBtcY1YMsULKw9O1wE4+/WouTg9I82ZBnrzperr6315o9LZ
oEnpk+ZCubuEdW/9vM5o/UmXiXXx8Ex1Thar5SzJeu2nOGd4le2IYz7I6Un0z+ldyQEVthdpCQ7T
CzmuMjUyZffgu6Uj22stRKj7WY1nxJu0rX1zI4IiFXiJ1OXx+BOJvrzhKwG9JDW+/qCbqpAppQub
m9BhVAAuKVmU/UfUhC0lgiMbSir6ZD/K9knZXIjRP8yr9XvNhXJVSiHl9/mcmMb0GWTUpiMDYieJ
DMuA36I0GLkiilwVYdTPQtLqjPWzQqKumGctIiumm1xfNuTzqPnavKCwuoZmzuAnXn39jdm2EOfi
cqNL3oN8KQfk7CX5L9hf5eJi77V73EF2u+wNWWa52JuQQnrNSLBRAClJaBATs8RygxnkRRJRvHJ8
yVde2qN40nMVOuQE4ixwU8GmpGDuGWARdq/toHo/YkLm05p+Kxa3ltkSZr/XniDCkzFDMiEykzQy
5/eirMQOlYHpMJCzZadiVD6xcP//4GjxRDvQ7bMfG18NHYGij9nMjue1LZsdbovE9NZ0QbHm0fk5
qumLXo+jwYRessL1zjEGo3pMveUp34Pq9VVA+PmsW5PuPKQM2jP0MxXO46w8FYSdmq9n6Rf74v5P
pTGUieY8XOivi1sEWnkd4SMY/Wdj+c3zaOKUpcvnY0wbVhq6nOmLUdAbYfa7X11ter7ptIQ+rGjx
vL8RHS3WIeXMbn6jbHE+sHyOIVX3anzlu4A2SPZJawCabMONwi3WV9SvcrCJhzGqbM84SVvZmHTB
BaBSjHFKgugqccaxPqepcOcq9FB362hsWBPSa2hgTIPMZ/5DVAzc6mYzG1d9n5q0RsU/k8N18fT7
w1+CxXK8KbMh8XOfx0qVAHJKZUV5OyTig0UYe0PLP3xoXlbsDdBYOjePHhzfAGiPMSfsoPmKBlP1
oNWS9KZQsaME1W182TxojXYdMCM38jGsEz25lKC7jU3KV/rlmnS6xlsRYIbCkkYaDUHQ2YKuFHSR
G3qLxY2ep0yXUqxXv0Mavo1o+WmFC0bFWw76wdR+8mrEkyVGoB4aPIHRQh2tTcu/6XPGXBV765Tf
l1nvmR0AA1YOR+dtVxS0IryEy6sR7FeLeJctG9tzaEdSTXZdv6KLIEH54jq70vFPEJJwnfeeQuhk
pNBhlxIBFkJIsJ2vovdG696X+Y3JdqRpVal7UTb0OtrTh9GCqeYih45m0Ac+qJmHmK6H1y2Swtwd
asA3n3YA3auieP5vR+813QPvbAIsVtpYapaP0GWkKfVeDgDJbzJ/d2Ai6TEJRqidSxafqa2lGeJ1
x5ogf4zW6pemagT6gSJ42g2cuAorPWKp6LlbhitFR/eOeTpWKakDUPHbeDEYDqUN8gUebMye9iPa
tISh6M+K7uYxNG1tJ9M2GjcB7UX0wzpbPoJ+lEFLedP8vsSQRaLD5xF668tGFkqfd+VJpr6Vpo86
wQaar0yBKYs9vcDpfBbKduAOgzPTkV1nDUQ7MaEetor6GD/xytstd35eNvRiu+6cEusrOz59eKHW
O/LZ4R93c9c4LZD9B3u7Rd6xR63ky0wnmu1d+mDBQP9Y3/S4Wtj9BEXQ+hikxHiQRua3NGhRTgYH
qaIxhMpYfBiVlLVzOIn+4KGZj/3Aizb9SLatwS3MehNqa6Zu9UvHaHqaIwz+unBNGmSiDrrrTIfd
X3OjB7qh9xLAf9qhP72+3YZrpxvRVxwhVeUVTj8XnMOkK1Dl1fM8WjPgfnTV/Oi+ZLka8yOiQ1we
sXDgtfkRRYHWsqyJdIYOij1XwIPhuM482mA+AderSX8lyHLd9jWGEfJ4h+10ZyRfrAer+qQbJItU
7Z/6vkknnezBLNw6D9jNkWdd30PboLbePUNwtkaxbvV5se9QdkzF40+rN/Xwv2e4YjHSo3XCQKcF
dIk6i82TLSNi1hpGzoO37Rab+Um3R3uM7nVOKnEiJYBzuo39Bwz9c/UAls50IxO0XUV8NeH9vIRb
UbQlMcrBJxvZIC5DPnM/QfcVFOPN7H6l08Ra2tcYp0IrAjYUahDhVchOVw9KvNHb78wC/lcXER2/
LeMUPr+uDu3AcPb7375pR7f7T6R8D7wPK181bRYk5fpyuU50FgJfo7mMhlo3SkoSzOjRGB+fOOd0
NKY38Cax/5RwxUPbd0Krg0+7X4BRUBOJm2l77Cf2ww1OwRBhyGl7hmfLPhws03BplqWPurWRlH5i
1GB0DQEfzv+rV+BKgY7fzgk10glDtfrUY1JjZ2zf/9X6+YmWH1AowwJWznNmEVpoRF0b1rQzqiAs
TnH3/cryjhYN59Wj/ntUVw9VjmBaQ2ptkV+FzOdlDBP+0jZGHDAkERFue0JBvtZxpQ89zYKVy/PT
UVWP/sttAqFDv7SiYzFY9FCnaDsNwn+1m7SD3C8fIYWqWk6GQYcZSlLxodg39iOwqbUqjY2u7Rtt
4BfD+wyhvXOEoWMVeqBG5enAxpZjEQEu9iq5Izv0VrSRr6rwEJesQG0H8Y7mtcnuzkIjOvEOIQfy
5h10d9xwICQ79WCveZB4x5X4lZZ/pBtiNod+SGMMjtZ8n+x0MGY0FN2kQf11jrGXRfDZBLTGLPbh
OkMj9NPbg7h0vOPsZ2+jAeRz0abYI52oeGQ6PyY7tCxQ5a7YX3ccOcwsF9228maaBvAiWivhtxVX
pdVTNOaO+R5dfttFmwGZ5tL4palGg3N6dLZW5A/XuMMVZ6jtcezwnsZXaJL92Osk1tFHWEGLRxvO
MB6XpzsPsNtQ8LrHnPFqzG0tyKXWt5KuBfohHnraWW6d79VDIa12uXZFU+d8n++l8xTDUFbRJtkZ
B0aVVSNpl8yL8uTKlpkJ1xHzV+3ZybyLwzLa8MTcJ+ZmA7hzzhQpx7t8L+NSTkTClNMjoJcUN0Id
8i/DZl6T3WXD+SYTiDFCPQH9D3g4ZjJmfqLN8KzxJf8mOxmuvabNEaZAvuctPIPla+fLBsWMABd7
BsbW4c5cQp4ZtYDE7OPP6r4M19ddrCz0BycFgQfJAmJ8hce6JbJavHrdsfyMi/YdOy4Cpo0RRxPo
TcMU/hueHwGmSrHnypAlrBmvvVYPDFgXIZKJkelhxrHOZFay+zLZcbnk8+lbJ2fF4S6PEO/4CIfb
DnMlljszK8XeWTGQaPOMg5fsMEHxznytR7h+LcOOU4kDUKYdkERkV55Q2cqE7ll05iBrwSZfV6GP
QhSY8kamNFzXPusXrrkXK3Vh88S7ZFe95DCQLSKjQQRJScHQYXA0duHK8jTDhrGxTg/e8R4881Yq
UvnR6x4SjWzHu0svuyXZOSu+48WBOubxoPcUwZdzRx6T5+NnzEJWlge4+mrFQSAWh5gj7ATGNhAs
ib0tG54rIvTq6SqhdUgC1/lRWWHbsndEfHb8w0IZXIN/2I7JjqHxf7juZNCv3c76MSJWCrHgpk44
Y10ZO9+/NxQjijY3RJFJEQHnEqIqij16CiHi83JnBoWkdZnPJIVrlo99xDsRZD4lO4PHq/aqmE7I
mzaTz/C4LZuPhnRM7BFl+scB94dxFF82bT1rBgtjqHH1P7uhuyH2XTf0S/+vi1v3wn6sN7IK1Z9K
eK6HMJDkMtINtfUfB2F6C/iDweS4nflh9lONIya9f5rS3Fpi89qAFAHueNfnsT3hIL/2S+6Zmtjq
upga2GA6rZvT75yiYoIuusgwL2IQlIPP6z3x+3zlWBPG8Gd3v2yuP+z+Cos721faD24AMWuehydk
peRU43FODiIpZlRmPN2UBhYwrTtjrACx/kz7TmjXT/P/zH7yB4Z4xkfIofjBWsRTsCYobm6YtplL
c2l2kFFimh3tMBgOFs8c0iiFehLMP3GC9P+gC0D84qNDb2D6bUyGY3YRS86VsYEeymc/Gly3bIsB
vRpPf22xY0CmtuMVVOSBucybrzv1vY2flDsdZX5kPAUcX9bfgxKZW+PQBRe/WW1pju3g+nm2ebjw
3R/CrTSxHAWciZwTToWDPWnYWKjJaMzBzVP3cWDYrMunFi2qAFlL7CmOGJo0ND+u6VwbcO+UsBEn
PxJkdaMVE5kWRO1u/1WDRY0hMXhcvNbBaL3/08wPcUscPfaaHtRcRmWxRj+Y6RzirNxA26Xauk1/
V08oD7L+FzUeMe92tLDrjc7luAz+DM7ZUBM3UH9gctGA6eWc4ueJcJjONlNpD3zZXDDzW+5CrUz+
w8miBEY9wyoln0Btt/i8MRn7mND60HTVelYjym2+wthMLhsmqMewV2aXwbSMjyVeD2aBPbXscT9S
SPaUlwMNQcdK6Ky7VwymOKOWneLJMeVYNQ6gR/J1xzalFx67KjdGTx/LzYg3aI0r98Zlu6gL1NMl
naCOUTYc+taqUj6N/EdTMLcmPJQY1EO2UvMVmoeIScGzDZfcDOWFP8xRmwOdO2MxeJQAvabUM65z
Lddsn1u4wrK2838RIxD55W4lk6vaj7HdEsZuvrgtOzC//0v0+YPSEgjz7vg+/YoVUdNfB4KKc6F8
3+tDx0Kjl+4IIr0Xu6BuvxFQ7brtzhiiHA3sRMRPBwyEHDn2SCcZUM9HMWIWgIbzUaxeBDbDoy59
5i+lkRF2JMOMgwjeTAQUsvkuKO0p+pDXmWYeAucXNaWUkyQObvlKpbwHBykO7lAbymmN8OE6FqaL
03nB66FvpVhfM70KZP/St5LNRYSF7EsYvAyBNbDQnv6Dxz4apc/GGFIpZX60/XJgfmCg67iceMc2
OTlkkYs9WPvUPlZ7boUJjsyFg4XSjWxUj/lBXJUaJZJtGh9LUuWCw3/cHoVwdeAoCG6Dz/z+Cc6R
tB+cJKgLlbaahHnsKTNf8xGuZIjHDcYPpITnUwWqsWF7GEQAQhfAIAdhxJ67CIZyJzeHbC22p9jM
zZ20CzyjseWyCgjFqgK4V2ZI6wrw4Wls0uaLScBVVZABdBW94t1G+dTSGVrncWaXMQas5Nr5Mlkj
CjqjMTYGMwtQ88cDdPny6ayG6Sy9zph0xZ7iYqFXORlYs0aMzSupQ9cRRxcOPd5VsWflBRm5kTKD
9YDF1wQIP6Fx9Du7a+BsOQ8yNmwPnpZOSvAVuoBiRg6DpJ6xR7ncLRpzRvOnWKyoMIbbmPlHgqvr
DLHH5rzjGZHwF8mvb+WaG6w42TJYF4gXp7/IC5fmWOBgYaCgFMAXGLPIWgE+w07PENIAM5Nn4xXO
BGCDOmUHPF1W+DHE6TwjWDjSd1z62NeLhW5sosq92H6110eZ+zdColmAqPeq29loPqwqiGlv0gWA
KPidCC8ugQBGsex+nGjWjCshaHSXfZwR8UjfZf2KfZRoboGTO5iGqvh4TGWe/8dWYW2wmpkZH/dR
trYPosGLbPaXcct2x0PidMQcY5+z6q+TZN/KTpkA3sXdttPWGGZICDPXQCk454xPaP5BRBn4iI9m
AeZAwhznK5Q7D8VED4B2lKAlhgzXAkV7tzEuKqcuuBbfc1jkNUzU9u2DE7NvPyosp6c76D21x9V3
UXwhj8QeQgaQwwdnV7u9YFKy6qyOLq1hTN7BAt6cL7RaDxJ2ab60+/6ZYXsYG4d6frROXU1Cbdcf
2GFMGj46Zx57+ebQz36CuLGCKNCBur7FflqexOwqdigBOTOYYFz0sl+mVfo6fWJWko73tqfF0K+k
v4N8icJBj7PERi+5zJ2H9x2iq5gwvH/RiOmvjfhzsmPmcG0AADxR1rCJFjVIDgN4Uhhb7Mt6hk2B
4OHiKtocJIxdwAmSHzF8mFRe4KEv+QeCiUZI9105kiOs+RJxQn00NfESaiX0PSiBof9ntduWYaBT
D7oyyoAOyWUuFg0+/8BZllgV4cx0llH+8RCzSwmyoxkGbN/urJ+YKVzH7IidCRjcnDm55GVly3bF
NARfOzJjghVf40DnvxRaVexw3mPxdd3d8AwzgC5l2x8koBn7gC34Lg2H1pF36qf32w/4HQdnqx7e
t9nymcZ/iEN5Ofrk6AGTyNs5FJozXopx0g/qgR6AhZfuSSo6pMdsnx0HZ8KxJyQ/kzczZWcZhc3P
ez4OKHoig+qYMZky7iDby6OoJ1xgvvgE19jjCr4GhWY/4UrvUYjN+f1bXilRUPwkwy88uW0OQCRf
CJEh0KVcvj+w8xjiidMDu1s/8cw8iXrgRLqXfgsnxLk5X44XDo8XE4XMM5g1Bxq3yPdk85D/1C8Z
OG8wTsw0M7u371ie5lo/GQfjkHxW+5v40P0hFyOxP0REJ1ARa65KYhUrI08vF5RfNmf98HqacHE5
4r3uK7AkNNrxzl4HJ095T3pkxPvunLEXZTZYgf5gUrF2YEZF48iCy+TJv0OKBvHLIz4ja315PTZD
PXPovYSCZ2Uqm3O+l/u+fFWOG6gbWBjmXea0P2DjAi8iH/mRHcl2SZkUBkcpXOzLorUHnun6GAOw
nYB0QS5FjHgtZ9ENmVj9gJ0hj9sfmGuLWUSyOJe4D3+YrFN3xiynOyXfIsfy00s8cEeYu73Kyw3L
kSETF54GMZEVVg8yEPXwCse/5J3WzXw05W0yUUwOZkB3RiAy+RShZqbAOMnhzGzz6+7MpXou0HIX
md0OJAMlwKhfsyu/RkCYVaTotXY8tjyGjIXBcb+XEy+DkyHzExKOtXhmalGpuuwZLJG9QMZcPts3
Z8wcBldhDHkMhMOYoyN/Dw87yGqJBJJGqMv9mTWuiGxCL8dihIuCRLIjz8QWVlhX7HUs4X372hsk
qKJqaNv4erMOVo3tQKtrQiwvZA0LT+78EtXsiJaQp0AkWT+MEO4GXsZyWfjU1gm8ABFCYciLMil8
9vWW17KIWLRyZXYMc8OciIwRiNnyQsp4eKusk+x6lokNzPdHfsddRWJI3cBx4iVsJ1kQzp90r4li
f+1sc80BWAERes7WWDlbhoXHxXiaM8IBnASUfO7YOdxG5vSldlJATZcB8w5xx1+T8BIOwATaNh3C
X3PNzMmgkAfZYKyhSCs0aYh1ydQwQFl4Lg+Uyzey3XmDelKtiYgoa4pkHrjDeyti6XKF/gAuoJ+4
NvDla4plRIyBLf44OyvgSE8QK3lsQm8bwTNEPuXBWSP9xIGAAtNPD9QN241ChQMj5NlkDOgqdiKi
JmLN6lDlie3JTMgFeRuLgB3Ea2x4FA8bj463DfgFz8VggMmIYW1l2yBWWAy8kysztOrM4Jja1+X6
w2t7vOYTuzU98sTv/Xnb4TG+tKzcTdqDZxh96STsVjbHf9dSbWFNLjFUGxItKHJIoKP7Z4u/1Q//
1XHoXbLQrQln6ziFcPhtGppx1u1Wjel0in9aEPjSqYEd9v6j3ty1c5zYLjrDwOaD3oCDtZ5d7evI
poDcnirbzhgQi+D8xAdttJ1htqRbbvUeFFRiD6xe6ifg1TlDicNVSopuO1Q8IOfYDt1h/nnHQjaS
eRoRCCxO3AP3lAhojSGDTdBjTNzOd+SQx83AJ1r7C5fcoBUFdpD2/DLxb8v2GwsQJ/9B1wbymtRx
hsE5WOQMuPcwPkG1bu0HDseD2D973c7OWE+A8mH3y3moknFG39J++YD5HIufcGOxru87TDEz/zSf
Xxb0AOIluTFcuhhV5cXH4EUvYC1Bue+AmgDJWCA29SbWY/fajRhH+0KT8ejKiRjpCYnrP2rIZgET
p0TXohszSHa4+GOnkB4qxsteoPRYP+OtDvMlu4AZbMxXmA/ZbCmrzpc5qGhBi3kFgsOfO2YJ2hLP
Ca0CpCNhN06C/KegI3u4qMoRuhDHi8tq19Dtwm/8LLvasBec5a3dCmCOccxvS/cPD4ZbpFhDT/tL
ptD26EKPm2ScEkANQZYooY7sxEPuMXQH930Y8TDsAxA2R4yvEk6q26qLPbMGheBie4w3inNJ292C
8uOY4rQRSWJqYe4flrWbYMPhvj/xZvPPhHWNqtq1KI80TVLPsV33DABvPcWbrAufkUXpBHMrTioJ
InDmK/2nmW6NfDdIJmE1p5oO3wy3HGDhHs5rtfbsovT0y1flLFOCB/mNhKKHZww3diZ1FH/XcMXP
lgqrXT1m4RwauVuTmIha/q+4bhtniZoCRn04btaRO9ADQVSb6NZ7N6af6Rqk2/S+J4+xnBY8t9ot
W910OUiw8LV+YUM1Y5h/TPsDWL5qXC0M+mgIjuE9u6WNTHa3j0f+zwpnN9AMDbG4pLPwMkVGOGVw
mu7aXrU6104dL7/9p+TdvKep1X1dVHPdCt3U/OhZ+S6l+iKZOOZXaHnAYUW/eqK7XqK1hdOQVN4o
wJPBQroj3YxKsyhgqS7ACrrfOsf6fne17Nx2yyctw6wjKXem+fEg8lZtbgTx6jnZzHm/YJUx3PGx
QdUv3SqqyMm3sPRVTL86EHOdDRDk930y3OTdCrD3SpOu7L+BNEUYPt32lPXTPv6Ku2UeLVRkC0s+
T2fP+Ksup4P8X1fNS/U/hn6JWveGAYYw4p5evrjUQomEy4vMvSoNrAfnqQpBizP0ijDyrEp1H2RI
62E0SZQW5wuggjyOikm+kxLbLQ1zkveTLv93o8kpMnCzv7p+kcCDUCq9d3G2ZkWtjPpzc4AYsOCq
y8jI7xTbwMdPusGl+gsxEu7D05OabqYwVe8zu4PI/LYaRKRjs0NCdadoZHRR1lkQRmmICNxTKPPz
BgLEBL/I9FSD0vLhYBfTdXtIx3edKjqaO6cKMRA981ob2ix1CIOtFdluZ1z9XsncSH+6Mb4o8zv/
S6Z/zRlEoyXa0TzcvNQ8xUTrXr5b2tAbH5yyOI5iizzSmQLgrLkoySqQD3KFEqSEP96qqy+jyz4i
/Vqj70ZsuhpZtyrZ37cfozRcRa/c5Pr0HmbisZToAGBKIgGgfo8vjdrJ5xdoyTD8xJZu2RiJ9p+q
OF7Ytp7+cAuyuUoEVxsOXKczvT5sPvoHBL8D2j2wZHEsxTuR5xTOqINGmbFm02FteRfmLBfrYlVT
cHhlFW9Qyt1YYMaTclX7fvEj4HNcdk5Xaqs2KYLFLlWiy0xbO07vdQZ5rrE2SjMynBpPT5bNPeBU
NH+bbpUkvwAjd6qqbQOE6EOnXqK2YAqvrvi2555Bc/jAw6AjwlE2plbvdnn4WbfSnG9dJ6a3eGag
hM73TUq5iwXRALJ6AkIbkHrSfJn2yOiLa5b4ljIazNDYVjWz4i873z8pKrnsL8yzg8hFnHFt/5k4
ooSa9tdg+iJOHpbf0TQ3fHyp5eE6ND8rtreS71Sk8YHI91evYuN1NxI+HrdAqeUYQviuJCrRMPHE
Ju01Oq6nnDU1vetIJGSDJIy2xNwomYfhyKasiigTVN5bh3lGq9Uq4WO4qrV5qq7R6RWzejneaXZD
+lygsTTG6nEZeqZJ79D290nEORgyRFL7HNgmDMpbsDicpcqTKar7vJKz4usrCrWefm19wcn7JHB0
7pLJ0+fcVS6ADZ+1s2BPUnpUgY5ffYe8jgbS0sexP5XDzbNsXHSXY076k/RPpwE1yoYnijUGHzff
MWEAg/yj/pNxinD0J+7HOKQUDapfd3iHN6+aFcNDOTzJ+tkrLqRdpubvlcBG8suRjMYtHcQn/ho4
kdc9vgx1zizI4pYT87YcwA9BrjqlkCoNyjsvvOXeBa1CNV5W/g3vXn9f5F2Q0uEu+y9H3q0yiOnZ
GX9xJG6jLIjLx4SnqdFQKLLnfY2qb5T55favXRUmiQGXadetWFUL2M0f3D6vykitCle5wGEX+W32
oyhrox1xLrRcg0V71uMQfNv5VOALjd3ePjoPd1gfG/nsrx5/6XzUfPRg46gT4v9YvoVFk3H0ke7d
OIGe2U/VmFPlAacjBF+Rb3T/x9KZLSmqLWH4iYgAVIZbBgfEAS3HG6LUEkFFRUTg6c+XvU+cPt29
qxXWkCtXDn/+OYddDh3JOB4crOU9nts1yZGTrnaBef1+XyWPm2TEuHpjrZnn5ghsErU/VBtatc8q
1e+eVxD0YL2o0WoSRLi8kzo/MomWPofNK/E71eZKdWd3a736GbvNKjHcuM4BeFFJ+LadRq/4kzoB
O7DMafYdF4lHPR+v0Or+x+02E/U+tq2JWY2NZpTRwCjxvxQiqtmbPE6PQNahZwe6igk+UVJcHZqH
F2ABS7fW4CgdXQsinx5ffVvTbgPpGIVUOYgLzUmRx3T/NIb3fH7lR5bhvSiLsDefbJklC4bODah1
Fqr6o79oKGb+dinRrGfZZZUiZ/qLRObtj6pDVrS+z5os6MGLUvvmIzI4a3yctpSX8JOOzDR8NO5V
H1pqoDwm1RNLq3iRbAULooX6PQPs1zeaSdKoXlWNFWvyrJZbg1m299nndTDftH9n4Fm1ic3ErZmi
fYHw5LZLH8f3Y1OwPc38zeeN9+84MSJKtbhz5M368Wru7MvekDMKBSXSkSnaKLNm32aUMED1em5e
B/7D7FUe66xOdX2UltA638dqsWh17NQSFTdMnpv0Qxw7uMCZYM2uVPXcBxfFMfSRCouuOfh895/b
n6adym7sWFQhV/Hx0Qyr10gZd+7ERFXncrv07XpesTbForysTO1kcdMkN5Rw9XEulwzz7aAoXkM5
WFFtDATqRfQ+qKql3lNRY3+Fbbgx33nAM6EVfmHSnroqSJmUTsH8WJBa/TOM3aVk00vH6Oxfl35y
6b+yoJuvkxYraxKn0UvZVt8Br2BNDSKOdrJWqHrrXKaV0u0rdJymEO+jgexIoe56dkGb6K6pUqSW
Ea36OEqone7Yq7EUn1q5h2DSKCGuHSotYTSsAe2YziXxH3zm0u/QWpb6XSS+dLkyetxTL+9FHd2N
Gk5H7BNgqSCzCgeCD9TrfcpZ05ZQ8Yfvp2sPbVq9Jl6eu3yiPGozfqjEoxtl7K1TAZ079n54T/8L
okZzrkDCURs4VICLsDDP5lKNeEcNFy1GFqD6m8fc0w39Qek7/fFZeYZ5+zpv2OMOPJuOH10EfKHt
7jZBTp/l4y3tqdo9E4/x0xaAa4VJUe3cIChOehDLELaIwuEHvPcF8ZjpUKUqRShcFS2VvMq4+vJ8
TotITet4NSOPh2rh8mrj7dgUos4ZG8nqB4vYC9IDlziVtEksq1R1yKiF5S453OFmlXoJO9SnFXXW
0IG9oOsDJeCjtT3FSw7fqDjakIIJOAo54ddI3ddzViz+6+6pG622VPglfo+yjs4RNApLNckANAho
okM2ORmmOqWGc2Bd40uUzLIVpAPWlDL4L8Ya5XqQn2pLFswMu5MmUhfaHHZSYI2K6tVzZQyNJ80p
rkQY/OTcNTzuk/TMLHh150eKdsiAUu1S7boTjn7Uzr7B+h0kB32S2U4VJms2slm8A6qpqBV5jroT
VoGtYekSShcQCupE8WPAkwFUPxMeKBADVls2E3cDk6wn//ox3YZfldeFf/AxaVhs23nWfcqI9csG
XWvknm3OOoWf3VzVxIZdI2lNTRfcvg4HBgxSD9D63i3xq5endTyUKR/myqDg8xt9ZBzXNcZdkBEU
yx3qQk3d/RautYJL6ajNqXrryayrnb4wFh1qZik1JQZQg/tcavPr5rpJNswZyeISu5LKjNI1IoUm
jhASBIRVRNpYO3V/N+WIMWMz9ZBQ+QIXOjQWW+Qb4WNMTDh5ePEv+9T7aRblrp6bob5vT4ikvk/O
SBffb0/WiqfDImGsAHzfTJ+FzXounIGIq6L22VmO6BMe68xNDnLGtuP8yLx4Bcy/lH2KInU4f8Ux
3/KIQsi9VnrhUllr0W979LFJl4yfR/s7iP/UfbXrnDo/1U5tPGUMgCLLPHXf+YFRWYpbEf922Szo
SHOyT4yKk1KXXkmrd+piDhXu3gL7KA8Vqj5Np911OXOqQ325wQzN8FIJ7U5vflWdKzrv06fcVONQ
TXunLsV7vY6TcpvviszXdtmXY6vtYIr8YjRAdEH2j9qh02OjUQd8WSmsWs+jEH0OJHDcYMBShyaV
f7AWdkb3MTR/901vHi/aeWdO4+YF7GEhFMnsrjANSgE6FMT6pFl84VNrtzEmnC8tJHpL4Q8grojx
Xm+JpNdbeKQm+CTcKk5hO1iY/FO87y27+5RKZ2vS7jD96211JEEc79XIiNTpZUTQeIgWjvfsAQYd
pBpXTDMaV30juYo/jrmsj/Gqw5lKN9aKAZRbcD283Qyxh+6gxKwJi/w4g3gLn1i02wdKUptd18ZE
pfabkyg9lOtjQ2y32ObbC8bhUWNY30jf51sJe+wRcwShwid5vv2GLIDXzoT8AsbegfCUxZOi71HZ
HXWj3rIzQ9vfz5+bR2KWRE2kR01Uz5/bHkzJ3UE9u5qEHPBY9Em8Il8ZaTPheOgsn0ckPFl3YNKW
v6HY07O25AJ5bu1hlYDI8Yw9fzOkGL44siz5trvnFKIcePkemjM8sIfTRNryRm3qUd0nrEm7pLIy
4h5D33aWCNBIKpIzyh3ugxQzjQsVBgZuuiWPVfe8+XmMf3MZQnFEZglF1bNyy3I/zuUOLpV/Kj+F
fUWunKruo1A5j2Jl8S89zhvbwsmq6RU4ecghzI+sAxvHv/PlcgfIe/XEtIvUSNiBpfss8Ggk6EkZ
b9Qu0Yf58bb974mpPIEXce7KIzapTKmJOj/vxkXyOyNIsIwV3avwqHxewDK8hnTWmcOKKkQSlgB3
HGgb928qMQ3Em7r99imiU9R9oZ1gdu2pPaVnNI8yjv++0XUjmh7t/gWQQtUYXjgWzoenPD1OL7YA
d7hVy3VsQ6AUy01spz6/Yx1Qm83dHSMwtH+8OqhgNF5+RGEvk0O7jDv9+A+dyHN4ApoI26ODql1y
VSzqOaKKSmPGyQEVlRBfEs3HxsijturUhnsqKnd8o/vwex4EFwv5yqHYootgvGlsLz2kG65KdYFh
0l2kB3tYz5kzB9/+4ZLlJr5uoO8QLco1Y3tYpvUO1cfN2c7zSe9njPrEojEKN1Gx9YkeOXHraLsv
iqh0eqf7poGiHbWFkoLenHs3KR37BMII/WJMNfgqofL7wP3Jv5qo1c37NVCa7fWARpq8NqjrC7QS
O2EHNXfmidjg+8BL3hoQb1F0V0gtOkvRVJkDLQFGMY/OoAqgMtnDGV9g/NnznkfRO9SszaY34nuP
A45yB7oAICY7HmLOb6vbStllQb63qE9rPPs3ocixoOyQsian8KnO48/Wp5SOaiJs7FXuYphOKD50
QCFQhBck7m/jLImS+MYZLhZy6V4ktYqqd6P/1n1nbQ24caELcb/UbPQguhLaAND/1ERRbAU9LPa+
z0J6bz939aFUGlY+54XvFFRcgYGBhaEDUJwMvvuGjJ88KewOxWAq1U01DSGu/cRNvdi3PZX6+qcP
GKzfjKYVhHjJiJqodHB8e9SbVb7mhiD3p0Z/JSQRN/fiWI46spnJawQM1S1dhuMXA3uOhT+7+Cl0
IFIdWzE4dK5LKwrvyQqwiTBSxO5j2XMLyEquy2LwpXqMEtExChRulKsH45urH75TbFm/8b0rDyH4
4CMKXgNrKcY5/7QHrcLzzjCu4DA6zZYwXV/3VrHf487XXS2Ubrs6xUFw0miUyDREJEqPsz4s3HVv
pEA/B7Ou/AHkkopcsMpuKx1wPOHfAZoXZM7w6hXO8upgCIV9kiZB+dMhB8VWdPrPH/JNlzn5pClg
LQgbxrF0gRGea6py0MV9w7U8080YAFrsG9gOVNQU15q+4rZDbqq+CemjQSnwQZjT4JClPJKGYPvS
uVNghM7YQkbVz+cQwgV1WI1Aa/VBNcHgLGx7pbcF4u/T7mkAVQjQHSEXh43Mg7Ta64NC+bo9Chta
D+SsZ/G/jL/JhayAcdvDdD0kqwJLiu5W/fdwqy3lZMIZwwq5wE9cIEguyFmYVsage/gPvEiv8YXs
vetmnuI/CXalv3k40RzwPAGwFp/yZZf6qh8LoZQSv3XqZcTM0gUIZpC2FNPHI0I9ztslEERhwYQ0
OHSn0tfIGsiyQ3tFMbYaEK8LtBA2BWQYdbOhXI25kMkfSYsralOmQp4I452vnBNOB4xmYTIWCoTG
BcvkAOLgFHDkSGeliztrIUzuFPDNCkSPjq0zK7jskuF92l3XnjkbQ040URfXQwJ9zr++OlSyvH6B
CXXpdlCQvW/DckZvZVdI5CqIJSFs7ZPtG4DmHF8mCG7QDDmHlJiTJIOCOZ4qcO4UiEo8ABE+gdwK
fgFKFIC/t+AToL4h2AQdRZeDK19HX8KGpexgIUMkqGNxO1AcwU/O0eaapkWLNdTHnTCnY0ALe6bN
//C5vJdvudF3iCr08NwYVTYvwpqkJQBLobDgUJausXkOvqxvRnmQshH2AsM13L10KqqpsI1uLmkO
CqhqCqeus3wgttaX9Raa+mz5mBBjc3pestShteoM78HhySmliOyAe0e3ShpeeabnpmgmBern0iOY
QbMl2JWG1LaM7H7iQx0IjcAaBdTvjRvMJvczgdXLg/vN+cc+j9y+BurcgAsxDS5LKYotqDh+93F6
YO16YDiy330qix2SGjAvkBX2DAgRSIoGlpcOLh4JntHTIy4KKYa0KlB9m86stOua1hTnv36hFEJy
Qdn6OeYgdbEVSZqAV9rSUDYw+xd0y/g1bdaAYMhRFuFrep/Cxh+SQaKTp1D50w0emnjzKDm4RZlQ
pJFOr7+XOehic0YyEKSItKuFGXMiA7n8JL8lpdnrD4VomKAmJX3uS/4umX/yj6Qt/zVcw4YaxpEa
kE+IrJtXb+F3iPfvszHpzbIQN/56/qKFkIwZDmJEjPCDpUoH2xALXFt+4JnE8GuV/odUF03fPtY0
E5dywN2tYcESaCV06V0gRkj/hcGx7cRofBLMDOJJ79rvzPgMhrM0jcrkQxexQWEzICnYnbSn5AwT
hygyfoZ5GEKfdQvB1/Psf70HIABJQHI62ELhB4PLMt08JMCYy7MIFX6CDBAn6yI8IfbwxUnlCZTz
hUyVKcMEvnxgu0aSwaJ5BSY1sdYQG9WYYJ7zSZkHAHWyNSMeKVGND6S5kHIOchCJMiBeY4NkIxLk
ZBKKxXrlC3S8+AZYhzIups3iBOQBPgE+KOVa6g8WGMYZah5qEWxcPUJf8wRt9gka2O+ZoQyaoRC4
DLBVeQaNCyXeBGkby0XOc/LvjcqQp+gRbKSTlNY4UAE3hPAdm3ge4Hv+88PaQvuL3v8GyrAz605q
XOdJcsZduIWMXvITkKw+U0ZtTGSKl5CRs2A6y8C7eRk0s/S6AMRHY0ceA28aO5tDOPpqmBux4G+A
BSqvYTKEfVmRWXKWYBPvx+yUbpoyr0+gm6709MECxkbHyyHH/XCesF3P+LNDuz1+3ATpma2U+eOq
NAOMRX6b8AZCNAbr8mEzL+HziCNt0mWcIUEk8pWOnYyf0QgdtrAVy97BvAJf6Td4Ed7mrBBflqdh
bjcDGZO8jj2QAYqIyM5ilg6TM+09mBv7OWRrWGM+KLuIIc2H3nyTweFgRDwkEqmQ0dJOFi9ighuC
5FGpInLEhzCvixQCXEIPcjy6kw9BMOyFmXDFdKfsG2XObCByF/81A/aVuBn/3QwIVNlD1q87+W/7
FOlQM2IVJEzGLjNutiqJfZN3ayMiEYRMkK1vYAptrmQO5B/QyyG5bLxalzxNh+2Qx3HC2V08p0/A
mkAJvdV5DYeER8p8MOXxmTvwAy54/9OlaeFeHERWhEtbFuG/hXgHzHr8DiS0g5g9hrC88f3xHXrL
x1jGyD0kMideNbIV+xzogTBWi3xqM6Rhwnr9k1X4ZBqXFwvfNcFzpkv0BI1S93nb+L8t605u9fTf
6cHdRJDjP6I3D77wbxbEYYiSyCefJKI4h7IwstAs5L/dS8/yWV4kct+ehHQXAbOH6/b0DnCliJ+o
eznlwrp9CRkMP+TrqsegyTaRv/qTXYj/kIQxkU2NDpsyXg6G4tHnJqSr1L9/+3CRTmzqHBHRxxAv
6CPS/Qnivxt3J/RBhFqI4EBkOX4QdnnYuNg4aOo0OX/kEFPpaDMG3gwfmcIQcZ9kuPYw/pVX8miC
3aDvB8bD/+Bx3NkwvocY/j2PvA9qo6EZ8uQhayk/58NszoU4ypStItIiURHa75mhHRZ4IcyCjwBD
HRBr4TV/slRdlW18jcEjHjojPqWEhDFZ1FomEb8Jv7pEQtn2f6eSpTkh6uP21Kg8QpO+UGPo/hjf
Y6ydLpn3xCxAGm+lZ7FAmKq0hMM0YTSnWz3AQ8Mts5WBVbgEjOQXofVd74fWT3nlUzHUXdA2gZbF
P+YuWylhs8BLtFaWNIxQD6QRP/dJ+afsPpvLn7azf4ypPhWhYB+X6h53fEbUqjNv592FaJRDZ2lN
dNoC0VJnrM0/439LDjWORewSfp7Bv9biyfpxFrIelSsSQNedbkNXDMJ0IUZhsrj9JFMAM0b0gZqt
9ICkAKLqJb4K/+eaJCa06Vt+KK2krUkBgk48f+I6W/aAbAWCi84Qr/zldffPI1LBNfJuRmyaQWQT
y2ptLksQaenanHERKWBOrgnDFqIicykQyeX9fKXggoBRD4RIoB3NZQFRJ8nNKRFdzjr8iYQ+f1GP
yS+dGUfdfe9Hm/ENfoF2OBMmItBhi6Krj1Xikw/iX15+Q4D94/JX7iJUu+QhewQHET1+cfLLI0vL
r8eZYPDxepGkXDsbpwBXtmhAGGNRhcWxOBImoFNvVB/B7RE1JQXQJTBJkANJ1feiYknYPCSVQFL3
uWU0aDkyOMURPgt9/zGoK5LoB+qOVyRrclbEONAs+U3i+hVMarIAnH4Wk682xMMw/MCZ/Asp19e+
hE6AWcvlggFAmRCP+NaEudX9E4yy86/zSr4lWHROzywZySiV6FO86i153ssnPv485t+A6JUe0TmO
i3tPvJa47EXeqROr3utAwol/E26SmFs94+XcUdxUBCSEaPZx83rETomucEORk1zSb7qk9YcZSqQ1
/o1xqrbxH0/UZhIwK4i0qETu2lOn47xwm2lZsZWVB9a95k9j9Y3y479YoTZqT/EvmgJe119EKV4l
6/SsolGISHfoQUC8fYMOYYbbZFPPvpFluym+OAmXRmJcKByCQAS9PpJIMTjaikMSxagkdfK4j8ls
MK97Ri5b8iTEtNHOnRPPJaRhMXsThP2IqJFduXeYw/CELjN+Z9HjPxIyZQozGwslwVh2Sm9G/Av7
yjRegCpgNPiKMPA8FC3/yUrGfyRqiTWtu5P0gMq4bspdu5QpE1IhRtc4SBdrwjfZB9aYqFF3oS/q
XTu3h51ll1bKISC1NfIFWbYiCRp0TplLtJs5MB8MoHglnfFk7gSAOhLHIkKOtDAwhnE9s0L8KVxp
FXHPO13O3w5qDEXC70T034FQfTCsZIP+qncSoDqhF5PN88hjrH2XvCcu15agUyJR82rHb/aQo4yU
ckHw3pRwZO8nPZhqn/0kc0BoFwXFeqDfbIyzaquQGsaopt8OntOyw6o0EWHpITq7zd2rBPsxLchJ
SZiOHBDYKMGw8Wf78aFt3NGx0PbZ5eRMPG/fRKTUas3j62QUEKFfrLGwnl1wx3/UBQr4Ce/0v5wI
CUDEQS47xtp4pGGU1P8aHiLA01l8Ui/kD1k7cmGcSnIZdscrrT/RaG+H+4EEBEKEABNg/NoeNxb3
A4E7sikIzKPxSFrwGTsluWAQSB9zaiwyx9uUUi5qZnBPbZfsjrbk8DNLlCIKCQP8cWZrmSVWERcb
k2MtmTxWE8kfTqrcgyQxYRhAjcKuJUmKon+/j2oIw27wvpKU7fMGhJfHMgNiufHN5xQob44qxpEp
KA3UihhiWApUoLL1T4fAH3Mn/N29w4azJKfMznDns3efRmwKPsO7OAiN4T3AGvCTT8QUWCi0Dhce
ssJC78kzi4kGeTmJQEq4WMrNxV4wcLWRo2YQc3t5SW/MImO8t3Wf3BwAgdimVm73VQcYmHKQOH25
i5K/PiDe8Yh5dk4sHlcNk2ffmB2TYlDV7nVxcahYPMj1Zmw/9wynh7xMARUu28KlDEGnOuCRYnio
Hk8lYkwOjtnjU5EzRiGyaP9ynEQ//2k4FVXb8a1ugCph03XSlujumxikqOjnESFCm4gNRTJBkfg5
SozxYG+WO3KMW9aPH7LSZF2xF56AGREuW1QT28Tf0Yryk+NtK54AsfC5ToC2nWVUEn2G6oI+JoTA
bfIHwAvTM9PlfBsrfuMRJBwIQiOr4smt0rP9g+nFniIvHCwWmd85eW/sEK5lFpSsA8rrmwfEzjkG
NUkjAnYkKl+ArES7yQ2DT1u6LAbXBb9wGC4hU+KDzJMlY268nQVlwNlL2qeiU9gPZJbRpcijBpzN
R34lzdLIcrMoHIT65fGRm4fssHHs4/8N20Ik0byHHF0+mz7k0JAcZr+wv9kRjg2aBu3aNCNi7SwX
wszLv2zOy0NX4XkwwNd7zvvlzDRzBphf+3KLkjIgDHlzuSy4hvkLwsPWc3MzOtaJ39lMFp4jzkJy
rBGJcifaELWt9rkvxKp8yn8ySZmVz3Egl8HiM68movcp42RxmQXHEr1zh975/S8tyqaTFSHBosB2
4mBMo110tJZIiSYx/Drvk7Z8bq+wkamwr8lrUus9YR+5BguXk8MzUTP8XLTRB/PzQgdDZoqQozR7
qSf7z54Qos4lZYFcMTSmz77zLYAxJFwRFnHfMI3o6JVu+CSryngYBQqA6UOffGIt0C6f+wn4A7d5
zxihFlhxno448FxSZgzlYk/4vjbTEFVjSrAgRPrv8MLmIgkqXZz2shQgOiDDriSNy8LdL32OALkN
3ijZHFKvaMs6d8likKglC1L4nN54j26i5qeD7C1bhLnxNMjZDihUNXpJBic9sKR8CfnhbfySo7B7
HuX/7QlxYYnBu98yv/0MeR+vQK2xKy/idlg/sCmbDjcSa82BZHzkUKCx5kFtB9uZv96tPvkSLHlS
Gw3hzrcbs7YjEqqrbFDSNqNDAw2CqP0bVCXpr4YhCHQhkkIS6kvOqCHu34TIc3pGLOO/3ok7Eo+L
xDbCTfbt6agLHE7MI+yiFT7Y4EmSdvGARPTyl7beY5MemoiHdKP0TDXixhz1SJ0L6bwElF9EYjMX
Umb0uQMBDO0oYZWdZyOibflPPoL6wilXJUmJqwdEhAhJ4XHrzZshvnpAtPZML3Yq6sgifKVfCf0Z
NU8awOQU98/ua5sqC2gVOOPg/2RDBxwqTj2tbI7IXQ4IOsSwxS5GGzDDgryE5EU5R8xDTnwpR5jV
5T7i35FDLooScK+cxeScbFCrnAA+j70jsYgadTthCyX8AaKCg833OVS8gtMuiu4iKoCbhEfLweEd
WL33Ecpa7Ix/6kjPA04dp5cLs50nB8GtmKJO0AFvLuPOP3sQjhsS8ASDVPlc03hoGq5w5KD+CEvr
TR0rytuJOwPowhWdkmM5ucg7NgKzQNsg2xxcLjpulkoR1cDpBojHdMj19Yj1FBTYYS0lyIlsNQKK
2XticNyd2N1gCyRP6JAOAwyAO/if+HE8JHMMlJouAidGSY4Q3A6ZPd7IULGIdjU0bxQn4TQs2x0J
Ph1ny5Bx5UfXPKFVpUMrsMONsWBdtdPjNbChR6EkB0QjhWDjCzHvDhQWPgerWeh7+0em8C/5iHHU
3QsEhDaH3OQfMqRdPFu3l0qOVttRgRDDKiseOVri3sJKgS20T6o/K509SgfnOdVhFXLe5TSpcPZo
vqURf7961MfkdVDUgQ0Tv+ZXZthivWNmhrUJe9yIXnhG6dAoUabDHf+gyAKY57AD5brm6jQdBC5C
08M9Pyj+YnrwWU7WDGBVnsNs6OpHdfsI7YnmrrTJ1VMdYSaktblDe2YCOo8x1kefG96nYeMY1DKc
ryVZSmFEt2dtX3dLL5npY9rID1VPOl+S0Ssha24OXc29es/gHX4eTtgjqwz1IZ5daBzS2XPwml3G
ZqBvO4MYxyq8/WrB5xgvW7ec5tNOoE17U7yy0XtUuJT79NzWJ2wyq4FTExauFirY8PUdGratMlGX
MJSeLbxKw6nPKnFD8u+koF0l8x4aWCDHmN6Cas+lN6zIw72npKSCGxlF2g96RdiGdWjPGpjEVY/U
dJ8e2jQfuUSm10E7KHRKe66kTUNva/Az3eu4+hiwCK7pmRhoz2uY74bMNKl7bcn+dyMjdhtSJcam
E2S34DL9hEpg/70N/zrDAB1ki7D1LSBepHcdEk34wUZU90kcwH8yyngVbbvcsm8t0tmNW3KTLC3p
eucLZy8WyEHIalm8sbLjuyRvyKG+fMgJyIdQe0yWeFbC9IIt/NsE9e72x0PiabklMkf7vGyhO8r8
u6HV5JyaKVsb9+ZqBGMM1d6510y7wVolGctdHlGh3I4sTury9VvMX5PqkAxus8+UbCbN/35KLpQF
XYMiCgH9DD5WeEFpneNbI7DBLjal9/l7rPJZZ5hAnwcQlTAKk/QufuzcpqpjLXrgboo+eZ0hFRKk
5i59GuiSnNti05JjTAO6OnnSQTCdUpsVUFpBoRvpDwL08OiUR3IdDTQ+QVa6Oqb4jIJVfkQlK2EP
Mn8EpbsekSBzXU4smrpuNMu/gv3fFB8v60I6D9aH3HG/BBHHwR8VrCnnKT3AS/VTxk6PlOzaoDPj
a6YTSfhCzuaWLrRiK21LVS5dMPFII5IybMAwa0k4ffYF3irmc9hM35K67IHp8fId2SZDyK73eLEm
lZzfSbHR6Wewshfd+Z1t/+tNr5FquGrrZDvlaF98W0ddjfM7icXORUBicn/Wc25cqmXuvlgLgSkM
hsm4WDapS7Y5p3mAo/4BSacn8ndxpb9Duqj6lS7V/q2CmiBPvKbWiwId8ibCgqANEog3KesvQGit
tQa8DU6mBN1J73S7/TZdKeDsUc0A39sZt9y326eko53VW7tBcAriR1foagGWl2Qr7RkGIhcffg32
OvXtTUyG2NSo9BuA/s5JxgPiN7yYWwjaHQ2+yTf+aAnVoRiA+F66tbE+mI8Qyp6BvZvm7JavQMOa
9TwHwx29KAvQAhNEKhR4VLTdXAuMBcQpSbnovbxGTGOyOQNeT0CF4qtfAdNExbaThuDEBmU5eEHb
sXy1o/eBMji5q88gXbp7ozfWIy5MTCnrHeJaizNcz0CwE5R4Z8MEhpAYAyIyMPQZwj87kOlAzXNk
Yag2oKUFrsQaY50wGeYn4xFrjvLpun/t9kkhlNUYh6Ql2oUFfPPrxGf6mHgS5KxcZYyTCkKe4m3n
FfsZtfzqIMbtJdBnQCSO69V7RADV9SofPtE2xeJhzzE07Z+2M78ZQzxNQlmsJc4w7mGRDgDvAZ9g
kcrV1Z4ntPVS/cuj7xE8wftK82mFltvxCL4AkfnNx+S0JqzCO4veY66+U/oIiPRwpV1hxiRFSdta
k9hT2odYkew0pjT/BuT4uSIq/O/ua66TEtt8EvtPhD4b9UB4KB65ZnL6KCg6Zn5pbCGdSeldGFZb
a48V8zobe8wAUmyAr/ThE9b/eKxet89kSG8YdZr9ZRNtXvTt2fsXYrkt9tM76P3wTh+bBYp8yUrf
QhBbpEyfobbMMfSkWYGwvsNW9Xudmkchh6+wkWCVo1bAuw9T8sNMF2TeV/25UitDwTM3/gBZULMA
o566DNsY5S4OFtj7NBvmygD75w1uKaUPhjgYJMwromnA2UlZAS57SwhNtj7u43ZgoDTDeEx1QIUJ
RJvmYxPA4DZ8/XU8GEQMl+JTj+Ru65L3GArhGrl56EFf+o76T4rISI2cqdkA6c65+dJFZU+c0qC4
oainOczlIzaNQLJ/Lxa9j/Qa6soamycpnLj8FFuzCEAvYf9JOQOA0A2+BhZ+BqbmO7AWIJxAW9kn
9hFT+w7wMR8ppp9Bu4pLRPcHaswALvFY8FI/1yVbjFMHBgkN9F5ArTBj90lN5NguDjZW/Jf+sjS6
QJowGH9z0g/gDu7SgB4rjbzzDjzmAG8TlA7kAWB5ZKdi9+vwDucP+LvP5XBas3ukg+7jFHQCEHan
w00pPQQUj15e9KF+kxTFb75vii1rXJd0YKJM7D6k18SSGBlBCPvEYIiJ0kcVgca9QzG1TgpbLCx3
ASxa1O7OyB4A2RoICV74pNJ4BsKSoBcRr2KQre4bsnmWeyg22thwnyPC6ASGZ+axU1H75usvl6Je
nI2pNqugMSxG7Qb0tUTZCbFxNeY/tAxSQH2BZmgm+c+djlFfv4JZG6smFTXRnIv5PepAwqqM4DzA
afm1gkfQig5myEC1Z/hic6F8ce9TG4waN4BrzzjnOjcAIXipeqIag3h73S/sgMPObaFnwQOdTPAO
E5YP8qaU0NBSp+Tges7vM/Ub4sMW1bAWjxoLAMwT7bHERepp7jv6whhQgf+gj3IXTKg9I/f6h8BW
S4jniJJTCrNHR5IwxwvAz8leW0zw59Gq7CFujnbCDkbDEJhj7cEJC54cuDauLhF1PJDrnOqWrIqI
cJfEIcfv+wmP4jFMD4/NcyLQtdb/TUAGaSOucjBWN/eDtbW+jTi9QMBo+z1UZg966QB6eYNNwBcc
mSd6ymE1W4s3CSjAet5jnK3wW3vzlw++cVB79CNwO/Re+YCQAdiy+m7oexXg5gzziXeJYHr3fu+A
S8RWunqvYUNLXzrdeCS53geQqNyQuG14jc3GntPQSQm7Jr2J/NvqAc5s8Q6MSOl/D+9ZenU5d1lY
7UgtEEzjJtCn9tzkvB1uPJ6eyRG0ur+0GBm/Q+wKBkRAHpfMe82/B5bstqKlV6hbTpLRkaR7uMZe
cyizsfVaEuOojygcTEc8nn8t2Ow+LLfS5UHyTThmGthEnE9uFqIPeAGfs0YuBIZHWAo4ukPcUcih
B2sgH3jC+rqCUpHiHtr70EHu6h9eTgOQBstvhAdDvyiFwwFOilsdeBzNjiEk6Q3vqx+Q5sD8EAU9
ouOal49LWne2cB519zCxTEu+TvDMzVexO377NebedSsdXl6bb0xoBsMVFEt7ykfVa3AfQCIJqnBL
Gw7/sSro0Wlv6wPsYJHtGNWQtlf3IfyLw1dMjMeKOFt3p5u77fg5wm/E4oMNOQBN492xlWmx8vPF
Oge28u46PVjSnOwI+RepOyrZuCfHsEVfxxo82NRuHRGXubXBKQACuW/g1XE/0Cwo409JioJxo1wC
lEx+7A7AybpZDIpORydwkwiODdY3evPIWokxC9kUAG9qOURvVEMbDBytNWmQgTECko1kSp/aZSsg
FuWDWnFpVu3T++/jv3wcNvBGiY+x5ogqf3qC/6r+hRkgFDSx+LoELgBb1ZTpuriLbel0a1f7ae8g
5/iSS7mPm/dB9Dm0ogQBCWkfXcsagCE3QryUvI164yqkLj8hWvXzmUId79GaMizC7ySJOCS+Ob4t
q0NDgahESoA/TZ4UP4GUgiZgR0TfT8ERJv4B8xgO4xqMYUvn0oRGhXgyoFDf9Fyk5nT1pJW6vU2I
U/LAC5rcvdKevbLYx/eqF0JB2F11htavdrD71KNMSQxOv4v35LtuJvDajeoNFnWLT9Bwwb8H34lg
yFAiAwvMaUGnbqIe3hnvbUADL7jCe31AWMSZiJNT2qpicbF27LDdB8zcLzb2tDN9Du/b27h28zUl
XZF0rmgDze1F1Hk7VxyQ9OVcV+0Qg7k3rGljUHnWb0YwFNDRCF6LARXTbyhdIVpPnc93ZaZEL55z
OLGuMFCaQ0pFAcI0jQOfKDXi+I5QuSaTuOVqHecXCrjJyGJgKOYACxXFTPYjNjzNBthEVoJfEjQX
XelSsl18XPjAsNXhDsC5EcaIJzSN4u8TN4UbahSPO6u4dC6kpvgdySD8QZie0OHfI+1jDZgnSSM/
t50dpFhTdWpFyTSjQpziIOWor9WXC/0wTgb8YPHFLbpu94+6OZyxGpvQeepkcfCohAEVPYzTsCb+
18vJHktyGO5dVpcK09bBf7l2YRFw8hZClLFFTUFDQZlbl04jPSkpPryNCq/so5PIflBk/AUqhjHh
Sx95ESo4iIfwjsVUVXrXqZzXkwKXDMAzSigTL55mAyI/ALVm/3oT0eLPQKJewPGSQBuqgENvtFMj
iqjQ+i7Z3we05PC+Pr3ln0RK0X5OO+qEDAXq4H9bBBMEpND/GhngklD5e2WJ7gOYfVOYzKMrLHmU
0ZcBwLoKccKOXWIpkEfn4iWOZ1Mqp4RXCOxQTyQBoMy89vks6Hze+Ibag+uCyjEScDSTvJMLc7me
iU5+/0WJiTORZSBeiyPD6z/5mCTu8kPBU0yJoGQm8CgS7BTYx8sB7hhBMJMEq6jzHJYGx8CFVv5H
0l0sOZIsUQD9IpmJYStmhiptZKUCMbO+fk70LN68nppqQWZkhPv1C8NIAEnXkhuh0SNlX2xvVla4
o/8qP3lIPTjvfx6ihfulmP5L/136h0qunWsE91aeMB+bRsadcsO7mFuN8yhevVdWH7PGrRtrqVmj
DRUbIkw94JYAznU38nGqn51vPhprtvx2cOpn+clcwLYwfoX5Yq5NNULKShK7Nx6fT3zkn83vkR6N
jc4U58acNaXYzEfHt+lycKX1gd33UoiL4Ycocu6/QoVPoFg83DyP0JuqeVvUe5Lghn+mwzgPdphJ
V5UfqxcfxxKRrJbKtMdVNhiEv9/AbgH9E6LnYn8nYNzMmDCu/7H/7mXdEbLwK9THcHp2uu1991Wy
1sm6UTYCqqm9+oefUg8CEheTMPzpHsaPr1PvPU+OUh/hDt1kYRTMBfYkN2x5z2W1k3hDg5jdu4Xm
Zu7uLWNGQNl2LlOJCucNsKwTS4mmQwXr4kCgd6idQhurPWcKqbKC5DJXNL7MdXV0umuvCu9Hx1um
52vGm6/qLWqeP7rsWfhzy6nskmU0BxtI/B22CBWchpDedbeux09lcCY8GiIL1DRQMoeH9F6Rd6yV
H/Nr3iTmEmxYSuI75eQt9Pp2lnyuuR6BltQMudq5YoW1j9q66L0ercLHcGWCNCMwjTID+ZxOeZTe
ASa9rjBSizZi/4eqyLE7TW4Nvid5O24hPtEkA9h1isQOIX14LWxlUU63oZj7lpC/AdGGYNG9pvGF
52xxlx0xzkKM6sqjcaxkqLdux5I7gwutYMHjbgdQik6rjHri2NvV9+XlR8bBeMYqQ4HrIZ5gjj/F
G+eqavwgm5DThLBGdRFOW/xVKP/VpmZ3GW5as+4pzxa4dHTAhMMwVo1Vd61VJdGOqHR21Qdmbqbh
vK5ICfaX1CQ45csf7irt2xcIq3R0LBmaF86464eC9L28gJWQ57gRX/ZEJb4U7mL4ZtXIaNMU6CTN
bfhkGW2m5zh/TvCUBd1PtzVPTX5q1/lc1O+NS0H3CoyVuIg5RihMRnAk/Hxg3RuZyf8DohZmeMmX
AmY6RinGtstS/g1J23qXYnaKK+qDzCq0mv3MB9YG1vLJiRuKmGUZW+EvXFGzz/6zKQN3yLO0xqst
L3cNHSonFXVXf6txsBoVGudimrfk8IkvFXQDGaT7dz49fvQPvex4Q2FAQ1w+Ut7+JL9WRt7Kpebx
52LK8buxnaXz+5/jcNt9jZHpOw6hzfTQw7NuPsbbdxlu9rc/B//Uy599U5FSfYIGg1+3LSPdYrPE
yt8WJ8zMoi8fQI4hgozLQVB2VtLUtim1KkipHKGLCAXWlC3LvztClm8Lail7JRCXlpiit1IQZNxK
vZAEVFyCah+9o4zOFx63eyoMMKPpW3bj7IeKmMb5uWy+wkVgvehlNa8od63mrrUb4bpL22D7rcje
VUO6POaJSVfZxyYCJGXgWSEOIZwD9jgCPig3i6Pe5c92CJGDUzFm1PSMW4eVQXMIwHAOcesKEOiO
DTh7WJuW49tvhzz5J11A+Mv/3mGRDlDc+9tR9Db7iZRWuyK7JCXv90x5p2FUw9op8Bp8bK6u3Lb8
3vj6DWxAF4Op82ALMr7dmIcFjjXYDYjlmLMzAb7OOcquH32oH6J46bPtaqwoyRHBNKYpA78BaXNG
eu1kaFnCXMgpGJ9CZqqzlpFoh5gvCP9UGyA4hDgTL0pXNNmp6wEj7mvNeW74pzdOqzJfeafskdsi
+o9ZOy4OBk0q8Mz9Wxi5HdjEYea6W6/wedOjohmJma+JoobFgYxF/pdD6dp/H92SqllleVfdy0LQ
McMlzhXtbS2uZnViNI7FYDr+bKaayb+ZE+xF4GwEAIRgU8R0iLkQWNVhH8dx9pQ8AsCz+xK03op7
lH78+CLH4d9lCOBrNqCAmU3QJwa5+AKEUz4ifTp/YNPHAqrgxlniIjuLTsWLlvRcC9wQOk0vFW7+
IPC20VtIo2GU/kyZbo8cAIzUJu9vJQS2Csk4w+1fh5Tj3GOwH50mqy9gMcPOf7cDjW/W3ybDNEtd
SaYJiNCIrgq3udESUf5ATaVdWP6A3vuYDZu/2chddg8DZkdfGGoVHIEPIOEWYS0+jf5FPizRVy8o
1zruacrfehTdeLfAGFqhahy38AL1XZHRUfPfBFZmRuMww96ONNjX77vJPzL2RYnNMC/WWMfXOMwV
O4Bsa9q5C9BoE8e1Q+ShFu07SiUcvgHVxnQ3f3bdG6/z+HK7+CIjsP/sfR/5t9nxe0g+dLVMkj0g
xv0zKBx1Y+m89bWgmjXkPf6AeTKsDN3liJZ1DSc4jCOd1x/rum330mdj60ZaWdy1a7gKDqjaY26s
ll8UDrVZHpVHslm6rK3s6ODbs5FttsqzoLSop2h+8MebZ1mbB1nMi/qzMevGGmaKQhOjfUGY1XcV
Y64SlFczk5XDPX9oXoocXQfREZ5DZ1Nfd8qppir4WTxRgU930xPu6r5pEM+konVTb6+7ORXeQVMc
G57+pWb0itZA5dJaDxRGk4fk+GNNgVbf9BeNSzs+vvSMWpTT586bcsqZ2cDfhrqG/X/RPn2tf2LD
hxTZRDU5Og7u3S1F68+9qaGGlCWhZ8NoKzbfV0Mi46pg1NG9DvVOs7/kSMeqhT8Knz3SBTYi7VPr
VF92FodCopErZz7WP6K7/kxXVvnkH6Xbc7j/XOxYJhSjf5kB/4dgb3AnmwaKImb3OCM12C5TURxJ
uUJW5qYtX7a505quyzGDp1P9qSs330e2fYyhBJMX9jKEpBuQQp763Cqci83vaCdBCZQsJtrDa5cr
TynRWJUOlWX5Wd1p3nnmumuyjcoG9EZ0O3dp778dqylZeoqVmnW2rd3LKUfPupgWkZfsPGQzurF0
NfReI3kFpdfYJGBMYtLTVkX/gpWijTFbsA2vLvnl57l7qIQrh4z2ESksy7tWYnKthTFbVgb9vSZp
oXWHs8Z4eRR3z8JtetXIMW+i6ZTVi6zQyfA1zXS8GUXRtns320x8c5cvQZta7Brgp48qZp90s8RH
6PQP5nkmoAYYPb6wf4Fc0J2VVuXIz6k0x8Ru3wT6MkdDESVWERt9K5EHAdLJ2ju4IbGfxcRkvvl2
sC2Lx674065ADZVio7YuzmoXxcI6QBM7p/XCRdfLlV4UXLVD+zIWH9vTMQTGP/PvQnzs3lY2k7Uy
qt36/0FxRYqP300vVX1No6OIomeyLkfaQaJ1+VUP+47Lrj2lZFnL7zUh70alqS6qgiMAXOrPZqpo
DIbuBO3xi+bTJ4q9TfVdO7UyjbcBQaScra9KHLFaqfKuv2/Oequ2bpCGRLLXoQ1gdbZpWBlmCOZ2
XAYNaVCvRSfcs6rblqLYXDwUQBsA2VvabtoJwsG+aIaSB28WDvUE4dpFGUUQRgWa7uvcukmAU8jG
TqGn0EQei1R+cCJDDQhHSu/6AGOsK4R5FKMyRcA3HNfMLtZFSEDl2LXmqC5Vaw065L5qo041V9qW
H62Yai3oVrejlKSxU91u2dj1dovCsiMKuhFyVYmTGY6s8NcTnZAVzu4T2/PjpWNO03aA4CcBRrkb
1eijx6audadwKYIWCooooPmoGkNU+cHk4tRIQLC0Pd1TOwxjFHRQhllFEcixtL8j1YxW4EJah6VR
tP7WeQsexoendVSoxof2BeG/ya9L5VJ5N4TXdOMjE8KxGKm7rA0UPzzFdyhIHAcfqh2qzqdNHw57
ftAvzFpESNVkI+mKypvmDTe+lNL9WyOEM2dbS4a69IWNx2jVy8yj8KcsFP3rpArdFXTJ3oN3SWfZ
9E4Lb7sA08m7IoA0yygxkevyomzNhL7cBd2SM3w8xpEJOAjVXxNVDrAOWkAc9nZq79Wa5gI13JDc
MPcT71/1LTF1G3lk6sN+2T5VzpNkN2UraRzMx9GWAb65Ws7B9HYZrp3L9L4pvEbXoTjeAjOh6oUU
WUJfaf1z7q4/wTG7PuvDLq0q2C1RA4rqTZ4oVjqgSqqcaN6N67c/cQQlWQ3GFXhLYQeLCprZ9K/D
/c+l7ZhGOqADNZUzBwkrWY2+abzaXJXezejX8XP9cRtFR1mS4hyuth6mdOqZQ06zlQAm2ogaV7pN
ppiRSa6x77qYByfIEoBoztU+ZIvnIZBo9qdSthiiY4dEzsaY7ub64S6nmvGv7J9YNtCQztHzMrwU
co1kiflm/9V610xdj+VTHQbV0vjVpeFVJSDV9l1RH/3An3gGbR5dcAWIWMg2Z81jI1Z1snSvdNWt
zABgE8637F+O2Xhf13FwvgVl7LkJsKhm+pvpfmA1+BsiEBqClEq3RnzuUrTWqBc4W0MAOqRRXFiX
y5atGh7IwLJwaG+HEs992FObfx0tyFoEUUUHUFl3NqOFszSjdwSiV2IOjuXvq3oSRc4ySj/5COHo
9U3DhU6OX18m0q3lpzIrSY5nzzwPk+O4HnFWOfSsli8rVDxBKNus06/oF7P5evT3Jhac/Zij/lnc
NGRMtXd/ts+1SECFC5Xtqh5AshXVdy5kwZfCtOncedpbsD7uZSzZz/SsGPlcioIOvnwfG2fnen5p
3YrJQaaUK+2hbE7ERT42PEz3YNZVO2FviVptqN6tfW/xkQlPxp/C2YaeIfEJWul7OTFQixaD5vXm
Sr9KU5VczXpfFy+thc+TKcX6m8oaXbLB/lTe7EYrRlgbKby6xwaGBSxbcV1NZfKO0RKw+ASXdSoa
imvDj7gRS6HbUJyJxgk0HZSWWa5GCuQCl/R2qCPI78bZ+nOYacQmAUgW/3aHDi7LaQ23KsZIobch
MA6adl1rDTPRpqJ/AMyiUxRMQIbp+mPEA9H55I6lx8cuL/NesjArR8XnuqrVZfHRWlmvl2oP38NM
Ey2uieq2dvyc2fF83OpkK3TvWHmFVSW03svPJMycQ2L1BBWJSPJzyI8Z8DWU8Z1ZLdOWXVE9N56N
fWdXP9VTM/PWQ/88XL4aT4lwbZ9OiIG1GETHvYQyh8FA+Qf1V3Wimr53Y3TYNHXn0v17Z0fM1fCI
8HxMKWvvKlignCRyvlffjUX91NpV381EU8RGy8EiqHHGB/vrJa0hTuqANiUAZ5UX12LXpTCSDEd7
LIQGUaEdrM++Qq+T1pKWDgeNASwDUz9V4hK86IufKcQ/qTPIFjCq1t0FQX60QunYvZdj5eRYT6Tp
UUPHytfBpX23iJlPG3Wgc1zqWwXfbW5KbOgU3AFWxcHXuoTqkD+7pPhd9dCQ39rOhhKubmlfwcjt
WKboZEyK9AY1u0/R9Ly7qohgqZzqieK9BgHMo5gXL0xu7J9Ri+IEBHXQVd75A3zgonj9B+s4iBUN
4ACSpGK2eCqulAkWuNnjIT/Mea7Qn5AbsuFJK54b686zyX7i41xbNA4V1XSwZMCEyrXvhUsZhtsQ
fItY3z7078MTP4eQ7i7osnb6i9chi6XbOIjLX4WeZ7LMFFSA+8PbP5eV6G8oIt+acCbgGVkHx+bl
j6Nq3SHp3AgDtgAp4e8M+MFwwiQEZ4FpTGwsyjrLRnEU2+GGmoKDpGbF7yOTkHOJU7ElsSzPis9q
4Gwdy7t9PRoCyoKCHWLhgIaH+p7LVSm9F7cKhgj3WHkIQRUGGPUtQzmxsDkfKtnaopJUAD6LK35X
7aBFz32HrFLtqA97HMrAYcT6QqnTMhSjxjsJdhlKmWqq+Qhqn8m2xT6EvNoOBSFgdtRTLOfEhhhi
7liwiqtVdMP1tQUr+/AqwGmyhZyd6mm9bY+H7PvbHFqMwc0YvqTSBoBIr9ll5AYphzkomEhdhRr9
oi9lBuF6hQ4PieNiFB2f6jQhHtLJpJ7E7eNlNk/oJetmYAZr0+pXcp/kNImcla7E62keC+lK7FvA
gygBFvCdBU/QAIKAMXqmAe93l0o9N9g24xVoxWoMFbl/5wbAAshNZLCuJTrADP5LvhdJ0D/7qHtG
2YckFQ4/VI9pvIctg9/P6fVR9AcMJPM9yWbteD04scMpkA/27QCTAyQcmyTAimB07Jza/gHWAtiY
M57y10HnOHhWs91FK9JPxArv+e1Q2D3zW7NiCOdxIuhofkGdKN9hesAvZwMTkUJIEV9OdqPlACvv
NDoi9k4zVz7c+cQ8uqi97OOTx2jHruA0Tc1vvzsZ7N3wLtHAd7vPn5OTcysRqH8N5gZbhvB5zI2P
WY/vc/xS+rD93lWmDmi43ybmXr9ICuPOkeCnYGOP10OcwxM+6lj8sh9p6pZF86h0D+4AMYt0+Nxz
orbk7y7B9QP5vxyiKs5xeBZADGCW6tgsjcBDooOC3R1zJV35PZUYHqaWM41+CLVZ5LAvIAyoEPSP
WaZ3/8IqLuPA8+AoWwkf9dg0IS3BeyoEn+Ffg6vH9cMD7E/pevTvxZflYWpsv1mZHe/tdzgicSxC
P1cJW3qD23gl/jo3CNoyUyO0Dqb5MVh10AEv7fIuCUMUGEG2F/FYrfIPatFOpgNxU4PGYmYbvpPT
v+2LLNrEYd+Pgq/SofyM60kkA4VYMiSVCLSbjrtuLBUc5/9Bb6e/64dvzRPiyJlc+kcbSt75f1Uj
xOUGR0t/b2ErUoGCLhcY5kCQmugw+0OB90gC8chQv5OWKStsDbrP+Hf3JgMPdCAR+oHHLSjA06UA
I1FS6BcH8gSEfzAcC61UuNT0d/ifwcM7AwyH7FnXHCQyNZ1oSFOatYxpWouvcBtZGddR/8LUnf94
zQXiC7FoB4cKwtaG0dUNZRJoHQDW1MCmdefBuBiD4dJT7+bqXB4+3o1nyq6SQC4b+KmhEiYhzWfH
J0wDLg36psd9h5VW3cULhh884w9vgmF+oDiD5d0fYDC26J9jY265Z6xh2oa6FzGyOfwRxoc/Q4uC
G3R27XlOtnYsFC5E4a+6W2VX5hk8Mk7yRpiBrHo0V5wYQWhcj54lJpiMul9O+xz5MvY9QX35/X3/
oIz/fPXuGG/JisIL/neqeRkbTRAgLFXC+pTcJMhtuJwMEKgUNZ3YqfYepJQyVsoSby7W4QJsCuXX
6MzwG9+DUylwh13idfXVoxk0lzoAcO7vCMpiBJ7COq8cWkBbYVvYIiU8LR8x9fDC+DHe5hCSaRK5
bbLlBCKBo2jCtuuTSyD6Wqyba76IPH5ue3w+ZDJ4IY26OSxyTVG8VSntHPgRGOpYxyvM6gIDuSi4
/F3o0P+Xey6OJcr/paS0dpAjNh4Yn0nFqqJCRiKWKmvuYwssDKVM7gLdyzpFQU0CDVrQUs4ZI6AS
vRlV3fdqHIYbHgg7660gPahDLWGh2rGB5M6hTiIzIjUcGWTi9YD0FJz3FZOJkM3DfRNjFziVDJbJ
rDRM7ZzA729AoVUGofZpAnMr2DUQCpryL9TNEP9INY5M+u643CMU0/OHKecuVs+l5t4I+RBHAIxK
RBetXCHo8M2RFyQFHVicLd4mO4EBhntOuTo6KIY0mHoTTOa8v1EnIJkxXDxHo5dy/IGyXi0S/VsV
boxSxK33DWFt8HtlNksOMvulM+M/yuAA9dPYn9xo9oX/9zgHGSGo2WiRZKmJn/mgXl5NaEZ2x1Lu
VvPP52dMI8wKEoA8JIPtbuaPYEnk72PsJaOFM9ZJ9zDJ/Ph7mxYHhO56lAtMRGLZTaJm8Uk3KJzm
YFqeAdwe2SxkhrMvk9gcNr15KmVO39OTLCbjtci5TtNVyxQpR2Zfrx7DQMYxBlyxgX2B1oMmWWRx
zVwPVokLkCzFjCF1uIt9MUyq2hGxS6evRZ+Y/5VX2sI731O5lxvQcf0xRrZ2fXHvQ/oyUrqKuLwf
Rv9uX5llESyhwiGN6ARPriUe3ZfWw1/JSsIaI3h+6drCtmrHqMlSWV9qPoV+Tt2sSBZCn7O1JLXH
m2pqS2lSQEoyjpEc5sQKYUg30wrmkW26lh48Z2woAe84h+ZXtW9rdDLkvvdoXMikomSVeZbXl6iN
t6PBXh3VQAmceRpkmqJx4of57UrArJBuk+g8y6i4Zmmn8UvuWd0BLAHEMXRz8f6urOmgmDZuJ6zU
KXC43qoCaIwL1ArwnTkJkw3MCmEUHGGX7BLCZI47t5/ek6W46sHkaDtrvWWZ6cq87IP+gG191eNo
e32aOUEmX2WPmcpNYePX/MLiC8dcjDdyiGdfRYmja9US8/Gn7G3GakNWVhxEDCHC+RCpZgaR4HcQ
aN/XD6SQJivOGSv98OxlMbajgW/OS90tLsobgu052bQOq3CHPrgzDqI9u7j3FlhgEDCbepD+zb8k
MTiGmjsmAcG9AQn9BAKwm3zswrhNpYen4C2SnDENyWxdH5dkObHBli4wW7ClpFth8yZDV6+l8iZb
/nncf3IpajswUXnTTObsTazBe8YXxmmLsYmLsIVQFf5vZcPZhvmDT/7N3ZPtCViSWOmiS3qlKpKc
22LwJORGmngYNFXlYNChH51fzN6zpVxtO0oAsbGFmPhtER1720p81VlohkYjcs38l5oaxVZvNInP
WLdkEENe4I80/ZA2ACkA2m5yL6LVUR2xC9s/mLvZmCgCogU9zjMfFB2cylqre22G6kbZC02fFbcI
QflN72ZOSqCjFU5U43Q9E8yr6nkQhqOPMPGg0y6+tXVXE9PYMAFQi5aOw7MgiMBbewhGS/69UXH8
WY/q7gkaKeU+RHVeNrVdppH6UGO1zTk8qSp4EVVusLyvV+HSwF1CF83lG4iRFd0ED4lE3iGVLZiG
wbed86F4QOHYmQ5GTWspJAz+cPBAvIu2wETRM8fEX/xObmfu4dkMTw9GjQc82GnwkQuOc/yGw1xA
NZgTm+Yp1k6lPgILPQSxZ7QJEqIc3NbB16Idt19cqnGw8/iQLb8jdV0MZ/zuiRVdho0Z9y0NxqnP
489U4zqUIq/VMVFCR2zfh6iTgNQMnI9HQpEfSDfFOnHRS1M6tnel3SigvrGqx7MMTq3eoAz+10h/
4svBghEM6rMm4jmQI8lujl61vRutIwVRxp/LbH6jzjc+RHhIVTIFXM3W4d8QalHLtKJVjvTdVWuv
mdiUZgzqrmsrHmp36MEc067QzD2KNqNmYRrbOBlG6ZAuo9FJDHcqmp+WzPWM0GKDdQ/2Vl3azBd9
elz0wk19VTn0MzgXIZTehvXuYAVDrUU/dCPICUlgDMbM+MJaDZnIrGBy+F0Wc/Nz91zNgceOnXUn
1rhPFg2rSO29Lu8Hm16kndSE7wcxFxIdBy6F2ZFfVd4T9QiaRBbGDuPm8vZsSHhFMMM8BUXFJucJ
ZVTtcnNE5SP9mf4cQPWbmmw7z0mun1O5QEnbs/YFf5wrK3voZ/k6zH08KidckfAZ4rT1rU1lVmf1
3TDWKR0bRxMlDU7ZYK0Wr6WheVqJ0G9po8XbVmxkZCLQ5tq1lIIK3TCqVu4bSnPTNWkcCufBCq0D
AF+9zKPVAzM+IJxS8w0puzS8Tu1em5NJFDPVRIPRZDuBIRLJwylKvnfp3Dn0FqML5PhejRWObTev
nhUxF9AQDpHnzqp+nhwnUajfxIp4tXf9Wbag/zJh/3/LYmg8srnVHA6n9ruxHGx+o6VzEx5XQcDp
H9nn7Vni3eFMUSB8eBJ8RoaKYMA5QstUfkEOFt8+2yPhkB3oZuij0GXjpRueeksm2w86GqY32j7G
xi5//llSXjRvv0Iuvx7jW2/djXLbBCMN/00SRutO1gH8bLq95CuBX3KqXJHWll0gB7AkXnpTAcaa
p9FjlPXfWPDVV9Nbz+3u0MUNMpNLKwDet99NdVe99QWctZ+11/QyzbRvHCJMyoUB5W8VPNzVo3ad
X37PjbPZ2aO0nScax0FkvuzE+ncupJOz0RBW0bG6tMgXkxWJ0rI22+hi9/X3XUUkuqM0X+FNXofb
JWS4fDt1fb+I9OBDxQwboF0PDIgw88h1VBoOyjr3EzosVcDmS5UaGWoR6iLvqudu5PsxVl486jrm
dw283d4gtohf9GwezQCOnVw50k9N1gMA2HXDFFEjO3hPniHE7XvRy/5cQlY3CCUfQaaiLLL+fhJm
a+uykV4h0j+00IjalEDmJBAnVcvmKzrOSpbLR+b7waqV6y+qvnKHvWvZgLu67WRrh5F51EjBO1h3
Mm2MKpWJwK6+0UbzaDKXa8CQq4kSxMLpYah1Q8KKsxHoRsW2cWLtw9PBJq7M4yusw5TVf8zmn1Si
1/rymo9+r5GzInPHRmvWu7TTelHJXOZ5KpvSZey1OEZ3LpXEfNWUilZGJN/9RkxxTOrkjDRPfcTq
fcdPQFUcEr7e803vOdduR1vbIXrCx6qRmuhlQfthICjnrBElZF/A84hKMt1FIzO/UAeGSZCwxR53
1d9ZLfuJylzfmYbxIW2vUYxRClHti9HhurHprgpolbHq41BY/MbL75PQhTxeH7oK6TLM82sLYj/U
r56LGQ5Wczs4mI0gqLNX32g+FbpYdOK/9oJ/CwgcKsjFpJEQQILSOAabb7uZ0LRDkMHNn+mQ9p3f
YX6k6s/ewZ6E5XT3wrnp5jOOSqRIQzvSjkPXpC0Ud4vS5o5tV5UtlIz8bpa/wP3ANM3vjsIVivtj
UaS6IS3BQK6MB4Z4UbL5jBfjW6wicygTsuTWDqtbOO8MPedmiu17dTF9NgyjW4Hntqof2ffuShH7
f6yR6x1L286pPpN0mU8OYu1VzzSidQ8MCvZkv7PPu17/CfP+ThZtVkcFsrnnZwBo14N4d9ZMD/ed
dG1WXE+OjevgzJ4pf6nMfhwNdJTlN8exsnOZOPuVocrB84mDIAAIXN3tQ0Y5V8psExut9SDReF7z
s6Fju5FSXvAQ14kmyreWhV2+2Y0B96tRxuY7m8pk65gxKZMi/F4vRJ/9RN/c3WTQQTLelDxt1dMo
s8tT6+VT4p6QzEsvjmiB+5aZpCaRaB46P/XmWCPJT4t01XsOd63XZ6w9++dHsGmsGvufl802G47E
72130zY85UYLFOltv8NJh9LfOEyzzRPu0N9XhpZ0HufNYwNxzlGsf15cLzYljcgk4549PDPJUlZV
sCyHfXdLT5EDK+d8/R36TD/5s8dB6O0n587j9+moiCneG+JqKz7gpXXEsQ7FvxF6Y9mJ48/O98NV
fz/Ihtuz6i16B8O4l8IvWUgAedLFJCUDjmrHaTcgeh3SntZlC34jPq87MpU+rjVDkeJ+cjE0dL7c
FYBYHSqj1MSu7RFAzwuWq6iKBCKddPOFl3th5RsrmiBUFpVYb1PYcq49lrmS2kLvNQq/0dvRrtvs
eIYZxM4+I+0DY8MOv9dKYrIYJT+z3STGJudVxUa6zkP2H3aH7GGAkq5tKsvBSR2bUCtcG9d5uiKR
RMJNPtNf1RPtJ2ul6YsdkVu0RpyMfyozavLOPtPTfTnTRjjcYUib0ypMN448/snNpVk7hK8aatfo
n5FE69p5DhRfmUmkFGtcfm+ETJF+ErXiM86jlD7N/CnWPriEJQ/BexJtXVop3sUH1RIvzDppRtV/
VWTvP5Nf1w7/3c+oTXPTSDU9fSScOKxvo/Lbl8HsfnjksLyaUHg3LyCdg8oWHl481kgsIR2CpAw9
1opIny3QkrA5whjBv5tBR9RRmrNiaKw0757ht/H+oionwkw66hkWkZePKx9ZdSAfSBh2S4yAeO+m
DIMjxPmrSjK/+l0PwjjmOQ9MfrtDfe9WPVr7gUy2xqGn5KtEDKH4GdeT9TC8e3qNGwu+d3EaSA9v
RNwD+m+0MB2GUecdL2Nm8wlKFSJMrYUP1CWTr2y0IKFkhmXYF2ZlGm9TwkfpWdP9GSdzUzIJuhgl
pUtT66LxNA49ULibbfjkeBKuStwEiMzvVPUb+Dnp2trFwMJsyIzvbT9dKF2YTbHsIgTospTtxqwA
1TjWYbJ9ad0n0RpqFEKLMwkk/rsvzjltd7aDjUStDmcJRQeRWxUfy3Qm3kqUVy2HySJ/r51+o5/3
xunXq7YM5xq86JqnX3/PSpQAqP5PQdmT5uaHwu03MU//HodKp1zodnMG4M95wj7qVEs0YmC8UGe/
59zaq5v+bbT7ykwCp9jxYqSVLKS/NiJow5G2Ly8q+86pN8NZSvcWWoZLK956f2/LBDTJz49nLTNZ
ISFdlXe228/AGdLfwvaIOPMqgNaO2CzRzbb9pBC0GpE2GiTIL47dHWkGZrOJZtUtamG04J65hMZD
Liv/6MBxvrTm6uDyZoTLWg6jqSRGAW4vreilDuOyLB3XFhvpZtPZVjpYuoAw/54riXctJ4u5kZOz
J+C+r752Duh//EbwlY/hoMyGGg7KR3U4tzeNpKubKk9VU1y4ndFthhKlWTsMVhFZhptGtJWYKzc/
Gd0UAxOYRUzjNE3QPjEo75xa0ZGWKJ+Zh3PEmbkP+yl/61HG7dnyiL60SY4Gqcbjj6uS0awxVD6N
joo17tUe/TB+SWD63BvGZKzejceFJhBjdfZdPKbRzrMwY+4vu9waDc2XtssIP3SwCjWsnNtoU6Fd
KVC8BeNrVC6zt0h+bqpOTFu4mj6jRBTD9AU0w0E+K09JT7DyneengqZTT2b7TFjaN5yGcyPX0u5R
XU6dY+izLqybUVUNhy7UUO9mGzYV8bysa1ELVIYBwh7LHIgHXkJvOUCCaW+tcCPXckSVaDILLkKS
dFIV39V79XtWdtjMrcbpomcf4pxwbagOUL7MXxAnn1YQgVsrXQiNhdKWGUN6bLA8fg7frA0KK3yW
a/fWv3av3ejqIxvtZIT2vDM8d1bFuONjncbpHUfVPInk+HbuHlNjl/R70wsmH430115xviuYgp/v
BWCDbNpADfoBJv77BfX/LAhtMotKIqVTKcbu+dtztOAuca/sM/0FGliyGct+b3aTtZpvl6aq3YEh
5BY9tntmlPvSfRMtxGmp7T2xTWF1+Y4e8GRNkpCtP4U9mH6DJYeG/qY1FDLAEBDTuZv9M2PRRWdf
+bRg70vpLrqsoDMz4Ao/GycUxvcAeBu1mu2h08ST0j0Kb/ZNrDnuKFEgLCrZ5s1MHeXoxEAn/KYt
LZss9lc+6yCB7uIzKvk/HtliJFs97sIb7L8NJiCd/oNWRBd4MBNuXpFzMNX6CMW7Oa4+J/HWq3Vo
J39Tzdxk9eudM167ud0XkuPzQOP8iR5zqBy5fMNN4lgrAKRLYcOm3UedbB6lS9aIODZ4d5JjqrTc
JPV9nzN2h+s3j5eCV1PSnyjzGMk/88aND0oAC+jU02nHfx/96N+9ex7E//B11Li/KpX9MCFh6YHA
7YYV7qfSic7xn4DNo0Esq9zMYRfImSaimOKuKp+TmAx8bVDBJa1QxplZASlxflzOdaQYhwjQe0bz
RxkLpjWqUYYg3+H/u/ewla/+olLAHCBf8a8HJEyNFqH+1HVBy511sBA69h+TOyPUoL77ODtZJtnP
RLb8uBVXcVzfQmpT0IekRy57fAQ53gPQT5KJm++BHvD88xycB8Ja1sUsY0v+DCy6uC4mSsmfh15N
wYoYIMP0I+YuHAQ9w/XKm19dwLHz+M4qj0cbv9S/+bib4r1zzQLdIh9JGFk38kV7ytrk1ndEc5Da
FKXoJauuYooHTaSw+3027ul6ci1wNx8f6sQiBxmC+ehnbo4vPd7i9oRaZZUuqGvioJpZ+H7+vsuw
ZBeGSWH/7l0nKmC/F9H34I9O4vdWNlZePAs5vkjRoPm1KLOU2Opmt/77/Tcb6E5vvUMr0c/0E5X4
wDnsbkVmhZ2z4ljyt1wR7xIDYibJZVDIC2e3ICa9tHDaFr4zDvt74bEr3MIC2QnSSNb2tLjPlpvr
sbAesWKS4w09SBub4L7kolCA3Nm9iYuGensfN9YAZXOZ+/NQ0QVH8d7On5dp7vvFnyz/zkKVS15s
+31S02Gc5goLvx8vpdFiNqX4oRzO7JTgMc3ArFCO4kA9814/wSSBy182PDjRThbu4PvxPz4Gveo+
W37GSrPD192g+1jfqaqwqjQynJt2te2h6ntk6apYAR0z/Yw+LH3vx7X2sXvgzy0jo3vM1HsxfzIv
iSx25SsV2zp3LT2MQZbv8hWGt8PB2XO0u54lre2Kq+yukJTNnlp+bbPVB5YIri1mwrF95is8+4of
fzbH7m422Ea7xAPX+o6z9KzOoyeMJ2Deun/PMWWhlUuQkBhSanysu5BKi6+M/Z2Ev8B+YJ+Z6m30
QD/0AK65mpSjHHus2k8TDLjhdpB6Dlb4Is/B4dq8ZmuRbOUUq5y9KkbGpn6lyc2107PJM8MjrGjA
cMq1s0CkbAxUFUK2N1VZ3tKCjSlkYb+p6nalNbulV1XOcByb/CQyrUywQ60hrRh0L1qVtTviNk9O
us5YEbvJuFiIIiGGARxFhulYCugdzZ8mvLlrEPT+bp7uv4w2c6qSbGFfYaNYYqzCNetdStUvtXfr
2Tq3dp1tPSmp7FqcY43gV4ZfHJteE2byJ6CkI1arb+vvwrHwwxm4IOiKLo/rTvNQjqK/ZqGWgW0I
sA8qaTB/prYf4TJO4xCqcqwUxVHbFBP0LauyfbByqaXL1Wg12z5XOEW17qM4/J8nZO1WW1ef3MIe
0oi49DZckMIabybaTvcfHL5T0lyWtTAdzprPXhpLvMkkv41AyeecK1EtLujsVb8GcTeCvjQPbGDc
F6YLpTs66anzqMXxtJmmKEoYIIHgbVe+DmeAVvi58rdK+ZK/lkyzsL/Mg/2MIXlxOV2VM8WZMcWq
g4RWDZSNsze+F4NbCGVhV/omJM0kMJ+d3H+XVf5n0P2eFygnq5fBxfdhTGNy9myemGws6z4OibxK
2BN+LXNsUt3rw9oy7BC8WVXWt9WtVJNb9faPPYrdrPwKM7fFqbhFOiojFyJvXjCZzBaf+SvqzAcW
nQQ2SS41B/B/HJ3ZsqJYt4WfyAgVFLyl70XsvTHsNqAoKAjq0+e3MqpO1am/amcqrGbOMUeT7Zqd
6j+8HI+rO3Q+xoLZ+Xt4bSFLl2CSTPvtT7RfI2MZnJ4rRAobnOnuPsLeAvkztwcovIFhnAFjRh8a
P3zb8mnmnQsbSpy1fCRvVzL/iEJC9DrUj0yvzL/lj6cHYEpgkxjsdDxRMcEhnpBGRkTr9LTVW1Rm
2mq0KBn1nzmQjRmst/8/tb2amAvNRdaToLPfACN+vC5yJ6AlV7oxw5yFhbyi07AEF49yU5sNNSYZ
NF1MkKlChe+BiDhij/DbjwhkuuKvgXrNvPvXsLclHc2foD3FOR66HSIN2BC9+QfqjPhpCi6dwRR2
MTTqBuCRLl78fVrOVV9dy5gN4AxuvvDB1e5uH54/fcSZs8/7Bu1BMr9rNKoOdmam6mAsNMXMafND
Xro3V6gz6JAH28qulqMtvgIMtzWs8UImZy6cQHu8ZJ+YcvAJK9xBYFHGr7Awu+Dqi6ytnym2h+Li
MR3x8ZxBXCxF8jhtV9LDRx93SbcXD+Ag3P4gekSA7RAcURTMU1gi6G6axYj+uA93BzGB9gs5WBms
DaavDbIwkaFHrMlUWaz6aIbhq9HovE3FaHCQWYO5ftfj5EOQWPw4vUkcQz6Apx2Pll+uF2QePgxr
ihLjwbd58b9JQhfCa4OVwD8N0Eo0uGHAF+P73qb7ZCJ2Jh8HarR3Qyc1xP9PhEkIfwhGcGzrv4+w
JLGQEgs3M+tJgFU/IbLOrdflPJtlF3aR22wAz3jbH5AvKPDbffT1OWoQYXQsu5rYq1zIMen97pAf
EcCYexPDOedNTgCpSebVu5qTGEar6Hi9DydMZg+TkfvgUff9cvoJSQiyxn7l9Qz4tWx5MCZkxJxL
OjgbmUq9jcgqm9Buowm2qFOsD5plGF3WYezftzgPRYQFhV+3tNgoLmJSzmCMgLhz3aczmiun8azd
TObcasBMfQ9Jmd6zzzA3YMkKpjHHBW8MJLSPQJ4N6QG0EoGVvFcNB8DqXXN75V5BV7o3UZWBdYEO
hqnzjvqH3H8F18WTfkS9SAF8flhSV8ZE17BEhqxAoH6ERM0JSxQeINJkGDb5HCR4EkOKdYSLyMiF
zSliy6Y8AYenBAmoBXDgJDKx2dxuSGmgX2WwA1JP07DMLWaahEbhq2/WU/HiMnQrE3AvXFLC/hH2
FFFLvXn3R1FZLaCxu4TTBvh+R3JCujcRZ42dhVw+QvayfCxxwRlxKvy/0nDM7GtSTHDm8ovaG2M7
KPN5Auivga3y4fAR4qAstc1ryYRVX1HdIKrFMivGqM3m4ACgWXQRJPfZQESMYc049vfHN0N6v+9c
ZxzMHLclOg0ENRO+H1JeTIG+7h+edLa8HmJiWB/Jn7ArFxEmt8s44ojW85Ug4dbJOxKkbTgcTKqh
9sMR5tvT+3K4R6PFOMRbkcMeDBg5L1xxi1vaHwAQmBWrFvtaZOm1o7J6uPstqFQL+hvUFm1YMXq/
rYrF6ATxXK/Cq/9df2zJfM65A5kYp3R6gBjsNyhQyCnxAOLcgrrjVtHTvVtyMjEqT5CLn2RE4W2i
tVHF1sOpCO52pw2d9FTtvj5fx8x95BQoU7X9+oqCawz5QvageMg2iInx4ldROSUx68I/ln8rDs2+
xgeCJc1PCTcUvn2jtyjsCfPV3/gdotY12hll7K6cPi2OUmZ1st1n10+CfSJCTIDbrDGBLBMj3UCo
4F09rbHT8fZqV3ZkhyPYIguF4c8IqqASkP/ECpuwJcn7YACMjnqk/b0ikCi+HGFgfDb07qf8UCD4
Yv5N8BoaTUugc5KL2PS+ZpzJoBK1yUmkDd7AH2HZBjdUZ4JoiJgKdkFq025CygGVourfx4iYAEKk
teQoZmXGN1fyBvYoLPwUMPSZvKbtFDiKKWgTIJ1kPPxxaoNwYIDMXGPcgMSuPuxtCdhUAkwE2tPx
R4sejjz9eBj7oeM8TQCSYMPq8FO87tCChICUIeqqtiid7kAMu2pNJ0HPcWcgwoxK1n58KeyQMSbF
p+csIwdpTcmmr0LXA8MWxeFK8r4W9HkU97m5yIA/VAAclh649CJZhHgxYb9s59pxACGi5iSBZC0e
SkOLwgQAmj8MCLRUdr3NVuB4lfMV403qJadvtYe9Nd7SOYwS0Ca6DmqMYstHamvRV6sHXC5boNzf
bDJTIS/OGWhaD7Ak1f3hM4w5z2a8eQZ9970sQfaXAvS9e+nsCkRTs1+Ybu2+IC9M7wCDbvybj9/E
1fSHHULKVBvoSVcYzkBIYEBwNxXAq3LzOuJTv2VuAHAQYQaCOxFIMDh7CmCH0Y0hBsd9QRPXYP1Y
2WoU1NHkWKgaw640SCkEotfxRvO3+nAoHjls37v2SJjabUtz9N6lNj8XZhgmByWQ7nl8li/D5QQn
rERZNmt5oUJXPkl7fcRgE5OBy5g3omqCsNBZPVWAH2WEMIRpvddbypgFfZe4a46A9j5JcRDjMDhk
sn6QUcJzpI9zfTjWpLv+k3XEmEUO49VgpMmHYbZX+DKqL4SS1Ftsux18lfsPt6Zhz4RCP7wwh5Hd
XwTTgl/npWoZjTP+GvD6oB1z7YCtw7kBZwKX22s/igsCB0CUecWI7EAL9vqgMNRztc4ouwlW+Fqk
F9B9gKJkuIe3BmI5QKOib8io9ggy/KEexUyIfh2FTw12QR7m29gj1iVv8qnLEpY6OBnwh4JGMif0
L0cleYN0cEN7CE0fdHNg3MxxZX1m9c2QU71/oDXm6+RCyvSaS+Heyf6U8AE5cikl3TZHbQBmAVWZ
6rgUfPEPDxT5K2sAMHKOiI5OE5eAlj55/4fU5AnLDhiZBECW61norQDDmMSjpQQUbLQmvmEICELS
okHQeLK0wcw7l9e+dme+CWXwLSBO9mKPVnJFZ85AV7np48tzRkfNjmT0AaQHrjNETFnq/ZHOv34z
0AQWAh95AwCoWrXuA3h8dFAIcLMJjOpWdOPZSsGWc2i1uZW+DZCEdmDyjmp83P8m+PvL+OVrV3yQ
GI7RdLAKwIvW9Ou3n8ZC5jfisWIUy0rD5O8gL8WYDEY+ow8OpXOqJW6ymE6PP20BOQPHnnv40dzk
kvWNvWLKqA4gEONz9NKkny4PDUlYXRvfAelpdpqZ5Z0YAFzvjeZtAfG8E2wDfhw4zOCZbShBytkL
KoK7F6Py1lS4/nDzpLIYmi9izfkCZA4cxz0+KHbRmgwplr4MpQHf/27QJuPAAHG62pSURHBPSDV8
wirWShoBjid4wZhf4zcO5gvW1SOcwxhOhDU1fE5aY7jF8AJhhKN5eD30TNJRR8F9Voxa1oBDcA3E
u+f51JWhlvLi7sIHR474ReUkow/LNQWO3i2zaIpUaNjEPICFA+QcoKijg5wYMkTTTnsfugtgFwS/
3qldsBi/UJGQKR6HlycwNevh/6uAxwPC8760e9JXtAl4HLjZsUse/m05XGZbDvMH3Rzr8zzZ1lMS
JlieCb+QhLgASftGXl63E0jsf9WUoR7bVaCLK9zlhpcPSB7j5gu45O9YukzoAOVgBvwHYJv5L+kf
OMGBPCAjwg/GdwMwEQJm7g24VZZlqU9AnrDwPYMJV+JxaQ3nAlgd//jX/k1Q/q25YXKiF/BOZv3w
kLFvwCsA2z34yls2KAQCThIG3TJtFG/pUm/UmCEpxEewJ3xYqDtq/SlrnPIA3W9+OTwrofuSjcGV
bDLPf9x06HbYmoP58ifs3RqPqZyfM/Hrgi/bY+3JYndfa6QsOszX2xoTC1bJB+pJiy6EKS+74IWO
kruFyxFkBOVwqndI9m7mb4E0h/ct7oKWqfcP0gyQbk2C7QPNks4+KZnWIsmN2exXOsn/2B3T7VrH
6gG+YA9zCxBy2M6txQ4XGCqQAVyZiE8A9sYB89sUW2Bbvpd84VhQ/+QLRhzgazcDhTpHGGxANKLd
iguUrwvCrh44qHga7RnUlSE643c4SjLCF7YrzJkdJ5d6eZyzE7f/IkMmhQk2zus9gc9NloM1/IpP
wgriUCrPEqRr2oMSu4HeprepWYTAetjgY5BMhvW64gS98GZBWCG6pBcw5P5Hr7YKrq3a9SSfemFP
eJzzpzqfrGAgMmyGmnOpLypDN7AS+u0D+H22ToMKnmB6kbgam3XOliGJioKXwT8DylT/Ys0PYI8r
0eG3YR9OIKqKukSe7dHV5KvX+Z4AZN8v3Mmstg13LzsDtwC0vgEcDxWTjwffoYnbgT6Jen8suZ/H
p27W9Sk7PZeCWLIEXWUslF8AO7+yWEzMw5vza4/dMROj51I4C2tco3y93pF5JcgsXx9C5QH4Nts0
E7HzOLP4iQFkPeKu0Pmfu8zsM/lAB8bORwABE5uMqY+ufMwncAFkRYJ3obZcTYBUMSt/Y095sxrI
Hm+rRKzJQ9j7r8qTvrjNLZ50SgsZjAoXx1THhbVPoPQAwpNVFma1znf9S3dhzhJTGEC1i/nsI79Y
83Jwz7v8jkqWpMeB4OEm14Dwbrc89DYVxlbbW9KjM8CFA7CRSR80q/1y7z220onLhDcAeZNdPoZk
ozFJupPd/TXQi4rgDdrLkxyOYMLz2yTIEHLF6IPlyTo7rb/XSozpUAML8SVDHmhXHJeD0/fA1doc
f+Y3/hzhX03H58e0XY8ctO3MwDoNV4D4FzDwaufvHedJeZGXvBzuy1/ynrHnyws8u95QFEFQ05lC
gOED/ePs+d9ocv/HmHqPl6+YBzAmcKuYv74PQxQIF4UjAW7G4b1DgXEYE8IIc5B5IQWoWDLs+zEQ
X6m3UO4QG1LQHQFMFshBvWL+vaiLTEKHcRuYVC+TOUcd/0kHDRx2+g2rlujMUfk9jFRCcnROkyHz
7FDp6XxggbO3AjkecmrRFDT/TzOiYhbFPHfLyxOCFbNWeBTqlsZyo25HSeHnwd7px81aOaKI3XQH
ZPjmz+YJvg/36Ive7IH7FwNmvE+6qJ1PfNYwEmR6iO5CQS1v+Ygc7M8LpnGeOnvN8NQPOTeeyQ+V
f3/FPIqrAXYiAxuaGX74o9/D0V+VvOePiM8QXRO8Jw8v57rB0it4Br3otX4d75w7myLVYK3MRuHj
WBPNyhCf4ct2uOxfvtMmursEXFv3GOKtq9ipO1xAGY1LVnzwev+By3+Wg6i7jN066Mc8b1Uhacqg
wJMAVq3eRlljZARzO/ha+QyDQ0EfqUVPMCIt3EgvdTR4x7l7Dwfe/dR6DFwoSguUJcf7jtmXbKin
4bSK1MV1fbfTQF48kKkqYBxs9z1IFfR+ceRaxboOuBAn0eP4c5gywiAg9w6e/B4DMZx4hJhtrDPd
qswq4tKNlDWFe23ViL3dYtccSGTn9Db3eG1T3w2BPF4frTvl3n03Mr8RDMrfWmVMtVbnzwEQ+NdV
1x/GmHZjjt2eXWIh/AX8bS6P3WtWeTKE9zZ5zK7+85yfXlE+YtrqZX8PMjvmrCJOrVFIpezevJfz
jBWsDl7z9sgHinvM1pyR/UY+TgUNO/HrAqS4H6+HZR36JDr6ag1N3wOqdkp7hH1P6tUG7hEwnzrj
gYWhdrcy7l9Yi37mIFna1svaSN3/R2UbT6xspLNJJlDOrgtk/RCcG4E3AZHRCMzfEdcSO3UcZA5w
rsUtQdHb6iVEhvdFWcsk0DnZRK+8NsJj32MoXTCEhPFvkg/mAKLP+07mJI2Dv72GHAU+DixBiLHQ
X3v+y3/DNKCupH2194fxXUMRtsnmI3i43L4/W/afovKGPzl7AJFi/0uEk4JbtaB5ULpKft/9MhG0
fvyH990Nag+F0Ati8ZojhuLzfaO5/Sheq3Po+8zkmO2/KpeCGH29xe/R49A/Spf+vMdo0nxe+EX0
ewwARPdJwtRC8Z5nzqW93gc8mimzh1U5nXsLiHVQQvif/JKHJqN059MC/B7yJS+RTrOF7trQ3OcR
cZ0eY/VR6aLs5JfCeSDDgBd7Ceqsfal/XIhS+NQlI3NyZE+W+g2tkvVoIxXI435pp+OtbDWH/XbP
7iuODSZd8B4+0DQVTHxO701x4KYtFONDr5Oa3UDLFXOIgyTlCew3W/3YfN+MXpwItRAyIn/nr3Ax
4xcmQ/dwvL0tuXc6uL6XK4D7AXAIg0p444WwwrbhxMRcxgMoWsOIZ21w68NoongCzf8ukfIIjdFQ
dFcY4znoSDdcQ+4e1YUzgj5CvwSflLZ3N4JuTiI1fomIL/raewmF5C/HBGpwkhFYcK3AEfqaz0Nz
Ripk0wIroNTNDDcUhzIuX13xypR8nMcuMmgKbEEmsFPJw+/YBzGA9wIXw+ymTCwyUQ41zsCHG4kH
xT5uj2OLHg1efu7kOwSVHACSOcYAK8PMH8Y//lb4ooR0DUbrMeS0n+HLHBrM+82/X3ggsN4fHT47
opRNOIAwqRL2r/8yeaca+RE6pGWY1r2//UZaNqFqqdbdff19N/Qy4+ko3G9xZpaZPw8Pj5hHpTCA
6yyohJLx8dl2U0FYKKIHdGcQhdykmM+d3pHSFDaSJWgkHYzV2qbUs35hz67xYWL83EzVeL/oW1hX
OxApjJHdi3J9EDKYSNkkvc0IeuLPaxKYGOZ7BqNtShygizl6WMfSYbx5JF+GSWdmGMhbp2/352Hp
7pkZo8CHATMN4BDPYjD9nr4tVrxT/wPNbRDcWMi/qGfncU8XWpW+K3770hiYnaueBjbjelj9t9nd
QR07BUv4LnH+9uH0oxjtCDCpZy9LGJ/3QG6F98ErOJ7QKJIin5sAAF62aefsVl7Y3r17Oczmjy7h
YIP8JXiDBY6dJuLpc1r8zMwpooFNgdCLWPtW58qwsomAtbrkHXJp76otlzS3js5preU7AXClwKTc
tZBCYS5C9+B1KhBDYDtFqtvMC+u/K7F0xNmLIR5cf8HrTGCk2qeIDA/r5nbWE+QMiCJUdOJDMEdr
3Z4+0Dm09Lubm49pB6cLVYExYYff7M9sIWz74ZNhNM2q0z/oTFK7Q2g7K4QLR7BfMjHhfvI46mzo
gNPamtgZoCCOoHbfTP2fn0MmU0NAE3d8HoW4Oyxudj+uVvL5ecFsZHG8mydEfgd6YP+3rhyUFlZ7
ykBJoU6lF9Hz0xMdR4hfnBtj2MdsYNYEi91sxaRfmvKYnZOMlxwkT6DH1MS9OpjYjKvjbLW3TvSb
uIRgvdDCQn7OnhcZRhBmyU6XtOcxLNfJ8RoLCh7Gp3hyIijHjVNxGvcNkgJPlyuMWalT7/bYutfH
bNEJLxLztcXYfMHdc3hN4cdCA+UnmTmKXCgVET7ZHd7HkIKJtUE7BpuBUQdwKq7LML5gE9K/qu7L
2TvY4OG1wY0NDy0DNRJcUDy3Fu36SM4btjgYx9jQWIXNK2zoERfnhOv+QRRQNu3PfqxE5ir8AF4f
7seFHsZgZwzxlBISbjKooz0xj29h2AZdmUYC6/dMv6ja06g0tqbeN6jnWXQVI4w1qXgMTMdWJwBe
lDx4qhhfjq5WfzjroTXUDi3jdZIfzO3AxL3P/mDdjm7WBbc1oUDAh3tMaZNIyRIFGYQ6MxD+NkRk
OXLw5Blw77Dg+BU5q34mBERPZaizriAVS8RYAWf6wtgNXxe9s0D0+EDg5+JsivKY6FCL3+f081r7
g2VPJXB6a8i/H3lXZzxngfA4cXUQDgx89N5ssCoD1N0uSIFX6xWbbYsNMvKu2oDPQdX+/j/mgAiG
gEfyL/jYYXJGdqqhwDdAvWaJ/doAm090Fh01D46HeupBBMYL/U7lIAZfXcBIG7Lzm2d9isknMVWt
x0ZoWaowzsKx1gv3bmmL0iXOnGbVUXYOZoCMljRTLTnYWxR1txmNTzJm9iS45czeWOYyEzhlluqS
d19QqRqtfQ+e09KNwdX9id0QA/aNFDZrPsMJysH7C4BcWTdQ92vM5RDdmli7h3jkIXziK/BXCO3m
YJGalFI49OBrgCiqhmd4GghM334ajX9HmCgcYCWs5SgsHY5Dmpj7Doue+WRNG40HLhxHUudZkO8Z
BYwpWydMrfAV5PWGaIIwQ4GDJi4oHYWk/pmfeGRwAdqgcb68eTiXfP/CvAgzWBxOeJcARJzhRGjo
dFnhEBojgmKeAogA94SgueYcJJioO1Rdp2oq41N7x7moEHo6guM1BbkSyJgvUWELn5WbsxIuhNcN
ovpp66zftuRc3gvADes7p0m5cpPCZZ9hPGcTlm72WVynOlDMhsqrx3pen5haTylSsGsRHkxgMW6n
Un0D6pM4SiLbcEqpyf9Oe+2NNca9s5q3/A2aA+3XFK40QpwLSHDAmzJzjM8mnPA3DBgBW++b2n2Y
5XZ0eLL4Sk/xaVX0vfO14NfqSrLDCikoHB5lyJhiU26HgRzEE/qJPslvP1uNYSyH41iimGAj2Tfo
SjYD9/C9GbHHRxSZw6CbfmC2CvbnwGlM+Cp+xwYdB501iV7wFCZi26FFJUXjNLRS9+7iLJUwwSao
0N9vMuYuop7jsKFPPn7Ab5acr7trhILe/Fr9INpzQ6unO2u4dAlN8RT4pmrcQQBepA2hdtQM1O+3
79OSKFExP5IK+MiT4OWpTgYnPFa5y8Pf8nYS9sPp33+Ta6A24nWwY4RQZDd25+8TYgRuMHePo7PQ
P0om7UYtTJj09AwoT5LOquIYdQqmzUcwgSwkJjyuaHC6xeDA12mpHmqjjYbBixKhIsjktXwLugNt
9EWI+CmpYyBzMdLkD2F+tOTFMk+zB8APcFfvIPn2HRxiqEXwwq53YyR02tYV71U8twBQMOrGL4dR
4nNzk5J+JcYR4tZmLoa30cupoP65zXq/BfGm/F9UZ5ANNLopcsXX+m3cg9v591etnotsJU9r9xuj
y0wI8duC/dw3aqBET4Dn12oc/GayC7TF0Oo56yX0qewR1i1F2ti64RR489S4RniBx9Q0jb/T+7Lv
Kt7E/p6LI5JViPSKT2+e2yMWbgZXnSKALX9D7qdu17nZehOzM1QNGJUSj3PeZjoZTUA2Vo/DEHQJ
sw80RVBZAPEyhoLCbfoZfRFtQotzgYHNmFPQyziUemGHtY1EofK0q+Nx7070NwTylOIDmKZcCIuo
zBFcnef0C5sypKzs4yfmPCFd9II9QmOMtai2ELddTQmqBj4LQdcu3tJ6cJvdULrAr8eAtTQ+9D4Y
I8ut83jNC+BobqMfXhkO2Msbg1Ds/XJr3Bj3odVAOsDzVHZHo5B/3KdeiUXIdZqmbtqFX6iqiHlI
GJmWRPu95p85qDL//LA4R4xi0V/VB3RM+iS8Ub+xZeFqCP556Qnb0yfnHM5WlwIJauNX0++F+UzN
xImb9xb/hmaPaSnQ/I5RThWnSxrYIu7jhN251cu+XRg39kATfk7zc/j/h4X1GIQvOA2wakbm42dK
D3PIUoyftNs43KZG89eBSlE3gyX/gWKzKUqsc8h52zDDamHD/fQWtgQEByghL+P1N8bSl/RRgnxR
fHf2dxy0cviQ3FQJJi9/X08HkltiuAkBBr9TBt/XqPgGt865Da3BEPJ2phX1vJWWNNodsqvMedTr
Z28lNX5WbnJ0PXjRYzNIBCJhSCRUot9vsGnqI9UFQl6I2JSPpQSIcDfDw3tWrQGNnrNbFAKEXOPf
mgqHQRGzcRoyOFhCHF6vXhRloBtEMaGnIgjzaatnBRCTF/VZi9FbjpnvzaP18N+7QjIf0DMwWUcc
C2+SRXXofsJYncrxEePot8piSuXlZw1LGjQP8SuvMtfx3hJg36rdAuNpkyfU6vQPyhH2gasWsXoq
8hyEgl2l0K2F2RcGjej7Sbg+NYt7MnAU0MGQPpI523DFrzXZ3JMUh1lVV7DGQqxEhZsZ9Y+8Qxiz
PUJ84CrAkiSrJQtl6DwVQjfEMyB38ORogiVhg0s2AwzyAXflrv77nfay9RK2B8iwMZwRbPIfnMp1
sZxs1XmqHN7Wyxu0pqdaDxNMcD5+eVsZqysikxrqfoZBJOjZ6lKidsmweuduhdkuEIAsF2p80Ccm
cqONijUX3EIu6omYQjJDyFe47xAwPV7CUeWlRvm6Y7g8z+FZ9LV2J1zuFp2Hc/cofmxaUMIvvtHX
xSfIyEs7A1CAN5a7MsEgDftGntbNUVmytL0jE68C4jr7ZBzyU/AkBpKwMsU2Bsmm3EFx1aQTCTLv
P+Ze5d+Pu5gxD5Q8pE2Mr1p9nIyTwRaeksv0A9MUQZ8mVViTk8eGlfQ6i5F8+GRfU8Ek7ZQBxpd3
XhslLqdoF4HATZUoH4wJ4F3STA7EXEfBbqSwrhk+DtJ0MoURSKSOjoANcgZXBkLyPkqUj6AzIaUm
ElavD4xrijNIAWoIhBBjoFe0X/gDQfBl4jkngpeYxd2dOcbxrWpXkGZ4kKAlFLaYGDOoQEYDBgKV
8zkXZhLY6Gf65u9FOgQ8nYCiD2veYlFA/cpCCXODGkWMB4kEOLkHl+a3QNyNsDe3MNiwUAhM73+s
nm/C1Qe37e1hkkP+qypBeOWGhZ5KG1rMj8+VaDh6EGkkmEzgC3NM29f5iijF7YeBjA69bf4Er6Rc
3d83DxNvoVUWMV5lsNvnQUGl+RJON1Yoh2EKddoK9p1eBkTaan2rF9Id69kByO9rfDejkcaftYir
tTLn6lVLZVszquI94y7FaHUiHG15F+lYPEmRTccw+Q/T2qhaAsRNzl9bGAtXSOkV4J4bKpyXlYXX
C7d7twZd0WRarDdELW/2oqcQhCDW2PRhQu+BQ5bhi4kliz7UIL6uR+fa6zsY50Db62bIllEvRT1X
EHGEAR+eSBEGP0s5gp+xfgHoUUdCPWL73MirYsDLEgDOghCAoJNU14BvEONfNRsnQ0hBe3TcNVYg
nLSQFMJ0/lgOj0U4ezvgf4jwZB0kAI/UzZkD1nzMcBJidXFGJ9WGSSI0MG8ff2aD5MH+HWCnfbMp
byCLCpaQoGI1NJLjWHg/SlAiMdyGtfVwz6pJ674g2dIQ0r2XLyUIElhENfSnAlQBiNr68tbwX8Vh
95ZQylAI32dsltw8cr7wCwmzGZJ97REYknv1OocXm89JKsP1loHqDEUlf+92An5gDIqgTBh+QrkU
8uvaR8KB9fI7RB7oCjbzx0XzSec8Cr4XAokAwvDLX4+OzBKNETIIfY/hRkmBg64JCg1aaQdxjTmm
eU2J0XpA1aIMxBKlABkZYG0B2sr8H/4qADnB9xc1htcBkIVzdfCEKbTgxDL25FsIf88aY0eyUSxJ
xzbMWOMADQEHSN+X4zwAAZ0T6MtJAK2LTQEDIiaTUrwZj1bEROPL7NUAfPHRydEAyYYAo8as2dUz
/tHjfaJ+ADsmUum1eZYT7X41gPlSXGssVEBUTKSFwJL6uPjJ+y9eSrzHKrE3TTFFyFGtcXb6DSLp
O3U+vCK8RchYhRJMgK0pFnkTYHdgC67RF0Y4bAUOCNmm89d6oDgiXqPTYTXDiZPJjBRXLYRazDjA
X/8fW9wx3F+SZeAhb0CG1DjcUdk2IoxSNjmiAITzBGtc2ka80GHGkmzKuSGMYEA5OPBw7MNZBId7
OGF8Sp4q7bwOkEav3XrIvRvezx7AUdZO3HR0mDTaHI8y3pocpfjdTHiZZPmBqbxBOqjxYMKI3xEA
Hsix4CYfI6YDPvHp/hBUkuM3BSrEPlOCAU6gWkmrdNe3uc6n5M4X4SFCp4iTDmU3ZCkktTwH84NI
GgLACmmdjTcgtNVXIIjsd6S12LfqGZchdikiEWfMIy4EMkA9p9pYBIJCIvtmuiLNhn2nue9+g/jD
axpbfZwXM1L5xNA8nSm103EKW8pAMhBojDH+9N+DUOWGHHExSc8FI8NrD6mOPXjbsBh+mA0ODbyu
brX1IFDxwKXGEadAbG/hdH/8opzu2UZfU6lNuV1iDgW1G3UvmUfkXnyJVBLqA9jUfIHwF193xS5j
kMq+ApEKJyi6yQvDgHroP9f19I12P51joU1JU8PFnhDpl87v0w7fo26tbHsLiNNXfv5SLe9zjqcj
RV+i4O8rLSZxdXkfcUESpwru7HvG+w+9t31cyOmlt52XSDKof1lQpT8JsuUkxscRxx2I+q9wfPyi
GTO742DZQNucYcweS4uSaCqNS+597I7Y2dV/8qylMtyHEslAJIy6RJ8FqDRXw93bB1TigzSc6ngy
kvKSyM4IB5ELS5uEAve1aKkYaac+HWszW5J9u54YBSzeEj6mcHmBBs0gqpgVl+e8jZ4WPDKfO5C8
csEExQ8Gij1yFRizfWPoy041EzfEkxuxQYlRYTEPYyMqxf8db/DHlQURUVa3TmFKF4TTIrVMah+D
AeirNCIQVduwCZtljnWY4Bljq6Mz1Zk9ZuQ+cf4NgENmKY0meUhoCx76fEjKekFGhnMemgYscPQp
8MjAM8TH/IT5fOxPOL0xOeKGL8VMzRv7PbRVs++8ngrti1DB8Adn35zTcTd09syqUOMH+PhshyY5
WVxwTUgWH0zxbNb3G5sfQWZTuT04hlASrBvhnQOkvl+OCLGVYHOyoPps/ow8XDzNCA4ivQVZDD8J
uoRhzRyKD8paZpccJvQrTOqE3yvBh4Gsk/CCVU1jYTvhfTYQN0mB6pl7ILNfsqcHwM+ClGHWCQB0
7g3dYxb0d7DsZ0OOfhgV5IB22PWWyXDVrTokwicchHhkuOwc84hUh/k1hs7rtutehIANrjn2o7Cl
hQtBsVZQDPd17BAYTpK7BN67ZuTFfcMtis4AWbXg/+Ko9cRggFIUOBKIzExtcMWpqj18+kwO/JwY
KFgQ8x6AQO6K+QV4JaIXeneO4qWwN6/iLnkyGoixquWcfluiEBM+0nTPNLo8JrecYeYCAAprWFMX
+H/EwxnoLnlOzP9Utzp224xy/1x6HHMdvXSHCrxm4pVe+MgkH+CcjjNRak8S7idjoI9CJbLw7T4+
d4P1B+avJ5FRf0uQbk5VuP2MAZYGgYQRmimsttH/4IL+xPu/NG/AYdy7cCfeJDE8Eek03M8F3HSR
uVK5ON7AMKqhKGPoRWEiJwOgAfSwF+SxtlBQYA+DjcGI0wVBBrT0MWjhE7tU0B2xSNHPDDnLYSRw
fHJB02lC20UDj475QW88BORKZ3cCvXDO4hh+gQazFiANQaJylxhkBiAC4H5EN9G9qDzoag6iDHTb
cGtnU/7DLaKWI4pK7hs885dSSAmgxvcdVwNT9yW5ctsRuOEAU3QGDA7tpsA8bpRPNR+K14qOunJr
ByaLUF5Tkgib2Sz+uEKRXh2leeZK1ASp0+IrgK8dtc0Ae6ZXnOO0LmZVqM6JYuAcIlzli/0vMvtE
2X4ougSlHNXXCYI1Jk68F4ApLCce01LMATquCazhLJgbCYPK8LMRVvwtKJu6JYQRAyOmpXyu3B+H
zF9EPAeXdorWA/fRWPx3xRE+cFzNWwChaWaAWAJBCJsJiJceEwHY0CgauJExynRUnHWKuSheIO1y
2zFLxoEm2juQLs1rXEZp0mHV0wSwxxLWTQJQBR7O2IkCAJwX9ya8Kg9Q/0m3yIIfft3FFAcw7eNx
1XN5kwBkVkduN2zRBJtriXeJMT2ClwHFXln7aQRPPsH8ey7oD3heUSnL5o+7KONg4wSGBV0CeTIC
ReyPXM/94rmez16oh77Mv9TtbYdfpT3y4R5wLOJ3rQuDfYRR9n99HNOOifVdF6gpftS/DBPn2eLj
d9SaY3IvlDf1azPdoZ37X9v0fHjBCNOQh4j1i6rrE/b8wZSvS1QQxmOQ976rEmnBPclh62DXZ2O4
sOB7YFWTmsNtYSQZlvyfY+VD5MKe7IlCg1WAowMmdBYIC9sAV3K2CCFGxo98mDos5m8MBlGM4mYw
wdoZI1mYwuKmo5oxGFKEvehGjC4szuC/0oksAtwbp/3waohYJKx4ljcvA71tsBrOgI1hqc8hjg2O
wP7z7iM4Xx+CgVuwdxKSIKNx7OO8WgTPP2FUW/ukqZyhDhPxIvq/EskR0l8K9Szk/ku1/FiybNAn
oZ8h+ZwS8cOn72lYXpGiwidDwiCsZQtTiUX3SydkXkMG3ZbkCo0SFtr6dw1M4eBRRfVE/c4QnPkh
yw5bLHRGIHFmgXsFbuyANdz7iE46D5IW2kdDmEKUlProUi2o92Ju9f+O4Fv/tMaHUVQxwLmhn8Dc
n3oRpFJHsWkpGDoIaA7uGcYPObsdA6tozJgYcRPg/ofZBrwVfP2esKJuM0TJzGjeiLXEEJl8IJDS
IVPwPJCZior+reVL01shEE2DEZkaGf4kV0vhmBJ/F0sdARczL6BGiAKgCgDsYgYlwowlm0/p1kbH
dGrd+najo2cUMzZ6UDH+EHYVmDIwZsNQ1iiQ9DRQZhpg0c5Sljkn3xb7JVFIQx55OQ/tgW0g00K+
ZE8/0vBQ25OJywXMxCu+BW+LItsBGfEnOl+FfalTVuM2gUOUw0CLZIt9kLO2xsbDOTATxcnlR4wS
T9PB5QVCAQwSBkR52OoXpkkeGkF+LzHX3ceTiG7Hhd2KvyPOJOz3AuMXoV8T2osefdPb5k3yb5gT
MRQjeIiD7sanLWgQ4Jpwt3F68LIEbx5DFY4p4R4I1ZsTv2LkpuJfdDU2nF8G8yMA01RMqX3cNjiC
IMEyy3yxhv/RdF7bimJbGH4ixzCDt4AgQYIiojcOI5gxgj59f9NdfTxV3V21VVisMMMf2FNAoDVY
OnCo0Im5I36JE0DKxpzcwQFB6yaZrbhtAhM8Rwh+UO8UJiguciiIA8rlVxOzx8y4D3MHdtXQpbhM
2/vLYY5ii8OBNezGefDi5KWRj+ZKrd/hxUnB9gKAiwa5wvEN6IRuEmmLmOta2HPQNKP2wQZLBoeh
HOkDJxBveyDOws4HxgftBykNj8M36h+V2GfhdJDRLGMKuXC+TQVm1MGhK2EgVzPJp89+zXqDvWoG
i/HRq48z7+sA9mo5i3GdWbu3a8nDBlV/gyLc0WvOYUmlmMxn9oDbvFUorJR6d/Zi1wJAgCzU1e6A
86gN9mW/R0MNVYd4X4zOVVRbxBfqtIT2PbNZ9pW9+Tm5r2rwmVxU59oZd6vhoTm6waBF9i9gs+lu
9xWoeAecPkAFMle4O4qWiXp6/wYfCB9VOnompVf+eEEt6wRABNM/II7mkdTqYmSg2OktfYwLYjRw
dmDOqcOWdx0BL67WmLSh5/OOAQGPsclcI+/vtVaIiPngtCkSK9NSSqt76jKldVTML83OvX7mqRO/
UrKHuKUKVnWPiDKtObDfeypzSHRcaWkWoB6vX23R1SCjUIykLtxbaCVsGoLsJtxRRMUp2i0oPe8N
UOxntOVHrbRE1gAkqs9vHfQBKOW3BC9fECF/7Hu+Opwnn7cHgvt5C9rw2doiFvKI7w9u0cjfzn1/
Nk/ox70rsW2pgLWCJoQs0LNfXy75it5TltZP0x7SeSgGFf4ZFGrnGjzhX3/XRAEc6HQbqEGJg1oF
YZEyMlseoelHOyeUZYj+xQWEfE+jNkpsJv4bJfr+VBYIHz4INpfOanThrS/+nPomqsSvATq1mEkO
XtD/HlDxP2hgidOa5AbKbHCZ03WDNU+/l4aRLqrqOGoNM8i9inOxWni+Xp2cJFNsSVF7MhArboXg
XXxUlRHqoqRiQ0mkmJviIA119uSdrAlU3jBHMBZ+/Zhjjo+84PUnLEbEm8BSlEj575dVWgWdoAch
llyVNsCEQIA8Boeq+SO6dgximlXHv9pACCHno85LH2DTiF52NyXbpHP6QgoUAIQL92wAGzi8cSQS
r/gn/5m8KdUTDEwqjILAKdtFUiRNu4FxA+AW6vcoUGzBs9K8HS+CPYJmqE/QV2sZvSnmwuYWr5Sk
F7XTa3wNzzb8IBMVVbZv4AICiu6/x3tgUheMV7LtE5xjTmuGrbObdKN8VdIu5a9pyNKyH4BQo/I1
UAltHyaVcXyyJ9iNWHsXfSG64/SwBlTLDyZKZ7i8U/ygOq1VU1gA+hcDOk4V+zkgQiLWpZyN/OoT
Y1XplVNz0uugQp7QglXtTXqlWAXfe0BZ0S/oF1Ottt54mhAghvuop9PgQvDR6cB4e4KKxGl+eJuA
WbanDATgXHztcQMGAQIiLHPQchC4gtacHQLUf+ybge7R9kPYn/FzBb6KaOIqsIw4u79Y5zwsCBg0
+zpTCESCNQKZ+zBfqFjhyjVtHsHI5eMHCBcUWMxefKAYSsCj032EvHkjmT1qwK0YBypVKKtpiShF
MOpyYEi9BizNtJqqoODAa/MzfBDhLkXBCaUBQAXkGzReOfUQSqG0KCFsT78Ef/Wy3JyCuDZma2wN
x8j0oqvGU6Q3+kGdM2Tp+cSAfPSJXORqwBundrsMObjILVRBWE2OIKuOesdao00DB7MYdDl48Hfg
np+OtFLBeQyK0Q0YC1bUnGzAPx52D32JXtRyQDh4DYerh6RPHqQaPdJGqMBap087hlosGoZGPazb
mUcJXfO/FuBPq6bTrgyvDOOXrdbY+g9wg4/0kjRB2RxGAoZ54O0DCGkVW3GcMTLT6YSKN/Nqrxej
fPQKgKCYvW1pg+jh4R7N9vRpncNqfoZDiNLG+BCBCbePb00BtbzQXvDSPjolzUdaJIclgNIj1bs1
Pch2Q7um8NLY0GqUpPXHurafdltI8FwH+2eHOJbMH7DGwntzrXS/CNbBhzGo3z41QjujkVhGi17S
Q0HtvTtmdkfU5l7oAgiEAWAkWfgQqxBO44Z32TTEM44wCCk765C0BSoSVNoKXxELgmR/NVJ0xkqo
rIXfNCt+Iany8wJEnrgAG0qyYng8PmPK89NnZ2P21qeAgJiphJYUeAVU3YJBU+nXo6F0rC+FhIqj
p4RappZUWgatvQmcvnG3Tgf0187V4Aatlin+DpH8OamOWvb3p36zGC2YeOrwSFt9P2ijrQMGf9iq
cYD2MwJAjnb3cxJ6WQ1PbwTsb+YLQ6Kj3gCkU5FH3vf93ik4qNvv0z6UQqdsDeon60s6tbDLs8Ph
U1CSQI6RcxWZAABHqtt4W/WCEkduKWwx7dpYPQD/LXb5bXbA3PREbaKdLG7JtwjOIDFq4RdM+Wl+
KWZdCsoip3sG7YJBHjqF7Mq1sJUvi1v8Kvx9K2o8rSPREfSUNtG6ccblm8oJsrooQoAqoT1IaZgE
B0OTHgo3ENqommF4gHsQi4K0gdjMvEAeV3ACRBPW7uHMSgkVpz0VTY4Bul5BhAJwn4oFQhqtsAaw
FvwlSgsNClBIGhglLHaEVPpCP//Avub8G0anIQ/GFRn2UwQLnmInjG05G+s0DQrrFAH90Gohcxnx
k8LKNR8QHKkkWic/0Rn50cHeiM4G9cK6NukDITvQEKJ7gtbGgwM1zdEDIdCUHA+NNW3zAcHrOJuM
UDPBJ8YYgFHQJ1GHT6SiwIF80f2D7u4QXJEfoJm2u5MO+L6/QVeM47ijJTtv0U+T6KnvXBo/4yjB
Kw3NDP7SVbSdgyIht3uyImrwFAzBvP/CAXnz5oHZ145+IPsjpmBTBs3Z8UGodDCIjBQ579OIdlNr
6v2QMfp56jOzrS4rZuZ10JTI9C7n/XtyofdolfSRIlJjVgCsdtqdWCjzkqChi5LNos+YkrRwK7k1
mAhhX0X44MOTAsGN8IBcyQYJKtIW2nLS096I8WepRTWTPE866jv3oycDgMvkTBrhwEubK7QJ0OPp
GC1CfsIV6U2RK3Y06kzsAdoGXhcBTRJ9kGCnl8O/8xmElfDazhwFRsaVJqpOYt8xdqiUEHVs5Cih
xKAHPb5U5Wd3E8aWQU9O+uYo7PG7sdskwTB5aZNNYcQU2ngLSHHGcjluaUjdJlw4ch8khBXdIJJU
PkZ+SNFiMbOnjoNjrhRoOrwvpUfP36BCornMCRYqf3XxkqbmjMddzeowCxkbmXxUaRk41A14IywZ
KgA8TMY6wZJLm7/0BJc+oL5fZEHwwuML0/meeITnrgVBpq2oEQ7BdNJLHMmJ9jLpXmB12EdZy8go
ZCKC8suy5HNTeVedhDsN5BiBcKONOBG5tlefzwLmRDZdaQGCNyiGrlZt0thM/lOq1HScmwDcJMNb
o2wzIkf8ainxHCkN3Py3tuWdoAIpIw4DOCDs8YoFVZyWDL00qrAiKQklz0LNhnYOoEneRaP+92RE
0gjVFp8IgaPsA8iUwGQ8fur+bD0bEZ8wC5HT1be8ifDBe/f7T43vlwHpaWH47DdovjXNToTxnIco
b9LiMN3bKlqx+MvTkYBA+IRTAVKKAmSH4dp+Uf5vo3nM9VF/AWdjoozIT34tTP84liFzMoYYAVLr
I8GEQgAi3iyIMqBDIn5ZGx6HD0D1xMPaY4iKK9U/fCXoRgUxQcTNuPehwHBDSO6Q0fLtWrxCJlhy
XnJgznaiLUZnFaNGiV4DIHHzRtUTZhrfKydaF2FHCYcqHhSCm9QCaZjQMcSxFX1YMUlB4dR5THIS
2pYBaAmOAF5m0Bz4KVCd2RDHOkLL8xDJBFsUnkuoyuvm8rDm9CIla1aI1N0LSISAYUStzwZ0HJLu
oC/f5NI9fKvfGxTK7gKHQYnt/Rbic2992113WEeilAmOFE0Z0DD0eRk9G/cV+BK/Lnn0ohmBSzvd
5GakUE4W7SRR5unZlJio9umfpDam7EodSty/UB6Om6w5MnQWdZuibD5DBtd/+Jfw7MOnxlqX2ct0
pQjuoFwa4xBusk4QL6TAiC6ZkbmZu3AWFAnyEAGBS6xopN1fVHXQVkZeGGkLunl1Gi9nH6VdB5mu
o7aiVISOdhc90A6FpIcZPt0F2rd1m7Iq6F+QxfwA4DOidVg4xstc05VmsQC/C1pRFWUeIDzhmCAg
yYYKc4cyzQwkKXur1PTzZG8/HZENJcIG0dgGaXdnuwOIn+lkgYCYicsplRfe6alnJ+uACffJVdHw
yQy1a+7xnzh7nR4mHx+f870aL3b1ZU5D0YOE+AzvPRT3W14J1XGHmW1Ne9qSQT9oKhrfr1mxOn4p
bUZCys9Y171+vBj3jTnv0i5BwuM5aCMnCIn0bdXQrKDCXGgYUOQn70Cdkj7nw0a57lv3s8Jtnhz6
m+18+MHJnXCgMewRXzqXe9S80lRQUtKNo40J5rPl0d180tlH0xRcD2NeE0TP4zggGOSxU3OMmAzG
AdFbgTdUbGOUzocqbttlHxXGPtb1JGic2w+P6CEnlt/kTk/SwAvtK4xD0atCIw7xtLO78Ovunjyx
wk7pM7gwn0BN0XcEvTHlCJ4ctgvqmgEy/BaABWyC6ZROSr0yVTw0vtTUUVVGMl0Nac5MCeitxYiP
J5GueQ3UdFswzW59fGmdVtBEGOcw3GNcQtZdxBmqaqgGkdNQvz+x2xauMsCEhfWLogTNbdjiaUGB
kF2agtDDuHmUBel/vXcEz3gbgiwnPCVd+horlW0j9+mPoIJmCjXkQeqA3STGmcIpoMBK4n8jO5vQ
L7GfScdqA8+mKgsa8etdgFYpgwZFvZZTJK+rtjzC/Wn5eF5bC/PgQ0K0m+GdWQq9iPLTBJmyCXri
tN56OJwCm+Hzn0hDoKElWd6XEnIm5wuN+i7mkhhzo2OzqfANwfPLaK2QqN7uwTtTIwXBaz13ykTp
t4afEF1HNknSFr6Ywh4mAmzEbGlwpNjQnBaXjUB0H40C7r+CxtPiosH+g9eXWzpb4ZuC7rc/BUZF
W4FSibUuuXXZBxGJJmvYIxPjQ+IlceD9nJYig016KlVca3mk5ZZhEAKaWWck8V1n5+/OVDbY4gen
JrECUbEgbdzjNnsecvc4NqLs2P/0OxCqSP4B9YhOGyNCb4snAHo/IyWscINtuAvKnQwSsE7VbozA
m3DUnm2SvV/jFDlujh1OTRpH9O6Z7jgWMBa4BNMho8bYwGUFYyXq/TWADixZbFoR9H9h5bICRML+
LjVvcUrkHCcy2ORR2hqs4KhhjNjk87IRyBkOEQ54UEtiWpqzA6EZiAkjuyKlX9o7SASJiXtBwNrW
w4dBuVs/QqEF8rJsmjDpX+Zbb0HDYD3RbKZxAJeEg5rumjIUnJYybMeLeA8cBmF3ybDQn17dKYdc
lnXjSGUFQO+Gs3XdLPUWRdsF9Nn+gTpi15KNrdd/fIG42hw3zzq0WjO/kRpZpDbdlqmqRl5bfRQ/
f9nvr1tk4f4wVEFYYFyvjopmeBWpusdGxaiKHerm977T922moOCKQwzFOwgxteBxT16Mugqa1wJA
qWZD/FJrzOOG0bkZi+V33AUJUCMFf0KT3NNfbzkPD1kNu4OEVh0RPXH1S9DTAyByCGhpzkSRCZNu
G9u+vooZBnsDEJQ3co+UugARdujvoRLd7/rELSbGEec+zUyPWURVD9pEWx/tKYPQPwBvCWeXIvhn
t++DXM5CqjJdTQ3YFLQbjQMvi88e/lnBJ+yBSSt1FYUVPMpDDj0geCUEogx/7CvYIyT/KfKge2DR
8qYBr7eDj/kCgjU6Tx74457sBh6wAGTOgwKmB/KusEM4alvO6eQp6qDZsKlivigpZKvbeYq8c/WI
hvvM/ECZQV7pae57ILr7wFKf6qD7MM+qwb8coCDnRtWzGj3rdRpc2h6VyVvTwkLq8nIUWo307tjz
FpO64hZ3zACdeuGDeFkcB3jSqx1TUTnNnOt53KT9dXJqXRrKSHyB/ab6Cmr86B1eDqCY/EEVVD/c
owfEULSxMb+FygefhtblxUVE44SOBpMd/A9sKqgrU5U4CBstlsATGs1i3Imu8Tl8kt3RLjH3VqMv
HZ1q2NlmDe01fXp0tXxUKpErf06eiDXYdae7K2KyzfFierJouIGGwQMS75sOlVKAelN0gXwR7fEf
YXdaAnrpYiBg5pMPiITKaCF/B57If8CLV9Lauog7GN7Da6cxUgGSYGD37iY6zIoNjczha3ud1IFx
XecIKUF+I6x7Y5ErYTDBOQ1FOgrSBcERnNpaD5DiQlsLtk8YMbRtgh7hTSO9ue/1waoPamjH4N7V
7YMQZEK/sboq0fojewrPyIahu2TREIF+hJTFDwmASzHbx4nLa4UtlNO6ZgFwDOyqg+wUERrwLnyc
cpNCG5nIkUa7eCxAdzeXiMnZh5hdxrtbH+Bce1EDtMcvpzu8036girnQPByrPHTVace+3Cdl6Csn
KJhIsN7IvTofsmVqxPbCV/U3bdwFHZc9yAyk5UCHICy36XinALWTBYEx2Dx0sdgChw8uhHXq1hjp
c4IjJJ0qOt0tsraLh6SE1TN70HfFGjefVWJ99hhlLmVo7CikBdWmRtZi/6L1ZF1ZL8s3hFWms/ge
Izj5Ndto8mOUN6bbq3CMigp+jjfvPQAtjCIsrSJAVia6vMvCFsmul/VsiPh21s/HnO8bFSsbV3rQ
eDXpb7pPdDT6qPIYJ6oRbyjVK1zHBqCNjY8op2KY0iHXQRSiSzcIovKg2HbIwryunSO+3Rru43xM
v9874i2VrzOYwp/tY15Sj6LxhfN0boYFmc+ZAKM3korjgh5PqSPXc6WkG9ah5qETR2yL9C+JBqlB
DP7Kv/SRYRxf6LC87VdEcZ/omQ7w4Bjk/dvsMy5J/j/R20OwyyDiprQL1mJMgc7ChQvm3GLUrFP0
zB24Gc7HFeXSgsqy09xhDg2wq0ry0cdu7IoISptdZxEbgpKgJ67jo8H4leBYM0M4vKd+bY3fSU9H
RnHYQJ8Ehk3LJoQqrdoIS8mAUNOHkb73G945Yrf3VedJJ6iK70G1ug2es8Z0sYFvzNKnSfqYkOJB
TVJGNas+7VAyPugPTlGhe/SV6WFWd16CQcPwj0jGas1QIn7iBEzSDQHyDAdde1CeSdtojIv/0NlR
pNPQCICSMWkp7yCvCVNvBGMb9I3wtpAKQmRA74S94BS+EoRy0JQBaUrtn+RBwIodPG5qPrJj9XE3
PsNFAGcDHKrc5aHwTHO77j8wykBXWVNHDWSkNi0aMQpZfNpIr6Nayt7xJdzG4hpnSpoI3dkjAf5e
AGFqJsx8UGFfu8AIG8QVkBnEhIAtiLhIE4B0UOI51Z7fXKF/NR5aOe6uHrCcgKHkm1uiBAgfYDg5
V53m9rME+850wk8EbkXLLCdgq5RRY3pAlgMI4+4Fh/i5gmzBZtCeqzyOS1xbV9Nq1aZyQeh2myNn
wDub23LOlAJUh2OX0951gD5P9tND/A1A7XMvwBQQj6A3hRUqGlLU24jQ6RWdn5gwonRS0zqb44q3
tSkRoRKKvHXpdNbn0TViNpmn8D6jF+gqoztPc3JPX0nzw9w5jZs0T3hCjizLucK4KkGLg7WFVmNF
4J47Gf7HAMTMb4BClnMPGh587iFImASf6gHPT0lZhPXlQ7qPdLESlH+Y2TbA5w/bJ016vClUu8Ti
rZy/Q+CF0SmiLYZSJPJvl9nNp0X3O/NpT7bIM0VNujMDJR40Bqvv9BiBqbhMLkO8hv23XV8C/3Nu
JksOMjGbeow9O9qhPUqfGW4yp7BL6oNJww24EW5rePaUMBhpJhH9XWlWC7Qau1MbUXog0UgFhDeS
8WZUrZE2SZS1uCBiKcXWWpKEPyeHqM1DdkHEx+hBTTquskJaYlrAxKIEbhabBehRdEWHLL8B0FK0
ao8BYj0IlnyG4sWR5POmfww+GASeB6BlRYQPTYgIVyo8EqaoG7jXSTdkGoJGwJwq6nhE1VuSIG/N
onaO7IEP4BgIypiIMH6neI7MbtsX2r08geBGLQBJVfLAGiSyYlMmCsYxGbHTGXbNDS7o22Sdvu0r
UxiNKrIylROFA7kHyO9Aqxgy1fQQXMY9/HI7QSMEs7YnZFNGyBRsC5G+PyItw3ZZjDv+c3qEhtek
UZ5FoLhRFUSThY5MMw5zCbgd+EJkxIQo+53o7T4Qgs3ZBppOGyqoNCXbI3JAgKL4U9vltPZT4M2M
o9EIZVmXTIvPqBc3LVB41EEwW8/hap5IrHBAlnumtYPiS/Clg3eGPN+Ynjko76bqHxwFJBJlFkqg
QDz76kjlq9AOokmH8beXx68lqgSU14Ctn/WRFNUozZFdLAYXt3DrazDwZFniClL0Ff6cA92mg0B/
8Dm4baspdgA5pCTWHNX47dvpeliAbYC6+WxjKJiWVPJz7+h/EhGabBvZRCVzQrLrMO7a1WAlgVRO
boG/H5LmVHuHTR+wkAWnaNzzHlOFuApoGyf3ow+TCWZRh3rW+PHRRI9V7gFQDzCLTqz6AH6+YwhP
sFNaMwg+RXx1eiiLkH6a75jHNzhtWm4PYBUR3VAB84dGE2oIgFkAm8bcBBZOyGjA/h1KO3cELdKp
r4tB0wYzQX2s9NnDevIVw5PV87JRbfzcLJIWjewG72raWdxy0Di0YJ2h8IABBfkxKU2T1ihWTnfz
C9FpWvOqUrutauEL2FP25BTpsW7vRAYdWs6Yt2CjntKy49QERL6+2GcObIBNgDMpDZLh122AIvaL
3LTjZCHwRmBPz3EFc/iFBiiGfgjNXIFQYUmvH6h7nUf1yYtVdsykRgqimugEmCAqiQF6jYV7Gbxp
YZAKu1+fjBYDpOsSJKZ9nh5X300PHT8XOeSbK5bx5CwwguPbBgbGuabfo7uPFCMnLsdhbXCbLkb3
CdyHYpKNPw6rivrYPYTP4td8sCmrbWXDv/mue3FtcxtQjk4AvZpkXRWBw/IeI+cML4/f8XnFaAdt
ExKhK6ZHqHzAWAEuhYNazz9Q1cmmzxkHz1crAOkioPzYAQpicd7w+zvFhJjdqBw8o2yMbW9p4Fzy
bWkgE4rNNTp6ragdvpCGbiNqcfXRG121AQOX/hdhNM5iiJgTdIim7xU2ULvMx14WUVRwb5kG8HxR
B5ShvUvu4+qD41m31vtRiX8nB2XYSe/ePYBoMZUUbseqF7UQYZtgXe8DwbDRJNNB2YvE9J7lxUTg
kPq+NPhxX5sVNVbWypTYaQoiKTxt2ruGV47uYRtA+YwzCYnO6Sdsd/TepJ4uxsAJKCs2wBkdjFjU
/jvB665RUx1w6jxRURJBzioGTMCC/GhvlM0ogS97aTOBg0YNBhHAGscjhBobObOQIWqs4Q6W9E7n
7S1cfUCwbMv5qsv1hopVOeV64b3Sl11Vep0CjDSbEfCJGohDAPE1UFr2VKpDTPw2ICbVbu5I9SmG
0C8TPaZahF5pmhOheSc8QC6wuNqbrytCLwQ68/O2nVZJXUrQ7oLWz6i0O1GlaABxDuN3crOVHS3C
U9KiNd2I1KBECK/fdd9DBBL05ri2ZGEj11sb1Btu84AriFvrDLvvIRJoD3qi7fH3ggWwUV1tGq5t
XJQBtd7QHB2qQlO39tgOV3YbNF0GfAflI+MEqRk5GoUDg0JotzJ64CTvevfs3CBwXfp7xcxzl0S5
nplAeTARraHyQGJHepi5VwDv9cFRdU/sTfWgRTi6Hz6RY35592cfY0iMRq98DnijQq86W/qiJLA8
AFSSCRcbwwaC0ejPgYpDjg63igrWsq7OawBQEaWYVvPL5LU7kWyjHlWjQbCDBNjYPKHNjJpEtXNx
H4EVThmG6vhSMNRS8MIbOrzA0sTKzVMjZVylLSzE7niUtvV6aRAcPqm+UvBkvt+3UO0LUCMz+Kjs
HSDnnRzYNnKP+G0uyEWoxgJdYnI3dLZ2uMjvt1lMOQe741J8bBorlHqWIJwuFI4IQ7VbjVNJOenP
9UG/T/iw+9NogudCpZ+CLhwGZHhhLvbRMsqaNAIr+rI56L73uEm1YonsFXuEyNMRiKwKXLm5uefv
Ru/rs/mhR0JRB9vPDBVwSofQQsIrl7vj3DgvD7PzspxW/nldxvU5Rs5xjx4G+lHLbvJOETYlmkdx
tb08O89fZMku2U0KlH42UL1EJfIVPdIXTOndnuI4e8Kh/zxpUKc/KTMW6ck7DVKWdltrkMCCzX77
6G6Bbmswv3DmpXbw7R8b9uPSp0xR1Zz7GUsN6Im3pEo/kF+zYAGUnEkgsm3XPlSaEAFWk4pH/F7f
Vq/xaZCtHsJCqKVQeEpEQucdmyemzt8o544OljB/XtiZI0JAYoI/5E0ERUEBZPBtnv2sraG+9Xxj
0W7sEUkFsAqXtCaynFlFiArEJht2x+ceZdcXJrYgF0Tc9DIFFXIdKtNTfGce7BCJQvmyFZ29z15D
3EFNX546Rq0uviMPX4jfkfIKH0iiESBk+h0nFOA4NPJIo5EHoMEBh7OuM4XaoD/ZhdAOIK3rar0W
8DsIwjZLCeza62jXacwILvTdRNDNbSYEZBWyuw8BiokmKskKc+C6PKLB1eMoKt3W5pkuohsbzriT
XifXCVF9z+Xzm1RDevTTrj39QNTSlDfeg8usl6O3YFVvvf7tn+jekAE1jUdjGMPJYhPlCriyJ3ga
kkypnVI+Xh42+eyweS0/1HrlJQ1dc057gSZkyX9L2/tpz6Wzib0AmfkVJ9Gbzz/5k0IsB+DIUS3Z
IfFD6MWV89aeNpfK7NU/tHUyCfYBaP3MBv79EuNKfIklabpRQ5CADZrb76v2oxYh4SfhS/0zzo5d
R0Xyp0uMKz9DmXdPJQlqQUzEnaDlFH9BrNCMJEqgN8YXd4RkgL83nokgYxQs3TMMI/f8unNIywUW
RGqwg2PSb8w06Fb7nMP0+5ALBSMjggX0FDYZjUv5r15a4P58HC0spHrxRhAGIZBtFIXoQABrhyCA
y/rVZymTz4ki/N2+MjQVf1Z5aJCWCU+VpxtjRW8zBF0gul2HEhpFXwJ2WPDyEErspo+c4kiXFvSn
mIiZ2wYYRGnp9386K530FD8SqmvJIlpEvUDl137ZWFdptlzMQYoGXSLpHMQg4BLq3goFiQ0d/YsO
xGL30SKXPBMQwR5jgK8p909NzuCJ3BkG8AQQGIAyfvglsfZNm9+0FS5/LYrltd9LiuakOfwiVNRs
aVjbYAN+st+CvKDFr2goAPLoyWEp2SEQNZe3ypua/VVX5/OklPfQBHQVxyv5Gr4l/v3ndrQdjcDp
8Ne13+9SDoRtoY3CrhH2ACRBc6UOhvoeUGkpNh34XRihXEQcrOYruQaBDghEou4LhIAmv2hxgT1m
9qaAT2kxpGfN5U+HNy1YoZStvdHiGY1iQV5ngELltkYjK7SskfwrTTIa3JxGMhh1/ANo0/YpgTJ4
0JTA5KJ7yCNHTIOGbZMgvcSAnUYOKGiad4IHZ5CZYPCbqfsbPToZEA1+Y/jQuGJ5cQSw5sQW9agl
pbYrtQ3jhqQBYNamjqD/0E2ShDnBxcV7xiRYreb1/py5yBfIHE5l6AV7ANSr0rbcjAyirAdZiLIy
BLgSvLURhNQgllun3MsXMyoug0R9g/+kK/Ob/dJVw4KIAgZzQiTLjIbH3csUobfMJcnEYScuuWp5
vSFmyFXIrSmmPPH9QH6n7QxCDfVZ3lSnLylAjL95JTfxG9Evt8hsl94RriMnPvLNaD1p4og1kwBI
5Abk9cO3YbVQpy0obXDh/LV3lBeXrJBDmIewtUBdsVPI6PIUIHzKM+CIZlLKS8AiwXwvM9ceqdi6
ARc4CYgnRaWAC8T50hO2Eq1rdh6KF74YHcEs/T2IP9QMPQrNTQ56kpA6/F5vOlXyGMBdgzUQtyH5
pywx/kbuTPr3/JOnRwdIMCFMxTmkYwNWDO/FjYx3vHAD/fsEKsO/1wHDF7BrNNkwSAK3IXk2JuoU
aYRZ16Zght09Q8w3DdhVGGq50g8hCThET2EkK6O2/jd23N2bq4Jai1Oi1dKABG0SnjpDIstVJopc
JMELTXuZ9CtW/zx1X4I9o8GTJGweMscIILnTNI0+mtS9M3O3ibA/AvUgdqpfg0OcMZtv+F+SDpt6
KgMrU5PEEG3QDkPGJ7MTNLwGREjpJrIIR6EVetOLNtuuVkH8wo30ok0tVuBITgVyPb6ToghXOl/J
zJWLk+fBg+tptFPZAAjxuQWgGv9eCiScJugpUGURfPyI+5Q75fYZKQXiSsCMXsmjmM+ZMLykOf2D
0LDaeU5sKMOB1KxJbdk12EkFoVRqg442ZD9ZyWU0GVWZo0DqqI2gGwdDT3f+nxtybHKlgNWZhkga
c44y5Dx3hgIIGDAprIblhwRbxd+lDiU2gzYcsLRNlMiA3z0G2+BdDNtcttqvtpKHIJ7A4lMde9N1
+NbM0GL01KDLuLHAsf7o8UMAAZgdJz7iaQzTmhaw487lAconyCKWHeK3wVbaesQHfEyPlsV0GlKd
oIUvs/9ts2XTKFjYCJyaMbMeojtkd3ZQJN++AzRemS1XbfOHtAP2ZSQph8lNo2t01toW476iOM+l
33TmPru0TBEZ7au+Dddby46hSvBNXM1QtXisZJzS75WX7LKyI4Dt8S4euAmgc13QYX9rL1G0VHYL
+amzttmcQNrLS4j8MtHklzxzimb8LkefTEVZq7JR/T/nVxxFdkhM1EfdCGg5ok7alGsS93A5DcBx
bbewgHiBD5vzwOSRSYyz4sY4Kzi31sJnPWnhmZuCuD/eM2JscDF+ADOC7s1tlM/qOEyhj7TXgZC+
z/qibrceNuE+///wXNkh2BS/KDmxt8pWWuHEJlC6lEl+hJFi5JtDuO+aZdKjpdZ7WbdlCyoInQw2
yoQlzXDIYvvb78BOcpZEmw2+Oq6chy0G428Jz4ermCfBscJ2yM2PRthTgNR5auvfAWPLOS/r+W2k
t346xx4b3F7KJLx4EkFwcXII/mIFGQr5DMBVYBJGI2/Ga8SE+K0hqilyZKQSU8plbaJIghCib35h
90Yn0HXfpsvk4chLflsRV+VG/DlIpXnJgyxYe8OPPgQeuRvngCGZ4jN/TFoAjpSGBoe9zIc/7KE8
m78QYMH+xtpmhvxCABYae4fsD3LuyFwkZJBN4/+Nw4TqwktOTyB+rJN0I9tGysHKE2e45MSKZU6c
MLTZ03faO18gIpkj2/oZmMVVt3HekA0Ib0CCHHlxwksII1+yopuOdDU5s3NMFHRK9wnlnLf5piu1
2TmCwNyhagKskv8TARR6ffDRQO7wR1zIv+OGq6AlKu7UwXyeDsHWotb2GexkovOcFtAEuGXXjdxI
divwtLx909I2jEJDIyyQPf7vF7clRw3wSm0DTpYvcFNZlLLHyPr9+yWJNk1H/hxBbiT9wO4Y/dnS
9+Q5rE/aeo1eCvy7mk6V9d8cylk3B5DsFX7UrJ4KwsFhjDkFNI2LuZJHIGPD02F28IqDVII2EKr/
pqhshvwtm4UMOkKJfMSKhSDTAd14mbbHPj1rfoClywTmnIAXv5JVKTu8fM7vzE/qOFAvhnI+yzeK
aSHGQXym3BspQyJB1p6C6R6t578ol1CHmU9Qo7usH5kDm5rNphIKppZI6W/rlF2xx9E+n69W4A8w
Xuf6eGgZXpC8Qybk3xYlknZMCT6c+sovDjJlByGBZy7f9ZxHHW0StnrZlWRfAo3GHaTp3UjToUJo
LEHpL2oAHEwnVwtM5iEPkjuX1RoE8vNMbwmWURGBZIPaLfGxkEspPEqL9HfDjHvLbDtoCjiFV9Ft
ftNKuRsb7BjR+fstI/YIAGz8Lo+Dm/g35y4EE26acKKzKOW7ahpBFCL/PGIeslu5lAlQcqv4tmog
9FQhp4IY4iV5j7Cu5aSnhAF+SB48N8ipQAWHy6etrinYmN0k9kXZVs4cUJ1/JxBWeNZvw03T5G+X
UAw5GGWXk11SnocE+XdAc2L0KR/2t7fI808SuYmUM2gja4hVJKeuRFpPIxGY+m/XlNNYNrU5kF8Z
1pgR5TvnATZfct7J54sWDJe8Z7Nn3MXqXE4T2fwoF1C6rjFHmX4EXYxeyWXIX/4mSAqGmhzMnXMm
0qnhIy4wIuQXrQ9YqAdgX6QyfAKqm6yxJ8AGoA0sLseZjCVg5Crkh64sS1m6KyIkdCR5tlAxLYBn
EK4l/SGgIQQaSKIiJ5vMd6pJZOY8eNnzWP1y1AOu5TeJ5CX5Fxt3gGCjL4XhE/IjbJLZiFCWA1WC
4I9wS0jsoeEjTQDKiinKUevnYYZa6UF8pBegQgAuohGJTBToP0Iuqt8Q7VIqxJMyUidnV2VDIVyV
oxrMFyCh/4NSjpTfov47rCBG/ju+F/2Nm5CfyY1w+YIPpliqX4ZZsDd3hS6R545pIONMgClnsUwv
8WWTWyRy3I6IsFN+DdlG2CfkWcrfcZxvJdRkW8oZVBkYOaLktkQ2CJ5eG3DG34tHHh0mi2i42RCY
EOqYVcCqfbJqCQUJjWW2/S5hKPNRkhuZtZTZSHqouIJX46Rgw2aay3YB75JuS1qArDgnneCZqnMZ
oW+YI08ls0Q4FiV7wwfiBPD/tyXWnkgLIxV2hJVxQpYLzUGDyYwCmUYfmLOv9Ut2TzpWBLwueg+9
kvF4vFzieMbrY0KoyGFxgDsGedwCeS8TlEbav8RNtn85dTJDvvlo7tjFxApXfh10lRNW2AayZGVC
N0wY+vxT4qcOiZ4EkV+DJ7X6C5xlrwb53jY42WDUfUxBeq/fWvg7VWXNlrCvf09Ewi4iwLMeEjxR
MfPhZHkwfon71/IcV0hRMNU7JjNbdLhF31le77GIEclL8nK2wP5Z33rey/B4q2fBSZPA9BfIyFqQ
0Pvv+UocKTmQ3L2MAkp1vFroSmBKBcy2MD5WzfxY/A4C6ATthk1wQ91kx6WpgluHYFYzMlwfMxNP
Q1gk6EiRYcgzkeGVegvBCNAiaP4DKqBMKPlK2dYlSopJu5mRTEhJYjIONsTvoBT0QDLt+UXVfVjj
z1BlQSAqHIGNPeqKX+OGVv+Hq+wEdC8FgCrL+y/UE4UzJNIIyoFwsKtJ+nnAfZXf7TYx+F9YKLz8
GBxRKM1dOagrLaaWjqyCsIUkDmAtwZXoszSusB62EhS2JSg8UnkRxOlKImqSH9aSxAMS+c8TVjfi
UVjWGjSmZFufz0ciX6UaI4kYb332PzmzZaVI7izziOlScAccWQE0Q4kUkLzlJ/5Od/dg/d5T6gS0
nK+rm8YWfrLlvf8RdWbbqSPNEn4i1mIG3UrMEkKAGG9YgJlnxPz054uq3v9pYdrbxiCVqrIyIyMj
GbgO69j4FOTBD+2N2zZn1c8iSZ9lT8vXi/Dsv8y0xcKagxUlho1HaxNgWo0FGO9R14SUpAgcK+7w
2bLj9LTzsk2NzIxqjSWzFlsvi4tzQOmjBTVlkX6VTod0dey44+F4qkI5OITW/VkxpDL9lNDIG9ZQ
74I6dTZa/XId2EhqSh3OyF/rUFEP7YnlcLAwDDBEFCoXzIRVDDJulXYE3bNeb6Ow13EZNcoz+SnA
sYtqCCGs/B7BrbqajVuXDtussYRs9jTTnup2djSWHMCZkcLQRp3RPqc71sGfkjaEbutqmdSWmdDR
5y2mv0DReYryVHH5l8s8cc4TbnaeK4t62q1bbHpVuGIVts8VzuDKREBYvwSLrImf436xAgRAiM/7
5RRjnUmsd0QCLeosvlU6Ogjz060lJUJV6HkkvxIVHPxPDYvD1L6ivVGkhojz7SzkfzghGRamz96M
WILrIABEcW2ZYgYh4+Tid5USm27EvyCAcFBOP77N0+vrtkJ+JCFHNS410QyMMvTQpRybIjxWtWjn
tYKfgfoBtfaa92ZDAOINw76kfPeDmDYQ/rGZR4MCP32e0PFhSBOEOEGfKSabsQVgTobPYUlMPLRP
r9E1eoa07iW1fUK/g/INc9ybQMA9/aUOsJzxB//zElLIhDRs99X5TmkZyvFFSIXShijp5YfZIfJQ
IMwfSLNIsVw4SOxGadoeIEpH/2E09ODLAfdz3i0mN8AQ8BkIhFwZrETNGnjCLo94DCUbsxsIMfri
EVhjAye0KY+6pMgSAEhrRXMbjSJBk3wl1OTKa6YMvz1dECvL9eRWZBT1pNgO860NvLUs3XHJchk8
rJLqKJrPtsSBzLZOeOj3mtRCIcyhDbqnW7iiljKyH4wvTM292eg/NVKnvEpVcmPsj/yoDpNXDgQ6
kjqaw3L1b6i1VFrCV2VpP7laFdh94WaaMAhI6tL4w2+Qu4cQF7aZi+KE3tVtZGAt/cGfvA+COBld
eRVyfLRMqN4xE1m7H75lscob2dWO4RzinyqIPbMFw/FiK5fJw4DJM9Aq4IwZmw0egXXHtTrkEBdq
jBVhoj6LfQqtoe9QoCvuIqua6NMaTPygDMoY8oWId6IoGkUTYAoD/mjB4NUxX3d0WUVNuk+E2N5T
HCB0HHy8rxtD4rG9hSppb5Eu60JljFaMUFrhX7grFDmQyGXZ8WoT1sn205oQF3XP73bV5+oew20o
t9jF5NNv9bdAJVJTYObjUvGprYtH30K+24OnWdBK7pA+A+Tn39WiRgogrLmm0EUxqbZzecInj8AS
QSjsw8EDXmF34M8yPBMs8t6CZDDPpsROu5DGROAdA0n0qg+Wb0eBUhOyFNItZrujLaELzT2Mluxt
XGDN/NyiOllqIHb8wT9bwpgRxaBnz+iDvpy4M5BYKkk3pjSKE9aiAFqwbuxNYTUIF+P2g50lMEAG
7GV2KRIKGFzt2QCrvi6Os46CKJLPg8NyxB9dqcGCKr8VR/PPaKWN9xRo8yXDSek6VWbNvJ4pn0f7
y1SFt+80X9rBwEPkgMLtGd1IlA7ZVInE2TMoyTcHPWbrRepZA3pDsGFoI0ECdPysqT6jRNMpBzGI
FepxEGdnvMus+YGveYDSTxfmUiuXb+Sc2v1de+1rJ6f6pGTa2yLuj8cCkY02sUD/yDDTnxFFoLv7
oGfdtnn4NkpOAwL+Abm6nKqxDyeESPXIFmv28bzUecwoxkxqL0zDj/4B7ql3x1RiLONyq3hiNRzo
8raHynugdAmzINcYSSRWGH3FOFRlm2P/pD83u9y/G6JZLQf80t3J6Y9je0tICnObmIRMfQebJ3uy
Nz7zqXbr9OWtjMcG5QWAMWwo7rT2e61AmtwCyyIHDMub+mzvj+JPHaweycG26DcA/3BLykEZD+RC
4acm3q/5Yh3nq4rZFprhlMq48RQvaTxl0hinuG0+Vx5hzE5LdIlqpVmSPzfSPU8oR9aS0BqUeJBK
GWnCRHyNj8y2Dy8fT092IqeUrbKkiM6R5mQPQJ3kB0NbXrcinA/ZhE8TxZ6GU6O6kdqj1gXYCzLZ
Ew2uHxL8ByQ2HFp7qJfMB3QLgVFgGxR8hd1oPfB5uP3GYjCw/GeXtZY2jWGiCzfwPbzNyXu81w+Q
lXW5m0N4ppPqoOfXe3ZfMKhP3WM/QXxi38fPXFzqKta1dqgI60ypxQ8lrEd3tDzVj51r/w4bSte8
abCrQxZFfzVMdR6BDURsdkslUNZ7wXTwp2CEZzeihkI2sKv6pBzk/0zF+Em6odYZszsa7H8iYdni
TYO2NzA8T9hpGUoVOL2o+TpQ23pq4xdAmrxDgIV+DskqCzoJxxbzg/dItnrT21FF+UanzMYXQqJ0
DEnpEUZ0lXCxt0q3izwS5exAKtY3FOq57jbWjW6DbUOzuUCiyafqndLfEJjXYg7arLRLJ/NXoAR0
FjOleFOgy7lmbaHMj0wIKWZ3/qteiV0eakfiBrG8adij/y2BMTKaZv9n6lOdYbY4bVhKcspfs+eh
74VlaKR/RBFsZiSs+QkANTvXP3OHK07KgWSD/lKQmwGx8fz++bXSqpAJtxirThU/VvDzqg6aeMVI
KT63UfqIuszOD1KVYHVsPfJYmHQs7Ojfa9gPledLub3JZBTgqmtjEDyiiyOTx2wH++vqVOQKqIZb
qfoHtQbaa+VvbnztPjocwk2Bv6uTFy9IlJBfxXAoJqBnPJsYu50NE+SiKpvBr+pij2qpfBqaxWXW
KUFVS1Z7VtMkPLvzCargfEdXV4ILbgp9I0+DMusqre6TVITloGvSUprmPNS/ktsYsrQZbAUK8kVw
ITYw9pzOPdiFliTBwoZioeMDqVoTF2q12X+139qbgaeOf81Jy+nTrdPLZZ60DWuTkySxdhzdBF3S
IssQfQiKVILHhH263dYEJgJFm63W1mgDqFRZC0eHv6tdvS5qDF8K7+TUvyqI8zJd0nAlQZwyvK0Q
J85AA4e541fA8Y8K+RpN+Iuw34X29AyDqV3r4gG76aJPuJvD3Bjzr8YGEPpZM6gEQUitJVOIRtQV
heVxmavyt8ucf8J9QFEvOiNrdxjs58V414MiWr66aaQmG491ubmPKPhuFxrFODc6Bamtd1/TAeI6
ol87hJ4l+kgObeHxCSCceofWnoJGsw/SVkoIEag+Di0IzqKtG6MDaOkY72mqhPHC28hTr/6uOQSj
opowso3OeIpso7IDyBE1DtP3QEKE30H2A07mHVDuAE2nn+GnCUEIKtZrS0337dyi2LyXrz7AP9W0
Ae10/9ZCQaQGraf2i/k/fb+Qevo1by29ZJdBqMNCm29OS5uV3Cs5lHJdNKCs7O6s6nMDFKnt6AUE
mLtuDPqtFpnKtxlyi2/SSw0ijHLHTuUOL8cBgKJOBJ38LRU+RZouJWw7VCaF2cYHKxC+Rr3V0UU+
o040p0UdjWZuGBi0hJ4SIBjar+S62fy/piH2Qkh7Ak+Tc8TUaykRKtMMi7mm9lPoy+LXWst97Gf8
pE3HJBTMFXTI1yyxAH5eeZ4tV24O7LsgO3xnmq9oc4++KqSLsvn4Dj4JR3YLT696Oo1uGbJFtIpk
QF8PKIZlGCReMUV+s5whAa3kefozuP7RMrvoZe9D8gTo1H71uNNVlfiBN4bIQ45w5hL3Qerh/XkQ
9d1QUyRSgfgoyvx/zxQDp8+Ss+Y5h146USlNxX56Lpe9Ij0HgE/h3NWf5/pjU0fNusTOTcMtUgQO
/WOql1/1Zh6lVAsl5yK1/2QH32s66FKUJ6lyaMsHemMELzhmA6rLS3B390492zz3t+gkDUGCUWrY
RjOqlFP9YvdCqdhhmO9mOkgJh4jKRIOBck7/gpU34BZXxtfW/RMECPJtENas6HkvhLaUfJDllEV5
43Ll3xjRB0oSaJwgLMKmB6SO3MLLPaFmPatmMi5Maul0U8d29/Jl7wIvqLZf5yiaoyXecnOpw9ll
2iECSUndxkW++z7J/71DcOV959O99Wb95wTRpDshH2WB9IRp4VQkIR4w46ZyL7qWKaTRXiD2A8Qi
sHCSM4iVx6JyKOOg7ZEpR2iwY7oRT9RXZ9L1aSQnf9VwPglRLdWfl2q4aXF0HCaVusmqaAWJmCOM
k52ClS5/wNCd+CS5LNqs7IZWRA5Bul0HfqZpugANgQ4GPiOkTXlDUC/x14EzM5UeK6ZHGDcKAij9
RX5C8bih3ghsPwNAn4Mcd6rYRmn96I41K9afnHdN036F/pN3qqPoNuBE7XKxQmXZruWEOWJOhPuY
AOUOvZ/W2ENWab0IKLlVB1gyNGphqRDLRGnVPfwpJTO1suyNFUZlkyoQFPPN8tErQ9A9wBstsILA
D4a8zxWVT+jVoKHRhXAOPt7LzXToBoK6wfbvO6Hw/Tws1y7wmpECbnz690khKFI5RIn/NBnABnx1
Ctvqi6YHJeSiKDC8/bx3xivf3c9yVj/Ht/qI3o8vV12RmQaEauV6abkBGy004EOsXwsVa6xZlAi+
EexOoQ2Vgx2Nf9huvNSCeYdhkR9pcWJp31pWo3A2KraEyyJTVKiUmsgawJZjoivRa7PuH+1j7GJ6
FtFP/wYmGXcP/WSU+IXxDjkDTADViq8+1oAajRJhCPOstR3B9QRPB2f0S1t0gmkH2URlgggUmIla
xA71l3N6yQG8Mkq04MATLzLxgEeKZaVQLhRqcGGbNtW+j8aGSvPtMLv8+U/kDyqZE1Z3tyBJcVgd
VvmYm8Favy0+NI3rfNg8CYMBYhRW32NapNJKQQ7PG34nxg+ZAiAjE7xT0VVuiaKYwlDdxEDYktfF
oyxgOtbmCatTNkxJPVPBS2snSJlQD74ojlN3F4uiJZLWHa1rsLOx08ktM7QqtdisloV1LZR9KiGI
8QpO1MnBO2w+q1gxWjJwIHrM6CoVsBCcYyEm0CKOt/cXtsJJdQ9muXGzGGEs7SAZXlepv30Xi1cA
oyGPCmUb4f7+fYAZzo0xdsv0NOd/uxdaBnQO3V+XmGSUTIqtbPgc5qcn0uc/Uhmd2TRpfCgG3mdd
5hkUMoiQxyimsLP7RL0GFlMrPy2GCH023otvD95UmnsYYZreJKLe62w3t9zc3POEe3dan/+KAWfj
IMJHOBy9qaJylscZqpvuY0FJz32xm+5aTyDHNuTXXhnt0nK/5H/bhSVr+kFPAhSIUCJkkTodxFuj
V61INDGLKMYPObMsq4d8aQ8RhNaz/UHkJrcAm/TxYajZISqiD+atjd45BtV/DQnc6ZiJnMPYoVat
tPyhf4F2ax2koUH8Qrnd9Eo2YklZTtdBbRsAe/wFOmKJ1h1SXbsWtFTwkAiiM/FTTtv9r5mJl0Wa
fezDXbNQv/cLuF+v6gzJ7EIdafDqdn4Mr/N99xK8FuUJoWbvgmbvhtsaqGPL1SshZ1Gg8+IHvl7j
wYeVKE4qhDS36RwbdAHAR6a8pvWq0m8uKteK8R7yde3j5ZB0fY2K48/8NSzglczg6pxX3/jZyRrm
+qX17YDZN67DknekY/XV6/cHYdialEGrgVgkPXSr0EwxpD3MaAuZKb6OdNAY7Q1GRXu0fSWHMO4E
qvdjJFUMMJEbkKmqdBUTUl6A3H2pFpNFZbLuWnHCpiKSsbLQ1ilE6GqYn/8axc52eWo67dJ4FqEl
OSzOU90iDV3SjjsZwa1a2qBi1lxhjPm59LJpYfjr0HTOGbxObnUTpFZsbwmiYUA9yBHRy4ICBDjx
OTdP9E0/CZx4AAEEx+jF3QX2qxCj6zHNEFaou/zvV7mtMgsbYpw+LpqB97NLket39V05i+cUBX+M
z4mL2pOZRUCMjV+OoFI4sKWrqNLQuu4W3JoHn9iGDBzhZnM3UA5FiQiiI0xY572SIjopEkozLema
FD9IC+kt8lc9QRzkb4gA/JJ/H9LV/dYmGm+Iw0LptvYfDnFElR1IiEFUw3mFVf2cv4ewhnDSpO9F
XmXoD1HS5uIkHu+Mj5Pr0FEug1bj1PQMNUKEfp0bfW1QAfwd1NF7CybbLhcqt266fUDV+Bxp16Zv
CWV0F/qlUc8EX1fn/g3vBlxHxd4/nKgwzQTbyeZcyQ4fUalR8BOG0HcWyTQ1So3w13yC/9NJ8f87
0eM8uf/d/65/u42LmG7yqNGfjaKN0qvOY5dDCUTPhRNiov89sqgOoTy5qz7+Hn+ULLxB5syjiNwa
NMBspbStwuZPPpV7zM/u8T12aLtlHmnElMsVeHKgZuxB9jlPeRj6yGSLwVKxu49ahrIi8zgB0iI9
UJQTywMKGi7rbZ5dO0tniTFVquIIIV/ksnucRSA85H3O0Y/KBKpOQu0YpwpBmXPX47dVOzLyTTh1
5+rtXGVXx8v93wNnGD0M6td3xwZeNd4EfDU8SR7skn+3eWqZWibUb1FzAC3OUanxbX7hKC2dpHqG
S4+NMEQCjCe9CzdrqltwQfeos0u3PY0g24OCVxYner1Uu1JpRzZBrFtqlv6Ok/tkv0wtCtw5Ss2R
azlBmJCvuDfujgmfDUJA82I8PNGexV8Vx5hONyG3FFcNpLCqiO5fKYBCb6llCeBQQksgyKZxw0e0
8AAAypDfGSq0/AcDKUr74kuq0e6W+BpKDSC5ByefemH3Ou3DiQOEeQRTaHlpz+cFPiwW0WHkgujk
HPieQomu7OzKXAiLsKSHhRCUFXlkjAgaEQ0if9rxCjEpVQG6SeUCmggoLCF+I96MkKf/hzLwHtz2
+IgSmSDJ6WLK64RYiZs6ndammLtNlZUuYixrumrQmmXJ41FEsZoO1oAafCk1uNyRYbWgc1JB1kUE
MSTH+BHpCsIocsiIJympKsyeSBu7RQi1UjZnodAVtZ5omiWjhAcnA7IiJO+JjMfv+SH+s8Ja41rX
e6QfIyUlI1SKYJsAuSSIjN3G+xs6I0cEqhT0KPQpE/rQlfqLXhXtESicSHVU5jFDd09Mcrk1tB/8
DpnzPFCH4flEXP9Tkz9g6WuMYB5lp6wn2r9Se5h18Y2OZKzmh54yd1dER6mCKVR5xpNImNGlbeU7
TEDeqBzJ7XC+qyxN5n5qmV2jIZpe5xG8YMWlllDfEYvJrxGZgQRK3Qhy3CCJyZz4mxdD8bzIMaE2
ZOfxQbvec779S+G7bivvoZZraUx9Oj1HEOUjUE3RL8rErc4yvaYCk8XNX/MerC886hd9lfJeaVxC
J0DoyhNPjrjycKb8M7um7yc1KjoS1qfUW5wlnZJAE3HccuPL/AThNDfG2+Yy82ue+Fu9DVlPEJvb
UPU5l3nCW+t0zFnxivT6zeJc891lXiDzqpyoFq6+7uijXWh4V7nMZX2Im4kGuHa97kKPnHuQMHAt
vLUCBb07EFYdJOuyCkO4NJUO4TZvo0MIzBMSjSN0FxK44xduIzQWdrwafQGcT7osB7okh2FJr+ng
Th1S865y1ogxO4QZRnXsLHHnMDx5xpx4hBUNk4V7dK7yTAvECwCU6vFu7HFAP2A8O08niyEsjIkE
uFQeSaqKt7pJN4jsaZpJ0c7P04gTMqiHJtimCfSvaKLwMvPgez4BzzS95olv6YD5ow0mPQfHhbHc
3TG3kQcfQqTEsGzCUudsmliU29luse0g97qj/9GpJn2bzYL1Tt+JZ4sLSsVKKm/8wtNj25LLocYZ
fLFxK/XG0gKqY+MnCBJkJF4CE5wvhG9AGTCHvtPYUsZU37amsPqngqFtPl+vJT/QycH1MBwS7J7e
QY0Z92RohmehKseY/vJ9en+BgwwuczhnEE0rb1gfq5DkFAkx8l51WQ9oPNUggvmyA1KFeYANuNQh
+EjK8EdqG1ba8DlndtLIjBz7NgKJM7fhniCdY+bbMS7RZpLZjUfOYH/SEd8wS3gAuEBdmxHVsxPR
v5O469+dTpGkoN8YN0IJhl2oSFz6QKSRmzdD6LkbxqS4Ix/q3C2yLFBL6XXzzHwVXPsbn/5DRm9D
0ANcmlQfEiq9MzriY8Aj4zAUlBY1qM1UQwfji2C86raulV9EbMqxtokDhLoQ60L8c+8OCt68RR0z
aTDVIrxBiGmKi4rQg3NDd7KmzoVKCFnUQpmftGd4F49KDhDBoBnIYphzFiRiADoU8ynzylZVzYaD
TjJS0IoD9E0kzcUJmhD+q3IVjBy2XFlDvAacKeHP2jwFWxQZLoHtiGZghQ9mO7ZkMeUALDVOnFCN
gsZBW69i8x+naUt+mDVAkP82WFsVhWIj1J4UjCodmf6nIyLIu3tBAUNsJ90MqLgAtAu8xLKYUNUc
M1CbHYud2T0V8KPcmwAPpZsWohPY5IxAHh1ATEqhm/pzUcTuhhwksFqAF8sDerWqOFSpiRgRgBC9
TwQIIUZG1p2hFOIA8m2whsL4A09SKQixEUS31XoqczgBhaRBAreO1oSJTxu8Lb/T59hMFqwJT37X
D9K/QHtQK+BxZfIF6zqQdnTbdAC9/QfkUxQiJp48EzkbNh4Ryq43ZWETq5x4W/EWdNHKK5Qgsr0h
spVNrYR+ai9VQJDwDlvlQREhwyjh8DzNMkVl20Za+CTFKUoTSULA2tZzgM5s+n+DkjhjTRSqzHSR
zLQGR6cuZjyYMkMi2rlIawmFCRoWurDC6pCnIjT4v0w+540ndPNF+dD9UGIBtpULeizOGJeM48Xl
6v6aXM1/eY1IqVIlTMnaaB7JTdPtFyGATLtkQJgFpGg1dVXoJpKrykR1WxlDoC3mpbgjhlbC8x1Z
ixSirqxZrpqZANXFXtQCr9WMsk7Djv3JlryQzxVVQA0dFY1YQEoA9otiINDk2kIDLWLil+Fk5+Nt
wBHY8jTUJWpDZYnHQ2aLCrWovhi3p0xSOFxNZac4CwiRQJs0tuSkcBK6mbE4NYnaW3I8vfP4CsQl
BqfogQ5VMZAXOXY0fN1zzJXfuZJTX9PaxL22MTZ/B7fS1fzQPDHMVpGgO2QM/CGMdG0NJ9WNiFTL
/Y4XyMmTw1N+XYFexu0sqIwDO9YZQSsz6T280+VytQXzFLNac5LriG1e3mTciCX/i6sJraFJuCvS
ZUqmEeG2LSeaTuz1pbxLsrskxJER1JfIpdBMSZI/cX/zeTKdhPwkfqUzbMgVJnfI5+N8Miccmq3r
TDlXlhN1OhyqBchAXwUztskqu3hObnwCLRH5Rd4tHZbN5z7oY6FPFf1Nh35r39ssxWhWuadN4CuE
ldSPOi5oqaKyQKOkpE7MXD3CHdShDq1azJcuWRDEX2zen8X/pwS7LRmT/XaQiPnVuPkLpdX0frwL
vSNMwYPOmftBmc6YV0AuTalYBipSl/oPUSRKZAtEeNLq1rjTHdRXohCajqGmCPrxSlxKitPU6Qi8
hvNGMpkak07MjOONWXomoEGknnczeUmosV1imP7da/U9aNGUGK/FzIDsvq8/+YvagvI0XXDcqcWG
nQ5DpzG2HKkU01Bxz9ujKLfAOZqFZe4/8wQjR8UNWDnsCbiCumM4r8wNOSxobVO9iawkq7kHiVU4
xP9weAg4QI9AYSIr6SqZaFqI+rPEMKNAzei+BK9Bq1NxiMhOFBcHDh6H6Dk4E5y0ohQ+k/mFsLcm
ibgeynizXqns1jSmxyyLzVRfsVR5MN/t0LIX1HWbmAOc0LbTs2Co8vPiOMlSCYTXXBQYZJO20H/h
KrVXopMWOZhfeEBSQyVTC7fnhhVX7kCY06w1PTJNVC4ifr7KkGX4y1BfHfhsdN0Uva6+p3+h0kVD
sysWQ1+8VVPzyHAvxJcwZlQzQ9N+iNQFN/hRg/4WS4QTxR5OWFci464MPEmfZAlIWQy2Q3q7jpNp
/q1fkym9rMji1j9xCiWGAPIIZHhyCY3TYMn64nYw2LBbPi7ldWEOhwW6CZ/v50Z0o6NcmkaYAd1o
A4CLX3Cia2KI3HZ0JSoApEbWjKij2KOI5u8ZAl2kMhFgw3ZXhRRJmvI4EgICGAiJd6s45dvP7tHj
9HDlf8AEemsgaBpaJo6HLHBEZ8sZcO895i+K3K50h9bzh1fPKS92veKhwWfiZaNXG+eO0+Kv88FG
y91U1IZ7meOMiHsicA6FgFALiCOQzAneVdE4PziAv/FvfBkWlt/1CVBDIcdlngJ1Orb2Ma4m4buD
vrR8+UN4TZrFTDv3rD+HW+/NFEEBQHEWiZEthc06FP04NFgXobLUuaGc8ZjsPYSu2UFxvPtyG6kB
QMt5U+la82vTwTIsYueJDygogLtDAaf8S7YECiY3bB8L3WbRBfUS7BRUQGmAa8vU+oiF35GXV33C
mT9xKhQt+T42AiN2Y3OAu4IXWkmPznSyo9sRZqA7lmlS2M6bSCVYKf5NVzxESBaw8rSoLZOCIhcY
g7sWW+KUwEJpAOPBsosB98IG2FSu9Xv9UHMg2OvAWxgv+E9T80JLH9BP7Kv+nxldPKhFXC7njR9i
2agaAAzQ1ptiDVQdoCI3mX9ZPEtkVbk+3e3YnG8969Sw3Eij0V4Lm4jDyBxeYIxik6f45zmyPKBA
ibjncElNhU/jNhkrFjQgTLHJRco6MbwYLcpEuXJYCxU2JIuTLJda9Hq94WXinGrAGDcU62sfMobs
vjEupgBQ9mGpGBB7LeKLF5OoINXJqjMHAwz/TzYLCYVipSeLcquwYz7ciP2XVkJsptboyPzoRuuQ
TaQQqaJi1wKdzVSglJCec/xFfgDe74p4nIcRjBoqyH0OB8iyaVRFoRlhiMFjeQR435gW6Gmouv9L
J4ogD6FO7Q2h9aJCTqFiF1fGx3/gDiQY6cwCCNNb/9GWhPiQaus2kxh3pewNfZTT8SHYE9gA9up4
xChua9ZgMoFkPXX1mjxYR5xwcR/rkInq4YBIqRrUjT23r/q4j8WWisRtXwOgGy+jDq4DB6jEsOsq
dRRq4g+lvQPOu3hEYjhb+5iGxqx91LqcQGMy4FpRHUoxteK0Nap+zpaXyGPVoT/QpOZimESad3IF
tEMwC9uyrHJArPfBiMr76v7hlCnAUzsMttavRwsUldkz5+129ti6p651K2WdtZYiMLhI9Hwxppgy
TExbG6iP5s8A69l+6CTKJ/I+N3cqNzypsqbWW9qWfOkHc/bGUOv/K1cwp4wHwPsccPOY/TieOH28
bWfKhs7UlLsWrYADaVklp0gfP/l5k3rUSxGyUIbIiCPuzp14uYCSYHYsifPBDIIGQkMhW3PrnuCW
ItnHs6zPA/CwQ6JKu/iO32tekZVriQpygtkAQv9rzob5weLTLyEGf4fjFuvIxMXhB/1J6I3op4Dm
7vxsdQaG07z/vZDgFIaQIF7zU26DkjekVKF6GIUZG+jJixduCyLrMwmxfB3CPma3ogxcBpX9Mg9l
+z79rfelRS6pQkPoRzWedoh5Wl4cGjv/Sa8nVOxn9eTMlv2Is0PR8sukVfWk3Q51GBRgdIB75flf
FmlK8amEGKiXHdOByYDjzyJZoIrqUX/Kxi0SuRFBEJFU7OQnZ6zJxfQyVd3QWH1ZDpz0JhX2q57W
ELyyl0RQZF6QDkncKfGbggzzOX/Mrz59f0idbatpio6//9FsCQqGENGZSqhsWleLd5ZBU1j6acjm
hNUwCOoAu1qjB6xcvccH5ipMHc0QGeNejxnR6/1nD2UgFFCLWKFwUr6LPcZZMsMEOwowMJx8kN4D
s3ZeyAOUuZQEjPjSPEOrhqPFofWPUrSie9JDcWGklaa+viicQoBVEwxi9uBtSJOJV14tmBncTvPe
osMpPJAjL56ePQphAbG/QlgKH/TcfBDOvnx4ZKHqXXc09tamQndQXNVFnsnAHITym6u8IsIQ+FJP
tDoOrQMvxONnq7l0z4ZSntJOKltAECe/iV6mXb1CJAy78UB6YMC099qr1anZ7QFzOcosMB7mvXON
K+Q/9gMqoCpMV5mgBc19oTBy51W1YUIG6Cg1vPgpGIjumm6Rcfv4/LjJ9fdCbl5k7oyS9jEuM3cv
ooLSwfUs43pyY3VQ8WQK6hi4xHv07x10HM+yj6xdyn1rzug7IK3YRttXrrVGJz14oNAK9MD6UOEL
6TQy5rDlhEdotPSL4lCrlB6RO7ocH8hJQmJDjojhlX2wQUniIu2XxxTHBCWYrjHSAf6Qa1csvIjZ
EJWbWDD9pwwvBRxUhWK6mIXMO6/XZCbGUaR0pCpqSUkS5uiwrCHlAVQgBXrU7a/7/Uvlb5xUZdBV
swJ1GUhLvEUJuUh6rsPsFKygmIqQlh2DZAUz31PvozYFKYgVdInBfM5FVtQuOs7ObBP2vVi6WrK6
Gb3FVI2aan1EfjA3mYoJk3mBNnpT3qhQpA46uiMUJbXTu3lctpAdYTParXTofNRhSSwWWx2tnI/g
kTZhnO40sd6qVCVtIo+jx/JKtATqIzI0ZsXGcjIWnVjcZzlqUtfXYlB4uKnnKZJAR418/BudjLO7
gkwMK1IZKQE7XB5cFrO1cNOMd+H/8+/keeD39YIq5MBwEG7U4bc2mJ/dgIR4jxL+uBefqtwk3Ryt
dwVhiDBo7ERLxhVgvGIm506W2Q4oNgQEzsjDA7BQucYmuOQuB9UgwwcI5QgBAOpAyw5Xg5NV6eE1
RNFyFFzhtYaDK32neNGEEaAQo8h3Wgr5JpPfRmydMmIH+umSd5bDoYObwjmyGPQ/PnS1kjHSkpUz
wmKuwXAHZuTc8Ln3NeOp8Do5HBLTSligcb2ed+uqJtdhhhGLpyuHHcRNJ3jFR8Bs0Ab4QldGyjIa
274WrkY2oWycoYCqqk1U4MI/kyGfBHJvJJOhw1bt2Hp8EUo16aGbsZi12G0IulrmKXssVGVgdX3y
J1SGEkU9YTo2t6kbs8KVXOkqNTj4jl6TGSy/WRNOdd3/sgKKQOXCw4U6K1VbL+HDAMiq8ZmVqmKe
s2x7ZPPzT7NQo1Uvuxs8TtWHejTbA9+AHP1r60Lz7X5BMTuXLjrNDcivWyabUrTnvmUQ0DcTDXwZ
Xcd3kKtEI0+lBhggvvgbH1NVovMIf0ifeCyPbM9/Ol3oKhUaW6hLb0gR6mcsT1cCWMoRKuOr5Ou4
zbwjGpkpMyrT4MPdl3sAFrc4VTsZdWTjMWXxTml9JpbtGwtA6yUNoPmBvz64PvOGJc/8wYiMAWm2
RpeNEmqmt4wYahjdpNGlgpT8mttEy2OIkBKpWXKxF5pVEgqIX9GLMQnmoYwqWrrolVWDcDJBrr5X
D5bBsk5hkRfRyK41mVDPix0kC8sN1DpQXLft7AjHNl11AFWVx61+7uCUTtWCVOCPirWsfbQbNVWJ
XMgZi6K7qUOqCEpQS+9ERgCJbbQBdbmH0GF7V15E76OdR9gXhZNy5RJ3UVK1p59xR/M7Qvl7FqHY
pya9AQOHxfupsz7DCX6snHvd4/+fw6JGQ5esXCc8B4oagW4ramgF9btHnQn+DVQPc6guJFaYSvGK
epiwBFAjpM6DzA6k2kyNNKKUxyjvMvJVR4O8U+Gbx8pzdwk0VTOLXbLk1xctIXRhakej8r3OQkEO
sS4GcNpWcIqGC7gWwjHjabvsjSk5ydTo1Kwp8wfWVXLb2rA6zCYd/C1gC6gMdpcpQ9CjTcXYFiaS
hpqZhiPanXkiCcga6rhWpjh4xn/BNWTGsZ7MCu0hmkXxbz0YvUjAf2sjpO/dIAgRk2jB5Q/DKv65
UMsUEWKK3rUo7nagB+UwAIYhhOfN49pH6PI9uPZfHNdayd9nINI4Pty47pfWY9nqs/cMb71b7xE/
KUt9RIcv9+I6uSJTJiG8AtL0+0j6jPu4WKdVM5mhHzlIwezSV6RVqZFKkGCefANUj7F6ykqa0Izp
IXBO9lBf0o+RNTt5pR5IMrEu1hx7tGfY8L5+8Hm0hinDwufKoFOc8y9dlc9ukEjYVDJkn/LeG489
qTxDyl96+vArKlfgaCJ3gefxY5sKQBQDO6b0nqJ85QDoEQeIfjTpimJPFWcg3GPuBpi8tnEeoKSd
Bbs9HCWgNn5FDYmcXEWZlCtmm0aRD+E9TvrlXquqaTQ+NJdHq1O2ZgQHAxZDWBcucTC5HrZnZpf2
V+nrSceIScY9FxkDv0alJdxs+t2yL1HKsTBRPakNeWkYs7acrFzFSRGo/EgP9ctDbhoF0J/4xaGI
JA3bRwZOqU5V6doEAlKs/1WyEoa21o0+F3Y1yk9b8MQ3CuAaGdk0ZcY0SxllyCVKGOhfmqDSDB0z
b015k6gqTHoRo3Ew5BweqirLXa9ZKH4bJQerrMSMZivT77XYFgUR0TGiIsroaw160B0z1BfQbRsN
jyVXsb5BoFRxGnGs6Z7q0afI14sBNMcWNMfZUeCTIpxg2/lv4+7hF2AYpSC0Ylpp3KQlbGFWcYc1
TQS4Kh8jn6PDwsQroTpXeTkTAUjjkntvlqJ2yGjFxq66zSsSAkoQZJt53KgoCHAkAk1uBfw6F/lv
HMZZkkU+efUe0OjggVMix4Q6dJcZIRWPAPut8xPaoNTABYxKZ6P51GTqrIJowi4gbCDGu1iNaGh1
5mo0xeT46c17o6srX0vvYcZbfzx6VyS5wUQK6towpL+JesC7MiIA0Mrj3WUroqjKBVzdQUuge7TC
a7OxoIYOIuejRWdF/pK3jAWoKbVlq7CkF8Lyo1zyQ8s2VWXJTzXYAg5PftUZ94ETaY3qc7NUpCJh
xBKdv0zelj2yjSX1x8Sn3EvNrDH4Jy/U6Glx+L7y4GufO2CuS74kwBVBguQ5iF7FYYDZwezkzRbK
nQoF0TRj217gdfKNbojEHiX7iI+gHUrhqQE/8IUsmdmMTBBRNhyE4WBDK04GntDi5vGZjIpcojrk
BYinbL4MHfEV9waKUtRDBOVDIkFUqKXWPogWHuVoRG/rj4diGnV6GS8MuGkgKdcq4qM4rQqXY5UP
20vTutDIglUx9c7wexNPeaMCIv07iWncUGPlvetNFeVwVVpGFC+RLanLy457zUiyLNEB0ylvFCzY
+OnyIVXtnMWs23JCO+ttSnkbSblTAYaZrmTxN/hRmv96F5YPU3vCiUerNLxZ8by2xNFlukaUJdqq
6OGMJP8v/NAUbufR99TLV95RCTYwzog8Ev63XKIQY31PebX4vyyMAl49eJM+pqff6ZXEP/VoNAkz
3uRbSVcQnoLSyopq03GUMosOhFR6lebdy8eDXn/s6Bc5n6ORgyAMIRAAaVfy8CntI7vKr7KD7Tg/
0FEINoD+AEKs/R0u5Ldtj/0yl67cWsSgVKI2DiXGPd0uBIVgW/AOilr5ypKKQOneaNTIgZIlKTTw
UtgRDw0VcO38yxXuqXbLBzIOjyg/2C/f00x8/pMDo0qDj8pntMKF7yx0GkLD5MQcK8+2RHDodv0f
onCu0AEJIqrmwqEKvoDhsvsaGaKmxCGhhf3JUaLzGxuuhJGJVBu6jXpfeUVAU0iz48nDZaDCg5n0
xSOnDT3CEw5lZsaVFllWXydqOd69/CDlNKhdo+XLsDxMkzkbzor868xWCWINQR34Kzdzb7l6JqmU
Xu4TNuUjwl3vyTXQeZhSXqRJbJjwoclYjp/pHPV7+ReUi9OotXliUzGPdwhO++LN5bY/e2Ln0mMG
7i2KGvbY+LvGC7Bn1nrF0vl4UQQGvTY/L87zc745Tp4OXNVKkqhglwwTKCIXRD10fridvOff+XZC
6gnGOcRdnnkd7FqotTz4hv4C26sLkFi++noLFDTocktfVjq9/b3LDDEMXqCmmz/bUczS3KHzv63n
IYo53iN6HQezXOv5qVAEBYXrOSTHc4yv4vPtcZOkpk13K85/47+aP2l2JCGNDxJaveqnjOgGn1a1
TCKoioj+ixM0Mvm2QGkFMCII5j22cr0aBcFeM1qOgCkiWn0n92VeQXGKdwXTCM6UvplyWHnKt544
PJvGd1ioQXQXOPkKxJC8NsWXQ3r/EZCpoqkVpR+QsoennvJpgjNf1Epnjdqx6EN2y1S9jKI9SdtA
em5cJ7xG6v3fIXJjY+i0JEsYOfwt64TrBAmx8ETIZMaGE2QSDTaGzE8PoxSyAm1ScX87P11kUjMK
6/fo3L2zfKiFysToqDt/TmO/zMSn4Y0WdWt+nGYLGf6QlWLGX7wCOjJ4cVDnaD99Bd+wQbZlAWh9
SRkAjrgxjEeg8iuw9781la7WYINq0BimOZ3ZJmg9M1zP8BkyxTNBtpomX7txhTJTm0+3lKq9m7oP
ukvMIQ2XGGx6Ezu8hB94XmJOlaGZic0i6q0OeVh7KmWU0aWLiVKzB5cmJun68NffDj6dS3XXe9Ed
hO6CyC7gWjXf/ifM+jvm8cHHvkAyGVwm2dGezinIGre3y0vvuHIi0pvzT+wsafXRQkc8UnopFSIt
PLryBpfVKyoiU+/tSIOg0d44Y369Wxe1iOCxSDgH/77Y98t0MXOA0YBlDz10uOnveOyk2w+fGOML
m/7UzdZm6FO869tlppWiZ3v/QjXYhrKId5NuL/6v/lyRWqqconcwmziD1ACGxz3c0xfpGaXhANoE
mfYroU9Kr+1HGQjMl9p933luKHsFoD1S0Uv7uUFhpJ2i4BdIPlmvVzGFBVSVwpLc7/7tYr7q+QGF
D9X04ErYQWBTe/awSAFtpbCK1vHXLdDw+8X20y91SoHaOOdJrxZbqQhdGXo5V8s0piDeqnwX94gt
oUMbvs4TJVPykN1c51P/NkvN/6PpvLYTV5cg/ESsBYggbhWRhMhYAzcsMBgQSSLD05+vxNmbGW+P
TVD4Q3d1dRWLxWcCM3L8tG6YQD9G5Xbefnj19nlAshXtphV7+3sP9rjs3Afb0btzH+3t7T8jubnz
5Wt5Gt3+gCNGLMLDj9+Cwl5JTlEZOtXcO64L8ZdEO6LS+f/v5mQNQqBU3VSwoJz16J7DZrRkN9FD
AZNCr28KT775L6oOjVGNmXt2kdfwd0PcCF1GEuXsPNrSgBJhk4OUB+tnw72GKCllselyp7GP8Mze
BgGR4+jtpei0ZSP6MO5BI2r5z/G8zzOew0+0bc+x+vCOAEUOG0sZ+917cJD51Cc+YUgyZd/B/mRm
hJ8E9/HONjHHVTytjn7dPVErTRlNLQ/TQhzc9dBmi0UIDSy1yWusqj4i/B2KKP7978M6o3BfYBio
+uxMRSDTsKSzY4cLaXkx/zP/5BW9Y28DJOJ/49rPi5pR7Uc5UR2b759vweDNjvDdFQ5TerQP0wPq
u99SPAsrQ0fNI1/ewpzexirqFrxaPSSNBg1gORsQfhQINV369ZubTh/Q737Sae2nzOx7IQzcUkNM
79LLekZbVSXJyaa97WjeL3XN/gH++RdxUPisjbIxUH5WhYbX8HP4jaJ0zV1ZLRb/d0UnbPC3Djdy
81eKriEiVB2xcOnR+8UDEU68BB85S8CtOU5idHoE29UlUIMTLcmFR8Krow0pxc7tg+LiWOzu649K
mt9UuOSR+v6FUMf+SApVJ6NCRU4IaawMi7EoT5EbLUmIZ1SFFdH/RAOVMtWn/rdasf9ZjmRGpb1C
cw4PcRb4a926Rn93wK8RJnu3Nih5x+Wx22L7X5fXBGaTD7WmDcFhQVz+f1XwQkOlHurhWSo62EcK
d74PEfzU0vFFHCoe+l310XVh0BJAAWenVfPoXoIjvdJse5iRCfpUrC/UU8Gz6jHpv/ug5SlOeAXi
ZW2iU187n3bAl0j37Kzaxua+ojexbr8FrS+E8CaZKQrCPZZwpKVWKfXtuTu4W6lvuve/x+8JHtFf
k2rmB6e2be8VvjANfw1rKXUsYoI4gyffGrWGb5ZlmgQH++gyKi/M/mbG4ktkcFxvBsd43kc7bHrC
wLrJavagVmqwez2nkALy+BTIprhGv6/00gTrowQFcswkEc+rgMSEMgDlcSRqBpGmjO4lMWiRVGkw
wg36SSk+fNccIfRCwl+IJKQjbaYwDJRMC6xD35RbsSwRbJZo9FcoKo4BeQa4tVZoimZFbMv1/HTA
GGXbvoUEq1cSQKsSLBxWkYyaWGWzob+67tpEVdltAv9C2iC01rMKl3uo4RwoXj4hTa5SQcvDdHrH
jLHh3R42dV7KtkM+Cb4Ph8ONzAqh8ZzyLdOg37h6OcIRf/voXAk+VYfd/DTewpimKQu5Dwp8Bln4
E2VmDGdA8Y9Y4gkjuBIDHW54CNXcs/mPPo0Kns8BgWqF8Y19TMM2mr/bh3962CkTtOrkKD/ZmAZn
WY8W+GoZySDj32HFK7eHg1MNFXG+Jk06RBllqAw8Ohz784f2E7oxYAZ5JcwMs4AJeuvgXjmnBaJR
rIFwV/mj0XgJ9sPG34eM+8GEVkcJBkGYpctXxfD+Kzsj3frHpJAPifo9tB5IIkW//kYmWmtudPhq
CJOVM0aUeKMPM3uGraAynRcotaYK+RoRqmAe0hVr2aOiMXvNMVmah8LZMP6afX4/NJ4AfS7/o0uI
sNhAoZmVhMp2lHbqzLsVjV4i4ZLB7vg9QBwUtju0tC+0JEB0z2Lz5ae+IQVDemxZDLblUoehTa9I
7XeAPcqkpH93Y41DE5ALIlgCHh9T9eGIraXvlHhJnu67N2qP1E5Zwv90R5fvabyf4JYL/fXb0/AD
tvQDTR/WImuhlN6wHI4ylNj3uGvXYjPEUXNw/mv1m6vP6DO6Te9/aQfPvLd/XVRgoCnca/57s+wr
BqmxjWxIrjbda3wLt5iLZ16914x2QTlIpoC17jmgPd6Z+p01oky3qE4u/K2pg70kdV+lOKpWF/fp
JR3mJ+JpfQEJiCpYiMB2Fxt7QVlgenOF9NANwdevulrN+kVgqij8ZO2SLTxYLxfUpOmtoj3wke53
z+HaBgHgBWgGRmJdsV4v0WaSJZt4E38L5uLDigSCxFin2tO/Wlini3GthwphBSfTo0c1qbQJZ9j2
2PqW17qTHusWqmJXmNC0fuGX7tQfYf6Oc0BZB80T1vQt2IeA/0tfFVjlbt/FXjUcfl7UJnQTt32N
E5AiNWlsi2IF+CzQDwD7d3RoaILZoj2Ag9CBikbnEpswd+jVukOYYgDlFgIDOwRfCfEoVf7WSR/R
XBbALvyvxBURjIXIEA/sA6PfDTAPFb5v5MXawKOoYzMCNQrVK9Cw74Pn7MPCoAdIi40hAGjKf10R
Xy2fDOUztUZpDm5XGp3fOaeB/ppeJuzizDriJxaHK7dH9RGNB5BMPl83DUSQgqJ4Ot8YUBOCdbzM
tFTuXxSplhSqKMCwdIpmvJ1up2oOkCSSNCKfsB5lViPU84mGRy00CoOPWli1Xi6cJPoZUP7oCHbg
eZ2qT9knurOzvCDKwB9rM5d6Y1xAljNwv2/roi44fQO4Awf7hSaziCv/HGob7rXdROixbj8jsiA6
R1BbR5fhHc3dBins201tDATQmCZWKIcbZ7KhrLQZ0q4JTaYKjEQKDkYq3PuJujTEGXpRIBK5LUR9
ZyjYuKxSOjKod8CCwgMhCnoZnLQtLrime4H2j6UK9QmESWiiIWIi5tfVo2GGwxZwWfEALW2Mhb0X
ik9QMqxxKX57Tyd3Kj4th5iRfkBoHiFKefaaBhuoPPpMtikUJ24svQxfFGtZ40HokU/hrqGrYU1J
EtgYS27FrtgPvqb2RJNS13ETJnfnZXczex6dwZB5dXiH/J4yB20Tu5EtBeYHekPJzf4w6XLK8g9M
LN4IEpng5Zm/8a7gu3un8SUQQ/wv85cV35eisclqgFQaoGTmgglyVr+buBbUu6bT4qKK/KHC9lda
UrMXD2eINVpYZ/LRrlCG6uU0wDwcIhOw512XNp2R2rfrlOs+cDHRYXtAmYfjx7aliCJ1pg2Gqd4F
U0UIDUCGdp3v1G7vPeg5SjIuS4sTQkSGZ17J/KRETNucQ9j5i66T9asxL8hcIrhTxZZ7xJkne84a
1SFQUfoBHkWFgcvidF8sRSbrPtVhqCcmESHQDU8gJmCJOllPrpjSTOpf0lpT68CZ6/6iv+COfgtc
TAIYM6zZHdNK1pSKncTktJ68SOEUoCrVdql/0ZKAGpjVn/Rzp4HUzfTP4Fg+PCZqhkU6jhOeYDP2
h95ZIp4eSzAMBXia6tcV7ft72ff+ZamGZbXQv9qPJQsoNthUQaA7pRhq72daSuGx7weVthDBSiIy
p5JgkQIJtCAX0rVb3DMgydFpJJadQi9QkKQ6QRwRA/NnrDgXqo1qRVdbbfA1t37CGPA+fIM8PamT
XfparOoddJIc9lXxc7R2sLP+oJD6QiFWZVABR9n4huj0hzT5UWysMmbTv7Q6C7Z7jQU2Qb8flNC1
aMEH27mP5RGCA0L2MWzdOK9iTytqPuYprgTyeTgZxdGTQ1UBugkeYkvRo7TqVQT7EqAf29JvWi45
kXpBAKggcfCc3P03Z7eD9MhRL3uKQmcMWE4RGhKP64BlMXz6eSgsVKUcvRosne+UTTDu3G9ugeal
p4lcsnBch4fXXaKoCJmMHCAg7Am1i3+XfC2gAo/12uO3hLeEzsPCgMGqLhS1yqVWY12YirMEu/da
v9LBTYNW76NPcGp+xlBVBxamkXCSSPwQqzkQiPGSKMeI9IXfsLNUR4rmEdA9C8X6KkoBED9blyob
rP2pow1Pn6rMX9Dv/4+BKyU1LUX+HIzqH+OiTaLH4kjIHqlKwoXDdnjcA8ui44Hoj8SaYzaARmA8
CKrCuB3xF8IouiHLZN81fCvATyieCs8lIVa5gJQCoyHeYoe4tCTmqmxPuKUybx4kDiDU3Giyr/YH
KQjRgXNejcc5z/mwwbIR0W6BHyDBmq4Dqjm83z/OjyNgia0RnKrj/6B+PsGNMLV0xbDtY9mGgaAj
opTLVsdyyvXjohA78L3mCPahXKqt01Mqosmz5XBLKkmU7CXZDj9t2P8+wrQ7R5tqpFa8PTXqvq76
1uE6Xr9qTrOlikfi4rEtsu/pQacXca8yFLnC3fAU3w/Fh+DC8mepCFO0iRbCkSIcI/+Fw4LKZlyq
ldwM1RX5NSMTL53khefq+brA2qc1GG+kpJqLUMZ4MeEPXROKI+Re+MVWSRKkSSAuM0JzvFD51nuh
zZ+WCzYf7qo+nWnKVy7arwQOFNtwtpy6cmfRYCokDfcFOC06OfhGyJFLVTxtjtroVL+4k1uovI8b
HkAIiK40HmhboAF7NzzSTis3Rf1cbd/CHJCFpXdCv0/HOGA/6LvFDJtfb8BL539n2u1JgJQNDWXA
qDegPPgnBenvZ6pq8A2bykDLXwVPVRGq7kyhnnhMWypSQsjQHiA/LaFaQOGJr4SmPFRPYtqgVx9I
Z7/VxYODJVedX9vevI9cck/smDy+1lCi+iC+BVuCJL0wOjmuSwDcPGkzQIipWJgLIOe+Zp4Krit4
CPU2haZjWKsxdPIXS5PRfq9PvVIZgvM9vowkb3qGqXCBKPl99ED9og2Tzk//PWeHX6ygVXopagOi
L3/P04DDQlAs2qnGaZ0rq4cunRgV9+G+LV2RV0DpQPUA0aVaBZImTQukTRipCISotIH6EdcZo2p2
jFXjVHS3aggr3BZnTFwNjUTFYrq9YnGAJMEdQOmAlE43XfadRGpohXwe9NVIwnc/fP7shzRqGwiN
nPBol/2Verd1xze4W6MHhdbvk3hgqKGhIZsFaqW5dDL+Nn+PhR7IeYHP7qdofDf+3apW/odxHhJL
w0ebjROwacxM/DLgVDncerdk6z0S+HLslpIyuq+/u8onOpAWRYT3yBuBt11RoBFvTBsoUKSx3M/O
G2QpKCXCrZeqL/W7dnGbTO5Ww3SPg+NAP9MDojo7FNuv986pFRwHGe1Sl947PhEzUjm8XH0amzZ2
jYSLeQRM1jt5UGa3VnVj33rsP9TYmlQnBtQTQTST9zZIkWKxDr94KMs67DmkXkj2U5vA3Ljwo+vF
1k8/4w3ty4yIZ7feuQ4FNmqVkpK8VhggTSpR1FwgosONGauqJjV4CDnw0aUaz+M7ybRxF+UlSnaC
WjasPRpB6RTYhVn/BbMk9ofskkchnvK7lvl4pn4PFFPHWgKWlGhV4UaSY2exiWmd0kpFSVoNfEDk
+KYOFQRswL9fXrP3Bu6DvWuyj0BfFO8Rs4EvLI20shgAxUZBwtCUit4ZdyOqIA0f0wZrUbZ+9HNa
M+zfpWjydzcKM2v0A54drlREKa4CyYFK1krkWXFFJMCiwO+wIDjRUpQVnv9kO7piQYPaSg2AFE0y
XgEExlYCWKcOcthcSH0rh1Lr8tPdWD+O+C9sHP2lFESWJGESTTV4wkwZmEALlvfcSlgzCAzEIxLm
oE39DyEnxvhHMCw7JGsdyxIcD7QliV3XWv4NR/dPWwu5NpgcOzVdL5jTULQkrL17xIhWsuXyal9T
YoN5goLMJ7/ZsWWqH57dvku5jrkKLvD2bu6BQyFcIhlYLC7YFFYKQO5q+4S6wRU7HMOT+CcbIqez
txNK9/T4ERFPF5Rg2BAr9tx6k+bQ828Ffsl/eiX/HOzIvrKoTtxb9krEvkb7SaL/9t7OZbEdvtwu
OARjYy0OxM72f0EqupPJiFi9i+wik4oHDbsm6VsNoxrxn7oJk3rdv7SrU8TQfRiNi+4CO5xJF7sx
ybx8y0HyS5l3NvFh2SqY+xK0bQ0pWqlXkoazMJC5rEZhVZRkhuoQBm+CWOkU97LFJAxHo/bFkkCv
+L0Ic/UbDle86Cvi/wT1RPtE6XzzGUBPELFhzQHAhFlMMssVU5jn7fwvSR/RNeSFcCTB79t7sCw5
57hoc6PXS33LfvKwk4TapUu+tevw3dvj3cW89tdf5VnBByT0RMVazOrLb2VSxLhngXATYxaRqspa
JfZeZfPQFEEWXkFWHaoB8OKgHPRzOLW8aqtQ3aJ7h9NuNPfO47FxyqvPMGtXuveUbONNzs/iSQzG
4wwK9WXPUcHy9zOF3qp9Aqfjvk4gjFKXaAcQEMRt+BL4MTKH2w9cxUpJZfAYqiXgHdMCA6NWD9H6
ypNHiVoc65qoE2cibom5gt0WS86no+VHe5OaA8wNp6pNqkgUCAS/JWVhJ6rq3WAiChhWOehJNXZR
4x/aooQ2nzx1Bn33ScH+BsI9CmsUyogMqvwHuGLGwUJmUIvQBhIB+ynf6a8e+knr4e9ZDVCnJ6RT
vUaleUr/5cXj1i4vzsPyTwWYZXjtGg9cRT6dC3J+b/QRz5ho4TuNq6n6i/Lu5uQg57WrxtUT0gvi
RBIckhhv2vcFTadaq8FkcO0QE1HRi7ZvxFCHsGhpTbryN+82QvR6JNT4ol+JgCjvcij6XknWDVEb
oUW0rA177J4cqDbyQqsObUyecehfYdwQfiGrSYlZf1uAOpTZaXwSD1axqZZ9WVh/JRofHbR1JJaj
vV7ebQZ3I0OKkocMtBXAKbQs/RJaPjrVo7OF5Mtn1f5EMZDntY6Pt+FxYUJ1v6X9OSAIOcMR8w8t
9DoQ7RIIcZG1LhBrBGun6tT6hQzyD5UdWqI4dZSOtjvJju3K7Wu53bqFhzEdtPVP99byscTMy+1t
aZG1/Ab5QDXcvBzUXc5X73mOzIp/KYXZK7q8otLVPVwDtF/ODdM6A7ijcZjHr1t4O3g52de8d6Ds
cgufaYB//Rn/zpO/NYN/+dMp163XwTY2Tusmwd0zO8cqz9wT8ZxziUEOPdM7jkpTel9nGxhTL6sK
wkJgCFBdRqX1UrL2qf2+2Ad2mbc9b9pIC6HGeYczw7L/sYy9qDcV5OrofCuDCkUU8Mnujo751rHO
3/bFsLe0mSP6StW0Vy8FG5ZVGuivo2oH8MKrUGADT3Gz+JnsRqfJX6mfL1tjY5z9qw4q/Twyu5X+
E078OE8OvtndUH/u11f1FT9rXOw7/r1IBPBnYyFHUpm2+gf/st5RzSWu3XnmxjriJ0TyR7h/so1M
gmzlmUlI82uMjn+t0WEM+o3y0V8F5afnIu9iTkqI9l7U/vbDFgvEeN/eEA6WKQbQUYsaLKWzfnVB
gfkynsOloiCK1EJm14nQ6RAavaL3vWec249asHv7aSPcnL076BAdOAc0fuzG3r5W3QPJJMJIGFE8
LXO1qXrZzts/3CbZIkJXJGw3qjN0Dtm1znNVBr6dWyfTfqBuUHFauVclHy1HjR1SjygqOo+UAkBp
aNz7x3dYzifPd5huOuYzOJzi+r63PQ0qp/hQtev1oJZ3GkiDgnNtO7VTYrCRH9vbeXBtePO8f7m5
SOQZF4cO7/0CCsq/DOLi3x09qX+1cFPqlIkwzlE9qKfW1j2EdH67pfDs5V4zyMj/zsMHAsBn7Nqu
7UZMhYcJvO8SZDit8Oa3xofOGUbCrWMOtkwpdOFJmmqDGxozRxaIO0tKK8p610ke50goy6r8zHP0
DmfXCKjtBaTdtFKqgn2kCAGCQrQnwk7q7r08Sf3q4IOQELADoeUuwmzATXFB3o3m2BvQBMwyQnvU
T5n44uad2+VQpjVltein4/ovQAGKU+3Ub45oBmD6o30zevW3QQ7Om8YX7rkDLfxhtUZGrxqXolp3
v9zG5+QzzZP61JiW2hANxp9+2iHFd+/xFX7Hlujm6RHj9I/kJw0Jc9u916jSfiT1I4qYVmV4hlK8
Ov7L3lYdaO5gvd5WDTSATaCCtrZVBv1hLg/eIHxnp4Zb632D2Dc6W49+mXQQ0hzF+J1zxlMFlvTV
Q5ibhHQffqj3X0NjhxSZg+l55920KzdNmjP7ppf3j/3SlOroZvFw0tRpQm7JV5vVFnKNaR+Gj2E1
ZjkcvxdZP188epdkM9g/4kPFhruY9djNCulfxMeacwq9zPbX7+anFn+mn/Vz1Brdxmb3lVpm+7Uo
oVuA74VdCuu956IVNDwjwPYSL4zDIHNQkoPDEWbxZoEI7D6CYvVfTaxAO8L59AKZBCG625XJWOfT
dh2zPEhbrJ/x/tT9VEb3dLB9uJmBDN0gbXZOxOs0y5eiPdWX8N3e9YDmsUJlMURrYG6DB6mMr0K+
rAe/rkfSy+HnY9lxKiIBKUYlw+gVimLg6ZjqidItH8Wi/0rkgMz/G/0Nit2AKFnBuSRGvgYteVuM
e72nrJ+3GM2pdH6w8yXe5BECrggPpMjLbskNsMKFNo0/pP3yL/ZncvSOnoQD9l7m49qCjzdTDqfD
SCIkeuIW1ksZWFbAMfLCgMGQ/BSHptbRK9+sZ7K/W42kuW4ADm/sN/nj3ipRskhYJYGdf5CuazLa
KWesGmuWLqNDhjrPbKkPZ86tGZpVr1p3qqYDiEExkuWaesHbvWGkQuUQOAfaDY1FZPI0GPw1UTyC
IgElZvJhmV2lZzuroSNq3yCVw4DdWxc0X192tWQfqCuvCNeDFqj+3SEAYzXFf6e8bi43G+vV8m+G
XWm0UzLn1eVp1yruE146nTD0vyb3ngnsW7FbdducMV+fiEJULTiMsCwbi+uCutgRMA2E+2VVyEag
RICplawjC29SQV8aO7N3CA3r2jshp3K17r0dELVhlUYpmtLQFc9O/dRho2LUkm2+Q2N6Xm7DS3xo
V2rWgUB9RihDNf6DzsTijSceyhF1BCzOvd2/MgnH5Ly1mosS0TL1v5plLsvJ62nVWNFeK3OdjvN3
scE+rRdZERZ/cMcz4jZn3nK4pg8ggWR/si6DT03X7KxTt1iHHyXWA/dKl1HqmmX7PrfZ6X5bvDN1
mMK8NIe/MwJvp+p3psS3nA9SqfHVflrJdfbM0Wfcva28bOW5y53YDq6RcbBvvDOSCxvEqO0XiQOl
VPqUuXsVa07XHegcsC6tTES0jEAJlQBZPF/2GbVawza450OT28f1vNi3q3MFBkWDlYpWt8wmkZSv
bdayVlwf7CbP/rWTdS9hiWIQfI/k0PuMD1NULGE8/hjtS+/DYtQ5Brug1t/7+aRUIVfao8jyjLMe
3L5/2Gx2j5PjpIricMk/BqWJydVyjMGDnG9VGu4mgGDu7eHtBo9la5Z190EGgZooEzzv36UHoQtM
qf3uz/8d51QEr51dBx3nsl2h9XZMDrY1GRFYER83dok5RI0UiWuIWWPG5alT6pncbYklEuv+1Mgp
AaRn15d9WW1IdrGUnTxoBq7Y14r9LFsfTBv8LDyEr3iHYLsRXLzo5tGt0nmxOB6BDkZIAUO4hLj8
s/cz90qXUFj7Lffm43vq1J4onFuAYOzCpOazXbJPztD6HA9h0OFzUfu5URzgTMvWGIZ1H3C+AzEE
EgiNcJBrJuWgMihPL4e4du09kjuzEeKG9USHCkn2TiWoAHiMGb/zWHAqqv33JJ0d1rs/ybQTeJ+R
48jXaBFD6DV/TkSRYA5gD4SBD0wNDTFrahuLuXmICa2O6F3OCMSIrtJxdcDvs7r9Ani+QAF5dXYD
hN+Z5Ce7eWTKwC7M+sfZR4r450kTk0De3VzQA8mEHdzeFj4pu7l1RAVna18gcKACWIG96O0Yev5x
75yy9n1Shj5uRM3cTQ232fDL9QHhzGl82fqbhof4DWda9QlnOp+nfYhPOcsiM7zVPhHip+MTER+b
cmR0715Gdzq0faoUKHfRLI8Dm19zsihN2KBLawZy/5B8Nla9+xm+V3Ad2nD8lgbDKSJpnj9t5l3W
e/TmIQhiUIX6m7FZBKURNdogj49taIjAJWjmlNzGxYOTshnOSXlf3P+3Q3y9YVbFt/G5+wxrMSLM
GKUcMJItJZXokcxXtSmEska/CqTOkFxucliJfmn9SKBTvRg/rxUr9Q0OBEqRi9sO/nCZ/QkpYrD1
kVa1bn6109BwU3fTO8Spf44Q2XTqY2IgeqMOAUWRAPev/nmCjQtQ06d3jNK4FWzDU3gYbEal4B6x
o4WQ0Ox0kiLW+Yy28cvbjjGHHxvWuZ1CrX12m9FpxPRHVIiOH6xpq90WgcAzqrVv3Wzwgcebs6aW
PAL3avfTg6bSKXmQz7sXKP69w8SArlmFYi8egRK+qs/eGbInujVvcllf/G10aLcCGKzRkc3Yhzsd
HLul3xqn+3fqExaO6h2Q4XqHmUBNjr5a2Ic3r+58ppyBm/mnuEL0gWUy0PI5NDrCiCkLUQ4Sf4HN
iVLag08m7uTekXR3uYPheYL6d5JBcAFsRYd91zFCvCKCUpi2L5BJS90dzXs5tU9sJOCVuEee8Ozc
Btng0c37H+bcAveJQ2T2W91PtPHzzmMx3zo1QOzfHVvd4BPCMe7XETdiQE3zyW6934PmP6JGfxNX
4BcfWyyPc2/eafIG6KMzdSo3NjZcRm79V+eKBl/NRxbRebe3MaqTg+oMvenBxSNe/bcHbsW6hkqy
YuoWiy+Nxj1aIHubcB40kDysR7fePspWMAB+Kh24np2HY4yrs9pAdpdpYLrPtjk0oG43fDFKKZoz
nBd7xEje8acNhZoue2Nw+Kn4rckJNZxlc1hnTWZ7KA1fCUTRwY6bsV3Jb4wEu/77ogWiSVv0k04X
Gqbj2rS0qLtsFsPGFEouPdaIpECYBbD4jF9wJ9rsvMATUNAedH1XkZxFJbXy7/mXs9v+sJttWMnu
1nxh9M3uvMsuf49K41OcvmxyWkRKueUtTjMHrDG8U6cWt8b1MWq0AT0XEW2g1GCgrXvlIQlNfBjk
Xs0z7Gqn2pYeHfbI0YuOlOcQQVqPfDGsdctt06szEFohE4uaotHLI1RIwu3gEB+jU2cem91dr5la
jykMkn45Ps44s/fkOKgkBhZafIObXEyVJzy1oUwGoqibkDrZWia0rVJnQEkMAYv2Jr4kNFXRow/k
coKYZK7Q80AeHvC+D1kY8gWd4nASoL9iXkC8RnQ4eS75bEj3P43BjqJE+ceka4jWlPNAt5zBOlP9
kkOSt5128TifED9clmzW/5qD5sDslaBy1kY7urvqjM+5V/c/0D1eaHYfIoLL9o5Fk8bWHuOfPoYj
Rksl5L6IJjG8a8utvYYMcvMX5MCt0B5XG5j0VkAN9k60u1HV9BpuzsbILTQHxx9s9yCl13tpsA3e
BRdFPbd7KjrU7cHVaB0AZGR1ThG+IiEERMWAetIISvSuUg5rOHX3A7GlBv3D5CvtfXb97JrwOUiZ
6EclxqCOMjvTVwDMBaC1MR2ZjDwkwXv9g9BFjHVc3p52wz1gYHZgfXq3ryB2lTbLEUw3c5C7eMTH
z7DUro9Ko/yH/hXcaz7Ru39aHmG6ZuNGfMXkgirf3rmuiZUotBldGgzcVpc4Kl9fRkxAvIpbqX29
Oyzh6fQwrS7Sf9mIyuLGus/4YrQ5qRMFtyRdlvuNzi0sj05/7545Lvdv2CX4RlfxUnPQwnYCy4qR
4iays8/yYOLRhiCbVaWfEzZBuwUn+rqgI4ZQ8T04IJNKkoL8OAsPxd7ek5JCZh9hnaTBpcRRh1Uq
ighisd46t7cDYf7azmmJAhhIndsd3ijJAtFUvYmczthExYjtCaiUhddPu09nA4BGGMEVnV5P9pE6
FV33d1ymUOErQA+2Mw5SjWEVAKegwmWfQp4h3LnY9fiEdvP4gpAmd2uWjU5w4R/952I+aI6MS9v4
R86oyuOe4hF281jwEBxTRycF4zAMK/93Y6kdHhYt+8nWxO5MRJY6j4q7IyAnXC3TkhJUPk6dKUhe
dLNyMq8RtmWq8EXMj1svNQjQ8viWZJSak3pCIayZUPbs8YJmBEAxu8/2Q6xoR8/CLBgyqr9JmtP3
YNOlZAS/mc/6JJRamed8TnX6/scVrNAecA7utFqYXinEZtQ505LmnrrbbqP3CSvwpQmxiZ13oFQw
WmYKwLrPPi/9hDccAS49MzD8Rm/eeYRZxHjrVL23t4tpn+g+4w1+SnPvEZ39epTBZdoFOUbtu8mJ
AYFUAn42WKPRXhDJ/Q+aUEAeY9dGV6fcedD8saXi7tb9/PdGyFDyrzXnvWk3pi8mq2ndYWMg6wH3
StU+1owH6R1LQN1/d7bd2op147reb5Jta0ZIdgXyorTxCzN0tvsjEgMwj/LZefaeZau6Yb8QBSfF
pkfzbr2ZkfVuibY+6AP4VcBfb9Hq6IOSPi5OA6UUqG3gIbhbUqQNLlr5jd/LL1hDSQFoXve3JNmA
fr3b5MCivl8SjntE6sZv2r8PuDJ/57dUCz/BffJaviKTGcCYIZ4kU0qO2Dvt/DKavygxNNnnK93t
4v7v3d9PxDjnbrDjMAqPa5Ot8jq9RZsBVdE+3jqkBAxddxv0JDIyVM/reIn2RRTRMjAQFgB9nl4A
inV0ln+dCGdLcfQqbRy0xj8th1LdasCz1IYg8TWUFERRoP8ARcSVgAfc2pdL9caMqbNQaREVXkoY
Y2qJxXNn0qVVczjoEDxKyJ5jaKMqIZwtJ/6heYdmB2mVovQpcUGYKOh2MP49FRrpU+a/b9vxYKBP
l2QGpyOCps4I5jMFVAk6DFY0p/9wNmdUgGhDVq+BJLGOiIEMBqMJBSr0VNUh/8czC50RXilqsiqU
hT4QnfVIqCDFxrsgKqFaqyifOii2Lr7qM8EBeMhMVQJCqAxwEPwp+LDSVW3ZQ3F9+EXQi3mjWcy7
UCzTq14cT3RzJD585KO4aoTpaIvALu0tsfr8BxEHcwiKwHws1SYatWn9GBf0a2qh0Ih0UVo6ayrH
S54Y/CBlnHNjubACeRASD9YcBa+fxZA0RclAAxUeElc46DR6U7czVR/6mtZzATMU3QprCWx0KMnx
C4i5Du+rAtr3Ei9B0ygtyAy3aBbnk78Va9rEQz69uOT6vSq0IpN9H99rNRyuf4fr4qYu1/3+t39s
jDJDXx3l6Doig0RhttBEvsfq935hVagiJn37XVjW6NzVcKbjUnfwQZSsfWcx4i6OprAeESSm3qeC
4pry6rQ7CkfEQ4Oy1W35Oj1xtXHkC98Wavh+XwRrJHgMv7Ozkz78Ytpf1WdeZU2jtPgfM3NeNHJo
MIpxYkQq0H0fdThX8gyX7I1EuCQGISbjl58kghGjkXEtJv34qwqw1M2cLeOZzNHlgQZ3VmwgEoLh
TGWbEzIIEjMkACDVgZYbr9qjkHro3BpJ/ndVzLO91Q6FqFEmba8absn7/1BnsDMstjbemMxSAXr/
GBV6zArXEzqEIHNi4DSR4IMEhQcIia4oxfNM3TLR7CB7qJZdsbjVEML8JjecX+rBmzOKvqqlY45X
NDj+LL+jkZPjn8x1DS+eqcVD6wAtSrx/xKjDwz3SjOQWo69B2z5iR5oL6//fVpWe+7h35w4wA+NP
I4DmWMgLouwOJUni/76oxd8d4Dp+BASE8oLeRE/VUBM7gnNQSR9Skt2HSfp25hraKkRT6OYKPIsH
GGUIf5/ffOxOUmhZ+qKmirOLOICOy3ch98s1U4NnsVgg8jIacck4nZ+vDiRBDH2VWRtvQl+awka3
5daCF4hDcIkIXflLWQVQHZataFJFMyHJkKhNIp7KuPyMsl4+gefrkilB4yc8gVZTkYo6rZeqFGcm
q3BGpgGlZh9KzfECAb1go0YVwDTR5qR+pyKulHikYry1m7RlyoKKiKQrChM8UlLGL7lUtLYvwW15
5V6JiYYhkW4wtMklxEUWMTArCBKoohQro24rMxRBlOGQJYwnwBYlTAKuEZmCt9E7c481rFFbWkKb
YtlC5YeVbDZmOLGUahDxz5eH3tI4QCBTZBfAOkY8prexFEmLJoKlPk2EPbWV6F2XyyUNaOO1j5oD
8xUDQ4uVitmupWH6dLpJJ2EaSxVEja38+OKWZhLeSIywEkI/4FWdxF2EnS4yHGvEYLjtkJG73NRw
NMEIb85wwCXTCaFVLN4OGHXFbXgyce3a7vTlvlyaPBZlhzED/AbX42W3YlJq16rizh48wkc4p+G2
5nyGNYL7q6evNQc9uIZzSCrDnX9pX6IPgV/QWDVWFbIXRgfKYJFIcXDn3NaQmJtx4hOySnzx6J92
cC3E5t32ABRzVFq39IJ9kt0MljIi3AeGAQwqj+yTgVEFFEA0WH3VjBEyj0oi/cNKGwkHGFWqRyHx
CVp+HpwZQS/syqAMlBIs8xg4SBWsJXmgBY3Aka7WMj5g35ZQle53ESQ3eFfiXkm6QAV9g1q8iE85
VWmUPonbdm2sUcfznzNFnDFpHvjZ9DT9UgFEroOQy+2UPdRXmx/uP3xI8HHIRDH7+8Ckea9dPVrX
9h/fDiKNEWkxBaiiDImZG1BZ+k+ynj6rdZbs/dpUTnNMu2ltqn/pq+bdLZLqJMHeJdlNdhNIIEO5
nNRYv/i20SdG2k0uyaPNj/bkhtS4TCKrrbefqKcG2Wr+1Sh41LyRC87ZmBLFC3715sENE49gP+Ff
TRrACyp5xrwWrrIGGyTVPPEEAtxi0psSCfb9OT0VvHpYoxkz2a9JHPgcVgAkL/lOA+C/XcfsN568
G/l2u9FHti1pDbeKAUsoSpW6JBAcUlefw0H3OThixJSf7SctshRyIZMVB2VDlDtfLIzBGHkahHuT
To3Ank1y+9OKmSVa6uQfpV2T/9ZcI2og7dtyP+EitY9FF4Ak/fVmUpmWWAprwJAgYl1Y2DNc5/RP
A0MWVP3j+rgGvRbT5oUkcrEhEMqpdUSE+m9UeCbC4TdusTO56zUsH4VwRztABAcpF4sP3IK8yxOe
i8tZ6iLo0OZ8HZbExFb0SAtOsf3Arj6jc35mHyD2ROCIf9EuoQ/7BmqMHrolCqcIjoL/0xzOynSe
KVQVc+WIdqh2q5PHMiXCtsS5yWr4H5wgknem1zeOkRzZsdsjgiNoyVwJ+BE9WUFvtuRbhVrBeMxK
TbqIOCOvESSwRJftDHGMN0S9EKL9GPF3xQ4ssmLRaptMPQhV4xl0Pv0pIrRixV32gjl9z9e/R21n
HXGDG+2cLN55eEogxeRIkAl8MbP/R9R5bSmONUv4ibQWSIDErSze+xsWpjDCWwFPf76Qes4/dFX3
VGFk9k4TGRl5aGcVuNx43z43v0/3LBx5G0p/PP4rozycPVSYe1QS6omGv1Gd8OsC1EZXT196HOA9
7MM9L9ML9MSEVujYswfbZ1qLjCmtZ8GFmpaVVHw0uYMtvHn7Dk3U4owfQZ2Mir7MaEtHH2gXlezg
EqznKBGJ5n6klyHxNJjnPAFoZgAIPX8Ip5/qz5jP0WgNE1z2xvRYffFLEgwjzHf2YwMoxkZfvciX
+p1Vv1SwYw2MsDgoBaXgMP6S86+dtJy5o5x55YnzxadDo1Xaa6385ek3kSJGS0zvXKbqiWdXjKUY
iUf/6fUf/dgdIlFCEJAPYNWZCDT1PUWcm+7kHVaoWLokGkQ1NiFbc9Ickb3xsw31h7RxUparrU5t
AmP5OPH19SCMS2dAEy7TU+WOVOJlsge+UcJeigNLFMehcnJ59VbIy4q9LulRSpqeerOYxQr+vO9J
0lidWnowyYfOK3oJ+FvUfLgRIcPDzohflMG0XoG1EmuTGL6WHQsgqg1j6LCQMpnm6OwXn/CKpOS1
kQJdwDAoNLSRmKRZDKLBh7PWICGrDVvmHd4C1Z5zTA1SBVlS+eqG11yqkUrWWj1nr7sZtob9LuVE
X9eV6JMgvL9zvY2k/HbuotXvXz2uqK77Zi1F8y5cGs6ahG/d3fSJ9hutoJa4amJFE07RZbeyGZG2
8gMpgCuonJH5kLFWJGqKnvJMYfhyyV/L2eDM+BxUxcgklVpCi9JFU8+DVqvV/tagojAL+s5yy0X3
8MiK/PWN8Eg8wGAqgKYecxvGLM6xgw4A/aiV/FTfT0v8VRzFEU18rCMq6VmNXjE5t5TroUfi1e9+
l1UjoTstV75TZ3N4gqOF7Z2t1pyq6O+0oGUuOPl3b4v6Vd6DihZ8/at7q55778V2WgihNq0dWg6q
W89iUTLfjLFV+j53jZp+op+xf3hseZPsIelHs5KTlaArb7jQDBfqOe7d846ULPglM1/1skuoF7LW
+eQ5/8LW9BUj50K+LRamP3xGNV7nOqEUZqnSsDX06Z/o6Z3JK54RESyPob4tFvkg50/LtZw//Bc2
lSPxXKe1xXB4rOlw9PQsniLE5Vd33kxHgkg2KwSptiE1HD2J1rSUN5CyGdhhO51CiUhsOgTS5qCk
NstbvUdff0pEd/B5PduVfcx+3mhPYyqvnlm58ur/coC1ep0nI0RfSMSPDdAHSkqKOLJHPJDEArqS
GqAyslB87m4q3W7ZX49YobxEXODJSGwKjZPU2ocfKlN0C0aVPhpmihRFwb1UxcHdAD5gbwAziYKo
UNZshu7po1jBaH1CMJp0+31i0bzH2SW+dMv458uftjgRNgfylU0whI/PH9Y86n4AHeycfh8tzxaD
Lkd6fw0zYqANshJpcj6bWaH6heCBBb+GSVtZSmpFhi3LWTN+JHoC6jwDVcIf0SQMxC7nlyk9KH14
9qVkIOq3eCQZc136OVdGsr1pqyp0C90imPhpZPT1HUsyKVJu3DNbjc7ze6Xw6BnMYCydNodR7lzf
Ap0TW1w6V8Cy2GwUt0GJucdGWN72Luf6aRObDMwFFy/05p82lIDL0R9ZSFiIP0Aw2n5DNIKcQoFQ
5Tuz5TD6y/ZxTh2joSEHxWraPN6UFRKjRh4tcbfsQ6PDElh+Jf1/97isiF1f8DGON/p0IONwB3dV
7dMukv3dNZK0uD+/vma26LrLnmDKQqW7jjFsOAwDkRD+Xndtv9vdrPn/PrdDZJmrh4pi7NW7Gy+n
j1LiHYNJ1Mgx+nja7g+XQvN4jXvrVbQXhsPacMhK/wULbfVF7IJSHbCa/ZNPjoIZbU3NsC+92gkK
2N0KyjD9tZSwLXdNZROzssbwFquPylpJ7hGryhbenCMt+PWLlLergGAbrst0AOP+GST0ACShbMTF
Yq4QQ4d4RdegL3mTcpCCUiuh/r6ew5aT7cNxof69Lvu8FUu1JpAFTfsKbO+jRw8/x6SlOKxwwhz/
wSdn/mBcWuegxum0BLtt0PfzSMX7fcC39OBR9USyg90o36gNgleUZ66P1jCQXmyoNbtMwONXTpKF
zW5kcJfQi/WorpUOkCbH9G8zGqFRN+o3YPnxDrfZMsL31KG8QptBg8Iupey6CGZ1q7qLUOjBSvN+
NErDXuHPZQkxsFfsEGRUSwAYVcDPR73A4SE79Ki/6mWqzHxH7AyxkXh4pBF4C/3JILr642JXrkPN
X5LF2VHJvnu39p3ASqYWNWyECLkOw36NjSuW1gniYaF+rr2bEsseMoEQuwcnYWa6Vwyb7C30O9YK
/IZQ1lb2ECNRclfjDsAIjYrRtAavHzkDnnXFJss0NshsN1zDTa0vI63u7u6mga5Rq7Ygauljiiy3
y0XMIdW9Adddr9PYh+CPpWhUFcfIakoqUyQuCjmy/ydfjkMnosPhoGgsz6Vft86zlQOqV7sFtpra
G6gi/QWtBgAL8pYvJJQ7KE9hsWs16SeciaaGOKMW8UCLwApd+A3lS3mPyqaPmd2sGw0WTJ+DY3gC
k02a9XWFlzbG00aLcGzD5hTiOBKAMJl0WWst/uv3i2h7KQwlJtNsBcCKfUBYTYAwmzHjZZYplPYG
AxpMyTuF0E1eUjWFNRRwWeqAv4xWWcvo0khRY+nm3OHdS/0aH6Kfsw151QRi3abLmiQCYYiIaHao
EyseAS4hcZgt1TUI9IstqECS5P5uRpNXgIHetxRwPX2MdBqyAKGA4RAwDlLEQ9L9MKrCJe9E9yKg
K+Gq0OkMrnlW9XcZGAZURYibHggATNiZaWjJrWfiMF25OjZhisJZUnCmQPCn1yj3yCZF6BOywFRP
1kcsORrSFPUFp4LBoDszZKAJoqi2swEV1+S6RuXq52ZSS7r75co9jdilj6QJSIcLm6yAVc53nMDs
OYTsMkyvSoG0tXVEXYlpNEyuwTWT0rA9IN4Fwz6dK8AyH4DpqXrtxwR/CkbQDGQf6Lr/C9BrtcUn
KEc8m6ic+7NIW16mdLF0erGfLo800swW8c4F+ukD3mHBuzWWXY3uGG2DVMNWenrc8APCpzI+cvk4
fazLRrdYF4YyB+DliOxF97oJhkHq2Db0S+VAqclKA35p9gqE5e7zZ/DwSOfAugaiiM4ID1iu3PwZ
TlziTkT+o9E6j7ORddNS1mJgLfMOdsiqULCvz4e1mtKP05cwrsvNV0clhBvwgtMradDRwxgL1B0u
tGH6KPXuuaDYcviqKZe00JO2FMePnxK3FGFgdZ1N1uxxvWSj6By7krboo5TaWFXBLPhDVw/I+pmO
/psPcY6Wfe1daqLcEz2mxIaKP+88CLgghru0OGLykRxKnRe3LLiEl/AZPaO4Ztaf4D91GINtIjv4
0Hrs4Y8WHPdUqCQAeDRCQF+kFOrKwW4OYRwcecRBoZL/K1QKlZNP6ZvVwiHzFsqERfS5+HwOP0UM
z7s3D/6pLZNLNM3yKRMczzlMi5CYA4WITZzdvjdl3vhqntEx2BMfwF0db/0XhjgimofAk1QYuRUx
twV+tnTA5ixjx9Pkt2uDnFei2+YXWRRlYE4kXEulJhBRkAgx/QrTraAndIvHim9TAYX/FJ727HAJ
Umqsww25AGSKaOPXsBMEK+ii1QO2YwqnCMvAvb6ZQKs8Ts0j6o6jr0RcER7qBcrahjAb9AaB+9Lv
Qu82XXfqvNMg3LhhVKCeKG9PWFDZMPcfnWmIuqDQrdbXPL30kEYGkuzMjZKF4j21+3x8naGa0RHh
Y7XCKydlN5jcaSpzrDETWuN1iICd4TP89i5w2iVeL6OjFkHp/u5ohNJkhAFsEyaF222Y1KxqugK7
OR4odcFEAxDI/ZtFe7AhhSn9MiDBMyG4bjT0cFqZA9bAq5g7/2nGwbMZd+98PZtmJVtp9+jZPLRN
vFbbrD8UeeXq5+FxWCKeGBvTZIy+ZbTt78NcPVeP4c3CIEOP8FU/No3qHlazuPpgKjyjzAZ7QQTR
zL8feiNqLdL5IF6G2pbMo6oOioqVc8+7GnWyRFVBcPshBeTV268WJPoGewK0dSUExes9VHWRvcg6
yjVpUInpm9xCV1NRKdCFt9n63YnAISbiYFKwzjPg+sxAnKuTL1NqMp/D4Bu1xtMYv6B5VesQK08V
SGicQS1FukEHT6UTVSPUli92ixbtMq0CSG4dOy8XlB1X1twu6QKJL/yTymWUgeAyJRDKCeQ9MkMV
w4QzKncQmhzRAwHxen31jQoELzQMvix49HApNggGFrafalfrbXkIBqNQikqK2sb5hlojRRzJk3RA
9qPVyTtQmCt07GAf7SPRgqTesa0xAzLtNLaXkjtgYgWyLQ9a+iR0VoCJo7V97GQbRT0ZKuIJHpfg
ilrV1Lyrtv19XamR7uK/LwkfSYkQEI/+PN4TwY/uZXih88OqSyuWbjWekacFWK3Vudq5ISgBqVCA
rx3/r/uYQQ2CneIGOg/RbWPC84vxkMoq5picLaR/ucAv+TMq7GUc6J2NVUJgRzCd+PTniLQllfCe
qGtWNUPoSvga3Z0cejr6G9oY4gHSosjAE0KLrJNfugT20QOEy1te+ei9p9xk4iLuPPo2Jy4FUQeK
04hdS+1g6dS0IGUM0jENsAdoScMlEZpoRlUGu2pKGQsxwziXvJqbqabl7EZmNTmBX+3JrK7CH/E9
DIFRukpxjartwobn5qal1xV3HKUWp8E/aOWkBCcraQv7FQDNzeb5wrIBeSk47eGm5VG+0OFqM6qk
oMuRbQgl1kBhodHftyT2KjOkzZbN4h5Qq9Va03sx9oVNvGszSnapGq8mdrAs0k2tNJiTSTfud6Tu
vNLGpFk6FXuDSa0arswBbuC0+IV5tJf02LbOjVL3gf1TlJTBAaUAUiopxge4HhdC6BMeh9vwRbfY
qzInrdJD0pIp0AkupKGnqH8QHWoiIOq+3OycJxGAD4ovMjaEmCluoDyIZQSrb6ckUykkgBr/BvUg
51OcpghFF4GGcOy09CgwJMs0NEl7WB5U/rRi/otlJkDUPRr30gojFTyYjMiYUFRMt6h0yYW1C+TX
7qQkwYN7BCQvQofuOYE2RUCibyvELKUhD/cdIX9CYWALctR1lzhfIFKaGkPDULaqRO+loIi4RCGV
VqHMUBn3ISmObHkTnOpW5t32BDSSsIk1Rcikp+sc2cdIkZYQx9ILWJGqiC+XHHxlMKrUZcIYt5f+
HKCwTOUJaFXKItnqYS4Nn5bV8LWutKG0uv73EzohPVSas+q+Q32csVA8uNhcc3IbywPxWuR8wlhC
o+mjoX9YHqXkpA2uZ5H+kfEDICndFZKij0eEJdTxCqjhZEYkIWrH0dVIz4x9NsiidLMmgCodmaOg
UQ1CR68CCkTURzb8QutPm1uDcwR70kRfRjCCjhKsg1RIdDLXjpG+g7aLkgOYswpLJUSTLRaoXcSd
krIlyyAJkY+QkNq+fuvlSUsEDUnb3K6w3yUIsmRumN6tOdHqIit58Gor1LUjEKbYS8WECgkUD9U8
9GO6X9r4uGBOL5ymEWiIcgHW17H62uRq86YKBPDP9RwOCuylzj+QB8bF6u/zxeWPdgmCZpWESa26
GgdWUbebg4yyJ5Hch+A9SjNSIyv0R/C8GqnqGxALwl7Fh9wMIuW+PJyOSwsv8biOwq9J6L0v5RJh
RzDzeeULTOhItKj+UMWL+pnWLmM4eUA651/9DUnzeM/zkGGweMd6F6BK9ZYX02Oz91R6nVVc9D1X
yQoHWPswQxNeKSzDmBtyOrIQUQ6yVaaVpndjYsNozVun656igVYyUo3p9dZeZcWoPJ+VwFTnWi7B
GrUptaUy46ZcRXmIEt8muQyZsAxWUdoNyjm1sX4hVXltLK2FGTmPBksRxB01tAetn+iWRhGq79Fp
5MF00dQs7jVsn7RQl1b9RDnjj4yDeGZL7L88QPbQZNUoGv+8cZROb+BZg3b6Du2Z6GhaieRnrC7C
Hh27DLh4kIqh0mDov60hN6iAVSBlZtIkZCFxpUe6gyUWp5i9zJH8kJyhrMlU0+zL6GWa5dIq14gY
IiPkrtHPICAXswdP0NT3PJ+gLauACH2K9PN1ULKXOnkFLSkJTvpPHKJqhv+uHnaXjamVfqN7gTkw
3eyCi3+nu7sGhNOiMli8/bPbGGplCQATzJGmojqpMpdH4VxWYG2D3EL7SG+2HKM+WjZaJ5i5ufRU
GfmlKcFQTOTzVK6lkCochLuYvUClzHTaI6adc4deMEBAC4OpU2zL1+pKgqCgn+sXJzd8nkZTaUCV
sGydl2A5pcy/EJBOZ0h3miIdnR9kVXa7omdR8R7wRrIIWKizLp6Olr9lr7HL6l3P4uAS+RpNuIKZ
PwgIzpsFtCypybXJIpoPClDKikDwcRvd9UbwopLeLyh4NiUHa1oXvLALhBYCmTM8EMIGgDCbucLe
pksj3HT3YR8eI9cfeDMBf9psFMDKP5EtppURBWipo+Iu6WYdvV06TFfFVVkb2RelRtQ2q6mVCjSl
iwbintav7t9Xk4tI+Ed8wlp3OcvSNYgmw9gEVvBm/W17TyJKD7wsjyxOajP45TWiMILlUnZNlaQm
vAlD4HhGCJKH0YqBuwGkQcxYMUvunK4m/Y++Ee6iXYRR4Um0XAbrXbTWJcIkUBNbqk6pzUiuypLI
u+izye3LevD/zKsc38XIEkWgB74CwVNUyGwNMl1EHIIVwTtcBpad6FiE2CxEJq5pMjNMPbBJYQSt
O3waJmLySYoY/qNtae196vqO65CrYzlgWQi49UGKKfReLNv08GSPsGJCvWYwTlExGUdndzodMz1G
T9Cr9GRNuVM8lx0LIrN8nn6nodOyjdQDwQIzJmcPHRyYEbweyYA6ux4JwJjx8tAg/ujRvcAwQOsI
qoBE/3oSiNXrCHik9CyeB3kBB83Bs4Bhb77DxOPy6hJq/3FA7D5tOiMlYZpVO/j1yO/RN/lAVuMj
0jGrOmTJJystY2QCgnkWVDDaKtDWUqeAQfqmJA6uSZodpaemE2TKNMSGpfaQxJ+Zl0CfEM0jnS97
ThLAIE3/fAh/Cxylo4G6sFYsDab9GD28/3xe5veuKWWA/eE71NHVaqwtzLI6ACPpUeplKImc2mtM
VYyCQtNYPypaaZASOX3F5wpr5FUU5xqDzKvKE7O7VCkBuUthJDha4xbkTOmGntlgkAQiuAYVq0pF
Q5X+FHsBg2mpMCEoS8VUi+jlm448YZY83iD7Aq9oKGTbEeohywisStOJWHJ0PRDdI6eCXdZlkjWX
+IkumkJKhpKDomTpnlWXI0stZaBRrQYzwOmIolmL78F2dhnGDndVJBvRePTr/2cRFblUdehEHaMH
hUW0rqbi5Cc5reiMym1Y/1qrWqnpmpfj+qXOpZS6HGXW6iTRQJc5HKnTQk4401fWmdl1Ef2kSyY5
avWg4a8XSAMyCo8BdvwfMiTU9JOUGfAmoVAklaRV6TRhSAMN4VuaG45EPEChoMIdBXBlr+pr0XBJ
+qew7apTIiZNtEuMAYQ+qW/SuEgRVqiMRl/AJNzp1JGB6h7CLxEYlpHYRvZLX4qTVGyak7MoXsIF
eoyBwB1agxvtbbppJU4NuUzS9xsSYOxCNpy2hdJ8WEU8oCgxMPhd13TkbEdrNJu8eMafctgocPoD
MTKRoqN3UlS5fe1dLwdquSmwjZTCaFumq4JM1wyunSKKmtouCkazB1CrZ/au/qdN5w8XUrnYsUM+
thHRIgHyU0QhvUbFzt/ai0e+eqrnZsrgL/RoCXsT9pGBgz8AP+VcWqYKY9iyY0bE01OpdYksJ2Yg
3mEKM8nOLWym11DLEOZfGqh8KvPq/u+dXgZdiv8sgiiyJUrGCdJTL8RRJV+pypDYsvqSWvWtqpF2
eoABhm/vysWwvXvKmHyFMZwwdVHN2z+pUa2OpC3Zc8fjFaJYVcAXVES5hnQhV+np+qPzj8cHEqsU
RR+o7knLDT1RLnU+DwD6qw+W8nwZvk5oeiO1QvqzSYsd00qMk0t/A+L68OQ+WFfNdnpgX2k64nbv
uIW0tkKwfPjlaEcD24delE9UqpQq5yABhf5wfmhZEWVmD3Zf1aSVulT93+DqC0KBv1QuUJOqHs0L
GUjNWkobOztYmmoQlvvgExLIkTC1NMeKSSeVW1eTPWwJNN1Quk+arw8jGi90XpbZeYR1Nw/N4Uxq
/csyuaQJvBAd1UrFYHoC1pqUeDIU6E1EUwxBvwQpCVh6ovyqGrzsD4+QdE1u6cC1EcZ0Ge6J01jx
Ox/dxHRCtXxZik+wI2TWNACrDPYrLSjYZeo/TzgNcTRTkTy7XqwX6CbWCCpa+qkKbmjtvb7V4Etr
Ev3UpcV9+l7vcWfrHGq5m916N1VIrVHQj9aldx9cB3e1lSMfw3caVl8I71KAJ+dH+YhSNREC+sM0
0W6OsD1BFCn+ofiPD5u7p5K7BW/ce4jgn9M/Vyo5c5dfFTbmhle9d8Fn56NaNM81t4dqQl8kiDEO
k+vQu9BVqL5C/kc/Tf8AtkBMepL8gUkcXURxrHaBXrwSbYxwBQdz3Jj8wh19FdQIdgyDNN0zpQhk
F6AnZA+wcGJDMk3haHoIkHw+pnZp9KWVn91TcudomUzek+dkP9oufpPi6r7zD4vPyzugCHvz3uk/
bhDyHC/7/ra8HHlX2f2lf+Zxxci7JiI5X7ecd9+r9+q0ea8Ortl9Fd0t2ilqXs5zx7+uRZz+0j9o
Qp//PaCs0vvFVBc60Kd5Hpflbem0ip0yQeuchtGkblSR4qjvaln5RNWPOzVZPbZeKTT9QjhP+TT5
lBJE71mkem1xZLqqpNy7qpPYhPmhFdAdzENEQDpyySsNX9DUeTiPZbEhCZy9cvWxlMslCVVo8HU1
wF4hLNA4FRrDh4jAz1QtphhKGNDVDZAngBgg3tbRIwWA00vBCWBjBB1KabvygZnSmZOrOsAWAR0S
/n/WQjaD3mu0ecXVU31O7k9Zl1AFQc7IfbcEnmi9/uOeT4i5BJnpnXVXl8RiCoBznibsJcinZqAS
zmxWr18qIEez5c5rX0PyWqFqyhpB9XxcHH3KrI4nqMmm1rIC6P+wllK0SnG2MholHh+CqGy0udRW
BTRO6t2RPlvYE1GrHiDr2L0BCqCoQEqOTQOBtOkzWj7gLDnQDm02uQXBmYpelMQKiCJIIVdCXJAT
pv9zoIN0IlIswit9ThbiCwkukYvhwBaohdaE+uhc9QzVHtQ/nqVw2bE5KHqlJQvhWhxQmh2rTEPf
CgjLGfCFHlg8m5I8LqRAn0yhVG5PN4fOdNqGEaQGoVCSvUwJwkTFguF0F20ukArBQDc3XQTBD2I5
Zd5AzxGQrdLSf3QiJXynVjibYViBGMieZWgPdRBItZvohbQSICeb5R0KnUAVCKV6WPyot9qrVOD4
nVWZxo9o2iCi/0VwnhtRtQcucYJ4TN6R9gyIffAOmI5OD24+mlfSqBqFdjWsaZhCBn4KAM6AgzyH
SXQGSoeGPutId0Gw+mApkjAhCya94E0ScKd7xPmi2F/VslwqMdf4R0GoFnrFCudAKEakwDTs67pn
QatuvqLQ2IeCTXVmBSAufnbKcWPtyRmreliMnkGh/cHJk/GkgfMzuPJ4hfeAivl4qhhT6rvg6DDH
xirZqkuBpv47SvEJzTBiHYkn8mOcRK791lCJNnrtngB4aS4KaqcFQfoSqcaEdHoZnbPvqitlX7uj
lD8rUmtJ/ujTTyXBX+QpmsfIuEQmgcmlWb6qTzRDyZFwWk+2glXR4lB0qiYprXNlJopK0R1lObwI
vbS6wNa1UVVA/9cWR7pJajUj9ISYMQPCYu2zdcnfaELJ3pK8BNSYxEtbWNDMqxtL2rU4ho6dd9y4
f6qVMLwsgca3dacguLpCLPh5MbZxUHx5xurSYtQNZZejxPo2OKkv2QguruGM4smplhu+kE5DP5b2
878iYXw/7h+62661dc3Ot1OcPbfubjkfQK1vmQ00ZIISejurIkngHhZ7hE6vOTK3XnFJk+oDmgQ2
hKEOjmthfEfmxonujSK79uQj0Ld5bZhZ0zk83M/KmaHXtUbVgAzotvw9armrJycIEWfAvKshSipB
rpV07/grvCTOtjy5IFC4uY0OLTwnE2zkuP/sZV4nevgxMKeCwIf162wZK+ZEDtPTcFFEiONkCXfc
oZ37z4CdnVCx8HEENiN2D96ZmjqQ6a5i0iaMZ6HjF80E+jGazvCCAnF5whCn/m6NsglDcUoolm1b
+XbCUsONfndeLvGPg7hznyLdufXs5ankORYKn8/lo5v8Ee0Qhj1AyWFTfrhKxylKQBSACFfhfThu
gjVb5htU+Q7MmM8xbPndN5k9Ax2Buzl5DmzO/7qyB0hHJe435z4eyA/5eZTt6OTBx6DRRIgAa9Cz
UNmz3HPi/VC2MtzrKvdFj+TxcO9IOpcQXrZXyciabBfbkUVLzG3ENCsLCvutGu+GCWxo0ruQ/vsi
DMVTb4vY0bu7x8y+QtLcLlubfuwyisK3qECrB+oDkKGetGj4H7rk9Rq1kbyXKAvRFFxwtwxThf3A
lPClga4MMPLgg/LFnUFYkK6bn7YzpHxX/IbOnVv7XZiLZ5uLoHlWW/qkuANr4xV+lg5EdW5NQk+0
e/jLkea0nmN26N+tlh8/D15ueFuU+4UmI/dQ9gu2jKVAMPfg7h/enUB8XOgeGzbid+U2ighzN+kd
4fFOcsPdSrj/dXoMETQwJmLy7xrg9yyqHjLjXZLEDcGO040HTPNp0UjdOnccOORH9PYoY0I7sPDy
o4OuZ7Xc2EWnb0AQRZRo119ILDGVD/kDtFr+Ht1XC2W1FxEW3cNFly1LXJRfvxggA78ZGhBezAnj
g2fF3iOGZeSZf/MRv8gjNQ6SwlKAET00hwixPb4AG0XEWDsFNF7gqVnNJ3d7gr4AqhPINz6Cg1kj
luW556vmlubR+/gi2u2dCEmZjWB5fPp1tW0xDienBvwtx0OhASswvaMzQAR6RxD6cHJ33GhCXEYG
vLzvhotKDHfYHBaW5RU21OJ58oKdySteCzr2xoVA1oXyvu0djyHPQhLnugteju9QdBqx8WOO8uft
sM9gfcWAJm4Uwwx4vH92H0Wv5q15Hzhwiq6TO9g/eStk8vQ96B8vzIPDKbD3QQIVzsLGuaiobfG4
0GiY1/72HjfmrP2QO6ibj/A9yN25PWhZ9q0+8oldwupnddf5IjuKnDqyQJhN0mMsGc569Jq9O6iU
T56waRhBsIO/7pVgmFVKwRXqorMsjKV5g3mARDvOx75FbxL9GPTAk/GTSxx9zhp5tgKmgV17H/wQ
Pb2MHrXzBNG36+T0pevgU3Yfm3zf2Ael4X31maIOZJ/RHQvtODARZGJbwxVCvTHx3khVLM+rYvuw
pHRueRBaptiEPRFI+3p2T7M8e+DSJMWLzgNjcmHZvRSmmztvS6RPMoTBJRSHG/Ptxg1uDALeROHM
cKc7boizuOFkAB+vgU0Evj7B1jio9wq9zDfYN1PHmMBiuPflL++ZF+9Ax9/WNxHMgtLsvd8ekwqv
6My+GVU775K5oGpxJbakHr8urn+w6AfnyeEebnchKqjOjOsy3yBMP2PNPR33O0PJFL3WDxwmguqT
W17/ph87UoBdukb2p7antFtx8KBzLJqURHd/5+FreVoag93wVbl3T+15j/6dAgHTxu6bm0PrxQZ4
uee7vyeB2XnkJDaDOXZaKiXc8+bWs94uEqMjhB2+zSeNb2gqxC5iEfMpzp2CTFnZFwmOSVPC4kuk
QvYwiTsI+fYZvVyQWgIiUHe6D2LNhC1Tb1kex5ehRcPgE1kthHq7XNei9rHrzMME9j6BJM/kwlGz
3HsWqRNwYOJdL/41bsdtfMSzMNzlGtY8LJ9C+9HM2XXDapAhchS0TxAkL8whAkEzexxPSUfD4jM4
oxwzfZXCcjF4ox7x8U/Xuo2krRnly1XnWJvnm8zr3fbgMw6MTjzES8wXnFtu8xugSP+HRAkxz232
4YKUyCadiuVUn5+6LNgVR0K70RM/FKES2d0iyGe53ITcyb3SGkNIwDqWlJgHrw19KVr3Wru/BKJR
fvqe7qr5ya11bz9a5/WPXpsV/ttmhFMBHHLfxZhx1U07+NDHSR6AgAhO2bNaq3m/1Ci3uB+l6e3v
Cl5SGpHxH4oushfvffClxy7PVNHKpRRyhb6f4Ysrb3XLpZWBjGChtt9DpsTn287whQYm1gdcbvKb
Hpak0HfvtTw83TzTs4qeRXZy1nmcGVW5Wxc2tuWxQeyXFITvD/+5R2cUgj7y18V7sF/GFGfhZJG0
5dzPzCG8JblFTBqbtE8lQ/unCfIr1s3N35BWCX7Eai9dauQ17nyIDY4BeIKvJrynU3F9XWPGcR8M
GWUfAtth5FFnBJMrVJBmSZrFJdpS8QQVj/zksdnjOSZ4DZNslGFTWD00lzYQv/ej4gTYboCXf5KK
5RvX/u2PySg5rcACbFYCgjFOJLl4Ng0wjms/3e/ffFOeXNdAJ7eHy+DqZHj4uDGBa8HH+diknX/z
wZy67rVRLlQLTuN5qdqXyqFrzP3f1f/S3HUNczDLwa/O6gM0IFJfwemR0rERf9ziaIjPIkrh4WXM
8MpeeVrsWOtCc95l1MjQGp+RIj5oZFqRAUL9+Ozyh07T9/JVkGHTv57Lwno3Po7QKI4XZ/bkACUQ
AoMLw6zISqj9HDwjhWUc0hp0Gpm1HGBjTHo2zJY9TbplFFyAUhGZfyP9C1KSbxBzgc/lx/rk5W51
6xXK3nzE8CJnVF7qoP7sS4CgYdLZLfP5YNfPTaPzkiba/NffMgswQRXSIzZjPIOJrFXthGb9njjJ
O/E+X42B+0xiCC1Y3U28d+8T2DLr/TK/BgMhEt3ew9sGAOc4QMhzksAmYIbHq1f4I1RA0aXNpdx3
jd51bJ9S9Z1hqWF1WVd3CDrkL4vn4tDJd6+glAViPZh74yeIbuxzgIcohuT4QUz8VwXQG/IOhEwW
3wkiZr8oBxRjhDZBZtG9ova0uiGHw9LEJ3Jo+NPNr2f1sGucYyGusxJf9L+ReFN1AXSF0j94o/X2
22lvGBNCXqKi+QYThHbV688av7qPv+TPRgHwOoCvNk4wfz7Wz/HfRDn1/cxm6xjEwX7u4xlAx1DI
4pDO7ATgYGeQKB6SBjp613nk0DzAFOmqtT5s2D45KJiPcI609YjfkNGMbhQUObmb/0CSCLCie94F
d5rFxqc/VHrveOWoMHhD1S50DATi0WpnqlvCIqvuUMyBH/4N8HYHyGqG72D7R85XQz3RRD1svSci
SgftFocl7cjf5sA4Tf9HgfzduKBPDrbwIHNF0DzeeRwSvha/8WDtzRAjvT+j/ehr+2WgtUfI3SZS
PKOYHZZ3vYLto9nLPHXr5J0HfDMBIHQtKqcC6gr4oc89enyCktHC4N2nPwc9ngoVmcI7YO0DUTph
ng6N0pBOe/MTbb/R8R4lRaQ/ubh+aV9LfsMtwBDOqew5js9QxBeNd2cfjeL4jAp1sDuF5i+4AaxQ
3kTHr5Isbs/QQlzQajDGhfSRw6KjKTlHezLuHzAARFrHf9n1EyrpRnA/UklxroRcFWtwWcYN5xTl
DhXT8QoLiTnRjc11zsuwn2am5nX/vO/177FrlgvBlrZuMMjpfFwkb6C0vLlSyKLLDtXVHxCu7b9h
U96RtqpuT4GR8z+vyvvp7/5yddNHM5Znbr1bOCdRvXgvcmB40WnGdhrfw4RGKSKfmrMwmKbuuDHD
f47VB6HLMCmiVGZ7N7o4eUafbXO/oMHrc7/viD1uG2bRv1FjZUjrzWOYPZNU6NmjcyzMQ8hJbq1k
dL8NSE7xqUwoNUChFvtXw4YUsfgcGuViz/y1tzFNhK/eY95Pno3YqKlJ7Dz9Jf0krnyhvE3PUZHR
cYcoqV8QFP21C1+PgZEl/nRLSD/hGJeP8Y43oa+FYp5VeU9fAIYJLQhW4uG3wE9/1PRMwvwSNFEI
g6PSAnGsE1WT4+BaapYROYMWTToIW2JdaBz6Fk4c3xYeqpdJrkNa9bUbT2AKi5jdDHMmkpHxtfLb
Nm7l4H7pYhDLhYZWwUHnX4LiX64aE3QCEZ3D+pJNwo67Vx/M7T15NzssT07XDjg4i+i1eJO9f8PH
USB5EX/IoisGpVz1tGva3zG69IRTlokOHK5oCUBeflRIH5xfxbozIr16Li+PXO75pf5jetaxlqM+
Sep/Ckvl1pekHlyAUGa/+D1ryPU750i2qNBjXdmvCEqFzZUD5kDQ/7t5P4I5gyUudV7Lqr2cA3Kg
26HyuPyRmuxMPzkHDuIOwLewduNqHijuETiXOrMAHic/oczHC5+9w6XO3dwme++BAiw006T+cyKF
GWxpnLg5x9uHiGE/YHBQAyv4O1StksqcuQloxcXwUrdz/7zvXDFAVGYJj1fFfulMc+FzWuqaTTAE
Lhgyz8Rw31YZ/b63a94a3xfRIcLwqP17xdVh9KpfLziT58tDYrx5vxBeIwxJYMXYo3zbYGYGGnIU
CSBwdOb5yuEXvQ8e4+4RbEU7kep2HJmH1gW5sb8vQYjtPb7N3IJ7yEh69MO/NZYfkD4AvsNBOUef
gJlTohxxK1ItJyxMDz0fWj7p/P4d/GwEyG6SPLRXpVlxhe6e96COhHLEpfF81Mn8czCxgbjIezXG
GCjl1SpPDDYyAD3qgNE8Fe9LmvsZryo9UeT3TkXvu8LDHv0yI2iow0AYBXGliEnq5LB5SSpfiV8A
Dj5U0gXB5a/9YLLfq0UnuhELwN2HRlBaHe9dEqE9NGmS7vfCtkZ5aA4Lq/2EXto7QoS3PEzGdfBe
w6JY2mNS/xJ+8m0s5mb3bvrmsfb8jTEI5/IQs3k7B/m4QLBDCICUAwhIuUyFoFR/2Mo3sP/22oij
glX55ENo/iQfB/SCSQm/oKTMeUbBUpICeC9ywV30WV04LagbdGifWazUzdhBztJ6VIy4cacLpIji
NxuGeZ2Ie/rUFuHYEjZBHfrk3cuOdm7zSoSLMjg5sr0LcqWQSta9g54iPgsVwVeuTYEBy8xcXF6V
p9WP3lXH2x+aF4o4c++KkMK8dmww2GJ/DrjlOzq0aIGODjtv/nNJP1/iJbFGABF2HcqGTIEvytex
Aa5MRyXNmyLv/T4ipn5wEB2kqyG5Brmyb8EFeQ/eUzCp/alK5vGgNpXE1dwpKObdIurXn7rJFEx6
a9rxPLSoHqZgxIsR58hwlHyCrPzlRrTSLlxDpKY+6L15F/z+jL1voU1oGPUdnrqHvuTHrOwwaufq
c+7d4gjM5Dm2c96V7FEYk3cyXYO8nItCxsrunuw236mFPGCdq3NeX6c7UjUAfZK0d4Dgip+Q/T+j
9zcwgIRmllnNQ2sdfKDA4BK6/PBJwMnMdAcviLp5cz4yF0wcpDyIxBHgaanxQOS9af/8eHWuglZg
UF7MMRk4dv1hRUws/hw89K6vy8d0TmwGIw7dm8F2cGHmMzn4IjchHEJwD7uDmV99O9/E43fnTW6t
6JAxDwn8meTl56nV/B9HZ7akKroF4Scignm4lRnn2fKGsKwqQFCZFPDp98eOONFxurt6l8I/rJWZ
K1OZl42jZJNnHrI0gXnkt9Phy/OlG9wpAJ0aEL8LKH2gxKxN8j8pBkgphmhZWMqBhUa7kjauRLfa
R//fGeuDFz1EPU3Eza496TZJ6VO2T0zT9KiZmkpIP5R/D73LaqYc61mOHJwjThNREaXkRgEdUYrf
d+/a1f87YvbHUpwoG6rO57Wa3XBT/aIFzF21XYrYIr9d3mNheg9eZXe4oYJ7hvTc1ES30tnwtT8L
bXAKNGxCKONzoITSojo9iBw+Koimj8MvJwe0sHyQ2A9oQ5B31Kw7bcnJrG6KEygFNw3ScI6M24ZC
h85SSN1PKH5cngi9GN1pjQNhwZIJn1fB1YjuhMAV18qPQmV85jKO15RO5DTSpvX2CGaQwMKCuRE1
YQBlRhKP2HLbAzcfEA5dg+5K/31uAFue2qIST6PllYH2iOO2mt7VKTEShXQ0m4OK6fXXYwcuh4ss
zbZeEisf5FNT9rXZW51J1J16Om9p2ImyMV7dRDeclOYpa7/fg5c+l03nCEgJOCsB2Un/6Gdt7/PJ
aVzV76xYKv2kWN9+gU0UMoB+lCXQyINOez/YzDgB66G1SF2Zuzh1NZrEx8NrAVXpDwXnhWyI7Aqq
sFV3rm8e5fyIb/uAvzScj7cnqHNpgX0oLUXC0sXRVLXvK+3CY6m5KXcPvBOAujbqbQWKLL+D5jZ9
4/+NAgIsQJ00Cs3JkX6hBQBi+VpOja6JNA/sQI8b1oBozuR+zVFBRF5veQmxxR3/BUAM5km1FmHT
Y5VOShlTYIfbCjY4jwTByoiTil9yy8ry1IF+xzWwYl2kitvBXdNoM+dWTvttLCzkD3hUAFJZtuF4
9FOUYgFvYVB9IUiHAs30MOSexWcqexEBV9Rt6NQ/ITURYoOXX2NAhfcSt3fw3Av3ufjcqF/di/w+
NwMJrUKBZf0FEMcaTPhAA2+cNoNOks7nsSvekaiDaB65V0UCdcZkRMP81iyff0ORgHknzpoxqGg5
oe+kT+JUaaQ5C6bO3B7ap3HAM4XlzVrqDFii64U13aa47SxGbOBduW8uLo8DH8okK6dUSOkwBafl
mqn7bZn40ssXi+gZL173LcsL8OY1TPQzuGJFpWcGCcaghKjg4PbxqPMs5fczbEfsBQhSAAwabH1w
qzzkmdU4nMqzV/lTg/uyOi2G9+KlUAdVvGClZfo0J5ucc2fwOLr4mdvzqxy8eFjqybwZ0MhBGSC5
/6xqfKml6DUs5Qcz68lkjFjBi1WZ8bEpE/krtZ1ce9xUJqDce3/Den9CD6FM5OYiMKiCgAYOgpH1
RwjTEbsvmE6v2LXlJH3xFNzbDyDQWGmpC25XpBXmeQRaMrtbjHCrCqw4kRYf3PLfM2v2hPmYUxzd
duAcR3ZG3XnosbZ0QC2RNZg/dBPqh75x5HTOJa8wkUgTC9Y9Rkhxg2pemsDuXW/8PcQVs2NcCcLk
iUrJBUPl6D7HFxBl6cp/rd8d6t/HrBnsHJn1tzC9cU2RDnsSgd9iCOeSPxFeQPkamhW4VvYHPJ0f
NYD1PS/wiVqFyn/RzA0FH29H7hBmAbxwcVcuAWpUaXECXTFmUTxWbfgozvcKgfDkLhxT9VcezlQH
9ctv+21hEO/iUvXiU2wov7UANAPA+sROh7qaMkPUHVyMh8+cglRhMoNdSWIGQryTEuXg/ov+oI1S
DHSZlI6FLVMEedaPOBZrLCS4PMiGOhsHIfILXIKmBx0XESLh+XD8nMtfeZ7/l6eM1MArouzPe9QR
t3AUpdF5kkhNSK8zzMeUyseyYgoJhSNIyBOWhAhheC0g9KCNUtqziTF/BBp++V7f2BUX0e+HcExE
a3MVzzskHQ35aMJGW1As/6kHoUUcp0cm63ZDcoeF4b+vsgXZ8NEdcRNkaQ7vjsJL9hUXQcnmxXec
N9dXcaEF7b5yYNaImCEOiZ+aEJeZTkcBuXzSab7tR8ybmTStI3HVTWJhIofm2052nJ/5rmGAbKFu
PwsuSPlLMtYiSwCajWGyD25773E4l4KiM2elEXFJp0EFwMFcwHct0FvANDk3+UrtX9ntD1OOeORx
gH/KgPAQfE8tu/m4vAsZomE8iFCeIuXKCAwdwCgAKTGEP7JejgLjJYyR+uRpoQClu6RXBM1SiH4i
9zihWwGVfP53C1ZfDrwVvx6Hes2vn6iOv2/I1NmHxQQsojokUzB2jtkMdpx3KYaQQ0B5QN8oRz72
MzkRiiWTTdVPWRi1vhHbmYK3UOpyjKetW+mwGinAID3KN/Q1EI6EtE33SLLhUGG/MYYbqWvxznxE
cerJL/rfauWhgVgnpda1MYLqHNYtxAGV7vDH+UUumeB2xG+DYybBXQxyrMQ4M0gsaQnpQU/Bhkc5
lxr+s/Qpc+gcyO+KeZIxPB+75E5vmjocYjie/vX9VKX2vZkB33Q8ZtHYdFOFT8LtAsSf7jKEoyTx
LVNSo2QMW8ZxiXE6WAFpmKc/cHOyA/tjBtmGSl+5qtE72yPbxJtiIfrx/OO8Z/E6BW3Ljsak+ztI
FTY9YsAJkwUDagXAFoJxMJAbfyNSfr2+Pkl7AADElplSd636BBXgCaVN+P5Al/GZQ79bC+YSeLV5
Owxj5gEbk4Pq9ScgRhAIHKQOxNCSayhLPBi3wgzoWsaLQ14ToQcoQmH5oVz7nJLF669J5png3ru9
CdwoO2Aen/Aj/1Gx0EDpbCABCUy+qIjW649DJL4NuyepCvEhQwqPqV7aZjPjYHifLD2evBEGg9NA
Ej6mIkKLbJZRVfIaJ73+zY+bg10SO2jfDwlpITgYPBYv5ipSDtP1jaA19NjWkmou5SjIvTHl7E1f
LvrcRvCM8lzaMo41Couln2paao5+WxJpRyuff5s2dbJGgJc+BgJhJAMlwnahVbHz2KlUv/wtfkvG
sEe+0JXw8QaUROK15F55XJNhYmJxwJmWd44hOaP/3Z8eu/f2O0GVTOmcQBVfqGS7fXVGtfh2VU6C
VUt/P6JY73YhHApalw1VJwb18gpi3NoQWMEg5V10daiXL425XnAh0FZwhOXwAlEvIJ306evP2r4M
RzVtghDjNXu+bF2RjMPk9BJDFdBvQ/0Xw2Q3XsJBrxIoseRSPY1lE1d+G90IU35fBBWeXJy3xjc1
dXULn9a2g6bPxTlFxC2EgX6f5Dua0ZGBVZsZ0sK+Dm+ko+EO/2ToALXu3U0+AVMe96+a8io+skmz
+9+Qb181NeFeGmisxt3BP7/JRBocCnYr0UiPBdmIUQIsdtsOUekAAefS2mpgAXykCk998yG8k7v7
cv+EjbkQgBvmbWGXrd82UYoKE1ovaBpyEKrwXqPA8lX+2kng+SOFKWdhyu/Tti3r7BUJtWtVQf48
yGj5AEOKmGiPsvfud98y/Lg27DswTcOMNIzDw7h0jC4/WLdMxbaZn/yl6V5Rrtzpor9uIupyipD+
K5dsSPwOjTpplOdXFb05Ss9pM+lAGF9OfYLNhQKm7eL6bKLkG7cfNHPEmraXEZ2JsgtlkJ471Z/I
ELZ2TUgDUfHX4y01JrOExIxdT/dDBWmuevRnVk2VqSP/y/wbHoRFnCPz/DJVoEWAFTtlJJwfwIli
KoAW7eTXsvsl4IYsE7r1i3GQ3MoroBs8FUOL6Z1CLMjQYJZ75avBn1F5u2yCQOvAOKN04AAes8oe
ozs7MYPXkkh7i1AX+S8+gAwLm7totzsCOsfZyPyvALa6uRITUaDpdi1v3+9AjO3nx2kyGpBJ27ly
GVjog4nEqXDduHKbPzGiBffBHneQHAGa8NphdfqcFvAHhAdMUtZYHD0k/zmzztYvCLzzuH5WdLSZ
5Fo/JdlDclB1M14GHDhugrs6wTgPYy/pCsbagtEjMf56ox2QuVpdK3GpV7I/yHRmTxgqSIJMsqkE
JUA4E2zczkTAsVBBm342DkNo/XVNoPkK6kjCZ5swf0VgsVQE6fxt2XrCxwfQ8qHnQB4n5aG4NGCq
Hg2UreyFl6Ogh3NBxnE9KZ2k9q0VNGuCCBt4n9NwCJLL60+61jNO8dsVY1yshdlKMJkaYlTG9kle
OuVe/J3gnsQfXKTr9JfWakU7zBPXC1+ec0VAOCIVgh0YE4vGLcQhSaAqG4bDVqEvBDRKvt8Cc1hp
RIDoj+BLNjXJ47IuLiIpdpCRK2vfXPlngt9w5iOgwMii4DnZD9YqiJ8rzsjewyeNA/qpBE81VFb1
3KCSlHzDmFVhdzIAHFd3flVK2MDE2GlLvijexSo7Wf2LEXxMPn/vv+Kg0Pz543LEyXJE6e00+IDG
xHyKnkvLaw81MkAcWw/VT+70DcqWAPC04jheJ+MwKsOpjPIvJZ1gA/fhkqzG6hF3KMQw0oACI1Lz
hbPGsGvtWX9QT9bZrCFOMEcWNtYmH+uxZib/kCsUH/moEgONa2luoXWM4NbAa4S1zo2DbEbZJSst
GpyPTFyqV5H4oANBrEGQiO7spmh3kJq9OYk3hL3qRP1d68VITPAF3352zcuv9z2KpxKi+aVKHkgE
0Q3cX/tYeuA2Km+679esPNdrRAxLnX31xV84TNLOvZm45aBoe7ycTnLv3wRO8WBdxSC2SWLS6Lds
ThQAXKhj4Q2WRcn93/dlLLRmxOpGBHbqkxepuieimcj6gfG7NcES4Xl9ot1DXSGprlSH3FcYT86E
kxSDEb4hfw7k0NFiNLhIkBH6DcuLJoJ7t3HvefTsnPuF1k8GdPdYuXeF9IwM6FJwzTNHG5e1Ic0g
/mIVoxdIjq1xlcdGXGfUifCW+xhvJWAisSVW4ch1ZFybBcwDNvU/InFXYBLiKNQ/yxE4BmI7tE24
PjMhd1aLa7l8Rkwv/L0MWjZiifI/ef6J51ZBTiY9m+YpHpxDKSOLbQ6oG9kZf2ML7NId0gFZAhVy
q/7wj0bqZrC17edUfcZ0GlCDh6/Ec506Bv8Kg87Pbnnhkq+zrBhp3wmSYwx4nEq8iTaZtsRAf+q5
9UggRNlqJQkjIKL096/6ANmGHgUnUpdvy8WHht+4z5roli0U9ETFzWHl9eRCQZwxriPZIm+YyM3i
F96oq7Yd0+7ObfM43MO9RPO658zC+I264fLa6S/EATZHKNDoIC3e1Kz+axl/c0S42p7mD6hlM6Aq
fe1uzJVXUwQQzct7tjgS4iEa89yJMy7mz9tSXMT7JnoCnvuPq4m+ezQMkaw5bbE1AdTmEZJLvR5j
k2TL5rQpVwX9gtf/ANfnC3Bx+DK0IVRFcKbXcQC3nz2+ZAJbv3N9yiWrAAHbYC+i/9GpiOXCEYQf
6UfQQ2WZS375Ad3YAR8Mpa0iQUIIuTRjlwJS9Ess93DXvrv0kgsYYoRV2UaWzhAudBGV4exawHXL
N/vJ/Q8aCkC+vQ5+RkNr13BAsxeo3KTl5GOa3SnWTy74a3IcRPeNlkP0aVXoXModxS+IEV9lkW/4
JpQ1fDPLR+237AFmIFl2yNF/jU36l1APsy8QHEfSOrc1N6aoY9p/0/xS9hERhliWDBAs+x5jdHTy
V4GSfh6T9sSYh4PADT+jrrIJuBYvdHWiNQ6naGNnUGsuuFoOH+vchimxSvcL2E9+iZli4zyHW38I
zH4aIBQ7IhQ/blqGFciRU68wNn/5Asq5oA2aLnrdnBoo/WZ/Nu+bLTDTpgUPEmEuOTxwNv9YdNjK
N0TQUSOQK47SFeM3xQoWnb2xRDfYXXjY/EoUoMGLUfOwrQP9nP9RdZtuQsLUaI1E7Q59ofr6ueWc
wkKmB8IaoanXtJEAKg/k6DDQaMzF+fOcxmR3TdmlhF/3JM9BS5u+WP2mmFsiBOEOhgQQPSsmlBb3
Bc6wMuRMABqgTTnkloMqCsWyObjQthqBgk4fvvQFooQn41N2vOLZVGstQMpMWUUZLYiLW4KyCZDe
Ve8OEkaSfxsixPL9aBmORoOLbQSoXEbbOHJUa9aN0wz3oEVRhf2oY85vP48fMt4QHi8ZcoTLR7BD
JhDR0zCpa+JwCAYcZ4/UPwAa0LNO8zTew4sxCeKx6h858fIsyPOj1U61o4iIPBmdwxNGV216ZnyU
Zc/UT6BNsCiE3GtLEObOjj0RrkD+GWA0aj7mAyvqSDsrG+UsycGHntbnp1BgvbFlGh8AsomUyDNS
SB9b3U7OYqjhOcF17MVeNquY1kJx3J1fIxJHPVMcYgbut0PixFsVKhZxPb76jonsDrrMISoJNgy0
Ivjok2onVl/KoYesZgcln23yo5fLWvfuP+pJ5hw3F18KSGBY0F7SvZloeDg43UfivRdpkJ+Q+Bwp
jTPnhXbHkRuilikHGO9D+5/t+FtOaki/Vct6JkibicRr+lwRLXUtADiLvx5JKFcSRrEanNrEAP+4
8iZpizIL+iqQKCEjay1dUoYujyYnDfOt5qJK3AeYwkUXPWQxycQiqrsnXNzNEDhooDqmEBoLFfnt
zbVYB+KPGDZXYsRgQC+GC00Vf93no/kCr9oWEs9Abmhrsf1ecgCyc0a24iPY8rX+2BMlylb31pWv
98ErD8w+0BNyrzFUses3zZUcAOn3QxITcZ7eGySrI9/WabDlF1HeI3KS36HKzGmj2dojrDBr2sKH
PEkRBorm1X7wV0u2neyVzRYoUkA7R6QfSS+f9+re28kbnVYSvvLrk/XFVgpoFUweENOXWD+MWkZ9
PAVKdiMaiWMHb4F/2Yh2ffjT64fP3yr8mEb+njgVpH07ld9uJnt9Dk+p22zjUn/a75bYyEgg4zEJ
H/ddV0wtiIobdcuJo3Nfiw4HOR3Nw0RzA7KVhpo4iV+OuI8PTaagK1iNuD+cNE9UdhNQCXmRA/Qi
8mbquA+BaZoiUL6NkYT4fA/zPKKNBtNMVRis+2Fw8WfggvXQx7BQzu/xF9wDOcoC3ioKoGytc8Gk
kVocMsNONbsH26imWuaqffCgmZsSJcq4iDXKl2GnVUQYoKsk148QIJLie5TvdRsjHeJrry8fkegY
U+G0s3YZr5Tpa46xGDW2W50EKuFjzuyFR4MPM6S5aFH4SoaRAKFOHjtgX3PzCAeS91I7W3BdTWiY
I/WCBtI2rriu+TmskORBMM46fiohnuOJRd7rtwC5q/n62olaZ9r/r/BzIl3aUQqI63+FtG8C+0nI
I4/bvFAblXcmOom559tMubiRfoBpMbi7EUcTt2JLGTduHz2S9x0TPLM6zCJ9mzpjv7q7MdjbXvtm
jpwgT0864JfJZDiNa08C4kNcNRfKMLgCdd2VDN4ByXLRobdT0IiP9Q7LazMWkfcpsx1hTwm7ebGI
1Gsevbd9YHznv5nNpMCpXiiRjPTCeUCvkWNsv/8eR/rVZG62c8OyORRaag6/2hqHmBkhtLbQH4fP
3vpNg9aVxF1HIUbDNaDGM2bCgaajQLt3TQ/KmocivbxJ+QhlYXI3Z0rpCo9giP+qeGNU29bkNL7e
hk31QjYykc2HrT+8JIHTAm11M9P/LMqYvLd+cAzSI1BDjguSHbhMLa8gu26qSDA4x1f+U7xQo+06
FE3goXEavc468FHj3CGatQOImvGKKGm4FkY+aqQbtemYPAJuSlUNTspLkFrGkgbF10zgusZjQq2I
BgZZyZU98Ao+My4eUWG0YXzAg8v/gBwpo2npYDfgQKxR/wB0K3xrp2bOaRKknhk+wAJ40a9J/d3S
aTjmLiN3jeUK2nRpn0CfFMgjAFonMwNl2iEbnC4LmPxj8uju6ECwn2FarLSlhM8AA/0o+DpcQ/QF
YsRLtmiOjBDPkPutxUNMe4PcEGzCzmUP5pYlBuXfi5PXV0Z+BcCpky74GL/i4Tm3FgkrpuBkW3A3
zQvi9+6+tugjekN0P5g9sInHg4CpgRkZtDogMsGmjjKtDgOPym8OyBw4h1Y813ZZV24+1bkICY8A
E0EngqBHmRLX6QPw14giZZKfRZTQmKVkvnr4tO7z9a1yCsP0NZOYqZvukv6QlQcP1QuRqOxen2WB
cAOawDg9UIQO1eEpkkIxoiG3/fcbvUma79ssRgn8dD8g6GTsMeaQJCPr4/OmxGQ+YmtNiTXsLG83
vXZHvLe3UBXqeKFSPdazWj40eJcZyJMFJluZlNX+a01p62NxfXsfQSUb1mnlK7fpTV/RujcRRNJn
0WpXWYrovNq5tlePJcExjV3v67N2yeVxr3DVyVCM61T1TdweDFtGHRWCEDAPj+6LxO93wOEK1YEZ
41LcdhlghRC2iw7XXLR6i8dc2w4BNzvO0VMNnfVBP1Ue9x/+L8lfsj3g3Lnr1oxvPQ9PWkx8sdY4
T//cNgzzciR57/NAzRjSnz1m1RROnMMiuZAj/wXawSnwV8wQlZGYHdQzNBcMTa8Qk1D+ojDv1moE
r5CNRiPpDp0PR0qAE5fdHYHSIWH94pe7QNkB5bCM3MJHwEKPxt354QmKCwvqC8oNLZ3DMTXPLsLV
WpqL+voBMmcAAVMequITER7f6ryC+F+o5/w78Wiu6L14DaqPRA5TO3cI4inPIqxP9yk84fOCIJmS
kJWjzfijoNo56lilVNIbE23vfUdpwqdaMSmJZT+KeraFne8q8m+Qz0ZaEK9yO9sRGwN+L7tItodR
K4+IGPX8PeQCo45f3/dgVu1PuZSQ1RrfLHW2U8hT6nfQQ+FjRz0qoDZAv2h5jy3JNngS3L5ujsSf
r9tP8mbhrgmoJD/1vs9ANJqQkrPdqSvz7QKxipoTH25ACE4Jjma5FkME6bp7OCZ+aw/fIljYNG14
YwNpnkuNXzQB4jGNoawSAez7w2wbHju3I1RD6TQ5nC6ZU9yXT+IpCruW/pikqSRWRh1HNwaKED+3
L7Zo/53x8O6PwEpnBh6zWfguz7cuejP/walm3o51wmB1cRLP/VfGqJYI0oRNxRvF8ctjaT1LNwMg
HTZ034oQFulhbOKUgH9VWjBazTS3GLy2uFR4W/Kl+zhajk4aXNQzQfA7WNowgT3ZowEwIJ0yzReZ
/GIeUvbqIZKpdKpnKIOtakApDAI5Gna2RPmSdSPyvn/idlLsgWLThMogvD9+q+rwKraQT7BAkCt8
P0hz2igEkuAHaN8QCwfqLZApvjJlEkiWbYA6ENJ3RgkyJIscI7ZiX9JYp1PxHTXEqzNh2SBydhsk
DtKlzcmaR0AxU0a0+NrJB/QUd5reHhe+Uye2tg63pxHIGfbJZPhBGp1eKMSbGOi7dm6BtSrxi+FA
5uABf1n20F5rrbcHGY/hArVg7ReorezH/JNGiYTgxpch4SiLKiAEnIES+0MOL2aioGsb8XwDMZ9B
V8v5vNBWNOzSSja9JngwXjsOVKEZmldB4QNFDP4DxI3CapuciBK4BUVEnc/NhixjbWAVIDBJRvBA
i3aaVfilHi2Ddh+IbBgxfYXDdPEXbxjCAEOVfhRY4mIGJXizxfXz6eCVMC8ZzkQKA/T8WrePmYKf
Kgbd8dRggBPOLGO6SHLV10q8pQ6YoUFulb7MmMWzvCGojZtTQmalhCBfJSpxlaFFBoRKiieMc6w9
OGEaiKi9EYbABtZhx/9eEDN7VZ4k7Cn45WyixS7FfrlIpx+Gn3YWkWrctlrmGQtpLXO+oRlmJKF1
7+z2mRgCb65R7gbCX+93wCLAjPsYmaSf78oFXggNGH0z61BI2Sy4ZpacoAmh8tF3UjG+3fc+XVdL
5WKK9Nu2RCd1j5Soh7GO4lOzlHf3EOBZYazj40oF8mvPgAKs1zpYPnID2EI8dbIFA00UCbctnB3T
32B21LkrX1hANN5/LYj248tRvcrTj29mfJdPJ8WgYSzYVC+NoEIZ4Z0Cd5LWffcAQXu/kif8EFFv
fh2p3/EGIOdUbdIdR+uko05nZv1bu6QoncdfLC12nynnXzYHbybsXQ7ireWjUph/zi2p0g7PRdwp
D/d+jU+vHawBElS3IQLrILauwdv6uGZwh17Xxj31orG/TQopNK8Dfh+Q28yeIYTHjQ05BIVsgbl2
t9QOJWKLc/beGqVXILQvHIPziVx7Cyb67ejHbtvmDnYu5uYlOjx/k6Z1yqP+MBhUb9LSb8kVKZ3P
WWUI2y0jXZ6oqAG2PO/b4rFpkEUg9volbgG6fmLO41+A+PYHZBYW9A+B5o5aAtEz/BYDEIwbstkZ
w/rlIesAzL0vfD3c2wKI/rfHsbxjdJawyN6n8ediOo048Q1hDCXhqYJLW0pY6ezff4L/iOq9OBqh
s0CKyyQORPB1WPRDfnp6iaOehQCburujgtAJZIu/yHNUHKS2jBPk02KpHbtNd0DNt9D3CXYQZZgd
ED0SJcQwLcTavbLrkHr5EuM4Xawo9wOAZRCCUT2lUptxQMH1oXC5qH+Uwvwq7snkwlghm488Izyx
yrFBEa7V4m5Nix9UcR9mtXSmI92CMo0FyXRX8Nwkc9S2c2WTXkYrJC6/gtw6+Es+Mq1Xs+kGgiBy
0RG/X804Nv1GgMlQd7LJNy2f2wr4Le0LHav95P1+1b93gLPc5YdR6CABVrrQJM46dpRyYgWf+XMb
j8IvRz+9Lx/Fb5bUAs0yJqGZgTAhuB/B2/VbWAFdcOtx/eSN/cx3aPqhBfpVitWLuREXnxNjSiIc
DkI0RiBg9F+XdCfPjR8UtuY3Z7WRh2wZHtH+s4iXMTKhPHjBsUT14r8UiCGI1zTTQuOrQSHA2I5f
6Tgo1162bdj+vc2wxBAY5N4Ydnl+J6ExQuDwRbxGaJ+19fvqvHpfaf7nC7ZR5Ljh3+0+ryhey7j6
1pFAibl52Z8rygn1rOw6Lq4Qbtea/A8GR+C9lI9d7XI0j58XyIps50Cac2YWKHfUtWSGT7f7zk8W
hwoU5x6Cr1uq9DDcKCWOsaMElxrB7WkuknJyZ9JmohyMfqJ/54jXzsOMrZKIsyEE+mY5t7aozwfZ
HTQO5qkmTQXuXkldWITtfk7cXOqikA4PZRPrDgICyI4nXHBtBtywlCe44uRUDOx5YS6NCOrjFY1T
d8MRB7ZZt3+WyNDxcMI2ROTtYFn2x5EPWCcx3/PagCYmRYTiDmTxpm1ezxUPpmdPc3DilbqqZ6Uj
/CTHYvDqqwicQSW9pSzWdiPIDErJ+Z46sOyMUDBkNPxZRoiSc6QXmD55Rcj8qjXIgPi0iy8Vjtks
fK64YsLcrEpn3zBihObiY4PklsPWQEOX0aAklKQNctQdInBwComzFCGJ6jK6kDTeUC5unChEXkyH
bVmEnIaga/m2wC6WsqIGWnSYYAJEHR7uyMl2U/oFyzW/rdXzCAbGnYGy72XDc6RNIAwrXVoDrDws
vyqiGy0/NdB9/sbp5T/O2J6Q3sB9FDYztWIAucI0CHr1h1IzyD3WkyNuet8M4hyRCJDQ3UbqKPcO
EOeI6+4AXFD6xPoU5S1yTTTBSSSXnokz3OgaSwnA3FZO0zVh5J+uCPJI/mNO54PtNfPJnwU1Ff+p
eYkHXxBsatgKAVMaAXYZHgXAAx8KbgyiJ7jB19UBdMdk0on8Uai55vpunPTU+Iwb1rt7f3mvkLt2
UKiQBACB8P+Hgvmw8MlZh9cJC7aYJSjDURcf0Toxz8GLhD3DYXnznpFVt6D5flzRiYDumBcDrgOg
+LnoPwuu0bqc1DT6Fwr8+GdYtcdyS2MMDIPU+I555s1BUDxKLeAB4XUa+40xF4Mfa2hY66/y3lje
CTiSbhOmADjA6zXlXLdsD6WbUNbzB7GczHKPIwPTcJ28SNDW5063Z7q7SzxyWPeVAdGWlDZNvor9
Li3MgSEFtUcUzAzjvmMvgoC1dh4V2zu5jA4Rmehgb2bEIyqX6LCee1qITXeKl9QOz5MR6TyENYoU
2If6C91cw8ze5J67La2NdVT3H5zlylB1u1/u9AqpoHWJv3qJUwDtEnpfvJPZv/DFpekjocwOvCmU
NLS4ZcdwcXwLYdIyeCQqmtgrvmIxULQDQwu8Bkbp3u084eDjQqfr5iR8hiyA1zz19DTqt2htMxrY
vN3Gm/ZqtZFUQQAsG8IfpO0Tfe2kObw5KjbvZb6BQgyBFAeIggAUprmIc3RQEQqnDfkBEGtu9fvf
iyW9Jrhe8V3TVfqLDi/MFk/EDtz9Tj6tlzjs2e+xbYMcY2HcwWDHuaVqnNlnIcHY1deqJQosAxIz
GWb330eJ5QfCsshKNJRu0u31iO/UohzF9QLnckyO5E1qTaq/eoYUAKsuhNyqZHO8900IOGQRDgA0
lczpLvGBG8+z+to27m2X6B4fvsqj8YBE/VAR4ItlQEdxPMGt0h0OOJBsmwO3HjudtAjoH86u14TD
EnTqm6502/5YYxUYd7a2SBcifno4PKAZ/I7fO+ZBGbkDYgMIR7kTpkuGSUSTkSeWU3wQGfhklmTK
2mEigEXOmCPMzAJhlCL4L9rBbIrcnuOQkURx3itBW0YxS1egCc8PbOSn4t22Sm0jiYJe4Q/pn4S7
xlQp4orZ4vRgkK8Qb100BL/9Qrpj/cZznIwwSH/mJqJ4xE2IiLhr3k0+WIkYMxNryTezrPxTsffM
mbktCHPbPAdfZhKFVvlRkay+uq/HUxrfULZkan+8KsBnxWFEC/Ztyk6tg+HEzQI7v6A2nyvfYI4Q
lhOiVCgnoFK83i/H1hbnfh5QPBtO9FPjDIjXhGODYLO19ymSKsCDuRLVbm8yJSX8SmClf9JIjnyY
UwmZ9/4cRTSwlFQ8mfeW7csZ/5k0Zytg3diA9bw7eucIbSyKtwcxK+Q+nPCQwqtQJ2+hgf1hGMQX
TzHQjf122/OHyaGFGBS/1LoieTTpnOQGNwufJKrq0yf4xJIlDkjXHqw/aV5fisCI+r9yYXTOc/Xi
JGW6j/bGDPgqHTHozezp3D62EMXLZqf8tTaFvzx7l1OaKFvG8+u7jrKltRumRm9XP8+7ra1NwG0m
k3rXxOqysPOQTqRmGBR3JmSkTSBfDYFmBQ1N5wkE8Y1dLS0XKy1jjit1qPC7mXHIvviQDLYkTm4u
0TW9eq+PdOJrn8d3bVsiS/7UvMPkczJquwVlNr135evlvov/NKxAuZLRUpautvkoofiAzJZZr0lU
V0w2MzVt7frPpktrNG0TiS5ycPRunAXQNJ+Bt1r8rqwD/0dq0N7AQ+BvCxID8qlnP9XgW+qSaMFX
F8hiYxtUl/pZf39JbLjcGXlJjBxdRvBrFEQgtAy4mvdvsPJ8fQ/6N68VHlMAzzU/DEFw73kjkFN6
cX0utsk9fOR2/GUoYan55f2UnSXm6Q0qm/qofMu/XIk3w5ikqGVk0n3pl/VxgLB4nFqBiRAmUbwC
pUG+HNAYy3s8ABiA/4TaFFC6/xG+mcl/PjdNGrwBs5hETgOhWxnW+sU6s2N2lkVRpNf7D72z6WSg
Y9o/ks5sS00sCsNP5FoIAnIrs+I8e8PSsgqQSQSZnr4/0stO0kmqjArnnL3//Q9GCMNgGJSQ+tXb
40MJK7xAXm4ybgHypv7xt6dsmVxCKuF8BUSCL+yeem0ySDZr/MZwMRUJ84azaxY3ZhG7j5eygX88
+pI9moserKy33hfmuB1jzu+15SyK5ipsDDaXCRdHl25wEbHpnDwn6/RXVlBMI9KYyRVnnGjx6mgd
pkxV9WSgqr/ZPQFzJpmRwwAzM5bpZ563Lsc+fyaewsj+9jbAWKs5MIMxj4NgI21knF7BinvE5MOI
RxNNEmcI2EEdg9EOBUpjq1ABpsTVxymVAvUN0kji7fDNYQgO8wXGbrHhpTA6vaaouffNre7pA3HI
BdhElowIbVmXh4Jlji1Lw4AwM/x5QDlHbfoRLEZKUEskDhHRaCscguz6dRxpawpWGDbIc1GCBasS
v+Xf0GVSk59pvt7N4OSjbQDSZIuKBnhNggQ0wrrS+s6RRSm/WAXjs4kHdLJoLGZkTu6BwjNqOnHb
/raHzwN3C9Usea0r5mCLZEETpHihVSeGtKWAZcT6g66tsdIc2FmzQZO3peG70HP+VJ3BWKcNGj7O
PJqnTfBLCD36F7fZRB+D/HlX/sxgmKzrU2FJc2HDjoVvuboZbT3Vfs9Ixsqt2Kht5tFIJDzAmIzs
IW7vxstb+zW1sGYZTxbvB8Oe6uEzo5WmFmR1DWZ73jiaeKTsGuT0S5ZmR184bW2tsDMV9SG7Kzs8
zrm/WDb1267pDAT4zRIJECNNbnCmku1eE4vB/QgNarjvjslPhwVXdRrLnsoULd+OIhiVpsIAfdDS
rHOmkQWdYAjHVD68qPooDEMd9N3jjjWbk4b/9fQe3aonQ9l4kE9rj8kWAgu78jzelx9mdD1x0eMl
aygnAQO5FpJCuPSoc340a7TjXO5dzkuYH/LP4HKkkgsgX2QU5/ih3pAmkffyR7OcLT/zoT+kS6KF
3g/YQzmf7JQlOtsFrcmm+6Ovr58NFlnib7xjrJ6CIsuL9JfZ5CJeCpzycAlyo51rK05kRkPDSqW5
LXdEQjPsQwm3y/nWbtkPJEZqB9vfwkMghei0fudOeamHbZ3+74+a+MqJdGpcLp2R++kyaLOdSmTY
JfZkiRs03zWT/VjBPArkFqmjaCGTRFMRT72mxcrMTvYx5EIJUCy2Q8EQ5XPRHmrUgUQ1lDWLDrmj
spSJ6eZctKVHB+DpINSTsDAQNa8LXTFwuZavbMnVD0xpOqxANkIYZj74ZTbzoWuFswaRbHcd+fZn
75/wzoizn1zF9AnPnA2GYOHXRTzYPtkIUUh3ZDVBXSOsxSyZiOONSQlIqkwtbiSqNDh1WeXws1za
uMZR6yXZLYEmFNpsOSNsYqjJsehUUL8CVjp9dZDZkptVMgJimTySKxUwk8Bhz4J37H232oKX1xoJ
B+sLbpWVxHfIuBl+1PUlYoEop2ggPFDuYvswmEFgKatYjWJN5qKKA5I5Ha0YcijRkrYmh02JY4Ne
7hR4NZUJSD+oATDLwMCb7iulaNCDDxeUEUGmOSFk49J6odAZPQSoKNT8vcSEB3pROtmmY1dAH2Nk
MqNXaJ+UegzxJCoW1Iws4R4vgp86YZdCxzgR4YoqFgZUmdsrzxcue8P2B5kelZCwKk8ypEUB+ws1
go70tr/cDV+ME6DVveEDgLeAoRWgDjKM6U9ghb0F46OzJvL0jHxEGFe2Kv3FHWsIhj3tfsH9jJWE
yoZQOkkwKDwEf//pzqLU2TV4KNX1SN5BTRwk19kf1jxUqnA3FfFQYQqMIKX64JDotF9ody/3Gyxz
jHNZfmxBzyy/CuL1C98+W6MJoAWvBGY8cuviO6utS9jTFyYCFHAv9RHB2C45UJRs45feF6P2YDcs
5eOL1jfTBrF1lC2i7AnYNBIsf7KE1AnNlhozW7ax4WlAEFgQiLsxsy8b0DGc+6ujvxYeZMNm8wS2
NLQOLFvsbMWWDF+C9LsXRmjZqbaB02Gj44LO+PJvNJ8+WFXvbUFJWEwp5aR5YfCbPdzlwyARIsAw
3DFdHBgqJGR+F5UFKEqNC82wgc+tzYHKRsxu180juAgo69D31fz78R9v82UGPIu24ShjQsSoeyUu
kmN85q/yPf+wfPguwm17fN1Kn+I0+Y1O/d43I84FF0TfJWFjjRvkb7TzK0PayTZYWjMrZ3Av3otk
8B+iSMZMfYtErAW37M++o61k2PGKQUigRcobYCK2nxskSf9MGZAOFVukLVwKRDL1D/gZ9Rd36KI3
0LR98AilhEAmtAwWqHc595D7olhBRWgnC5qECp6WuqRsdJlOarPJnSOzsJtduFbuBTwXATrEd5lg
ue5vH1gjVE8oGzQK1TOER0RXtUr2jLC1NZeWju+k/vQXyG3Rvbri8qeuUTDGN9mt6G7/+ewBp6A6
Cg38q/7i3WhNKRP/fUpnHNgAboOtCVx39EOkegC4UzkXHOWN/XrGi9QWNykvjSko1A8ai/oBW4RG
gnk6Kplk87VzXSNtkRilOd3f6GUpm5fRAZcLBkR/2Uu3TA2Va41nY3QkuwFKDOMqqI14tWQUFVA0
oCVgNX4CUbEg1TIBgH6teYAwsFFOMngRLJkcPd/AgkEQATgWjJfIc1dvN0SGosvXBAoG58WA9eJe
BsUGVt3gIQTbgYIluCeb8YGnqTd4/xkiTLsbdmFIvci6CffVWruwQ4oYsA8mrUN/BOlTxDln4PgU
f91fgHVyevpYwLUj5OW7fwD2vHhkyya0vo/sB91OxvgbQTxXm7EF56l4RCiuw69TTr6reNFWIAzR
e3Gnq/AB+ZSZFtFGVkSC5pZfm9Rs9Rmuj5UWzF8sjB4gK01m2pkPGy0ahPXbkMjHxM384i1Ldl3z
14BVgd+etS+QQbMAlGOv8KCi4jdpo4p+EZs42jUrf6uux086e6SjFBiSG59QwXJoQWW4IUVFN8VH
NTB+IA0Mv0rO2/pseJa5QEAvJ5fQ2/2B+oBqEisULqLYXWkIcKLCY+lrIUWicEZM2jeMGRu3jtec
m+kAIZnvcKGGtp84494STvgfdJNDiMnqV3C+vdkpsMxkayRge5PZ0+QsCO6r20+SPcWqoF6idI+P
C0sNTYlWQzP20mAJ7BYecJ3ERxJYTxTcWHByxNgCHgL3SsTgxtJGS55WQnCKXVNqSS/0Ok6wEMZ2
AkGA6SxqVADGcMnZ/nmv3+PZh34eTKuf4xg0nay6tycqG7kw6XAQ9aU7MJLvDrgTZRk+6N3EQlxo
G6KNSlR8zTMJBBspm7jNEP7jGAC0QYgE5yU1IVGyU1NsrgFG5TXsu1k1pSnDZCuKTXwzPejyqupG
oCqTHwH24mvXF/OyOJba6fta5ZQl6fKNWF20q9hTfcz9bCRurfwYFRe12SucvkisRkvKieRlVc0p
bQ6f5NLJ8IG3HVoCB/sr+HUcfWwQi4bC5Q3Yw4TUKmniuFMKZTFpaFf0fPeqEbgylTRGmDjJS3AL
CE0aAV6V8eb/sXVyGO9pshtVR6jcb2BGrgHGnO8lM6rP1J6MUarvoFhkl/F+vJ8eJQWuoNGJbjZ1
O9GOBLOrrA/K0IJXljXe9GtWbzyg8AeEjFbOsviIh/H3nxFcbWml3q1wsJ13TIQaox98TmbJlb4p
RiFIFV6b2r+JVs6GOzHfmEYT48JUfuJiFidFVglvZbAXAfeDKftTFrr2cULNpnYW7xh/YIU42oEW
vR7De2V4PeXpQ5qesYsigoYTKAe9TS80sxSGSkkSIpi7EjuMqNi08ReANondFBUUcNhvv3jtqc1T
ZxgNYxyomglmj9CQZL1XzUbV/VvIaUhPDk8b4gCsTNSsvCBYedAUabV8Qi/IlyLmRcfPDB8ThXOH
OE1EvMDJwewNuRjeCo4k2PembtLtVPJ9tiGOSaUJ7EHTd3l9DwHGmhlMmmgOxeMvPlSMCmOng/51
osB7dww5QG570eyxKYiNqtIxhmaT8FszujPR4R3Cf2SyNhYM139brA4+Rkrc7+CMZlU4vWgnQcRL
wMRMN1nFxBR37qfB/24ViJi6uImPFxUyAqxZqfUE+rjpQArELJMRAE0d8nAmfwgTUUTC4Rrb8j6e
2CpkaW1XA5cyPz/wpRSuTeLQ5uKMjPG1oDEw4J/karLVcfBhioR9+fTe/vBRMnPUfgBK4IqBHWNu
izKbkFqqykZFnz7crNyyeIFivz0dDHY1JEbgcI+WuYct7z5kBZsa2Rlwk3B0qe7dRfrzL5MJvssz
Zs8ARvQQ8hw2rNBsgeBBON/yGi+KxIcRvuQsz0NH9a/cFdSZI4YPd1ioWUo0SnJKJUvF/rjfKhDK
x1hJbqlzFYwCimuNnzWlxQBlyzuJDIlkkMTgs0B9CodfKk2V7omc5tKi0ORjiX2kjXqBpShbHLdK
s1IQclNDYXo2oxmhEyFo9BDRtXbvY/yBKsTAqJt/KHK0w6vmiGR7yvVFypZW1RulPTS+Bp93WcXX
3uf2koCKPLnGB2fxwtwcQgs+Nf2SDRlLBgmihZavFeI4arIe2wWc/zD7Z+JN+HC9HVd63W36S39J
81PycWlAyxsn2iS36DXbvQgNS6Oj0uOb+DvKHeoIyGeyjp3JONa/q4gPm9lYVuJCBehCkavVC8kf
YBg7gr0VWfXxA9n8axQ+pRWdL7zgb+5UUDHUpwp4KmxZY8KJbipfstMO0WyM0Ckhf8djy2nF8xg2
i8KCPHK4IBOeauaoYAyEW9Fcc1JcKw9T4aq58uBKEF5bBpIxphWD3h+F/qvY4y4o4TwEMDNhlfPX
8NUQgTYwbutl/IdA+SVs8nQf0H7/hZURjOfVyJ4oBqIIRKswFoEALyMsS+Hc1TbDi5IBDmGr7EwK
XOPRWanXCSKg/P7Ca5mlk14T31HxFvD1AL2QZjHpnHzOZffTvlbTt/2qkChBazgV7CWD4xJK4jX7
xRdyGd3QVqIOQ/HcrwpGUHBBfAdDiQ5mKxYDMn7mCL4o+SgHns0SqOCFK906rK0Gt9Svg38L+1E1
ceF4iKfuD4Gn5qlg32N9ErKhG5CvCIorHWg9WK5iLyVapaMQ1FDpeGm8vzbkOzh88hlCsfeO3Orc
RoNmWfz9smJXJVIYLNTwm8l1yqEQqcG+u3MPfGKLShvjEUS/3HyhZjVjj71QwePuu42qKwVT/7ZH
y4jpfDTeyKBd/l2mbvgZf3TggJIAmSOVNBwn5U3BUemv1ID6/8JHKbY0YD8+T0IlztW+ZVagXUvV
K1V0I8sCOOG9YVl0JS4jBozfdDpM3n3VxtsnA0v4GmJ/+bITIhj30avo785soT7NtCI1IkgwwS82
e+ycCiMmSgtqPoDWyOLlBPiogjJyLTB4hakXU0NT4PZgE9F8DbeXRn9s+COzgGPBf7h7B8jqnLK7
pS93GixfME0LnVnU+D0XmYnSLOGSTrn28qAfnuDJ9C36BLjWm+RBDQBNzk5JkPct2NessomyUeQN
g5n6zEACMnh98JlL95uSSleaacCSFUjAnUIRjAKs+mto/iJGB9Xnc6YfnAGHGjvo+HMDbpm0h5dk
jh49cDsKFe7r6dgROsZM90lmfk+vDS3zWx18BErpKmokCX4kDwMA9G3Fy5ni4+3PBfpW7CyMzIXA
GwnEGBnTSH9fixsjOyh2FcvSX6QYWpW2ODZCllZo9CMPuUY5stKEW3HeQz8SH8Xvt14r32wW/mA1
2lZ6gOHJdCgznhgtCWqGOH5Ax+4CnernlLNZlNIBZmpNMcrhN4hyUCmvKYmnRLJ1aKRRzppFuGtR
Kfp6J+u/VAziy+7xDOWe0Grr/XY+xcA2mdPiTbeUbiLrDyq4NnAQvSl2UPKm7ncpaoO4hiYxE9aJ
akhjW0AOF7NITJ/hQa81s47UNsnt0YHLqYuJwLNk8408ZhpKZ33RpcmZrWiz8N5pcyjwVYomeWbe
x9jzFPo1ir001RvjfaK2tI8fPVz97iiXQVqlG3dxO7Fi7VlP4G5sWYgO98Is+MJ8doU9e7SB7ZZ/
fnPsLIX9mEMipU89sO8hpi6N14kxDgkccBHXzKRu+IFDz59Y0lFZFOvqyEsxcNac0bLPAn1CFD1S
1JlkTqwxYEBismdCpwLgZnDFzmcSZaDsPpRbYLml+3WnFl5XyzFfwdy4fMZoZBm9DMjDul2WBxDB
zsutiTM9J3OF7qrEC2I9ig0JghdZIMNDsDB8cJGgQPiiueJzSN1+HrvTvWR/Ld+RbsyUoM16QzAY
fm4f1Dfw/3VJ783GQzG/ogg33yskj95nlW60+ZAvFq4wCnNYa6TKKcKZaYkWANgt25cbeb4VuD32
L2OAfhINh0eyQEVXq7MomMNPl8H+Ye5M9sKFaiHfJGM7OPj77D7df0Yb1TcpOFTJDgj8klYchgpi
FFxjJqwjCpL0e2Ua+X0fJ0SA4BPDkQMSXeAVkM3kmgjstWX9Elk928zsK0ihyV1iAJ/Ozdfp7eBJ
p3VYacxwPQdWxPVrxoDO/6lPMuy5Bqq58z18D9E1uLardlWuB2eh5PYyK7vcoI5C4BXC4xERV4DF
3gGdPPVPIMQs91SY8v587G9A+SfEyJFxVx/6Dt3ZoNT64AVdQoy16mid1kuovLgQd2vt9vlDRvW5
a/SgUJVWsCar+2eXXidetesOOfsjc6xZvIYr6MIgf352EO9+cmpGTtjIGx21+ydB3YuqlTRMaZWw
UviUsl1Trb8tZyteIvgyIJ2nHo9PZXlLXgB8SMtZujAc5MHvbcygdsNx1nUDIjzFSXdqiNhXpXbX
ub5kN18KjTViYzZG0Ul77LC8JF4JhAsDdWE26CMjno/azWtkteITpn4O0atbc9iCXqrfSzMypXwd
JBjpfK5ZeH+jhOTw915rlAuCPgmgmL69thgsJNEHa8CFCKyDO/hV1dqqx9grO7ANiYhmRk7+W8su
NetEPFdQH3B8kcS7RORQssMHJHDejrIOYHI5zFYp4MmnsNhJqMSK6PDBaOIRberJWfCNVLFfNKYS
Fnv2i0v5mUWjuVxKAxtVGnmVtpmk+EVaagp5fM5wJJqaac3RpSxFceGL8AQRTMKoEm3cQ3qJQ+Mg
QFNtfXy7CA0QPfwyUA8QhfPF7GA3ni5HkaHc0E9TsxIqMc0p5BHocdrBWd0gaQasSiZQbJ8F1n3p
aJ/ACeEgL+4pDXm/x3lGLS7Mo3w4Y4yPKRFR6nZztYDs0+jq+8xhzPlUvj2l3U4ZF3VA+kK8CFrn
JZLPJt8TwcOExMe86q3CfQQ1ifqfkro0le1ui2EChBA2dAVASHLG0r2qYJguCgKBKSyBeLHEpZOv
TUzAyZwoY5NOntq7p2Jt/AaxO7NRHPdB48HdVEdRFjSr2ngjREtlig6LOb6VNICWdK6DVEN/ketV
OH5hIfJVm/OSMp9PRyNpuAIXtxExSKYUXRPm1vFaQv1Z+QadMs4os5ReiLfN2FhsnAq0OJKNRJ1/
GNcUpk8t3awKiHaKhX33uDSFkdm/1yNwTlBzCnXpp72Aovh/eN5T3Go/Ibb94WEw8r0Dn9EkyRai
3hy5xtSUDXE5dqM/7OpcXvSQDfsvWwoNEhmMHCrGxIhsRMmWf5D+NQGjBQD8HJ3UhhxVQnoh+6JY
HZQR3HdP5EeYv4CgKIKNA04UY/poj7R5j1cFFCEAyDl2+TiKjFRG89YLB2cNfzfIcjh+GSlKAoyl
ABWJw3Xy8wj/kQ9auZGbk36GGgBDk/zcvXTRET2OzPtEW3zPveW7g/NRu1FWfKN8lVzFHHmNM3KL
hbLCCs7uFrg/MClBqraYrKSnsJM2Q3BIBzKKCYaHKWyC8Yw4V7bdnMCmwV5MXUSLzwFW16m8v5kE
UsQx4AfdAyfRqpnwy2cNxMn8IkEWjOcUpU9n4jzLu6cPwHCk/QA7bprWTOQhCQNxzPHVwDqyhX/m
JDjutIFdaDq3wvAJWu7Bmq2JcLAOj1Jfr/kTxBz6gTQpgsn72TqYHfgls9zo/z9owFNjfQyU/wi2
9SJawsxyhgTZit7YZNxvxs4BZuyDfBbzu3zt5dVko9riIn2om3LdufladPSRPV34q8oeecOpHdnq
P4d6gHQfAh4BHY/JlZKWDjjjNOW6LOlZIWcyU6O1/qdWgTPHN4FbdL9oSUCBpQXIJopTITZh9jBC
H5/BIlhk5W2MK7WwHFTdiKaddMu9jkl/i/fIbjCp2wmn9yF5VofkgLYekwpVNODoMQDDlCu/sXx/
uMX6dXyC8jhy2p+KBNTRGThaXUxeNtJJBrxuuOUem0UwOMa/CRoUss1qS2YovBxvyjmzPl1y4Pfs
QDTh62n4oBLW8qY/4u4a70ll+sernJBwgk2oNnvDkMPZIrMhT6E2y0+dTW7jfWBf7v0lg1IkPw1U
f6z8epfvbennA7Mqlv3UBgvB6oqNCBATpZeYwnhidWLHUuNsgxcYDgb40Dqqm3hQwo8vL7mMA3Ow
+Bk52BwYCe9HMxaYWB2VB1Tf8IZFFRturhmdoLP/v1mf2FOFDA3Ug0pJi2hlYCJnP2Pf9TV9lLhI
yUaEHFeGLFmwnxXqlRmRUbxpoyEhNLRYGFi+TmheaGowGnfhi9a/EySlpDdAszvmz44XfdZ24kX0
2mVstX8SsxG6WnCqLRz+nvSmZ2fLzwqq0pUdiME6SNRP9tPCLOD8xqpZGw+EZCyBcLOig8S2Gk7L
Vb32m+Yc7NMFv6UzgcIxrGBWKy9nPvJU2sVfbVPZwgJ94jLbvufvrb9TTHGOzYb79qbDqu8geXKz
jq0AaPNlTjnc0faEVvICpzJxtFel2aTaBG5EITfd85l60SNgdzlhNvITwWbHUKP8aTxObemQE84J
+7C9gvoteEcTwPnQo0unsVuPjD9pw06vMbX8mDDMK3ygt+/8MA6MjyVteBsNdUhnxLRHOqC7+XEI
JDvSlxX4fnFsLQRTJllwqv8NBfL0zIo0YFHbxGRuvouRVzjiTj1wU+a+ThseGHRq4WA0PDBgGaho
AE44jFF7DLmilBfNgJAQvSbtIUBrrcVQKMX9hpbg1O3CY+4G68muxTeSkgNSJbYGoI1eTx71RqNn
nG4C1RZG2G05HVuAHiGD47chVt2MEhdfR/O4a5z6ViEnJheHnAVHUumYZzQZoGnJ39eK3A2A2Wxl
epDB+K8AVyl0Zf/GveANyKdDbodZO9SM+B3oyhOK6ocFuppclGe3Rk6BiG8djwaLWRlOLwzlQdli
oFOFQdfScTDSwWHQ7beogVEAJ1xubJ/o/DujpqLGkBCor6hsLAyEq4yflR79QsIE654ybPn3GC6I
OqPdIzjvIjJaJRKz/wk3McOZqauZhQRDNUCchYlaNPOm69KQsbZEqg5VaIa3gYT1wdgVJ1ggiKDU
1/Azg8qW4FsFHYUe5WP6fHTwAtDPNOvviDWKsTfnrcFoG4Uca2LiFdAuyimDjtyUUtjWHWMX+EHw
P7SL1B17gZNE+UtZSFiCw0JCDmHk30sHIaQ8vcnKkRFT8e3UkeD0mi4JjgbCj2iLXQo1KY4wsZW+
bq/YmQI9uzzTqJ+DmlnTK1hATTmJ/lbZj7cI/EtO7PFmDICbgKdEzvgNXkYGDvEBX271ClBtGl5x
+SSsaZKNyEjYSRAIrxCrx40rI3DueLsYLAnFvI1zhFAcwcQWTTNDINwA1yfNf0TBIWK+pAhIyyJ2
WZVu+LVTqAZjyNAyxM7qM3JDYNL6c4BHLuKR4zcgDBDe3zJsxizaMYh9XWE6vTb5oJ0IiVuymiGo
DFdb/CBA5EYLbFk+G/zd+begxL4GsfUgKx0kTOzWWOc+RxeAZcaiwX20Vwd6MGcMZSrxwijzgFPR
sjAcVOh75oAUUKqKe3EXTsPYvxvS0Njev6fJH0oVJiOfwXJY4GZFtHyClyNi9jh1m2QOhFt1Fp54
Kn5bQ+u94MlSoiOwdsbdEIZj6WZMvUB9SfY8YPT7/+kSZXYKOyCxoP0POrsT9R3kBSIZmsZoEU5W
cxwV+cvBh5fMFLBwZjkzima0CeRtMKLpcOT0l2hvs8WXUBpMU3/S59dN7PwcrPOFuENN5JSO5ihz
CSvVYovkzmJd7CQ6ssKWIV8PtCjjqw52XRMERsQO4piKLftfdOIjbvQIcvnWx5NvyzG1Zpt6HXNi
qX8+F5S5G8xjLXxzd6Q1Vmg4ZqNni5fGTj6AnSKyyc8qfkzyuV3nmDYKc81Fkgm9bjY9Jrv+VG5q
lKg8G/fpa6F60VmiJm1mMpAVFkgeMbd/XDXt8tlA1ges5Ah5gpgMc0M7dPNVsxKWtFH9IziCByG8
trja6S20AOSW5Ta9aTtpNcXTY+oBfHxB/0DBqHygsSFX2tFMv/b5LzyxgI5xyRAAg29IxAZjm5cl
/IsoUqFYAfs8INzTWWa+BWeecZkAgXRDthI2Xid2n9mFG312YdA9u2mzJZwbNp/hx5Ad+i86FmN1
zmHSBJCF7cWtsg3uIlsrOgKU+/TyV+yzxbX/BDDFefbNbFnFl2M3hLfBOYS8Te2iztwAqB8HCQft
lBNQgSHPO5JGvfoO1lnxol6ny3z5gbQFQdnI7+I2ZYQcrgfxMcyDYN79xnOoCxN3iohviG7Hmtz+
/vLhDv4aP4NXYNqSP+KkbxteY26KInFdLpMKfJ1QfEDhNBOSmTRuKm4Ii9zgW7xN1uNFTkbFmFBv
4h/tbA1ZQHI+69fe34wdzFed91rZTEn1Sw7lMUGcoO5AMDpMMSECMGrWeXVM2IuVzKhuzJAIvzg7
bBhCOsye5RAaQW3CnQojtAC/eGXscf7dJZy7rdVhch8AcfrffTldttCWxk6q4L1j1PRNGLpeQMUM
wZDcz7LaNYfcTd1aZ764kmCSv+/oEHao2fZk924Jg8KuaJa65BksMEd9flbvmUCx6n5OOFf8QC9f
pW41g/KI/trA2GJjtVv0J8cW/zoPuE1HIoCNA2ooE0OiL+Fc8GKMkqRqvcQOioMMxQbCE9X8LNIX
b8iabnyoK1gYbidIqhV9cq3OnJbVWaZ91a7TelmGc7G8tdUCFi/OPqR+wEkb+pIOQjLGVRJiEjxT
Tkz3Ws5pjF+1R/ITEFGJM8kYD3S9tYgbxBYKQi5CFYn2WF0qr+xajms9bFtzDON/SSPKLAzLji8o
H0g6CPtwRjZjAwAEasYXpqUOuMnpzc/aTVmXN6xrkNiS+NnDQk+ueNY9GbUC9iNWojNn0MW2+d4U
t+a3O0K46rM3RGKThYQNzez2ceuNZH3cU2VNVmhXN+oTuqATrL80XtdgzXCKCXU6u+U74pcijCQ4
/ke7sYfGBVQ9LIx3Yby+JJiZCJaYhA8gSTcMK8JtnOF4BaNi0G6Gds8AWEDO60DKwEnAHV/LxbzI
rKbSgYQKGivKYeKD+TzOIk0ezUpM9NKIUtbrN5woFbD3kJGGVAEI/V0vJvjNQJljVg95HGSYsZ8z
oWWYgh4oLaC3TlwNHAI8Gqtl9DN9ZLaK9GBw3FOf2bHYF+wGbMAFJ7B/Kj4wljFJppRLzSkLMstz
k04yUHuTgevqG2Twb41+H/0Fj8x3prBQhhAVr43sTFgIuSnAfUcJcQheTklJnM8/0DlsqXaQYAu5
Q0Qu0Q+TJUm+jwIHatyGuQRvs88NLNgp1SRnAmcKZU3jvRuY9gC44QqgD3UQAMnHlnqvUuyEOCZM
AUk7l924Nb+J/eXn3IQr9D1CDS1qA1QlUgby0Otjyu0m53/AOYsF0iRywuBQfW9Yh3jZhaABkEzq
bqDyNSSkJbS7u3ac7BG2Sjt+Wb6smAkY7Rp7VkyYgg6pmm6SKQDIEUo+KB0y3le4aSHxZGsA/QaI
jI0Rs3WJ/M1Z1S+6zIBLOSRpnVRErx+iFgYr9RGa1ztUIQRqoD8IcGDa9tQdT5zYMEGhKOO58TWk
ijP5Wu6w+qmcwLyqfYhn1hQjJYKnKPdoDmbCqblLHvcM77GIlgVGCjBHoAJTa9Togvi2GGo5dQro
NK9zTmVSvxGXWu1rVzAVHzpq7mGctLFBB2Lin6FSQRSO/C3VIRVDc8Ds7vWsBuKXRSmBMTTMBUxK
MBtgcgWLXno++TxxXqW9p0Zbhcf+SjeGyTnnLoHN0Pf3pdPtatKDI6QiwZa4CM6f7BAiAMPm90Ty
yQeaPlYTj4DDk50JNQ/t2/k7CLrCc+5GB3WbrBLrtVZX6goBOwkJDHTsxPjaDc8RzKuFYoxtUPbO
Gq9UU0Z5AUEf0xOmh4BWe3Z06xP/CRSWrJB/XQKXe8oeRZAnq6Nx35RWFlAHzCQKeuIO+Z+SBXWL
AQV6whUooxDDntI7nFbyl+rraA1V+Sge3k63FtZBNBMPEib/uNKZGGJfuhVkzHm6LY7jR7Z+GRRP
B8kjuT4xYbFxA0DVGF3gN0Cxh8vPZYowy/ihRMRhGUrzQTl1K20hHut9NB/9Ks/koXjBvNiOD5+r
5Ijm9Fj+VZvXdXLS2NeyDZv1gk0dJyNR//5y/6ocpv0sx96EraKsLO6qYqf9jD0+ai9QB1CEv6iI
Pw3AwjOD+4Yvfn7v0T0TzoF8gOikUeum5Kkuw9fuHdotinlqWOjBBAMDRBCXC4qHyoChDSxGGhnA
ion+HuyHhNNkDtriQhmGUQ5j5bOcFCfogrgMfu+j0iHogSQtrIeE94rDHn/LYBeBoZMPxpFXku7g
EEsKMkIYJ6AMAGOUOMAPTAIZerd84LKFUSdCUOSkdzSl4ykOETr8VKIQGIzi2kIzmh3EY/5XUSfd
DutDbB56vMwLm95Xb2ebzeZnR80zi2YP0JbZcD5A5OO3FBSW5BzALWagh8y4WJX6L2I4pKDMoYGN
ytaAy0N1jmEohRDLt1xVB94474+3I5cOHwYjwYaYP3FOE5Hjkt8YcHw/9GShAekKuxPG2vU/ETQS
bkihTD/hVh8g+8olvksk8YLs874GA20vAjaIPehbBZStGLV1Sh07GpR2SBpFrjGlPYIqDvZ99hBd
ZRPc6j1ai/zImDdYMByQPYjsUBRhrt1oSWD1//i2emF7tUfrcDP8CHawdE5jC+h6nrk0CTRHLr5G
oa7+QPp3RXKsBX5krHeToBwC64fQemxcDW6N4cs1as7WIsLDgFLEAx3P7BavxhZPyhNr8GHBvNyc
BHtwyAOatjW1PqTQ4UF+j/HdTfTIwbmcQhbWFFamgs1ypq/mKhY81o/hurBF8WAszuQqXaKYwces
0NePB18Aio5z33ApgasMVoH+i4zU/P0NjZ1temPdu56zmbeZeb/VbIPHuc7kkkIK/cUMdRQ/05zx
Z8wFdA5k2vcQ/YO/CczQADOwuSuWGHUYUyNmMNrqDDVmq/1+v90+seCxTuBROvceP8LZH6DabE8E
LppzRD1MGKczJrEYDbf/HsO/873088maIobB53t292fX4RUMr6ma/fzw+nhAMTGVa2xPDXk3vKaR
Tunw7xMY7l9YtNzHeDv+u7F3u5G+qfnWze8hIhJNIm8t1/vZ7/DBjcxfbv3f87mfg8PPsxmrYT3G
P5NP7sE6GNYHKwRP/df+ZRwKfXdgoWw2aFJ48mQNOd8CFuKBeMnk4i0vl8WimZO1od/QFA49yPyy
fkCT4juQ5P972GuGTTw0Lt9jfRiUUSS7GMM7w4KLn0P0XsP7wfmFd4aDkc60is+WLu/f6huu87AK
KyfV7V+OVpAkCxIWrpVQN/SXNbhrDheqdWonxbAELgjamX/3BSqYbTjkJYMl94t+Ecz7RbEcL4aH
tEjnimx8j9n+/e+RbqmyTd6lEW+Hn1OTkcOKux0hnQCPbP0lOxs34O1n/VkrsM/NAT+2UVTgtSQ5
YGN824CTx2ZmhD8oDXV+1dG0o6LooWVMdEYXC2QfRmbQu4AtD1/zH1HntaW60mvhJ2KMJsOtI7ZJ
NmDCDQOTc45Pf75p73X+7d29umlwqFKppClpqmQX0qNovV240BvA1/6G/Mat/Xt41SPcaTWqSwMl
0XbRMTcI4ahk29JckWQMGtbgIJhv9tzbnZwdm+95CGQhHmMf72pdU5YESIX65lDWrxxJLS44UsgK
htzGK/PTKA72RhCuBv5gFSyCUYCjOUq9TK29s7H6GmEYxMFo9Ge24mAV6Jcg5L8VAu+ezAW0v7wy
+jicbDSZIFDepMVZWpMWMYcOjZuNhCIPkEsaolkdZGFtsDq7w2GzMP4k5yUNKgAMUGljTdPa3/ow
3gZFhpY8LI4NR57S7jxZ9qR2N2o+exEWzqmLa9jIN/Ed2mhNqtg+Tfaka5tqlEP32oYk25d+edsa
hh/NY0hEZ1r2cJJAV0ihcgHGavaZokMZkEPUkC8io17Fv6AEIXusWajTzeI+00GWOEUF1NER2VpH
8rl1UDTg6CA7ESZhDU3dWhzct7GYmhpPwFubEk/+LTP6i7gMp2G8oAeVRaU0i4PlKnX1MZbzOQs4
U3P6XZEaTUCLBmPpzMVXw6OTn0H8hlFxtXdJ3aULnZQ4/XRlyX+MqDvsDntg+A5ZXvbNxS4y2s1u
d7mMFPrRFwXOqAZygDkfPyyjZdftDl3UDQVecCNcYbU1qOvH+QHAmryj9RemRQ1y3ak7sEoizc+Q
BdLQzGYSTuok6vwcEWo+cw1ccnrCsHw9qO9oM4EtIbsYwaQ+AlO1zXYHUtpeR9OQvP4zSrdPZQHd
eA1K35uwXsV3++UwTmYcL8LV2gqBmq1F1ZrygkSZGAzf1XkDakioRc4NnC6wWP3tbaydtxHuGXU4
vVFVBPM5zkZfYa97S2OORc9xNPtHKhPOvKRolAZQB2Vog0iqX3MBQ0WQQxlJs80FS0uX43UZ7hIt
iepyUb7L+dUitw/NhhZm40HGpdD09uHD7g4j2BPI9Zmioj7E09BeFHesUVM6tNFQlMJXDiW2N3Hc
UYhsO4MlyjvinvtISgfkRw/BKutoGfF6zYrqdrSU2svOz4WX8+68ORw3h3O360Y8RfakZ0J22hTy
jXyDjcPGSEXvHSzZQaSnOEnF1HbAr66+I1z+271QcwjnKmYSlU3WlX8TEmwC6ESpPKXWxZRy0/qj
kQgKQ2/cBzn2dxJa6bALGiNEpqudHsrvVFR+bNUSGX2KTuR8sgjIQzuhqKb3L+oID/CZQdst4+Wh
NJqQ4/DOc/SjhIUoupSn2SnYbF+EQ4ypq++djuN12I7SIapyK3VKNiCbcVBmQGea/0wGyJAwJ3/m
ZDLh5ZuFUgsSjWXkshFy5I0WKnFVt/jgRCOnor8OV0omAn61o034Expu0qdLjRlFfDpJuC7lETz4
JMc8cRp+UZTgw93Te4b6IC5MbjGfxmCZJP2E/2ibbVdHX7tFn2lSTm3iT959RgK7vY8ufSioqX78
oMJIBmNoyJjxaz586aN1Q+YVPKJQz7+sbfvNu/RcBCyND++jEwW0+nlUng4o/vuy8OD64LXM7IK5
1Sw7UoGf5qupz+AUco5MqwlH/MK4fWx/V63JE9PU/POJ9zFeWpBSXxDa8xYqG3x01GTS2RonC3s7
6dBJ08xBmUjUkgfXF0OHUfKfDYEYM5bcKhfUkiTRGAXJh3i7ej5MTVwzM2bs+T/RDoIJyeW5HBvV
YhUGI4kD5yBXyOhoIp6wtjPqOV2GueACG+xMDw06iePR3tD5qojTZJTOOFT+RjwKNL2cYIv2++kn
gCJdUneRgqyaNkQHK/TN+WWySjpq7sSZkDTNRsaS7PdZgkfp0tTuYFn3+16nk3A6HnoKb8vFq7kF
XyjtERRXAiRZRKMtFo26FS7YPhdsFsGoVZC5i1TdrFHZCGLrYIZ8YsTT8kxrmwtF0u1ud+lGL8M7
Y/pqxWGP/XfX/26REiSNOU+UdxAWDWR23Zjh41pPAz4PpuxmHY1vqho1Dty18gAiruO1RoAYjC/c
QniefzY6M3KXrhRXxPYj7YDJDWaRrve8NcG0r5BigDx3fs0fonnH8idA40ssFSP7EBOApQrnQF9U
RcFuQll2h8RQqPYeUvILsixIALk2Nuye4SKMMUWS/sHigqxBa22MAvAvC2tE4pJOkSbojFg8EbmA
/9hlMU2xQtglIQril8WKMawagWwTbdlav3036kpj4nhy5snowZ2kNo9sl6jPKC8/Yer7HdHA2idS
m5o/oiBBD9COSKWsEo1/Lv2akE+PvGiVUQLCi7oxKKDS2X4y3+nkP1iW/yKHcfxM75DbQ4jTx/nv
nJ1OOmNwUKfHx8mTliBbDa4/7LeYPhNhqBOmA5E5XCdvHWlpp8IgMafPh3+0BngiftGczfhhFU5N
5l4y1ZKgWSF+h4YnjmeDdo8kfr9qoBhb6V85e/A1/F7vbaxYdyyE1qSTnNgwJvwpDHshQgRjMsuK
tuc89M8ZPW0kWGQmyJPkXCoii1LIDXw1CbWl5YH4n6Z/M3sFo9cbrL5YRTyJpg1ZR2pl87GGE1YQ
qoWlslr1tpae+Wi0PtZI6kDzyFuZ6ChauuN2G2vyrL2NjRIn01uzhefs6DGUDxE9GjVcN23r2uL1
tyO2zhQKbeMvB/DnvlvZas8EijoL8pBoy+QiT1cbweHuEVrNsO6Qi2olRq7WSr/PjaIi0P+fZtlh
HfVZr7pStDcjj7f0gdzRC50+TleqGHiwTtFKOtKWPESOjaqD8kK2eDMjjbTwkOxScchMjpKriZbS
cGh2n3YqHboP4kULGCvQ+/QWhusYIoxdt4BnTekdbEziUs51puGW77nOmzZ9UvG7PkXQdJuWcH0s
qQqpfpXLujscdQmo5kwrrOJKY2WvaXxkw2YH9hchE6b45TApNyBjwEE34OXg4TCZvKtTNmI4ZRAB
ORskufCTHJEGhtxiAayqzwZFVN/NirVwdSU4+1ILTZMFfDVgpPsRnh1DjunNDiKTFSUv8eh8DLfb
7J5wr0FT8eylJbZYxBmeI39VktRhiMmw55H+0AEILddKfy6YTHoHK2DEHcUhKjq82h8SaVBZ3AzR
JZa0mhxqfLRqySflVe0z0HKwyPPEn6BaSe1w2AEt/UVXSvWvZIbmMkApEtZfh2HSDwdPeyY9tw5K
AsFrgDSWQdK2qp+07x7wyzKLX4qN/DSMWeEL1wa1BCYUXhzkvv0XCkR+5FQd7YSfdH9JcufJNQYn
RkMHQpUKJOoOW3JqLWUzAkJMG1izFxu3A2mGrBUzhz/D1EKwID1BXrZeot6O2WNT3QAf0LYBnwOK
RpJyQM0CmPvE0S8vs0zc0z7QBmvXvXBSRypXezPyvOr1fH/WnrH9xDiTVV5DaXPEcoMuTR4nGxhE
Jf0Mw6jFhkJedqN6OzqjIDDL4o37pKRcJr5GSTIjSUXZ04tSIBOLQ/iU1o30KxIp/a+zWp/RF3Iw
/Zo5bxK3qfuxJqLHSE3HCapPO5bMQ9mfEvp0NtGK3OHJy/YdXtSjsUaxe2QL6vSpRdmX0aHdnxf5
H1U26egy6OxQdyvDh3lKCvYERTHhEaUw9YrETeKDAtnbToJGQMbZ+WyknfNNRnBPyN7Qp1IFoA/y
lAzj4mv02BPeyIlUZDYuEywnPQ5DwZ1yhn5qKgULLA85TUEgs0ObJczX7BZmWDRYjfowXZXZJ/kY
QzOyBA9oEAs4uG8tDB6L7zGQJVNCDMAf0cKH/ZPtVxvLBJtIoAhg/joEhwng9/DBYmwareF2dBLM
Y1S0jKR0oxDr9LYBLKABYRj+tHuwZjGksbb8yadZbcCE7x79+uhXB2+8gTiukciyI3HHhccnnxKX
11hqYRd8LTQZHJIOjam2ad4dyZQ5Rjj+HKOay16ipU1VZorVyGX5Iesw921NQPlp+MZUkdUsU0Zf
+pw+jdPiVFZp+ivlxu/VoX+d5UasAUDxPURDlyaN1sAP6F0wgs7NkeGjg3I+9xgLQhW8iQHkBLFm
jS32KV91QRCShYjxgtCQ18Fty4EpCDDVUlinxojcNhm5FRM1yNuj1JPPrLKECWctafN6YlXrC58a
rjA00dPWfeWA5ZgkJIp9XKpHCl2WYAFlr3+DoGxhjepdrKG9EXJrkoHV1jqZvXBF7mAq3SzHoMXP
KEtGU+ZIKjP8EZY/A1vBw+9153M3Ospe7aKFpJw8dFFm0E2tLU6wfpbe0UNjRo6oU+OQW5gXFNlH
P2OBV9iJuWtEZGvMhy6eGuIty0s72BEyRB3QvgJEfkkc1uTLO5HRRFcNg/qvNjuNgAI9rqDLDBnA
4MjxPthFLDYokj+RnDryWeTasj70eKlh888yR/LTPVtqRwqrbCxAJDDlNJ90SEwNUawjFoN8QQ2O
tJDMfQ2R7CEwCExaXBNs3mD0gh4DEgDu59rYmQLZeDLGiIWu3T67BWLOiHeH9aKnHPW782Wfd06k
THIprJYkpIDLTMAiAZRw0fHo+iP2qyxYoUlCNtHmqdIYBW+jFzZ0R3owrRMp29ScZ8ukOyDwnPCN
LgVbAsQBb7FzOolML3kzGqVsO+S66X6Ltixif2rybgBoBcTn52glbw30lmY5ylCIdF9mSWoP1SUl
4x387G70w9z3cG76fKZTddjThCdkZoHWQmeSl2IQkogNhnLOBkiSkfpUxX+2rexfRBaIktQ9Y/BO
/4yyTs5Y7LIZXWw36VI2lZeDHkOUQwGb8duPC1icQbwgz9OIpeik4vsTnHepUf3KybU9o29XC0yd
ke42nauATM44l+3CbAsy47TT8ZkkNQNR3JOEmWWD0Kva6zkXIshiBCbdAizn+VlPpavxpwBkFRxx
hWb9UnyL8Q9vQocn6/ntgX8xGz3I9yWKbHNyGrHftbKxmrmurIeQs2s4Bc3/knQG0j0EVYuq1p52
t3GFkeLVxsbUX8TocBm4O4slFuNw0T1wAci7iEN8xmtbAEOCxcGu5EVbN/cfcl8C0Qfv0gxLEbGO
0RwBaDArlqtio2MMu9JUOlKTRLd16d88hFr3ko5XUU/xQP3E7DQ8AgsGXZI+y2qF568HQ2dxQGbB
HsZmLj3FKmtJHeEoyAJdrHKYmHhIDBsj0qcZwn/DqjNK3HHf2Dx+VjLBSsKeZMS0mTN0Q8QezAy1
IyNo+TGbWbCkBLQPsoGPOWFx8kTNIeuBMZhaKb6GKuZ/9jSpBa7akqxIZ3+Cfg5nO5sSjW1fZhlh
FPa3ySi2ZNORxgIlyM6ttOWbY3VKzXngemtWcNRPPhZ7ZsfD3i0xlFyPgeS2tKqv+DxrVCIji6XM
R8ArqVYzibdsLO40lWAtOcfpp6a0/HtEgBth0EeArj1FkSR3mQJVeG8CVMLSQGnFiJSGbLSIEaZM
U8iJllKTEcXUCfnBJsnQVcn35AEegD1K2NEW4g90F//ZF8D6VNKzOURYQWFwZhU++4PglBoQYCXC
H+y4UuotrSldmkA2l9PGntmDXCA16pB45p1VxrKvmWULFmKL6uXUlC52cJg7b9nZNLLMTEDZelp2
2hnxfFLzQDcts0FmAv1y0Q5OHIQLYS6yGzLjWQOt+NmciMXLHjZRrmRXoBNzbaG1Ck8JnUCl43we
2NR0aP3g9PGiwnEIR7qgpOsAUQlR7n3eQ7SN93KZJEk0NvIYpPB33kgwHBNUNzraPWLEWVK9ChdS
PdlGrShNawIQCkEaH5KBzJiQw8ePjAzBhx2SRboTgDkDlPkLzLkwIEUqZUNfyFou93bNXZOahBYr
iu0DSfKSzF9SoMCkmYjCnhtcsv/uNLNa/9lb/yYGp6NBClOnENcRpc4rOZ6jbXm4rrR3bI1gdmtY
jyrwN0D1+uZxkTpMubWaaP/mlSNcPiSfXAnoUEx0cj/VxpSBe0YQX9WIYT+alHNXqXl7vmeF6w7K
vRldiR7kcXHWLyQ3JyBOQaXHtow1QZ8CY57xP8iTdAz2p491n4E7YrJMYTT6kLMJTF0yMch5tv7e
70ODQ3G+sO7vz3AutJck0tEuE7mgan9aGW1wcijguOxrsCnGT1qZXJbfslOpWK0LLWnyZIq5+dHb
r3ZoP1nuwESSyyPDZJYJ2Lpf7ErR/YJzLqqUyOWoXqCCGKcE92ujLFAKDKcxrNn5RWVyaX3gQJvA
I0RF0Gn+utAe/edd22TP9UnUBTB+hqStwKOOToQpLy61SWMTEQeFkH+NfZVsDQitXqSh/Dpk89Rz
fq5s12i9S0ffCaUFPZqqXe2LdV6Va4MXCEBICi5tNnat4uJLgXrRoK7ilTdgTSci/zUuTZI9ftS2
+YC13WtAjz6xDZCmzBmh3i/TrVHFDeQv/62oxv7WTXXdQYypeL5ZEFrug2t7WxSTRf5Iw53csIB1
/bBPhbayYbx1UFmRIEJ6CUkW76s5zQ0fxZhCp5q5y5NG/ZrVzu0cBBE8zK5Zu1Gq7bcKXzpsmacC
lYrUddu0qybD3Lxeguc6rNCTOzxe26cjnNEVmu74DNwbimRaytBnZePQQqb0zhkQG+epd9k1YfqN
Lt6hvDjVkm0Ez+XVPLfheaZRNjRmK/XupkfPp7z4Fazar3MhX4bMgW+PbJcXTVBKq+IV/nPyrvr4
KutZiU7J72EdApt6i541f7QloEKZzOgbPQbomWXU2KV9qM2adOrxb80SkcdDfxvtOQ5dknza+Sb8
FvhQpAYRW7/5tR+JGiSRV9UOHu1IleRHDcaLNXdzaxH/LRDjH+WGtwCimQL1s+Qvv9hspv6FIp7r
jGkuj8gbr3NlKhFvyuHBMSDfu3SwqLKpYgSTmY/SI1sMTISaT+XCk1rPQvxSwhSTN/0Yk1dY7Lyw
inCp6WHjkXpe2zXgxMhfLXJlmYPbpcUlCtHiPESMNy2K8Tate1BrT9tVSZiXc6BYb8BYBEi9pqUY
W6xDQbC7c65LihL8T4NS6IRKQVqervcQc4uB5EhKGAlHcHSCGm/cxwPiGQPxYJFcd5LYMrV97CVU
ZR2AuU6g7wLBp+43hi5tphiKou50tuFq79m2AX3Kk7gNhM6FJqREOfItwyOADfWyb6NIDxqKiCjh
rqdfNfvOIoYzE2ItLRzlwyjoosD+HldGUcUz1vboVyFEMMrdGjDE08PTJKGOXvfboQw4HfCEoMUF
RBUIha0DUtxJKK8TgVbAWqHrbYNsJ8LboC/Ujb8NMogn5eDq/15uhYQrsFpo4Uv5/vq1FtXLrmwf
Z5SF5ee5DqFoqg1m+3MAdaCEng5hhY0JCUSZoh8iPIhhyX3cYCm2Efr55axO5jGlP29/1yyFsOrs
je2wQmfPMvuHxhRSGNrYvLYmqVbPGpnvhQgOBKnwoVKeKKo3qn24S8g/pGR1uM/Zl3lWVUQ/EBqK
RwfSgEKqjT5NhpUFeFhY96l9hUSEuhBzB9bY/gtf3oP9kXSLx/gv2OZdZIJdPSqzUloFuJh6z6Q0
odibKobP/BqWvuY5+BB2U44OirbqXeNrAiHRkQK4m0N+6TnK052O/RlCKsg0VeKRb7xX3wFLlKR2
xIbESQogvgbrHAqvOSEI1J3NUOQC9FbJRnNRAUAyBzyQG5vCgKt//WIwVZ8Gg4g713iRIevub87t
bpdZTDNqNQgMEMNSORB7GdvWHmo3EuLq7mW+JrU4qFFO779gMCZ2QaM0d41ywQ4MiyDpwadoHtXx
dkvdjItxgefmU9BRp7eGeRs+aybsVOXes/32Sd38Gx/6FZHR7VFMlYpT78HxR1B49SC9vwuO8fY3
ZftvVRzdKeqhy9ao2vnMV7+4VDXuG4eei+dkM2ZyLq0L3RQGv5uXDwpu9WrBk6eGLH6RHh/UzT1K
mCvvGeemIL1/TfPw2PjFx/HyoNOjRptJfHR2cHaIqfCYPE/2427uVYpiHzy2EkTEoFdUHs4L9inr
lqNElzmF/Q0stEf9ywuf6GHVqMJLmOF6Dwmdht8/PnudVSa0sz/hq1NesoXTgnDkYXmZCMlips18
ZxtXex/aD5RgNa+45fnTvrJx5DqoZ761K3ROoXdKq947NS9oebLr2iUK/sB5+J+svOroOqO0mOIt
ZcW9mgU6gF5bO4od9oAYc7CM5/z7JEnsPi4tKt5nWBx+hhWrAIF0UhjfWfM3/JmSvYVIfFXBCqMA
+GiTPnKD2GB48/4G+RH3z6rJefXesfH3sS9LOAV2fWjz4d2sqqLo9rIvb2OdfFf1TxeKrUJYJHTs
kvN4mbPnHalFoylm/ebdW6yMqfV72OU2Jd71Rm12GxZWe3DhBsXcpEr3jk/nCyIVohxRyFfmm8aB
Yxg8I4b9OoHof0Ne2tc+AKIw0AREyKxc/iAZ61QutGlxqFX5PlwSXenYUSWV0YCG5k363bjWvZbN
tXt3qBk5JKeAUpLt2fwlVMUAHtDd4oftjAECC1TM/CNdxYp9DT6de1ClP1Zn0ypM2G9oeAiXTdHE
2qHyFnfrQR6liba4dVjU0J/a9yBHGehF8I39K6tOqE7r0UFBZXrt15Ky+MrwzNqsKku1VKU94fEL
XKMHQYFuSbW1vjP1bCbRbgtBL6m35BpYcOKdjbCyKgwgjKuPriHUMQOUBk3Z/+rm921848Pw0Pn0
axNsQKzVMbvL6U76p1WFU9Co9Gk1cpiXxt/2ofuAQYu4z+iv5BTa0NXcKHLHuJ1sm/19BDoIZ80V
ItyKhSI+r15kNBwdOJbRA/CTXbZ0S4IiEfOkatPuEH4DYqEbKOMw0ggv9CpsEdRikuvqYV6QHIV3
PfyQCdbalw0yxouNHRzW5O6fbO3gIHnF1IOQN4FfxqxQ5bOzcB1x+xS2TMAnJusGyNGDNCahjCeP
u8QyI4dAyKSwSdZU6khRpUisgUo+1UlYh5biEDgY+BAhtcnGN3UjBDln/kcHxmFrp4Qh8DmFR4Tf
chc65KWyMzbkJym4oPgJeJV8QvAuRVJAfxS1J4kF5+lI1M6FCs0Yvx1lRuKVL5evBl6uIkMkA5Jv
7E0dMiVT1AE3S0l8edpCQD5HIoqSxv4ljskDVfKJEKs6nNcTxWi09eKmy8EMCC8SzeQH4BAw4QkF
+7iVIaniFpWmYOrkyPEnOY84Y0HNBPt+w9kq9E9BG23k+iMIAk+rcVZIMAHTEAp5c7TVpyazsUC2
GDSMbE6IZQnOlg1PovQR4YnCLzPkUtgl1bAAi0pmAc43E+KF/JQ5sUEcEhHlpkdAJhsPwlYKcNgQ
07noZOgYEURiFi3hGuCxextQSqAQuph3UV3BMsVlFZyBlwrKIBkoAowQ+AIlx1lLQ2kZwKd0HqHl
EhplhhAuvoncnTQPUGY0eBnIHZktuQViWrQoQQlRj9o/E9SXwUR9dbQfNoCTCB3vbH/cZH6bzTGh
295KuVq9vdXDMz2YZe9grngJkn9GX5gUT0llJ2OpAxyCJJBwgdP/xE6RN5ylgmk2CWaACaX4ABg0
WO2fneSBJ9B+aXqJUk0gQHL2RoutHHeXyB8Rklj5jOHJXOFef5w0ekT0ChiK3Z8LUkLlLmJNMFiw
sMIVEZc4+LpaHs1xr8fvK/IVZJAjJgJImPwJQR7dj0JK3ArAmqZKyL8gaQEqQjx0/7umOlwKHWb7
woww/tzMPBRakTnbGdQ5CrPYDdBjj5y+NuQ9FYicuAGtQoAnrsPtMcZANzwL95wtTjDMTj9Jpzpa
krY2ZPDdYdTtRhHIbl2w2yg+BnFZqBAwJXErfZS0ibuPzIwWU5uBYtjK1iJYhNndSe5J+1S+gJIw
+DAg5WgBZskg/Zn/Lhl5S1IL0T8oBAQKXJGA69RmYsHsUrBMkBArDl/JYwBZgswhD5qtrJoLzsFf
gfeYoQVJDHR0vAfpCTauBCAQ6MnK4/HoT0IQmEeSlkkUKGvxaApTaSlqOHkrOLbSdpTwrLhDphiV
gC4Y6NHUdwGgSqgTj4awIKUw6wKE8YWEA85roEejzoScCtYyQwCyl+KaS7QTYOijsW1FZFxyU7yu
fF8B9BViTGRMxh+vhIY6Nip8Lwgq00V+1sNTLgBdJlBX9IAihq/wlHSlFqE0ptwDoRgKE0vr8FFp
ECAGFETeSPSuBC2RZZmM4oUkmJgpseNnKnc4Zs5fqLCPMLz/iVmK6K9Y2+hJASWYhFk0VU/mcHKS
8BsCNKXLFVPgqbYkDSrErifD4+YRpFQyDSEE+wsAV2k9SBBJdwECPJkOha+avRCKE9SoqgV0uyT1
8fnsUSkEsa4A+Mg0rUCJSyHJ0nSpis1Wgm5cog2spJFhjHQDEn898IEMURYiH0B0EOdORwnZYJKJ
VpNC0oqovDAv0fW8RapDugXFUW9mikZqWGicQEcNJsktvFEDQKq40Xl0eXSuK3SPppgBbXT5TZEQ
VHkiUVKYEgiRBFltxgUzjTSjA3gQIn0LhL+FNpHG5jbZjLBliR5pHen9pIMAqmoNZtE5PsatTlpF
J42HaZGyk+tpdHNZBo5+IqincPR/CKGGW4f2DwWOs2eXVOmSwpk76TSS9c9i0VDovvV9T0xtNPlK
DfBhYf5OKmrkiaafZHAfFsADJ9fyTMeYBBetqn4eFFHCoZzJLJChk2j94NYbEZv1j7SZdG7iUTpa
UvOZqldcisxli5BHUavqTdBUiUc6I0FRTpPoKh/+xYZpgd/3I2+rOwRX5c+6dwkeqpsQN9AwO8dI
Gyl7tvKF0XJo1yPbAbMNwj012ZFA2eyQuCcbQ6r7lQNFlwVJo0JqyufxFCzSgrPKxJXIQ9Jg0dmF
aIV0SwudoLgOkP4/GF1ixGRmaiz3ZCb/k+QYDZmqTnRdGnbSIGrR8DvCgfrcKdaThSIzzSYEmToM
xkDrm+THRPckNXTXuFYDmJAtAeadIrm0iqmhjbRkdUMoQJxgJ0DsUOUYsWzcj69zTcr4Tdie3Uq0
X0HqvaU2EMhoUQMQhSgLmY1BMSqt21MCBeEq7DmjH4zqyx+Fs+iTGSVFj/kNU2KS7+fnHwoqsbGg
cotFxm2UMHZWOEBwgmPO1lpPLJQ5bZrjHAKLxzrD7ryMn5NfE8evOp9O6k5x+Gvm6LJTHoFS4qLF
W/LFnnGFKrMx1bnB1IOaAKSwsCL3f3lolr6qxaQaIweRyt3AY4LNvczficp/LTxpCKu48yckUKN6
koezD4b0NbWSOJAgX7mvtQ6nsJ55e66QlFb0CgVyW8fFHj7IUay/n/45PvVpoxC+4AhevMbHCB6q
4yQX17pFq94h0C/Ypp2cQeiK0dN5DX90zbhG5wFUZsPj4Ni6Lg+9a1gf1vwSiEqnHG0pE6Q/3ODl
3+DOR9OdhyTRwYmVM6pNKI7ca5t4t1OGHp5Ebf/jXcNcC/pvLgi+ZhDuNunH6czJgm5twy3M2BfK
EOBJaFeDH5kSxCXcd2vdgk3UefnbwbRP9v2fMaeCks7nJbvS3s6qTg5O/HeL3np5V2jYa56nAOPR
IAsIfrPycOsWmzXyNmoUVbxnVPQPfuHToeaU7IO6qRp1uvj42xb9GhrTvPEX/Pxca+eXGq9W1T06
VJ83KzSVwoaGUxERbRU6pHmUup9Zrk2nIPflbrvv0SF6+Tu73qq7Fadq/oL66tj9zTa0M36t/nq0
k7efzfziGrza33kuqrqP4b57iQ7hq32Y3GiC+2kVhidzbW2Wa6eOUaH8qEr7wCtyT0CsTXAJYsB0
ySvaBQr08/aP42tlx8f+s45d/UyVaXp8napbdT+r3exLcSnutVsOixw3UtblC689hsu62OedkVt+
F6dGLs7N4EgNLkEdAQwoAGDoti5VSv0vPAv9y7Bqw6xMeRIBI0J3e3NIULE7p7SA2qe5O242lbm2
9RVkOoIdHgmpuhWLGGTCf5hnr4ZeJOv3YDSVqpWBjMtljrKDrEZqTwUVZIGLcltpjhXmp0Kt1IuK
MMgqb3aXkObLBMJYeypGgLDNlT81x3Uie2589qZG1bXb0HSYPtiuuTMGpItKH2svJYZOnmjenNIc
+GuN8+YfzKwUrV09OLHNC1bo2hxjiO5m8FNSXpanyAyWOwrkmvphyKVAfkwAlOb4Y4+hOuDj/EO7
PDL3oB7BhE3fyDuGuj8KLCiheBkVYsp7s0juiOredmBJjGr2iAxdK4eV1e3yXhOwio8+reHQHW5N
d/50dMnmA9LOYcVo/7i9cQ1fY8nOI8Mviro1bpvU2L0DnyPVMVsH9soW/jg7z8YYNJsfU5Z1s92c
zahJ5ngjC0wcfk5a0EEnLpgzLnbZntdotM0dVixINm3G3mYGuqoV3IPevRoq98i1N9YrgDX4Fbyo
if40qIv2iffQDBMyyR6GqA83Bf//gi0qgrF0tiGdwGgtNPV4d+PXIOnHoZkNRcsgzMsz1W/kc/AK
an/qY3tkdtkauywrp9ubzPrNnt+pmFOxnZw8mafkWXQRBoiejKKbDved0bpbRx5ZhBVIyRzCJsrx
yu1sCpgJOo7ZDzUfDHG4YWxI50tlk3AlxoX53+gwO83OXt0trijgHWklvRj8vA/TUjXcew9b9KJF
/wl76Lv59IrQHRURKDSD8+S42Q+bNs6wI4lx9WI/oRY60SHs1PjzLkGBr0uAOmtN+4VxafzcWV9Y
HKP1YDt4DCtjACl6hjCWy0/y42Ac78v7Es1WTIpJ7d0oJvIG9hNVOSpjkxib/nnCvkClmQrvyujh
zZxiPkjk4Be5dIrBqXNwig/AWWKPrXurSNmgKtL4mPtMi/Xe/AtI1oATgtZP8ORBOoJ+pLcziH6Z
uPe6QXZuI8+kpcU2nV/jDJ/e1KNYMU2pQXzb7cFg9jDP1lGdaWlBBmCFkrr3X3Qvz8MfC9WxU3Ne
LvQGFHIdncOEprjut/Eli7baBQdDYM9WOT3Dxt46gMbOxoaCywRgNQv0ggwGtJHyLy04gtyrs2nU
aaJTp+WzWXF0cjoqORCJu6oV29iPwY3237rQwz07J/4GI4Fr8iLEvDuf7t7cYdEscqf05LE+Lb7c
r3eAdzU/K6TKtQSPrgTgyxdqgK/x+GvBjf/f5zYBtclm/r9DlLrXZt6XKtFx9SAXQLmwNpX2uljt
MN3g06CgJOco+1/pr6oPqXEo2k9wSgFMCsUUi8kKWJQ+oDxope8poUDxfsWCFQk+gcopOlzyZRsv
eoNBG91Qxh2mDBcWX+7jY0N+1YX8wCim9yXFp3s7oEnetD2HRhdp3eJBuD9A0LJNe0AWPyoX/aTF
nylhkSOqrFXrUVkiXMIerxaEH3Hee6jAZlM65m6hIIdzXQ5iMfTm1av60BZvF4cIEwZqXmip+EJd
wlK8CTTam6C+3EAd87OJ47kfdeFk7J99vjyCcP6dU5T9O+2V2ElhMn5B2e5JzZfNr1cwtnAvmeX4
YdYcCuyZftrBIS3slUhOlo8iF+piav+EbYNSQskSJFfMvNbtrOC0ZzR78scsbKls6QQoyFEqqHfn
YjTZXrZupU/GBJpepdco9bkocqSLjsBeWb2iPMms4O6INncj8belNXYoLfNu6YviVtguKAvee1nJ
XffS6KKliuTClIxfmGlk2BTY2z7+P+XEtg3d8BmynC0f00ajOmx9lZynVxmtKc1mmArGlA6H3Uf7
ZszgP/5y1WPzYRxWn/BXZS+uncMfxbdGfUCTuJigDFj242q9XsMLlHbTi1kJiXVDl0P3JukFuj66
R4KLdPaxHl16flMmqbDmnkL1K1isknKWy4q1pCSbhg3Y8sCU+IbyW+QBlKiX2bcpNaD0S/JKCJ3v
8vmpnKOUWH6b/AL5qqSOgvkpTwQfkgaL4YdMQmAyHJ1SqFp8lWx9cFs/gHRPys8o6icXlQZX5Cds
21v6r9O9L61erQA6ZZWWWQrNn/tHZLbgEj3k3RUqzoqOcAsV7fGdcyjCco11ToGOGW6sxMvsCtlN
X0mcB0kgAePQpSUUkc4PHdAb2wqdZGx6fO7b8PaeZ3kHLja5bdf4GKvOQrUugim3Vg79FlIWAooj
5zFFSxP8Xr1bGXE4dlAOAqOpzkAArsbjPJuSy0/2IciJbjeDFC6ORvviXH0lzioBKxHo8j+XUW5t
waz5coCV057hF7meQCmpCjlVghr6XepJMCTkTI/S/FscsTUogGZYbwCE0Zl1Wblr79bFOfoCWvV7
JgTnAZnRoL+A+b5yZooBviZVRVfTSXDTVYiV+Xr6ztmSRCVWSljTvwmvgGck9Jx3IQniwTh3mJwc
FSapRkJokUAKZbb9DJrbGyeSvHQzOt+aFcg2LhMJzXNiEyZOitoln8WVlXeZSRPV3Uwf/cy/ES2A
4kssAgNMIm3+aCdvCHa4dCKsKVk4EYjXJYDSqKGiVxez7EYlLFJp5Fr6aZjaaLocnoy3hx2r7Ip5
QfpfX+JhL7A+1xifeZvViDbGWMT4gkWBREfYLDHfz1Y9pmWTyV9FqoBCPRg2dh76hZ91lvZAZv7O
sH02nLZ0T3P8tAgipLaoPqJ7uNnD9CN/Dmbh24IbQve69l4wt6OndNvD8bh5MXzsYOxBrid7Vuoa
q5ZPS6GQjWMyCFh9Jnp/K2NbiWA00CH1S7hh3cFnQND0/V8phmIboi0QtjilhE84I7PHOwRfpflL
WUL6GjhSiUknC7oreqNpTo++Mnh1ZFBblnGbLU3lr/EXwDjeQwjlqtAQp1auGQm9ZDOqml5CqEOY
VEJ0QNBWliCfSDr3qCTKPRKBtP9SGaSY8VP+1TK/53dLxtoDqYEmH0NyOC94UKYEsgyHQ+2kH9R2
AWPugzKVVSmNfmrUmrQK4Lj+/46R2ZGyE9lWuTpEvPSR1laHsYggwOLY+pMAGCd7QJu41BBfrE74
dL12uyYnYjbofRs9EuN8Xz5IxRhTEURt31jgbuTy31gpwNDAcfBJ/cOePxhgfFHhp0V4Nj8JUanG
dYBV3cHitqjHdjSR9G+ZdkGTWxmvhBg4tLXvcdBujUtQkx/MK2n5pxBRmkvQHxjGiXOLJDrUApEq
fCxtet2m23THxthut9sS71neHtQaRN+tor0LbgaVenhdqeTzGMPhsMuIi0uDj2OxD/FjJH81Y0Zs
k8chHmlCPdaCvjXdpb/GXwOyawZtp7Uj25zGG4zmmMVN44LMWNcOSBcKB4uHi8z/IJmbOuc0uK2z
V92ntQFc0N4sSel0qDzIBIZKf2RD1I7Fxp4idhWyw7FCTmSXW+N88gh1eoAjvuRti/yEW/ni7enl
iqM1DmlOqmpkY8HOImIVnF+xGmgl3F0uHIg1PJuYtY29zAxsSLOkj1jq/EEokMik0shnrCFTXByZ
FJmC08Ar2VhDJ0YFsuC5gqrJJN/oWJSkfs/JY0M47xZ3TyzeOHsaMcmQjsyqkdzKFKnhFtOqGCNm
KGOGT8j30ZHOB3RgRs6fzR7tbIRlK9KsD59HFiOERvbHbtt0zEot53SImCnZVHjWJYfUvX6m+q4O
mTrp22RmZ6aoTpApSI2o/vqnMeb7DnNNHuvNHKAoZ00GkwQpk/iOnkLa+o1rlR0yWuWGPVNTVuas
fPorNiG8G+nZNG/jcdXl4X645ooPLQERjAdqfa5JrrrtrzUeo/xNABysIxKgk85SHjhtZDn0sLrq
HEtv7nIGiYQ+sERLatUIp3gZl15Fvfgu/dMi7zzvxjxPm1zj7kydaktKQ4emgCB5H+axL2mibFIP
ezeTVfd28BSxml+oXM3vHNaFOw93iOU/Zp5mwVE3D/kfOotcd6kkqSIRx5SY1Etj7RYWF7jpC56c
3c1QKrxK/2ma8tjX/+4iWzdr2pMUEGn5VHurMvwa5w58uIAH594Ngg2cpf9j6ry6UweSIPyLOIcs
eFUEAQJEMn7hgDE5Z/j1+9XM9e5eGa5NUBxNd1dXV8tsmpE9wYhOp/KcDzSXFvZEYzLuc0VLfDvc
hjQl7tMnhNeL3BG6bXQxrpihO9e2o8Hy9DepDuADOkVUNUDA2DulecI8Xak8K2Nm9N79V5Q3OybM
QtNApg5mU6NIZxrLPIK99ZlMxk9fg9Xc8owQ3Qm6F2bygpT82rcmpjqhj58h/+CJryW8We+yYEX4
uCnTgaMaog/ZUN30OpB1kmljlku1UmZPk/w/e4jIvxr5J7QSLzNA9/gTPb8uk2B1DwtVv3IH0diD
WT7QdFu2KkyORd1QunN0DjUks/6xg+49+y0jo2fFXrqSV8zHKcj3riAECr10D8sCK/haR9VAOBut
GOpaAFuEvxBvAxv/MsFHZ7pNH6MPgAq6DXwyCwn639csZCbY7BoW0ZYzIAQDywYgskl6aFBpcGWi
D+6G/KZSfKwrbqvQMlyOTDXSqdbMwAE0qbzWFZadohi7zBQ9xbuSk6FY5hWPCAFPzD4c/5Hj1BfP
9U+A0wIq2BSOlZ1nuNNU8mWoFcgacZZVTIe1By5WUkbW+tQTHCTf4pfM4y8Hbw5cqiWYLSApjFUw
6T/Jx/Er3Tbqq5mklNw3/Xr/4YVAAtxZ3PJEUT9ArzwRx/2MngZOq37TzUf7Kz/x5O4SjdNdqmfZ
Gc0sfwJXwpM0sWpmUHRMNyBj+Z8dB9rQc+wEy+hnDWx3DRVAr+uFSBOvY56lTwWMaDxCnUpdfViC
6GehBcGAs3GIQiK84VB6FVQkcTNFINtQDyRDRtPdYDLIQAF8R++IHt3UBeTmqhEQXvCEJwFFOXqQ
FymSybYMBoVIWpkcf7WeUHb1hazPg+BJyh1KbYo+onjraeoKlFVRuo4UkkM9O5WsSuuQC1byTx/9
/xI0RTR8dOPNqfTga1Dr+IaYAA27T/r1GMAJUKeBElnbajPTpAYRsAMUmWT5vVYaXxubCL2Iqtio
oTipTkd/aeP6gkJ3FQkrjYgWDhrMEuZvqabszS82xWmLAvcU0tbJ4KmiRsUmfcUv7boNiKqUV0pC
RCoshGUsM+o55ABYZ0CvmICNQ9SiiPTWLD8GMJzR7lvSsj2i9fsLCdLVMoYzO3rQmgPN9ALTVHWO
En10gYVMyBuQQTo8FLuS6dvUES69Lt0JzT/ouxRsEHZE75y2ZdDhC8GqmW8VSEXFHxjv1S9Eztfo
3qOX2L7ckCgiPUZvTZSbVohv++hZrk8NCOEOAor4uPRs/XqT9Uam+gQhnhNF15zLD+LYDuVUkMq+
IVveFzZbilusuiB/JvdYD+ZFvERuM3KQJNnIqZH+lNqBnp7BGhgxX0QYNITKtmqi1gD7EEZ84Qtx
vSFeOuGd7ljCRLswX0adH6vAJDIUj8Yu3JJG1mXIMeWePSSw8LcU25k8pMvOiCyl251Is0XlCOVi
mqM1pVtUBbk4sCfSAhi0Ir7dbzX47WDDaS4FVoUfg2OELyQKltbMGnX1RAVQ8l8H+mmiLKbxq0UR
sEOaPEdKUTWvuvOIUuKTnXQORBfa/tngGnI8cM1wk+SMqTJJccdftOFAZc5jMXRboFY5rKBKovtM
8lkK+CuQBLLezB4txdPaK5sBVeWP8tvaP3Li8Ou4ve/cgKXew+husYpUMB9M9+gOLEJXAGATMZUk
h1GgktRyvjVoBaqoLw3asn29K1iF9qvotmHwqEUlPY0MUx0AmYIe/tr/WzL8vo43vQf9FcmgVugj
UFsV6+/xfbwbPUY55iW6aDWKZRo4BctrkGmtIMGFNzIhk+ajYeXgRPVQrGUXO0W8fHseLPqj1+w5
yooJJixDxwzxy2bddcZ0BsUq0EU6U9EE7xFYRvQLIR2S4Hr0tQ4hIPbuzJrqevtNncMzkaLGkPBs
EfYY1Rw67YyM9dYlgPhK9Ch32maSySWnBMWwYHGPCIJInJqrXewBzUNALZa8176+bu2KBMJPgJuS
VwR0wrNBTY3mIZPv0jKgU0fu51Jtvy/0B4hu9fN0N390Lu3r7yOLytVudh9PED+/ep8awDwC7Ih1
o7/nIN/WgoFNPXABZF0yfcTQiP5R5GauTiagSw2YRu3lqEnp9vtw6FJ+skSrOkBMeR07GGnTGoJE
bzUhF0oH4LX7htU4PTL1EF2cO7u1t5yXqBVxS0pSoO6ZPJvVmP4MQODvHu2+e4LDt1+v6EXm8hHl
Bo/oEJzBT4XR32lEJ9S1Sn+0XbrvP4a00B3upnnIu4B6nw4ZkoS2cdxgdIb/ytJ9jA6ydccbKVTD
O1CMKrIhvTNrW2hvQPkonmT8U3SKDrhdwbanNngXcBC5fxdvE2cbh9aJhKte06v6stw/ifKReBds
MQDQNv7HK/hLbz4CoaJ7Fp7rJGrrn0Wm+yLgVpCR4yy8gmM/H779K6KZ1v8CryF0qssZlxdkQxpF
JU70DuWSkyeN73AoOo/apXdP82V40GTpQ+4VOt46tDhlfqGuiPEMAI3XAhsPj4AmpzCMQUjanCTO
yfbs3oidIwi7iOxsO7kPHW4h65FJe0df2dPgdMaZZoDsqfc5QLEPkDnfjF5poVVyaIfq3y7NM31B
m6zusngEVVqzdBE/7k7IJDI1rZfolvcytzAPPEY+oUWvkDbB486/bWqOd4MSSndDFG8xlkjKx+V2
KSrA3oxuwWq6mj6B4RVL5boXAoR7aP8/ETCc5YR6CBHjQEGjING7bq1bp9mtUdoz5LJPlGgqgGQI
WOKilv1CWukrY+B4laaCDoUlZTzCT1xtHYEn26XuC4VRId9N0po61bo6q3RDRsDmUXJ4x4owFbJq
qeKQyim1cQ+N8m6US0SluBrl17iUVdIETnTkgjtRIS7Ee7IBpTgfViN6zKKvrAGkAOVCNGmXS4sK
DF9jkF464SEirfS9Nv/vBsiiR9A0x6tf44ngh0z2yO1NAmXgVwPUe1viDEsvYBUod/B2B5Rhg3DQ
Ew0XtwIooOD47me6GzmPkLn5Q7kQAUaFSPcNrr4N2xTclXtlyACP+BEXwJdsznYxILihxTK+ISMY
EwecgOHpdBQ7alGu5ulP2tUuzWhw3rMmJrwNq5HO3b1Jm5fpk2eN+0cA5EcH1irBBdjYB5UU1XZi
aaltotiB9rhwYuCpoHYGn36SnAmCfo6L9Wa0Euau6q0dmpHShrS20/p/Auo1DVu3UhO8pmC7/JvK
2ZiR/QsqHeKXAWqv9L5i68UxvU0JVCrES+vfCWKo/IY8i80Hn6OcUo6oFsszo8sy+pjP1Am3iC5S
NIRxQ414L0WgffJolhf36Qal582c9qy0zisR4pGzIBUEJp73K1fM5OoRwZbh6CA3x9vFpknRYu1J
JRU1WhHd02rn2rlRqJdYrjU9q55RzxLtom4mLMP3PfkZHNosHRwKvVtIk4/tiJqZT+9Cd7XWPa5W
WxVqrF7hpp6N1WqI/CE5hDuJukxbzjcS0ngdjzAfoTUfXXC/C70rrVlwapFwp+fdNfq0newif55J
Yu5ZRqDT/9DgYbvIrAYbCkLDIxmwazShbLixh0l1rDl9+dRSzbm7C/7N8a5pPPLuwg471uboDBMl
aLBmmYTBEuVaq+RrSZoRbeVwPZVCA5r1PQkTn77w7ij+0gIDjuVtPCP5EThk4LpbRTYGbrkx5rK0
1tTYBJX6xTliAjXwqQgOsqQr6OyWaIp3jRXnZPFaVVAEs8mkaSFH8HogFcFemCsIOnTgINpWfC7Y
doZnI7+IOupjUP5Grjyk+q2pMEW5GaazHymRKFujDJH42ToScbQ/vdPPO6rWyKBWoGhvaOFHi9lO
icVhudeKhdqtElC0wtxQroZ5oE+TDNSMMVU+jSeB9kpTC3xUEC9a8hjDA3ABqDkoeQOsVNaQK4SK
iK8DdjmQvVL44viLqr+AwxNs26vuIXrPlPo9DJZEmrJmdCxjigE5SJ16te6wlANodZvmdiF3kEPm
4pSDFWxsinmSkp8JL2SLywM6RjXvZIk3vK5gqvSvQlx1e6htR5ne64s2f/8SY0qNWX1YIRvykMCQ
jRA0ODpgW7jrGblh0MglThDwcFSsL6NScB8XfbpzePSJwhIEGwg/QL6AWIqBMZ0W1cp8b2xcfCYE
F00E1U5YLXj6Z565+MI+uZywfv4EVQlwfRoFSLUmP1Q1IDvGAzaydE+u0zckXRHyKauCsqXbx15u
1RBAzyfDraCPfOCNkUFXDf64EApTdH/3GPbdPYxAGIpDXugSxYoyTmOMWOpKG6qqSLc3c8j07Ru2
rF6CfReNJiNixbhiM6Qe4cQrbFJRai6EkSr/1PqZNrtZVXKLUSrYlXgBbigdlu1fJL9MTKT0eB28
2apgzPo6JzorCrpy/oNMFFcDxMOcIJ0kLUqtzdY4szMorArNBGYpHOIG4bet4rUNeS9uvJepGklF
ucI+t8SG+V0T70D2Rz0nBamHSslaLEKckq9/iaAKwi3wi/eJm4pMydVEQNfGT5vTURQRTmFx0NIq
j6upNCWUb2hOA+w/fjBUXC5mvw7XVbsDCs0+dlFl+f2tp2R+cLrZwf4GcZSUjGJU/4EZBjcnnX0X
63Gcd6FVDbJ+Mh0r574en/EogYm4s8Bi3yFgUzAeMzgAOfn95QFLq5iCzLw+8ptiKzg4VBvTkYgG
QE5FlxwE22Ivk0HvlOQCUEWSCeF4Ak2w2Lk/6AZ5PXMgb7Cl9IECLd1fOQlHVZ7I7zY3BC/R+ocA
gDciZbxkKC3IxIky2rZs+QWtJEOzFCYprQBUeouJ1k7IZREwLOQbfBMuwZ93Uop0fEovahEvaUc0
SeBhAw6jBQ4+tcaXkyQBfEm1WfN/T7UfXVjtE7ZTuzKhrkF6uYwPfqDfmNvrSindOdY0DU0nvEZ0
EsGAUrh78Ol349TgBcl/diiAqnmLiXGoZQrWfnZG7yrwXOPNyOPOuo/WFodpE+cB9cS70Tw1YRKl
gynT0dmo4V+wbrpnVFJCp1buEkkVSRjWpvF1uypiVY5ZuicHir8MV1mFLXdo+3o+BkKZRGxctfTY
8NuEIhlnXqoLLpJwyPZKLsihbqacWjBICnGCo/bU918QwRhSToGkDYUhkqZ+8rWJ7KHsW4fq9ONw
xTkmPIFDrYoZ/pspvhQmoOhbPOwHpo6GC0Sc0CA6B4pGNPfAWAYHkYtDaRX0AgEjwy5FUz1q2kpw
uPGDxhtizsHql/3HwkwC5LHnNljZtdidEVU/nF1Dxeup/Th/QTpchz0KcmrKixEfLfhQF0vR5eXu
2u/Ou4Bpy1vCj5Op7+nhCHR5iZYMRfi8y/h4xbq8Diq3B5R5cJoB5rgnH8gEpFcCu0ufFkHnW0iX
i0q2fqBI1uP9Vac4Sco0DX+kCFg3ntPNWLE1c46ZfZwRePeMRaCHMlaadwSE8MLGn4y512Mh4cw4
L7c4rgZkTumomsD4IFN29uHkkWouwZRRPH2L0d8jN2jnG81XWp0FfCj7NrMeWs3E6EbT0hYEWIhK
l6YPnCpuHvNTqq8ylaarMIXLj3Kitwv7SkKCXCghGVFHXQc8xPMZqgYK/SeRe2RoxfJkcMg6PEKE
qqjwOdZKfcaMhg91N1368fk9fUxLyc8neMC0vZXPd+ashkdcwHe0+1L7y1uYw00S1/4ayDxIjA32
+FC46TZxGCwqczjWADnh4Qt7Ug2VFiGgEqWnqj3iG7wv0FQokNxmISP2SvxDwjnfJtUOqc6et4/B
w5iwu7rfhVCa0gWT7WsIphIRQl+SDLZ0x+wiu6FN6wGAGoC11nbRgWEqkLXqH3ANN8TeW5735G9e
UOSuB1epnDUuoh4ZSiOXdP5ethk7jEq+dR1Nku4ylBspEksVEHfJY4cLKtEtfvKK+P8WErdB3q00
TGYnukXK6u3bJ1Gy3HxtE2vz2lIXnT5OPjsIMy7S/cxlaSzDRWaj7npMVHhcshfwxohrxG+g7xb5
K7w0eWe6tQw0sDETsHIu8svWsKXloWV5NslbkxwU04tvyqeTj6fY7U57dRprBYNyDVESUrw4d5sa
6TGf3CEV54bv94atBuc2mJJmx2KJ56vswBgrxMs2v6fkgEJekwqJt/C0cmQClHRVBk8sDdwkF3gE
cCTb1C4QQIKZGIyEdL8OXA+y/8zYc37mQsPlJuaYwet3qjpAZ1vzXjzg2Ac6aAgAltAG159zvHHL
DZEKkLkAYDlwL7AJtsRa4Ve6Pei5ks+9RHpcvGP7SQKTTBsLw2EV6OoS1fwbvSW/HGj0P8InQqjZ
GIUC7oAXKjTyz9YpBcJAkpozNZY1muUjTQBmaV9AUXB9WxOtg3S7YoBnIqzQooGaZbWODcqhyAea
cFK+XvUn6wnMFLInpxCpEKZtLRa3Z5pSQQhwtWZsoYHkOyKVqzBnK0VQoLB+I4EPbj2JWdiYZkXX
mCKlTvS6KVeTNckXZvVM+zrUlt4g0HaZZYDn+rMbksWzV302oyEd79wTdBtxUfHO8F31yUOHV6ha
s4kbMg3kjPU6sD4i57iLgoIJqzloKGa6w2c0sWQFVOJRDGcOTKvjIaRc6stGKq1P2vG/qczZTIVx
KghSXRTWSCVnp6Z0RZ8B7QTNWRcMvE8pakW9n1+1E9rRGRPnhJkSb6E9o0wPXoyqbHGy12wARw0S
hNBkgFg5iO02ORqZXU6jViGi76zf/0UL+LsYy7grJPy7dqoDxugMmXfnDdIKy1PjlSIXAqYuHp6t
/rKYgFzaR52EuvJ810hJgaOX/oJQ1qtM88h+Mc+zmzoz7Ik8Si2PWoV9VOJf4YNshugSTHI4ZlhB
Y6b6Bd84t0yCUQr3iC/TsDFUN3YxWOTkmRC0RfsNVmTaSzAMxUmSIotcpSvNtzamPYoI6Jo5lak4
QkjamQAWoxdtqECCU8R5E6NDW5H3rB1FsAx1nxoOuH7HI8YtNirJqJrLSq3RqIPRR+VT9y1bY8RM
aaOBicfQL941BeULPLIupdprv0cAyWxIN9l3DZyUeZjfjBNG3Vhvsdi1Di1ZtnutS/qLG0CtErQM
sYCaktc4eu57tMbBIMA0UwmfJQLSNh3uavMa86sKwzbYTmXWNIczpfM0l3QZ4AMKcxQjq1gZbbqh
ypSHMBJlu6x0sjIbcuhULU6/HDfZsFmyjgwd61bp1xbjY0bsw26qKk2eFJ2VQuUFZPeQDoi/JxHq
pVwNpgYeRUa5/b4mA5lJypeZERXM6S/tAji7mSz+sn4XYroMNOphN55Wo7EyuIrUaSbsbRolJv17
XbO8LMSlS2ts8tRTS+qZTuEWD8trBCGJMOh6RDySJOvOujNOPgGdK8W7IvCILy5/UGEVi80wtnUT
sFKgxATBSAkqIg8+No1liLSJmwcyIGoEZmTAVpinlfy31gYaX3OaNLVNHkoDYwk2xmTKKCbjMVQq
GMiW66R3WXPejQ/xYO/HEAXjrK8cfELevTf4BIgHdtmzBMKNyD7TAZ+dkmgPxskULcWtH0SdDiTB
nEcrHXZwQUAMUewCZzuBH0jqG/tWcU31EMwzMUMMu+VcH8cD6NO9wRSmBuwd/9muNM4htm9aDPk+
2xFh6xhiXUhicoIPYKMOo/AJvTCOMU2y7CaBDKohP90YtIXhuclNk+elh3H2mblvY7wwrrWGil3+
IggxfuU4PTFKtOrjG3qYBgPy82QEZe/YK12pEux28bMmXxoO0BCG4r+LjlD5kv/AWeKfjlpBmWz1
ts4AcKJHcG5i2CumBEhWX36GqOtCqUUbhbg0nGoFDA2sOL6ucvraGuAQuFHQbEadYKyTk2d/SLfg
/ei6T9wq1BXRpO51srn8rkU7Kz6qTVMAp01FCtnTLlW7cKyLL/jx2P6bcPKocQS97kQKyR1f64k9
OI1TEQxEJtDFOxA5m+toiVIKNQHZfnbQGAkF6iI8ifOkIiG8DPZ4FKF3iTKegtc/qptGsrh4f4u8
Lx3OhVN9oohC9Kxi7YYHscFXihkV4tifWmvYQ7h0vG/pjTf8i2JNTt+txeS3xrNYMAowGhvoCgWm
hQLyvPbu1oQiTO8OgAVnGxCs0Ld3OVkV+h/byScLZK3ebCpspsreDgTWZ8YCLq57xW261lDTRhsw
APi5hF2NMI001Scgt8/4o+dpQqUySXc2vvOuNfmvBAa2ppViWsoUGW47msO9QnnqJULDuuYeB1RI
4hBItwWSnreajsq46uHINzfNApSLtU6RDKXcHDujaS7T7KaeKpoGJexnHBDOx6quQg9oGEbeXolO
mdw/NwlHiekbxzo84dLZK8OAz3kbKHkFyldoMs58Vw4ZJhdPeTNVPih7torlXp68bGMT9EQ61sXF
r/YeTNyF4bkjJ9ReXkaY5W7ZznGGzONlWspFaHCRdWCD8sOzkLboVs3zKS39N3v3vzQLbiS3fhWI
8i71becxPlLLSYav1aM616lXmCm4MHYKYCAqLvZxY0nLuJmObmm5tI/WDYOnBMuA+3XMTKVJeQRC
VRwLxtl7qqUTiiISQHYuDEWL2DdFxvuPhj7UKTDnit+hsOLlVdr/c9TllhO1QrZ+t4sgMmL3vMA2
VUZW9Lm7/8ipIjMxa+zSLEVMJQ5fVGz26u94caj1T7eDLsx0AC1qztBjSGHpsZAcmd7gP8X75J08
3HAiDSbxFVxZmYoSVSu6yadTHSbmgTkr6U2CHpQpaZ9S5zdpi9WuSk6mq9HoRu+lEclrs6ORZqJH
IBp7Dza7ZiWMF6t4+8VQjLxz/b1mbihS6qT5SUNEp5hMLLfuvrfrFkGfKBdknBjSnd4k13phMsf1
6C04OpExuQ52odLG4EU6BBM3ZPBWlGIgYUb0oEld1IUCk3amdgvvscBXTdvZRLejbnr8BWAVa/R1
m8iXV1St6NncjeDh+iw3qp3mMSA4Iw0p6wuYBaVxXIgWAp24Nbk9xbZQ7ICyzHDSVYOg7XQ/XA95
5+6WD37hXH9ILy239HMYkHINma/8RcJKQDr4yHjJOCzy4pECpoyO2AWvVGEMQhlCUSlL7P9CPvnt
gynifR2RW6aAXjUTuvMRM5CfCODLay16ISkusIQFqXTIu9HqZ0JmRUJWGNCWaADfEQiuXjWQX7QT
rFHtCJ+u01nsolp3wRyHlktv68OE7JrZTDfJmzHXWzCX2yD8zFQ2lzM3F97R7RH5Ms56qMrMh7iZ
3V6tt6E5CUOxhiw0ki8nxkGSMF75lGboLmpIbMDefyZuZjxoiORrtwG80NYkeTyZtB0/393VL361
El2MFCalaL3s94u6lUy0e3RL/nKik15BxlKh1tfz1lyuPQTfONlO80Z0unQdst0NtTqtFSCSuvnW
+Y22JE934vb6DaGJc6KAciauSH8XzkxJCA6jLoswPXXIUlZDHJQyTqTkSLRIFUPskVwTGZIhSfuG
ViMBEOmNC9ifcfFspKGiBTnRxBwQK8lNustByjVOR52XFzkes02Uqfqd0c+BJKz9pGpNRPuter9U
nfIykLTYpGf0Eig0gGWlxcL2hsPh9sGvxDbdiBIOZVN1rloXUcIeKWQbvQhiE/tDCdG99xHjaA0k
zcoVRyjbqt6vyCFHow4Dr6+Qs42ivSPgZcgfRjpDsafslKBNnHCxq7RQYqPYc0mTQHq11tV7SyG1
QjqR4qDWDBXEi7JjH5T1/mvxpXGL1KZt3yO9EOGhNrwlfcPH2bwv4R9sq+YNsYTJdzE4GVUGbbi1
Lszmp+4urox28YPJBBgCZPTzK/8g3xAasQnMN7BWWRdaCtR0XtTKKAxlhQJHhEockSN6opflKWfL
lGKifaFcubaeywZWlhwGiHNMzBBtmm/+Vxml8Gq14wJaYPKg89bXi4B6neh86XDAHvVPLKNKV0Qr
VHdTW632MvLNilt0kuzJyzWLVMiJPoZWb/Mwt53i0L+2JCats0pbZu+JagMlmjfOsbH3pgdAGX0c
XRYTkCseZgxR0MSglaKX1JwMUll1Z4pY+3tsWKn1a0oXjBwZ8fTacJoV/SpwVR7JptpmM01eSFzQ
9m7Wzin2Z4JikODgkPKSn8NPHsxFMoOCB4Va4ufEnDX5J2okBgYKdqJpWk7Qpi4kX3k2+WFaGFk6
XWC4wjAsvANmTEmg6HsK2UltgUyu+ey3Y76iw9WdgwiAGPPUCuquk22z+697RmzMvVEj+r3USC5l
eNcuOXpvFLImQqctnQWBNIQ1/mRHuAOGkEOZJjGz5C3AK7G1inRhyfYQnfiHyMo2icbxtxCYWIzU
VogaKPMdARifa3MNpjI5WE6YTJJiEIWxWU/gMVPmymUm7pIe8ZhgtTFNvQqraYrwdcY46JA59y0S
BhqqcockBFbGBrIhJmu5OgNKLO71d5PMWDLNhrhgyjzjX0i0gFpnAr/BNBnHezLR3DmWHn/xzqGI
1zBQpErBO3rCgSN6xcLfFILKUjsEGAh0mt/JaqsqQ6GNgpaKCxuMrvcxHgcEf2JOIucQnwFgUQ4/
OwJzqiOPTwHMCXcC8w8bHCozqQvluwUC4yXsAr5gEFX5lsXGhf1X1JOBNa7S6qW3IhqndqaGj5oW
ghwVAKoCkGLFJ1iBtNqIyO6o3KBkHIjrIq9GIb2AWBsw2bhtxb7g4QQJ9htfRj6NfUPHwL7R9XXA
Lx+KUxS2yXV9BIToOMDmLOnccCyUr3woybqwmn0nj2s0ZVVLnXOK3/Hx9MeTiK1k9l9b0lJs7P1T
98DadjAIuEQ+0qi1Iuz5K5z5nEdBc7NEjAdQ7ZfDI+8Wgv3YuMmU+uVaR/9MaYXK/lT7gE/ZRHbS
e0Wqg1hSyawdyIPiykeTp5mcO3qrEuY5ufrtFGtclGvaGehNQPYqc1dsIPdLTlglEWSsK/RuVDvP
GcQmwzY4jwwzoSMXDSIvzpgKTeWqaUByPcm1LUH5uTmiK8n/jlNfMpyvwM7KZWhS0lyhaUGYbYmv
/i16XRKL+kQGgTWq25G+11LxcpCjS/1X59URV6EC/1lJd4V7MlLbRFivuOgzIaI5Zg5rPHGLNLkU
aWNk2+KAxZJgFqdzDe/2Vn/Q4rESS78rLzKpZspSbecf0XnTgk5phG4r2KrWqYXJBixwzexFxUBX
d7KsgbwyuWLatiYhfIN6RC+NVH6GDeD+OW4zvLt/mW9+wYX7M5ZMQOZHnqhSnzbkkwHIhftEz/I9
LHFXc/OZzVx5XHoHkm1ZxNgFR4Ib/gKIaiqXWSmyZ2p0qL2D8IQaw2xm5hPwZRB1lUVIRvpXYQ4p
e2GjKmCTLTjzzLmL7q0DAsza1szCqAJg9bZOIdRYnB9Nwfgb1NCQ5+Ynkq4KDVKqXkoWz1SayTTl
Gmt6gv1brwuaPTP+sg7FwPFHZRZrgrwVsurUrhOckMUdpFrOi8JhnQ/5X1IveOGgyIwIe+d9RIJk
guVFk3tr6/NP3sHI6HTpwuc4CzK+GjIqVtCiD2tzXH7xiwT5AvUyRRdpTYTEksnu6tyjj4pctsJy
UbI0iTuc/PCeVPrLRj4tUyJPr4bh1Stt3Q+GlXWDaJbot6ArKuv5DIBc1cnUoPHWUGJLs12HBLGJ
YlRNwEkhe0rb4hV4spBiBDpilSlvwIg5ufwTpK0iVjgdiIPqL0mt6dRSycPuS++TeODqPdoOta20
z8agypzyMOdLDRL4CVswajg/OuXCFyzCQJs6QSsn7jOVhmBqrjXd7Vr+BWAEZQrLnnhFNk+vQ6Qz
QwvtTdmj2qngVZfoN2G55CAJbJHZZ5tOKCEwe0LkL3E7aFdJH6jxvXZPvmOZE62zosuLM8JA5JMa
xrq+iu8E9mglR5dmd7eZoP5HY+KXx3saI7EBIsMtiUUlvs4j2WXQ6yGWXQi2DPQTW/+FaJw7Xxr5
1jVmV1gC9hWHT4G3Ykg97PVDkE4bo6kEjT3In6El2V2oOSP3LPtgfCliLoHVnFfbJlGHx19Cb3R+
BHmroaZgb01pasxRTFetf15DtCEy0twqiwiUv8g25LSevF4tSUy4ToONXVCpVX7KV448HwOUesAe
gyXsjnew7FFY8YYIkKRJz/rQ9JDEyaCwlpQjeF2cg6O9KTTOfCkLlHWhdNyCdNg0GdweyVaa51DK
KW1ZMfWoGYYZk5pEBFl2gVTGbUMsh67YQJ0eKPYEVCDn4RhgD/nZJZtU9VoH98xuq/irEDtRtSs1
kzuVa+WfdV8wpWVRY4PvfiEWVC5LL0uJrceey6NQpedYJl1o6Xj08FRCLVAdbdQk1vUSHtDNEoCa
wswmfghQJ+vMdCEFWQawvABtDVDEUoSzTW2pjLGWF3GhqBP3AK/mbJB+vCC5SXvMrspJlyjyyGLK
Xl7iSzw4gVoPlPJFMZ4VHQx4BsQfK91bYFVaLHgrcy8cU+7VhcQqyH60ixVR2/f1noKTk8cWg2uv
ZgshZYzPSB0BihzbGx6kvEMUbgLhPDoxZARypuhf9v/Ijh55k7xtQDoWrZpYsZCAdWJgaPKn3xVp
8l33U+byqibWSuCUaw8yvXZ35WUdUp0VqsuRodF5r+CnCRMWKVO8bkdEKi14mCgPgPHgwQLcCMUf
TPGYFjjLxl8uJ7qX5JkqW6RybA1oQrnYZJLBp6ZIamlwa5jiaE0BqG54criruE3oznDV7WCw538J
TtQVNtS91zLzUqe7eNbmNbnWwBTMoJpcFCCoCK21xhdQhhP7QQOF60JZp3xsJljNc+Y2No3YZAPQ
UTzVv9VQTrMfBph+tw0iFMTxmGasp67+ypoZtSIxBo8481oELDl19F/hOOAy6ZgnBrScw0XYeItD
JK3Z4bBCfHCsGRzKopUTOJcbjyYhOFGsQs6+DaNE/LiRJpdssfJVf7OknUAtyi0qiNk3mhkI7Dqa
WN2SQm7QOxWJ6LscGY2Mq9g9nCLia12QOUVtYsSCJCHyqPXbBSV4NALvrdwXdMn+6wcx9O/lXvKE
78Xh7oaFJrBGD8z07N02/n14blWTa7rq7QjBcdbGz1ZulB+eGsd08n3o0wcgvU+vi0J48g8oeZbo
wl2Jy+DDZPlaebDSKaAZYW+0GVdx06BQJOWY9PBPuZVtXZ/uOT0Q3SUXFBuQNnt6OcRvQAyW7jXN
/FIF384OS4mT5hq30XNQHF/a1ZQBuvWXaqjyQWU/N6K0uuj+dPpkxLGnsh/y3x4hqdHa/nvS2syd
wRZit5vBs6q2P40N6kfZnQpy2rSBbZaar1Euy44VQkplqt0Ps8PgTGXgql/6eSCI78wOo4P/+qEB
aIP6u2RHvy7U37uTONM4Dk9fpbAy3idPWDWdWxO7IcMmbYnKotJlO05jPf2Ey6QkhTstyoefjcAK
zY3heuCoL+Cedc/DJ1/tVUec6223AMQ8XPWOfClD2X1jT43upHMecBWOLSfZRnAJ6T1G89ffDmVt
dIx71FLk7ERGjKh8fbk05/1Zex04VxmvU/V+criL4nmmZPT3HljSjFQOn9c+iYop1+IMNqb4eg2r
nmK84DlQkK5ljw/t0PZUSVhp9H78B3occoQFCb24weQ/UUcqohndm/o0JgGc/MvTZn7KyPpYl0o0
DgUEdmkZt0BeELL62Hbc0gAJCnZLPpBRMZZnT6keWp6gsnD85Z/hQEzV7nfXOfM4Jremli3/456t
OiL879Mjy6Fz6pdpclBhOiX06ug99UK51AtUZgk5rCye0xuNkRjFdEopxuqXohU99/6VQm7qGdQ9
RY5h9WvT2XCVV51tQsnmNrkjzrlN9bij94lG5td9iO5kUOL/0tdxeqHPgmSGLvSLyLSX6a6vx2Hv
7fo7Xph0J91Nf9KlLQ89by71YnwdFr7oCTDMfa0Q3dwP9azSCyQ26xdziAWh2bZBQ/6ttkNb1r9O
liyVkntf3Be7+nZKk6QvmhG9aYvFEAN05Rz+XBfXp8/TIr8Z0SHka8nj8bUdPr7Wwy3Id6nnsLy+
jug80SXlPLwvLqAs7nGoL+m94slzevdcvAHfRr2AKRX/Ga7KsfNBu/Tx5fTyXae3HhbaAGztfJc+
JnGZmodVs1pjF8rf+z39F0p5Wi/laZGWj+gwUkWv3z3douLOp+VGAbSddimOd8TEXgJmVHWNApkl
w2MaI+TX9Sfumvl5UfGLnwDOQM8cpErnwPbZ79z8Nl7OlrNMgaIm9wm4Z34KOAxLN8v8SeuhdRso
+fakTpfmLseZQ9oJmiYZRoddaW+xiWnu6RYr4QlZwuPUKfROaAABJa7zs08l2GEn1t4e+vUpqCKb
WPTpelGgwQW1HBefTlVXePitrOMWv/O/FPlep+Up4/LKd4Af4IKl3McXx12dgisORsVbUZxFbwPg
2JP3wVoCunxfs24FCdHe5bs0uKTZUXZ2INpvOv31MPdTaiK2OtyjvZppFptLeCrd+40iYuaw5YjL
s8IybodnKHjXHlUNrUNn3TNUd9xe7IPM0emJfzw3jDBaKSYDTBNerq2NZl5ULTfO9JDYNe1HkKjR
LSbY7Zt8g20AKRgNqIzMLGLTpFDJOdRwFXpJnJBjauKLrtz5I2RV84MnZYaFU4cnsliHi2X76a7b
b9IHQmxlLYEZcfBwZMHKwIbhH+I0UOGHYyEQMhs4P5/Gql9MMo3TYL9YT7NJDgVOKpJo2gWF4uly
Bi9zxsTni34ZwtcM4hQooynmIibMX3WrTSpBWq92pu74q+hE4x/SCE7nkCx71TrfW4dMYbfkPH03
SQwPttML3SF28XtUTjLjEgKGcDMD6niGpfkZfO2r1Kh8374mv59xZgwDcRVPGtcG8zr9MHoFehqR
caIce4I5KbSvSYVmdYtV/zyAXhav+lTgkc0bV0RjbD2HOfpevaNKSg34cufSOyjb5VJOWpc+aiHd
aruY7offw0kKzQ9XQirmBlAhfw0ZGgFqrA94stCMHD4SnhINeJggFJpgdEyAItcJ50c+gaCZ7ibi
5CrAkg+kiAxxbcXegrwJ9FQ6YpNxBZ2vFki6PCMCcpH6WKfWq2hc31HyXU7TmZybAnEwBVGoLW6y
6T98iLBkwSVDqNDaJt8UNj4pOLNmRBG7Wvlp4xZ3v9FXZBKhgUzXinJciZ0vyGt7tCoR4UGvaNMs
d/doVzLBd0+0ni98Mas8UAbGgEfo2B/dy7yAd7PyuLMYG9fkThZl4UAT535M10s3x1WcFX/Lixdu
D8Iu1I2fvXeyoXhWLbw+tNhyP/XiojC6TzEiuYKXQVStGJaQmCJivUqTXDxHNQIzEuDX31edD24/
HmHao5PZu+ffyoGcE/D+fXGdIm5HXy7Kesl4dQ/Nd6s8ZAjfnz4dYTrP+PTFkMkussPi73mwGi8X
5cGrvh+8h/kFLd1OfSekIRLaYoQ5J5/ighXCU1TJQKWFO7V1DznvjBkv+EsMOmNbM03hJwc4NOQA
Nz+FZp5u9AtwCz7JGsoL2I5sP8+QrsyL8wIzIrJq79Y7OYwvN/c4yHydk1S5Dg53zQg7dPBxdN0h
aw0vsJ5NJoB2BUKT9OgT4M+EpAnvEbgjIIfvCJiSc0ZVkRTTsPEBoDfdV+GFalzuk28hJvtUqIn+
fDTJBmhKEpfRuO3UKu1JwojdqAeDqFltX8uN9/Qyx1YZp/MBLp2DZug9su4EpDE8oKVRu+Nxbvwq
4i0UCDIdFnFxTqjw0Z6liBzKo0PRrXdqI/Pc/dRt6TtNqQLl31KlXPvtdgEh6krrmjg4FMUL+YtT
/z591Uujy8+qd2lAwh7hi7dbbBwfqr4kuoXbinzAzX319rQUgWnKvQIKdXRzEH5W7r3o5gf73zOu
z9vdjTEcb77xI/I9yrVzOiIyFpbfy98N4g0VXHD/XXQL6f6X8vwSlXTtyeLYKjQvK9eZrSi9SpkI
rwOnsZzeKu4aOQbS0b3XmJsDVetNj0LldNnlDDRKS7fAqfWoANq39oNCOgmz9KQibUJ/8pYTREz4
KdcIykR6g9DfX3+fGp+o6B+jQgMiBQ55KVm2ltE6qGIU0bohxdm9wa5Yc4/ifga3mG0jFbttcAMs
keHc15GhASLUotpO6JHBYyQdHCqfiOanUJUUdFLHIvImKKO3HIi3sW+tKClGOBMChopnFOWXIrGx
XrElaNypNRT236NckbJbqYKAmBBjUgekT5f5lgqM9bCCbC/v/VPq3lBMelPSXDR0DqkjWWoUkS/h
rcg+81XU7VlQgsKknw7uOOk3UUFUd/v6V6F899f9O98WwcIcHg72zwu+1rPpUEv/CCZt8bPKP6o9
zob35v1BJqUQP0Mp+UiUSrI5b18Ig5YTeQcFzSD0IETCJrQokIYUBbci52W6SM5Q7ay0hNWZfS0m
7XMT6bKmtAW39ftXs9qqtg4kyL+kVZiLCpSp39iWdgUqENv4D1Nn1p0qGyzhX+Ra4oTeyoyoOMfc
uGIGnGdF+PXnKfj2OWexs5OYRBHeobu6qlpEONGC9KjExjk+qdv/jsLp+wZo4DRxpNpHunZJcPzI
PQPphu7CNijqKuKR/Z9nWOl6gzFVhFLZenTp9WkbA6k/TMg214I108KkSiZGOOP0q8MX1Up9rduj
/y/+jaMRiIL24DmkN29MbhgiX8AmLs4FZSFKJSeLGwHNty4+8nXOpwIZsF88Az4773Fjmo/l1FAf
S2mIIwhm1IilqMN7EO35Jy8z3lGkFzch8tSKExE/6KXZISnVC3OgwwJ6MO9Brkgi+Qgu05n873ng
51poGTduShQDJvZ3aXZbRlfSdhni4nxuN+K2Lb2WnlIf7i8uyJiPx7g+HXGG1rDHWFvDNAlqXB29
D2lfS40k/rmFe1HFoalf0W9XLiZ46eElzp3UDRAH6zDXbNCl1Z+X7CY9QQuraJjHlwXe4c5lIdXl
EflahdNREknNDxhNXksa/HqP3+RwnL+cLixd3A73UVZz+uBKqhzLeehjy7N0HIMKOxOaXxjgRGHd
ehVyOdZMHcE4XsRYKPEeB+KNFIXDEl1a4OwU1CaEwK5JAUHHCuPZpiOfRWl+JarbWr+L7wUW7f8O
aBXeyc/iVrTntDLshcXn2sK84O3QHUuudjpJSe0WqlFyhY+B5IJSVdyc0opRf4WxNd/fbY18zQyZ
OIgeuRnnVgTyrtqHUk+RRlR+IXFm7lPwOEBxE2WylNPLjkC1ORlYo2Dxsx6Rbs9EaSQ1cZtiSHD2
8x9JhGrsj051ACRjkx8UsLCIb6e+DJEENGUwn/4dQqjpLUhop0cEALW8S4TdKvu9T38SiPMC7xUB
0tsGQIqickHnUXRIh1H6AGx+24Mm0JNpo1tHoNSiKZ37Ytaq4MYJ6MVL6yT1ENdLqFQBTF4A59py
VVEqmr4IdiI/KIN0COmTFXQclfrmUuPRPhIbRWjixnJDn6i2Y8QkXas7SqmNd1yoLI41E7HkE2FI
zXt/1+i4/ERBfikuhMkZmzoT9EY6e7KT4riHIEqQktAtqyJPOMuH3o7+L34ZMXTK9c4ghjTgJ0F4
skHjTh6Rv3eZSba4cfQ/hUkyCR1CSm/9nYPhiisEnOEhq61SLCSLPabi95jbP+ZmS5IjO7BHeMCf
8kNjRruQOI6s98w9zM20hGohLarZvijdAJtw4TDB0w/+RFQJv8rhC29cFhNg7/xCFs1KS7zzRGon
SZCEfEpCKZbAv+NJ/1hJzXjP3FJR9ytcJI0LbnBfWnWVF3Qhn5QbsF6atOHyQAdA8CzzgI/1uiRN
aA9lEes17GxYmyRRs29a1eGVhc1ktrAkFCqIcvfV6CfRA078FCiaFsUf2YwpnJM3xLuooAkrItJb
K/YvWf5t1V0ERXMTVH3RBwdDVeUQFZPMCCSf74nc+3qscC7m91ROTn2VcZJh+f5UgqoAc+ru629v
NmCBxox0OvRX+w9yIu5TlTDFo6zseC39STuU1qhK0U8NakCBdQJQ0BDdyRgMazBruzj2EPKVbA9N
JOHYug/aelXDLieXWMLCtid/rF/hF4i1SAaghFQVQv4RY8gOMpe5FDMzH2jJ1LXW/4slrIXBErvR
ki+twXJcyu1+Awiu/Z25RjWIipDTIK+bYOE6oA4i7mqGrHkw0UkdLFJqGjFomxXPFqie16IHdYDI
/th9JSjvtb0+MWdJiWd0lF+Vu70MFQ1I/Wr+QQkBmoBKA6pYoOejOMTBeZW8j2+t8slMCmJFZrTs
QOjfweHo0jv1EIn6J/p7NNlZTdZtOQTqqLN8pkjesg954ZSHHtXPtc22CR+0YqoqU7VVEpmETNly
MOODQLFC5Ahcjf+diGxcZOaCrXvRjUTPeSv2/sSTt4D2YL1y6p6jK8c9ekaNws3fcNpSlIrK2+Gq
aH+/2ljgUBNTfEMnBvLHIHWPcQPtdckuqbkpxP2Mvf1bc+XK6KcWyxVuBGOynCqD6RJpOAm6Lev+
edeERvaZQlIN2PZ1+bVjK1rQIbNW7V8rQleTHS3WKe9x+dMbydxjoLeVuuzSQcU6+fuR4Z9o77Mf
VCbnr+ZHNr8PxFHYAMpSrHY7TnW592Suq4h4zK4XLwyP2CQWpMskJDHTdkvaMf5Fgb+MBg7UnMRC
ajA72xRa0BvIFfg3jhbQ+u92FEGaQVxC/Z6NkuEm/2uJHyipqYWJKnpg6y0CQIXaKug9HH6ylKXo
iQA8Qzugg/UyguTqiVPA/taHr1iUr8WYVCFefAKKvoKNWVDWnGlAAMlfLd78TI0yVcQGK4DTQVJZ
Fn6V9pV1C9ViyR7lqABj8YplauZQ5xiy6iADcqS9UzssoVSCjHXNyVkWHiXBiNOVkFJk8C/k/rNJ
BB0yHlynX4VgZzsVUV3vjrQAw8cj7o6N7u7vbNi0DLJwINZfU/5EX/8vcxGD2uxvCSiUigDzjJp9
HlLxbLGI+TX6/HGB9YqifBGsRwRAiyUDG5losUmIqPh36v+pIFtFQSrboYSxX2dh+XfotOSGWXta
rW+iMy79DKwMdEw3NbFYFH5+eHIIWLimLg8DDSflKbJBKD/2gZaQ8lBIWLozVScaiFoc9JMN5oDe
lhaqIZOijo3nATqSCElXsgiDSH/LfFGYI8vPt9MJSWeCtnumbKkdduuqlvx1R7FE/BPLr1c+S/nf
Oai5rY8Oc1dR0ovA62lDlniPazRYoiuvRTOBuD7eP+zdBe+y7cuvpt3bOsWs9BQcfxvoyNPuuRUn
NfdJLyXDWWEPAqdEVvH0IvHUBJwjQSRK12IMfzoubaopVZxwSlP/kU5P/1NWsu9QVj6Poyv1DLEC
7zP1lMF9AwNULFCJXJcbt7RifRWeqa3g1rv4NRY6rbGV2Zlu0GCMTfdZ616P1p1+01nPrCH4Mcc1
EsjBanKMcu8V4pSE5WLvSBawPBIzbgb18WadAnDu+wcs4u7dej8nEzLG5CRBgtEX/rtaE85Rk2Cg
WOWq+EBAsxtUozt3j9IYnB1s90ST9OmWDX+J4sWoMoQf7W9gLpfdcDZkN8Wa4zz80/qOIyjmczGd
zgfHnU3fGB/zWRZK+c1zt/HQeMz3cRa9vEbv0W/4VfvCaNMB9tBtcWKTtH8cPYgJRmm/ZdXtdFC3
b8vUS70jjWCwX53s9tZ5poMS1WwVVy5OMnr3cAln+vaT0WaYjJLRbnjtG707H9f+fUZVbXaYHEeX
4W2Y9Tu9PUaPB1rdn5Fhkp3Q4oYKF5SdWoi1Jbh2Cgwbybvw4Oa9yqAdr4LHmqY37Xgbpt59cB3Q
3yR8uPVg069E1x7b57QxNuJnWMO5VGZUdPWdp/NsfpveplsfKBZY8BY85+ev/Vf9G4epUWViDo/z
5rAx2gQyeroQroQdv1Icl299ph085SyqqdQjhruo3ac3/KQx2s87k2oIlONWQYIiIKTv/NucyFTn
7uwod5hM/gjrKKz+wpt7958+TasDqtrT2jiPjbgzpWPxQDyblqNa8Caoeo2+GVUoMrb7EhwbSIua
3/uvQ3BtAMS20cwuU6Ddc3Sx/LRXIxYliUUTGWaA/rxYm9iTVmOzDc1BO8ucRvM04Gl+gAJyTWmd
ASZiTo6K1BKoYG9YSoB+WfeNGQJo89tdHcB6O5Pr3Lz5NMK7BNvcwdIGS03iS4Tv8+c4/cQa2bmn
/uNuvU/B1Yzyk580yDIZ8rSDuf0dMAqcqsW5s//Bwv7zXMHVtHuD4I+srIbo4hkcd16yx9b8Pmvv
iV/UCvpA6BRghJqa9jG3mgQq1uPVNZ5WMqjht/nV+Wb3+DoPqLIoN2zZJwqG8cquE8K4Och+WJ3t
hmk/+XwTGJLqXx3m9gVCxqwVmBenMq6++hUM+DFKNhxcUoGoFue2wKtz4u+TsDJuxa24M+6MK+NV
sP9VkyLMyAY8NiCtHTPGyYbiCj9uoVIZ8+xgbSBarBK9Y//V22N31xk8+KwGV3qEx2DnqwOWPq8C
AWXgFOPX4mGIuv+rZedBWydFVrWgFTQ4EuRIdU/bb+lOJxWOAQd202v5GHyEb+/gpzS4UYubyyCL
9vEeGap+F9Epf9X0WLjDJqaGBo/wPfhOuH91zyBwfBeaDGN+cCdg0h+0h3Laa446/cbQ/O/jknU7
IEetIc9H/ovdnEghgl5e2PPpRfS32jqfRKRn3BPV9uoaVDwRW6Gv0jgJJ34OKfy2JCsKpcsEQOG4
wnQp1+RZKlJo4ma+/CaQd5AsiPUgP7EqjmJb6GwpLWVUjNZScfVOEzyeWfZUchAxsDXaBTUPrJ8J
f6Buewpy9xBoDsqAA3yc5y/D+Hpw7TX5uPqlFfKx16GYn2G0QeJgy1szj/SaqkA8C/MOeZvJzW7l
JT50QDq4ZNQmZLGs18vCl7v6rPH3LDQvCGwvVxm9stKTNWO2wBjKiLdFaJbsKWX+CxJQkiZTBF0J
aiGq5qo+3PYq0P5EdBd4ojBTFRhRPvLC4vVGfgctNyBL8lbjlHbM8ryB6SaexxX6fqFQn03lJaIM
WeSyGx2ttFHjlsESox7VQuCpOwFnqJW1avc3YOmTlZLkDV/fxl9qm6GoyRWv+aevaANofceErwo7
hdjK9ktQrBJh5rsC8MyF40FGo/g9ORXM7V0xRp+BSbxGwH9Juoez0yFtflmrO2sHoX3dtE+bfnO/
eJsf7W+6OlHNw7mpElbCDv0yQxHA6w59cgglqu4ZDIdwZVDpV/pvLCKFZ97dJMC0LyApITEhYiNW
YZiz4HJK2upeZA8bX6zqo3spmEki2UGsc9X+Sw2iUmbEk8FcGV3myVRT4RUmwcrXoVzndsQnX6+Q
0OCuGmRxFlf5yAd6dEVvNtkxbqMGwzbacjT7+NmEaon3pjGeacW5hyNa7tXAncKk+AWCx0hZgJxH
TU/T+zll1pCdye29Dlntyhy6uuZcrcdabu6Y/HZKnJBBt1fnigIpHmckLMxJNs5bb+NS80O0I5MJ
RrJL8RLJ/NaH9Ey/ydf0Oq45e8plK7Td8Cd0HCl/7EN6dZBQvLuKHpRVqTOJsqyiXc0LgOnhJcGe
El2Ye3W8QquxMSDh3C3KJEzX48C1v5PIRgIUqkE7uvkPv8VenpAQAyTiJS+QQYlY+ROFPfH3N1mH
GuIptMSUEiC905fXpSJFHbrhWlSULdZIVxu9mn/AaEqmr8WyAon9CiJ+txI2PzKSzHukQXW9oWE0
3JSLe1bwPMDloAk7jtyRKucaZysOduFe2nv26syi/q4PftVvDfIH1U19WT6kkCIBIOwVB8wfSANb
2oD1WoPGoBMZ9W5jcNrZ9pkHjLgyfXD1xsbJaoxb4+vivtjNKkTEhoXv0+wwSxen2QY6Y9vZDivx
CUtOTkDhgAKCVoJJw3UtwPC9CY8Y/u3YjL3zys5fWFQ1PN4dQFvmXVbzJp2lQX3yjzc3uRXmO6+D
BhbUYtZicyVhRa+8dVZJz+ROf7U+Wi+olUnu3k7e/oEdN6BUc16dPqdVzC+/dpjU7hcvOGgZUGje
iWtw1OS+ujJsbIHffx1opNXgkDuPirNtOu3vl1NLu002UOhNafe1fqbTJPXbseE9bbTkPrfDPO5d
9AmHQb0Wtj+e9AfMh4dBY2MTPO9XUDlsA+q9qhctjGcNQr4ceUoruhMk9LY7p96/03qCPf87+9iN
V0P5l5ZDoqj4gGzLVFD70ZUgQOUFJd5ZrA4I0JhYC4cUpKtYjufooVVtlgpbhWlUSjAJb4SYpclK
i885DcXgztOfSEmqfNAUlJYubwklA7qV4rNcsUjxSCZJjaXUSIBLIDYIRyrZFMJoVKnJECaL+Cg4
kERtJqAIhHHh4UCn5HQqYEFfaDWlRUmRoT9ALSeCmEAKBQsqBUSaq8YHUlKX/VMET76dxJqhUQIZ
RBJPC58dnNyBElHZKQqqv/i4QF98A5tKuxqD+4M65GNN6sqsQacYTkJr+Jv2MhWKbEihIVJTCaCm
8FjonFRxyIYqW8ihVw0lWtPdosWTGONGoCaUilHA+1v0lngTggkn0fFiytMPiKndAQjZcofKgg4J
9VBrl8Cbl6WiB0XFDciIfAjLz3uaUKgy0SF7Ie5k3dhiKElrkqnpsMvQVwl8okTDGiwnut8dtiDh
lTplwSwq12KExVtTakeEMNmOoAYMp2QofVWBYzKT/hZbMoN4cUh/USzKOI6AW9QoSUDoTjrEE4uP
K10yWBrltQ3ji8I6KB6+ybyfLcAY7Xy9tn30+L2+SfLOH7wJ9t7kpho2YsqJo6alFwdahtPeedIS
84lHrbQVpyJNNfnqTt7zxrdGXrZG0VEz9Wq/Zzpx6uMYQjqgpboPn4l89mA3e4gzhvd+2QD7Dmhy
DgvdCkJgKVmKYsuIFJdbq7sia/w7MZK2eKgYeIaf1DCD6J1oSnsF2FKJL0njMZXAQE8hOkPxVPyv
R1StF5lkQ3HgZd8i5VQZ5fyyXi9TAjkbKZLQ9LmGYgS+6KCgZ9nZU6r7ksyocm9StRe9RKV9ahdH
UY3oagfgAy1FfI/chcDlmnz9Kep9qe+QksAkvSo/Px0MHebqIC4CS2qJctD9VLUddEkoEbqB4tl0
inzx+fE5xG8HpqPCRWQfAp/0tgRNFcUcFBYxtaUIhGURVz5VS9OWtfLpGwxK9r0ASOw4qHzp0lIf
qwErbWAHKuFRZnLG3jL8mjlCffQqyG3X0yAIki6yHECfmP1fwiBvTDJRQGIiW/5q5IvmuMEBFLVu
20bAyypDPoF3uDyIGNl9xCnQrc4kCBh0tkbQCrDWlN/TeIwk8l8hrnwfpSxSKCDnkCdeoyIxJKUL
S7iv2pMps1dNj/MsLO63CCeFLerWKd5925wwMB//4GfDCQ08fr9Lvdtjyo5B9TiqFId0F7l3Loou
8sbFWEuijFAiLux0HEWAbH+jzN0RUMUy0kRsKpHRVW8YIEMfapzT5moEFUnfIZTp0rFwF820WBl5
QX2vRQXWRSkBUelp9Dei7NTDyAOgE6YqT00+JXm8fnWKU+mUJ9MVlnjuf7Hkr6X3W7G4vjvyB7rD
FHKwq+aRA/9Cfv/3vnRiMvck/XWw4BKkWOkewWQGMTEMeimWUAxLMSBkGqMX886fIssKYbqGQpma
Pc1FISX6UBxm2NWv17QJYbbuVj4kJ5JuGNYg2U3JsxKjVC6YhWUIRC/x0HGhFRVL3BZNAybHK4IZ
qNGrIiSqbEV4fdmB6NYpWRGoCoMS+XvNklnYLcApSXOhMtQkhc1lyvykV3C+NBV1K1cej7a9vnyX
2CzxwnbXYLMGiwb3UYTgjc1/LNXFFQ01YMeM9w+m5XqIplxNhcZMrTPSsECbGmwi+1no5xD5auav
Px9Qa7nH6+FQjJ+pqEE6dPcxgWcd58LG2sVfYUFUXtAbe+kMgDSXHvA0zQxBbhftSXPE6s8WgKg+
1v3YM/sqxfL/4uF4oa6K+gU4M+D3+iDy+1CJjhy2u0QXA7FEMHVEGswI74wgZCzVwux+1vMuGsNj
FDHXSwhfgSkQ7oLUVsUTSFx9+oWFQrtVJ8QqaYasgzxCxwqCg3UYydSCGgbKDuopVPfavQv6kV2P
jsDOV5HRkGl0QtkRppEUn6pWqDntbqD2tFt6RlILp3Yii/YlXaSX5+Ctty88lzmpwNhbfP9Cj+ae
5LSroRo9/i0MBhROMLMwOsP3UrdO7Krpe/1abyY5VlkT4Rk62sTkKmlsyd50lLG2GmOVkpkV16mU
q+AkjiBG70/tu/7EOSGNF4VSmhIJZEj0UO+UXeTlXatkhuIGRU/yM12w0ra+069T/NGtgRjzy1pK
1JN0XZeR3aKkoqGonQHeGiIF4XCtEXTl41xLXql4+LfRMPDktCHDPcD/PWpEuYxr1z9CRhA1oVPs
0N/ly0nSxP0fgTqTPHESB+vyd+CpqZ5vu6+jk4e3P76pc9bmyAirRb9uMHvZsSjd0AXwP3o+MdmG
9pqYsI4Qb6tMT9hHEfwHTiunWR7VMIeXpncCrX3+Jl+HiE2KLysBfmk+b/J3PZ9nwIFDgSGCZG7t
vz6glAsYjMVtpmHDSEJmNYxXJVo1s5JdI3speT2pMKAi4JKSAuC/gkXobvwv/lPpPQOfo+IdY4Ae
4tSvuqwq5TD237B981mFcjm2qDSNfZy9P4mLy5cbp7reTjZhdSGDpsvsRjPET9XP9ZuqWKIbLiw5
NQVuvJkalwdhs/sbdyDWaLvUcl6Wh7G5JsE0ejxSdvwsVgatw0Da7AuKUq4zLfVXjPyTUPgxgBo9
JYGzVUajUZa8xfOijFjnNiqOVC4AZ4vU8RrcAyFOZpjElVFnVOFQSy7DkYfNwAyLToRSg5MYgk4A
+o3bLjH3rXuO98vEAmSg6CJVW3kJJRtHx94ormcpei8vuC66DGtZGeJHN9YquSa+sljcWD47CIta
oYIicVUlhhCXVaYjmD8TQZYGiTAhgZ/3wPal9riIRJxyq9OqqH2fnVerG5NFryVWmkhB2LqF2pnp
9sktnxmOLrwKySoFSYo2kEW2xsDbgRDEDi4hH8u41l1Fb4rNFJmZrgFDtubcx0nvTf3YRyz0IZta
kC43o1/yvlAjyTU/LTSMgowQD7QAudQNrOXdIqKAr8pQ8ghk0ZhUtMLnV2loVcaBZSLFPsoGKbts
pVLKOVTCfPgiI5FTkJh0iPAV7SvmF0BagqQKyAmusTUpuo8qoEeTInUy5T6CUdUP1x+EjvNRD69C
fAflgnjq04+D9AvWAML14x1qiCyWS/F4064OsBGCe1I6uAsX1PvLQvSsQ/JCWASwA3in+ZMgtMDb
+FbmGxR8AQQNNvWylFQ2rhVeosSjojulKn+5nCrK0mKtEVP6v7ULszbBUCqOl6QxkHJWqn+ENDIX
V12Q1dpON0uRvC6gwmkVQxWdiTursaUzFG7IuXJv9A7gf8OnEb4JNCiaBRYRqEoR4euz3K1FISrU
u8X9lApMixTsEJ5PY1SvUIbuRbPkoifv7r9q2N67LZSW6YPcmhsnOhjd8cg0BW0ZzEqV4IUO7ymn
C3RThUltVVTdZs1hfZLZLZV8TUj8Dpymxer6Ndv5sGZOjOOZZicqQcqliyWUEkJi+k8VoR+5GtMM
JbuDcrnm1CMpf3TCxVbwogAmIX/j7wYVCjQCFJdGUcNGqIy/FTJSykyGaSBCsm6XhhhkxHFBWGPU
wWMlwac0wGiz35SYXj1tKCxXI+XICsVLApjSJeIiRbFa2WAgszlRf/1Ro4U5tCvRQ8B4fkXfwbDL
I5eXfbKM1Dt2vusWnnF3WoUYwY9a1AGz4GpX745+rj2+QH0NNoE6g61FADiG3ADjczhS3LFdkBNx
567Y8qLZl8i4BGb3Ll6tGjLlUc430t+REt2pvKHoptzhKdoj6P14UJtDc/h2O0+2LY16WWNBm2E0
aS6sPjUnrmzEcvScX3tE26OJNfmPELBUU2OtR+KCil1yByiEMzd6F+xRhV3afdSzUMto0YxVTZpm
+EdJ+5lxkdhBVbbWW6RLWOEcUyoYM+tALxS6oRTe7wf+b4ykjZy3JeJk6h+7o9ENzEO/roFf8TWd
ufjYrSwMSVAgwfUxgxdJiovadjae5JHl7+tvNOw1ibQ8K2JWPFHA5gTxWqUE88gfgfHgmAwRYiWv
Pc2PXfCHWlwfaNIK2qjiRFsA4qzVOjb2aTGuWq4u3j+1urhKeOYgMhHfiferlQjZzlokrkpEiWtt
/rSo/emSqGIAIKn1CwCJGr/GjMkhjqDcZAo/GfnpKCKiSx8jXXUIwqAro9J1laMrBdImUib+Yl0o
UdDmswEgufkFuCZCJSzNuDI4UrLdTCjSfiafByTEFUtAcE6Zdhver93D5E6l9jTZj56z5uI5S2e0
tOqbvbR/Dc3eE3CEdu581EE6GmDJz3GJKjdR5cnYF4rGXO4VmoiPSKiBDIF0LVSK+WmNCzE3xK9i
7BWUsjdrkvwLyzVJeIUW218PBsaChsNxLBaeotcy+qfARtDXJCehATJJsnYNKno+Jbm3+p2CdSVQ
Uy8L3U5hPETHNGSlpld2DtJyq958B/u26d5btDU1GiDmB5Bc8RoFsBHkafTosmsvyLGoZhWyD98d
kj26k0TGih0eKWTU+Lt+tVC27OLWXz0y3fYc5KXY6ZVh60ZoHdfA24816KYgBCRFIrNITakAQmjH
DmEiCdmF9ewTV2hAEnB3EkQ5VChO7rEMfBSmuYW0WQP6se12IM7hFDqnBmpCijBhG73kv0XowThH
nLIKdQ7rIENys8dLQn4S8pBgSXNImlkpWB81hjCkOLFJG4TcFNzkI4GRmvLZcodg4WXA5dwnsXGG
+LNt4XNZ8Oe4RhlG44U9gjJPxT7bHhbSos3mOEpxOgYn85k6SIso6++CFQ14kJ0cuTN0Daz9Nr5q
X1f2TsqBFLrR0zBC6vRLaBnWtmpnFZINerBAT4X0QKpJZfiF5o9WFp3FCs40pQWgVgI5efNRr34e
7SolMNR0QGjX3ycpCvaCVS/5a8/aeI2s94vnkWahOf0l0EZ+KMYJpcs6xR03a7GPIOBqsRztcSkx
N/THpMiPvii4f52J79NFj3sJ/tbO6O7Rbf0hPSUQjtsj4qRPVQJXFDU3lCO3c/mGGx/VZhd5L+O9
9Xn940Spt+//Vp/tvilJuzKgN9BXmU2UxqIf57/r/BCkLAoQ5SYTkXtl2Af6C5W2TZMNHil9eEqr
5m3JFPQSG4HdxpnI7E9Lr6J9anD8f7Pw2sWs/gseo34yQkoAoxHPgwmurPB4QurJt4GiSZwgC8d8
7AfqWCHhnSD6ogqCKjuRp3Pt7S91Z1Yr8+UzIhFRWYooVN4QfKdt/Uu1TwwUcEzCMwGXAqXiTWsw
C+U5T6olwhD0yIyiY00hu3aPUE6UBbN2Oeh4hrWPL93ztHz5It1Z4qxswDPSK566CfCdQt9aEbSr
f7nxp9Cds1I8fJwep82sMOmNSOq/Y7kd80pYVeJlyGtxavqgQTRWE+KIU80Mr0EdZ+B7cJxuYwUv
14AqXYD9QoTuIqAmNz+Nb4PWx2qIsINMBTtpgENOH0qfvRkX72DJjlkPnf/H5VwW3hegZbSkBpjg
RF7OQOUNrifvSO0H1ZqQXwDrgNBOXEyMPDfyT6o1FWzAmv6lxhVZkuMMTvDDlu3e2T450oeg/vp4
/XIPS48Lrg3RVYI2oYMxYMXf0bqQOtNj67fP4S4NX8n4We2eCGwzr0m4mDIQdMy+SInwpwY0mTGM
SFhXlIjs+8XZLLf33kO2e5s9yaI2qxRGtcjuGV0YkXfiHgVc8EmmWDCtnwtZQVT5n5oU25sSaRVO
pDo5fa1Yn8gmD6NbrQt2dV+vvhOb6ctL6lf1Rxq2oqju7fyXIEIGf2Tj9MhCp+TQfY0NkmbBTB/S
gRIfZsFUZKutXavQ1teqW2WRekFclh/L1cmHgthuWJRX/OqoBQiFEihEyEkShE4OM6z+tJsShfIM
WmElaf8XcbNaPFzFZjVPT1UfKnGq0+mDRz843HY/DVEMwhmCX6/ZrqURcOPvFJlkGmgQ73+orTHI
e9F9GV0s7VvvrITbeYMPUZrVfkB9b+jJZgTVQT6U9ZV+ULwgSgJtoIfozmWEW2QUCutG3xiePqDz
ZN7qq+JvePJXQRmg11mI2WCQB++g45quOHJ7v5Txb/3GnO36a0uDF5rgRRs2Ttov1FfdA+1wpmvI
RgI7r58nt7Ju+k+oX0hQC4hTXQ3UjqtJeUSbgQ6zIGNwYe3XBz3Wmi7oX+KnXxco9Kg2pW2X4v4S
sFuGahEgloZ4Gmg1OVu96X9agB1LnPj/F/vB47WCtiDOCLsdR08XQnKClrNdi7EtRjzFTVgOI9pO
l5GdzkhwK+QN3EEUlcne8Skee6hYUHGIgZFfBfnsj+z4dJeUG2mbrVqbuE5o4gCWoksUq1yplzLC
TawQRcQNDQsNDKWPGlg6Wv3SOLI0/1HqLJGsfq9kpysxgfiCBhMPgV2c8W3GUxWWnArtWuTYJngs
vq5UElTAUQgvjLuJteyTHVmb8cmmcm+J7kozAhciXtEymebLodonF6UvZx/y21SR9Deph4q4f3FF
EDm55oJeiSGxQuOXG8s3F9fsdTjyQAaVqCKJFYa4ksok1eyp0/HR3/bOqAWjExVwfnNDxwP1PJCx
pJz4lYUJBhCfR4GSDFaFjJ/4DR1PCXUJFtFbWp3ebXkN86DFV3orapghKoqiIpB+LjLd02StNAK0
IHigHVVwZIS2vk7LPQS+xjyfyoRCrZTLQQi+LRC9SJUJieso7wdp277eu3VwSnh/TT4xFAWQd2hB
IouqE/JNzEvaIVUVQhJe8NrFrgsfX+Bq9e4geawTmBUZFkIu34VsrESZ8lIeEQeZ7loNJomLYJ8a
kQAVmVIAvk/xhWN6qLKszxvWYbvp7pOuzvdKmHyJDZsmJVFjDp1zCoDvmO59fPshnIzuVNComQwu
8YmjYa1o5+gcfm7TKhzG1tW6vLzrgGhEOmW+482l83Z4YZofbR5mZO25ZOfu5m4Pr1uLrxJAUTij
7fDWsKCOjnew7Pij1l+LtJkYfV7LYezYq7/Vn9EJTj9mzT79VOe3F/6u1fkpvk0fBLnA7C/+/LTx
smdEm8xTnJw92Hk8SihTP1ppH2ZCTe4G9SjJu7D3dtR9c2vbcjPYH5zd03vXbPNmb59Rpx0UFi8e
7aZqh/C2j5KaV0+89D1r5dbtp0PjHGR/iXfJB2Yt2l2neSWkCNJquiuyu6PXMMLkPEibvazqGeRW
QT3OiJ/AIsd37MPv2SOs1maPzem7Cm53sTcH5/b209Rd1ZxXYl1uqIradAeCuLGn1/LsSMQNPPju
Pqv2hkoNOzH2+p83csq906r7JkQOOO07r7pxGxevAZfq6rbezoqafMM93Z3b0zqbdg6FhxoOWX+b
O9W9NZ0z7VWdldk759307LQZ4gcHj53GGfV4twMesaFdevc4On7uf3eL6vez1s3n2/gOIl/xeIbg
YFcf9rW+OBlnq1JFl4hTzRr/HbD3Cv1XoXXVOs4dHiW43XfSu8TmMzR24/O2394Hq6rfBkX8YZwU
JiTGsHm19/cxp125OeeV8wyz0XZdpcKDbwSuD+u0aPBWsGkyqDuJ1WZ+o/xInUvutfDPhfZGEdhr
JdT2mw+sNCCbiUrZTxpmv7Ml4uw4Z/fttd3nT6flbnowmPx81qEt6Gq0x7EwO7gpBJPJbtRYN2hO
9ug+DasFbA5Yhbmnuo/C/bQuAiVZTb4pBpxq3XMOP6TLYMVE40UgULWP76eTHJxG076fLZji9/4Z
CtJm5dabHStPak7H7CyFdla+Cczvc8TuV3oBwybdWvfcOhI7DfBncDu9i5sje4IttAlaTTt7O89F
k2UktarQg510p88vVvSdnSKWo/0WEBZWJYMOESfyPDypH93TbxU+BsJF6D9m9+AZD7uzpGnzalBt
T287+4i7EHEsVxlfo0U9fjetEyR80n+4j0jIiGcGl/59XVn5b5J/2D8oYn4fs0f/1T9XOZmuyWOc
Vb2b7xyDEhOBJrp2DPlRwDfsx9mtQXFb2XecIKt00Dp9qXX3qpcuKr1kXPGbyxNJPUpvcqi9dYe3
iS4C7QH1BQLIWm+HjTf9FoLrujHeDv8gFQ1NF8r0GBcD8xubmvAW5zaGNaQfRQPg/KP9uceb5s0e
tbXOd8wutgPWLpWIhSyODCeLRAoMzz/1eQv7UYTtU2O2wq0RVfPiesBvKf3DxIVRiS3L+vZL9+mQ
WNe7RyiMfBpPT1K3uoSeOs3OFD5MNOm1YXtSnUBMGeWj04a+0fuZOahNrh+Z3WBpKUo72M3+pS7P
8V5vg+bne4SX1Htt9C6w6T+3SN8TOPg3NNFsA5RYDqQWt1b3+NOGXJb/0tfs8xI+4/rsMbvM3r+v
z+Pyjkp/vRrfyXyXp1FC5+VsmtPglnJgfzPK2oS7/EobALVmnUZZs1vrvS79wzmd1k6G37ld3dsn
j75mo/sZjB+C/OPjwmLzgeAfIhlOGTv61W8a/nG3nW1rDetBc3G2xHj7cUvcZwcE1D42oZLgWpMA
v12AtztBxvZAscB7rU2Il4gO1x3qJOrufIb4uauvQtpRn/pn8jQsZB7d9hH3AVDHy67b6L9leiLL
h6y7+mPBrlPIRRiIgyiWzdRyqazTH75t1442GW6DNpSQjP4yCotUT78v0kFQocaiKHdXmX74iEjJ
b0Q26EDoVoHI8w885dh0j1cLzwoY3Sbbf9t6pnY1R3ThvOtWu+GaBs9vXYEH+RYo5u4Yhm0aMj45
w9MjdCLvx2kT8qqKj4c+7+Lm4uFFXNUk6Xxi6o3Wb0vZ7Uk9qhOcF++4xvuZGD8ZRCgoT2jbafnT
ds9Nr2I6V6bh1Vmd7RS7XYT2Z84LRlr3MOoEG+pGz4i0KqVMKUbn+fcwMfwKgCd1NO+IKRdV5lkV
4uBPEyoQoVm927l1HxgH0+bFqYfNsBo9vDN9MBM5CsCCRgIZnt1LnyWlGSRueyCjP7gT2GwKCERA
62ckIvUAjSesQuiHM/h8h9/a4jC6Di+/DLJH/0xy0p+95uTIyAXJPyg2VezL7PR7CB97e7WuX7vG
7xae0ucZLgyhL3yVXTfPrTsRAV4LdIKA1dkDoqUQd3FFRsfAjaKDWF7baUZpjC0OyF7Uuq8OtWbk
93ZMRGEBjJGKC+iH5u5gK0yX0D8uDZNblE7EfRgr0mKePz9AfG5apK2YFTNuyPTpoQMmrLr4CpMf
pJ3BFjJnndpjQt5IzTwQXbrqpaN2/8p3uPIQkF/hptxgjGOwh3kROLV/7228A6Xnp3/BJwcudXjB
oVigbzPYgil0AiyE/MxP4JGzFPI5cXf9yziD/EjVdPmAN9fxKiMMKGDVbTEUuDizqo1r7aVn+BfI
p/Ww6tL+yffFwPUwiqTAjRU9O8z6SHaRwCCmtRRmOhSTxoryz2Ay1Mqh/1XQELZc0z4EmfemN2hO
D2KCYdn0EkUTejGrYOeuBd3uAlpCSIT0JFoErqc/peoucGKoTnR0QZLBaUppY/AIjJjOW2CoZ2pv
6GH8atiZ1DECfHH/pf1h3jjHwSU4frFQ9ygTDZkJH81JpYewOuk+sRphU6IDMl9QFqOhPVjz3kVz
ihaF9huxWjc2mVWqE+28O1VgKOOYuaxIutWzniEpGWx/R81XfbWgomMIWmFm0hXDS0jMd1R+D94V
KitTL4WZm3B7eSGu2CbcDms4X2NJ4u564lqDbCAue1sEJkBHkekJX4IXkFhwM1BRYz7BJc/h/8K/
MIGZBF9UqfM2+HU5cg4QyaH6PmGg2XaXSyFI+yGPMKPudACoxLt+RmYnScETd803QwL84fJ583Zh
Y6Emq/shhcJwF14netfoFCIpHqqQ2Kc5PbNO/IDQgkGMrzrgCOO4zuTvgj+6darnbhNnDhWKD0UM
0IJSzjjBhBM6uccq7/1RFO/TQ00dW0cj2nnTtY2LPtFzIdYnUUzZH2U6i3cuVlc/aptmYxsJrotb
nXMcd6IXGIaSS3XHUgtQJaIfO9qYoYFGodThKXh/HEwPtwkYS5KCIPrKrXnyWvV48iSVbIN4gANO
2At6zfjh1ePr4jh5zw5g2qcuMQLkBzqbN75Z++6986KJQ8yTKATvuS8WXwwgSTqDy/TiUjlFJIXE
5n+IOq/lZNU2DB+RM/ayC4g0RcW+44hJsKFi16P/rxu/Nf8yyUryGQu8PO9T7jLbt5MeYlgE/8mp
vRmh6da/2MR8QU7AC1EBVlntL5eBlN1c7ALxLOiL2i/U8mrhq0+t3wVp/JvBvL500UOFIlCEXrm3
DmQ6J5o+cPTjUoRQHj2DR7Bz794DYtoQTRdi7RREdl/mS2lUm7B7b+fX+NF7LLJ+a76nozTb/izX
BGWid4nINyIyP7qfVWOOaCf55/SCQwskpx/A1aR01cRozWoz5OGy3n7yikrr26jYbiAKOir/IaSz
DKC+ZcgJgd06W8/hBqjIGnbRuDq6rir+GRB03JxnxBUIhP3H1xq4FT09GCiAPw/98+zUI++v2Idg
R57G+KA2g95UppAtj0vBQx2gbiG6/1WBmbWfyAi2nGa3EH5cJDOjO0V1m6T1eTXKWzMDADo6USnA
D2OG5B3c2qzGpgeiL6ryIleFGQyq6ttozLb+eWtQH26HC3Zm9vJn7wInjH5WYvL0lITZcLOuxSQR
x6LB05wZUqNOBAyNUSep0s+l3ySlPpmIUELq25PFchkykqQAG+wZmoyYOeAzz0u4jVr+SRy81bu7
9Gp347V+Tk7D8ledq3UyauvC7DRIe2zQF5eikey3l/02/N3s2ll2y+PH9I3JiL/tLucZXMGaDHf/
3m+DlmUWE7eWA+pgOxsXcSkNL9Fz+Bqdp0Q7rzZNF5sI+jXUy8F2gFrLEvt5cm249Rw0JotI4laN
xs14/m69O09FiR00nK1B7UkH5/SHuhLvg4rlzHY5SOJ7w/hET/8QoL7W+VhPVDD7tOuYQ3YvyCY2
QioR1sCFZWBXF8vxk7NGu6Zm01mLitpUvRbj5M9P7afgJD3a+3lH7oE+YfCZ373bmklAmPWYmTGD
qhHN3w40oMl+suxuJ9ve7ufE9OMPNano2dv62fgTVFeXiEecZr1T5xKRNuLZ7jCrXgALtjehxnhP
UBJUptEu3AP9Ray1dwyyFbvBbzKoMbsowu2Z0tY8R9jDgHw+RDuC5iJljLNkeEbZiDJdOv5MEwDR
40d4sOGy7egJJV6VQN/5xMuz8ZiyUirogoyTwcPZhe8ea56a61lFRvY9Lv7CCfK3SEpxvbDKIIZm
vxmMf8hxtPwz4NbPcQJQNU44z9sF93p9cB6Ps6b1Riji3mkSRkgaR5sgiSgEM4iFIA3mRWI2pEyZ
c3+iZFoIoEd2DgzLgg+60SCyGWHEBdoyfZTpCBkdzP7mpZ2RhEeyZCpXGrH9jUdsAA/hbcp2qUAi
fxyfQj12iaLKuvqMjpnDDqF3jJa/S5ovdGoQVAlK6ybwGb/xk8alefp3sQ9j/oKcEjkXpSGI/dnl
TrNXCqvd8qAQLFfb6W3eHF7s54ABFXRJ4qS3sRAU9WoE97qZDerUYGdjt868ZJj16r/v36absTb3
FKGUtQewtGh7xc9FlXuP+fERvVdcWD6dg+ugQoef89UvTBGzjUDvRztyK5ZBfV4Cwr8MdkwgIqTI
XEC3yOKy/o+IFXLGOJ7+aXDpL//eMGMBEgSJT3jt74/tGsP1NTK4bgOFa680J4Gwy4D4okq0XDQi
BmhMaH/oDdO+tSByvjm8bdHkHiGaattuY7h9wYUkSuxfRgXyI0uD1ULNlY6TRWt4cyCK1Odl/OqQ
BUIvD8Y/mQSKZ09iMiK4BZOlcYirTxMe5blpZwUHxbZmxXgjbNGgcLEaLLabVap1rol5Z6g+rzMb
yNrVfedFFsPf78zLtl1AtQx/h5ZzeHglyF6i6z3ULnscgu22+4FE1rDo05xn2+lOOUzqn5wkkqTM
tqcGevK3AwtmM80rIsmHyQRlc+LUOSo6WLz9RXPwIPEC0B7B/xsVwWWU1scRXObrJHOWAwQF98OL
+/zbOh8XY/h1c7AL7h1SQW8/QaIQLdU7RL+tc1pp+Ae3Y8LRv1A3n0d7Jx1zZRaAPQLUi5dzWKzT
5g8yf9pfuIya7OwxaktjLmLhcq5c+LuQCTchtcvEcn4FnNMEqTFPxrBQh0en/BQ2KenyGxcMXa88
v8+3v6/pPjM2kCNaw/34yvW6Nwx4DLAGwEIv57Rq7WRYrhkWa3hLgb6dHjgWy+5s437C2ro6qHYr
cBkqVqjfA8vxdtEBmAE296dJA/HoS3Af3MKK9P3THs3okLZx/714xZDAnedY/GGNWaaKQ7/LeR0f
cijhxKO4MkVfbgoXZaj4Ra2OFQI8CNDcfjYoIPQ0vpMO8ZQTmmf34THiolqxtULxci4jOoqNGVtH
t7FejlHPJFA31kx1ryvALb0arG+0IgfQQqCvn8atXsps4+Fsu/zU3dilKavvxgcxagv2pwliotg/
QHJbuocQbsSGNu4TNcl0sO+gyUfvqxBX/C0Nea4+9acnr+k5SlGsPkd3AjQX6eCFhsCSQE17rnMC
cMnA5GMjLkmPtpyZVVAmbABYa5Qtpt58VNACtYHF9MlNUC76gczeIz+5uIqtLb8UP5EyVl8bmeHj
qIqCcWHWiu4eZ4IikvqH7+pIou+Qp8a3yxbpUw8JZiygKKGouHJRlDh9DZ1CelJtogTvH1VpcE4Z
BmnWaZx4XMxZZzs4jQ8h+ocey2zxgcNPwx9hQPAP/XRYmV3/7u2KSyeUecqPOOs1age+kH9THGwC
vjurX1VGvZp/T32+X/ZaPwM6Zadp1m709xY9sl/IduPMh8G3oWCmd6leJBsrcbQFo1+qwdUOSWkb
meCgjrI75zVxHsGphw6sBzjPy3q4bNCKtkSdAJxvYmu/SH/rjE8Ahc2JOa1h8nuHn/7yIdqwEOCQ
e1d6XHd/N76SHV+RjTo4B/i5dNlq0PJPfjoFsDvNnBN3ARDlSkSrOaz3aEMwYnLew3enwFDoYT8R
Ni5w5F9rFKGR9nrDmU+G5MHUs1WUD+Hcg1Hg+gL/rxkIbRUAasMXlzhXQPpb6NER8vY9flVmARdh
l6BugJVgCTO1UWlaIEeD8xQLMwj9/NrdhKl3713Jt5RoVzQBstCTbPbZaEsBR0dTLI2uFoA0wlgc
D0ZFJcMe5VIYfBcyXmGSEYLKCJlYlKwQk7idZY9swKxyrBEu1QUV4trFbsr8RVPUBXYQMBpynvR5
JFjReyJMi3639QF54Mj5mn/x2PxhGNv5A8VbwwWhxKMNocHA//f5bpR1KtN0XIrFvRBhi88ILj79
CLGLhcXKuM7JwHhKpkmiOEAa6h1+Xmw8zCWokw79utdgnqOBmUZn0orRJyNVyqGHTUpvpxOAbvrn
O7g9Sv0fIWE1VjpApmIP5RmgfOc3nbbrJF3RlarDID+6knMV/Kdp+ne+pFOGksBJRRxn4stTALxk
rsdkkamgQEscVQ4250DyGcR/jssrHxKKia67C67GmMApglGlhLNaQSO4Eu/bp7YUVAVOkfPljazi
OxIV1FM3IW/1oprYpIjOeDK6lm9hXWB3c9F/0hQoGV2sVpC5splu2V07dEPDtS0gRF2MJfmf3WXC
pZ84+XEMH8MdGcOHcY6FoRLDqdp/CabtoeYBlow93qBkyNFtD/+31WPmxC9F94DIofVEWm42pvj6
lEQXgQgC7cl2AfazUBbWopE/G8+rqVrcDbtyAGLV2Isjs7FFuOjygvhHkW1Gbui6YjYArIQb8GG9
hHaYOrBw3LjiVJyQIWF3Y9rglD4OywXBBw1FrwiRcn2gqstwDxl3Nmk19U8Sfke9uTJLV2XY7B8K
6vJucgkS6uqktwRS+bRK68r6Zp3piDMXYBUleBjsLlayKq1pUaLXv37NJGe+ndxmj3X6d1s/9kDE
rEalXam3H3Bl+42SfY1JEo/0BpvTc2czOP+2qgYDkrOXhlXn08U79wXWQX0SUDYIXXQiD9CJ55l/
NCbUyxDUDEViRwDBH4b+k2vb5xcAexDSBg4qiCTtjC9ASNPp/9gQmZH4nEtCX6DlD4I7J1CwYgWE
AD+mvkA+seSs66Zf53wi4Ro05davSCd5dD3AZiSRtGc+f9UMVwguQciuMIXkmCEfZckRCFsRjyCX
iWb1XQhWyYDMyJIodmncElGk+QvsLHGYpupF6KdYWNx3twb4TIja7YAmM9e5BshX3gU4qeErWHoU
PQxOAavRLOavhJt7ATGHzo3dABs4j8YjseB48n37Mv2gJDfDgRD1FdByeskaO2tKXtlQc0tY6ohd
T/40OYSbVrS6croDwUVT2r2z+9kzFASB0NVrl8GBJrl56OTV8XqFrQSmD0Y4BVJINsB7OfOwvILw
HF4XWIhRfUGwhKPKnnO3CoA3cIzAk8n5OMv+Z3oa76LPtASF89YHM+ELS3FAqGg/OEa79Wd0H5IX
e58Y1me44fHJ+JKBLBhOXmn07oqzWV49giPhvuJXx6TuDonM4j4+RqdF+Vdcf3Z2i8yjR5H/Ar6f
Tm44Dlwn5xGi4d57kq3ObvkvnQBRNK8Qz872koL12WMvMRgAIKBt7/rX3gJdAMSpWz72BH3S305K
MgsVlncM6oCvOpklC1Qgh2ZR0g/5TQdp64Fi5/LVCc7Ab45K0Du+VJAvoJtLlkfQ9kI1yE3HVEeW
LZ3PozWKt74e8t3VT7qvAIc5TJLNrIJ3KN0CV+sD9CUn7wszSNsybJMTJKiIUNseGIq3CZCS4CLt
NHpXPKUgsaIRxFqe+cNyT3l8yUjmOjnm8ABdHPkzQjLAXFevij++skWT3HksOb1UHjEPkiXaCXqn
9HaRReLw730OCyBMUjQrTp1Ym2vNTnzG+IZAmMLixmmbAAxgQK+CJq8VV1mM2G7mT8tLIkCPQs4Q
1weh1YV8+YuiKcxxUdt1Fr5PSkY2Jh6C4IxHEkCr2NDs+EuuyfzyUOz+0u20WnXMv0f9P3blELvJ
nCzPo8axoBGwY7U5jNgccNmIdap5B/kF3KNQ4B45lKkNVEl9SepC6wlqXHvtpcIP4iyeAxCUwNSF
mNVeJcgrJ443pUeqgs9QAZXksCyUR5D61vHXTcEm8eU6pa3+xr+I+CAShFaN9mtepw6abjpJEkZR
HJORs6KZTqDYju+2wqI4NyUIKmw/ZjIUola3mRA78l1mS/jSi+mPWC8XtEm8Renq3KciawBySQev
+EoKMnsOC7Myi5mZAfX8Kh1mAzpVNF8ntaOBoQ3TdOq9d5cwMXhFJ6aSKqnIhhJsJkl916iuKzSJ
xUpeZs6QhoInBlRW2cv3NTSJrdKYIWvMAUAPi7vrpjep9UA81CnkC0cAkxvBZRTL9baFGsWibNEN
uRo586wXGMYku//Iltqw86yHpZ9fuVppNzfjBx4PvBALGh9ipUapw0quOLrWD9Z9rL/TlcXaZtoA
ci2Hvihgal/ZOywVaHgCabO2fOHO0ZnnCsOljkvGiIG1cOUoHgvMTelPVkcgRoIdATH4CdQWbOcw
4B/tDUHvSQeKbmL1lxBKjUrfqUZ2hCbSJSINBaaegUE/RAXm3O34ohN16NOklmN31jKfNFOKGLC8
gmP0YkJLK/yXINogJ1RvMOHk3kgpztD8mwHofrZD7xXdh8VfmijItDeJmOPb1eQnFhnv/EtURX2d
mzQF2XDQf89jkf0J+Eb4oPh7tUH2RiwddhgKCr9QljF6bAEGXizimDPCPyL00OnLhXnIzxkui/9t
S99jHBIpdcVz0AgEsbJszu6h3/QU8RRF8tOlC5MgROzVqqUwvgER2vsIYuHDUzJiTldXD61YnHfk
wfq/6BbwEpL2aKgYMJKSgFhrdTPUeT5GRx4VaSWLdyJSE/ceN62+3vV6DYLIhIYoC1eRECV8Lbq3
ILdSkGJc48570GETOHRychsDLo6KTsT/v8b0PcCoUHy+CZDog3zH1EbiGAIC/zOBZToCVFXTni9h
UYjgN0roBSC14p7InExEyJwkucbJHjI+LM8ODF2pVgr5KwSvCCf5IwpTfBiK2LdzmsxsCmi0irKq
TziL3DSiQqODl3Lu8oL3jG52Hj8wWnjTPrz9Up1OoZB5xw4jsEV5a5VQzEOvZJamJtZ2dX+bcLoh
vhjy0vwVo10sKR028cHWfGTwml9wpL6qeqJwNlD2WN1W71FtfBnsBi3mL2ksIkRuL5YjFC8AWmvW
q3+2VBfohn40xULDKp0Z73zFdGF65XSimit+l7DfDN8YB8F7EQmMrieKuRKZEh5RDFTxZZiIhzIz
O1vQGphFzWYTPR7UFHLNxIaoBI4XH2QUHZkLwt/feQduzfiGl51m2qS21/DVeeI3C7DH0Qlron/L
WUdfrC0eaFmMUH5B3zcHH69WsqMFcZ5ahzbqtfOlfWn6Tafs33pPK+kX7cJAwkt3K3Xv1t6FB06Y
iWk0XhyRBMXGXi/1a2hG09WxA2ZaRG/NBh9oIt1y1lkdedKr/Q7R5YDeIWoezpDkSbHyB13FX9l1
yZIjdJzLr0qBXyRRrVoZ9SHGrCx9hecwLx93Pb6+g1Vv9baWWlwvRvtNnlaLfwVFWE7EWBJ6kRdF
TFIdFk3E8umBrBcl922B5ca0kB9BmQuGDdZ8zFNwd/33dKK/KErDGwUCXubeQz6BIKi34cZj8Zm8
TURbvI/3QI/p44BBIG9M6cfsx+d4C4t0miwomONU4ou58olCsD6v0DZQrW2jGmJrrqxNM899+C3U
INRamNNBcspzGL7KYTRB41OHWAflDIydST4Scq2udHIbcGqvQeZKWHfjg11r3wYHLgvJVTMMB88v
El/ZeAzlmlh3ymD7ueTfwRn5LmH6P20CwRgB2jH4bQUAPApzLgKUI0LAeNXuzYPpk924s1sFXNnT
/i9KstrGVONRjsLuTkmjxd6r46kgupUSG5Hz0HsJ85oUdwjRRHX7t8nIBpXm4ZdT+f0XqaLkvc/P
dGNvF6cOaWGMhgSfO6Tl9IkGhFfx+URhFKddMnohbVVPsD1SMEg1a+t8cc+FWar6hH4EJJfvjd0z
jvP0iy142DcQ4RUIggWjKIYfEdMnVlETWdftSBqtoNoChOnxhBBpUtTmPcRJWUloxYsyKpXWGyAK
BcClVp9Iv1qg3zj26HxtHeVQqbVKXYviB+ghIs8FhNXLLz992QHo9mCULVGeBp+KW7rtzfV/Wxyv
eWOhU8JL/x3iCgDEVEzPNgoo8yk8zh1ekFU0YKVox5XO+T+gUcZo3IIHgewyY35Wxj5athvuubvz
EEY4dvdITd9/tDeIoPChOmW8vmvna4Cu2wZMx96qx/TfPHlYbgbHblEIDguE4KI8fU8bc9BwSbRE
zP74S2wG+q+6WfgZBBeMxgD6afvR2UebQRohwzA4AQ7Z0U0BTgLN7u2DqppjhMoWBRAPzPzJv08l
S1h0SgRG44eg2bAUAvkikvuXdcAVja4tTwBpBfdsxTSIMBBbqrbYKMt/+6DiEYzwYcv8rVvI/sJE
mUIhyTcl3UtnS28czwMzGkQS+/4T8kJPtDF4EkFjUKi0qk7dZyBuPEj5wiS6hnXn0Xu6af8x2Q03
AMBGwFV71/7Gf0ZZeBlvST7nSy6Qo5FGW6s6Te2qvw9F2QfOqTeEGj7jdTAN7apf9d+ICrCSwZ2+
gwYleGpnsFYK7XLZqJZZmmdmzKOGB16mVfZYpzeYyGx3FQx03MsHdyEzADDbor/2l3L/yQNe28Es
M4tH6hlVFaLMpt7dTZJne7eRVODSZbLLEA/nKBSGkVU2R3QA2Rc7WG9IWaNkopPB5lE3WI1tUfrv
1hzKDiycVS/pNKl02KLH0JIkplX3H13Faem/EUjH/IfRbS/AxaNCrAKNysNUjZsHAHQB5WW1NWtI
8N3ny6tVD55noyO7CLmQVN37zrhSuiBxUbUqLYuJFh8lYIvEsrg8X/6c43O8Q+Nr3HRJQfloumUW
4e8NkuENZwtNZDRwI/SqVk8Jrkq4Mhq81F/hSPkX5T7FLc1MWrakyISWb9NACbMSL3i7eYGFPKuP
v5SLrAtpfUhaRt1CuidiIMWgmKqkkWSDjMpG35pIFYVkyE+oKW1+VGExpGuLqjJrdqjHLIoLMfYP
rmqy1NiMMN2iCILKsBvJl1GaS4hOErUk3XQdxiSypJ48N0WvOsP0C5/ASf7VTKqIZkVvhvy5PVvM
6NuF7iim5viBizMYTGbdI+WVSq2v8tNC2S/34/lUo1HL8Hj8Mq9aFCC/DQCm+CPkB1WzDFFA0mak
akRVAbk2EZ0DS+rcmQZocksqY9N7EAlZIDU8G15tFkuv0s6ZW/M2WhgdoJyk+/vRk3vj5NEM2YW+
yhkn5FOgoc/HHslIT7n4VGKE7/7Rh17ltECBIZXMrLLWU7KvF6AboTwkS9ax0XvjyCxm1G+LkV4n
dTxfPlRKvIVvO+OXtlj/l5xlva5173Y5JHeWAGK/iEh/wyRznd8tOGhfZQfFDuXTxAvMUaQvpvtK
mr2/dCoLJUPyvVH8l3CzSPUPZoYsKHRhM1cbCloVbC49tlhvjKoIeUT7MvBWvav7JixrQ+AYfTN2
Ze367Om4cX8vT3eRdwmLjvPnRYOfBmRvh12aQK+0Ddgl4Byx9pES8XpsPNrcx+PUImyBtiHr/Odd
AAXnqzKQ/VNvLdhKaAv24IfWKJAu3fDnKqDBeRnoB5kfKBnHHctXxqXti8b71tg4x96OqpHGNKky
UYfYUWtFm4z+PWooCf28hvViMRv5sR72p9JU6IN7XdprPr5HVLq06ajJ4eGtUn5IrOZrg6ydZ2td
yLuqcdlHn9aAfddaFBaAPR8o+oFznZUGZbwxqtbSuc4VNAge9ZFix3OOGGMyPsSq66H8kU8CL+1U
5ygjjkU/hludN7FpnqPH+b3qv5JSkPRnV7M8Rh6NppWaRHBrbF2BZ2Zl89rWAPvH1xsEumHVlGQn
VegQiOAPvZKvNCGp8cYMF3yWKFBpOZIJuazem4MY0n+SGVGuYKf6DzEtqfPRtAy5nKjVy226To28
aFWQChNfFyRTGkWv7UBJktr7/Fne91cxKLUeMgSysk6AQsO0szv11p0XEiha2W1ElIKg9Xb6tarB
+Tkz1D6b97vRqeBIFW2NYrjzzxuztsiq7TM01IO5xRmz1Gm+/3Zp79ZqX8gg5p8PWpfWjcI0sR9b
81i3s4+NTCQgaNZBrWlyXe9bnSZBjvYO5uJIwQaF7sd7eY0uJwrfharFnDaAqc+ecygay5pJff9L
ohul6B2tFaifv0Re7xBivnmOLmT7xLw8qhLb0lLnxty+DSRaJsriWn/jWeK0mL5SjH8bLpjTKWAq
FhPRFBIWhLWzKyY+I7TR/xtsv5JuIzW1C7kV0tAFpYBAInnt79DNzx+SWXnII9WipFe/jQI8MVxl
qd8cHUs0/pFwwgfag7zN/pRrVwJ1imvyNfjmc8rjmPSr8qQRwdbbX5bsI8Qj8nzGaexBixNOhrBV
8n2lSzM9aM22V3XD7uCfaOx7Z9SHdftKkom5L4GBmi2KVRk9wzec+l3TLJcWr+OiQWOlwGqltUO+
8AP2rWWjhphhbTcVKEbbD0ckz4RPUFWkqn9DbOMr7cipsqvWNzIqEm7HB/g1D6yOX3jUO+Vqy8wq
9DMyAgxFwPBlrGVqRfxebsq9Mlf/Piu4xZ11WwHsY5/3Wkfv9noHzaK7r/Wrm7tP72jfv/uPIsks
q5n9WYUB7XS1agnnOoM/X8ooQ1YFb+Ps1+qAoIe0kpbzMrJS7797AQzmjqsgUo/yTHtRxoQtOpv6
XqOQ5aAI1LG1rnr6rf49oTfG+C8/0Fo9+i20HXQnREEFzH+EKeEkPEQZGY/nPykHFRFFQQnAtfDX
PAxkcXpQREJuerVqeWpVvtlStQFrAqfiTpKQamuTbHDR69rd5P5cTZQqJFoJZptPEiO2GonUSE70
X+mN8HBKSxrkOnzfhG9u0L4PMDIpKY5R7WrX6Gq0H5MiNg5S95ZWseS0lKwV18/1fZ3NitF1/kqk
7k7yRKK0/X3EYCc/cSmWcoR0/hsQCytQ284MF27ue0uPdeu/XGCOmoKoSNNECFMBBKD0+WGw8UGs
IfGWLunWNO3U5wBiXPrW/sv/OG6CAYTquq/AEN13Tm+eUak1eimM1VUtmnSfIfzTSBMND+obnXfN
faWQwiXWUbCWcoTG6mozaPNVAilNNC1KNW1oHNYaHLqpxNfrdqndoPkwTFFbT0fLsDVocEtGcp7Z
9a4B/j7/6Z/rvkdYGDeKEc/5+2OrY4XQp5C01PcKxnTjYleb/ptMJvNTCqRd95YYexJldtZa8ADW
8/FXdxQQzOPGJ2V9PQJ+am675Z99LViTYg+HSlKIO0T3x2XerNv1K4k7el3qf7bP9L52qdvJzsGF
2cXB2qwhPrUuTFWlalFDAEbm8GLHvlnL6tnr0LG4BAOglzwapVxe2/EFsDAmoJuf9925F8k+685z
dzG3sPSw8aiM71C1muZrWv0AHAcndy1aNAB7+m/vFi728OMU4aT7XXCFG3pyHF97UWE9mwVUX4z0
2j7AfjFBQxgXkDVG6Z2apAeTzAYWfoBqR44FByyDXZSQGIRLDBcA6lX+UE9j563AFeqk57h1ZkWI
vbyqjl4VNonSp/MefrrXpU3m8p4XXt0THQSk6j8pmPG7aWWHoDhvAcBZ1JDopprKEJLys/4V4egG
/qmdCrD+ZnR8q6ZJSgi81WohEnKN/arUtPdk1hXj9hMe0fkPd3Hjat0Av0t4N20f8HQwnwLQ7w/m
KbMLZat6pxPUoL18fZilipHUyXfvG7C7Lx+QGkfwdIyy6sssz8tlq1HtvOBcHCkhe9l2yAdH6MhG
xmxkc0y6r+J4n5W5Mq+E2oddn9zcemX0PEyVsH7LEZLRX5q408vf/rZpL5/+aTNUvoltj3WvuZ+X
cQbDZzh0Yty9/VxHAOGNaihtwG9/oOwmXfSYu0n3+WQ19o5Xu/40skK3clnDizxvWEhcNmToUw6q
eVztoA4Yzw2YW7xLKnQ7G9Zg8PckW9StlRkRbdZB201Gb/c2LLKegeMnURIij+08p5KtaqFtL/ez
u7Ns3zgj1xg3T8yxlj19PXQa8wNcDDUpxfjekheX9m1Yg8+T++TbfvPDPHtbMCsX7ArTfbtZDuoY
iO+Q+SK73E/uN+9atgG7Cr6KmjoTMAa6NcldH17wZFqgO4/JAgRUA8PDmN3Tu1LVVDvHuMga2SPz
i7kJOnWyMrlyO0bfwCVLGuqEWKOOfMTNgENFoc4FIrhmPILVnWcI7PPsjFy77jCb8ZjNZbfecApp
+/V3Hd8r4u+dgsPk1oDFS5tLKSUmrKOwwmQMHKA1JKJnUdOokRwwVygZFdrWDwQIaZ53MJpkXGAC
nwTJDlywK71i2vjkWHnfR8XHlJb501rOJRD5iG/x/reRGJeYL2XeqsMXTW3FPtceFGtDU3h4EyBg
fUCcGlWWe2v7KXT2D8Yo9H53nduG/ioycO/eo9LeVvDQfSIh7T5vwQNO9A7c32N06S2D2+3hn5pv
oxR/rpWgNn1siuHmXiIWJfVKJ21Yj1b4sCrYDi+r0GnOL7sMuhHdn/NvJvPs1iY8fCzW9RBd2q3Z
T959abqK2H6wyKI2YAAYjZA95/o3aLl93RMeKM2sip7a4lL2QZyFFolqGPFcZK9Y4faDK/nbcBy6
QvvRcd9rmtKNe9E2l6F1tVvtFgV/ZOelcRPIw+Hp0V73wCg7/zXrN51CUKOx3wAuVoOgQAbRzabl
oYBDpxwJhLQNN9KrSQKDXCm58AjoUcKUGVzCwhJ9A7OSdqEWjF5Z51oHIEjqerSfJOcv855EG2uP
4g2Xty7wfj+DIKNZhApKLvgT8GqmkJvo/orQmX+0sRf9qwKv5sJwv11HdR4vGHrc7cx64pOg7qMs
PHSrYQGVusqzS5jTfnNM5Zk8Czf4YuYjAVWFUGl1A17XwvaYhHL6sP5QryFFaMJNw6539G6SRCW1
Ni2d13TBlO9pXZrxyykuV/u7le2QcncOhBAuQlCHEAutB9cWWnHTBrkzjM8n7UKHWj0faarxe8Fg
uGAi5Usu3G5Qfh3ZlTqinwx1SanZj+BwPBphoV5uTRJ8CFBQPJql6dmFkf2+xhOU1qQYcXWEvCHa
0I/T+OTtP7HVZUn4yx6jlY4M0/MmigoCOiL0Zq6CzZH185vZhI7hT4FOYiEouQA0T36JtXr3pCoo
rBc9mLtxLieQml3IJrCeOmfApCFX6MdnJ+OS0lxbjR5UnpiOl+xifwtRmdNX1exIso94IWzMR25F
IYeHqtvo1d0bmfSDkPDya/tBOgIGbBafVCD4eOOubHbwHO7XrXVlCBaY0lQ6ihSBfKUcZFmgxpky
RCCRAsu/Hacy5PGT38abE+AWaHcxXL0KhqeqVbgGicsJalE1Jer11TAWqk2+JSS1zpEGIbpnEvBA
qu1C7JVAFemEx3jphvvknX8TJAmPpvyz4MhqHnL3jb4vxce182YMaBf/OLQ0ivhrmNOhAEllIAb/
oEz58Hwy84FECZL3sAEqmc9BxZg8bLhTCHX5+RN36Unp4Z8mOiCUapwxwE+0hBjkQ/7knbNUG1mH
62aqvqHS4e8FoRljzSvRlFQfnQ57Hd7gyb0G6PK+UWVoF4ixrRXCseWXfXybx/aRMQFZGXEw2IRn
pwhFqYdLAqZawJzIy+GE3fAVGWT0qXOxV9VsQfAy6Q03czGiJ5cmrpB4JszUVK9KtYF/eE1EJ+Vx
UAXSp9RJaWLwcd1Y21+82Mwm07or5C/WE35o7hlKNlnTxpxWsGp5QshUL/XrurZnkvC0rvRbNayl
jnLII94zqVTuXfgmYaXDRZ4rOBbtoEGguVJVvEzSVes4OHrqcqi05Lpbzul75qrlDOtVpoI/2QGN
FjJQ05l87qlKTc8oCUCAbpcONyqwChcB41T/NoRuZfMjb2i+opX3JsJI/4gRcg9xU9nW7YM1BK5d
ZgR9+gzsV8tzV/OT+Y7BxaIMEPv3UEecNoVeSGvbofgzx/JEklmMRm0XCuGEARQSg1GtWxqUBsgV
kpJKrrIYFUNouVxhvzwaIrsBjYuPR+viRJfxaTcjKUbn/bhvLwlF6iCXhwr45bSE33cW4BbDSTzO
aUe1OezbOzuRbv3pg3wWrTpVD2djN3xgsnYabX+umOlogPZ2ddv4l96pfxgehpvhYfX4K65bi+ts
G+Aw6x/8GhnD8DNsjpYjXZ03eUgx39LUTqUdxK68TDlwRNQA1NtV6VbBY0cmfOp6yQiqgksTTt42
0wYLj74qZLsL7UEUKijqZORXIo9F5aoGZ5kJH29p05N2p0ZQJL7cIOKzMr7vTMJ78hiHKsw2ZJBd
3UHW5x8VcOug1wGEwmZ/G8HVfngSz8fPaoQjCp2ZKtRo5ZQYTHFw9rTstUo0kdK5l9yWOMaP9hU9
7PxVLQ92E2/Wm/MMdGthOFgGHPAdML+zkpHNa6vrT/azRBTrr/VXw7iQROjAqFZXi+ADagF+G6z6
btsvQJNqtAsgHZj6ORubcjIlWaIAbFPwy82BWz4IZKBCwMo/hAyhDpVeoIzn6CoU6L6Oz/5mWJok
48qw3M/wGem3zp0CAZ2exTDBLUOn7zV8YhHEWPpuHDlYawx0bhd91KGpQ6jHZqgeMj6pdD5MUvrS
ry7PG73WUKQu0TMO0QFo4bMLZDKo4FBSstLhCWrwYYScQ7gcwEUhhi67Epy6e7vgEBwROkITo3fm
uzJg4vOs3FE0VHaycXduddCK6oMkMwvRVl8K0RtRRoiV/KG37D7R7OwegqRhZW+jyeM2wqSnOL/p
A+PKDar0yNVBkVu5W+6ecJN+UvtLRa/FZpj6l5y+cBPfABDXF1qtkYV+UiODolIwPHfIRp140AtF
TqKTSsW0ze1barmfrGaUX5lR5SaajT6xbpXN0tJeQkvXULKaawi32OXgA/pKdPVZ//qS3PwKNK3c
nkS7Hwh5OHJbT9KWJcSopWbJjSVIuwE/MZpc357B0dXOpgQUwPXFKEKnpBnIMcr9xXACQ+ALKujg
FeJ59/OYJ3EyTab18XHWHFcX9UUZW8AXtN3oMtMtmSSryrqxbhnJsLUu/1VmyDReJ7UZVKvKrDKT
j8XB3a7ufwe3tNbT7NzX+u01whoqrY3cAbGBTJZEorYOJAIsLmuQDqQqpRtFSZDDyfSqBBKRMCDC
pz1lnyqW0CoHxNJw4Ti4uH/7OkcF/wpjoc75hUo+qIWnvx0qXILsvQHrKWmWIhSqjJH0msokxrn9
iLQ+9SmEoyQtyyw1XPbsk0x1sEiUYeK7o/RaibQM3dAnoEKTD7TqtVb/NXk8zWUHnEqefysL34nb
zB8ArScZkxNilcla7mYt3/QaGBj2eLjGEjC+g2M5BJSq5BHqXqhzMWspl5LKJa3trwrVO197L3j3
YqqrbfZwF7TL6K30aFRWQRn1RDANq6fe2/+AOzY+LeNIwPs4wZFhFYymvzNQ8Qtg8HhngOUs9ryT
E3LdGj6wNwOiaHW4p2VJ2+nJBA7Gyp6Y7cDzQQCGqXHZmwNMmq61bwqyUCB3TemrUwhqBogvQrhY
3NBDmiIx2bhE+w38/9NYgj+Q+nJ0wxetqjmiWnruCSACbZ2s/bp5rzhx6W4nZQsqHdKfsBEZLTYG
WNZQsLHED+G+0E4GS6ARpTcUqi+cAbVP1rpi3Il6SYUdYZSvTG9z2gVdZ8Ij1od0a7WjaxTwRZUI
z8Z/CH58mMAy96/1eOYm0ZShw7Zu0oltDbfgwet9RqR+ob38kWO0tFj1dCU0yJiLVhyQGfwIq5z6
FVUkmG8JoQOoxfhJHP8sGuPXDy2wwmozzSrGFMQPuB5rGuCnywdDEGZ2+y53AC1IpQCKtK3ymgoe
T1jwMSieQflyGk7KtbKHtgKa/B+3A0A7eiH1zosWDtEPHzdUO1tO/C0bVOviNsuB/0WFMc/Pqvnm
0YwYDNRYCYhnnNvy9EZJ0RzqWak51FhVo0QOdOs+3ZZswSgqLQfMy0Eo5WrYNfbRvXv5u7DJa09V
ftDZBg9Tf5S4lcWNWBs1I/5XIT+yLrhtvbHIJAmVK4MyuTpPnlF3sYs6N7jywatHTzIfmGsbTcjJ
0AuZ3rmQkOiYvmecCcHRXrzKTajjo5UHskPl4lq9TQEWTh3jN0crCFBi0uBjRCYNkBvJZWKumvbB
ERgK3jobagIuT/MzCFtv8WohycBGdKVeQgVl/4+pM9tOVeu28BPRmjV6q6gUomIZvbFFjWCJFaI+
/f91WLuds4lZO1lJlhGYc4xeDfJKTLj+FxUpCZCofD70bnTIOKRkbDE6hifYyzV7V6s4VCP8cNEK
sAhFvTfxhnLVMJqRBerhmc7t2Uy8CBV9nwWhT6KDIiWh7SR4Qb/BXaiihyFm2QjL2ElKbO+aWcxc
YkqFBxMBnv2Dlx8GeSyGe9eQzK25K+2bxGhSnUej+8wI9pNwQofIgEtygIqoljbpz2FmwAamP5+f
1fgy+/xcZqdfjcF+EgP7sOt1GDBP4y9VMOk98zTZn3Sa0w5s1CDsnbynq5D0PY/sTwLHG2RJayKe
irm6g9iV48b4KPjvMy2/IHKE771H/0QqoPwWmmLJ0tQPs+NDZ5kn198t2g/mW8aI+XXcHYnipRWQ
UFRy0RITCJSBy+1Fx8wPKcHtfFwMp3JFySXyzrxRtSxDOs+o+09IL0MDkYIZVcK9T7eo0Vb4AQPW
lOCIQZ8LqYOt+M1SgocLNW2lDbUHgJFbKgiIyNxckUbs0NtNCFCnzjqzHDDvBX1kfVKfACHkl3O2
2d/JmtFFrktdJdsCip9aH14b4IB7cf5QGkivq49FE6sTUHmte4mMOgdmzAVR7l6ICRmQm3bs9GoD
MzD8+kDzT02QDbjDrFQ2ur8wHUxW46fSixVbvwkFs5q+BdkJWVFab/b7ug1QsQHVL4hzVStDuDJp
sCTHULLqQA+TXYQ5mK+eJScNhihBHy/PYG4QA2y58RnuTjGdQHepUlEM9ZM4aljB9muuF4bXCYpO
xCH4gtx09OhQRU/mzAOcEdv3ZF6EsCGsJcjTsFzxsjPAmoVOwuy9YkpFg5j4Q+NWthhqz0CS4url
R5Cy1NdzVvnuLNqcOlMZ4JrCBB02PVhl78YCwYbRNWYhZ0jFGKAOR44ApJksmTTrjH6KySOWch2C
0NIoMw6ul3wWi4g24AYZ/JDqgRiJV6lM1GvpxdUpRkWEbkPD+yS/MFtfGictqkrpaY42LHJOCfxC
f6WmIZc/PGgS1SDQL3JJ0IQRGUP0c709nWbzA5D8/mb9O6dZJ1o9PArNO6JfpQM/422ttm4wLJcb
e74aR7+H30+n8KMluuhy22tI7p6MYB1H6Bzd3mW30eVnTK/0Vvyr6twv8IUpMtjr8rI8LPeDxjAc
rEasUNPDNOIwJvlcyAZWVxU2Km1Q3wKaZi8YWT14WDtKLWWls6sO+U8OpRmjKMG+bcNh4op3yBvm
rsbnKpyngEQO4KFzgkwiaIdVENGlGw801VWfRXRpQSwwIPS9929Mffw5YZXgk1rMUQlOP/zi0ohh
rwWIMhDaA6Cgvqa9iWB0mq+/1188qCCu0uNB4ABXIALTP6A9pMJBzUYrNbgG5OXw9K5+5Ja8y/I9
/U7LEBUEyQ1q3vTr392P84sOtBeh7L0N4+FlFE8Oo+fsPlsNFtdZ9KseN90Y07MGiaqYVwITEpnx
hs1TiAh3l0POFO11hjPeLPjH5e3nem9eASoVCLfq4Gkner/cN2kZNtLXrMIRaR/3HT38IVMLhPAO
p7FJbEe1E8EKsTiBDP18FmYLGJ9aKragMDTK+fynmeKqfsQgaiErE2T/Ub176VQxQkhiIfdz6GKx
F/VI9iKPSrTVBxpro7pDLYQm+51ZB8WUk1DZffVYmAm5NSmwywOV2QklczYyHKKdcR3O88ccA1nt
T8RchbNDL4LEsbUh1sgh0IhxAv+oo4lZ4WNV6ZXgiQWP7jF7I4GvsTE4lunMwPGgIVtyyBHeC/VE
kc5qwRrhEiBBx8NCoCoAvHjfVX1GiRnxa+v2lmAByaLEpRQFlFkjsI4n5YCE+kxWZXacbpNbT7zR
F+XxaDQZxMEXNw6b5qetWiIDLLkhzfZqIqwIUDGL35c/kDJDy5xm2DFQu2viWLAFX4a1FhKFlUPW
gT48Ts8cq4VWJY6E6RvULB5uOgj7P0lyOWwUvZwjHZqpFtp1UoWVOKRsS4bSMDui0lWnpiNyntQe
6ouI6wLHj+l9DMLVatyut/ltHs8bE0TyTmyvfh+uQVd0JKxskAaJS1YckD6ZPbTUjfF5ZvA4oAqj
fFQ2rboKNDTKtaedFUUi3DmySE3JxDO6nlRZAwbw7FVl6wTos5jp+RhMUuI7PVbduDKuMDOToFMe
mi4cAgI9wXy/zNwt8mDoLsfbLYJVho40E3n7C/qdoRfyG1B6d3m5bGmgM4U378N2LbNXCse9wghW
yexNuMrzDTv0iBGg1jiOSBHCJHv+Pf5+WldmbpjsPyLO1bFfnJJbImno+JuHGEsRKOEhE4OqchGI
NlbH/CbHWc1ohZxmmGDgYFpDdjHtYW/rQQAosc8h0zCjhVQOMow/BwVgjecw6d9Gd0JslUhb2hV2
TxRQbGq7sC/wIezv+2cOeXoJQemY2UGyJ5IMinsiHfjWN/ukSX4X4451aPvUP57ZVDMxdi7KUT38
ZAnRVGdoYaYRa1l5wYKUBqxJ2mtuVoHyLReJFhl2epmvCBsS3q6ijfc0NJoUmo9JrrJ63XlIJf/p
mF25TWQnEMB2Gn2JxVfdnDjAtkMq9t59dBlpRTxO2gWqyri3d849wfuSqUqEeEdcqhpBm7M6ErWK
PPd0WDvNGvPXodN4tL6mG0JEfrpfskYwQ1kFfMjkw2tytQ50crekZV5bNS47YGFW/b/P9sZdBle9
Pqxr7I6hknzCv/0faO6R+AEk8dCA3nlaH57JFVlZlHgPSoIb4L+0EqMhy0IEaIZuIPl2JaHRwWr6
78iGDarVlsJCpYYI0Bzp0Ry6rFfCfyRfv96HLDSsDMrESP+YskqFggjfxlFJOcTUL5idB5q+e1vr
kvYFRAC8qjn8l160LBE6e2Twxa7ilYmvWl54CZar+WpefbeI7hysvJMtPPhkP7YHUOGDjZIRAwPy
jRWmMbR3xNY80Ck0P4V+fO6UuIsBaHPgvr5JKa6AwHevHfj60akMjGVtzPDc8TsojNMhuN7oMK9P
JBWuLOjvuyCDi8MYOtivzq8U8wRb9/ZegrNWJf2FtIzz6EpgRwL0I096IbWOmNMfZ6v8cypZeNh4
S5n+t0uw1JNQc9Yb5TtuQHLTV7yXCG3VlXFSudcquS8keGjz0SbEFtU/+rWh2SftxRqiZhLr2wCC
BTKLms19D36A/bR9sWmwtZfyhxSpn4GOYlAGjKxzRP1GABRe4h/I+qLCz5Fgx+us8HOdfSILPWZ9
Ew51Ed9n+0ltU9mUNtFvbayl6+Ktevlhtupbs6+nxIiZAfskV5GUN1yujz3aG+FxKkhlRLvy6yjO
WwnVNVKt3tZ+tB89ZkSYUMHuaFtuO5Jo7rQzyNRoQ5FAUbJtvv8OttMLafmzyBEV+2ETuBNL8/xX
Opct7c2kDmfYXwaEoGXLJZiNDhZq+01mAA1TQCxAcGSdefQBW2nGSDpfCkNQdP7Xubk3NxXC4Je9
04CU9QF6yQEYC+NaX4R+ReSFpUhDw2ltIYMKhAgqyT+8dF3umE6x+6WmPPQlE3rvdNQ3+6FmWjRm
r9FrlE4iO7IRJqJ/rXVS50isom2456EWjBdRGD/PGcaxWeWntvnuvrvK5vB7Q8hNIBnSyEo7Ayjm
G/WeJ6/cL/e1cIn9qy8M0rT8IlwVY4rfICVfIlAwSfF3LGcZkYiWj8gHnEQCSVnOi14h/qBBW0eF
AEDLnO9J1nZ4R8pHP/TKQJDl7FB/cu5rvI8ex/5poph8YYkngEzOXC2IeoIadZRZqEKLH0wn2yPk
dXMmYirZHX/NDbvQvzZShZeeq8LrdZ2HeNKJ7RkdJtwt5OMpl+At6IjIuTOP/SgcEeccDeM+scws
SaxAJOVXPQKFSPm5KBONR36ezoBbtWFl+PTQiaoVlypU46fVoxKXhfCMSPN5lXW/PimPTuvT/LJq
neZo23KFG5FWrJyoGOlXkDIKg6b2STqbFFukhgM+mdyxT9FeWCXmZD/dS6biNtljxHIgic2sM2Hl
SXovg9sQc6fUWadleVc71Zthgdv7Tit/x1ZEAEA4/JaWVedzCJ6FQbVbkl4aiDB4DC8YkjpPNnjE
rkimSk5S6BR6RwyDVrG4BMc8gkcWcd+SU9RoVDqnIoglNHt7ONqM1G41m6NOZ9BZ+nJoC/r9SduW
73nbq+X5noI5HGBLhxgO8jz4zydeHyJVo5l9n2/k844EGMPhq9VttqYapYIbA3H7QlNA7zM6b0rK
2Lk2m+12t9tm8OfVM1t/z+a3P5TpaAg5crMQ9zsIkUmJeDkJp7DjE1vSmTgjh2eIvqPZ7VHHNF/A
ZegsCbX1z/stcXjQRrfWm3TDk/FbhqRJDUKuq+V+PSRdCmBxif0A+hfbhDJu0DqjtOWnIqfFiYsP
d7hJ3rV2+poXlCBYw4l6brJJPrGAYN5boHaKQDoJy8veVuRsk68DNwrcCWseTleT6qjaL7AxXu1j
68p6CqLRK/thrzAoDEqD2rgcVAanWTW4sDHvG692+fxcRP24F/fOSJerwWFWH+urirBsOh6d78lq
TCU7/3bFghgzMUjaa74jkoZ7jayTVi/9as1hLdu9Ptdfrde4WHHqvszm4dBo3hInxRhgdtn+Dzsu
UXR+NDR9s18ZQNkdZisbcI0aKF2c6YJwFUFNAE+VR/VLszyqgR3ps1xX0XxFN4lO7d4q9tEiFpxb
oV2K2yaZNYW+6uXa9Du+/CQfu0SYPOZcso+qensx7JC6GGY6e0MIEX6aq+k1Y0QYvYSwCqndHyHU
CCdK/eLwjl5peElbNSBI0tPBGQ+tK9qctIma8UsmCpX5cXfcRfR4IHfs1av2nUiW2vK1qS9P+P6p
/pjvmb1V4MGR4ZKLRKBARCKu8sqDBkNlyR9FAjN4V9jaMU+l0O1hA0stf1ZJF+N5bStgktVm0hNS
DFacMS0aOiLg7NYujpX8Ux1rUInhqb/PNSQae2MMAT7xoymK+GjhoTCQltRHDUuNPb23zLVyrklv
gk2XyDlJjjT+j0qGJRFiZIkjqbXyJSq6UUZnaAGMio4nRNNrEdtI0wKj8702z16DJuXJeCn1Oho4
C6jNlOJxXG+9f95k1ugJ63Frf2BKkIhxSj56u27upNg0CbE6m9w+cBuNXg3fKBlJZvNJG7mIiTuM
1495kcgKRHfhQKgucb6E7GIZubdcWtAOVgkOpH3p/NQ90Jt00nnYIYi3i/4JkMPoZLKYhFUeTjBm
7OEDVdWlZeN7HY+x1Ln9B9MdS326LX5/6Tk+JNwq6QhhyPzeU1Nibr6kQNNHjvZ9Y3DtkeVTP/0F
pRsQMCKeE5xRyEt/COLBJXiRlF/zah4WwyemSIK3keyugIYVMnzk7DBhz34QSBs58S5yio4oS0Jx
vdooAsEhdfvSqi7qcEKGkwJDc9A7kj7Og/xxV5BO1K0zdUixu/ItysYiWlr4IC7h7BW5SkwE+q3f
FVTcaWQRP+zBcKWFZWzPcHs7V6sAPUvGGS8XX8JB7NjJTz0SsXFc18Cu6/bHeQWX9is4pL8rgBAU
q3384gbm9MMfushk/VkfgjfIS6WHQIUGHcrptjijF/ZKPY2driGOAKx5E0h8IthYj4v79Vfe1//6
l4DgahCdj53wkii/TPxxaK8wAAhX1oSeCsDxyYmcLJZq8enGhJTHQFfFYXlYG5WHJhpDqEW9VCju
oXIAs9RzqwyLYJur0JiVoObjQi/5hlfyC/3q5DMi4XVeXFTIU9NhDtN5YU7YOWbPwzLi/Wn5nK7W
z+X+pzAxZ26Z06gjsg0E60b35pSAu8izpse6dXRUbEyUcBMCzL736VwCd3w/wY7JbpywPLFLwHmR
o95NlNmV3XlETF4g+EQl0u2CZ16z2ubCkFsRs0IThCeI5OSy6VbpbQnYdo5egUGIAojObhrS8Wge
T5mMwXO7wV+fxUBBtqksl4a9CgowN3m3fvwV1+V1OhVDpVi1kLFLK+LrlORGx4U1CBH0kGoXAv78
aYZYI3aXTcLJRg+XjTf5pkrHgyGpps377+rnMUkmr37RH48rnjDBQ5uTvfxwKZLqfB68d+Fpknh1
mj8irqh62ObmZfIQJtWF9ImwxCMDGHOPebaAkkb0SuKIR0l6K0B09Amrcdz7ujGgKCDp8NqXckU6
lq9f91AQJ+Nk/J2+p5X5Hff6fmAMT/7Dq/Uljis6xW24YxgWazSrM+gVrFuFCjCbE8AcRBCIM8W+
rrYvzKx7Rf1GpPSzVyGU8yednUk7TKjH79dmw2Nqys0t9lR6rrqaMaluUwfTLd2Y4tMYkHzLgkde
AqeLcD/ueM1fLXjP7AYQwMkwjYGWiYot4/SzO+YlC5iaN9WhBUJg7IVAgDyza8olxpZt+HEPIzyu
s4nyClh/J/HkhpxVOv8rQA+TLgpwt26KBlmt562jjPGCZ2ssWjhImBegO+VmC/0VMBW3D6eWNIMG
AYcPl/W8V+YLIl67hCx1rQMF1iHl24INN4h5aJAAoZ2Dc8l+koO6LAORr8N0PjjZAHrF0zXpHlho
0bU2x5gCx8KPxcR/5lrCFXshQ/JqrluGUd4dKa1htliLsqWacVsr1JvJ7AK0IpSLdpnai7mR14tP
8Mp6LTVgfiAOFoNK+BfnoQgmhuiDXTMFhVGzKkwApaOuar5BwJLmYL1IyD//pm1PO8iFGQfEorFI
6ep1Iw72UTfipER4ufF0D46D8+BbaR5cAOkSZ/OjQ9by/14lhOFIBrak9LEzH7i3JXqpAtgJttLx
sjJ5AwlFGpZ8twqBVAvK2ftvC0V3kfHDamCktjjTaryZ9SUQ62tR+VoryEL2N5PTwD/Dpo2irf1A
TywloxLUlENYIA1Jq4lyNXginAZ3jAiO3Ifc5s32m8H591YyKHG+SmynJTYnfObtQ0D5MNYpyk8Q
KjkrGTKMiT0gGZK70Nr/yDaJ8jA77vwk5ZhAiroF7tyYu08U6ZnPHK0p3vi2Jp8B6EH6aWeNd+Ij
lDWizZMYdeQhGpOQXVlUJPxibHa6NvXaENq+KXUZrsd0YgmXn/wUpRJqWdQEAqk8qhNeTWw/ROGJ
nXygfE2yR6UrLPYET1kk8e/EnDN8zDEyAnBoHzwI06+AXmB10KE8LoheOXfeTkCJuObI9x49RF2X
QXS66B1AA5prNKI/M0/VQj7DTWP2mMBh45biH9ZcPZZy9lYparSEC0FssC7kK4PGyyGSyQaDJzZL
4pcB8tw3fgLxXHV0+Re62sHq5P59N8VN+HtWQUV+IPnc+/6xf+89wfbrbJEaZafwBwmzqIw5yg8u
b71I0uJsGf+sCkAvtcrEhnXwVfxBZXPV42nhBtQZ3I9JngaNrozMSXXyHdenJhTukrBBIsdV9Rxp
c1/AqCsXcBWA/zEr8nwaY11oOp9PS8We4FfhHnX0HiT4C/w8jq7DtE9obO8WXLwE9s8AxRMFWXOu
Nv0N7SwN8ULOvGMXbhbOjalZY7EsFxvvkBAkvrrRzhM3jJZDqNSer0TXP9l3i33+h7nIjozLq47U
DDQxgjtIeVmBNT1gPauAeRo4TKONE1L/sKDuilMY6sdL0yB1oI6SU+FvK6Q9mei4DNAjoy+ORSyL
+Jazf/TpujmuXkYG2S/cnw1fa3NY3Rzpq97usXfs1RgCNSuNv3091T1qdFKiwTuk4hPIeMOwASje
OQY3+LdwQOA7vpLGcNVmZA5LaS5ZKC0NDD+wG8CFWYPRINyQS4u5LagdFTqqPE5Wlg4XIwPH7oaT
EGyPP5xRfirgn9TenB4kS08KDxpn1O0/KTS+7Adag3TlatmQSnnN3SF6QXeV0njQobPmB+Nd1kzs
EXAi4eTBxyRmcP1wn7N2aBnf4cDPJo1ThVN6a+fTSExJwUgZpUDW5ad7W5/hwsz+XneByjmmf5E4
qjahYdem5OyO3sPyRINAIv88V5lXHFb6OjSZZgUHzF4loVfk5FAbrRPLiSY4FVhK751ZnVkoKDm4
mR7eIfPq8Kx8o5eXA5kYxC5QViUsFFoc3tYdBc2dUd/IGiZv1lUaBqZDOI9E4e5IYaq43tYJ89jI
g3GMl0PuDFk7u6hbYTwtG2ihW/OlCT82SeZtSgo+S1s/Hqdl681m2+3DZsJGcGBP8DxGXzW3M8Zd
1SG2Xs6FcKQd2+OYRM5Te8oaPdUmavh37gc2xnx5lBUp4VJJ7O04ZSx3wDSPD7HyeERScmH58LM+
clcTVTEdy9E+dcdu3b662bTbVzdGTa66ivE6HbfOPBQt0MV3a7zbazoIwSPb4N6pT++d/2hhxgSx
nBZbt2o3Cluf+YM7rIOcpi3G90w4U8S1mq/cOucRfYRSonQKnswVnaGW503JmY0HO96FqqZqv59M
z7NwCk6W4vJ15MS0yfljMBQvoIwRGDv2XRpyKO9hA8GZ5pCrFcqOh61ro+pE3VvWCsR2TMF/Z9FU
gq0otltGsunrMnJbBZikf6tMkVjv10a1UWVUHDZ6s6dyq+7oFU8HVrI763bKXSECSdvI/9tKbmgG
a7Ra6GeRoSIZeDSYY9ChKbuOn+lVWezusTh41WgI19exBnwcW2m3sK39Xhe6J9EG8sZ/sn9K6KX3
0rnk0XSQHGj9hm9JPknG1+2q1Iy8D+fndmpLbD7c1Ptf3hMZj6Gnqw1eI0p1L+vauuIXmdXJ31Ix
Vc8CuzS9NA3U6D073GhRNt5e+9ExW9UjNsVUMW8sAGs4wTV5yny46l7IVq4Tz6myRYc0vYg8QQS8
o2klzJFlVXG1T314RPRndGjA3hfGYJU7Itj0ezKjCYo1U5wolADiCueNVMzy1NZB/r8X+8tqyryf
X6ncZByQPKOGekKBagw1lIusKeY36bxHb/LHolYJYy3y1oDRctgSlPyDdIYJxhfkHdLqSbSrMcbI
duCHkYTHTmQ/IdY0KOraFu2PDrp0RFaeCXfQgYgBa/hnegxNcfsi+1mcGAYt60WMCSk27Rut2+5a
sDGY3ZGRP9hctI2QhQ1yfZ1XMS8QKM5mntF0T3g0HYhI2HvyvcV4811KYr/goik5p/Vlvdre/oyk
M7p+NijAAMzZuh4b8DL02qFCZYTofl08SgiD7u1XJu/PhUvaFPHYoxaUC+LYNqr+d31g/F7rEboE
cYOxU9Wc8ElJKYt/nqpYh2hVyVHvTpbH7J+bs0JL8aZcAd/OY5bjqwl4LGhsippVVny1RbxifLum
SOV2ZpXVCFrXRPYR0z1Ch4j/CUXEqOIASHrKcsYkyGYNn4+DwmzhShhuiFKRHvUwr2Eh4C821fZw
WAQOPqLCQRYohp+uWTKrOjFS0h5K1pSreLhe+mz7XE8qyXKKexK10AJA98uUxSRL774W058j6ZJb
yzMrHtOO/yK+8IvPmzEj1Hyyi0Dhwsc+bQmOeLaS/liqJIbDI79KxSIsnP/CZq13S5uUhogaAbP7
yMURlorvhnNHwUINCZdIoj4/RF6JY1YmGCMpPAy09FL2q+bJdP5cECbyEmy6RGtJUSTzzTd7L2z2
2Gv4K7tEr3PpDzdYT9D8cO65A3o9wtz6bj+EF2tX7oMTS0caZR5O/nVeTEKyapQudW6vWHop5n3J
ny6zgVhNIjnRXhKxDekMwBtI3p49DyJuLvzKBJ5lqgy0YIi0gN6f6zoDIvGuM/QRJTubEt5kcvol
733AQVX/HYzJgTW48cpA1ACuUy5Jsxe68ozA6aI7AAuHOIO0f7M3qOMhnoEpYsIc1cZUtVdQWYuJ
ew6qyDfgFhV1VvnNJX01Llz0XizO2iWEh2WNaDvx9qRNHQcFjxaNDkbNZNRG++lRkxw7O4Z07wLM
WSpyzmQOlX9WATMftY5TUREwipUqoHDATFBkMLYwTyWzat6ZVDRMl/7FWePVZzUOFAMTKQfekyR4
jRvzAvp9c55OqzyetMPrxtpYG3PUO7y9t6/tAVt9D+IIZojcXX4l8YC4DTwTdgyZRVZtsk7A48Dp
hGQrcfERiwr+jcwLKhv24taEWtgvdRAOu5QsUiFznJ1MKijrGPtrtuzdrNKg6ks+UPbfo8oEA/qo
MC4vk81ld9mxFr5dTB8qTwmqyaRMLERDRqcgeyHm2T27pb8qOefmPF4qBeEGsXvqmOiYhRMxyBGi
7dzP5ICwW8dAPZNYrcbIHFWGVcxCh/l3VJsUFpe1yvmoU1RnRdOkfHPGjY1qzHoFeG/YquCYOZnB
nxV24wrwZ40e5MHBvPYp4WkugzBLXsl+TW/j1zQeF+ZREI6VVhnJ9GFnw8cla2LvReCUC3kblATa
/8KOSlE1k+xWXC0qqHUwKsevBSbOFY3QFoAD8LWTqKPSRiDOZX0jDEKeQ90/BC4HDxzWq8Vxqu5E
Bw2LbJCvc7PkwNbInV7tm7wCmmQiClORW/hksc2Y3o3RC3vvOSzNXpPS7DF6Dp/DF4OLHswm0XEf
k+eMpPVER8CopX83DozokGXlDKANKahSgaeVCSqRKKgFRewjRQOLHkuQWGwlBNZ4fd/D6sScnOeq
fnVgwqAGBvmxE4+XZKo+u0YdbcKIpphpIsQ3uP6dC9OghBWWuf4gK/c8pdx7lP6lf3fmjvq3pTFP
AhXGJQIEWy/Wdzg/Uo8NXv2an7iqNw5Y5sGlrcZQBT8z010o7RGtb4kwnGaIG63UrH0YOHOdfGb3
STyKFnpl3pPnUDkc0o+mfhxcx+U546J4RSTHis3mHb0MKuxw8CGK7wAyK8BGmPMLScuedKdRuU1W
H2JL+hEG7oXoDgsWMhgseaR+UlDTrVCxf14tY1oaUJwhwvxsUBUga5JBDVoKP1mVqAD0Vycyn1ab
+28dYFMgo8roihcPwEaCI3mZJVtJpKv1ufOpN89EDgKOdCs2qJAt0TmQKW4NJRNLlSw+mKhk9tcZ
qAoYySkAnQ/4NnLnWL1FFhRWTBZqxwgtUS5WZ/VOGWylbrvv7hUYHryQq1+4NI93s1BoXphEyDwO
DPpPQaomQD9IFPdYJpwEoFqtP+M6aDVZgQ+AVHjZTm2znzBXE08kQSs83yfRiExKzMwv6gZjwL8Y
yPThMZARrOvpg1e2vz6TEykloXlOrYqf37dnMNUysvvIZ5KwMZGQ7cZNy7grwFctxaX1CXXqe1qf
P4NX8Bx9JpVVkxF5BLuUrNsQbqSEqgYKjk2j0HuT/IgqiulLhNGemch8CnBrdksYBaFQgEnf/pWW
5TO+tMttzJWc2dxl2P9d4NU8QXlfsNwRo0o+Cge2u5RjNdAhOYkkSatxNagGDB9tFwamz6Rv/Ks4
LymoGDWKeVUXwpHIy/yQSTVmDOmR6oqpwk5KjTWS9Gf8goE6LMG7eIaX5Z0UUeEnSvOiT6EFEm6j
2NvcGCQIUjNQXuxdCr8TKKQDJwJeNbWzakrVrgirhoggWaUfTeNiK5rCbvDCq6m6WpUuZmZ1BrUu
U/UKmR7u4pgbcQT/pzbUT78wIOlulYJSIDCKbQ8ZxPAKfp30xQkUWVXw+r9J4boifFFtkN6Q6CmP
RuX6f5vtGTaBQ5JtpNnnJVN30JskjLjAulbGvCY1JNkbA1IvWLSK2UNf9CD5uer9J25hSFK2iYZ2
mTZbnI5iEHKUUp62AmNLNKVZasYK5jLdLPJ+5XHsioIpuEccA9+BkAwBgIW+SMuQyA1hlAQxojbQ
vZ9OirP99v37/m2cMgj8DXwuP0nJJu3NP49rzKuiaRUEXWBsmua0NjhnQsb4H5lTVThEWXebjrk9
uVULAOAi4kgD8aG72g/IRXI/xqIhC7JCq0y9IoiIqTyUhirF/retWF7ZW18zwu+gxSIv8t5dIa25
xeX1d2dWYnYDQ6BogY58Zpr7ihhh5eRPQUD6rFpbQYspCRDf4X6u++7F3GSwkCfzt0Va83boxmvx
QmA9wXNTndz/ihvKhjvz/sAD4YO+ZWZi1t0CuQy9y0SwHGI7sqPw/IOJ+nr9M28VYlrUSOKFqrzP
ZPX/5F0yZ+EUIcZN5tQDcnv1FMIddWmreVf7TqKzwB1TfCgHgJYjflRtqoDaVIsN/6/PCYICp+F6
z/pXgZM6FVDVwNXiqLWOohDnAba02+6AOU6QKQplWbVv85SpoHITGmhrb+0ypHgM23ucxzRhvGgx
TsBPt2GnrsEwy9zHuEckJAVnnZGekusy70xGUnAgIckHIK2SFQH6hIgvet9Zcm7xdvqnlpS0UQ/p
p+RpVpRjNFMNrwjR1Ep6H+s8/NCwIG9qmVP6GsUo0tCw21zRVh7meEWp2SiPuxgLfDKg+cJj1tHp
s/pa2TcUMC4htDofuULiidGNbC1HjW6FRS4GuREGU5szc5lF6NpiHB9XLkIpil/Ae73wbMXyLe7n
Ma8CmIh9vfAJfLHAXrzPMB6uuwwdSTzYJtgewzEccRnXrgwACjglOfc20DEVls8a15HIIJcNCMq7
WpfNZSPTpRDG/Dj1zDGVUZc6HYdnwy46+fsyZ0skLbwS832VuFti7rIYB70X3SLCZVyxK57ivkvw
iNfsGtgxvnZL2OLC5NLgItjqrg28red5/hJGcvWHleiniJ4xRsxobpQ4enHKNK8oHOk3ruiKGngT
5VeVSBjgFIwubeW8jPQVcnDqUWbBFIJXnuD0HNeXq6XA90uPmccDIe5y8SmAAvEXPfSxX2odKCEF
cOUcoLTscnVnCAcuKCoAhjsxFxH5G70fbhSFE6ivpFXNAO2hPi+hLcD0WKpz2ZbUqZ2ZSHomcEzW
HP04IGOKvCL/UM54nUfHUTKLf2/4YIS6HHh/2yXUgAFAzS4a6jhwMJqOq10SOWZ+LD6MZ9FMIiYU
cfVTBHNnxLsX+HHW98C56Daqw0yIgARMZmXU7bZqC4RkhcyWXWge8WNcMOI1lZQEM9g2JhIknPgM
J5ivM6wjtYC+S2sr12ZW8DAN2VcIpowhIJB/12mdhCq8gzZI6KMgdwi6Ba4FlBwsBDsBzYItgTWJ
TJ2yFNhaHCA1gr3FhRRoXRAfxiUxm0kXI+evhA8wliw024DhRWTnDjSTS8sUsGzZ0WKkgNqXZQy0
ySgoUFsQ0yYYoLFeE3GFb2xdQJTFk6MXzbpoZsoIslfPL429FPXar5CpKdyD1Y/dNl8HtaKIodJ+
rasubRuYuUu7lClJ+boT9kVOoYYtE2Cfwxyp1ejqEBYgnbEiSXVI1xHyJyyddHYy1Zy5gXRDEtbe
itw9ZsfsRtJ6GcDZs82hGGsrirVEwbVfFNkgyR+9k5EOQ0dWer4PFRjpLmJTNGcKRSwSApo+o2FF
EQPPB1f67APWaS6HRbYw+2Rjs3vqFGsfvXFN879srfC4z9bFFfmXPbfsH9G5U2h1sf1bRjYo3QTK
J6JVrwgHbi/ZOXZ7FtYLx2p8mh1mNWyohxlOSEV58gcKYN6O1PU/ZOmCIjD6HVEV6TZYCTOJNAJG
Jmcjl/7yGefbJh2b7Fjt/lkFwARwLS3g+IKxuWa4FgdaJUGv+bXzKzQK9HEmk+FiEmqg30F+zz3c
pOaui0qVUqrc9O6WB6S/3easSj1QRSPY7Nupknxcp8oReSvsTKE9DLgDoSLMuMAqo9UnQzAE1+ZI
95arNOwEwRg8Xy8XsdKpNkwnyWg7zPM8R8M6UTJ4XP9E9fNFJd0mHHxv0vyBZvi0vJ98bxXZQtbb
+kAFcSbTm94Hv4k6Ye3M6IgY9aZc3HqbGJsUYZsKRdRKlgKDpEoRJ6L1kqsW+F4JVrDvrG2qERUf
DYYGd/o6IedaWUw/Pabt6tV9yfl+MKxvqb0CTqdCUC0JJ0mJl3IPoKPiSX5aM6Mz082YliZ4sDdf
K+S1LQdS/IRZpH1JjWxf36zG6fbx36xektpilL+1ktlpcpvp5lktdZtp+5bzQ5Ghj996F+CGNKNW
xT0cu6S+R255IRfkfEWyf7Fldg/9T4emjc0UdLgAvKwPBTliyTRw7gl7lt5fCgZpofP775erl/+n
6CPk5ZdrHFrGYeVRkQIdNqbQbP6KEkOMNgZ4gk6hRtRHOTsuxgzDQLOtm7jEcwHsvVgr73my+bbx
flJHWvtqX2epZXTJ+QWxNrvxhDISmPtNKak4IC0MEe3PigyVFRCXYZWYGMKNqCsZru7gh5zcbM2m
zOJ009Mp1EDThTWtXi254pCpdHxdIlrXTQeNCtd1rjBQwuqa04pvB0Q1UPX+zNxC32zYVSWTUDBB
vFnEZfRv2lqWzKR2t8gyimvPOS3ejoKDCxhu9lDV8hB/O+SF2MxU8i1oMgUq6Z4xAdxElcPjwVZ/
ugeesu6Jgy/OGgSclZ5Q+WtrWnXVwVOe8Z6XXdQj4j2lP7MLvJahBbu2pRjsrVpVBHMM+aTYhHuX
mr/18YWBqxMHQ+EXkXAE9intMi1LS/jbqXagPpD/MvMG6tQi+W55mHxTBnse4hYs16rPNofkY75D
P0Ddztncd4KtZ++Qf7Ci7PTs+lHz99Q/9c3ul8qNryE4ns41OFG2rhjJt+98eMKR8/aT5nNm7p6/
71mIYzxcRLbktAlqMfYAd4HRU4k4spizSuq6urdu29KTTOpi23APtgnK8RiyrNLtPlsu1wOXFqp9
99MMdhBsLPCf5raAc56twIo79Q4GVbjaQu+Evr8OKpBMjgsJ+x+OMAKm2E8w27MyTinQODnwbOz7
YQcqCRAnoW0FNzvPrj+SaLqQ0DF3YI2kEeSqiqRDyQanfJylLq9/c3bdpO6FgXjnOUkRELEffHBV
4L+He7VO/AMQoLsCOwt/19EYJyS+w69dXwgrf2DC5n/4hBcuQ2LunxnCBqytIGxEATHb9Jwg7C1W
dq/O95GueAGLvY/L3nUw+LkJb2SqmYxjhy0EhRoVo6nVWH6yOu6wpAWh5pvFHlJK59ZGFUwpi5qj
XSPraz8nPoz8R5gmp2FfLV1JWhlh2yE+tJurWrRK7vLdMcDiYOxcoqxYI5VZ/0D2TRzzLMClhOWQ
sQRvxTuon3W6TOdtndGX/3xZG0X7KWtXCrIKq6uQb1CiIvfQp51574NTrzww7C/RBBCT1my72DFS
xyLHi0VHd4iW/x2XH2aWetOgJNIGoE+zF55N907o3uYxuFBhEE6HFZqEEG+6z9IL9i03aT0DDUHC
y1TpgD292+Gw6h6HlEZX/L7xsYUcNK0M0mYBUhA1EOKXYpvus4FI1mvEnQ/YxMA6DwicmxaX97j1
E97a9n36JYOud/x47cWLdFTytOlW7FfaJkmRuM5kXSV7yybYDihxA/DqaWbe4ceoN0vttO+P6swf
e+HxkBGHq4UrKGWJ6MFivuCE2hErD/F5FV4KO49ORvLJAX0FzJZ2sSNNj+4S0+Ydh/6MLJlv+7Ll
l53cB2U7GTWxkDwRCj23m+/eanh+MbKS2T3sdg8KGGp//K1pcC5AQHgVmx+3Me/4vmVFXNClPprl
71b4l6AyIBuF3AALgFhz2mhoxIoLG1B9JlFUjXG+4KVjuablnT5u3stkwFxO6x4ANr5bxRv7ec27
jWNZyk7L1Db9U6NXHTy7qCin8O+1YnsXcpo8ihIKXtBFy7Ytz2JFp2Rbf+TZPg4v/nbGCPrT1H5/
WydjW3lD3DXXZavx9TT2bilJCL4JETAf1CCkCDGwU2uvR0XMyfBmFtcPaRcjTnQ8r156D8pG8Gm0
1Z/586+YWCeGk5RuXf/yc9+oXV/W2mroyYzDxgV9QW6hapOoGah2R/11b21JNLTGY8OSBik4+GPP
VfVRVc3v2RQCFquh59luQD+HXsKyg+0PVJDanPVA1j7uiUeTEbIREGvcP3aXA9+zlj9ZBOL/iDqv
5cS1LYp+EVXk8KosAUKIzAtlDCbnzNffMbf61D1qfNxuwCC0115hBg+LPugV/bAvdNwO8ctG82lj
+TuXlXDzXfUTrIWxretDlTU2r7BNFAfE9cj4GYH9Ywc1fhAiB8W/QIa1Opwl9qrpy8XN1mkD5LfZ
t4gs/OVgtcfsYkEQcFHM1UNpLwqOxYQ09R4Vp1DDfwv/UR+cKBzdNs64PN5rOx2mrR6mspBYoK18
omFn5K1C5KcJIQjybHsQQ/pcaLyMkFqf//VTvgv9op1CJ+Uk+94hTtHEhDN1Divpg3RhDmoKBwN2
wbLcY+HrOO/5tkKPBrt7EE7LWb8aNgj9zJe+czhXzBMg4JQGM8TXa4QfJprX5ij35hrIR8pwH1aj
v975pbLzR9EHRPx4lGHNccD/YQd+3tZrZ/UrWI7DrRzRF3SWjB6tVr+Pjixz4IuNTWWH70MLak7Y
N+YA1LR2yoCmd6O/9LkQ95K3Jl34BhwQ0uGhMG3uAQ8K9Rf9NeU0Lpf9KsS2Y6c0ZzV7m8iaPQfr
XCSOAzdBVCkVu1h/LAIlAEAi6i7ZAVfcKwA+O4u7f6zB9sBelYL8yQG1vl82ksAO9CegauJrj5uw
OaTRTaxCxnxiY6wioR7JipmlEcy6wl9/oqd3TYZk/8Pu0CF5X7zjErFwwbWvghll4pnzmvON+7IC
kD41pymIBtgap8ul7zSDZpf0OwoOM+e+c8tdeBqiIbBzRy5OvL1ew+kxyaCJU1gW/cFfpMYIOgjR
X08gf9qXmmP06EH37CjgduF5rCeymEXvlW8VkKc+2TNI5oToPC0SQmxd75NY8bCIF2Ouajx59Pd2
OQ0cxRAu6+aYQAzbqtnWpen1T7FW3ZhvQ1I2nQ+CR9H2WGvUup3pnIoGC+Q23sidkM31hlJBhWQd
n8ZpZf4GjUDiPgrDPkiPi53eGIRxr3sUojLNNXH32OmK4Wv62FlGSES+ykcAI/wf99HWmRVxs1lr
fRCa6ChBvJv5nm/hKoo0hxbIBi2pMKwEVX41GByrvQxxDJfj89sKFel4FOvR7s/Zkj1Rr8j0sHMj
xZNnwhwThWGHNdiZshjn7ekzxB9S61JB0vFYsB4ng4JNJ4QliUoWd2Wl84M5jxHxjPvgFw1JDE9x
7tbhsfwDDtKcQG7ofXa8seN5c612HtDpVPjhiWiHnCtB7wnYiN7FoDcoUS6jfG0kNa52N+rJxI3s
TQn8gusBuB3AugXdDq6iId9uPJgr5ABR9HOF7vYTIRBj+7bNNpLnUqLGt3tXO9J/K/01jm1A2Qym
gj/s3qhNuqB7A9hBATl1j+suwnelJzOVl9Vb617Yr1C48Av/+D/Xj3nMzuvZPEfES4KAYweYztkD
csqe+8PVKK4RvytqLhw9rd4VL1DsHNL0QTzoAUbTIMs4t9GYx2BBHfjmeUDDgqqW+ggGNTIhgM1p
N6hJuHJmaUk8k6N9N52J4V/M+2BRfQIS9APOVLSY6Ebe3EKI0BtrPpd8mnv64FqNgi8u6Bprn2Ix
HBgOHjG5g9hCi0MdK2aiUo1y1svCHcglADVqiU8gLAHAbay+6IsAGVzTi69MGi0eNLgzmFhZvR1K
hccwZTzSq7E7bXsrsuA2Oq34Mufi95y8NAfCYwTwISqMwIyinj1/jw7tWVi20nm4xLSJSQc63WSm
m2aJv0mIV/B0GYPOX21qFUYzUNKZyXOZ+xjIeQeYvrfldzQLC01I17CA1yROEUq14GtQNYO2gZ38
6BLde5eumCEvnMp3Qd6GlQXkItdZASZXHqxeBQgewuwFNQeVRm/ED8OC1ZFZsEu2GgptzzvbO3xB
I64tv3Qv9Nu0MLB313XvFacs59N4o4Atej3+v0j1sxx2UaefEtT5uf5AesSoHdxNHzIlo2pBcQTd
gZZijCMkiyBRkJWwRKx9TaX0Ha+n38ecynzT8db84pCQw1PuPe6mnYZlZcGo5PWGGxcrKP0eRO24
Lyvf05Nkz8NrpP8y5YPMcvcMta1RxcMm03JmP9+FGtmrvzoSiuWpbvR8wKP4h7iscdN5gVrSlQCi
DAGjFmocgHaLx8x+HVonUO5q2ugQAlPlmlYDBb+OIp1Lum4/KMt+nB8UT9HVLdhnJJ0+jmRPGz6K
yVLEBcUhveUNM4INU4Ey4mrymJFGqpTGJIImp8u3XzU98vOAC5VhqUam2CC2VyjtmK69OB+ab6lL
d/Y1yBXlhO1BxCumzXBOStiZwUzj7uq0Z3fHN37K5c9YjJ0TaoFmM2rpC2svEbAG7/y38UsZRAu5
Gn0gfSerdBev0qzXrH6zHO9zY3GJmIBzm0Wb5hrVh7D4s0Ex4B4Wh/mhhk9ClMmAWU1XhjJOiT33
ZYQz1Dkr/qlnoNapyIi6iVBzNhOHDOqoUdGLsYfx7yPGqMlIdzTIt0RPVvqtiSx9YjMy+FOgIJsm
RCK7hU8VRbUec7fjCCO9dfCjKd7Mwn2E/ox968mzjhDDhxnRRP1BxEmd1MHJeXUK7X3w6QtlIBuq
PDU7HyaPZWbkaC6N8oZRwT3SJ0sKjAFLjIca+BFIwkmjwTsXh5obQj2JvpFRFcBgMiD9wPo4xZJT
g33Iv+0s/ncFtbL2N6Ps/UszHklL02StojlcNiAZhiX/jvVUlgQKcJrvCCQrFqSIEzwPF3yVSEdV
3hEvU0SK1Y/EPjPobKNVjqsctUTmB43JS+QMhgDCHc/c02jr5/o1mqRqk+rn2yX3sIGv03FUR1hi
UEhtUlUecNQzUzE0ytA3iwc0R/SpqFY1RFVnP1D7Vc1VyiUjL6UeSm9QtEhonW0z36qCzIsPk8Pk
xK02rNLGKDHih4IC1iK71CUZxZAKoAKYAcg5Jy52pDjKYMEyH9MjE1VBhqrkY4k6vSsO0UOzk8Ic
CMXZWqeO7kJhfBneOGgv/tx+GuPc+DN8In/RvyGfIU4e8nLIzaFCB7Zv06YxQYqdgZwMQIdyXoMg
2YZL/EVtVWIETDcC1FzqPIp7h7bgOoxSidXgi7j6sdUi7hPkeTxEYXBIDGARohDYCsEZCvegsAGs
uSE9OhoZCWbwwQYZm/1CzLVTXKAXDJ7mWLYb40ycRkb0TIvYE04+MD6UYtA8kvSfCSwaORZDQZiq
AHIFoqwhM3XzlYi9d/YVhEAk4SmMWsxrqvGaPj/SQdAh3SNB4I4GOyD5DB5w4WINSCPRfKGHtPXf
TLW5RirJf6SebMgr3VfVzjd6D0KSaDCZER1KVnVabmc2w7q+lfpqmKlgpCGTJjxa+aIPiEagQ81L
EgW28exKl6BZ1R3CFWIOJHX2ClB9fQi6PazC5NPcsgYvSOgh+d48zcmTP8D+ZtNKrwzTZvNT+b3E
3/Ad3sNCB4HIBLvPtMRSrEarZsNjhNYqNA9v+0P8IsktOLPhISi1TuDonZo37+NWwThvA1Bs5x/R
vci5ZXiS/C9POrF8G7QpyErQusLvCW+hLjmn3iKnvnGhSFelwXcis+mKUQLM7sllZ4ZNRsqJO+my
EaPtY3SGEFl8qwv1/+Mj5SHAJl9v1hXDQf46s7Z6+8KUZ7hyRXZNykQqVq1SYwnjkUKqB2bSrNK2
PEkcVmhPBZbiFXseV7R2Tx27g8NUbdj4RTEGVtKwguv33+lv9bP52QDLLlCNWODkc80vhs9spiik
3BvWvvXpblvF6fF3Mz9jtjGv9YpRHufa/M8trbQqdeuVfqY3lGpO8WNa5JxMZbl+5qKcbju76RPW
Et16Lrkp07nt0c4/W6c3uoQVGjbXZD9Zw8MicUE+uN4uApb6aWAFE5/NurrzyUo5Sr5MGkro5NDQ
Y/h590Sr18kQa0qRVtMS1XUicELSGtwgzs/saipcvaYoIqnpfrpmha2X2nRGGtAp1knW/vU1GHrh
6EXUmvklypk8mMO8O0PeBjxphdTqA9YUmlRf0V9jo+zQ56aZjFD/ov5qMgu/gV+qMC7EVh332WL6
nYi/DYMGIP6T9l/34gKwFChCL0dCmxn1Ry+i7ufYwAX3EJRbm69CloCOunHJMd8hILQJUMvCjUgF
1LSri1XijiIYS1JJFy49OBA/X2LaarBBO6kCTqELkAi0YBuNFxIhUBDYZ/FZXQaEIUDTQlzLK0TW
EvIJKRukQ8XH4YBko4fhMPo5KFWufzK/4TuI1qvbmBrxMfhcZ4OgALhsUK8iCRiYeJ6dZsUw+e1r
pFyF2IJ5EG0okwf8Ywd82KUn4KdRh0Nakik8MGxuK1+aV2KI3bwzX6XLf4OshOLZNyKva33RL/Uh
dGx/Xt5x+PI24YZ/0x0JpGjhtt6pcOuZXPIJcXy5eUnOXUBvA/Wm6VoMkTmKEFq5Szg82AC+XVHC
tnYl+4aa0LDwt1lcJo/epQeN36nYyhmUNQAdgtbwcvL4bkp5/A7t4AVj4YVXyg55tie6Lgh+tNDZ
SZEBSaUCdZ1vlvd5I6aRzm3dUfc5gw+s16CyIbKBIwDUO7r4t53zxp5ohLF0+9WWBhai3ij3eO/e
xT6hbvy08u6OCpuJ6wfrQzrlaoJIpFsuXboBzjJbna6lL/xDbQqUL2TdfX3UgOWXv78FX2pxIuTh
GeohmYkPomAQoi1k2s6b7n8yTBmLHcyZ0KzaEOle0jLXUeLZFXILLX1F2SbTbwufLUBN0qWSDt9M
nWPySC0d3a4cYINMqkVnSO0YGj0a4YrmI8DSnbbheJOWUDi0y1xZV/+6sx9sDztrE2xJE6IyT29/
W4/uDA6os79zykpw50/Tc0/2mjmEb+jcz4HHn0fV1jGotN/RrFfmvZrLyatALICz3Gyw6+ZRjbxb
dacS6wLEMbAtvoTOhWD3NG8KH3fdIz9Ag6wwEswKoznoJPq66m57296uK9j9g4Lw5ZcJHlrAj1gD
WvZqBKYKgHgfvk5PDQ2BmrcCfPwOC61v6zP8DG8kNrVx+e/LQEJf+IOAEQMBUvdjfwOiZJPuCUNC
RRtiO/sP2id8lvo0r8GSNWPppeZEe+DjE1xFQUJAQrFMzFTDJB6iX+wi4nShKbGnA/q9uklwGFMe
RIeFIyyQcTx8iRYI+1fCgXhHlAiPE33CeBA6QqDD16jaLC4eWQ+hZLLcBJXCrxYXcmZjoHv/U7/Y
Blfy+y2Ca9KNxrbN6DLAffNU9ChXPkYgSYM6uhYMrNPs+PRvyTXV7dFnNFtGIh2XobJ9KtvgFB5P
6/a0HqSlVNkfiEhQkToYPbOUC+hbobw2OQwIdN5hCmAa8gNI7fZm+p7L1ao+aaA+hsrbP1+ADc4A
IgA1YIxibG9keqpG6o8ObXbgK5DRQx4ewr2je1RMZlhw5JN8IvxYMsoII4oR1DCInUI+6lJlOhIB
+Lo5/w3C9zp8uw1fiDHBYhllUy7kKZEofFTpsMmCjxXS9WWGyqgHpOsABCUP1wS8FL2YBmWclDya
ghWOkn8V6QR6jATbpAH5BqQGIqTTmOyXj1EjrEt6AxgJCZuKEAkYPObUkqmwfGvSOaV0tLMYIlCW
mdl50IX2SOWyZDqOLICGJzvv0hPA7dQ5dbBRZ5iig1rB40FCIamho3RSJYhAay/gawABYf0J8/6i
h23GYqJQZuiZ7B3ra9Wj/v3s7HdbRfTbf4WX8GVYOOKMVdwQq1N6iOwSmLY6lrSnjgnec+pmw50J
Uy0EOpu0Ob78NUz9Tdvy02VIq5oOis/elu4gOD2tUGb2yyUyU2XGl/xGBKiQJrU3jAQV/X43JOXo
vKNfn/RDD0rU3ZJ2yl4cHyRQMVu1LBSoRJHiv+TDa79b8HOMULFaBIobZStB+UtCzjx/glSVqOsw
A/Caxd8EplvDbh0wtholbgojjl/wwpL6iQDYCZe8zbjo0HOwF3ZrQqNP1FCNtYUTUHHdu1ouFtWZ
9S4agCz63GryxkdwvoX6D0qCf3QrURF1m4a/OnfyVAI2u1p9sTt5678Pvdm/0t76lO3KcA9T5OCg
aYgFUHUsi5XZ79stadZ9AWzxtS2oUO6kyjPiD9pAVfsBLIOkIsx1c12M8hKxpC7ho3UxF7X06a7o
1d3TQptBGgZBCgTFIKBtzjD9wt6O6F27PKkgoFlqf7vIDyaPPEW621T2x8BH2qd5+0qtbVB9/Eh2
5NPpcUEvmiKOJpkd2E47tELNgzSb5aseNfUYPsmgV7Cvt8N4R31l7YImk1duKQalehwvChGBX9rK
xrGAkNUU0zXGxCBvYZQyiyS1okv25TKRqCoC8L6Pww+q+MuabfmWa/m/lpXabspYz7JGSfbRP9lG
NlwCmGyBmHaqYbth/wAxRgqNSyOJ4B3avyPZUl/gB0G8E/AQO5zobnHRhfgw5fFnQr8rvruc9FbL
tVs1f5K0XN+e+PxCq2XH/MVrebyEGBxKWSpoVjiniASaULpaFqHmaFktK1z2d+0jnb2DHXOx+oxx
uKNldbgsWRF05jmHiaY6/JOH9hmF6IVxFnexUiTTQx8C/yiBe4cgW5l15/K2fJ5jRcfQd0kfgNLq
nCDJ3pJymlZQwnLsh7T9mamxKBkMtL3fC+y+/o3H0W7swwvUtijkFRPAoj2VSbIRgFDaMpa7Ml+E
RcHr6+6MqWzGmQ/IUJpayJkgnSWwq1L9h8FBZHzgwxDMcyerq/ao85JMGIK9igmBwFRnqaujgkAl
U4WvKiqEpLjRfs0Oeogqqsh9qTIYJ6lgEHhMx9c7F0HIZMIhVWRKxKr9sMUKr3/zGbVw23sA86Mb
8EY0IcXEA7tI5i5wompMGLbxE7HYi8nU9EbzYA2USa3tqTrcNbDZhM3guzg1IQTxNhuEZ3VxLrDO
epkUiPDE4EB49XdvNliHG4QwARdrRKF+jnSmuIM5EJGyhutW2cyCZ1f7e7baJa50ne3z2imgDXFG
HvkIaOtjj8dvFoCkfJVoVFgbWiYP98ADhn/C2dX4RcOCVwOCVvWRdOMf2tJCg6vP8ISSjTV6sbof
6wRAURMXna2CB8H+wTk/WSUgn03EKW3MhAzCFwpYneXYZX3y9BeoL+W4APxDXYWt3dvbudaw2+zy
cDV3mwBC9DJZ+i93PG13aC+LciVBXKoevisYU2cua9U0ssLb0RRquM/mOTjYW7Zbuusp/ek+ayBd
9usocR4o6huke28kDXWRthiXhukevtiN90vDh9q1TzZHcoVgYM6aM/TShc10qUCcUedUUUc9aMIV
YogEIiZ0byRiCDZTLm7m0R0GdrTteRDDbiZXPFiDO83xmG0R4/QNDX0WRoE+e2fuqT3PYvKYZpG8
z3GaIfoxxP1C7+MlMAGgrw6N32JQplegCMqK0cvRXzVQaOhkKS6quuZppk9nSpDV3J3fiJqqRoea
JdohbfR5n8+VyfySIasQOyWPZo3guALl3p0mla2vtq80erK2sGL0v8N9+Wcvx2jg2hE/5dRVE4pU
GVHkOtTXu3FywnmtzY35tjYwBgzUoGtvNxCf7oQEttaIeOniKFdiBRRtwTrUeSfW1Ww+PjkxZ535
N/AsvG3MXiVO9sUZbVBV/fV/CUx+6pORJuzNvp8sLUIpYY7YlDIAD5VR8Iexvp+SGCxTEoSUxlua
pGigQOMkJYCEX0xAGHK3pYezC/dTsVohLi59nw2gYZNiiFycSh+F6McdKajEpUZIcpmMRGM6ejYB
loe2fLvl8ipaIz/BAOhoufyV7fXpxlGkZvVV/gW4W9RBQAIjIJmOYzYBbBG4VwtjhAkvqvy7cqBX
8XMer6ci8lrcmSlcRDbplaI/17YxK7JG2ghiN8ZuaEIK8yWuUxjkOz3wuOO/D5vWKP3dbGQOhDbK
xVmadaHZTd8L5yFzX9AavHnzh7SpWLLiI/4NTzsVD5tKlML74aBxWrWSPWZ5Ykv8juQGyslfQpLW
ixiNynx4nAv/gVuPfzQfSJo8nNbItVztpBYLlS31HZ15T32/P6e5pkJzY6U07+YqWvm2g9If3oNL
9pBlcmKjIfXr1J2DFIO4WnTd3Jt9TtByM9CS1iV0pRfMemfz/W3Vw9fwYxxe2VEQaLw6oAbUawOU
aL4bDsGkL4ZDUExDKDAPNgiELPgadBstOpgMfkHiVOjILUAMOIsZABXHbBaOxjLgfG3oCfbizqI5
DFlhd/rNzT0y6Q+M4qXjCBDZAhMsxDsEgZuL0j8xc6i9jiWq+Pk3G5QeRFFADQCB8J+OVkA1NecR
EFcCDvR7y5ThZ+P1IT33HLqjYtavoThoyUkvWzx7ydpogigmg+rarI9JOBITo4iyy9UDkSl6ham7
jTwyIorR14w71P5C0YHFrSbCFcimLAs+QOXHimf6oQhh6gaoIU1QVzNXB1pbYD96Pbq5W7cHJI6p
Cph/UY+0JTFHJhmm3S9wbHbIrlnTEX7KDENTC9OfZv9VP+/EyRDSA0QxohHt57gM5FE7ufb0rFem
0Ke2gtqENT4MmkU8iQhOKKkJQkI91KN7TYkDgJxXmjWf1YfQceRZ0H4sdOqm53phli0FLAGyTXcP
Yz6oGEheebUOzA6kuvcJhA3kls4TSXk3OC6QtE/cxMHT+RdnBKt6lzYbuYGmCuoeC7RNDhqdUvml
aptFgApsk5SM1Re4pEJZ74wU+hZFpix0oi5vPkt9ptLxV4Ev0Wz5OChxyNMZKHjbvrqZ2oewPONC
KdIrKCGbwyAQZPZlKGGRVSrpa80JVMbTN6Ta33ZOSAccd7aGKIgDiMM+kB7Sk6Ph3lEy1nH+2z2t
V2vLNksTT829rz054wmpYejXpSQvevs4h69Yg5sUAVdPax0jDIg9FvodueljDMe3Jw3bFWOPcv+K
DseGXl+ZTFg+xCp8G7SwaarNei9PbcYr/1hxXwSbD6Kktl9fVFhH7APaAyi3oju5Di1CpdMPD8Fr
7Qv/SmCDIlcttAkr3ca0bK3nO96afzt5O59yuUTLpBGfg/NI9h/3rf0EYGuf8fpGpufqqDKBVVdt
3rj4aJnHFZCOd+CdlNNw6RBKtCrgDtoVlJnW4QOTxVd0QpCos2+Jx76KpSs760pgjKQRJze+XuCr
MEYsg6BUgSPTg03whP65w7oPDUM+EfR6zVWkdsXWw/rWLGJELRruca7BVgWZaVIAJJsT3oKMB9bc
ZzdAAgIhiPdoNkHcYpJ5qxEGABMgtkHY18BjidAycfrqFthEtV3GE1lfoSO+6886H1D3xuiDOzw5
8h6YX0i5lbaUw+mPtM7NFT2TnUhQg/foPdogXJ3H7emJY2Y6C7neEbZk7qT/0c6cS6cgS40JSzh2
KAdeEa4gVpnulDqI3/ATw8MH1TxLFRRAkM1RwpXQInTSLDSA6ufnGayf0RNIE3Cvmx4diK5ihg6B
6GFdazDwn7yARlJDwi1/nk4JTHPFWwV00cheheOVDrk4IeCOSIY+FBKSKZIQKUj4rla8igLEg4EO
gw56e6LPaWZFrgpChUQ9UeejkNQIWgQ5QDxi8TOISEWGhGvBVwU0I5JL3FP8k8Qfeouk59kgXFB6
0XcUcRR91mCfEcj9SvLIKbdNiUNNoIAmpOZtnn0nelf2MGgolkKVWgN6KrUJ2JmaiyKIDr4vJMqn
F5CHULKdPbyFgdQJUigggbY/RX/qDhrJEv1QyaXQKqHDAntY3p1qFJoNT7PqSVjqueamYEQCybUg
dc+FKqV0NR41rDiQ/Kkpo3y8r74MZf2iFLJFgFtQBYaVaMglDKhTwoj6pfrVLzZCbcw6zFQr21PY
bTF27mLAXo+pAhZ1ewjsmjs0QXywZyOztbebQwad3I1pBaV8ta3ZWLOpjJnntMYvfgn5K9u0TKKZ
/+rxUgETVlklxbTNPqzoiZoSOTP7ZIncfUwpCgZCbYdxg9zbnU41/euAN1WX+g/mBjkXKBNNyTmA
+meqi3LDyzfzqKDk0LfSJ7hFfm2NFNYZnVgR0Lj+ntYFJ4Ntf90vQh2/biTGcBl+PYnrZiEik2xS
wN4RJMQBfiGDcaOiFN0bb0jxwT01aiWUIWawzL+yLrA+oBsb+BedzncoRCB9IHr42l6kVSI1GSRw
QJ8zjZ6RotfprGkirfDM9MgcB4wA7kAG0YohmOi9ayebF6gwtKHR1QJipJsGUBqfP0B6qxIoBKp5
NVddO40pbkxkBu3H7yx4k7zLG6VEnCfOFrj6wg/uh3gJhw+vxmBJk5yv3xh8u5/OvqlGbJUAdOFC
NSaLIHBMPUAmrpaa5AQ37ODLd7dmZ84t2gUwQiT3voI+Qd3JEH6RbiMLxpSIHFQ7hWoL6QUuaSry
WoEAvDGbZNOltX+gGnw26QtPUEtxkEbELR0tBKLwlX+7B5lG0vLiJDzlaESLENrSSEpW2oowrYuk
PXhAzoC3xEwKrf+2lA9LJKtkpDq7z0A8UoQOkxxyUcpYOcvAblMaQcWQL+oaqiZV/nuSygjknmw+
DaWH/sFXBc5vg3eJSF5k3X71DW8MYrNGZxW3Tu2BVKOOcsgmR1Ul0UYlxlKpInemoNXtQvs+02HE
eXfbwx6he0DsozKX2AyuC/gPlhjtRtR2gNjkpKlP2ug8UQ4AMevL8IU4Givl+DA/XWHAlKU0GTlJ
ILoznHUAvzunNme+wCVcat7amQXDXo7G6DUx65RkFJehqfueK87Eet74uU1y3DARCVCaJ//or0fr
UbF/AlGLw5/SAR20KGlZHtCMyLUz2NbV/U0oLigR9GLBGR/b2BBxCevQAEUtWuDR1NOM9lntxiE+
izqLqyM2quKSWiWKgeihMxLXrpVt1VpL6AsJMKAtVtHvhDAX2zCgbn1kZIJUj7QZ0lB6O2WXdWPe
o8iq+id9usu6I/EsXMvcnHnzLJgYdnKC9xWLh2yPE7MFv711jrC+to5W4z2ol1CbRFcL2+kSAQ84
JnpZ6l8fKYFN+sngvwzdBUlQHZfhm82MMvBk/GQgQ0jXAyrwM1EqrptkDcVco7v0LyEH7wl3WAoL
JOMvSUuDZI7zuJ0azb5Gzd0OHqPtoDYR/wo8kkR26dsRPy9+rlfF0YvYnnF6pd2k66PgmUYfMo/R
gQ4XpDdonBpPbIwKhNQgQEqZUYJ8f1+QRCX6kAk+gG9isLAdCC4kBiwVAozYS1C38+k3QXUXeLX2
SAQjKD802jihPyXSKJ0x0LYi5qpLJtqzjmyOsd1Z6+kBI3De9mcEpjZg8sG9VbAwOiHhOPuQovUK
B/qqeUg2FRE//gMsVoTVGwowvjIYPY3Y/pI6oqCBCSjOiWY9J3BmBdBmIM7QftEIBy+hr+ZXlegN
n7AI7QtKMajYPS9uw5vU2wOQQ3KSAcOKPjETgp4OGmv06+Rtg6YtigoXcE6db6fYlhAFiLG0kmyR
L5VOv0RMpbSoj0/4s0zPFn7BGVES7beZTIBkiwWfEIhCfsr6qU6v1FBJM1BurE2UYa39wgS10PBT
A2pfV7mGVjvFmhhbkgSp9MReF4RDAEHd6vaax2nAZIAb7UqC4COH2qxSqay7H3QhIBu2UJAaX01f
VHgIjVJ1wA80a1bR8K20QptPZ86PgU/U2U//61K9TAKhN2CwImBD6vRTYVoqx9KloQNZc742DETu
aIM55rJRIqRDHVm6W+LEkkPwR+RghQF195QP6o66wZSDA4aaEjiTj1E0Vq/sTddPGabYYkKdrUAR
6+Wr8mOaDZbsH2CVSGlKNA11L4yLL7RUtVcrwugG/MtSnJH1IIRPcuRbil4g5X+GONIJ2Hv9bEuX
yLw2+He/0tLvm5e8KQ1lIYaL8OOku40yOgJmW2ap7z368E3hLeiZ0BXVLqNkTbs5/dTsEPREFDjV
rHqBq0ACC5lIvkArTwQLAPnE9T8takFmyuCk9S7Vh9RBGsUfJvFcXoLH6OLQ51Ij3f0TPXeghYLy
i+aKcCG3TI9EpNUS0FdBCy+emRNjViDhIzCzgY4ih5C06+nRl5L6FlWMYqDJ5HVwHhxRa6+jWybl
MilfQZeEM6/ffKdlvuj1fhhYqDWltAA/gOyoRPIHPYV1JpINmHKxMKlMZld2ZMcClT6SK2PqE2tT
cjL/LDRZ1dmhEAPyF5hLDLI+pmEnrRDULo809gr/+MqZC4TiDwXDAjay0YH+6wl5v+IpBXSFvDIE
11pyX70LyMp18xo/aA3GpWFl+Ok/kntXiH0w+xI/723MseZ9KyZt4Z3is0mQAdFvsKa1sFyzdCLe
dNcnV/Kc0W1eS7j+e9DShEhV5N150sjJOwUsQwXjlGTWOnpwKsDHsJXWLf7MCnbh3KoXbH5SnXOM
ztPvAPLs4fc7fS0ei9Ok9HOaVIAN/1wWBW6nxW5SGu4mb7wIHrhQbOOvewtRm+LU0sKUd9uN881p
Gu3B8UhiRWqhIoBnXq04tfIJiF5DcQXjgDhLyZUdjJrZASSBoWLqyusXSPgK+zaL6iqtoOizyCWZ
YZC3wiYqKpiqR6FNQyBFiRrXBtR+BEggExKk/uiO9gArgfK+hAVm+RlmHG0hsuVFLkKqCz2h6vjr
rszHn8m7ZFWoRuB6VQp1qsoWqO1zlk1tpp/UTMGoVwJPSb9KwHT6ZC92H910CBSNjRkY3Q9I3W2c
a8u0uN55QhNTa1ibh6AEDR91m359/HarJXvPMJBm9a6FoBjowa9NMyX7gzZD5WMVyA2hTi4efRfs
AewUFl0UcNVRvogd+EbS64hZihbRdbDrnQfr6WuUmzQS2snsqFZvCOIONvhlXqawm7yRj1jMfvLT
1V95eh47a54cpGGttxu+x4ehmnSnoaByZ6fqHkbKDOB+/GW1JzwbPCJppmDtU0zzqVyDik/D7S2E
qF9jOHJ3mPVosLtZYWC9S6t4oRf869Mg3Z+IpzxbW3LOnwrJTQMzkQq6KbM27ZZWGbNuW2O+ZpeZ
GF22sT5sCsB2jnxkGxqyz3h4QN9Ln5a2AhCLNJa41oQC15xLACXtinWA2fV2nl1Xuxi7ZZtQBmj7
QylXH2i3NPsdhFTmZrb+pbQQfFZaRyfJ+hisoIrqIjZoUmmsRtJ/gc9l/ORk7C0gENjRso9OkiPV
LB2N6BHiQZiLClIXcKvEAhbp8m4rTD4giG8hkr9jIdPKXi2qROugSPRRKSq+oEp7SXRJdB/9WJfW
5V+tc3d0XnUudEaKDDgrXPRnZ0wZ3WwKkcoAS4X5eDgeXhj7kSE0h02tGnUO1IN4BPVUrD5YSIgd
BMQuuEpYfDGC0MTi0qL1R3AVXd7Iov7IcBgyBsIn4sNztfvlOSmWWiE95BiAtQqHYv6qPYEnU4fx
ynKGrHHwTp5iYg+6QlsA9p6Ca1KzE8BAEDOYO/iMGPh9LWJtTICJce52J9e6/UqovxgB/q6r3jFe
BwXO4Wz0Xd4wk0Bg5HDr3R7x5gjb1381Zyss1aAtkqKwWgW3MBkjv3kwIFj9CJ2D+ltaYLcgKolC
pTNNnNj768EOAyYsqz5pEQ3HQxPRr34pqYRleoUkCkk1vc3Lac6rYfgjucMTS/xBrpOnD4+RFV5I
ZlkFxfQDYvRysM6/ZHHxB5QzCmT9L8KaD/jk0nV5YcWBbEp31UFuk5NWDB6dTygaFXRlwzvIUDom
gthPpDYyzoXaTULrmORHiT4/v7Z33tV/ktHmg/KNhFemP9pIi+D4s42WrZgQt24+uzi6sPG+Bw+8
ZABxJcXWq49sTL8MiOuDCqRIWV+jXHSL1q27V+7SsG89WIlc9tfw2Hp7Fwwu7+HNrrRKLdQFmrUm
1GAw7S9fnKj/VJSAvp6tHKnNzVmD/8E1oGSfXiCnC3f/hkrix71cd9YXTjOtUU4NXYAYA16pQT1c
6QZl0nXZ6CJLvPhVOMeGNTx1uy8kPjCHfE4KSWFyfVnPs3WrebV+Y7Ltrno1fvXZqmytHat0UHtZ
ZYgdiHS0N6N1nw7QVJ1AUw8Kza2hh6Y9ZfqCSg0ZqULE5F78EZ9QjTWaykyAGfie0iyRXZNRCVeu
tE8QY2VUGmDU/o3aBVdgJY7HPMt83q/znP05JgBtWdfx6ymt0ICejjtzZtHPBHIC5r1Su8ojJqfZ
u2b35MU3ZM5Vdj9i5YX6XpmcpGN0avT9gTNPlmfSahXeOt6wf5kZGTRUQrMY++cRKznm9nFIaZD8
MW2TA/fIZK5XzJc0NFBDoqAptd6eqmX9GvNXldqSpzFNDAv0R2e+p6jVCIOuQ6JxhoRN1CvSk+oX
MEplgTNwVYGsQ8//GIDjA5vfyxRvVHJv6SRr9MX0L9wtJc6FO667ARw9cyj8E/6MEjpB+LyTWAil
Q9cIsNTgsPzerccyVTGhgWf22jYqK24203a9jZ0rH6cT5p61oIF0qKYm/FOluQXiUYKJ4d3ZD47z
3Z6fYKocZceMnvyzWWZdM3/vDQPHk7LxrHtiqrl8yOD05pVzVuXhF1927t56Drft4XMYwgZpAEjc
tPcIQAWVA839apinbWMO5hxqLNFaYlgiceF1/LWlv04yZoYeZd4e3Q4aR/zhHXWgA+vTxRQEBQcz
D6Ixc2Sm/RlK9/Fqut/qg4MlllogTQREONT0Pug60/+Uuw9JiCip2K0lY09BZKhOLUYgwXDL5qDq
Jyv2ZrA1tNFl8HiVUrRZhQn8byRIwMdqjWSu25BRAthBNhXEvBiP8rxKmNQqVZ+fpIid+NJRlCXG
KjsiYzY5s0KlWrgnQCPIFmdwnT1lHp411HdKsUgUKfQ3PQp3/q8geR+IUSf2mPjaezjcGeVJz6lH
LBZscMomCdkkZojaiWCwXUracGZjZkbSydZnqkh6yEYLwcA6iEYsfCmJCsqThYbcr7xHD/FjqLb5
G3sWWRtl50XbrjLNSl+6vGWATEo1EDahaSCBiiICe2LaCCevXrL2oR7nAAYBW3MeESg2Nmso4+3C
7+3vO37/MhatdCSiCEWtte7vGSofkSKDjUbqIZjGNqlGN5qC1DLzB3z7sMKGwnvO5qD6lFSnjRl+
a44gUSJxc00GS76t1jpDckU4iQPpjTzABL0d4UwEdaanhxAOi/484YrrX0MHTqXkaY3LoQFXCSD0
oXUm9hJzTQCQNTUt3XAXS+xCAqxrpgNKyK+eI8io1Fc/tP/gURzmh/l3a8k2hE9HdlYytDp4h7X/
2pIg38v9c9lZ7wcF54ncZ5kP8DbDb/58A8MF26VzZ69nSFJlfq7mNaI3JCrLmoUCfb1b+BXgSn0B
NZowylK7CZzsdnptZ8c2ug9oJHlq6cudQ8Z+VxIDpYs/a6ZC4927uYEVB/p5WP89E6icFauSdNeq
nyz/OXy7Z9boxa7QHvIVTt0oOFpYo8KVqET34ctpID8FlKpVi7bpIbn0884xzZMESji3RM30sFDj
3aLNyPWBQPATZG7Ljew/J7BtRC+6+KvaMfiPnhJ7kRqVfRGu+WPGqvRDGeaRw6jWVYUr9wbyGNIb
JWW6wcrUQssyyMGWNyhtrQbp59nKO6rEBgPWpDK4v+6iu2CGogtSxX6O8Y7+piX/9NRJ6Y3xix3z
6noBEgttx9NYRleaEGMo5LLXZT2CBkLsIFIZtWT4KV0MBwuLFgUfaM3so8Kgnaw6s6K3c/t5O5qO
6NAgdebvNvbt5/Iz819DdV1KEHcU47IuBFAs+g9NZekUfVg4rf3DqAasA48S5mG63LmaEgpxQg5v
PxqI0PuDV634keByJnFWvMPnj65dJVlRJHsmcfRRiOARaxbqHqEI/FziCE/4enADgccUGvwHmgv+
5+V8x6Xfqq/Bjnw7pG4uVu0bEJUQr6pU4HsOnwDxkLZ5AzNQAFXTRFEX5N5U8EfUfMjZRYbKWlso
grQWZ7j0WQjTx9Jj3cHvpLgbgL6XhlCWww5i3pEww7AaBEjCEsM/wXUJVXR/YLDU0DjLe+VxeUye
xTCfopMPHVk1Oh3qd6gbeYJEKnltDvuWSO1UiaVapCKOMuMkpSRQRUpF1Uj4DnNc7A2EBYV413EI
d+EdPLEcP64Q8WvASXVonqIelFrdYuswbAHonQKfYrsWpEio9lJXHhSiGTFrUaNAbQKAUio6dAhB
r3deJGGt0zPiii45NUCJeXuD4tUEja2vlUPiHFZQxXqnM6x2wxeTOM5tUpruGtZhrEmCMNyCnCkN
MS+KAYHZTpmlMVljdqa9lZ+4uVijCpr3gKESH3hTa+Jy1uoYTlabmCiiAUu5TLQ6yuSHksIhQU6E
hoa/yOZ5aj629m1EB5TpaRt/weQBNH/tPpIK0o3bgZrxNIHCU6IP4hyXPTAWz+GMCdzyjk7LEk3O
C0ZhAOtp5S+ZPfeZxbchVCxhBSESQxWIIDrVVlPscdrnTo7IX0oOIwSMabzff0sdVKtvf8RI8nRq
jkV18IiEvKRD50sFuxxLqJdZNK9t8aZfKbocvn+0SQjuYZ09N9d/BRV6wmwbaWPR6PP/lfU/ns5r
K5F2i6JPxBgg+RYociyCwA0DRAkKkgT06c+cVf2fRm0lVPjCjmuvnUFsY2GvL/tSvk0z2Xz7JbSP
5GmMKB3Qk3X8cihloPelTCZf2iVLxZMUDsfipGjiGjqU79X3K9mD3V9ldy0TZb4iXfC9//qpdaKN
lV4kfPzs36rHiDCVOsbd5PaWgnNiCsqF8pBJHg786q5bqN1gvQObS6b/3PztFCbJ8b13Huyn+dV+
mOjeWptm+vVIDc+ZnuK71gU6nH1VHu0/aKreT/1bo4CEGexnxSpFTk3CEMWunYC5+Lc8sYav0ffy
G+WbaXLqYertZ3Kns8Si9tXP4ten21LCnvipib8DJvTo/JL/7B77KHDOc6jBQPJVmhIrbtuI/ptE
3A8sEZ+D3eA8zlIllG7/UP26gY9igQ0PASplPccKtbCgGeDwn6YQF0iKI2x5sUSkZzcCkLA4gS4r
FHEY1VYsKjQ/3GlgVnq/9BiwKAtMc+UCk26S/nHfrQe20aaSbdCFErPlsdy0LmxLqpC0fNOVR2fR
pDASquYLuKdM8LWGB5L84CHYrgsQIklT+KiZrL6BFxMXnXg7jegTTHI7SbfYv8qtfe7mq9pHRcz0
Cw2HfmoLkFQcu0adNTVICSzgdEg7mfmmfZ1ZZpNpLOpUtrSz1Ln8AdxRXF3Jlj2mF3rVFUEIQYsG
PhSYleWQ8MqsANCaKhVMCg0SouRNfNEN4fH69g0ZWahfZGGUPXKACwNRwK7He6OCGF/s1FAXrcDD
rkbh25vQRr4o8gO/OJuNl81Ztw2SscaxfdBBvNdbpSrzlY6OWW+gOyBZzbIL/TJALzwcz4WhunLi
wsQBzbaL5OyN4p+RfbF7xEkFXZ9DPTTLP6X3jAtAOdzg+m71Jpc8F/Gns1MM/anzFN/xH1ROelte
WILEvDDbC+LVvjhPniHVTa7yChBA4C37DJFH8Ro9LlZQfzQPHbZCtVAhwVflY1ZrBCKI/kjVAj2r
kidmyPMcElxYl7xjtrt9fUAJuStlpvY8vc0PQ9jSKx8SsWLUW76MpV/54B8aE3X5QkRljEpaLi2k
NK5CRAXw0bWSwkk8hKf67v56ocHBV5leLI9Sbnav55GgIH4wIVZpylxKzxW/b+jbxIStIqdtxA3j
85nVBpSr0xcQYabmCjvrWa6ZGhbwlCv9vukumS6mcMdqnQLoyAIfBCUJCkKfVmDEAvCXD3mfN8HX
8KuXALnyWUsdOr+fNUrNk48gf++mc70kPJXHEuXMX5UqpMSf5ypdg/ni92wrn6zs4bdD82bKG6KZ
0AjQJ2dbyoMibn9BA//4qn8Vdnjs12fli2YMUWxB6n2dBgpuouCAVSyPYJeF5wEE6mCSC0DD45lp
I2lUWYuMmSN8tUUJC1xYk5YxQAClv4BP7RVm8fJfhTp6rCNYD7HFU5Vetp3sAD5rWpW678HQx+Nz
sK3eKWy0ABCCZWeeBhZWo+bK1A1+ksmsLwhWDoqt7z+2diGKZspdnSPQk8KIpXIoglfJqexDp2Q7
Kgy2oxx9/OxFqZf51TZv+aAVdG5upt16dxFb/CQjKKlFvoJ7FOTCOMiPg4Slsau8vB56WqlwrGKB
6N0ZvNX+0GUx9J6tJEND+t9YepYQWJXt8bVO48cv8U9H2oc5Rr9jFDuRFJhIpXygxQx4GiQK+zYN
4N6kWEwC7qLwEePqdkF2BQ8A0NvHmNGjQPU5OIBhARG1I+cGiSNyMTNJtykwL0w+KW3qY5i0Ejhn
T9J7vxvCCH+Vx/wbtYfkVDAIL4iCEG7+P8YcwpZsnQZPAO9uK5EdgB/bwnuEE4jIUVZYMi5VajI4
hDnquwgtqa/RCR+nRrqqorD4iRkyAf8z+cUgBJg4gV5T1hjiYqmf2iXd3vb5NfmR+h1mFz04Lr6T
9Xsedw6dDSAYSFuXaDoBKmqswOXeKovOpkub0eWmK0WxgWWreA0+A71d4+hfaZgA/KlDPC2aISG+
mNs6G3j5BLDHkKXiWcS+Ba/Erjld5QEAmuc3m6JPSuaB1jmTteS5ZmR1OahXUIIiyJCh4CyQyVFm
+BCQZSX+9Bwhmb9m7D04PVoJOG8MT9HoJ4qJnMMsOj+GdOibIqjRrYlb6Ze5FPzi49L77fx24i7e
To4rJY643dvuzDicd6qKetqiJqm2ZWKF8R4CCDuYGqdIofz/B+vJhyEzOSQMDHphTJ7XdSHVq3bi
o3CkRf/zOzRKIq1izEiMofQvVJfzjwdGqGX9VcOrt72lGqwD3yK06SMhYkTcIjkpOExT2zifGgMO
P7I//BIF/4CTIwZnF2zgTmz3epkOsHQY8RVZZJluSTV4HHrxxg9NSWcCZkLAX9TNLcJ6+uErsDGH
lbZoKLI9HZMcC/1wCTUIbppbnl8a/HAYUmw9h5f1PyKANYpbD516hwFudQcBJMTdvYdyR30RtUd0
29MuEUUNRToZPUTTK+ylkd70qWdECxDLfHu3+vNdVI33b8wz3tgC54Dy9O5DpzFDKUthcpodZ2Se
bhgwAkc3dfM19vRNRtVRcePix195S1A1XX5wsNIPmgw/VKH9t61kHpU9qVhucpKiSSGwgBubS7lO
9IRIii6wm5GAHA/rrJRKxpUhBwMWjkQ/0rT3MYHbqUbLbQJzfudqqekJn3k+nepUHkopgnVUD7S/
2QzG8XB6qagTVt4pRHT39+pJrkHaremiS1KCzYl1PF9tWZosi00pJGpI5QuODNNeD/211sfTorok
BAnn+AIJzHaprGUIa5YKvgKjo/6kf0Iate/ULP417YdHlNU2Gd+NI2zeB36qemP8HX6bZa52gOSD
KmEKIInI9muv0QHOFcKZ6mmDFExZRCQR1cV0l5BBYS8sycNsQ57vQgsuc5OeKk5gDur6tweJ0eLg
Zd/eh9LNU/wSPjKT+8dn+/iK9ZDZB8VD6Uy5zraS3FSehBdAofeJG8OY6VI4lxtXdBxUEe+o75/5
4lFKIlSHKbYMUfhTdXTrYbsfBqzDoWbcyg0KNVsPiRPubbeoNI6qZRhRCiopqXzr0zC1zB3OqLSk
YoWnuFvsSB7SSIgygIZpPCa+QByBwvQw/cqUEPOnMqs3J9ovtIX/iNLRvAOM2pzaNwKrUdXKZL4K
wcW/i3J7JxFWa3Oa+BH2rUiqWdYUhlanwuBLOjRdGsAnEx1oMoUMc/3xMUBesI7o2QB3dmeChDUE
a65I6y2K9Hy1/51+MokiwvwVmxyTFoBaKmEiW2QyJYY6QALFZDSRmq3uJrZxgVNmiRVSPrZ/m4YS
76RNXK4xXYXtPvz2fVDsknC9RLAxE5JuDLfG1FQkNTYAfV3jj4BFbnynNcmapUTdkHVizzBURGah
ieUas9wngWt+YwhhCPV+AEcTNBa9Y8ENLQhTfWEA2E7+S7QxO4ly20Rc80ra7QmoQChIW0S+17lg
beCZGsgJ1i05bd77D6psONXrIDbNgcA5ESoH8mRBypq3xCbZlZPTVY+6ThriYKTZaOdANZKwb/Va
DENKQ6wcXR21kWWwVxXinzFyAdLvrkUpImkGa82fGJogfiQLFd1wrYnjZXgJ6w9NHCL8hM8KAK3v
lU3X0YT2Bx9nSrT++nGvxoE7I1FJCPoVSnHnhDlNiFxqjiFDyAfumKRG6hQ1hRryhwEKiLA9KxL/
8h7+ypeEdiurtBHIYlBkzZNxhuGFizAE+N9DqKC5aTJoPRFXlE5E2TSt2mgkmSGB1mYgWHh2kr4G
OUiTpM+5Vf5oA+P/D5jDXTEuDKHUd3jAT+1YoDoaEk7Zk1oLxQvhqFNi3tzRg8C3C6vFDD2IxHni
bUPgW7J2DqatS3WS6dyYmsEiWLcmP+WByf0BH09yuYpr8yQWcwmOpz1D+Zei41gMGxq1XF1ggOTk
7gpb3HA9bc10UGODRJ1qNF7iQ+YST2/aqihy1kz0pVEM2yU4R0IfdJkCqEh7YYeGFeV1uXhMDXA7
CwYPyMfwlzJNr8uzG3bQr9UMkR8I9CgNUYGXvhO7KhIQfLsBq6ZLXStugCMNTwJlmihb/kMqi58w
bJAb6u86EGTidFqMZNYNLpEVPuHwiQe9GeD52mOHnquQ2Xgi/sILRkdTGkCGjRwfPnqE28OoLdFg
HVlpSA27ZqWNEb73c5X+exiOTA6ikPhStWchlxZujYS7163phaZBMg4cc724T8g7BZNHygXcQaxw
fAWCG7WRvvvbtSLNTc6EIBE7dACHNKDodx+b0QeHNjoq3aM5tc/GkxiD/Bo/+KbmK3aELBWkizYc
7OV0B8QuIUxVYzHIhvkupTHguSUY+4RwqBj1l010oaK5r3S2DyRXGZ9/aVCsfm4dktKmPExaSqkS
lMoQvAGLrvHipy1FGZfIcPO9vuMAgngTPeVLGl+ZAANXWOAVxm3jQ6L2QEaOQnKao10ThSTWP6oD
wlqUaSiaKuqkgQ7K5R3t3BYZZQJBsnZTy8rQO2+QxHCOlTMF0BDFhh6pvbfbFPmPhKmPGnNsPlUf
GpCCZDiArcaOTVRvdBN4wxhpDVpCH7vdtokHmwN2mZk2haG0UuaQhnlpwxQKgy92HSfzwfseUZFa
gbYSIqsJDfvz8G4JEdxEhFdYUFHHC1wwMC9YsNexQGzMUntzEoHZBBBUe+30xGvSGa9+tir/0ISt
jJaqmVKCSH0v/5pdfc/zq/zrofnEaAl8xw/t8tL1Q/MI8bIIhc5PDWf+9fedcn5YfvimLzJWDjV/
380f9Ad9V/OAGTBX6dJGlUb3JyxW91MYY6d3eo1/vf3Oc+9SwP6Ob0Na6d76j+7LDmcw276QD2w/
ImrOv/axv8I4Cx/dC2+4EXjbp0tfM9zGU7qC58j7bjC/dx/d5HI/ezwrx/W1ewEm0T31L3QTPIff
4c8y85H5yH38LJPL3KQw+RvdRhbybOoX/MBLI/GW+diut+vHMksnn/WJR55BWhc+Ch9pZvBZSUyL
05/l74TXFx9/tNiYXMCATqBeBIyWKT8m+SmG7xflBf0sPDzQHcJzOPoa/Uz2NERhT0FFagrm2P+r
7PtfvOLjM/zq+/gkaPmz/AyvSw6SPJePozy6ZRcW3xaPSuLtyKE+Qw/3DbTrsExNMwPsNrBIEyMi
ROlWrn3DXLoi7IzOjmX2Tol/SS7FWvsV4ypo91+th+gDDqLuQ46Vaq6XgSLIfNiNLPqNShBpPViE
zS5y4hT0f6qvQXfcroUIAyq0ZwHCgZx6TagRYCM6UEdlz3a0vpdO9dfXromWbjNgZc843evbpr2T
MgMKcEQNQsK+5m9vuYoCLLQWCoIahSv14QSfsI5pHE0/87ibeps3vr4puLgQSIYIPO6oaLk175jK
C/hT3CxxegIBZliSTTSbYaq3222CXQuEX9CnKPweBFRhP8uIw3btb9DHRP6XDMTY/OWKl00QraIa
yf6RAjR5skyJaxLZal4zzm9qWoyhsB53+cZJX2KUeyg/eSr76rJLbmk5Bq9GGmzsZ0F68XYgs81y
0IRN1zSjNrz4K2929lslN8lJSZgRCryUx+Ya60taiEZXFB/7Bm0qscIx9v5yTEiA9H8TnvVtCV6U
NsksUz4y4yyXtFJdck88gwHdXAZSorxFMUXeIm8SiVBdieikJGyXBUbpUfXn7NrubvrECLvBLOiy
HCjOHwdljuCA/VRM51Cf328zIwGcLAyx+oVBns26QandZ3RxLIGX5Epw5MxmahOTrByagXZgiHKO
yRUyds1uuQslePdjQMq2u6TxFh1jLPnnOS5eX4Cz6Ra0S3AVAHLjgUFX5iI4VLLSBDbRWo5PzEeZ
vO2pNN6Um93hvlxntMvlIGAASowl486B4ikcNwmwBlTVlyDgXQbMFsMUMdbzAVF6COTZknEbsx7G
YwK0gFUZd+aGMwOnC1hUMwgIamMY0MvjjwELgYZvAdMaDMtcJQz5uGJLzxk/5O6dgeCDhxywh8Bm
WIec7yUNcaKNplb+qcxmM+8MsLSNzzjhmL1U7o4XAK799ACkH6PHC0vDQ5Cm7+u/jXQAGTBfnPa3
NKx/DOkzxHXIo8Dac8LYUhtUDGukWIsQgS9M76lU7pa33FFzFvBaskJmlzvoBqyvdHm2bDPnJVK9
XbL1UBEwCc9gxqkJXX8MuzOnZkYOzmk1onxl2NpNYYZtxkYnV6uD/cY7Z7VaH/IIPL5o1fnSK7Ko
3yc41Q/BLVJcx299vENorYhK1FYiSBBrSjUyETjfr9g/cE28Ib6KcEe8IzLkr0Is/QsBEWQB+KR2
tUshynIcOZeHWvie72LOxBHtYvk9V6GxfNmoWBiqiD/HHITsQFT8x5Ox5YOLr6/aJqdRQ/VDtFDy
EcKEYayEiDiW2Cg6AJYcirqn0av9TMxGC4LgzV+FRlIrIk7chPis0Qj7AUuQa/ZYXH4NQYWQ/Kn2
X48IM+RXX9HW78dirVjG+OuHZH+/y96ql9tYSaXi15wUSxgqsbUcGPigzUxxTORq7Y0MLCVWfIiw
vXHA2NXGkLlHFpeawkiRVkXjXNOS4RxaGfvqCMZMXvQT0adMmIQ5MgL9BHYIA5dglMM4svhX5+93
nsXfdmYW9T5xEPXNYIDbPJjYsULafhCxFgEodFmbrJqADzKgI4xdxxXxTxTKK+ARx7G2JJq1sDTO
nlC8MME9bDAGw+9d8wsuKoZk/geDDRW3XnMcmzMuiHEvGYBWok/LpcI9Y22TscYy14o7U3/nT+iH
+cvo24HfjFWy/s4Un/j4rPf6/dkMYmgQrqgFROusO0O33ILPBhKRwAUW22vtQPymFDCHsIa8ofHQ
P6x8kSXEjP6AmrSx90C9YOfFZG8KuiZ7HeQEWy5GdwmqRSTYDuG7AoAFjr+qIBNQBMaGx03VyZJN
TqOxQhWhYBKTNyPzKc5w+yJTtsAUxk3hiUg2zjBjX9+Qz7NiLdvMkvox0GTcr9Fv19o1tjDLh68+
xZq112sV9d9v969gY7D2q/gKcLzJznKcsBuYYqTFPwzacNnuEqVZIkLd1Oqypdu/3YaQa1ZG5BGU
Gg/BJzNQS6cePcyPJ6oDii7OTE3JeEn7b2OTSIcZY2aZA8UoOZYJUilS0k+gGCrZV7UcGq6LTB+q
TL6hVN2DHUYtKg5TgUEj3oNeKpTOje6Mk/PucXMWReC6zwCzhgAdt9udZcs0KRPLcm5YdsEAPSrt
SDt6I5HOZ+S6GjSog26Te+HggLGRxeOZhI6qYqQ0kg/raokqm3GfDBhVvVWAoviRsXHyyaaLqVe1
/V2jLkBDZS8B8V2W6g+o01z5Mbe11i+57hMER8cK3oiR4lfO81JZnrhjoEfFcbKHyAkRIExMH36+
9zbLqNlt9+/UhsLr4n4lvRmFtE2JeAwlqW5TvH/YRzgOeE8tcjh0T6jqJkTVmkM8icD4OfuSvYUf
ZpGz7o6PfD05BvxJKPqnRtSfKixC3Ks50shM14F+LNB/Y6iaaRFuRPyXUC2eOEEQgwGEPVoDljqK
m0iMObkY/tRZiQbGL4+CejGrQLI5sdiMmBJxCGvLogesKkbyhUBZB6Evz0e9Nu8zfM/mSxuBdwqu
BKW/TMNLr0+rGsiPzni8+r5/zRzmpILz7S2ykQGq4UJf6hBXNtQPb5G52mQ8AY8mYD+k4VsFIRc/
8OJqDOPwD75QaR14kAqmKhhX1Xn96YxIDdQYo47ZKlPWShdKQYLVdYAzFPzSWc2YfhTVj14gl8Fq
SLoaKljz5lDMwF0IUyUJoJ8aPvYjc3PgvpryVAETI1T42f0kfEXyiiBOkTChIUMDK0ngBclmHMAy
7GEK38rBOLdnUERtZbrIKHkcnnIuWg+4zola2f1FCKShpCiMNWmdg6IxTRpCEVL8IT6TJHxOBIqA
kUFJ55ZwrIlLYkI2l1f8R6FFM1+tDAhK6AHWV6BdBpaY+k6Lk3Ai/Jg9qSxjjlNSNhy8NQEgC6WB
wUtfJ4ZVXkElP8pWU3h24Dr6Bu3Fdr8wPvIjutLM7wlYuLdPDUfH0J33DnEB5SWlzn86WuRcAmz8
YiD1dXQG1xU35gX9lgGWX8CoduQdOEZsRTzp8mVkCJuSjCbMd6tAj8CdE7zlSokJX6qMgOE/zsTB
ButzfRAf0thedIKpy5nXSHIwrIIEkxIr8DmaG9lNLB4O5q1JGJDhbE2KFWKitAy28aQhztaai+AQ
0DIR0WScRP6uP6J4qsC3/TtFx5UPlS+2GttsQMUXeUNSjLIImXik4hcfAgH2S+mYacRF0CKWJyBh
GwyxUT9EF0s3wvsxtesG3iYuI66yWIfxrs2p+eJpqwmJ7XJF8FEQXx3QrLUVBXjpzdMZsDxcFcbm
MAgGbHujwGRejPOyThgurp7VFLVGNlTOMQCf1j7oz8zk87F9RyJW/hhQ00yM0Ai9bT+gT4flg/Aj
VTkMq/12ov5VJMfLJEw/wD4PnA+i3MwFV/YhpaujZfs4H4XybiUkqBC01pN1neEC/FjhNINrXXY9
I40TPG0G2mJJT0blDwwbQhOJdyqHroGz9s39uaE6U3qoRRKPFl0KNHIIrcFUzCa9lAaAvLmQj0f9
Y9BET3/gv9AwYDAcgGimyI3B3gf2kR6eqNlD6fMWmp3Y7AiGHpoiDm8032KKmvjX9Et6qeDfoBS6
dNlsNvkLvbgM0H9+Uq38hzuCFxbljVRPuCExUHCGI9qFQ7ONiTGbtfWMc2ixboByQ6MxTeQ9trX1
oryeQAYG1+CAoWPaTKR6L/kKYz8h1uo2gKKDBIAiBUpE/ma385lWB5kfR7WnUxuLwRrCbFwjbn+P
4mv+9DvZnMqw8vcP9ZqCpYnCsNoufLJPaNdC8l5rzFpaebjgbyc9GIvB+DAd3odRjNmNyV0l+4te
gsePOhP+zqBWiQRmyr0VPNNI3NWKxqrRM6Zct2WQHrtSEaWrpCZNngCDi/FO1oQgoIFjA/dsXO6M
oVirvQZRth4gmRCMj101aleF/89EUirPhJ5qzNuHRCtEo73ru6I9tlLxCDg7wCzabNIeLNINK8yB
CDTOu1Zk17kJrxxGQ7yH0YoGiSsUS69oagcRFHXvXPGhq6kxfYpAwxlWBQFPVkmT6o4sWcfFxcrg
wE/dRLvMafL1bMvob+a2WGKsEJK0T+LWY0QnF4hdjweRJ0lKgi0efpoZdnhnmlyp9c1SntGBzmvp
cEVT+jbyDkXYfFGbr9LQCyUwoF+ClWNO3p3ia0qiO1wXVI0jBmDV88Q9kGLOriptyiWsuElmzZCt
f2D013q8QWbHiIKG89CqmhvnoLUVmfyU90nafNUTKMIn/ChDYkac9kzeMSkNZBOodvyRNdInUc1S
tPiFgIkpQ9NsbsaVLzMpCK1fhN2cmyFdI7kmlU7u53g9m0CIlx0v+wttvsvTCQsEIc6VEjLURUMC
tKZsEgwZttGEggGUJGRtiobVfNWh4pPM4oCVNByysybTSos38MGJYrJCn0m3Brqk9cFSYs0p+tUk
JgXnZrL3DXMytt/+gSeUHamg5YTaSir5LHflnalePyChm7hZzW2KmLZ0JSb2YGiiYSGbQ4EA4twa
i1P5BbJljWtfRupGoJPuvuPFRbk8zkeqDllj/3FF9JS+VeqyFs9ntfriDD1jyW2smMw8Fzc9Ywly
Fd8BikGtyDADFzyObqBELaefZ5qb0CyoWTn7L/txRQkXjlQuNgYL+KQGMA3RijwqkwRKjKBEav7H
OjRk99FRccgd8y6I7ugUZ56TRnEO5Y2uSSKruFPUqGIry0g8+w6YVwTPQdxfQ6AVDWxjfRjpDPVG
nNRkbNEpROKYJxYnd7enT+m/bSYwRIo7bW5IwFgRUSNQErSafkJHXKkx85CrVE9cX/yMeyCERDim
fIL+vy1bdEXF26hRo/gMh0yeUJEjeMLV7VBUpU6EI8k2YLuEQGDc/IgO/Lya6Yt7HR7IKHb7HiIb
2Xhkby05wj4oBBP4Z5WnWNIrHXCCLgiVXZMuxWZ1aXXqlLNGWlkHDQPNdR/DO9lzmq1sMjeFGnEC
UeqKLWhaZjQq9a81lCimA5npdSvO4PdMnoQhaz3eVUmmV7EbgUxf4NjncHxprv7ykoYYK59lsKS5
DXL0xHCDPwlhcKipNqQgfladPefwk/SsXXeVvOwoyyU+0Sb2WzCpqAVkfVUeeaPJ+MvzGrqCTczw
qle4O1hhotIt1upwiLomFlhHByLesBLJkk8UKZFafNC1JsvS/gUFHu/geWQQzUFNMzWxOe/lM94W
7GvbYDu5jkx1av6wkDS62J5mSzGg2aAezEFByLsRNK3ZPsQ0NgHC07pFBOK1FO7KBMRIYxIh0UXp
g8MlCESMhpDOO9H+13ccRjjg8Q0N/htiC0dEt76YZyJQNUh+56N3YCelECVQe3sPR3Nyj5c6wbNX
UwP4TeGTQk7nDACM4R5PxDphUlhyG/4wAlTrG9UZEUoahUjeEXGxA1ys1BNKEO9LaLM4ttQjyYzp
zTBDdd17CUybAbF5JY5BZJCc55thG3CWrKdYEkx5hytqpY1O7IxoGckIgM9hgqYin+9Z4ll7v34G
2frpVvoeLybFW4mMbPe+ys0encKMlhek/ab5gRnNsC8LqHcRZdNIk4l2O9I9qzDJAFBWhQJ2LDHU
Qs8gfKr8hOkKeNXWSwRLdGnKggSmbgc8Dp5LNyEsky8wf2ThrrT7VRYuFjYmRGtogI6olahNpxLB
hoIjwSzxFniwzum8uyJ2hfuNPIkIwV01U+SjLO5F9kE03k+iiNHf4GH8sJu9x0Cm+BmpiFgM3Box
6dSzkScB92wsQKCnqumplWcWo36DuT/2r11zbDfKasu30Yn8GuB60qcFcKz3NuSYXB7bL4Kj/IH6
yldPszy3l+aRmB7IYInnP47oBQey9diwtPnSIE92acTpLdNdoN0pRGmKrVemRTIwOvmR3FeWsMG9
lAG3ASqf4EX30N33bde3CfejRE+obK6WibSdVZWnin3GcSOnsKBag28RFpU9Y4zhblc/ZQpWZooA
WOOWGWLIIxBQ+bgm8v/R3BYc4BzNP9E8BLYRTK+sNJnzFCBoL/ZmpGtl+X7g43GMR1ntHmt7pmOE
QbZSrgC6+cZ+cj7ZHESMgYexudhWhNEI4OaiNonknvqvltbyQt+sGCgDom8k2owNJaK6Gqg1AdZe
a/mVwQMCkeRUBVAKic8ET7hVP+t/7XujQFWjTA/PFzKEOwapyBA9SQmqTe9VAEXlD9Dl3EFE9YiS
QvkNY6W9RleJDtKSnYBYnbTWVnCCScXUx+GpsUhVgLowLfxO/PvIdePGtfpbqN8Fpn5FJwhPGBde
casK9fHvw/dqdPhIgmobMrRoeKw9BCtriaIN/aGfgJrtqceJHKWVAGzsQQoMsD33w93ckK0BKOXF
gaATjRkI/hJ5UQCiJE3++9O/DAwbNEbprFaeEfZKzk8NQvTy+ztRMhDtRri/iWH7oTgGTDeUpsSM
6lAiXZzimxPxQHCD1GQaEFoj67FpdyMygb9pGz3iSokmYOz1VhEhNLpyhEWmFa2Kn7M66DLGPF67
xxEteHp7mnqcy49dGSBycpJCY+XWxWT/mAu3id7x1Mtul+djLRfi59Jwfo2RQp0gM9jSf6FjOx6E
bBsEIZrHtuS/yVpcR2yPEdWFrBpoiGFceqy/oU78A0SWZcM/wcVo6modwikCHJNsdFWDCpudeeEr
xuYoY+xoKSj9zt2GsYdGuS65Zn93abjkVWqGL1X7ugG3NvKH7DjMvS9wMacZQhph26pP/kMkchUs
QP0PatdnY0fPTZsVwkIQsTdmW7aFJQ/hbNv9iZ2wxW6CTLMlH5+b5O1aBebib7taDu50qHTB1HwG
v0TZnE39AdcXa4q7wqV3RRoA+9aVOQOV0LChcAHCuGfp1RQVeeF2rcGrrIXgG0q88DCm1mmYfv0d
nwf34W2YePWRGb+MwT9eiKhT80+aACvjXv4+lX9I5SXLp13l+1pKv5RS0dc1V3oh6vhVQq7lCVzB
c7so/RByjL4eZEM/PkOIDig9T1fj0kfKiWIkOhzObKc0wYx9Dcs0HnupMd19iKUJ0KaTvRl+aMtt
tzTjd77WgZwEyBymjWEe+i/jgEs6TYJ0/YslKc3rXcirDjzhwWhbsmm895gxHzNDP3N0RNzs6hJq
w2OtUiQwrKZy12hWsnVjp0EpobFpbPvG94FhdXv9lXKD3zKyQWdHT8doskXO7jPRT9oiYdgu9d25
QqDF59haQU7tDIHkGwdE80im9YxIbb67SrpdSGXrzwRIcX5KIfnH9/IEvQtQfpYd7KCM0QvOEB0V
+Had78tsJYlPidYwerjtaAM9LIJOdCOePHlWuD6uIBSiz/Yvz91gfe0MjshQLN4FJRM4jB/6Fc32
DPKWZnM4dF2Jc0OV4+y2BjR3FjxK6CdyyXf1XmfutuitQEg6K35AsYoH1ENeKoHn2kgIK2PA6KBo
/2FHo1YYK1e1YJ64BoqyJjJYIup97BjoHNAr6ONX0Z5dkd+K6M7h6bRLz6YjujYytozLcwHEtkSA
dvBltw3s/H86LDLRQUi5Xbg2DIjIP8tz5ZomZHo4mo6GM6plE9dfeWHfHVqQMMS4p4ZkvComFASU
iYNUiSZtvD1P42i9HwISgNPLWbb9k82fBhqnCHal7CIrS/JVxO6YZgcsNxQptUXx7dtO8mwaghot
hwsBS6wgury/aNlxm6ERBP1yhrE3R1NEqQ8/Y6EZNtR0IpEBGl0NyNiawF34wopPfOI5U01RnjgH
K0xT8ybRIyCL6v2H5EdVFSsaPBN9YaZu9GOndYVykLBfdzu6QANvFN1o86kB8UGbSxJetIDxTrnq
aogFJUVMd6SlMWkBqEaoX5qagCKaf8t0HcHtJeI/oD0I9UMEVS5Uc8ber5jSY0OGdK0OPS0iL6w5
V5khqlxNwQcss5XUIScuxV27VYUjd3U5WAdEldH8OXYIIEvxvFdMHIKU7A59WbxbdoaGxASbAOew
RaCT14w1q+lj5yo+rJsMasJKFmNJDwYMNe5Na8AVKIV0sQQO+0DJY3B5YD+keYXDAxU9t6rwarUA
QpCOax7L+FeW0Uem1nyFJTD6rvHNE4uOvpwCHe/8QxQFXEPrLIaZz8SLWmM5QkThKihcjMMQcNx0
uR/iL60Wq0fvusf5vboJriEqK+qGGHoSqWssR9A+znP3A4HgNpKOlRpNJdUzID6FgcrlfUW3pfEB
vA2ui/NgbyHz0P4jbFq6ZAO5KoECxIE3G0S1B+enuik4dHvk6tncrikqUxieaZTIQh9x31y4zp/S
kl5ar2QsSTqBDGPl/uHGv7Z1wbxHNzmaC1dCLejuWKkG/Y4iQJUCZgO5EZ5Nxc79FqfHbeansVPD
UDz5E6d6x5605JxDuEJhMbCUSHvMy9DJCy0ZwuIhGOHkmWkSytuaUm/JTapW2Im+d2VFB3aHLdJX
Wk18nK3vNZpNxE0xvr7nAETzyECxYojyE11VaatYRiOc1j6uZ3uVggKyh2ldQ/dEJ8DoaoxwJ/Uo
kaIaSHNW1Ec9DufYocVtxIXgl76FFKTiKLl0XC4e3v2JhJZRWIviHbZbSTionEHWurM9wEjfkGEz
LTdHOq8YaknBXXH8Gm09SshdRq35tsp6YYO5wxCOLGNEbZHjRDuHuRX2PAGnXuaimTKDBw9c/k01
Ms2NmDCqk3W8kDmSt8rAFdk8ziORLpY7cgrDHF8y7ho8P9c6OdpPJPRMDkZvEOdUDhHg4Z5Vfpw4
mj7IkUYhBquTbCZ4ZHiIaAzDjVoiwEpGPKqTiFef2VhFKtPA2Loz5r0+XPnxOkDOA4qNYgr9Q40W
iPVCfzf+fnu2WFiftW+4qOrnJ3Wxu8HtWr7cq/QVzJdSlLYObbiKeZ07g1wGGUygwNWOtXwl3224
m0ggFzwiFcylM2i8wCp1ofZD3sh1YfIwOT3WJo43AQymL2o/Q5caJi9kZbk0XV/1tXcRdTmjvs/5
LxovYe1EC5q7AfGtsjxE0G5WA2htbZ0/UuIKfS1K0ketIYvTOSUNx1c01rFM5njGqfUyokOKPmJJ
1dibQoSie0tXvFaH/RvdZH4ZP8Q7cmgJmJJsRBOtlFgCilSNJJ37xeC9MSLdzZYgpIq6WemJuKKV
CO8bHZpoZEbAXWjewziI4AATAPzk7RQQzgGhDe5JbOYBE/pQfrOxn13XFutPnjDpHWEUeDeYTL7g
MqaUcn8pJSbXap6C5z/rm0/1YrK8qRXkmoaKM8xU/o5qcQSSIumrkhZGANSYzhmIJ35zv2l9FLFO
o9ouJCQJXObSUTVWBNYerjI+r0iIAvn8PJHyOJEgSBEkSJHnceX9VVYxRAIcOBzbV3DMmgSg6Yf6
avEO1vykhxJHjmnDcfecVCEQWjAGV3Xh9pWfcREPO4N/8kORHZbJFumdxqUgME1MaFde/AVbeA2K
VdIzRHogb5UvzSbmFvnj51DvhplvzPCJEHc1sk5ZIpOvMirQ9SZRS5ZQXYLoRBxOVsG7Kt2O6FrD
qHEY2QIXyzYTlIlV9m0agVF7InniHddNmay2f0FconQQc3M2utIri11gzYpCKq5r8Doy9KnBY/PJ
+ESKQOdAZVDkyprFau59jspT9q2wNlej1ShVV0Cveto3kaRobHEC7DKr3He6HNbYAdiw0LEEo5/R
4LNdds0zrbJ4o14Y+lbtxkNsnciJHOXjFJA3XIJv/HOemDMY412WfltxsWgfaTub7oJOA9drtxIL
FS0ySOSpHi4/X7P8P/8cR78D8AgjvwUlyXb2sjl/JOvzQf892ecsCIV3qt8buu7ucr7YH30CMrzC
RuoVq2zKe2sz//kMFhhCFB1H4XrD6jqeNA+xYwi1Gzfs122EjtGejEcg9paVKC/YS9RgWdZvSFm/
w5BuHjPCItor2yFEGrw9S9kQxxVyFyj4aY9MpR/DJOoHIRMNg7UUJmIflW0oOcNxshmdKXmixTPM
LO3PxhmMZRG8lsxtZ/gIMhxsUXVE34oQZBWqz9ftrZUCv7yvnno3sr63cjFZSuVqxUR599ugDfm9
l8k0s5BKzy9g3M/dNPX1tB/CsV1vgN1QXEtj5PWBDsWHOm3kN62X5RnXdgFlyKb1bCd3nSL7t71p
XTejl+WhWP7qE+TEGG+nUv3EdEdJMJs5vDQOYfbKj8VfOTtNV/b32ra/+C199Y+8rQc4/tIB9d49
/AVZmhpf6ea7gV8RS3yZH5FvSdDKA+OTryinpirMx1l4KoJmcXHYtn1tbnGvO+fg2aNWrJVo5SAG
pxMyxOBUizXcWjYft0pMPy4PZZTWZZSrZn8KODnXcwG5sDWAAk0HElKi6t2rK0XRCMlNbQ+SBVHt
wtYbsk72WcrRKs1+poAWL60CRpPOAisGYWMTHVQRRTivyp9EV+mD7dVDlrk3OIRYRryQLe89UMKO
lA0SQEuFsOJtY4tsmlQIwT5BBKRQ3VAtvC0VueAmWMdC43qfZa70GM6HqX3nJR0cL3QvW0Db2VnQ
LYKeP/3fr3LGxgtJmEKyNBX9/SnxBVXsvv5N3vCrBJXErrFdXtsJAta9bG2zPq/TxKcKoNWLzcwK
GrHts7yjEg7aN6kDIgAEoxn1npd4CYCKxKkkG6FcIstmaJWfwEvSM9qy0A+GHVGj623dFLl08SeZ
d16pVw5ONEK99l5K99pLqVBPdW7lg9B1KaXlXL51z+ttawGUqlFsJprFJkw/xeajLcfwV3jqAjbu
7vo/99K+CIEYBMCzgParcCtd+XmAez4b5DApw5fq59qnZdXIoLAvne219NNOHyr8dfwLbuAyqfd/
KcE1dide05Tk2sat+eaRuqfJSxXAZPPlm1fgkr1G/0Hd9FI5LVM0fM1MZYhKwllfwGSsHSB04igi
GK0JiBHQxQ64CtsIAS8E7wgmA8ygneAPM2CdR+AcQOKHn1WKcWHiOwHhhgJg/ts6drbzGLajH6W3
8jg18S2oKkg0b90jxLfb1hlWpy94kQH/AdpoDl9Kz8kC/uhro/iRZKyOoeN16GcAE4YFYN1psO8n
CWHvEdOICPuv7oHi95DSYCoTfOJR2SCwUTswX10mn6NkVdzqNkxi5pSfAe+e5d5g76a0me68jdx0
G94YqWT1Cih2JtUaJ4Qxi/ucSZcmBZUk3tZPfFf+OvwGobaUrFuwLjLdujqMuHzQgrn7oPzWG7YB
esoQTMx2Qd8AFAPPFaBDjN3LTcUmavxVE/JkYwGxSHsYQR6l4ihHUyjKKWC4JQKEmcG2XBc2ZN84
yHsey7sFHIjPY1aTJ5Z3oT7YwjV9KkfX8gO988dn1QjaEM8C649AkFgcehxA8HUBn/PtxzThdbV3
PSBH3II0udwPz/pa5Bd/oO+NMvwQz40oEzmU+KWItfGL94LY5yqGQHkSTfjKXqj9iLgf9qUbJ7yU
7/CLfQX8rP3zekm29+Dvhvvb+4WhEdKpRcDhiQSX0g1T14dWdpTpbCYQB85aldRbYribQInIJRZs
h/zC+pyXz2buD9UUt/IV5M8sD9fNlrIUSk+Cy/sBUt7KBwN47Fxqe05q44dH/dQp9uXP2s8PoJIy
9e9qtpzjO9X5CujkxC6Hlbh6gbiLQ0B//HYCavF2gYmvdq9dh9CUQBxYqN64MXl6j0EBIjWKZOwF
8dNblKCLCV7AL31xGV/1RPPeXbTu3a/6tkXb76jqgdbN0OK/VBM1mHjhfLYS4tpIVijkYUAJjJP7
EciU5Fj7QMavS+cbdNX2M2Ay6acFroqBh9w3uNQo/maS4RLm7db++G0pz/+IOq8lVbktCj+RVYKY
bslgznbfWK1tK2YR49Ofb8C/62y2nVQkrDXXDGOMqYvz5qGL9uaeMxrfg8/dNqv2rkLTpsUe1JKh
JZ9EI9mTegRmjWYcM0HtRBUXiCJHZv1waylSAaxjxnMF1T6DWZ7Q+LqzHZSR8UHJRR+mBhvKa6S8
U5yUtKO/83NLB1JwR8z8MM9YjB02Q6/TM4WYMTA/f1B3jz0D37q8GGY7Z/UZpKRyaYMwTMPS1Bo/
gVDj7lfNqO4deHNmHx7+uVPbrZLB4xwmlm0co0tY/rLpjwPs/2A4TXoC7ZxkR1u5hX+d330igxPB
NL9XOkEbAujkAXuc4Lpv/crTIxYpkaYg3Tvaxzv3hKuep10qLvlNraMCH+/PTpWUUOuU2SmkKGgZ
+EmkH3zEYgufU6+SWIZBLWzvVVvPjsieijjE3D3Glx4BJT6ZHiQVvCP8UJ6b6DVJDrNYLvF0WXQN
Fl19bh5hKv5dKm0obx0nWGvymPiL1+bhper7oJPICqkwzHNHspIUKPgRnY+M01Im22gdeniH/KYi
VQl/l6iEjMLG3q8XZHeVtc23PKVZ+KcKALNZulRgUhrKYyh0/hR/KpIZ0ryJCiLgeVhgkLekq4nV
hA10Y/VGCRRpelYKPDvGlWbOyTMwqJ/vRtgIFy21UrHad4Y+3myIWD/bJd/Nznt0TghYFyOcfTIv
2FvxdOY0WnwOU16LBisDq9SLxucSorpGrBjYdJGyCgKV5tXZV1sBqX/qOw0BRycRGTQUNTyBITKd
kQRly5icP8U+hGC3/NtYa4Q27Y93XaBfFYNay2DBdMhNaCioBH3dkMhpDO+zJh0L7staZtPsYY0a
P94cnRaB6MPSK7pJFKtrDi7HsP804FRJtFL8qUaIYXXBQObHovMreAb6Ks5zY1ReQUGA76C2VRf7
C7YTKxj/J4L4I8nTCNUQYseVkr15jqu5DqTReQyqzmOQX2yEFk0UStNhOqxhVbfhPdqG+nr83Yaf
n3u04Z0VHJzNBf3QcvuZ/wEWg8mtPLu7lm5qih3AStAeobABut7AOjlysQZF3tMx68zurNVqU1+N
d/JNHtNm8KJJYZUuYtreOCbNIOkzf4Nb+9Ddda/tK2FEkkD2e/u6+lqZda8YRC4H5Jq+qBZqd69u
lUZ8hapxHL8QDnnzjsO0Grz93U89oHslgiVQjMQTgbw2lYRls5Ohe3LD60S6hLZTwSb60LRsgRN6
Cs2ozCBo3atkExbtpnNqiRpBwgFzE+yj9G8fqSVaJbjQidHgberXJbLnca6UxCVUj7DdsulcCBSl
2am6+oPvRWZDQRAN5lezr8LZMDmxbesdaUbU1+r/gWSnz/LEkN0y0FmagmsD3f3Td74cIamfDrR6
FW0rEqy3hO/v4XlZjW4t+jrwLTwub8ik1l1Qw3jEckwUW6hfxgGpXyQoJGBQtY2eehYq+FBtFk+6
OS6NEYSkQ5MaIekBd0UEnYId+fXDcg+p5AsGzKx9d+kq+uLm3okFRRZtkhyHEMOLqSSSD13Vye1U
ulw9hcoFYX9PgKj2z3e30fs4b2Rf6kEyVgNRPZCI5+ZWGLgVJ8EpS3NfW0M2pU5QLCFl+8jsg+AE
cVcdWrQXsZee+M6Gc+dv8ix5MH0vdj2+MHiYrbloNKaEI3zCGFJnl0XuF17BtCJ2Uw3qbB9uwNGX
lj5+Q+vQubd2PJpf2tTqCp8suLcqeH0dZMu4QiyfgPYW3U2PE5QnPSEVP5rEnDQQJq4c/pJqcmJf
cWiMRaAX5DDFuRLjkPH5wUP/4O8iUwt666eClwxEV65l7mPr4PHrBAshdL/jrI0gWjY4+p8/Un2A
xzUF8RX+/k4TXDJEdVBfNPOGoLrmKl5irdX/UwPyglgEAxLOtV97Bk3UEcCglb0gT0Wk4UrPiq+c
xZZtjgLI06vXQOqqumvFncu87Q/T8q/UeUDARTxveO8b3v5LJkVdVSreDKkd/Ga12ULVmU0el6z4
YnYbHTW88cdogeM+/deLgs0h2pznSW8BvoZEzTUyL6SEPky5yz38/F4+oEg1nBce/3UbBuDSR/EI
tdqCOCYqM34LJGZIV5NDiIKfL1EeCF3iqcJFRRHZ6xKK2Fh7rhLDh1a0PhEN90egUL4NSFa9VZUm
ZNGAk39TOFY5oBDvS6h3fDMQpOoUtnEzkJQV/5kF96dduTiWtbM/e/dequuWAPmzgIODImkiitHw
DCQWq4GxEGgXHUFyxqz4JbtG5NpbBPUldXsSYqqwLr8/QJ4hrNxj0nWAgUQx+f37BRxKn1UAMxwj
jIFfKra4j9cW8Lxpk/yAcuRk9UnI0xwT93Ekn06WeiTXX86XlsHR6G80CqkOuyOuUH4hJ1+j3wFk
CvA3jC5mzFdg2UEDsuDBDj6Q4qHcMWTFkidvCy4IdhJrIQUZ3KA9vQCP7SctT6mLuo+tczTdPcaO
rpRO5RkwBeAT7sftj8dShYIUox5q8E+skCsPt7jMI0IXADZ3IRf/qO7RWeSJNuDvYkhgxUSou1KO
m3ILuFmKXAab0Z0+qhA47A6Vaip/Ay2GTKKfeEIfEmYM//8GhRxd7MF1TBzpf7Aos8lRkO1g9Hsr
dOG2trWbIu1/fK4bziu+IhaY8ik76A5mS55tgpUtoiUVLDUvCQERt6OJ3dd5qaYjfCTTlzIJCF6V
i14/GJPIW5cftoGoLqon9vvRKdOQ5vlr9LHT38cL4W1G7vi3RO7/672zqYlvaVvXGT7GJf93G0gL
Me+71vqjQMDIkCcopUgMAfeK+yWDAFhcSX+q+xv/j+sGHYkBIPADf+V3ScCXok0PnjxtTtgUi7ag
l5jB9HcKkuqOhA5Y0Sl8Ei0U2qRnM/0diaYBHRJTXw0qQXUg3S/sOqWBqmd0lZg3x8i3kh69sEz+
w1dQCUPmk8zonh6ahem/uVqXX57h/OBKwaTEgOk2dGNu6EhqAhoMkjLXvBLtR7SPWB6NLvdIGTZO
Rk+IXcob87VI05Mb5MR/zUnibNpvclLoLxMvKQQ99zSvCXdH0FFybBnodeZyyG0a5ddPMDFa07Jn
5E35MHhFU67WVIHWgCPj6y9AFkw6zzDNNNNyXAR3gDJ1PVqQPRA2J4CFDWEPml6/5A0x/lW6V0oS
h0hBHZ6pJPDXNYWIiDSrKicJaa0Ntv+IFVsM4wuXBjcLXyR4to9OxV8z03jzcDxWfYJ63RIEy5qC
Zl5KifJag8ITSo/dtnLHeoanJRoov5/ClsjShDHUHfdQuofRf2WMNYx2gLOwJzdxRHUU5EO07sIe
p89K79IDdUQkQZxCEYO3flw+l8Mn6lCRiWpxnsJGEVBUUO19w4AgIlirL/RtohT0kGMk162C0+e/
TGSB8c0jGIobcFgSr7yPr5PGAt1a6toTZRSFfNrp3SS++yySimA2oN2AzFGswosQ4//NiiO3ch+h
zNp5xXsWDRjOBGDuuU1yJ3p4twTtwMSX2M2ai533QVG2qzuiPEhxXd4yCBmQ0sS94h0TSbBqdyve
ZPQnd6/fzoed7CFMW4H2R4ijsyw/7Qs5A+LL3ilWz60GkX3uhivZ3e6raRLTRctk6nECn3gmx/ES
QrXmEqEh4OEU1T2VcgsskoTU++jMAbPELaRS1ge3jH8vcQWGOWNL+amiZRFDsssxyy/4k5FmvNJb
TUvSiCmUXzWunWogAAT5qloIzoZNvFC0D9Csa8zpF05uUfK9aIlwKS64UKcfif5J/A/PrnYnb2/1
gC3TdDiUVmgNRDrmh0K1MtxnSEZXG9CKTyB6o26j4FWDg4Eq0TuR4YB6dPixA0rdhNnIM9SbVK1u
DOo0Ech/ATcAQTHORfGgy+SKZbyHRezpoN+l4qkKq7nlY13sSaITdObFzwspDBE63BfVV1GP0D/k
rJffLcC0TFP2op4eHcg2OWkHhsx3h53kU6QomKpqJ8gwqy5wemywR0mWD9TeKNeUKJ4JL8Hc6y3X
fRSLFanzZ5GRDABxdUwtcfl6qMJg3oncdDqGTwUU5te0wNJQvSKhDungG3jPvKjn9yTZgDgBHy7c
ph5AMClOKfmQV8ZhJjxc0cwEyWEWaxsvVZqk3Pyr1AxaH+rE2qSGIfzDYQzTKFoDgx+q2rmWZCZ6
OpZ9Cqvepo2ozQxWMV/rMOQRwsmQPwlmb4JIIsl33peOX/jf58Bm+ThhJAwJN/Ggu/xtjduKBau5
VpS1spBiwtZtgmOPXqQbKKsJceENuRr80NONH1PIwtIowyH6B8IOKIAZgCg/YLwrUrJS7cprEAvl
k0M9LVfq7IgSS7FJiAcXg8/WaZGreY0fR+zN6dPak7ejZ729euN/B5dHfIKl6d2y8adTHh0zvySK
8ibYfpCGo0pSsrMbWKKj83lPhlnXwg9oMgepCXOvQWus10uVbiOSIZo/JIX4VKogNp9NkgOU/2o4
rvjLJQkZqHcJUA0uMmSwJeYQdEExRhlcMohKqLAPLv4aa0M9FHkHoe1VO1ZmR3OzN8/xPWdnuGqD
p+J1DGnpP0RBWxVUAdVUYh+q1Ac0F8dKb+SgwHJwdee8Nt729hbmUWx4lWf6iCANuczceYSzWJJV
v9zIZ9CclUbbOvCQBtBaBX0BDYZ+P6W8meUJHcwr/xrwDEqeRS0JNKtAFaSPNmBDvx7Lw4ecFSfN
AfSGggwwkVhyQPS9bDtauGMAHfMlF0ydj/ksK2LGUNq0WcQEeNYSQq276Zl92P+sjRT4HbXyJgJC
iwCr2S9yVPZQnpwg530kGHIbSHgdzWbSnkEuRJAC8lEXcLU62JJjwqVw02UJEmzW25VgGj1rTtZA
epm7mvvYKiSLBbBASFGP5kqo4le7dnLNqWr4Jy7vxts3u5fa8FRNnDfcwpt7Mwk3zmlnVfvFcURM
r5FL6qkmJhF3AZB0sqreSqfgteSe5FJnuilKCYLO5oajDYdELTfY4L7SQ9b2pRBuYFRPkSDMwjgv
OK63JyZDCYFX2rGiWACLAzQy8GRUvrW/SMJ8UK860to/dh44XHBHOpv404K4FQst8EIAW4gYmGtC
efEDv8g298ZyAcZD7gJrArNVo3RHgQBJegNPQcq8hbDCa6mlX+swYMjO+MwgYpgVEAqg4xwGoirO
J0TAMSx1LkHmju44yIw5VcMJG8B1KPidKVr4ml2dfmOUdlgXHwGIYVxD9A36VS+YwdfZR5XApAyH
b6kf7+4WErAcR6tXHRy5B3QdkapsRlN09on1Wa2yGDfr5iu/UO/URtlikKH0tiUlbT831GmmjeUi
9V6h9Ro9Z3dgSU9KKiPDbry8Ehjssx1sez1atXuvFk5EaJdQEN2MzDlZJb82N320R/7O9D3Ji2R/
fKX455lzc55On+wt74pyI1t2j86/1BJQEpIqxwV68sXeDRf0Hf3Q01HNWPNwmGz+5BlRICEJqY2g
mLxO3oOaaEy/KZGmVt0UfEj6t6hDtt6tY8mhOthaUO/ovJdJ73fa8IBSVcBXFZBhkjZk8xcO/gDu
9I+iLIU+/CYP+dij05BHCoMEnUjcYGC5R4qHd8xJeYuybSC8VBpWdrc0fMzy7x6mFhU2vm5dgGzK
cw+B6SaOSFlDVjqBg7D7GBwUi3hmyIQHBcQ8xwms5RieApZKd3N33ezySuYoEkj2evaVCNWA+wlx
iu8H2tPNrkjwzKjHKbGkuFtNcE9ePFKxcIJyFtcP+RnkRFSeoyJImlNMTxHL+1Qs1eTH8pXh607+
pgPVphBT4aqoPDKBRN4mHkTRDEUVfKmumDcVWlcOBpM2jBY6vyCbQvI2/I1/sCyIHLXjUZ6rwTGa
1bioEy1GfA4mibUJFRnUwqRR0yYoOiH/G0KIHUAkpSY3ImbhCL+82TpY8XEcSXs2IzuNkA7uGn7c
hDj3D20WdML4KBy333DEnrqKzyUH0wxwUmlkxLnz+Yi1xCOlLlCuwS37xHd0QVjDaY9A9EMQw+C7
IM5FRgNhHehoWiwB3wz7Oc86wJMMAgkCcRnwgWv097xMr6jOcZh4fhwVDX3jP8wnwbBK1gvca6XF
vqBirnmVlGIqdMNZ2Kx/w/YkHsDv3eAyd7v9dtxeD9s/k91sA4qahgQ9SHVLsIsNBzxh7/sEQRGi
9TdtW7W4ybEMAOrIWckdOlkm/gv2I/PMj2had76X/hhXSVwPYX8wYFrt5Onohct/3A89I4yRxFvA
b4n1DQCCvXyDrgwHvBfTL61lBSB5QYcgZhhh/lB1rgNs9JSFQ1WAEZRrO6NHhSQp2QBcjvrEchtt
SQeiturtO4xrQgBnuEH9i4BCyw9LM0/WiXpx6Ks49Kv+6sNr6sgpcbu7XwxwdreqVsNdpP5oJv1C
CbjxLzV9NZFVjGs4NbqoX1t55wTSs/W2eh4UQBABGJjx6I0UpGimPv2jxKy5wp5BpL+nPu207fMF
eNZD3AFcXr7Kh9air0v8BhMKgIgrQjA3lsde3AJYFPJmcVq4cveuWHu9by1XIvyCsAffyPXkPjwl
O5Lh7MJBy3dE3oreTIi0SIec11zGLyHOwNoIOM8SBAnsCHDt5N+DPdKdqFbFgrSpGKZWB1oE5cri
va5ecKx0+0t8rJhN2m4sx1sezVa1fQR4fx2oBwuSoaBeN9iSxyyh1Uypi1Y9dlx3WGB8IfjHwzWE
UqH7ycoBPf/AUnnCOCoegpEXcr55V93pxxdh7wPtUdopl6g6l8K7FIGkE692i/T2BdwnSfgT7l9z
Lg9CWpwbyJJV3/QKzvM/D60o7cndzTk8cszoZcmi3cNiYmWH0uUXyo/wn46UCBTMpyVfjKgpUJ9C
mEK0Qd1J8fleviRclMybbqNtJLSP/jAHJ76N5iLHgOHlF+kV0QGIpwHYWyzIwJJQTw1eAMZxLoTM
L0IFtTwoYPsC3JUdGsvb5x88PBr5SWKmXAeo96HxkoSmRTJ+A95jCDADYYJIIUYHRVBGMdTVke0i
a/CE4yP5ZvG6NEq06XlaNCO2IZkNBmjOamwxcDRxtRu95u0kfLAODaIp45P/TblJDFTo6Hn7DsWw
ch1xr+LtCMgSFdeXnc2IPuieA6YJACul3z6tbuDkIg3MtCNbuSKLvVLqRTDLIyAm7eOFS6O9saDR
GYBQpkRmJu/FgG1YyDaUyn0Qe5+yiFa5w7rCxjOV8W7BUOW7G77wmIf8dgyAH0b464g8Iov3CQkD
xn508g3giyhiEKWCU/SJPqs+WhJ+j/+/5S66NZI+hJHSIuukPB3pX+axGRSUBSJihK4F/i6o+wX0
/OBUIzEfB4LsaZPMtKqNC1ACmbMyOuXvCmIBLn1C5tL8IJP3i/HAcM4HAwG/weYOcAqxJ61vasrC
mKMOAq7k925PH7xJRPQ7+HAKQ9xINfF+B2l+51RxYJfsVE21NdwwB77yhwU7E/A800qkEMk7SWkD
4qAa1RbhqkLW3DQvl5gP04GfwEvEodRDM0hh9b85pL6yzJT8asuNaDqbjsStFS4s8AGD51fdMSP8
iJkRAAS2XBXhFEbIIbSQBXWLDOUK56IStJ9+yt/pSoCSlrIbKhSBKGE5PVJzwe2gBNMMFHsQaQ71
GhWyaEadYsWRe3T6K/aesaJz+5VPWa9ZgQl5BKPD59GRrYeg8qVofJ7wN8zUWJ60mJc15zsHr2pA
5zk54ObynpBX5FUaZEMA7XhCwSUkNUSYm5NDFU+gngzurl/qUrrJSzMFUjTpHCkkUkOiN3abt1CF
V5CsxCJOlsMSzFpF5LQih9V/MB0eNHuqRZvAyqe2kLilnhILokzQ8ocwSH0XN2HZU6JC0TpBS0hE
AbcRSiNyDznZgA5Um7X0xNW7SrFSEeLAsBLUj3dxwFg2AFquYIjABOTeIS4nfAV62hweQaMkwVUA
1dPyIPW3OpPv5KBQHpDNCWkJdoE2We1a/Qa0DBm2ByhjaexrU1dtbdfwOKOfTPgmhOfbLazSV/QW
GsAPWjd6jVbzdpElP5mpEx6NpsFaboMt3VkbXbW01eKqZfTqtbb0OINXpcY2h+BEbekUvGfFQ/Mr
5xYBxkSDgaySSEpkoplitPTWpnmR28W8AkGFTlxksY2YVpXoVz9LB6rGso0CPD/TL5aHGShHxgwl
m4wRhVRVC0SAfZKrkpFUjw9NlhxNKnspi/nJV3Y+TQtacT04LFrRevIYCn0rVQ3/v+X1QpmQW1zz
5IDwcZzyfCrN+0ObBYT6Sc65FTOpEH0pMmDfOo7GgYPAa8AmYyKV9xB/RXQwVv0l81m/yM/IlwSZ
e7k1OZqVkrKslD5OVkIYVnomhAaQr51jdgoHqEoFgtqN8pmqrYi3AAdMhlDQ8GKNEr2HhaFH7zxc
BGVT/iWdBXjReFUamkWWwFvC4bgBOBAc5m3IgrJ1liC8yaNobdYbDZzRJc8bnBXPy4OR84TLxBir
FhQYdaJYdIzR4ufVb7Zrk2RW/y0LWnabnWeVi30E0GTZNfReyAZT189sCpSYx8Ff6ze/451fCnGy
32+ncwqgW7bceafD2q38Z9n5tES2W8Q+6chvZBKU0sG9db9dyHoiKwvwLR9ZnVU7c1KukK6+O5KJ
w55bgTUQE1INnLSGUu+rMiKq8OMKcjVlNFCvss6y13qmsOl0RYBrwq3K3F0kc11Y5go0ho+r+ywT
ohkoIfx6F8NkRmQKCdTW7aBP2LGarQjTX84M03qjC6gECxNSOBkBErUNAFhMbsQDhGoXbkj7w3iA
q+dnrzCNsn5UF2DT8F8pksJBv5L61NoscP6xU/ArSUHwNq3ZkpBRaYBdxMCOC0sDvQKbw2uVhCHX
mBPCIHcVn6Dd9TDWkt/F3q6tnH5FEvHMJ6E9IqQ0DsF/RkuIJga4jJl2hBWWscc29+xZpAS37D1l
DjEFlDoR+xIkNI4F6cEE3Bi9CrU4rAith/KhOTsO6WVbGPK9mEM7d51fJMBjSIqTKhjiqOZLAWS0
Hp54DzZuLoiDoIhyaz6EHeIoJOw50vrstPD3zfa7i5LHVEzO2rdaWZR+K09nMwIkSuP7bYfGuKA+
qhEPWoW+AUZ3qhhLGb+aVxkb9I8stov76gt8/hmlfgqNQ0x8E+GKR66e8cAQbX6Sn0P0ygn2NTJm
DbJThV9Mnn6qXNo/L/k8NL3sAcFeUiNmThQX50OPU3T3KquPb6b2dQrreXXC1GnMaooDfB8vOman
hovdOXm15TPx99WIxG7PWh7iHZhFMjozIJp08Olykv2a4QHWjpow2xdOudugmwr4yRkFW7X8zqvE
Kn5SKK4hACk3Sd5VtfeagyelkU19VO1Zgx2u9PnPpPF58TDzjnZiqN//a2usaVZQV57QDYu2KxKI
2nSNlZwcLUpyhPDPZaW0mj5h2SjcKDqoq19OcyRfTUI7RdtfoW+MPisPReNbWI9A+NZ1KjtuERak
QRxYaleiM2aaTiLwnxUzvjWr6yMe1zHq/LtfiEAVF0UTtzQ7cRNbR1JIZfc12qR2NmouS+CeL27T
f4EOifbf1rlNq8Vi7MrZUNEtyRN7/Bw/MTA4xrKLMqoypPpZo1teyoEiyNYnYgcmCMEeTTeqGFgn
AiOJruS6RwTfxI8MXhx3rGkRWDJwx3Lz5SdiNaEZFwUfqcfI/mgIyMFFPYgGggrIFEhQHcdcJj8P
jJMVlCjUqThU5AdgZCAsqq41qn9Lt0LNpB9ENXr+zk3ir0UOnnCX1UIH+q3YdYmnJVPASYXEDL3a
K8hC3I06aSmMwXqMD680Ni7xNtfO4TzkrN4oaY2ZxuNbEKkpypisv1hN7LZod/1Br+LjX9rJDw1g
daTaRKneDK1YUgdvhlBBnjYp5kJGDQm4FTPe7Ky/JXSm/aq9vAWkd1HfWBr8rP/6aJ0kPnOP+O3h
7rtm3hOHZr8dXVGTvWtuaTU4dstOLRbvqhiyZXap8Hqplm5b554XH7TmiYlG4hgzqrBK2zmuUFng
CCSPI5LvYSzFnWQovlhatJqYb0JpZFQ4aK29SmPnaWI3Txe754GCcq5r9Gqp28y+06A0lHTE9uss
2ma0aIvif1nSbZRaTP/QStosGEACkugVv+Iksno1ejpUByDBcgjfub2dHtLgeXe25ELs0+RIUngP
1wInNQ0fIIvfdm3UnGzArAG8S99e+WHYr5K36/LkC1uGCwNk/Rq+WHt2zgXKGX0Vdt7bnj1YJBmN
bMJEKVTARVbznKIYK4ElBZXQ+ZkmYxLmjb6BG+BzAjSR8ZKE5oAW7axhDJGjnytLr0GugaxBXcea
lXql3vFHHHvdlku0CO60NkfNFuGHWlwnNvuXP6iSYdiE+Q2/wTLVYNUNE4VP7ObCpcIRO4olL19P
lkQ1UXXZes3LCKtINPfSlmn++AveihyFuqpLZCLlk2WO7wN9zaIkbJokMXRn1URS75DboI5K6n6k
r7Jgh7HM3Y6ECIaQMaCGxKRG2KF+ukR36kqch85C4YLMwK0rvAHO1tU+jZXHkwwwhYykZzSD664r
6uG+4TbnzBrpT5lOFsmtfdEqRCeqwYUVwpww6+hS3F7KiJy5yvvu+68gwpL9kMcrz3KPYS/8eKtL
Wsw2u/oNN/s4axDa3vOX6Ltae4kGhIPN26V7q5WgEOjCZotpK51errsOnSjtGUDR1Q2gfMJcLCo3
nBrhKXi4wfkdvGal4W7UKIUVApeqRF+qjJ1lEldTyPUYEORI7qggKXtGD+Vfo/2KtB4qUVRsWXT4
rfoZ+VXYmfww1hgoskuaejQLZP1RGg71Udm0OxdPXuCHr7JJy0JzU9NdpkUeplxXAVhAPxGjA4sM
hcF/g9J/Qt3A+y/8bNH8ZF2VapHjB9IqH1k8S0xCA+AZJAxU3BQTlcJSqPauB0Ry9DG6CfN3LM26
0kh+gVbCFwOoiBd0MaVncsHgFZsZmEGjI39ChlyGXVuTWroUD7RDjSENk3wc8ExustCqwWgZUNkM
xLtJnQgsz8rExVWPVrmJwppoW6oDqGKSXKkpv2J5kozgJvUBM0GoG4mkqkZ0N6/Sq4+u3ocWYwVZ
Vfpgyc/LPyAdJJGKp7dBVgBtKo5E17bIT94IDAg2OLYXDqDyE9pAisbPiQD9EkzigAdSnrmyYl4n
8iWlyqQjVS5SWUOBIRhvstta58RDkyASkkhx8ThEh4h+kE07M90qyFPyiq9fiMVec3mUEJU4l/p4
rgC5gld4nMjB1UcUH4TTO1L0fXWkO6VDoH21+4HdfJucRmofoINj7R8IlqOfODDUWVWtKfxMin/U
p3VqNxJX6gaqE9UetTd0w79ZQXEHlLV8zNSiQc5zncVT3ri+9tHNu/n9pK2Cbt25rXJoNRDbItci
VGsMxEaGl2IPdYxLalcC6+RDEzRmnJbKyoCRSJpyFAkJYx016kauRCvUkrSedc3MNbEcJBi70T64
0YPJIGdg1b20pTVH5F2li0QZTyg/JhwKGaCLR83DFVg79czRBS6qBaZALxCjXFmIRtTgrYsIPIP5
pbxFkdnR9z1ZHm2SW9J3ZXzIEZKMUqZFn6UsIE5EzsqnfEDCQ+gJ+BycEFETT+S09RVHcnUX0Am5
BJWBVh9Ko7Q2UDpKsKQLcBwhlblGXB6Jv/epHdCUE7gwgLJ6N6PyXItKHF6xUX3AcyNKCbWqE678
90kcDEdJ/oXljPwJNUQIZp5RJ6OifEoTtEUCwCwJdjOjW6PIQRMrDjhPqCVcODVdSqnuJlRdhRgS
GAOynTVfrATdEzux4tQAV7VT++0KRKmDb9hl0QbJuypXZdJ0qThjJeJ0ykJDbbsUiVUgFvpeOTru
jwCDhIqCIpP5OTr7jkk2s0VCaN+5LLk74WOm9mzK/xV3TZXglwNliKhTe9VR5syJGJhKoN/awYwy
DEgGcsEA7fNhIZADFYN8gAi2UtxKDW8lrxSE6idNqaXaaowFcStuPdeTm0jHOuGy+m0YHMC2VfZr
EwCrQUV5fpkeuViV+BjdgZ/deVYJRjEMj4wufijyiWrbJNAiENgccMVXIZDpJLSwU0qYjnV03iTF
UEILzMR7fWffZ6jNvfomOpA3mF5/m0f3Drp7WN56i96lm9bnwCS6+0a4PzqHKnSn2+krfaNdEZho
/PaO7esi5qfdKXiW4tLbvvYtRIAWdh1jBgSnc6yBEk9bi/ahbDeezu6CTsGTNADwplO/iSteaTfg
YVLpiZO5sT6Ed0Cye5R2m0TBDS/ZwL59RvdInMs3sH0NDs6F8aAT+xFXTiBqwY9FDroMBJvbu1mH
R2CGVmjmmyDWIJN9a7bPiXh7nw3uKOVPkdtOHWFvVTC/0C+Kvhp0jlE+YdGnGiTcx5GOfdD389aG
UJDZHqFudaEmscf9tOjLapXsRl/4d41yTeD/QnzpBBSaXgJh7WNQEmoOq57HYLbzJGchyIASEwIi
Rf9EJUJxdUmsFpMKMBGbJpM2xmh8ngPnDO7knlPoJgJYZZAbCopDGcqDtrJfGmxv+S/NwPgr+8dI
ENkn5JWn3xiJp/JxHt4FJZ2fB6yWKrmXfVT6hj4R73kc2zXc5xfYGVlaPTZjEShA2MYZLEcK3VSq
NW+aHJP0fTRjqoPy6gkvbje981GAenG8K3Gxb4Ew7r4RXOeQ8BIukmyqppHgYgu/6ciN3y0r3UpX
GMZNUPUqaJ6QJK97NdeAgSeev34WjEhb04GPR1dn3HEzurQUEliRhSkD65y20tYWgGdHf6nimhAV
dqmn4nB45S99QN358EHb2QKIF0aLTLseOiwhb5TvUWpZN7uY0x/6VusZ/a6/nNeqEe5JtQmCgBkR
KAqjw0P+v4zTBtOjTpBkxx1Ji+iipDSkrOabbtLLUzdiAdd1dwRh1oCXLSQeB3oxybkYBkBe2CSM
8wP0KLFXtD3bpi9utljUBdK90RIZQvQH8TmzyeIGvrzcMltbr8Y49I5bgBomv5utO0ob0EE1Sw7e
Lqc/pcCkRVi9QFDXBhmZjLWwI0KP3GeHidw+EdwXZBs+/epY/vKdi9+5uO/hxc38M5mLQn/RHJiD
m9f4Vgr2RCqYcNypIVHQ3NpndE/DclAiW1Q8UreGL9Vwpr9wNpXJuLjlLrtid5/RaaUd67GYyH/M
Nm4dOYfQ+l5MMr+hfrtyLaXk9UvNK8daA1eVpRAEn9wv2QUyD96hextng6P//P1MyuEJcggwyhsE
83r/2TrfYGaUG75huc/WruqW+u+zWyGSp+Hw1r/ASizZp5iehH7J8t83L7d4B686rZB3Mwe1JjWL
TxeRDiOTRmd8pDKT0Cxy16OHVF4MHO44nNCqOvWL1+hTcTyTDS1101YVYa1ug0X6iVyC5Zro9oKj
x3ZuLHeReDXT2VN+PfiPUn8Hweo+KY9MwlJEsTC4DNabnQ4XR+cJq9gK06DcsPdl1zLQjkh6T1Dq
W9uYXKOGf+lmUBWhFMM8huS0Hx9Kw1NngVzBGjhQgyxJUPn9sKI/7e2giqP+mZeZ31QNWo9nWAfi
Bk6OQPJTcghYSkNgkixrDR+7dx2Vug8Y5r/Z3a/93lnzNoCSN1DerF/MGDPyEmZM1SyE+UZCxsvO
rvV1meEtTKz+ZlIZVrqaHyR/X3gIQtIAW/lgUNp3X45KG0dlOMQllAtHAoaMPfmjq6NS6nB4RJKH
+Y4pvszK/XJvN33O3/Ptz7ldqlKau/kJ9pqJTIH/OLlOjt/PSTq6DsqdKinPaptWnCgkb+fbeTo6
Dy4jfd2tdqv0q/aT/m6/SvPnz53tOES/8tC/0Y7zFQlmeo3Nye27uXyvn4ymSXQcVGb778/yvD6u
9+tsmS03a+vrtDzNcht1CdPWXsi6sl3qqtQMhQU7b7niDyfYxiqosCPYsCbUDss3oTud3Ub46lx7
Fcu+9q6j555+WL3m3d0Aoe5YLT0enVqo7RU0QqHX39iPf/ZEJjjFLU29GzTJChRH8f5MhCc+tNaD
GACd/No/Da/jxQr0WXawbyTwaAeGX0VDTLOnY5MpToKUMl9lY6dhtXtqnSB7idqb5J48xcfYaKF5
BXBXui4WkixamMrgfmvzJroTj58SghJVdE+6z/Y92oU72Oy3aNfddvEhwA0l43SaTSWgcOgeuvf2
qYsKg3f8svwnzpxWGTNKGVA1vjJrsMlJ54UlHNaHVl9L5Z5DlEmXHExK2XbDAWuz3CT6xNuc8XmZ
Xqb6oP14O0z6Ox6LnhF/4lfKIHn62V/2JxqavHcyprLx4WdGY6O8QSxhA0VLpjKQRuVFP7Cebx2Y
z6Sl+uW+lujDssZIlyRryjjPjvmipHqH2gCrsHkNlJAjvUX4JA9A8u5Iff7VYnWN0tcrWtD3btK6
xu/OpXefwHcYbXuLfqNf6ze7NXx1q5/fgPDBKi2yo9Jbm3Fz0BwsejtaVu6gt27ZSp1t99iuAH1U
fCIfQZu8g13N3uCJm0FqduoHe9eY1/8+RviusLxMzi5wLrhT6hdKb0K0xjTpVDnhQsyU6GMZ7Oz8
ZGDMbpM7UeBlJI3YKm2jRu+No/mjwzaWn9l5/Zg18ztk9YkUVChWgdcIJS1+QRZcMHeVhy2SX8Kw
XuGZH7nHMGOhuiqNd4aoiw+R2qer0zQCvJX3JsAOfXA9hlmARItlP0tODb2O1t5vkJOjwoqnZ40W
51AUQNgLsRmWW3e8dZJ07uX7Sal033+sWSV5tkSmDXu3txNg5+7TcNKGZ91a6dNJlkjnN5zaPi4Z
dpnYvx6WKt6CJALlkKpzQvkmTE3/CtPTCq2Fy2/TBm7DnULvwiG5Z5zCrOmeqft9I6cyL8+v0QkU
ErS+INvbHPiHAmK8QWcifqACFxx7551vXNG6gLkInrO3WNau3ik+xKe4enZME9Fk1/hJAUHg/UMQ
McNTzDLeqAYnAvnZacL5W1m3SiXu5nyeodmyMpsTXFDWGN9b1ts9l+27FY0yQiCnXLEX4x0Bz875
mEx8o1Xtnq3+terIY+9vzn7zpzKobJ207p5QiWqWnFPvGlRnRphu6QQMo6DSqswqs1ca1G+gooVE
koQtSbZTXyAmJfKAY0yt6Wt8G96Hx6OtkU1Tt9FpZMyS78/sOkGqifVksmvYhOTMKNqH+c0ZyS7t
nXZiKXItfIjBS9VYHMTA19YXRJq1dhGJH/Bo1Zgd1WG1S0Y4AKeR2vXJeX7zS51GT1Nh0TtH19ys
VoBp4NDi1tYHWe4mFz6Y7CVB5k89KAPQLfsmdguZlxKmq6ThZiGysYX2LhY1pFDR560E6vyHTb6X
CGaFy4Hr1lgVMZniWyhEYFMZ/CUvnVlfd4tlSAEpiYwmturQugI8kYXekHSJzyxu/cXWLVtOtji3
7udG+CRftWXWCQgiX5IdTB8xLrGTholTBnmx+zuFYMn9m29hKmerrb0CwbwHt/GI7z7aS3DRM6/R
U+AtiDtRfzO40BEJ5GWsE6D2Q0OkBZRWnQz8YPixvq7XNVJ0vh0iK3QmsYKH4lZjq3cnGie9zacA
+mw6ffn+QQQntSU13k20Yd7K6FYCg8AQ9vRwhjQBIjlzlnMjVkihUEW5ied/sgRcsPkOz8Lb97Xy
bcNSUONr1r2PGOCPNasr73ePY7H6hNhmfRLag3BMtdQzxVpMknfO1UizlrIZrBStNLcjEhmTwy3r
Z7K9PDDUoHCK/JEaAStk1p7FlVbGgRp8fxuyij4JZKqBuRJ5+xhJ4IhL91P2JROEOACrbcEmfy6A
szVJs9oatLKQyhpdWCeh+0dJe/e2k3a5p63SacD6VwxTnIHKGy+OeDMxvxrjz7DSeRB7ZW/Ijapi
GIgHEIyxdE+30930w3NJdG5/iKnEKT8i/GD8j6gz7U6U7ZbwL2ItRRn86oCKoDhrvriiScQBccTh
179XQT/nNNFOp40D3MPetatqwymS5UH5T1utUodnUEGoTh0zz5nFuJXzgzwu8OXGS6bqEV14Kz5v
BWTj2L9+X791ZsQtLzXL3NCpe/+dFTm3XrjFM2V4WSOhzecDvWURqWiYGO24o6smye2z++7iodGT
S0RlWppkQ1k0fcKEtEWcdV6/0eeS4VIiyqVQPgCTwYHZLbLcasmCgPzhNX8RkaMe0FFZHzD4RC/A
TT7csLgkSsnJQ4Vvnv3vPSqtVSrFdF44+RWv+Igt0q4QlKRb9pXkCobSRyqQPLNrTzKFqxRj8uy6
PLx5ylOLXVM755NDGN8DWQCGMXl4UWvh1sdsFmdU7+mKCJJ1EToq3RAlbpDgUPojUtbGDWa6TiFL
041nLtLAYk8ukr08oSNxW80Vlsk9Qz4YV3/Vq1FAMNhc3M6REO/58/w508OXf9qds1/cHoNyqOMT
Xn0THLRn9wgWB6fhaXgcakQXGTzzsf3YYDIRSNaYBEZYxtdCGbrTDgiVQyMEO8OddXNgZJXzE3YJ
0q4sM27BDSRtth9ls+PoOLpNHhOZe2R916uAxMioKPU+vyAvuCZhH3YFctyP0slxdBqlEX4aXH1F
s1i0tS54TKSe9jWzdw1LvXO4G5ywO9iHMlizUOKvsIjC8oTjgZ2Tg164jFm/1YCL1aOG3XPwUpPU
/M4h8OeKeBLwx3t3EGQb3XO7lCe9UqQf/QIqkNV10vCIZjLGlUbcq6edJAHfuQMVVMEP8PqJ7Mmn
bwfPaNXBt2AX3P0Xo6E03rbsPfBMmkM0KyI82R7DXxu8JJGJxzDNongcj4nwflUK1gIvrDOjkqh5
uv80KFdRbiGeESJS9m+BNhttN3Jv0gzSzEwBs4jtt5vPb7Vz9BsHs3H0s7DCIOidfFShuMW5vav/
ABkDHwscn/NMxHfjfhsdJmA+owNrl+G73rHjetXgo2ExvAzSwY4FdFDq7X2d8lIv9g8ndNucKpJG
kkSwgDnxAg4xHrN4cu0b/rX/Dk5c7MvkM7tM2BCTe8v62y313LYgNn5XDm2FquSJoAQzLvmTORSk
5WDAdd0NdJTm+6/S3Jzfp1iHIRwpfBvk91JmB1KmXozTA2HlZfqZv+arpTKo6/q8FrAsWZdJSvzC
VkUR9XleaxENjyp7YPrrGkx393teV0aiyBeTu0CkauGbTPBCg4Tv+9/1r7QpbbK/uK9g+RZomdSw
rAYylhH6QbaMOYfZ+YDYnlB5g434WTv7kmMK4OQtKrHJMIw13rN2iuucrDxKndiPfQZr78HN6VYg
vDNyGc8hsWLx5dIuzIncfi1yIm6cn4ER7QYMVc7+tQ1gU7/6sAcY0fvelrflzCws0DRbihmTNM+M
cqlXttiWAF9qo9Jurg3xRVwjCLDwOdEu5W6ctjGUf0bWuh/m9i6o/qSP4a7WPn5apHpn/Cj9comS
1P7HWaTsqZVhcuw4mzLOG4+Gc2zcTm2q0jtWxnI9KzVPT+/DVcLGc+u73R08B5dKSU7GzAsZ6kGh
8hBpQueNEPOybai4Vpmrmn9py9v+lJMDKjTAeLTPOMsmEPmrLTO/ZRMz/+7MT0Xtl8ktKVdHkreY
mauUT4Cf4qYSK7huz+g9sA4U2slui62JEgmVjSgjOoBaxl80W9q1KQJsJJgnYLHHWQNTHoop6Ct+
DUQX5DZUiEhvWnBR+NrVWcl7v2gv2P3Na4cF8QPi/K5X3o0y3l6MIkoCf0lMtZ9SP+LCKmvDV42a
J72XJu6YwQYx+IxxALyu1WCxA2ZFWGF5yWw1dMandOm+WzcYrbfm4VMnt6hxuqkmnmFdPBtVxBzl
QaldDSmHhgeYlPaqlYFyPf7K+8AeqgnrkfoeNG6OZ37w6K8SbGrdjosrWJlLTV+sVpGU1K31jhzw
07xPConiuetCGzhOVIu/fN8sr0Sacx9lcfM42Y6OE9pLjFxfoosVHXaKqr7q+udgFcqb9xjgzQtR
kK5D/6qNR95VQRBYtW1fFAaLqnTNs4iGTiBgSp538H0ZOpHRqCo0Y8VVdUCH2QVRYPtNN0SyCort
oDqJ549l8aN78xycguqwPHjC6BzCKx244YpDVc6UBBYeWeY92VpbFlwmEa0kwBBvCjpFVr/NErqj
iRNukZCUmxbtqA7/mjC86GWVDVYz9WigDGp5azkzy/dAhUhEAKw8gjSAPbB6SxYlonF2zQ1+uNQJ
cPNGlaxIBN0I94KYwEh2YekJ/rwL9SELAFo048xTjTjuXr03ah14WFzuexP+mJdxMg904XAeOYHz
3TgFD/9wheZ7pMq8Ck/Btq9GNPpQqoiru8wfM7O2qzuMV8SqSeMBwYrmEmSbi/RbqoxaHdE2NAoR
65B+csVdCtKijVS8G8QROE4zyVFUkM7lMSor5yUJBVaYSgBbqDgmVPtEriH/i9dIQVIB+oNzUrYm
HUbC8oFsIR6tStynfEy8uTaXv8ufRshpBxHXbItkop65FerlGdTr4jIxMLlQx4koCYm4GJAqBDDX
kB84TSPYo1dyIRhXQ5PZUxuroH3q3kBdwasoFf5BY6ptnjO6yMxOWeMTJCd4I+eJjvfsFGVdh4Ho
eBk8lTuNv67dDAaNSZ8KTaIXvAMdRasfTKNtRrkJ80XHnup5UU3XaLvTVlr0PDjUuUxHFMUrZ5hC
PApf1dILioessiVAWvni21SaCWKlE+GhxEk6nvCJs8GnizChcaJmLgxNBUIdoLkywGUYqZIqREvM
eqojHdUVHK6AUiy2NoJIFX/mjw3gAkSNUMex96Fmgh4f3JXfU1mk2uXi4cjEwtlSQflFwkYiqaW0
tZ3aS3eZrVfL5Pe1/nBcfmViLcRLJH1hVTnpBAJ7irfNuV5N9OV07ZEV2f0KN7HjLejyYosWgP3V
k9aoOPAfyK905p1oIQj58+1rMK/C1+ZAeQROR+ZpcdK114l9N3TCSaUgFbO0NUrDJ+qlOxUFtSLl
xdsFt1PLmo6C+yH2xxMyyxvG0DEy5LOgbw9wzfaRWCY5WbQ2ULcnEc7gTbFIQIcf2kNolANzKK3b
ndkJr+PYKB2b1qVpf12bZnv1VdBMTNa6K29DdmaqOtxZazHzn2lSVyAK8Y//5qeYrKmIPyIxiZBn
opqueceN03mCNRfHOxTABxBC0qBZV8w88f8WX/Lrz0k32/lzW6e6Uunydw3yZtzeNiXGVbiENza2
R9uIfLRRAt/KFb9Ubk4YiMn/9Ya9K4bDudkwqgMMSxVgP3pcuJHdl2pBy9Duz+hYGCp3EuJqbFjb
hcmxOXKCUv8z+Ay2M/frs9l9VxY2m8G2t+2tfJacFULyV2As4p/4x9iYf6fsX8u697vOV21Qo8P2
wB2mswr8m7EzgMV4fzR2kG64wKsv9+u6uC701J9N6jQ/m1OQQP9i5h2hzFwD+o1DPRtiXBW6bDkW
1Z1kbpMbYC/3ig77RmlkTdKejkpXbCzpHCEoh1a06tPiJVzxL2dSmbjT88L+MuBG4HPMTo4VPax2
q57SktuKdCTz1/KQ3y6dS4cXitlFaW2Rc+DOQXppZKxzMOW3nfNkS84HRrvyM1zAy813X4ufy8os
JpI6qIvi9myxLkHLOQZG7+Y/6McEuUrES62PWpdF09fEODPCLi3tnVeWtDMe0trItDBqFzPGxdJU
42+RiUyeqOpr9REbGBVUXkgW2ZJ2AHBIdduyfhfbkbQ0KiSjZ6PMkKDif+28662xSr37OqMMccgh
Cu1ROsSotCi8mhGehCD+qGVYjnLmnWiIz5bZtpkLr83qa9/duTm5tsz4eA1KDCbDgxLeTNaHtUQw
+3aN2F83SWFkCiiuXLl73deLC2Z1S4g5esn8MHcmr+g5TFkvUl7ijtRL3W1UKYw5exiZh6WhhWPv
bnZgstHbj3Pt5mNCOyN7/irc9k/wFHWGxFa8diWedJh3T9hyiW91LFrG5meJVfncrQ0sCFu0DGMO
a22vcl6xSGB0dHf9XT8fvHZ7b+brkVYl9SHD3Js9S7NcoZWBg195mnv4hfAHlMHi5q3sczveT+Op
MamOdB4YSpSa+2ZYDW3eMkQxjjOtIe9sQIL7tRWp05csI3Scugfegvoc6X8r2M6Lailip5svWbdc
rST1nNEhhPgiRuydm1dv9Z1STrV5hcrAZtKI9SXy2blL13A6WpaDpJMAUThzovC8gIY8BTSZgWa3
ITd/S6MqnWzBoVT3TFHlpCr79LKe0ddoEdaaEcApnMdgFso2PIbOimXgcMP1fh9ltClz/VOUjs5R
JbggUvxvbALWAN9Aa2M9hJjIFTp0tr2MPo6U0Sb0GJ0a8/SrTMqXrQ+/9nI33U6tkWqC7GPAiWBg
GAGISFXkAOaP0xC/iEpTVKPnaU0HcEyeKFKc106aF/DJ7g9T6qwiDt97NUY1IpJ5LecjiXqACwFa
CL6YniJtireonQfRkKiPKiwTVfdfNJChmgARUhxRaY70fYWf7VGMvSITUbP/k7YQOUqVo8sifaVU
CAU1cg8JVodiN9H40+/SnzFQsKT24CJcH+EximGudQ8RjoQR+tbESpIBemSYEkSp82dtcOgbgztO
7RtdM7l6KLLVclBG/2zDajyi7TtwqCymg4jU/cEjjk8PFUKHOBOnznWLe4/ZVYALYYUMe1kUr+6s
DrrqMgERlorRAoJU4ay5tkbcPRH6AfpFHuSO5oW9lOaROHqxBonPjhEwUOyrA2ebspXT34WrSWVU
HpX774hov0O0zyGYTSbKOqCFcD2BxgFoOly89p7cVg0nWM6wI5EeW+NQT0fU3S9FDIDgDZ4KWwu0
WccnB/eEWwnud3xB9odqYNw8F1AruAVJOcImHmzkiVOsMLHn4t7aY9n6pFRQw+BPqNfmdzJCHoPG
VAqU57fU5FKLF6rxckDnhslhdJ4Q+s10S0fJqGgeq7rwoZP9vLrmd5nrUQkOvVL4DE+Ii6Eyck51
NUSQy6ktYTwzvnRQZHkD79pjSDOLx6I6/gxPPZflWCpFpdm6vQCVJN7EVo3xWuTPZzUS9IuF/Nqz
f8wf49v8sX+2U2d0p/J2n4NtzSmOc313cOcy4sTK8NJU2bAW6pb9Ue996e7+N+ccBlbohCmYIMb5
/qVrcWa3XZiFGWD+0xN9B/C/p4q9ZqhStGRxIwR9b65/d9CV61/xGeLZZ5guzEkbl+3lfk0hlj2G
kpjTv2TgNkxtDpPJqz4RGlU0dmpe2M0vq8aWktSzzj1SOHPE0f9E1fBJ5Fhjn6f9J1nFZ+N+lYbv
YcYKNah+Vb/um/sm/bu861WLeljdqtXPJi3pmClBHN1ZnQ6jtH+MLv0MYnWp7qzUqmdaodBloxPe
Rwucy7EqfPQM+A9oPXXI6LY6Kkd6C0mPzUjHC74nezoCTN8O03fdZW1Xrn2FgvJo1AIjKGEVFdUm
euvO5BO9R8/hZ/yKSljT47TZxc4fN90aLiwKzx7ISePwBq7pTA7zyuQzJrxUcHwmv8zv4yusXhvz
T3ZHeMZReRn/xr+ffdOkt8TcmJwMmj/UY5CsMrTqPexQGqK+2zVC8juOJ/t6BpkEtUv+tfrUzTcA
a9z+LC8dQak6XpV6iWVMN+3GOo5QlcPPoExwLB2AIhRl+BIafAj/ctkGOTWHtKO92Z9Elk/IRfuW
2xP3CFjrN/YxZx3KpLXUA+pis9wNoNbscJBZcycnGqOrM4GlNeJY+V1KEmuPGAWfn3jbepwbZag+
wOH9H6dC1VoarZcT4CRsv5v3Z33/bPB5qpR9y73t+v6oGw8UUSlJ9on8zYUCXuS2NzQwuAGGlxDI
a4+X0mp5n9/n7jKdyqGINsNUHbFURykgAZJ0BRJcKSORSFjt0IunksZAQZqyeFvemWDU6uzhAOs5
eTxZ7TNiuFX7yHK5Aa0Q24i8VCIHJrsh8Lh6ipgu+CojBO6UaAMAAgisaILvSU1iYLEgxeoUa5pv
3FoI7nO7ZIX2qJCXeNUS9SrCkJBeyak6Tif9l7qEdkukHAjlkFQpAFIIlPpKT8u4XuT7A/s3QSPh
6ODrR22M7REY5a3H3Qe4qKPRmKzB3COLKE44LkbNA7wx8f/P+WCFSfGtJ1m0kr9LZzfXaOJ7flUp
oXTT/HjVsLeokxW+i6AlbZrSeh2MPehfDz/l9/LHV7pGsANM70lPrWH4HlaYDMoTtt+fBaYRo32U
9mm6Td8qsbhxpGJpvYWPMPHJrdrI0rr/3xM6y/Nr0S0lu9DF06WroXkVTqEIMWk9uOgqHCpmlhgA
XRfOZMgq5C7wRi2h6E9OFcpRi4zTYnxe5hJcFzHr3StCOze0BgXGc2fHdoiktLtvye5Hp59dj5XH
r5iIX/YTm2yTSJaMQU4Mha2B3Lr2eINIgCbpiINlhpq1yV/F9XedpFPzDh17JqjU8WyUAcUNyOfr
PrEWayWfChLA5ZpgTFqOAOfAzBQrK/S0QwvWPe3MOrFWCBMxZnETTa8EtPYZvNvkmm+WDh5D+iN4
Ue/yRRiiYPIeSPkjVRG+FoyeFydYO+OOJsfC1aREcnkkywSfDOEd0KSFTGbsjO2hO6TFUT/tK3XK
qVN0MDB/sbFg4t2oqhR1/VXXXrIhwMnH8I/wAiMHXry8ESbK0sZTOgNllauhMdBqJCkUOGakVuoa
9A7CBocIU/E0KxVvhvCWjyD5qT4YKwOrYtJziVv8WueeKzSFHmodU94u4aFa3St0vQzL9XSors3q
yJxLhdnH9XdeeYQfjK/oE2ScUqZ2sSQv0Vcp9rnwhhQll6lOxx5EYYA0GVfN59DGhTcXEarAGDr5
NQhtgX0AuSXzlSwCVhGqj3sMwcKiGZk0P0W8VQFBoK9iUkfFDYucUJ5YAOujJrA1QUH+DB7Gq4Ct
Oaw9gqw+kp2Q1MZ6JBTk1nqC+vsL5mMLfxhBJxWPYUaGemuv1zvsBkcREdA/zQSuJ3gsgpbjXTXC
NwMpI0p9rI1kbhTBlcbciPiZH+EMsVzO25hZRB9COZmnbSThnmMrFQBU8Z1oCf84+QkfmT6dXOQJ
v75rIcBp8cQcfCLhrzTQkxEiVhdqlAEiM1c2UoBoFNlzE8PUX4OncW5A0mRq/YU4c613yOchspay
CQvFwZre3ICkUdakSbGJAmqxQNEueZMLjKCJfPNX37Kp16FprsC9CNcVlAueZB7iHorPDm+aogFO
O7F3742whZF7U60vQTpIKSKAXzd6wR0zkIC6lC3cpa7ubqrURSVIURAPUzoUgxbrgGOuS69D8BxR
OPD48t5DVT49MJL4G38Ssd6sftLgEQrCmS+8ERcyH7ETLDV+SP0RKbiYBGJDqLwuKXrM7ycQtvYo
0gnN85/q1OunVG+mW5ueXHptBkin+CUJIzQcRatJGlW2dHI/4rT8pfcSu9LO/KIRCjtNneGBL9u6
cd1QJ+nfuhX3n87hS/0jYQ0xvD6YcqbtnQYjD0GFo8/Cq+XlI7kt5P/Gw0gDQQ9NMYJa//uEfC5+
KR8dPGCoqFFdRtT7UJ/rMdXf4Pa5oaRYIQzlfGxq5HNiGcnyF2UIaigiFXIHBxxppUKxoQdIVEEX
glFRiaRGS4Mn8UTezV3WsFAZnhqvT53qX+Ubnsr9iF8cogkotac+kTtxx97nfs++gqUt1dLnqwdD
2BaZCJLlA52pGpLVvmD4HL/dzePeWBkwduPjDwVGRIJGk9JrgsR9um/Z5DQG/R/2HZOA91G/EVvO
nggd7tBj7kbrrErvT7llBtNSEwNt1dVVwDxSK5wSK1HJxKG+Z0KcAhaFK3rxj3KPw5SaNltxfQqQ
i48CLTBbUbt6bbljXqdMdkppkFYBqFB4AOwP5ELwcXHO5M98TsEMd2hJ4lhlIS721gPJgNk1d7TQ
keCXMCPxUz8dPqhfrpqfuUYqV7h9CC30slA9mCsHqj/KRKR/4hldhh4pn6a9LpOaVmY9aiq5Liaj
iMISk6t4WFhbapdBvoo1p8ioO2rXlSa0fhM9KeVQ6GzRmT4tUDjno0fWimmmkgTvn/cPSmARhmj2
IXqIyCEi+og2k3c5UKMn6whFRq1dZLM4x1UP4iNjBhUgjSGlEmQ8qUK07cWNDH21IH7avXqnKF6K
5qaIWGBN/PNBC/ugTtrZ4qGBZ5k0fwo8ijwybnzQ++VZM6lLfmgoH4ZJqzK/77wqoHYfutg56Z6g
69FMY375cjrXREh499wsEAUtUjLfkNmJ7uOAulLAzg5e0aRuVOEbhJcgDvnSzlIoXaQORRyKaHQT
rqXFjq6bXtpZnC8E8E/CNVqLwYXfNgvXFPmnj/9wf6GzFnCeyjEMSV9iWAozLRnEx1MrwhlBjuXE
k6Q/9R/G2zcKEf2ZYpc/xs6G8Wd2cARtEkkqV8gfTMdBaQr0q/twRYM36W5nFiFjpU4j7iFOiixB
PGcuu+X1Z8qiju0YrkhlWWu6RNj7xg99zX94olW/ihoy746mDyL3qjeG2nS7UNf5BV53w9lYHpUo
K/TpMOTJe8o5tBAb1uhPoMYH9LvA62GspgF/P26LT0QU09S9jdrB7AvkEcyjXeLp5yUr5UCSOQvB
oToHWIz81xeiVEaliVzKl4Regee2o7jQ5t+S3BZGPDtQNMQFkcpIdHA+EoJcx9JIPqZCWiQFFeYi
VOvD0ovWUit2T9I8Yx6PKSwNCAASALcjZXMaRPmPUOuvwBgtqqtujaHIfIvZkMROxmqWeZhBeaKh
LbU9eetLhcPOpqmIaVLcrDFj2bFQQnGTsr84NA9uuYhWBXxjk4J5bLORsPFLv0TCipqeIV8UZgSm
CUeTM9C7XSjMC4hNDjxShlOxHaj8A3zO+saDtS2nIK76Dm8N7lWBkN73xoOIsOUrQ90OAxDaLqoq
JAUu88EnE2JWlHgZKU50FG9CXuCf/CrozK/apK+nCSpoXQusDFT5vFGlU4RldQqtFsqNntY2PJtx
tOMU9tjg8l8GGATayzx8/Rs9m4k2uG+w/JjAn7j0E3Wp1QWXEh6DD085h8Hv3fEy1OX+Lxddl4mg
HV5MvssQqqk2o+k9aUMD4wGpJ3AEbs0FYe7SSX3igT4X5NW5f5o5PQ6mI79BPCInQBaQVqLGrtrB
J3SyTes/+DUNH72hZqlqSQVuKbW6xSiWF5uui5DMa1NX5rQoMAw5Jmlkm/9sVNB0i20Qk/8oy0xm
cG5Ddwg1YQgeqcRIKCkC8YVeB740z3kgv9BPC0m0wFRdGF2sF9nJE62y/DQ0HbQMCRSVk4uSnsKY
oqxhxZmDCE26YXnp6EPXcy25cJBJfjT8zh5qFBxDFBQK0z7hnX2rYwVKfHfufrltgsHBF11L/y8S
4YGFbmQtI3UezCVXVUavo9dVqocTAqm+FOnFYvnITQ+Z4SxytMFh+ZiVRuptZPTSzoyOKWOWiCHW
uax4xcJcxI1HLH35YBh2YCEiUbyZ7xfaPxhsjfvA6SVsmDsGnNJOIbaQY+BUEwXLxFL/lONUTqnm
AWdCYc3/nPDYEASqaVkITMXIf8G3IEW0qKKXFzWzccKgkYQn3vW5zjRjojRDR1hdIcHSukZarnTm
dRUwR/wiWGKrJrOZKPYTAEuo2idARecL5h5pEdB9ASvXWuguCG/B22lYrJY/MN1ZQY69bRDv4V+p
rV5t+hpWQhEel+UvcXbEIIBmTi8r7JU3mxHWT235sdPNoJDLZX5u26tQEyt3Yc6sYVwgTSmVvFD0
o6jrUG649LfQNK4sORmsRGBNHAzgVvRj6w/cttoyaIHYSkYZuSFF/2Dbec7OE7ORBVkQ/+yjYySA
hzm5uQf3jIv/auJCWmoc+sU4BKBnNO766UyXT29Ba4G2cP3WC5BgoKbxmtBaRdhe119kGc82SzWp
rOL/POLMl2CuHLIRllXF7DAG81j7X60fZymtyTSn4F7xttutRnJMN1idcVzfYEjt4ja52eyCTXmI
556DMeEcl+Bx1h7704CMcpSHuhPWlAGG9bhAza1WhHyYM9v6VlMkdMGcV/WvoM6hICsiAsZuSzbu
PKbf6rPV/f31seqP8CiEDsWb39CqlVjVCCvU5JOWW57Z21YZ7QYQEtEuo+jtPXL69rPptEUzE1tY
dsFG+w6XHL0ZoZSi6k+jNrwgVxZR7Q4F3RremuK/AiUvqptDcJrZ++BDV58FL3U61stW75O08F6p
QoOkD+f3/dyGnvtGr/tnD07vOrzMFL1ieKEvXOf6DOLqAjv+tNK/Hpvxnx1kdlOM5RvdCMQEFF1C
GlXkuRvxwKr8VI0LdtxrGywoYluCUQ1Q2M0LKxRZVxR7UXft5mfI6z93wWe4gzqW+XpOdbCqTUXK
kPYVVrRfBSTP/FVHz0AD+Y02WD1/lPmIgw6ND1sZAuFC70pvgHb1Z9e4oUHuiNKBx3in1N1EtCqg
Wwf++TEYE7HU9zMoh4enB/8XXh7tseE0jJxjvTYrb1GIPPG7jYxTw3Tqr9RzgEhh9AWnzX7butnN
PRjytX5wmlm5SY/O27l9czxg1e2fwflJiKrSKzYjbJpVpAw0evOdcQKkTctDlBqQcA716vC48pOy
v/07bbZ/rC38Pz8+faLjmQ3hGByJB9hERJUQ1KLitT0EhS1IHAVsZtVjWnqUm0fM8C/NEz2x2f+X
VSrlvpOGp/K4tmuZpca+3KxhGPZa8KZrndfLS5+U316Ld7t8b1c2F3gVs+TTEXmDmjilYDb6wepL
VvTghM2ZLAulBD3UZ/rZTFtRsQFqyduzKdFa5wcHwNls9mzMMLbr/f1JDcc+DqXSJF278j2Y67V/
8UzKQl2XTW6WNmm0XG1Y24UdN3EnuPJh4+bz4b+DC9Srfsk7RBLtPpE1aLTHfUkcCnmDg4W2fEHV
u00Tbpm1ljKoJ/XaEXmho5NOA7kZP2PqSjOMdwX3WFuS+Iy6isgUk5E6MaSY/u9Bvkpm9QqCl1/5
GuQpErRXqD1ngIMVvuPKk46IDjW8C311bmmPyLmtZ00aq8lqIrsGBX3Ipyit2l20QDKBwGIOZyrl
Y/naBBrAf7Iqka0xkKNanpsZLGarJnEJeAbol1/tGiG849HLt4YP7zV8+ZotTkNc840+T2GpIPb9
9a/SvjXdMSb/OQld8rQdPQ8rbSXI7TfrDCU98lHqeoS1NOpTATiv8L2kQ5dYD8YrUgRRfPPpt/ef
2fgAWfsQuKiBIOQMylad1JZuYa/Rkzijl7QtuGvuVctKqdx0Qoso58FTfaoe7blYQWrfdnSDd9uw
g5QQfYxJxfgEyj+IIixQdWWOaGmQPoBj4a8RbX43rMVBUPWQquIKzJKBMICrimk7butAb93RYMSK
zeMFiIF9IWFd0+CClafYDoteee2Mq9Lm3I4iViFeiWGgdmi4x373ydf//t71Dsk7ujDqA3fSVjXM
IimX/TuuABHuKFi5I5KV9RR7AmOpUCrIBoRhJSMqKRBKXTyyGoB52h8ktoUIS5JLA9owBm2s1uMN
nWi9FeR92DGLhGJZ0wK/USXtGJUBz2AAP6ef7mEUR1TiXBKNZNtYLVPWIr/qti7Plrvvpa+6iZXy
LEFV9XNafoIHhoSHwCHp57r7kOxWFrg4omnqDnD67andqDn1Z3gYgccPeB8pIuBas/RjdrOkTh6f
nVsluBnkiHdU0vWE0xxeO6T+VlLfGGRZSAFgtX3vTx2nz3msLi3s5veNOxl+2RNJgF8s7VvPfe9+
a+BGYWYo6KbIl+9nv7ZqnKBvYVe7884lev7Wf3HfrNPuBNdepPv1OUb5NP/R2s18E55L6wgrrELw
G9uX+q5D7GHBRJydV+3nqXn+MW9194Bm7uTZ7/aKM9UGq4vNpotEq3WFPjJ8vhq38PX52Q23X5X5
9d6IcQVgGl333vvddlaNKpl/D0gjSYNqVKGTCP5VVuOuZbnF546PYQ2pwPQMYnSmEvKaW51HxUs6
Zdlc1Q2I/WgWs2ZtUh5/cIoyH80LihssYSCxv8Cza95p4HRWnGe0LYc2cA33ZzpiISeEjQnNfID/
VIrnCCY0nKLmyg3O1HcOdYdW0m//RoxwcRrGGgoIna9b95XH4HEaD3KMTolXAIxCP8EshXxDXoMP
Vf/lH+cm9WR28QSKdHVjem49dpsVZEikTiWv/F1CXuetdvXSpNx6j3eVOqBbpdx9jx9mdLzVT0kn
/Tks058zKD2OlGyp+zrf8EW7jKzx6JrBf8dtchpZ5M+T88hklR59Zofo1N9Fxx2KtniUoAE+TCSe
cthtRJgnZkmpeONWwQ0H5297Yy7sDcqNN0gKXGr2l0eDAIivN1yZ8hBSuJsjdKw4781jYR2bzw1L
z1A3m7rnrDLc50X+0sbcVDcVX0pEyzcABXPlAd7a6puhG62umd5Fo2MXKdWjy06DBLq6o+3prXvv
x70Mp6bes1tj9ydMaqkJiI4LKoQM5X8hpzlQZz0MjoSaj+Y9hRp4JP/Gtms/1HEYJINsmo7TcX6P
tA7iC0IHGk+jReWCxfXtSV8rENjpauSOErLUOaVma4my9La+rfmfx6r5WFeW75Fq1fZXBQ6X+F8I
b6lgFioWk97o7x4FYOK+K9lA7o1Eg1tF+nIFSTnX0sVoQ9BapWhLBB5gQzYeYcZCmQV3XMLD8E5u
MdZccSGs2ktm6X0uF1lIQn03kGEI8xsHhdKzbuZf9vK6rqCfWjv9ilOXdBqiK6ISHfSy+RJLRYQm
HWq6wzoinktlBVSvwrBs9YmThvFAORfQuldY12JGgvhEbh/SqolQJK6ttJdlxFUf6BLu2AhZcekE
/PYIQwkIxZY+9Urd67bOp4Rbd81ZObGw9DwrxYJKNjMg/qRapFQ6WM1Ip2yov7IUUXigJnJnxiio
7A2mzLkDo4dHtaSG0S5MijYWbRt7JlQZAlflQKXflu3IjvPMPorfZ9MaWsPVmDAcKut4Nd5OVuM9
ElmpiKQrxKUFD692LZR3ohMeAkmxjW+8WMLPsIQlgD1G0nx2sVyCNnJNmh/YgBgVMm0uXbkPFKrI
UoCqBqESDgPtEwLmKuK1CqOV3RZjA3mUoIJu628J3mi8jHD21TpMnk3pcEsA7xbSLpxJOM7T2zr+
xXy7vEzmYn5WJqJebdfbdbbcrTGtgMH5WSbry9od0cF0TMvcSKNPh9Et+uwizumla1Q5sC+cbiHV
qXVlyP2cn9qx22LUuwwDLAvbPAuFakM9OdtqUnzFZuHov+HBoPnZLvAeQn/37u57cS9dlr/3CFW3
NLPGlwUJl47Us/FluIdH5lwyLs3P0/fcWD7Xx989x2UNxWF+m6uXd/F2T/ihTrfj0/Q0NaLz9EjP
5mE8fK9r/M5j7SxdrjWCcvrcY7YCXAxz0pq8R7s5nEq+qmnLqTS3c84GTNYqzJNKJBbiZR5Pzd3A
ivbhBy+RnBmrLp76TLtmbV9HiaT0wYm2493gMNgPx6VOtZcSB0/zVtHeUepz9vPemz5YqPWOX6X1
/uv6W1qnl9Ze77GDk644DNfQ7JkYUhz9e/vaPvoo+6CDqMdtIY02PRZblIZ0/ZbvUuP8q06cObcA
gsh1CklkvYNDeWpjwcv1wb22646cU4O76Ph7+i19muffWvSUsUlMSvtpwx4jldTiwZSCqCaKleSi
onRoQrlN9tAmeCf/h8AWThp6pDUSPcw0gFGz3g5ffNmU1KjGUZlqledH7AxkaZAMrXlsNiwpz1Gu
7HzguVXzRIRQbhyenfOBMHmVjh6HpnVrZBVEKANw2YG1J5pOTxi6kG6T3FbixgrHnGPjbHnvRdLt
VnnDblyP4Tht8Y0ZXHtPqB47b9V9lntXK7w4gZl1HucHYN/KqL/3bZPCDrsnGShNhwMiYmOlruSs
nzoKt4zcVQM5Gzw3mntGuHf1kyiNDJ+N0fBt7/sd7G7N+NTETqt7ydsji6FzbteieJpCIoqndJvm
YqiHE3o4BIlVj8cGooHVfHaiGmy6Rzcutl+i0NxkCDmhNpt4yMjIJ7N0nVm7kINWOzfmC+AJTVcx
WsZ4gBFPpWCpV9RhTI5TTdCjf+GB9Lo8I3TE1oCNCGsEPjsQTKn+YUhbUKMY1ggOigOqioz4rS58
kSfT4iy2mIVom4ilRNFLjg581RDabcc1GOEuv2oEcYgjDvYnB7o6S+qnMgAam3pKB91GgulgO0Ug
nCKFJSvI3TWU0Rth0r3AF3wEl+4ZPaQOrEyIEQo58WNhjkscxjSBVpdye7Hoi+J4Z8Fv2RN5kggq
UUERcXvAp+WcXKvyn45f+ZnhvaCZfNYv+N89GymVKQDTrX/HDZSyEWQnhBysAOzJv6U5rhaePM8s
LI2IJBgQ7RtX5oYK2/JfLZdqpqSA2nWlVEbnEVZ/GEUpO+q+aU/s7spblbwVEMDmgoAUMSlB4Zhw
0qvgtCY9ptS6L5btjDlN0HDSezMIKyv1G4y5fJHkfpVQ9qwfxvvhja1mjPaARbBzn1bnp6/qPJve
wyttfiFIE1g87vUYyJbNmRD2XgdfuGCXynPc6Cd/gUlUiS69at8IakG1/9g3nEnCALlgOWUsz9PS
XE8vnaTsqeBI1bEgk5x8B2tYB3YqUDakKN97WU5nlx9YqbvqbEEefHMSr+N5PDdml82WCuzf/s+c
4DiE/mwb4u4YGfIWkpu7DOnl6a78lrokP9L54ztVLOVBTHUyxXUI6kIdDHAgFJkktfWcPqfpFxXx
L9WkcY8bGiOpV7eoUre/5BREJ9wDAvGlVn/idGYd6us1eLZGn7AEP4wy94etRJRDmcvUSvVbSHef
XHQs6BW6LhuwE5I9wu6V+nLV3fLQZJgMH5ChKj3suVUCSnyRT+DToLE7I13DoEHua7IxUEN1lT7x
t8wxOd0XDnsYfbcUlemoMJKkTNYhVX9xk9Jf3FqTAlceKpdSrAklrq/4exwYZeeAUjwgpN73Ed7r
f2+4N+lnt4DIhdP7H/sgCSVMEOi54xJUqQ7t2sb3IZ4d0M4xe3btxKiXxpVzg4zfHmBNxLOeSx3T
S+/EvAz22b7PT+M1vkS4fuNrM8h6JoorqBBUbPwuCz0SgE8gTx2Q4q7UX+RsrTV/dnWuYXerVNvF
DeQ4oz03hz2uDKucYJ1kE3KxObDCMxjZ1wcL0kpYCe1AFGYZIFn9LTxkzr+/pcGfb4wgKNMpiBaP
awyf1uXRmzK+SMmyaDCJ1W3vEaHY7+3w7gpL2Gn4LiYJV3/f2/eyUzMB4GRuUIXofl9H+w6rDBpv
w7c4+zJ+2za0PiqgiIdSt1RgG+JbP9jm+moMrVlL+DpQvdeU8w9oXg5agHcvj0TK+iZ8Ybsu1bfj
A0zDI4mjJuP+fzSd13Lq2BKGn0hVIAFCt0rknLmhHDYKCEUkJD39+RrPKWyPZ9vGGJbW6v5TX0EW
OJJfIzjRKfV6x16SbyJoLtYiU9nQWoFECFU+NAm44SMm1w+OdUGcCHQs/CoDg0tzDLD2x0vPcrvd
CWcLDQWdiy5eCFScII44dx4nKGLySCFuZfb6ZwA5pjJv+bKqrlsUADjraDindPPGOHnYRTn5Ptuf
wWTz7rpd60gEtb138k7Dw/AQzv9ssMIAdidCcYiz8LapPr7RGO9oPK8L57bA7kWjhl6SYPh5MVVm
z5kyR5OLz1DqPYnrkEK9M8l+0Dz7kZmwznGGHKNj5+ztqXUTMkCocKldQ8ILeB/Lbk7rJTFccoaR
vMAJKObw+lqPBuP+v1jqxpikBpF3yrtg8r2Z4I5ffAG8RhRfn/1jk6+ahVjDjJko/uS9uYp57D3q
yyU9k9tzKnH5+mzQozHXmKQDvYsk3lsg6rclWqJL1MmDS/jvUhbH+/unOD9wX5EXFcyJoAOo0ukb
ytChXlF52IAN2jjr2Q2d0LKXmsBgWShQQwJt0bjengaXALpUceieQxr5Ob3LePCePB5mS9MBtlza
5b/bpfzXYOAeMTugyEiYc+jUvEXJVO2rvikDs+wAluKaRlcOBElGCQ1KtsoDawhHbg92qzhaaNv0
5CH8QUF6jkDOoAKHIGTt5omROYLrYZOh3Bp3F6RlPMkLjclxaq9dMFcyjRDVwKNCeOKslPgnPyLH
kLLp34OUbo6VRmJ+EVkAiAB1IBrtkO9uNQzGzMyUpU0dTjwEZqjuKPyiJogHpJ/bHf0nIAi8taKM
lrwlQKB5jQQ1ZPoBGMQhwn78xkwBikh0H00TLBohRMdikiELpOetrC6YUOa8rr7hpD0w+amByWlZ
fiMyP9WKFPENmdszBM0vgAMGDHznGFBR+BMu9Jh5rIHTUyeJyi2/CedDtE6p3YLqxGaGzPFUQ4qU
5pMc3hm/CTES2Q/Erkm6nyxE5a6RzdH9EqxBih8JR5R4oqG5fNr4loZmQ3yWHK8JgCPhDOYF0DPF
9fsXrwJ9QX/b0cwspLkNhRQX2Zh0piCz8H29Ce2oGEsku1PsJdLqikPHt0U4A+1Jq6s46gSiAxtE
yZTmki25a450C3acOY6NdT57JnYeanGhAAWAhuOmokVMKvS+PxGxc3BXKzu4o3XBPsql3Ey9pf+0
ss4q/n2Oe1/+T7TT3XgHiogk/NqdJRSTwsGJPG3WfkNzbmr5+PkF4AF4KjjeAcBFiVYx4nIIBg58
icBTbtL/+5+UkD8/tPxV/IXO++Lf+5sBwYzzx0jiqqVmkI/Sfwu8IIYnkR+LwVMGXokHRIAEoVbl
oxC3ovYUoIFfcABiQEYC5OHRbchIXv1bahqVMC23OYhU9pOA849TjXSFiP/XeBqFCk9BFUX4KjN9
hYNMP0Hx75HO/oECHLOV+J9xpiCPbj+m/gz2dC64oHw7I+U+3kGpbiS1iOw6bvH4XQJcvKY5bDEs
iKO3Y3ZEVvwLvBXlQGKGr23UyMyEIVKmdmLkNO5v1c6UqYYt885FVRBz5uaVBfDpzYSjribJlH9M
8C6+LWNbfbNBNGhf8B92ESe9zWBDsPSckGDftwhNElez0HgdPEPe6J/sz+3yvW6X9aZZqbtmpRyU
Q2/3wgO3A43rX1mJArR7I8iSCpJb5x1lzrHJTfExZOQpoFIpmHFDduZX/6c9d38ex9dZpOZRxOQo
MTTWq94CRutPH6yOIs6PN5q6ecsoYQwR3ZXY72ClJrwjyINx61OyquVRHOsidxceSmYTimpF4ggK
jpIjUxVwer7gyxhs9Plc8hTkJhZXOCV8xWIxFBpNbh8330e6bfjgyeZ7YHv3148Gg3ZudwmGa5HY
4+Vgwgve7GzWvej7CtTkpP/W1MnfwfdzpuOi9Oe9RWf0nnaQUTdsIXaj4mEdtJYf2B5Gq30fSyGA
5rwBybkXjzGcXjeyQJB1zJL9FcwZZRY/+ufmb6YE5R1lKIVIcRqUHWKQEHe0uOJE/UWbwL/IH46F
wpLJY11XtaTokpssexKyUL2JTHN/rezBhpDVjcckku5Zsi1Idbj3NgMM/w80Y7D+aBhifTzwrRIO
jVQPlJWN+UKeSqra/DXxbyaP31iVb3sYTPIfxktmyFriOSYYbAxn9HjkBgbMEHqAsgdkUEg6GhsE
TJsQvA0kzX92ODLMPqAeGD96iD9jNrXZR1yuMxdHNDui2BAnhYjOxTGSTfuzZPPm3BaPxZ+DRLIG
/m6EYdx7kfn+6rvvrye6E+RBYuqUKI56/kTc0s5FbiRXbck1TcD+CthxJRfjC9+UePLi75rCKQQC
sJ/oOWeP5a07rUrkuVj/DNKrB86LvC2sXHPYFUaulCMEEq+n+/DMPnKMWXevomVIJ/eUptdzengQ
Hsce47KbZTk1dvKubhgqxBQ6X9qy6i0eLCIF0UgpoyiedzUbDre36S3Q9FdosTb46c/FYPZKViqS
yHP7npHPsNJeo3L6PBbMCzLM/McgiHZZzJ5kvOMF+byFAys+cPgJ1vX+pjX0KFQP2UwGFojxNZ2g
pBobM33GfFby5Zg18BnyyrrBEoD5g6NE5iXgaTnLKAGRy6TkDvYRaQmiKieHnB+iIO0R/8JHm9d3
OGeAbjTrfc4sdghBbEnHBh4FkGZP/5Gf2/8dPPutDISgw0PiIZMf5P3NzDOJKcaFLFe10NtyEzEY
oTDIQhChsiPIMSUeCKy3nJ0/3Y95QszhksbiAz1+opI6ZrDrAHadmhMJkoKodb6bk3EpvpPv9tJe
cGJxWr4s3bOh2W6+Jc6JghtxJfMOWm5ctzWTVKXOpdLF/xafozN7A24edhOu3AFKJK4dtmdS4rlW
UDcU5oNclwj1S4aL5q+oLEfNv4TqjQMd+XFmPv4hM8ulgTnd3JYsRVA2WNN5Z62uCSNfJ8Dx2qyB
NLg2h+bw2hWbdlJx8CakOorTUW6S1Zahg6GsJElyAAvmyykR3qwy2A1IM2L0rusxRg5mwpus9j2n
A/BPuIBENwztLmoppy3swOPQYItK4RCRzfbnhTaKUpZ40cUQU03iSzm0kfMwYxeLCWzkiHTeAXdj
4NWfxZfwh6QhJMynBPDJq5HUuj2w56+Gw883axy0K1yceMKFr+Ox+D/BhnqgsLShi9aJv7bpnbxr
VXAZVt8UjxFNECLj+QOT+rg7GuyE1xbxhyQwUXUiJwflARdvof91spdEZyyNtg4y/oepCUIOKwoS
9JfM1LjBPj22d4kmlNsfSiRSAskL+5MQ0GxLiFOpWc+b6dxEV9tMJJKq6cxJHqUC1Pp2DQGkD0wl
s3ICCxy9oWvj2wdnCc2PCd2Vd/n8oNqHC/O6awvCWDr2Iff+p9yRTEhGBSgjiQ0kRNCuj9XR+8VK
C2ygjXJ4eRmI6s0j3Km3uTS/BOSOQzS9U+0bEnJsULtj8t1qIBSST2vgJZUfFn5Npy15TmAbofsL
KAVxwXqjZt1wmjdrbUG0yYITP2B+k9D9VAwfWkN4FogeR+7Om/QhO0QdKTZ0ae//yiJ/hTxScmbf
gGXozVsTfaecvly26KP/3ru77m54aLbNFr75EGMrS+4JRtLiXt45kdk8jR/lp3Fkeqzo9ZBwMqAq
xV01hMujeRVpiRzscpz6hA9oq4aKgvyhmOAGVFJz2QsyIogqEgoksaTEPSjqP3nPSZ8JxrLL456n
EoRvZ7oapnpA6J45vBjbB6ZdCTMW0+9gPRS3/XjABII1PQk10Voc7CBIUFzyHXzvUqczBlgK5Y37
C3chHFnEVBaYYt0Kh256Sk9cyPvhXrzEGrnN2jKaRbMS0hJa5zbmCkdKP8SVIk8z5S62uvc/tltI
6ce1SzLMA3BsgHSKhoho8gwt1GDX3TQ0lf6X+vO6R8fAt5tzdGzObwK3w68OKDcrVtBRjZZBNlmJ
35bwmoD3m6tOBJojkn/b34rRX10TvPfpvInvZ130HcFa0I4QRkidSb+BlmR682ziUedYNr4G5/yr
Pg7P9THZ18TSZXsxesstHAeCdzeA3CotN1mmQE88aKEW/8hF6WYkajuZe0xkJAo6JxDa2w+ZdPCk
O5bNrjfBccMLgyXw45P887hgjuq71dzb3nCfGeQ4SM7CY5lzyHe+XpN4ne4j3h9bEh04c+ZD5pXL
iKZg1s47x/dXwa1zv22Y4rXjvGTVyMKhFryTjNJHbgJR4FsM6qGW6Z+LL/2snzlBJAeCIULo3mP6
2AajKF0aNK2rX/q/JfoH+Np7atC+W8HTjn0SxawcMxiRYwjMmOFsmMNkTZhbdvS2g/vgLv5C0aLf
Rt+ide7SAsuBKmpn0TiKFlbMAjmT5mQGnOyqEYEpTGS2ZbwV/kImIKGqQmx/39zvAEpgP1BJojkg
GOM9fnPax5NnNqISBchuSYIEzC6IPZq1XRcnKB34EhNeNgICan/znyjdMw+AWqByExpw1Sm/uStv
RTh9SqSkkH4JCo2fwaLxLSo54srivkP9Ok2LhWg8syXqayQmHlm2526JOoG6dYjl8LbJ0bIGjPWr
eT2qiSApOmEg4uWXfqlozXJZLhXVTNckutMZiX//OdbBWvrgLDjEP1lIElgnPVaAGJmI149XkLuV
qBeeI6ychWPsOvShkhslg9mGUxmK9hQN7yetGEkoDSGVNguKcRurLi1djMr/6TAngOAxcOTuXtLk
s2krK2ZSHkmVmV4X6eTNlEzUJZgoDTTX1OPGx9s+jyEwGuaYeShxwvWT8iBeX7vzcqnN3zSAAhf1
8cRm+HEojKZED3DJgU0QEWz3mFT0PINxuYN5u2yXMaJuMtiixOZkS8flpd3Kt5XuA+pq4LSUnmAm
l49PDKwdM9mYHed2wTf9r/hXUgzUZodK+rslS5bqcPW+PqfKqe7YSEloTf+pB5XvAPcCAyRt/6e8
5rF0epcQuowiwDA9pK+Nm5MUezSmJSVLQiptnSKJdp973E3b2Inwqw4nUTyqttippjUSwmn9dPxl
fxF2FtpjOmjccJse+VHugL9ljXwPvR7/yD8FN7NTz7jUHH2TNqsCd6ZFwi22Klu730pmmxg0nIhZ
2BrPSGWq2OzuecFVM1kGrZlOCuxDKK0rk9g+5MW8bLBOufXY6m5U2OHzGu258Iny8wIr8m0uuScH
cc0oCefVdxptH+Ubb8zLdBn+iy7RXqHGYbRZQ3ya3IjGjpDhA7ZuOxRqFOwNShrnwSUOwoMUDxtI
Sgh3f0yAgUE2Akxle0LCRJdQIS97kqUfLom3BeF7TWX3LM/tND7qGxKYc66IRQBHD1wFrMZr5yKM
85cg3ckvIxP3wR6xAk85YPjDVeJlDy/EorNLEbXL+bzlhF61m+4mzV0IyPhOZL6lbySHmZAhp0ut
3p+/1o8ZcAKj7riyWI3vY0yYIM/D8OlUDB9i0joBimAktakTTXZqK7oTq+nvJI4BgpN5Z0iNcEHx
PQWKsHj1dIJ2Ckp3O8oSDimxaeA3GoWqP627Vn+rkpBQvi97GbtF3UD1yNkSfVdmeFJ5Mk/5t+/y
mtHRXAUreUwLhj941ycSD6YynCJqFTghxBY3thQT3qGzDm82TEL+/WLHg6RDGkPyKqj6rFi+Scee
5bs3xuZRkYEEPH23y/gXid1LqMzTlQokO06W/L9CjBi7PH3jIiNefd1ZFtMWI4b4sN+z4IsKvc7H
Gagz2nJ1RcKBjhaxO3/FVtl8P4DFoT08OzdWiGNXNWD5vkLv/zL13zx0OhSREHS8rXtXT7ezp9OS
ZhyO0dXy9tDNEKuJ28Zun6SJchwABUSgvpcAcgBVPdUMlMxwV5wrWng6DbLcWXnIJnlY4VgokJoR
ogyjedvR1wDdE9zymyBFUqT37SgwyKZGPsmyevIp4WtMRKQIBBGCQnlS+jg9w6wQMP/4sVOjlkTU
msyIp6Zo9u0ePgXEE+Vv8Zv9huOsNPNrfB3CdflmsoNDjBEUEEZL+EttImRST3l/CQtpq+NsNyAL
D5Z3VaH9VKy2B25J3L0yQT+guhGCstAKlNmQ6TlcObDUNdxh+Z19c1YiiuukVnLX0Ebfuz8+Udil
lXxJlks7/+yd0HhAGHY7T5YpQbe+rfm2co6An0h5ee3zdb4eYvTZBmMdCJVwpSfBBMnQul1flJOK
ag0yV2dn892CHIvEafyVutT3r89rdUtHGsKDgiEwzVQ9MTqmNvPEqTbJhcK9/4UDEWQ8RivEUYZK
56sLWsyfCeSrr7U1RGkLDVBu6hXhjvJHk/nPk1U9nKZctv7UoCzEia/Nwsiprnk7Uoh4qyfPVUMD
Ai1zaX8pYzkfAXNiIqY4QSSJCpyAICqJOhT/IPDQrsVVuGcNy1FHlNl/YYlYWUhEk1AAENcvyW2r
f7wjiQIABlQh4Ncw8cpe2fcvOqvrxAMMycKSQdEaWRgGfIskpkiapbG6bbxtsA0pmJ7bdP3aJyTo
8JSyaYiPKluGa38tIVYhY+TPgomp5KRJcIZEiQ0dGUdfIBARiUg6eghtvY8diccVcj+civRM4nXD
Q3HKvuXCORUf3c9wybKILdIsfGJJHgxJgkp3X8jnBuPMlVxqDpfd001WKGQAykPnjuOplzMEh3m5
xA7gli+tl2pKOfdipsF7mWBNWPpnwW6gXIFPX8CkFJD+ClqWppjGePwAytDmBRpayd5UqB2ToyB8
L/v/z2hMdMLfAOwewFJh5ZirybcA6O2Ps41g50BDICEBxqoDwkwJZ+x/M15ZNGoA9isWKlDGy7kx
2Ms/qjvJlhctGOT4p3p5jPvUo9z2am0nvOaKA6exjYi2e8zpuwGKSg1xi2mQ3OZGUH0x8QMEty76
J/w0QKnZrAMaMh4MrD5B7AjQ+N8uVg6MabOCWmYMtqVinGD+vEr9+FcAd+dCYwl9xcgnFpqy8td4
cADFsxEHFzn5tI6z1JWvdthTcdLW+2zbn+e/4qf1xn9TMilQjzfU1wR66ufbCMiNR9LuU7CMF2s4
56QOZsGMic1UYQLLCEBTEafBXQD0j6Uok+ialMHDnObkQ2CLWEoIW7oHw5s/nP7pufgZrFC04Qin
bjFhtvTv3sFwh7i7xsGmE9pK6epQd3ZzGcxjZkgftXAj057diqFHKrA0PLtLZtn+EdpxTfbODQPl
YJLVo0DbqRcdKmFuoBaumS8OcHA2HlMC9wFqfrtb7qJ3KfJrt93W9MkY+97jKhl3mfNWHbuvpYrL
Se26PoPNUuPS7TphsOIsTxtLqZ0+Hxua+W4OZ4ZDhjJqlO3XtPIPM5rVp0fNnrSTQ5QsPI9y8zHV
6DRgVVvJJR7wFWMXMmCqtDRvlIB8B06BMOOGcVJfFVi44WTVQ4Lk7u4B5MwbksMytu0B1Jnhpkxn
KKy0tMPX6vlaGjFG9rGKEiWbKSQnaeP+Rd0SROQnK+aMB/XhFp3eLBaHcif6rZqZcc5SJD1bDJTd
/cAKY/cdcBm0BlEshka4HztUAbnrMQbDbM/5cGKcB7g0GBGDNlmFy6DylZ/gc43dOhqxMF+oL/fZ
cNY5+heDOpDkRIWunhlPLxoPZaW5XTpXsMQ3q4QVyUXG2dQ4PkqPH39++0fUpP7bcJHmLtnMOYn8
TyvHgr9sCjedMHa423diYxwSA9RdVkgRWdekYu7byfNYK9Oyu1DyTUAGKCY8BvIO3bgV9Fb7Bvbf
gGL3jsp3Rp5MBV/W+X1jOx5atQ4zT+i7eVtpwDgxp6JPctMNuofK9V5S3hmTkBihrVa4GXmgmvkC
TJlmt1UQbMt6p722evbTT9ZGd88YRg5wz3fqeAZfaQzsPvS2Z2uRzcIQleeC//Y7F3V3qjcJ16pB
1iXFoa9NWGcNTp5JyV6O/+42a5HgK2MgvdukHbp+azPki6EXqDjG7+TLe4/5n8coZ8H3LbjQF96i
g+4q8B7JUvuOmJNdvY+qMr5RqnnE5L/hTthgqfARQr3HBmGf6Ou4O/R1h8SbdgJA294uq8x4+6Qo
P2WIyHrXukfUQYKytmW7K+3OSscmwpUI2rAFGjGcCqh5/VwMYisDfkRIfyFIDmAIkeyxj8Ffs5IK
4/ux89P83LadK1VTOhi/MnuYjob4yXWsCubzQtUSbzmbKymKm0txgBE71ilp/s1MQZY/RBHXiXgM
/h1QZqBa3sPGZZ3OaiwwnV1ArCNxJfdePmZgJlrgH0xjYFIuNoUmmxB6x0CPdmwseivQMCS5lEyw
T6UVyZAAnizVZRFkZx2lJCkl5xtTtPjl07Q1+/cbJoJFOe5INCEn2kwZUaqlSMLQFMEJIFYvnHbz
09sp/7wenPlnPe1ydaq97fgroEsZDSM6nFmP+Di0fT2I3GNYf3lPV212SixEN2CkateFq6pmo9oK
NQ4ZMQz3BF9kKqgH3cSJ+8JmlNv0boRe5PyZGlorSEDfej9Xnu5UcGK8JIDyjK3v2QmeOUbZwZP7
bsCa6k9ZJx24VBB89aAxkxUHBDtmWLllz0YmpdN3OV2y8DqxxeKp5Mtp92U2shNA8ekcQrSuHO+b
dl+HlH8Wp9YLnE6fxhDs0aZXLVK0lTwIinAC9Dg+Fcb3hEumjTysBGlTYeFdSZW9Cl2kM7Svyxgi
tJc7zR4ce56VD0bJoUbpSplOOW8GlFX9CY0Mm2e0NhSLbmzYMzVClhkWuHkvy0XvH2a2gE2YfmXx
olZ9mOqA7cPSiJNcKdk01ZDlxIv+w8oO+jjJ5jR8afsvGK592gCYdkwBMMFT/lIa5nJZ4Md4L7Xe
gXvieglR7YauUs5izw5/qEe7QIkEkroF+oHK/oYw+eXTKrBvlNIZR8gYt0lDcJMyrnsjfDUcOUof
NZodM9OzGD8o7F+ODBUR9ZExcJXariMnoFJ0O4z+YACP3l8GeFQiZ8hMdpCEdKqCaRtux3DRdwOP
AjdZg/5Y12a30O0f0+548DjknVXOjm752kUhajV23vXpWeq2gma4mOcBcYPGIrwrilUmu5DBbZTs
7IWSRyAjwAhPB/QkU0eATkR9pNaKRp8Kiy/LyA50jcxDE/GLspTMSiZx1uPojchziIHJRNLI9CwA
V3V2y0b1a2WsM5qVKFwHrY1ONPzX46XB+4hTDIM7FuJypGPHezn5h0OAY/hudbEfBQc68OeGcuvQ
/AJ9r/vfN5bi263e6y7WhEv/DIe8uiGDzaZ+n7OPXK4oWjXDdZfTARcLDBUqMUkrSy+PxuZVIzby
S1L1vhFMbAl82GezRoZNgyLT7vV3yuq5xMtM85GQb8Moj7X6O1znEw4OziGVCxL0DsQDV1HuPinv
unYImwDuf+/zuuFEIVNSpWrtes7LcyoNGsjWQxtNWFhbuDoMJEDeuFRgXebd3k6rN+3AajJHH1j1
g84HftHW6n31mL2aafKwaMYSxKK48j/KVe/txrX1JueoGaXXtubsdW9d/FRuXVshMUapyxTfnIxA
Cql/aTQa6IsKOxDr5LYp6nWfgQkembkE4aR21Y4sFHFdxmE993nkaKhUANodZPE+GXr+mBnFxXtU
c9Urdk42CHNdGHScuR0i6auVT1EdsS8ol1f8nUfrkseJE43mNH/MfPqiYuZFC/+10m7bMpm2KO3i
LdPQXpeb9cxnibaqyfC1dS6MiC2J3Dnob4OIsWpdIVh04l8qL6uH83WRfPdjCyXyrkRxb5EoXVrK
rLMhN+DckOpHmEVLoQ/FDabIkiIfwoUleLqdcj542gWXA7bSl0tUHyGh0QUhBk/ob2JYrwr7ef/n
velxikz6LgvJMq6AuBfwi5I9tLDZJ0KKc1CUFZmOKOEknUbw2gQxDgM3CcF50CXcpo1DRLeC07xC
RIAEY67/EvzD0hiYFVy8yn4BcNUl2w2nFWX1bTUcaefOY5zEo/J4e0x8In2oYNLlM5oCq0qtVY6e
6rQPVafbL8ZTorNIZu903by2XLXq/NYuqmJaEWFCxNGk85xxbQ07U+QPqJKO7+SoMOJscK5+mC3S
gCpfSalRFLuzHR405v7NnsxUwQQSrFEAVjD7rU8jbHXqOUpv5VeTIEiemsSOlXFCJMrLbJMvJMht
uEY5XXYdoz0rGML+PVEywsrqph46Zb57lmukxaZ20YkAI9phmUW2tspm0bnDFukmCETY5iQEPoKh
BTknCCKhP+C1fSyNc9FaD1CfT6nXqTnppPE3zm/a0PPjK4ZUNwCYChMS9fCia5tho0MjZdc6aPpf
8iB6VMkXSNfKtwk+VMFXai6AOJ635qS2K16mpLchTBzNxZwiP0UNxeNQfgQBY8/oz9QjwNa0dWWs
Lk8+dDNx1CaClPZMx84zk4x1ZgqsC0eb3JbxaMNfkNyJPEdN9o/CvKEvXAzRxJxLbMoD2FjbGMUL
47f7G/gWJsGuIVwxa0Gbc/wMuPZqaIB+12wO2gzmHJavN2kl7vzeALhtGfYICrPu2gEAcMLViAVY
nxbhkFd4iX2CqLYf7+rjK//Xtd8LlAOIDgI7A+WgvbLidV+xCzaEr+h3iDCC+uqYTPGhpg6Hvvb9
5DR//Q6OdNa92AZYfh86D3OAO5UjgrChcwBFvU8nQK2MFwJBXvFqr4JtcaXVOxhbmAUoen8/QO7S
t3uLkvu59gEMIlI0kxOZm5b/jz22h+pGRgIwBfabTcElMP4XhM0DLtEd5TJYGqxjU0OZSu9CEd5g
cUOoQiZm4AyuYcQ6HsealT2wayxzY9S7v4oJIGE1hDUcxCNgAhVEYgn9TgIUM9ztKODXVXsWhHaO
e9ZNP9OGa8ZoMbzTlLf0x88tcON0qJBBWhUTCJyhqB05oMFX2CSaRU3SFvSw4dT8fDxqfdsr3HY4
6jTjIY4xotc5PLSdbneu/p6oG73vqOmsKOf+vuo5Dy5x3OiD7SNb80ifxbGkzWNH6m2eSGzeo8Ex
B3YdkgSFJtpuv4fKNoSrv2bs7zhoB6fO4aUxk1uDUffR66YbYx1xDHDtCFDnrbQJigSL8/SxZRV3
+lx6KD9QSSEgPenrvIflEeHiApUmS3Iwpr4s5qi4w+17V5webOJjziA1g/hBYTXYdrYVbdilGbP3
+7qpQIlX2BxQQ3exgzo3tC+AAz9DYPzY6d1GQTGKGJrTY2jRrOSQS+ZEsw6yUYduQXUaLvkdjoQt
I8OYbNigJkV2sntNdWp+OuK7vhjufHIgR7RjYgyvXSjp/P5UTXyqT3/U6c075bRAzAbk+eP7i4Cu
OZhIA1Awocwcxm6vb1UdxBvUIsDz3ZmfOhRyjWVkxxe6YDru4EtH/4U5KV9W8W6grBr0N/fqK90+
10xWR0FXWc0+W5c+pjPvPW2fUJn4dwbeCN8qMT/dUaNZPhwfNlD09fT+RnhCHqsEECOB9aSvzW0U
tvCwJJvhDsFaa9WbG5/ro3zJENIbHraIILn8TnujX2kDORqcCLPUEVbkHjJvG5OoHthhzxi/B791
OEPVNoXyRg2nENv6BstTxhEpyBozIjiJWOSfTP3Ohk2JMTzMa1HG7UrbJY7ivqd8JLT+cUdeN7C5
IttdH4XWk3uVeW/dNSDLvj+RgK3nSV3KZxItO9wOUS3ZJWNef/tYTYz9MMOsZ9hBaofevdPMacRu
Q7chOd8EaCQIY8ugrfeYCjD3x8p7siuHZu2P40V58jezJ24g/dK5JuDkJ+2Cz8j/Jy6FYK4cEfzv
STxJlwSEy2TwgoA9gxKhCDcdTspLHaw1+t1vH61/ar6/UdJXCc2xLMty55EqMPMeVvkNY1nRfDbE
WIkiTkGCRwtWnhvTLgl8fjBL3d9KVATj5oEudBuCax7dyQ64BB4CYyfzx29Se4gJeCwyOPViDnfF
uQTy1PvFr461vcc8XeJpmBIUQufY3j+ZxtvgDG+dlzpiab0/ZI7WLlJU9l/Gm18lb4D559tPfeze
W7aBpVpSUkEcu3nh4iOiq1Pu75v5gMwVzTIuNTfrId6chIkMQR0g2oBO79HeWSEgkjFR+m6xv5m+
Z3bZstCp8DNDVOQmmumIieBseke+2MzzIz+QoIVuzOqroeU8p+wilweH73nIk04EQWAH5AHTdI5q
BCgGh71Z7LlPRKf5Ed+HpjjIxf2tcecXVyjp7KIateqi/B3eRsUuvEaHJmSnaVKas2uobaOzd+cQ
o64j9wj+7Dm6keI8SkhXSpgrRB3MRD/G2kwGy+Rm4y4sGHUIA+2+rtg7Ib6qZXoYkrmK4guXWheJ
m0P5qlIKo/Hfphu86f3a7tMRD8FHsRkaFkh+wIuN91U7VKP036AFgzd16l6Zf0nozFmdI4nDU8Dz
x0791V7LXb7BDo/g5jW08mMHvvKgymi6++AMkZkuVffNOkH4I6GOJCtOl0ueI6d39pf64kbaRDq9
obfAnn6RKZIyBBzJ3rZkRCMzvUb5AY+GeKXibTPvfrG3BAPHGA0Yz+3PhGVgr81m3s+LWiMzh4rV
2dM8qajDkXCzqdu8gPqRZj+aJG6vY1JMv/NTNFi3zLukJ1jx3XFl305QM0Ao/RF9IQZNkkXJwRN1
vVnCpV3Uq8dOQz8L41k4qe+od+RaHe6X0XeB3QO+A1HPIVlSqnqr96/chmcabP9n8EVcB2cJWsty
ma4pYjvHZij/NMQ6qI6Y3dHcyyMH6rWkqnLTX+rHfO8hzB9TrzyXXc7P1myuTFmg9CVkL19Jk9y1
X7+P3EoDGZ6AmGCcfVHYob+QEoxEqQwUBKUqJb7IWJ1X60bMaK5tBi9samIC40sqX/NY+WQ63lPW
ABLpByzYgg4jIMwQgU05eaHJp1eBbvAtfdds9F/qVsqJSETEQKp9tuU9LpgDMzx0CzfjqumLfE8F
sOwxIAoQ287GqvmedJiFifziYf4aZDOGUzCGEcr9eFQf3idUGO5z1TvJOEfO0HFMkDizr52Gfe89
9hjFgvzO9NN59Pjx6w1oba8/UibhAXPtKKDXwsfJN+OVfpj0cb5DAqR4MdlgVU5KXttD0xvjYn7j
8ctHvObIPaJR7xTCQXE2O4XqoEbDERp/96plRdrglbGSKuYMVSUFPpri0qB/a9kHiDCpVhl2Az2x
jt3BEteGdgBd6B5eV4+oFOYgqmIX/yefhVODogH5M+wgrMwPraDMvZah2M/HpbqW0aqKnEE6iVPL
IOlM3JHcdToKsDkjIeQmeeUyE+kvMj04kUQOg3QjyXLIc3JMHNpRW3ElLQgB5Wf22N/TdbNEYC1G
Ji5qJlp6n1z21JK4Bl6Bj4cUlhi1Ad3MlAghW+abfm7T15WdgseNIcu4PFLHz8wQihK/uYSoB66E
YOajhqz3AOOtvAJAEtzELS1clEx7/WqrkJwCmTtK9LRLahiDjsGFgLwwMEhcnGTiTiToV7wKcmbc
7O3WwK3x+mTOiCJxicMzdv6fcTRlO/AlC5bE/psYKQ/1aJpj+/2aLqe+OZbxNsZFgUeTh4RNm4e4
IVIT/Y7v0GusXgv8ZzABq3h0J9bf3owbXn0AfzzAz1XgEkBhNUSF/v4eRS0nmiGJOx+MJP9RcgXf
kqa8+ib5cBOTfCceCTdAAYMJAfvmKhwS74s5YoTQAHPEvjh8ovBsIsElHbE1J506dzXKlMeS5xZH
zYYi0BFjb7JDLcrT+nc7TCVO/2WRSEm5KBPt/2yPMnWayql3zriobDmLZWqmwaDc9ye9QHz8sqlH
Y8mDFR0kOk7+xmWzZwfeKGsfbzuBvU9iltbxexJNC0g6/HyJpeGv1SZaKDs/7nf+EuJul7l9O/TI
F1qhAO9OBkfl5YDseLM0/IKMoiDvkQD4tPrd9Y02zBhRe2vwToTT8EcZluajF4eeMFBhieb+eNy8
TXkrTxJUyut4nF3PokVKzMX3Xkba3IjwQ0xh0VR5AhFIjN3TPJ818q9Qbr3NcubZUNTWr9ylpGW/
5uRbS8R1Rrbdio5q9jSv148CWkbUrK4SXyv2Ed1V0fQghEerId6RktcJ+we3wGEVmtGO/EqUjfh+
nHAnoZb4PMUbw6rkQPno8DC/7ECibBjE4REhMKE52dJwOStBMGb0hOHNLPtu+8NUjAsE98uzbH2X
Hdsf1A2YIXqb932AhcE/xysiagB9uYch6q3blN0cfK0DeHDJqjmik3eL4J1F1k3tLh256gx0B5+J
T/OBkGaBsa33Q1VS/I+m81pOXA2C8BNRJTLcKiOByCLcUMaYILLIevrztdiz2F4bmyDpDzM93T07
+4VBoPfa2eyMn2E1Q2RvTC9Qp2nC3UB+Sfq7un/sG0NjAo9x9C46B3DPqwMGCnxHGahindGwzCsO
QFPNMx74nTm7fh3Yl+Bwx5pHGhdV3eLo2boUYbXsXt3CEpF/gyLOmXoKAtcQJyMooNWgOaBRV4J1
F/x4SKNlfEDOsPlspGsbXHy6SRcSNoB3HYU8tUob7kxx095CDnVJ/18wM2L7OFk4jYh1pwAIAWo8
Q0fZXJVfNFooYmWI7Ka9nYKAl8Wuwab6obnIuyZ2pmcdHyvqaQ+yTt40Zj4H1vzhtmB//j4Rv2D7
xQ75aon136Ru3CXkFcWC/iv9Qr1VgBtDAtf/rBnUnzm+Q3fE7cDwdXN/6wKqUkra9TGMSmeVnzek
SevoP+ZUpqkln3GG87ZTQI0RPkpA7Df0T+D6JxdGWM2CblbnfFzwvTyMMKIKmuZpJCfLr99qhZYE
cnUVxx27O+u+asAzQrc0fJ/MdHh9m3CKAG+v461h15/Rfcg4/OxZcYoTCO0biz+jwmxxMjlvdrPh
ZzCsotNjSi35qjIjpGBQ2B5F3OLOJlnG9XpDNSE8NF3z+IeRZz0EowDtuQEW4FpBs5mHBIKQizaO
rJpKwcJJ/pq5Gh5y4x3d03WY9R4XDxLJ7ejU9uq5QgdytxSAPrEIFC7d4q2VVtYvwmCHpnSk8m94
DqwacH+BFd5kMQNgq4oBimcfBxA4YDUbpxAQGOYGX/Z+lpLPAWw9H0Fl2z9R4+EyW5ebh2H3q3Og
rL/3DrCI35PP2SqOIGNkN+z2tr169+yDqT18jEUolViIgZiI7fcse5m11LpShYGqk055J1uiWfpw
Cta5xdWb3wjoR4rRIaXbLmaCrdQt9fGRZjNY1gh+hqDJF2TBlIytc4HIGtzSPKX2iSzb8MEeq7vB
DnDkB57K5zVG68LRoQxgpjVOoug0Yeke/BK+ew/r+LOPCxhA7eE5EqOcnQthI+eB1QA2BxVn1F+b
LurQBUEN7aXiGgUrNHjhcQvLFPHLHjDzwlywLoZzR+/PjIYKDoxAywvQyV65dQIfpvPHx3pVzezS
f3x8quevYnDYUGEINoSzUzrXwHbEWA+q53t8+4QpW/7RhJxz7g63fSwTqrNy1aL3HSfwRmuDPXaG
tQt51uBS99+NVm28+AwqGJtULThjnGmovfWivS8F9ZtjrJMnub+7ibBpu1Pi/4RgkpwdI6iNi3hC
lKNjEZTOB4fMQVjcMDOfC8LIfQHdMSo/nZe3GTQ6B7Cay2o3qOBG/WEjCiQfhCIHuE4Jv59tkZyh
u/D2/T16v5P9Ht6H/JIVA6UIs5l63XPJAsWOvbfeFMfKFiJQGjxBq+ME1yjrWHSxaIbscghQ7rCj
F/Ns+nwPGQ2N1zht4YAdvY3oWPIumfs8utW24dRfbgF30DkQ05O5090QbI2N+Bi96JPTtHZAShTd
IXUDVW79Oyijathm+RamDbfKColjjIcNZVhH1YDufYgjxPICPgjhmnQALPK9Yh3Dx4L+c6QoTCOz
2mM1LO07b3QdraRqoW7yi7SKZPmzEI1j7N4vwdhmCDqLKwvAfVQccT4/aftiG31xqmLGOwtvpf/e
Ly+0K+zdml7BK5NGlBF/ZDHZHW2WQYLhBr4I87c2Oo3iJTqPxiUmy3DzS93lOmQP4qP6d02d4l8y
r1LBGyy67/hGQmHYWdO5LrC/uPRf3SbipX2rvEZT3rq1Su6Jrd76sZrrxnRX6JxHhl1qP7pNDNz2
Vnq2arjkwMIsIqGdLLio1oYIlnl4l21AtkLEWKNvISr7Yu8Q7a0LLIAzwkZ8Lz7WDbU7XOOtU2P4
EZVFxogaOdQ0oSwe+u2/09xY1jL7tcRfzL12CYYeq2svB7IWl+7j6Dav1gub/f5hD99hnYwbKHuJ
lQYUOwBhWAjHxAbELS4kxCO02CH2NEjX8JlBGk1PHiq4LQiC4JlzvjzjhU+9BxYrnds2o33rjgQ/
sZJJOoGmUGShgoNQhsDg4x6BgD/l2m0osxuYriV+krUKf2XvFJYoGNA5io0+WzfcZwfgsVYHEYQe
lr3o6bTjMELKC3ToqlmNhkvhwZjgUB+SAIx37r2fDIrkJS0AGhc3DgoeK4xpKXkzIQo80YXE4Ons
gWUGcCNLcMfWFMoL7Ft9/JDhNmF23nmTPieb2VPkoAOUUVD4YPF7GaTB4eDBjTR+ofSEn1kRBcen
d53SuQLTXvTav4vfAv1NKUKFmz8sMFgBUtQxD9Qu7Odn79a/96j98ra2qH0OHU4YVfNy0/6toCgc
ZAsL4tgJM7E3DdOiD4alhZA/OD797NjaPJ2GDDi8Z+JnB8oo00u62h3a+2pcujtli2GZ0CYLq+lX
t/yYM1zBhIB0ouC4KhXYE50rG1mtu1u4aZ/RbRX795D35EHB2TvPXpXmaxfVfB8dFieqOlYW7R7W
7zOsn1r4mneuY0wGWWm2uJfQ3xBTQKK8N2Xcc/BKdIlPFIA526TbDAhoGved9ViY75/Lxm2uKR6x
OFI93Vl4Bdza+6cFxLQIeXNmHWcT9PnlgJV/V3VeWdR7IYNzb+2Led469bq9WW1WD4LuijPcXuMz
lYV2sm+Bvl4Gry71E6BrOEJr47faf8MjE4LdPIcZlmNZBKXifPebZZz1UiZT2TPYeRowXNyrtldr
c/HPF/tItxg2CA7kDo5J3m8akwZBu1fsnAJSLAuXP5oUsivz/RHGC5p9v+ZvcegQLWg3+urEnvHb
AcVDUssS8Py5tRbTW0sYkG4p64Exoj0Inpf8QNqn3FJ+XClpnzJY+XBdaOqlz08ImkDFDeVFDhXU
bQyH1O9BWXLdblgSbXy8DEJUzUFC5dTbupcyNB0b9FfKJpQgy0fqQIEFN2EZBFGpeyyxKLFlvaSX
UH6GG2FgmAc+eTOe8vWjPKnskooDpKK6X95wsjs92zQ8lkYts74JmgzmZJ8Ijw3okTpdT/fo58TH
i5Sj/h49GGJwid5xPajj3cSWqOxPT9TgeunJACeDhz2ZAa8iqSu1tyHZcNnCAmUMo5KbGlMIAZCm
u+EUe0ibW+DUtCtjreHQ816w4YeGXii9vDKLVTvbu+wG743T4E4z/QWV6eL3cvw9wPYnvTB8fTZc
bBkBRi44ON+9LQgcCz2sU+rtgCv6iyPunf75FenvyH6wd1waWD2vqlhpgIuXVw1m7dPeNsaE+si1
CZqMaHzEqBiCExURnIzJ+Che5MZOC7ozu8DU7zeoEVCAt/mV29NJNnVuA8bJuDiWgVeKiJAF3b0N
y1Rk9Qi5cGI7iXUE2DLlGtKU0RUvm3d0tt9YUhJotRPqMGebNyAXcZp6rFbymGdTJt+X+H4TqekI
xXQEcYSueAi8I7rXeuVVbYxsfsv5BB4BK3hZ27dHyU3956jYY9Q6uF4cnP465IEoy9E0hyXaYa8I
OW/+vWzultytliG6IvRDAcFJrDUJ7noVr2hK0MewP4zr5jRz8a49mzErE0FQyZFn07dbxgE9Xg4r
0JvoikJA/cyQwueavSc9sioBTCUXQozdgefuIFa/0bD56XaKNJ2odNSEZb82vIsdEi5YccGl7QrU
+61HX0W/atNjjAZToXoFbiZqTKhKSKju4RgJzGOAdvc0LVPtoAckroQvSmQ06fbtZm9Lr+7Vw7/x
vFe+Um6yaGtIa+rN5O5SBKeqAgG6d6CpYqG36Sad5kztvReR7uXv8+8eIRaD4WvymhTwQgMYpKcG
kmNKFUwrCJlcs1Nfs02gE96G9riMOc2r28BUhdWCheeJsaFWkqIDbO1W3MwJxsEPgDNBE1+/PXO2
/g+PAwfbWPtZgWIVyhu34cpbzWjrkZ82lvA/UpkWAceL1q5XcqOyNfuRlfFsgoFx3er1+N/uzdje
dLuYM3kQfdCm6lX1fcEjLIGWpxeHOOvMMueHmTsW7vaDyd34btEdHfMiDm0YDDFF6SyWJD4seIfg
4m2DU+c0XkRWnb6eBfQUZiX6DFLa1le4mg9A1/l5nU7FmMBRCFuD5/Q5RfHuoY/PXRwydxdRArCh
lSA6yyh/Z/ayFMPhQNmJqq6CchS+C6NG/X4o40ql3absneyco58tiLDp0XCvtCvQhNmxWvc7nVng
jNKs0T0PPoi+1MBebegM5xaV4pJ1b33wdF7dWxVYBqfZzUx7MNOs7lLSvW9TuKb7bJUX3n11QYZN
mfk0AzuiEcvq9EAlh/0GXRtnOw6yYT8G2dY7rCo/O1+2zI342bpxHBkWCulosVYbPalUoWL/3KIC
7dPuLcE+FRLtikWrpZaEgp8I6Ac6d8m5Q1NRn8mlhPf4sWDdOjrOvz3CIDBboz3t25C8qesclNPl
bf51T5BfWtEc7fLHHAgBcmX/aGt1uyMp+tHhg/4FaOWwUNFNJiqI5lpX/oI2b91RdyTnFJAdm7tG
S/VjkK+EmjUtl0BYJQcMS/3Ru3SxcZ4mCCnKFhzYS3n+EKK1e5uVMTjWZIsYr/fsYV8C96zZ2j6C
q+ICd4El9qCxcM7UZljJkfQCbtB4vpgsq0MMZ17rDJCAxZcVpDpoVAFTpE+ESENWFsC1xLIe2eVN
jYShWe9OKFKgasXlTVi7/37uv8e7ezsGGcYqwGEMa14etSI2w9C50Ns2HazyP5w2EnS8LdhcpuSI
vAQLaAo7qWief5CUIdYgySUVrE4PqyKoTJjMSIYLPIR482DRqh2RVP3aOhA4kEQs4QcQ/+M9gawk
b9Ly7j5n6kO6wWRD6abHrGD1ot97HxFleVoyAhKWFH1HMXjX/QqnZgc4+vSgAUGOMegFmZq3NSep
1mcn+lg4l0wbhQlIw3xLkahdWt9LNpQaYk/YReKvsfiS81ibQUbjl0tPEgoCtsvsUIUGbW6b8FmV
9p6Q1H7wfoPJUGJwQoPsGWsqI8hFIe58vP0EgWsLqN8sHazb1jYAB7CcTz5OFYtM2LxmY0lGQ050
b9rI4+b38X5V4jysy0GJagIiKttYHrB8KrkPCltt4ACj7s+SNJUIB2mLVyFQJMQfkkQRsx3+Koiq
x88/dvnOZoQBADENElo3WaOFermLemtBC1EAZopsvxUDsg2E3O1Pc94c1+7w2YcJLlD+fudgdl1z
P/Z+lMQI6rKUNMtsim18ykyW38kdMj3clYnxdMlCMIdYypV1s8JGr/XsnNJ5k0UHmf+gTruVJWZW
PG8bj9AGQRf2efAP6PK7c29PB75r+eLAf8VUXB4PKiK/kPfNSbPqwBi4WgCvACkAzTBShxkCGcA5
Eq6PXeCdZ7HRxuDPUT0FN16zOuAvEEc5WDucqETcrPqYKFjZDQIW+EW/73WZsGOaikdiU72tjyuj
x2+zcw8+PbQPEA6QjKfrDR1OXnBBYd86SMIuUTWj3mg33HIl2EwpnDxhrcql9D2nWH05BAvAHJg3
FeK8q4uj1tlFywbA/poU606p4tEU+DbZgUSg1Q2pP+FSvYiotxCOYi5nr9cFdR7jI1FfsovpsPV4
ZO24KKsLQsNWyxW025h28pUqccvMSHydSvc2xS0EGeXaoHGwjyL9tIa5DdTlFpkzOLPOUhrBz+oG
3PLWhoInq//w5r4aHkeKHo4m2qMMNLmIurgCOuhBOXhAovu53Ts199XdkyV56ZxA8Rv9KTY8Qi6l
qHG0oVMeL36JPfrR+4C4JNAIqnbyd+ekRNXxg41k71PAz1D0IGEd1L1CsB1Ub+42pQ5cxvl8cyEe
vERFxDnkk3uL8l4SJP0dxp2FhOjgNC6fqUw4FcO6Fzw6SwN3bd8WznYZxTo272sXD14QO7v8lwTl
vzeJECyBhg8boPGekNAiqJ1VI+MCcmemKYZ5JFIwSaaGmCgoUFGetprE3LAd3f3d2fWuq1cLvg5m
eTBIqSA2exnicw6OMJvOwAzeFm5M28Q5/fJ/zXCuCBDMpOgufvglfKwrjRkvQ353bdoIzwATcAsN
y3ReJnING3V3AVhDkzt8YpGltY+hSFv/nmZPwCU9CpAea/oBO4faQe2t4BhOgUj3Mb1lO0n/yUR/
q6p1nx9oZJ39HTHma/FmF2WfmtMbf1mD2IJydQayselemSYPYR93L9uHH5WEcLcp7hFDuosJwVch
T/BgiiTBEcUpBJwHVxywufNh4z2MofgkoGwo+BtTCE1F57mztoCNq4InFzqnscEM/0rycwMs42KO
TqxjTa9IS42ai+svaSBWelufVPf5tmGB3Ea7nfPBCPBudK8tal4g8Gvc/cCjFr+39sudWQ6Ug4oL
xQAShhQP/ILkhn2+NcMaFhTP9aKhFRFqqRRGR0lrNkMBwA0pqelYUYAji2O49KPANhL14kQ9MxFd
b+iw13IKAcGiYVNjZME1RrsZeuvkZwGRkaF6teoIZKcstfse2Tf/jVjCm1hue4lPYMdHlYhOFUvF
qsocdWMOoyGwGsy7yaHDt2MlrVQtuZG85naOdb6HaL5q0oJ72yG/xsC+hYMLfbwEJX3rrSoQA9Z4
KogVKHaeVQHHPRPjSfyxvz7ZSmu5ObUo8XjC0Y16MFpCa7X1Cq5uKbdyC47PoDlKcg9lFXZ5j2SQ
AQ3CtqZMNfFgJj9VnPppyQVSwTEN71j+POyzX5NqBX4i0X8r+QQn79ABWbtsgxJWfww9CNSwCGud
CzLZDcrx2cZdYCBUwRWeLNO+e/suFXg5lL+ePe6tQMzFRSfcCVx/HUbNHnIMjP+VpB/yJJ2QkERc
eb/OpD7hBx+He3ddWl4QmkBeGurrfkiV29li/30nPSSfdL6ogQ7wYgF4LE95B3QuSF6ShMntntCS
Gt50jo2EAy+AfrvzztPuXNWQd9kdjXDVMonguoRpBCl58RG+KlrUCg0T1aqPpkUUJdlkbMNz43g6
LZjz1k5WvC2Fhjyah9ZNO+zMR/xMgZOf5+5cdlzzJZXl7k1/RVSonE8FTrVnVM873ZSZwlimHZAa
DLLLYBLzdqex3w+nKXzQszldKpqd603gcwZYY37jy53ZOZqYX9BeaNrRW52f1R908DYHIx0Hd+iA
ym7TfLb53fd1KbtyUAgWpz7tLMMOP3WWcqhSaTZ/mZg/4R3vaYirovf/t5Fqqqp384fYsWBG0S+3
D7PKencJM8gC6W/6Duu/WH3gJ5LWfQK8V8VFrIe9noMLMHloKSqgmIXTAvdhVRmoiq+rvQ24WO/x
B10Hb+M3d3H9UgLW0AJW61V/taK+zLDw1ofOen2x1ut+f9WP++HeDIMhw5oUP4xfVkbbcPiBFppY
TtN7KtnlkZS4bs5pqfZtpFfnMuhS02txRHuxwY7vG/Q5L3BjSIB+OfoBn1qzpXMy4IJyvx5CUzZO
cZd7NiYjYLks2vMS2dGyxMji+UjWSS2WVKn5DdE4DxIZXq+rC8J4W9YsOmgzZBCiwevRo67/jE64
0HwcqYg/zD7fNs0u+Qu9/OL/gQv1kETE3b8Fsv4iXo1eNDJcrTYu3IYVPBzy9yqnu2r2++AMU7mq
qNZeClRvx9GUnI2d9F/XvxsZC5BaayA6A8TBPzKb7r4vxx6ZZelzw+XAC5Igw5aTZBXiFXaYDZiC
aiD+hvZcJ1hRxz01hvg2NquYI5IhzpBDa2p1P87HDYMIaoh6KmuQfW9LMkbOJvOkSwrlDTzOq36/
/J5ZBAmOetOCjpPlyWdNWZpuV6jA4LQ8DUUi8jqV+cmoTueZNNRDf6ixEq7iV3DFA+0RII2QsYWU
CfNlHf1v1W2QDD/bzek5Skfqw6cpQv89UJkSq1b8iKXOJREmi8byxoIHf27YSeaeml71PYS0RLR6
2DqP09/j6BzXlCChASS4rbFcFvEaxgWxZQxo6Q5mt4tQElQQ7nQWtEHATx2zuWTOZt1033Pn1qpr
v2HDBMiCfwxALilMArm7AfuUgi081Rf8Vlq7xse4OXy7x5gjwgfx6/f2/sUTMV9CtJQYHrp2QaRU
gjJYRFsvpLIi+KfYAveBtY1P4+IndatlpiQER1TwmjE8P2PpzPnKhpBtqSJpcXrwPHq24grWYo46
Lhx4ZDybwTrWez5FSd0tDXy0ZG2lG5JdUxbG8IQcbVNfzFYApVpkaPazbWFy3HDOE/GfIOOBInFG
oMomFqxsR8sCVj7rtZa2/zum4dRCT9xK1HDKHIKebkUrXJC1LTswODRpZPFkNZFuUDZE4a+n3noZ
HOgqL3kO9YjKQBBxneN+9cut9+z7U7FXaCsmF273hQkfQaMD09S5Mmw6UARrndNvJboUsPoNEqTW
eO9azSEQZ7mbrUqGVYWTP+O61nt4PpQSq+nv4+MPTeOOEzh06KkDXjHgnNL+Uks9dDvYLwTnJrDe
pSU5hlZrrc9Jq0rh9ItTUrHhHjlYYkYIzIuagpWz2iusBANDgGJFZa34niW5TGt9wIXGBTnqI/iA
7kuj0I09nTK9RljK5QZk8HKwk+AmWiFMhTO+gh5+7c4WV7D3LzCgt+iAM0GMErlHX/NNSCtT3I+p
6L+hLrHSNvrGPA9b0aqwND94+BNJSAwKBSPGSdC8IabP8I+8dcqGuTx0062SwebGfPwd57ASJFHE
j7UwORh2MazQP22M+DtufkIACirktfgNyXidYpNUC970cAQxOgbXzDytnnc/oVKc0iMOV4grHr2g
1nHZ1e76XW4125tsxTJgPJJG8YnL/d83o9pT2cFp8/e3PTmttzGuATaWTTCrMqtRcZpgBl2c3Vq9
XxQ0J+v4R90Ztsk+aBatGxbuRb8wod3wBMW4+xocnQuFOyShLZW0Myw8CvBpKxZeAKNk9fg5Ixiz
YWMWDy6CjOMPsu7Fh05wzotgZYHGatuD5MnHLT5jThZjAiDZzRtCi4dqDLdSdYF9u3IRuLQLw3rB
xQECvQ10zw1rR7S5u9sn67t8tOhDDMT97aWt74UOwjtyMIQBzKNbL5ia/l8EQtJk5KDFmJ0eQ+Jv
E1CMsPFugElEb8pfsB1aR/7+Vmw6b3rNcQl1woKKE+iIQ30UqfHeK0Z3v25VEUOAzxesU5ndbUIn
r8sDl9K9D+OSQe9+cKbATQGWCDapzrY+OND3FscervjHeayb3dvHaaCONa/xqV2FW4abXW0xKV47
m1IASbfJOy7a5ekNyVEWGSA+qNaTrQ3SdVsfY0xEAHuO0IL2GW6tKL3oA9G+T29QjuYFMqBho5NB
cjKCB7nmBtx7W7RjSB3QJoYbEkJiM1r8lCw42VfdV5on2Okanj6NT4doBuVYo1MJwNoaHxNTAsxY
snMXLsT9bOIljPf5kRa67Nn5nnf0GBVFsFGQUc55BUMJtV1+9hrBuREeB4ZTw/wf6U0yQvJ2jpJR
Zb0IZOwisBbwlrn5DUqIJ1Qf+LdpLr9RxcbX3pS2PrSVpfDpaAtTK1i5cIJjEfMdI0UdJ4zTvo9g
3zTzBzNfaAkuCnEySkYvJ8NATJWQN6xIeJEMLVbvESSO99Y74jNCkCZDQTx9UG6CXZSdRdNKcEFF
/VZ3MqokCI5XlPCfZ7eaONCsKSSyhWVPx7g43Fmqsx9flyJ+tcmbjfDjXf1suPj7lqzgZLJlcSOs
AbpTo+YFlnLrWqfWeVmNDuQeC0msd1vLowTvbXaZMhuD1kTwzxaFdS9/PPcTu8rp8J6XdljwAOmE
kFNn5qC12Im0qKVWT1kf7mJ18dbUwncowPmuALQueL051Gw7tG+OOndWzTiu2vFUqwvw5yifSNjk
bjDTwwG0EqsdNEIygGH6wIEtAyDnUPHeqYf6+csYlce2vLa/n9crtICoidi8e9lbHwoIjKJ9/0UP
9sm+X4/orTG8Tie14XFaa2MWgE1WfVz4Ka0+s0qPTiEr44VPY2WWLo/jRmLi0z1/4c6DebsNJA49
kxH7IS+nq48JJR093xFIX0h8r+zO55eeMGqFmIq5ZPmfHgoOeyMhOsrgaUIhm1kHHXGOo06FzmAX
02DXyr14yysCmzfVGMpdbENsEuSSk1LdzB72c1B0jrOTU6QIp89mcLZvgCv0cSjRbaDh1iC+UrAz
/KJE3rpHGWjatPSY+yAjOd8P033cGBRaNNVZ3WfIWs/rbat+JyhKqoMPvry8sQfdYfe8xRJQ9I3N
kjok8UxYXp15YsYABlapU8HgeJWd1LHG3w2h6O7OrUrYjOvYaMPBv0MTx3DtUArO6i5x/9mvnoM6
rAO3Qo3EvePZgpSMDI2OQAylY+e1m+1roNOLY+c+f3RTD8iEv8ciqjjGlwDy5MWrtursCxzaGQCS
BWTr1THxpHZEnYteJdM9XUuA0wYpxZHBDjdyd1vCVA1QGnwco3q0XIilDvin3RHKYFEK3M1x1mxI
Ij6EEYMgGCdPOjTZOKFTqzro/3Rd6FyAMD7ALtV+HRGIvKR7i9l7ea2Qst06m3m10nphipG4tQYR
NdQOfHKPGAIhq6RJS+UvbfADe52LyvE6PnYeeC7PMrx74kp314abiiPdKeZ1sK5wbw/48n/oa9IY
Rc0VwSKFfAp1SJCedOvafqzrakdGD4hMuf7jQoIwmmNkIfKLWL9oaOt9ujB6zuwyn6t954TJ3oPu
mBSNsciwsIhhCVtYuFRdx4QQKP4gIe8ADV4e5EAMFvC22oe4K9B2Ykmn6z8XxVIdfXzTKSzrTb9O
DOIZyL8ZIvgA32Cjv71bZ4uffmczLlBHJvENOCzI1rg40lzkHZRg3Jd0CY4Ht1mbZnu/hisXJqB7
/3pw6QdtrDY73rNB48jy1jrO0s5p79QGAJTFWXIVx6AGVoC7WQ8h+sMuZYNdtVuogIJ3Tpi29hFE
FCyakSElCYoQPYeohgBNgCfYdcFqwsXgXaEPkcUva9UWvBVkMCWzRL8swypjkhAfCMU75WpYQFSP
VYx/S/sfiI2UXQr2dQUWHfJs5b/zCo8MqMRl+idRonwOCqzrmXMePXEfnSFMBoLEkJyWI7RrI4y9
Ll8h3R0q4WcI2o1YvoleHpJvjtEId2Iytq7h1Rfj4EoaoRv56ABIkAT/6hS7KfLWGl6zine1SJMK
WPtls71aKUhHdQ5eSBM28LMAij/1/S+CRr7mryHwg/+oOMqCQblUzSep7W4gUnwrsGr6ksm+7RLV
UnqXtmgh04YfvZlmnZRwA1vaDWxddLip+/EgloMCARsUcjXD2l+vaP6ytsD/giF6lLUQ+KEfgDCA
ww/HQgXRFsH4MMDBYFzsbSCn4ccHctK94/HR9UHqgRtoWuHyq+GYLq/WuGoFw5Pl9wHWFmY0/hkf
HN40Pw2Fau2Ga1JS3gnFdHNNaVg0Dn6yV1UbVONAlhT2QUjYkFhwifPI/MFqFLYhv89hgHnZNSjF
apff+d0mnD9GjaP/VTT7ghd1Nnpt98pw+Uew7ylqoBaqsuzDU+lzSe5L1TKvUN6skfL/0RGAR3DV
cnSwR909SQA/CyVbAmYsO4BOIVDFDeACLwu2UYEmXToVdZdnM6R79XR6AaNSfErcHSiLyYOMRSD4
ZEPQPUrsv5o9AjtRfDLvcGxpW6nPvAONX4c5p2H92z5GOhx5Hee/1PlQxlEmAwKW4Sh4kzb3cDKE
owHX8SYErkwJ8qnsdcneOf6MJ2xOEQ4UiYLyE/LziN+EM2cTnwJUBDxjIQQtapBmEiwowQnj8GCB
JB0JPZRxpSRpR7MzLbopQRXQz3xPEVpQ4WjEc8rIC3WDjlXYoG7QVR2O4XvZ7jzIsF65GasiEP29
4gudIngfvKku8UX3RUMg/bpGTKMQ5O3SRiR62oVuRg6guEyR2SuPyzA+8h4OnOls+nIU4+tGXkkM
g8mR3jDyrAj/A6IiEV7WjPYbGgyAvDDGQp9AF7RxRTYIHOEpb2SCMj0BmvogaXsTJWqOkPHuwB7r
JB6QU0g6w7BuwjNZEimMKHTrACGhcCh6A0T72M9CKP13FnTWeMUDWKfiVcYNTrIWF0k3XVUidU5w
ituATrOCKf78C2rFyluVuSoB/mJYysWV0+KJQmN1tnqO9RPovjVzFngUwOv7F7qMRHPmodXsbkdv
glmqsTSC0EVq5CmuLhKHBR7IK+oHXVV0A3iGMdH7lIE0xjUVmAb7YIQYSGSG0cnWQFcaBjGXh11j
ZcOEyE97/6M8U+eBdlZgUJS6q+zjIr+rvxPvuMjBGAGzgtQk/0aNJBI4ziWcRn501XESnOqwGxdL
fTn0dELqFJ3qHL0gcNFvRnGoQlqoefzZhyfZ/KBgmrJWKII1PtYuvqd+uct39ykOAIVd+/BA2kQw
3aC1lD4pYC86Ejvx61284SZAabcu+ICjQxbs4dURSiuF1GZZcI05S7sv+fNXAg1uAxQFLz7XrV2X
wnaqs4NXb1W4knTHlI5MwjaUZFr1upBbLC3urIN8RONo9jOLkD47gLye2s/DG/3zBr3ByZw0CFUg
10Q/P1h7UEq4mJMJNU0TAuTPD4RBsepkFY9zs0NLMMBNuFQCOBg8DByyCYexgJjQY2LnGQBfYv59
B5kCfuJfBsOcP1uhIABgutF7VRo68bTYMEBT4QY6GpOcXE41ltNtYixOuEZpzAQSzhKyHsw7eJyD
FT3M8IfSUzTmAHWc+v13HDLGWCK0oJydLyrzHcd6Dr32d9QCebW4pHlyo9fX+5DaL/Q/JhsIZER1
JVUpSdiUv5JcUmkPiJ2+muJn3eClUQfqvbvE6PE0jsOvKpBNUdbXVEX0qSuiCsm2j6YZDhW15tlJ
p/XbbjKIvv76s7Y6swONHEy6t0fRkHmmh7MBlqB6qu4yXCHuYuH8HpUAKp1a5VVa+JFqMa00JZR/
ab3TwpXZTDbVUGLD0+PUo+K7Gups6xfcQ7Sgc07Bl9WzBmqttXvOA8VdeqH40MKunFd/g8Y10rXS
91+0Q1iXhi6SC1RlIvlpNSgy5fXSFGG0gpGWLynG5OtYDrbr/WsDeLqajHo335ue7eroXbq8g3K+
7ZGWo/elYoBkhmfSerhcakvTYaM0c5+0WUpcrX0Wm+xSSDsnQyvmMWJPosSkJkz8XudoPj+1FilO
OJA/2tWpET/6BKp/EE+wdqS7TFTUQaSgI2aRKHm9o1HGIi5R6qUvOQAmpWgy6dsETvp3UIEErjcu
M0Nn82NhbzPUWsJK4nAS4lW9BVwa9glB+Ld6mFW2jX7dpkygBzCP7jboHgu+Rpg+tUJrgdEhqCCi
hR5MgbNJyszd4pxx+GshDiioOET2PFq6/H/T9qDrUHjkb0jTi/qMEv0a06T/6lMYemCeyqICPvt1
ZK1E2UzVTPIlKpsANyw3gMLIZLXcJN523BhQanQopc4oSrLWUBPt7oanDqRWdRCmXgp7GANWfaIa
IVJTfbAeX5V8fGy6ParByqTdU5u7o1pXz35UOxZrL6IqGv1AbnHztYg7o5oL/zb6mbWpJjusRJpI
TCxzCFWj3e79IWjstZ0kSuNFlzmlJWz8A6GVmDCfZe3202pTt/aSqO7NIkWew2E/7LN8YbnEORay
/933cHX1oJ7IFEh7+BpaSF97mmYT7BWHud1nIvryf9V5Jcvoc9m2rVgVKYYjw0rnHgFRHprgE8ej
Vf0iCmAK8EEERnAmRFRQX2ZSNehwfQmgNIGpKepZ6HekDbjksbBqtYyp1LGSsq6+LJZdRogGnCrX
hBJ8rvOPgxf29TIaF//CAC3BPIoPHPBpxCjom+V5dQ1rNL+tDQojXVbtKfLQVb2g4VwneQtJu6gq
+HkpKvfqigKYAatTov2EjIDcgPPYX1EZO1JC4NcCxJ0qFNUy7YPz1R29L8xCHq8KiFZLTrjKHNs2
8Z/P2PeHw+CAdFWHRsGcEa/xrmCQhZbXIwGCP5vXGXhoGIqetbHG/tpehaLwClf7HvE07jNx+jHn
+eUo5OLAOVT+8d+UcEpRPb4t1HeZmJyifaQH66yL4JhBZUS9RClQRUSiEOJurkSX4JyyGMVZlqqb
E+r6zeegNaOuYXUUejPBWJ2WedfQDdFMfvG1DDMSeAIuppY8gTuEbm9b9yrlV/WRh6kGPP8WH1mr
+FOIkVq18oVLy3keMGkE0VGOr1z+KWpdndw+0WVfOwGLTn5tNEAeliqV03w5oWzCaspeZPWnPE6b
4jSPunQQWjl5bu5C5w70x0n05VmmrZLGP8Bx6s9FtbaLebTWX4YuOqYADDHfnhUmaenvkEtQWJ8v
9aeKN/PkZEP3vG44DadzlnweqWmg0G2eV20HQLOigwLHqe2JSb8Wm9wIdaROfJEUy50bHC6XkEtH
SqCxvqKSBb27tAFhejCulL5tXI3+m5/PAA1LOmeSYIYcPkulZRd8FfYvds2Jtx4TgEn078vN57t+
4vXjePUd25xHdmpwVSYBMYVqZxr+C0fbfpOi17eCJk0D+SzLwsuEPUhNiBxSl4MvOvurftNeUwVW
FqO3/w1cCN/1LZioW+X00hP14PmMTKalprnWEZ1KTs/obL0plYzYdrXqaM0R0Pqh2aHmxYH0koGt
OWeG39A6z3gYQ8oLwHy7b+WupG0alaR6ecGdUIChxXBnsHKfdvt81fnGZF3osBtqwioTa8TyRhgf
1GgGDNouV4GPsM80ZZxJ2aHDTXjL/wZTwxOLE+bFlG0rtacsfBoEFXFzu11NnGmnu2QudedspxpG
jZxlquVOLHqF7vlTkUCqUxpTRIeetHT431LKPwS+wCPCqRaPeCkc2bDmS2rnhALMnBHnDIIJg+x/
fkfFo4Iw3UTMft5EnkMqf1dqXoRTQWJxI8+eT6dXbaV1wqRvCqNLpO2XNZ23TVH77Q9GW3sw+Ovt
LO+3V9T0hMagXOBjaTUYwOPgJW5iffBmvpnWdKrzxtSEqTLiiVSU2LDkqwfZkYW/6Cd2FfNu2TTQ
YdprV8w2TjZ2QpBHc+edw9VwaArEw450ntyYgA6dKRePKaJXaHi6TGT3nUFL/Andx0Vn/dArtX49
74+Jxho01zXnoAWMl32V+3XyVN/4Rk4bX4EFAd9fYUIfxhSD0uKEPgvfC9zJn04UjeVoySuQk5Ol
cqde28NQYkDLHFNvQDdFVRr3rM6sZzp35t/dHwyAt082LB/REjjVLDcWjAYeyDUgbbMQN0PZJu8T
XZsM/++v96e3PxJPXBwDTnpOD984eTc2nUYanlmQv5eEeogktUJNpdDAHwWPlKKrfSEvGjDLmGZM
zYOn7QADinyvYQH4j6bzWlJcyaLoFxGBDDKv8iC8hxcFVkggEDJI8PV3ZfVM9Ezf6m6KAqHMPGef
bc4zPJvQQrDyWc4kwv9Pp5I77YTF+e9sFaWGOPLZWSJ7xi7bHVMwCeBIHDbif+QIc4f9+In8obbZ
fv79bEhHvO8lVHJcD440vi9retKpVi4fsbwu86W4WNt1iGB79Pddtb2FeEiDCL1APBl7vbiL9tt9
R1zt+bQvZoQ8bQIZhJhvLhdcFnr8tzXqsHC7LovomAUTWPPielA7imJEAAnY3PQFOpUPRZEjim6N
9SFGlKJM/3fWRD5L6m8tiJUggADxi4brDFizeXHuUHzQ5qGIHIm///f9YhXwWgkBohMWVZFYeF/6
q8r7V8H2eDviDGOe/7dkeGF8NOvfNmOJMRXnY55wIQTqIYbmmljF4heYh+BYEWUw0my6Bt7kfrLd
j1jQojA2aKUpyMQO/w8sEpdMvBXTmgiSmXgKlEX8UexHMWIMiELcxBOxVYp/4MfwleCgHY98QTcg
LpbAh8R2IL7i4awnbtnJ3hgwr+GhgmbGjepNgCb+priiN1IcmYgCJrEIpI3b4DXKiZSaq6+hNs2/
Q2Pa4oWI46Nzm3QxsNsZ09KLsVRAMj3S+p2xNhQnZuz+fbpKIJg1Ylb1f5kDekdbR1shfgG7Mc/F
C58UPBQYWNwzPR4ykkUjLV7Pc5oEH7P/xpcVF0EDzlFk2LFhMJc9tKjREdl+DlgHxuMUymkNkZjb
I+0/h0WNoqX5TmppeUuQRDt3WJh7xdJcfNlKTtIad3mo1HBcNT5b/lJki/stbhEjNFpvfZbAgqe9
HT7IZpD66geOMyWqTq/bZ3gM9qFMEHqbHEQFvmVFcEeuOIG8sSWpY4EcAT5HjAHL1y3xMTCRZi56
23JcX8lBRYYCKyGIZ82qXBnT9wgJCrrDFj/UXkBraHfGxfE9kjBl7wyj+Sss3fvgc0w5DQleBSjv
oFx4Op05jwmYV9wWbQhORNekTJlXOZAnJ4+VtFN29dHsqz53ArPcGr0LT+5/JnFArNeB6Xa8Jqlg
eX+HBlpMmJZQGz/ej3NkdWxQVDI9sORdjZOHOpGn+FVjcnIns8fBmeInTh3D/V67V0gF7wODZnxd
UDys70wEs/mLX29+NeNmnG7lC9mD1U0ELjBPfGLCDJqNol61Xmz9Ly/j/kace+RZj4+FRGCk/Sps
1ESYCCdAFpVdt/jSWzH+u+SfO9UpHvMojKcv+AEdMgJwTnXjZAgLyGy8t9YToAzRAqsJjT8xOviW
foQRtoQ8Ek8Q+jfY/ZGnr0ov8hSS7w1I0tiMcNPvIbV7xKTZEbgHEX2/sUzMAc5p7QyXWmWTkS6J
44YISJWYsAlXgQ5IULXkQMfvjZKffDU4f5jMw3LuFzfksYSryOsEBP1t5+RtL/FW9FXcIsikEM5d
3PzXlN5CO6fLVrbydJ7GZH+l9yGiGaknvHHhB4BYxC/2NPzF4Tj49OwRabkbdSy9IDG1k3z7XGoH
jx/DFHzfkRCVPPrqmlt4yGQTHg0xPiV+TLV/U69SbWOxDG5oJ/MvhGA4IMzBu9PcJCkAH1b8pak2
QT0z/86kbWBOSOGCpWA4WBjIzOf6v8TSrj+vw/enfWX3tKMvpm/ruh1y63eFhxpeFPeO+2LdAA3f
BmkecONgGZ4Ewilmi36HF5Ublnms98+peaw+A1MJNCksNmbXJhMWwjslxGtbQQR05amGZ9HbfqEL
D25YmY+irXxzi24f9UFzkhAzDF9bgv9AoExHQScCpJzaBXEhhA9OSs/8iQEgdunJ4Obd9wwtceOn
PilyB7eVmjEbsQf4vT3R5OOI7Riw2jFfIOlUCe9h5r4Gxa6aYNfgtefHqbP5IitTD+/5k+MrsV+D
V3np8SGaQduZmNvvAf6Mdn2PuxiQh2nkxyFMz5IFkj0CzCCeEIT00IBHSciBYNB8e14S3KbcFgpG
fW6H5Hi0Kl+KPkRInQm7dQOXgKipryC4qBVxtVTSgMbE9fW2KnwW9/P1KtxJjAAezGuuwVwlHiRC
7M1c/FRyjEFcRJ4J4oM9x49CIIO1kyNwGPW21fR9Id2EmLmEPSqfPLGU6LnMbOUV3iIvbnIGyR0X
llFb+ynp6Y9aBIAV0Pn+/HA05wUefMDsl/qlmOQ7nVPxoGKDPGDUlFHZrotMWKRoPlyAyT0EZ76+
ZvW608ekc2YuM+gq3J44vEIIkbD3xn0FQRv+VYdo/57hS9MghyZWXrB/uWI9wp9Ydtvf8RnUkFR/
FlPa31JDUkQsazd4Yj3cOKof/fqA65hnMj6evg/A7W9cQYg1zHea5PdgNCBXqbAVJys6A99XTuoB
UTKuyB23+RJN5DwLzCrDR9Hnj4rqNo3z4EK/Zym6Jz0ocTR8eGpuNxQZT5GNpGChdvc0xvdA2V/L
LGb5VCW7h+WDQWLhtHfss4/YC0FJ0ygR58owOTwVh3dWLCW2rQ0fezm77bANuiIxK/kuix+WxwxG
U5LyyK2mS8RkkP3joLMO36jdjOcFf/w//0EOnnJN1OyJ41ABiUYajYeRMIrkSuBbS+iicvothO6X
787satO95pNynp4y0tMWfOh8Xp1A4qaIdvkGd5Jid2PejVm1yy7OKja3NRutyc4PQ5dsYDQqFGGQ
6HW7BunZEzDCeaCS8oTM7OOTupxYOP//Gu+JWmXetPhMWzD1OrmjGm45QrdoTDNIsWAidOx/5UWH
JVw7731XhALwY9m+1cZia+WoqnFWBZzCnoPjHCYCghAsu2gtYQZN9WOeC9FprHlSGbQMaJhy4vrd
o9VrgmLAZHyMBchQ8X5E+KDt86WQJVrbb9z1zr9Rcmp3n45VrYzNl3cFwwvV7wFFH5umCkiID4bs
k5KSFHiLcATFn0Anv29HycTpJO9E5qa67DYQCbCQZvNqNzjOrFRcvErf/PjY2fxkaEn2CydEiKr9
OHhMcRtHP/lqHUzS9czroCGZmlt8cEwa7SGLSYdYvI85YSAEYmlk8U/Jz33/XB5QyIInCYuY5Uli
TIGpHWl0TLtvrkQ1adjcpIkWmqWLnX6TOS/uRugHDxQ3YpepQGMoYtIhOV9UMzDgtHJYIwbjegEY
wteBd8HJkfyZbh1Y9r1t79Tb8q31NRlzdMwU3L+jqzIkRXIhhZ9FhTX1OhonHrReYtmTcb4s0bqt
5KcDV5GtnzuE6omLK89qFjSEuH2DfXIi2V0itFcR8MskmzacEeto8/B7aLF3L4mYuWjPTd4zhfMS
SHdmoz2N9tHhfqimKa8UXgenPnZa8B1yIQUskdEwA+HTIyGIfhErAE34r2SwJ0zndiwxe0wpaOM7
PWo24iZMsAEmdgUGhm0etRbPjS2BFJhRQ9mmxOEgBl6DFQPgVF/JFlKwjKGaNYIsswSeToobVf4l
GzwnStgLTT5r2W/ha2JOO60ZoLVWd57lbvrCKIUJExhizN75tcHgucbygdUXc7OmlsJdf0Pvejux
VuBGZijWYuux0w5USIXBsiai8nHSN9ndvdsfSGAUTj2ccbFFFhFVjWlTOsArNCA5ZB6vAYroHT7Z
14k1R0dwAcsrOqfHZPhc54fnAeue4oDiavHGkOaPJdOsFGK1CrywGxeDM6xWPoWvbFiSeN/1SJBN
1QBzdGaeHZTPFl4mNdbTi18/XyS8h9jpWPrbLYlEyL1+CSxDXGg/G/VBBYi0uE14Acau2nBeq+cS
LzKQCwI6374G9xnXMDKXJNYDW52DylNL4bh6Gch/Y2U1dKVnD2Wy1wKvSL6s4obfT2q/h0iTQplq
mdOiQ0ClHbMWoZoREP1akhgdbYt5b/1dEJyE3aywpC7G+lq/NE/ruyxm7SifPS7ZIkY1nFmrxon7
8fA9jEJpXY0/YzRp8/s0m6reaxltEbTJ7MBMogmW3JJFTZp0cVC3z/lrKRMsg/02/B64wpFlXlEJ
agALOV9G21v47b/7z3G5/Bxey4YVPTa8Ct+Ax9zAYRJkMMQihKAOrJtlD9eIYTEusL79ueWyTWAJ
oa1EsMbmvsRC5VAdHvN49+0/513ZeswfcxIlMM6OMEOOzzwlcPxAQQq6zvn/c94ZpbzCBJYhhAmq
DHYB8Y/qlijRbTp+y5YKnXtMNDa6N5S688dY8fNDPsbb4FoRgvwYd7fJ8rFWUHnhfgbf6euQ6XNS
T5lsYT5TEA3KImmclGYS13DgmS1aO7glzHmQ6WHWie75VPEjG2VoEFckXbMl1zKbIhme51xD4xTB
Nj1opxpTpC/f3/AmiIbgGOaHnkogVmKQ+bD2SByQnfE6G49sshd+osks84sA23fMGUoZ44d6GYUm
RJ85n0AxxvrQ3oG1lABImPyHpkfAMZULWQcruhDOg+fEHOfBbd095bxaYhM9edvZa5LzWP8G9ZZo
qfcJS3XIZjWac+aNO4hw1J6hMvrmopNoUAn0KGOTkcwcshG3dgvXkw7ZRCfOVwrRDiSDUCZYMUaI
MNGGyvh+aeBgUjAzJpVsDR+3M5212sMJXzxWH58IRg3SCU8QX+IVm0KMJyc+wCBRsQURnsXy2ais
qrPWiL+qRJ+UrBL/eeQ5eRgmSfLfnqcwykiBngjnjlXrr9vjAVR8DI7//olobr6GQ9dYeYkklLOO
5crP6LhteFvwUH4E361iJ0XNwMkcW3zP52jOY/aHSzTlP9EOq/gPThJ4YPEysWdxWjq51v5g9kJH
3Rt9KLcN4eDEM/B1D8DbRf7D6LjBIZZSeH2K+lIIyCkaiGZVr3A2KC/Kpg3wjOSQTWX3ExKBhRKg
wnOnY9NYogb/bUSieLKP2LyPEMmjjsWDaJgJ34KOSar9JiVVnR8pmH7JTCP4CzHL5Y2L7c1a8iql
I19IGxhNe+JORuUlu5hjnkCI1d4rkgMH0fS34S845nlg5EibdIEKob6UZAp+IbHHIyXk31Glv0fP
BZ3vv1ZDFDnCRPE1ExoAaCOvQT1qeMQR2cRMCqoJhlN7nrOc5VRJx15YLZqVvinBDAqK5+9Yon0G
hh9T8a61Q5fMHRHF/Z4r0P4JTuF0Hf4wm5Mt42dnT1oAGz9p4UAJdum9x5T6FBoKBxkES0V4R3N4
vfafSY1zlOn0qJ7ARj+0nzfXgE9Pp8CuQseIXyJ3/liBptMOMe4wMUelfSF0AYO7niu6GAptrJWp
MgA/0k0vhTniF9gy3pxCsbW/yB7AB2nC5BY9yxWOvQE3BvY9q1t4QNCtUoWo+zcJC7Doa0uKhUtE
hhmrMf7gigfaC+tdEi1mAasTh2ZG44n/5rxAWXH8EKuGySqJBKrz4U5nKeKsEFEukQppl5QXhNpC
3+0SJuDzhaI62OELY6feVBg8CV4iIymqjYfd7t5FWFAqbGsmS5KKX0krCMq2zKyOJdily7fU2Gov
nZ26kS4FWRPrCt35l5gHjkX0D3x+O2WpAFA/qPgcKgeqhYKBAbpTUL119/CZtpvqyNLKFziWzEhb
nphzPDRZvJx82Mex+Fj6VMww1+YEyg/YILCaRQKWOgWQBlv6zWNX+QLyhuqZb1EiLpD75O3icsY4
mrVPaeegoKnCt+TJUdBlJRNVZKlYS3ARzzk2IX+KC/KzNuAzYC1sWupSt6U5wMRRXn6fpIZYoCHP
I8RxXMnY9dnPqaUe19/8ueE1PhaU6PfZe/8aVAtgf1sf9dAF/0ZykAx78/YY7d6qU39cNg6V5caF
xa+BGeXqPYumOQ3cLDqzMtlF+J3thP1KLEHH6PM6sYdll2ipRfg3cHc2lw41EfrIZPBJd3o+6PT8
G+w3Y8gSxO6NOjBnU08wnzp2v35DQuue7uF7aea/5Xdci33gfVESj1dB2fivt7nvX3ttHV3NUzRD
KRcf8w5zQsX5bCK8xB22NKmyOuTyHKtjNcHvhoUes+9uzRMdeg+dDvLzec1FKCnUj9ouu7wubIDa
VHWyIScviej38L5vCfvS+r1xuXtDH9c2jz0BHpgirVDV4afUGd6oQeRjZyoH+eDbL+Yt+uQPlNFb
kC21E1YLA23x2qKyDzvzH5B0SP7f/L56bIxhPDKmiX+/FMfO3Jwb09tC45wJKB6NA2XZb/k8YxR6
pkdD0kEwe2fbQTJkFEQOWbelsiQAMEhl9hBSgjkuvd+uO47XXe7GKQs1Gd/HwHvjZt3ygHvI036W
6uCzfXKGfgKEAlhhssM8Igs5jnZF00/JzO4gG/YDcVVBGSoa4WcZ0LB0dYeuBHNRHF8jaGwE8qGK
mqCcEIRHgd3//raQSPXaol/igJX2WwJrcE/L0d8MNVzWpWtxUnWb9DecBE+szpFOuq4EGGaby97i
FeRD1GVsF9xzupUSP3tUkcsT/AjaicPjKCHjjnfHzrkgfNrkrNUpXnEWS+6eccQXnu0D+BDwEesL
7qBFdTHPGplGn0mxkI6Rofi0v2AssOYwfsF61M+C9z6dcAMDnA6ewfuCAfK9Z+srbZhtETeNk4uO
waghrBS7JM4ewUi/++Ks4MipWQQHYClLRij7srq6NZgsDFXwDER1N+eNVw99KrSZd+N0BzcoQamV
XhAkKLrbUn3seI0PmE7g2uwN8BMc0iNmT9WRdjyypFFdfRhYbukj+XgwZOhnF3nHyZs63Qvmvx7m
vHhVdwSwOSyGAuLFsRqPpthl6ZFGd5twemXu+0K5jTO4FQ1UNw6ISMBPfI3HMYXAABUSpJzXVTcF
UlENGd/SrHVOaC3wFCKLKp+S+TuOQAlwXvYA3pIAoSuNb71mGckDbhR18IW0ymSfGxPIC4B5zgla
oo5YEPUTNqtkz/ldHbmMLOBEt4WRc7H7gx2ANz59MlPrNdHGZSnsgyPJTz8+Q4UP2KZ+Sl8TA8hH
Y1CzEnJRA5rBnJU0RCIcgM0PJjq/TLwOHXAdzBcaq0ty+Y6rOCVwLiJSZqRYz694at6iNsNUlQ0K
k0XsOfAo6Cybmb5QTvWVjFUiFcp1tkbE66ejYvTAZyDt6xPMFXwyXqbfoDOk793zpBAq9dOtnw5/
W3mkkfZiBow02Gz9GDaLxHHNvAi+8b7dNmxT9YEj+bG8HxRPIHisuynyrxTHtc4OAz4QreaKVKc8
dLbxHCA3fM2ElO7tEHkMclkoznNKPGMfZBGlfQIKtWsO7HdDCVjRtKJZtcU8RH6wGQrXJAPwJAtl
8p3v8+aQzfXtc3r/Wds7JcaBG1Z8SPts9h61C2nIPawIXkh+fu0fEAFj2kH62AAlti1KmADa3QDv
6c/iPlD72DIvsLqlGqHhfsM1Tywsu8RvbJgDDWT0e0AbE5Z81IO86zw8MULRmR3dg4p098QmU+wq
r7I5FAEwk2YNvgUk2jnx3rgE2tUU5UuJAu1kblENEuZMPjfGrQOA+BBk/Mx91ghMjVueyZkp1JBC
rUYdhYsxw08STH1O4QWhvjQ1kBWNPzJK6TKkYWLXiIGpM+Jsh9ANQCD+Hi+ne+HVzJlQPvMYBspM
GN9uCJ9TmjCZhSsqZouFcxsKVzb+XVqocIgeNqDILE/87zzZdMfaCpxk3mIeg1qC5xUkmOefcrqD
y7K+1Mkf10bwe4ev4DeV+u30Ny0H5eC36M7e6CyiMQzay5sEcGo69BU66010PCRKHcpBd/zayHNz
eCOp6BXeVqISegweqK2+SFiZ18CWezNHEgwJMhWBkV9kdQhOcDIWooE4wEQU38DG/XJ45tMk7G2U
oLxIYTJrRqK+xZFsQID1suo/MDRvh09kdyrxkE9Ew6yySQvxX8FAW5pIk3TY9Y0Rr2r2YAjNBcdl
8DaMccUiHqQTlgMZzsGEa+K+g5pfTUAOO9yYyH36f7t5E7Af4g0h9Uto2wpKeXThQrTtIzEBkxKM
jJ8QZG/KwCRXoYsNUewpU52PQlC3CAzxGKWxJF+BSGdvPUEHxXpRqNUNl+7Mn0EgHOHTDL2wDnDf
YZEy3etji/8nVEFx5cG7gfQSMzrGTATFB8mOXNgb6U549cHGEd4cPwbjYjItJjsl3E6qGlvjjV3h
EsOBfvFJC65LxedU+2878x8TZmQOHcsgnfwIT38yjhL2cUooIReVwl+IqAgykjDVz3dYcu9/QT8e
sE/eR8pchgESu/rxOemushn2DGE1aUO6mMn3wrr6GRbn0A0DZnywxcAO6++VhriaP90HD+97kTaC
v5HyIsqVggS7HD2dCilUjNJQqD1watrJqw83gJjTozhAsJp7T8fc9IapxyxlRmbzEOnTDKkYW4Pk
CakjqLRLtAxcEZEp/waWJfMVlyveA9HdgE2/kObvOakvwpwaAaSXITPrBeUeWRaSM84C5JG4gjIe
RG3mcLNZCdLFalpNb0hAJsd2SWZOG4yWYrcwrpQ8C66b1Qt6NCDXdFedAcpHiKyRTbP6tWt3vZdH
DLDnn74USGF+LGcIxd9z/pFC7x9uqjjq+rF7Og2/s2d1jpStb1KtUE26zYXa9D27z0Cy6e0mdH/S
kekFDeui2nDYxnu1D1Dcf4TR0KDk2FFw0yzjDUz/eB8wkspWxI3jJ4bK3UlWogmHBoqfMQHibJ6t
GKLSmKKVpcWm/IgJY7HF+HOiBFwUnHGIcEW7CfqGlITRC53Dsru7j6pNxocP7k57DAa3iwdkrziZ
WwUgB8nMHH/Ch6NiyqFNnx5jfRvr/ImyqUfGTkJJmnv6htdHtG+1MNbfcXdUr7h1Fz1iqNeMryCs
qAPsIIVsn+OAaoBTxWATV5xiql7zpelxm/azwQP+eUjPrvA6qumTrPu7G01fo3vYIrzIecR9VjGZ
iAOA8aky7AXN/rZDJ4/HMfSAhF6QsYP7hODfz8agwezzKt4MFlgrR0BV+07LVlIIqqQ0uBX9nhZA
BcB5gl1X0C6IT2TpCW3ENgYmh5LM7VXh05OXfYCxBtv0zrBC6rKtTvd1bwlgK50xLkzwQybt8/Az
RWWEHKO8PiD3VwDbJZmzwk8RNT3zLPq++5qEOLhTOCtGh7YB9UFZkw4e+yf2jZTGQO8UF1Qfvjyu
yH8EriB5GQ97egwMq/gYhId4ggKVfvbjZoS2jZJNOuQ1UXMM9C3DHlznSUqzRegOAUWOvDAWT8ZG
mEowfraS82tpbKux+sHe0SKGDAysGjf9QlCPWaLVUlhwau4PPACUILLQaOeAZgoArJtvw15MvIsx
jhcdbKXIXXKzaXtI+cTdDMrRtvWzRbHSwmquHdWjrlqPGUP72X0L3gbYjt+fitICN68zmKLBQWLh
1qtfSJe70dGxrwBwxRb9NhIcR/n0ezRc5GIGNT6jpU3CsQSQi/T0UjIFuBQzE7CJ3RWLDDgHyGv5
Aa9zh1FGJHDM5Iw/cEFyYAYeGVm7r6OBwzJggpxFlQ9Ig2s/EV49/4VTbO724CJGDi9GBmymgl6p
xygSbXt7UUNeaHZq99kinz1XOFg9aB2QVzMmZoWnVIW2QqbgygQuvyhkOM1UqAbApapVI2WnvYUB
Ck+w53FDdskdwsokExgMmIpZ25Ls1AcZQKDjlh03/4gc1eaQ7pRTsjZW92te4ozsdHUbMRbtTdcv
HEiTUOrwkEvdqPYwEKbahLGCmBpFsr6TsXtNGDEzGPwb5MGx2bz2hIGwfZezO/V1Niffi7aMTB7K
GxAZFWilcRxq8l8tBjIRR+5rw0iv4sFAtPtO1+NWNIcPFa8595W7iRJ8JVdBjaFz4P5e3j1yTPQZ
ki3nbsnQ+eXgOIlqVcW4pJ8hn6SR35ANJhXuP9AEd+PIdLj4t7vbgUuF5zKSQj6Fn8hvRvzfYpHa
w5md5eu2mEByRyCX5jbInQRSwJ4bB8+SYXdMaCHIMrg6m/zNUX92NWWsVnKYMsqEAc2WxOzEA2sk
CzrFbjsnC4DOaFNAx95F81tsy8cfGAEhzZa64b4lFarjEPdtVJtKt2XDUg730/usH8xL06/P0Tbn
4n3sD20LOmuIg2c3X78E5t67Cty/mj2CBqs5JqMvaxdNkiWwutebvWkLd/I26QObAGibM4N8JpH9
hb30/NUvggQbpCiQJ+rpduA2thvPLWzNK/vk1gCF5oMxqT1eb4AOG+Nvv73ehJ2c4muONLutdV7r
hJjrazJVt/L2dy3ZHE7o0Odi0MGdX13a0X3xmrS+sATCuw+DZQLO+izWwU73f67uV645wnod66WT
/yHgqBX4Z2cOwqzttB1uK4vnQhfOsgMzJK59WMPvyaefhRl2qcKBBA5V/w5yTpgniZpWd8R4zyTh
2Lm9+52jEqbb5w7XEEFdIHmuOfBJkYNHJ5kQyA2Ue1HZ4TASYZlT8NAnoFTjsD19Jes7rY5d+tdj
4v9mFbf1SgwD8OXox9MvoYvgDJhpY1FJ47tPkZuyX+Wwn5nvF15Cf3SosV6/vtDj4sX59d6UX/Bh
qOHZkkyrcXYkAkx1v8s0laAVA5COca1Xkyn5sfErfItmQUifYz4LOMk8I0Stguk+oaskCljvYb7m
z7xeTAjzQ8tyIpXFihnnoMjfldN2nTM7cvUB387t0vvS53hE0Cb2DyrQoPBXDCi+Fq6HCllRmluN
u97qk4+1m8sPb9ddtbIpzk7T11Qi8q8ayIp9V9bVuucDMF/5qdxVPQb8ePYjDanW3e1zXdM2g+oM
ogUDF+lmC2NPzkd4hPvuRJk1jk5c6tdTkM3jA+CXnjQwbSmM+lGfVIKRNqwG6qQaPK7SHE+WwW+s
r4gjt5URC2AQcVen659f7mIwwDAP46Gylyc1eaJWd8cIJOYJctxZSDLoHD7ha1WE2lnePUNMZeHp
pMdkFe1S0rTEfHHUTB+bJ7+Usbxs5+XuO+2NH0dlFA+7qGzUPpESq5Kw0M6+e/pO4mEeJsM3QxSf
VxLgoRRKY7Lqx8q8CPtFKO9y9+3IfUxlZr+BMWFE1/W4uXlHBctIn30GHxudDbd7FExZSf2eHw+L
kCj1fum0PKS1hQM36Qe4kZq4q0KTskkbHeV+NQZan943Jl1HTjQhbBMWVT6CkjUWNgXWCk9EKnyL
aauzKGz+FMzQhwdhE0CPIMCxgCmOjjQBvSaKG97joXv9rhu8uMhV5s7443GEvUl8jQ6YhYZAb9kx
O2rzN6bn8cIYK/3bsMYCnZw/eg78Vw7Nl1xOC1+L+5r/9hYChjgKj/TuTB4QjTz84qy+1gmHRa87
eAx7E3nWWwgf+iB0DBv3O9MhtgjdshDJcBDDk58hDzCd80woCHp9KMYIwiAh8nczHhVG7sypcSk0
kdz8i0eAc3wbzUheg5ysezXNkemE59kZD/yLRsX7h6Fx4oKngbQ8bcIhMk5ePFcABqZfNAj8ifEY
o6uzCT3370/Z8Q0+C1CMdbgQ5P+kkBVOtBLHgglqPtI2dSA0N5gAAk/h6o0AokvKCYGOnQbs0dIk
OjYMRSBG2uaOs0ahBsMlTARuW83fk5P3B2KmN1YDQ5XThcmWQfFl4fBx6TA5gr3A4IyShQ0L4Tpm
YDR1TLO4SxjTgoB1yQ8iH8d+kd8FJHWH5+NwyKRMcMUMOptIyUCvvG8XC4qQCO17n/kws1q17NdQ
tgwH12pEgrLzrlwDWM0QuR49Wx6mNB2kWmDyjS8QgxaQ0mrwBp8QW/ztMSjyaZegcPXSbUMZa7Wt
UQ20bfldsG11uoHp47x9GzFmlfEvBhN02wH5JuAN69njUGIKbpkk27ucTzoid1IeWyAL4lfu2P7o
J+1B9jZkQYffCwMAHs46w2IXE1Xyx3zCWJWhKfnYhLT6Vhmwed5gOcIPA6K38QbupJtGWCtp1omN
ktHzATNU1UsDCsIn7Rdsqrddx35aD3mXxH6AN5PMQQl3SJly2cYpr48x4HgZkA6ECI6Jd26wQ0Z4
+Uu3We+gekq8rOLlLWh9Mm3wguqMsvNH6seJk8GE+y6Kq0QaMUaKDLDgeHUDmVKLbHBUgSmzGIiZ
ojzslxh+v/y66us/99a1MRMm7719Tx8GhnebeznTehdSUApypH92zyfVi9H+BEsVHIZ0dssvAEPP
JXu+xvGc81TCpCyofi5HDJZ8VM3kW+O6IRP6y8Se3I4flfrp2XETxnVii8Kf/EWGwBVnFLuCPZG5
X3PwPt3tZ7qt0I80fvmYa0j9IcnhrfYV5wgH/hkn3eScnPWOi8suJcnj6ZDulbJnsL0Jg2pKGh8k
u4dshrp2FD9BpFytY//2nDWEikaEESYENHLzUx4zJMfmgzyv6NhqtjBGLRftaNAs5PA9UWEl6HG/
MUbFqmTyySwXbxPYV0MKZXja8By4bUX2JISC+NxMCgquFWfnb/34OtmO9wpBoDhIo8+os2SSxiDv
RZmJOsgQQwH6RQyF4NnUj4AQNAaXBpTIp0U9B4WvOkuqnb38l2k35NUgg4987RGY6rpxGUNALKPJ
p6wmworh5Zdm7mbLTEDRgDO3qJiyu7rMLNPRoHUYDo1jBp9iDeoHUa6EsIt6LhMmYsaMThDPvXVO
pBevhgEGcY0QqlSyaiqXR+gPYWylRQvwQ0r7O7bEEa2MVVAOYFj6tfjL33eTkXdzH/JTZIp8gLRH
cJ/LwLO1r/4h3BVFl2JnxCXUJN06PQaDnCAVWQY2L4kmgcBevhunt1R2ehAPAYHy8Sdmg+g/8Ugd
gPt2Bp/OICHH5+978uHI8LUr05zqvWSSCs+rg3eq6Zuq4HxJegC1sYZIj5gVn8sfThM6OnGXFw61
i77vy0ln9IkwLijA4uc1e/owvAtrCwGuApMX85dA/QVa2ieiL+t5L8l/3BzabJ4MhiTLXUIOAXSq
Qbu/tYLs1YsGEmEDwFyIKbiQBikoeMi4UEl/BfYHZAc6v9KF3sibYExK6mKHkazuPG+OAbPy4UHk
K7WQ9AHMAhkRMwZpJSfSbSzEIKeRtvwBYqXmwlwz8yv9GNFIl8QnvZ+XNt03JUNOOHwGjdCbNivK
T6VwOiIpVx+r5TSJHBJaDGqg14SDquJSnWrw29xmLP1bZGKIxRXFLO6gutnl57dqv6A/xVoI24BL
inhe56NyjKebmHYJwZH7SllWbD7vZfe770Lq0uoDGXcSgwtzjIfCCjdlWzp8RhxpjK8ozj6CoPn0
q1l5ZYT+gX6HWV4XigqTMuZArQQdOrq75NQRmwqlFCJwxqTpdgb050e2fDwM7VhD3FA/7AUdAhKY
vENCpaAg6YD44YXCTMCkoiD/O7ztTcARq6U0WsOnm7RTbByg0vWG91l66uJZ+t7Dl/+RcLp+Tosz
HSqviJepTDpneWMyTHKyTTIRulZlwgARGP2zNQOFtBaZgaE5eUHxijGlw4qOcYyXuWglj/nxs5G8
dJSu0lV5jBfmEJBydR8DuE/T1R1YFy3NPJ18JuVVvXJJuittxzA4Z6R/zEFFuBRiXE64VzJ7XZgD
Nxfd6wJR5cd4zzCpN6e61HM3GkaTchKFbIn5WBnEQzgsnUO3b87atTngvyNMj2bmqGEsiw0TdP9d
uhGTUowH2f0aMWgqLyR3oudUnA5pAHe7vsiMxRgHXmRC7Z8upuOkmNPTxf7dZcDdiNTPCFc2gLQ9
FJ73yZioXMBF10tGBs5uU8wOsT68HT7Izvea8wyhDXVyH0UN4+h4JoZhcGFIIrlAE3l65ZzpH3Yu
Q3YPFpJYXB63pFBSaLtPwD2Mmop22/knrANrcy946uJHBbHjNWMAyTMyNIN6A8gEeng7wTR+nMAJ
JaAMIkdveGGh5xCStJsHN96/+1q/Cvh/+IHBIqKZ2+ATktDpQpbPYnZky7zbx47FvQHBL3N14EZo
JaNUaCKMAyTfdJeA2m/fYz2zu5f74E8MK7stqBq9Qj9dxkE6/Y7uewgNsAQYGw6NZb75gCtKobLp
Xgrw6Rden/FMOPOS3vnoODpG+pCYE/iSARKPmuOGAzpoA+7QqjtMAPpLIugZQflEnTDFIXOjW+I0
58JRgX9dDRX2l3gWscUw+KL+JyDHbRfmUSGal3685zwkomSJxuirOPZ37GpRTL57IfTgKqOSTBxg
S74Vc3J4VmdYxtIfVQa++KN0mKSCNuPKplntsmbZ7tpFh16LUzr2oUqjZeJIS0snU2YlZ9qTYR/0
0G/ryHUBEDNoAeYMIrVqKN4tQ4I70RCyFXPzNmEvcYtk3uERPTj77fc/ks5rS1Vti6JfRGtEkVfJ
KAYUFV9oaikqihhQ8OtPX/vcs+8OVYYCYa05xxxhJX/x/dyW92ENw5y67QvHUDJAR7CohDJzp/ap
+7sScnz3YGwlrdgkrPvFWRd8ieRVSTsyTma9fMkoiXFqa2BV/gAkO4KNDbWFAQh+CTNTUUfPzvuB
k/coHwCzTGvyNvZNEV9gvmO1Sc+K+EouVz/Y5ji/MPMC/kYGcsNby+vYauVQ7Q0ZYbKOV+/IKj00
CJpGbcbA/SP4cwIVlYb1HnsGtHn35Xf4ghCXNJMvUVIKLctr9aA/ekUG9luMK2B+gU3IBwwrdi8q
EsiymeFd5sDejPOOYnK4xLDnUK9phh5HOPMMgSkGYDWUW+qxZbOF7sENx/Fd5/JW37K6A4hB2/9k
vDWvKaH/AuWbMNxh/WdfZE9/basFPArWwXWDkgniBHSnRyLH0IPPy+sCJtqqtzCTDxGwYJoclJwo
E1WQHQPeoOvc9974+2WQDXC9H0oIt7Q9w8g9YjIOIWx2oqehfVlBLTL+VJgVfMuY3xJpba1RzjDd
FDTcTRHD3dOqSIHdYZB0NjuzVEF8+LgQxqDWmE9brIuFXWcgjgAtpmaTS7qHeZVv0FZwxl8r4fLS
RAghoP3mngIOT97jdwpoIKU1JLTnRD8gqLjVtjY6/Vl7sMOl9Xd/M8j8jW4pc40uRRQlgyFP5Yk8
f3wH7cuG8c7KbGCTcUAc9Wau9PmTSYii/UqoyCCuk2nbr3xULtDpKanY7qFEoQ15Y+WxUbJmJZq8
i/POnutyCSdEm5y3IPt8u5/q43d287oQ57dAmhJXM6KViInOnJkTLYPgxTmjPYbf34sJciWziNtg
VIc4peK+bc15pZjKpPZ6ozyAsIbAlszHhInDH6t3xvptPHxQiQnzJBR3MiNVlZe/pnTdbHWXmLjp
8Dr6kol9EoTmOWVbbLjSuB4JYYyIm+Sq+ojpGVK0ARyTDtW/Mf2umhXNKpcyaeqPCb7doZiL6RFW
KEJvBYZxQhr2nP9WrKT+1cO2JTWT4iAlsAHjR/xbKaMLudoXr0Va2cxQsyxNLgn0XtMyVsXo1S/j
OjiHF5hJZfQ4QJvyGQYzei1YOgfG5BL+ApNxGywOt/F7097o7HOLhtA/yFS7+g1z+XNijKrpjX21
nCkrTCVG9yEsXMw8pTHXWEHsJhsGAydtZ4xuW6oknHGVSUGiiCGsPkx0JeLAnqPvkVpgWB6YXlnr
J70dJd2VuF+f9KO7GsG6EAvCHj4BH14BfLVklWbtoJ7uJ/LqCOs/M7NybkwLrris2MF8oLOH5ZLT
FCR5osb6DDftaQOI8Y1YS08jMfD9rgpPH/f8J/hkAbOXJJHwHolsX8xhfZEe992dUi4TKXi4KgBF
YeOqDdeIMFH21wiyIIKrfvSeokvjUId3gnDy4OzXQb5QVr0pxcX50Mvua23DX43Nk2kSWFUNVnVa
YfLsP3cmfDh5mkO80jMYqlJyj2VmnGS0D1sGufryESkBrnvohquFsZePTKl9RIFHepyLGIMFL36g
h/+cfiZ5qCXKTF9Aw+2yLpOn1y0Q8VHef/dyJod+m9RB9wm5cmHV1nM+lZjM1TmnvZidN9ZKWZ0Q
xz7tk2G37CF47RYemOxzSq36rfw72BUbJ2fxG+RjgBE5cW7LfEZ98T1eRr3xa2hlxl+5ZBIP3gk5
c83uvbwdqaYfS2NebhuQ/QnjJyhvD3gfcloz44dJHZnDQpztYRVjBTZu0IK+UoogNEWvlOmmfLj+
qbjvQhzig0M24cuuEdxiE6p5kQpu4oRuUQbzmVOqf9d3nI1YxRm4WXPhrf/1teCEc+6ZwUY/FF7S
ZvrBDvH4WOfUojAKQHsYFG2RKMHgYH43J9/gX0RyB+ny+49byGGi/DSYHHPvnuycjZOSirZrL4TM
evQ4smQyaGPvEawSfdYcoUwwj/ANOOPd0txDUhvX8MbrHfdTaPr5/jytts9tucDOM5Y2sN2vWwo/
gOa1djQ3bSK/neLQzz47irN2dWeeqsCnPnmfYYuPAh+c+CfLaD3RRl/USf2MXcqyieBd9SlKqYXe
tl46teYWPee6vxM2eppqKIhkrLKdH8ogKMT4zd4Zo6ry5keMkRYplq/LxOSMySt7aESB21+swW/z
0ys8PeO+6dRA3zh139wrQqJNva/YjLEEMcQsDFxMT95cYWwudCvMqUGrGEpFvQgNMKf0KCkE992C
vv9IbhvLa1IqzXNQwHurJu/JaY6p9+DFOQOFYdhMKARkgtNECShTHcS/qFkoUxGWDEHhTpE8QBXM
qLGYV8KTKSMn3TFJJn07DxcQilTPmtmlHAl/6oebpyJGkAaIbBbBlmCiiTb/Om29Cv2z4KugEwm5
Xu9DJh4Okn/xo2OK6GKKDe3iGV6hbQhOS+tpa6pSvLFg/Puqixv8QoydG/5eUfthz+zUonodd5ES
5jHeWUdBYapDcuz9Lzo8hXfCYQmeDEOl4JYIob4KLeK0xwTDtYiwuMBmRaaJqzPlMhXFBc7MAzl6
3xYZIySeTi8LC8/8oTBYE+L+d5ijEst9ogzxPyxZ0irnObE8a3dmPSnjQz+82ab7FrA9qnz+74B6
2CCbvuUZsL0FLQLT+uEjvmMo9lv9cOYlmnuISprswkd8nlWTi9dwpV2d3XJWOKdBiQ+x5dzmAFh+
7ROdG9wm3fDsSaG+q+MLKVHC6g65JIYFCtZZ8qpDTdNAjWR2KzxX5UHKOBF7F/cPnRTa+TfhD1Tf
dAziKHB2wEEEoxbhAQDxA/oHB0PvcsNDlMGMcA3wuEK8w2f4HlZDTlywFvQYmc8EYmeA4S8uAcJN
4+QxMuTRwpR/QSPMU8GI/JPzpdWy8FHLoS2W7NISG58x5NN4jvC6iu+uRRsFYOPAiOU9+8iNLWwb
0FDx06DIdVHOM3LFt40DoJfivcCq7MVG8XCmEJ3Pg6MXFn3CNkFwHvjw6YIKKNxPnASquJ9gCgBh
jV16iTCbnci5J/UECgjdGPf5b3Gdf3YlFhwJ/a2ZvHeNjypBFiKodtfB2Psu6yaCeE9Vy1KmLX4T
NaFSLHfViFz5lQLResUpIKryOaXJZ4PtwVYyR+bovpM3QCAkhJVHGAy9zY1RFdJJJBRwBq7EcQtN
QvZK74cmhZ9R+j9gaxA9Froc4fJ9Vg7VJcpfeUsgE7Uf+vOAe96c/7Jy1SKeNFeobA7nDTRrY0dB
DpFbjJk3xujNTQNOgUoeb/Ppy39PTZgboBSQ8EwUhn8yeAK2B4AAL6jGQoX5ptnishvCHpuxzqoR
sY4/erxi8ADI2kOi42A+e77EcfCLr7JAgdstGE53bOZD9vzkteLPWCIlraPuPoVKpifGXJrcZ7eY
jrw/tTbvqF4BHhQb9mWWHL76GZ4PvyFcXfic0ypQZv3JlSjqd3qfvpctzpxHfQ880IeF87ZVKHxc
Nz2G5oKN07v4ZY0aGPTRZitBmXJ1OI7u0M7PfOwfLBzUqGVVEBojhRHYZd7PfnzAMzkGBlTdeg5t
ioIR71wg954Quz2H5vg6+Y5pNbxXxTqmYuOvLsloD6tFs7V2nGU63h8pVJfRjlbH9LrteXze1vN7
eppc1tzXmaz6wvtvJx8YlpajTzk6P5dUF0g13oUPnFi9XfpVMjmRmitULYVHg9f0hVSkIIbX5tmm
SgvbO35G7AtQQipRxj8XMIblgPktxRJD3tM/TQmUBjpq1XRAnzAZBAyl3Wavxkbgg9EVNDUBSbn1
JeXCoRdDvyWq3V50Y7DQevo5fJSguC4oG/AZMC7mDzWZfuJN+RG5+qkVkZliyJ4XDPJuIVSX1TWk
CP6X0qDN5XE5qX0r7O0RycW37X3LM7AMWQJa5RFBtItqqi+r+Y/J9Y31mowLqNQw1JQJzZqLzDn6
hfBRE5Ml84ocHXfPSI41BjRuuyLF1KthZ5JlBiP3l+k+FqiCFEHpExRRC/FdBwX5hdeFuYYXu7xM
ARlfW1jBGnTGFsZsL+ZTDusFmaZ8bCw/COf9x5GfhPLnwz5vQDLDqcR9zM4MR5AcSzAPoYSGyP3J
iYXLHDNWR/Lfx0xAGdETzFBzLYATkd/qLoPLqTz9BMbqOTFGzRgbjsnHN4nq7fvNDgLyyBh9D8YQ
YDZoYi4U5B7DfAYVo56CuEtrRESYJaDoeB5LRkWIoUGiROpnO+tlKEKuk36IZwZUVmPf9VP5lJyJ
QETA/narn2uAW6IynzDdJkOecOMW73mcV4ub138FBvfz2yUXkxbRahPLzPQGeZHdtb52noDuxc/l
a1EvvxnXf+7g3QDZrY9Vs/2DR4OAt/vOnnVkdKMWHweT7mPUi/B9DpWxMisEydeuuwGWHRSMKoWC
5l7U4F1FhhpaaqC8p7o6vwKhXdDp5bsyQ514gv2l0wQX207I00VP6FRpi91+QvvZohcdy+CAKeQD
Ji2mSRamYIlU6NU/Xs28LCcG1dZg0AI6F372ZDqMJTrD+fhFHiaCneOJCcOgv0cHyfwhF8O+H2my
sDgW97dt6AN+yTttcZmZ0XN5W9yd3wGixgf+IsE1MJP+zS5fUP9g1uAPuL4f0VtjgcHYSSAz4CtI
v0EoiMwF8uWOg0ktb3vL5x/rubotWUq4WyGFn4dl8OXTzAqAAI4VzJcBy5gI5i0DYxIiQdCNhaUM
yuPJGpxX1f68KlcoQ7A/OwKA91kZP07BGU5vrPM7LGKZV5WN/cFwcsM0bUwkAx9ft+4H2qG3Yzba
rL4IqGBq7RBglQRwvuZa+jyAbbRZN9Pmhfg6R4Xmwvr7AOpIyK7eHoY1KwSnSGS3T37KGfrK0+6d
YwZjV6ZANR7QpaFZjMBg7lSrIhvYvn1sIgHQh9JPJp/XoAubaT9gEFtM9JhXdR6BPpOGHYFJ+uwG
u1HHRJb0F+DxAsKt5BrPQOmnpGNCAhRE9xFz5As8yujWeRfwJNabbm2+dl9s2bgXC9/y+xNGnAVu
LUy76DneoxszW/oHPbls9Yk0w/PTdJ/DM7QG4LaG7rFzRJRq0jVujsYfcogPo6OUvK8VGRTOI2Vs
PcFj3Qvd7phwWy5WDV8a7br+7BQjNpCvbU4KXZN6IBa0GahcPfyMChCLtbqs+9AynFvQbF7Jb/Rg
CTpllz9gy2Yc13/tSFp3YwwG6Iu5FUkIKsfXUEM/gOn0UVvXYXxD1Pcv0Jv1knJT1MdwvWfK3prk
Phae0DH/J95+kbY8JxVpdIZXurD0yQwnSjp8e2w8NxuU/gVRDpov8C037w5ZF5KR0kXMzVH1mOob
GB3Yd3zHi7CjCds3iZ5+/d629xjAGFXTBy/2tu/EYJFyc6YY/G6qgmTpMcBynbEjZBof9xLaIIdM
ysIUayOMQvwnze9nAtDEqOKP4SChTpCuYIoz2g6E8TK3wgVKZfaYkY8iumKfsQrIElMyHi7RZIKZ
wePnVn7b3CXSw+1OAT/jeVPMGFHgCTBtDqcJO/xtw3CAFhL8C5a0+Is8KLmEBnVQ7ZghvDwptWa5
GcAQkhixU7gTtHzkWvnierOtE30tzfoerM5aBGxIZdChZoZWA5ZquDfV0aK65+mjO5WlW7l35PaE
qFEB36IX8BOlZBnCA9KhBJI6a78An7ABYeq4/mKCixsVFDJleqJ8+suHDQVxhvBlrfcHBrh/6bwk
5q00WW8IaDXlRKqkZDPAYChgANYOtDcj1Vx11GPYs+0QlWIC+ffZdl4R6nNKqO3tTx/lO5G4CfqI
PGJtLHsBdzhqejTq6W3yS/vDjoDVz+aXvv4e09e89p9jDZwnbMe/GDiYwAb8tNyvA1YfvcdS9IxO
Q1buoI2t6cW/oebW+Mozqme1zwQ9eix6XrlvJkraLcpM8glWHSPEH0EA0+zXSF6rEmp1obeSlpLd
/bFcsMs9t/0xuCBrDH4PlpBDfee3RbUNz90cCT8VM8JMzNLtkpQyPqxURjuHO1dM2zdmoMsFBCUH
RZIMJZzLbw7S0vY9LusC8mD6C6u/lsoJjsP6utYoWiA+QZubQq+bflNqPUrMVyrHmEF5J+QE5wC/
rqQeKrPrsJu2yW8mLX+JEcNS6/bUp0cibAlqJVMK3FFy1KDvffze8Dt/j5+RdrJJQ3bbbUETgHAA
0JT5SSeIryqTBobczFpjfcKWBeGhWn6OheHiVHx9eWdOM5d6Ai0ESgkLZsfNUQ++TONxR6KF4Pmw
IbZvSJRbQXCDsStGzuJxsBfItuFiyOGsjJin9QkfYw4DEkYpTXU+OKW9VT2DSFFvmPhfRdLzed2d
QVMEF2EMKQAApPrZssZd8E54zAeGZkoyNMMiXhrVG+NzunE6XigCQH2IfACbYA9szB7TLhvGxkUJ
a9QYL69WYqYdj5CI6Y/k8mNTn18gs7TLfF67Klvc3ydpId4AF/GyjPlxaf7HyFS2HFenDiAA1iAM
BM+xAXbw9L4OZcZTRIFPzOlPGjhELCL4g31qETvMmsxYDxcKHPRZdGfNtMheoTF9Db87fVXsv3/a
9ja9LfpBld5QTUA3Yg0YWhdHR9WJLnfDBJAan8UFLsNQA0ld56sel/oFriqpWDUL/eAFMI4MaJhC
lTkv7vWkLQN9rfzEn4+RlLtn2C379/FjOuoaMu2oD+rCJARPANh5LDOUGO3/xgudi1cbl6WzogSB
qPN2CSbCIaG16RxYMH52azeOEn09w28oUwDot+87nEMrd31hlr/qDfwRAcq9iTDOv41Wq8Zb+Y3X
2m8enI1u4Wjl8zjIGrzk1zuHI777sfcr8ezrYC9eg1/73mAKM3rQRoLUqk+eLsfpiNcUb5rhgTTg
SMI+/8QGAiKmsNAeZb0BdQB/U3jxmozmbJwZ9vg5iFLCXMeEovzc6G1v07435wodzAlMoX30zgSv
BMfTYDbnywHmziVgxryEvHcZpBDzxnM9SNVBuv2M/0WyjKPtOCIQ4GlH6WUQbdMxoQIZb8M/+BXx
UPGQresSqJ7z7vwx5v3JZdFsso7H0Ce8cVbY23HGzsKpXn3cf/9O7RTzbx73z2tCBBFkW54oHMB5
AREuLU62LyzysyzdbulF/h3HkZ+aBI3ZcY6tunDbn0nh/DgL/oitDZoBLt6Q7I5H4V59BKopiIIR
0ZZXOzpWPl+IOp6BmF0AMf+fGmH4KYKQGZc7NWRElxiZOc+Cmxj8HzTACeNpOImfeNUUZNEeE5bD
mIWzFtn/TtTNS+c1h5RGEGDIJpCxNo/GR07SnGgBMhQ4NHyS7K3mZqeAoOz0EUI8cyMOOst8Lm8b
yJCj5ox0pGxHmWZvqW5sTncH33KUDyx/rHrEBLRu1h/wva8zzrge+gN//Pl38vic0nnEhmvzUXIk
UW3rAe/Mp8cbi0PpYWLPBkxYE3nb9xDHKj14qO6lFLehGkhHVrvTbwCTru7c3zm8wRnB/Eb2Tw9f
U1xE79XZe8HKZjMHmYKOrIc91Cc4aK5h87J0shhqiBzpblBiP2EKO2dMB7jjsxwHBQXdvFvQrrxF
RarjT3eNTlCdeSrSjN74B2tUm96NyQl+YAMzyz2rNqHrT+E/GXwvnvl1z1+xAz9LBzpzj2BuOPW7
fvIDXIAAjC4WrA/mF/Y3CFDwhGGdvLZOQ0OvCtJgCUWJOS+y3VP8gYSGBMO+jj/Ht3svXOpquLkP
pzcB7eYf5w3D/gWVLmXIDkIACMbdB4uLcK2Y0HxL62YrDOaUBdqnqNYca2jwGdLGMWS725XMqASp
GTNzcjj6QvmE+wYa/YtXkvok4BAhR7q1/zswTn+K3ZXLn+GX0vLMgWLVTgXCDs2wFccRWbwGe2qr
uI0UkNLV09GIC5+D9uOd8LEdGjgsbZvxJaPREfoJoTpEjH5OepCrhAhHuN2DfuJ+hcoIxI2qjkE9
HPUQDLoOyCgr0HGqjvkK8aGq+sFDGr9IGxLGfB2ej0d1C4sLrtN1Qabdx86XQHkwEcydQVmbUvK1
K2AyxkL3WeWV2HV2ZJqdPBMyayDReViD0W9Gg1Lh7Y5TK1pBwMk5NklzlHNQ3IH6MdZMnyxpBFni
C8gMgQ38hMQhasEaYY6hVeK99/CgoEv9bwvVHX9hfpRTnbE1NhIMQv9v9iAVQUF40wLweksJ9xF4
KxrWCBeneTg/as53NDJvw5fi9fjFWPjuqFjtgoTBUDFHF0nw7vnYWoVI0jeJW0i7zAhPtlbCVsK7
kcGCAQSymR8SEyHel3RXW0Ne+5jQvwKzcHEAZMAPSaeByUlD+HDEvASI54YIyq7/Ksdg5lhj1wuO
AirOuBWaEwb9yJ5CiufLnjq8xZSFShV80KPlxCYghw0G3ppwijxgOUvMrwPJBLBzzi18l97d40Kp
528mJHcMrWBPtMJSzWSnh1BP1N0fQ0vkTIgIZkgZfBlmT4dLDyNyGkgcbCkIKcU4RC6JUwCGd0e2
VzpcrqCz1QM3ufB08aQcyY/fiK8HmsSb2KBSHbYnSACW3C3MQUFyeTEubfwqSxLOKIjRr7zwW3H5
yX+5w0WDqq9C2qK4DO25or8Ig1ZYYdivWD/g1n+gC3kRr0gBuP0HxdCn/FRy36gGiBz/rKUJWpxY
Dj8YCUARhW7fYjWAK+C/FrQ6CnTSGugIFA4sB8YBmobQyxACsPnEJyLiWvs7p9569gSL2aSkkbBb
wRhDVPz14crs8TJ5Y3rGdKMAcrG/VC743aFZGuSrBs80XfinvcfnTJdsUZZFiK6qnkdZxnvVM3VV
zVjJdAtjAkfCOqS0tc6nBnzbJkPPevS57oFK3tchi6NU+hp0atk51UwkbZ1qgGycMRmD1A0kKGL2
CToBdKQ5zciSRDmn9gMEXq+RDqrvsMR9CamTVjCM20T9DL842sOqZikfEHHJNfmw9Zv9fQcnwmWL
4RMA3trdnoizwv49u1I5XgHv7tUEunTFdcfkQQ4bONSLRh355ej0dVR+9MFqSuHMn/vcI8Nmut9P
Mbze95zPQBJpv2ffcKdTCMUgVpIt/rvZSckf08M7kNwEFIlxgfD2LgaHAlvxcDEI+wzr4Wr5CUxx
oaN1lCA5HAjoZvKBrxIPLVPxRKSwPPVuH7BL+/dIqJou3xjSXbhErBczxmyJNZZDeUJhps2MGAaa
nU9vsTrVaKfqDYUsuMpCgwRxQKuN/sBhg4/YucnGHADxEUQiQztn36aYiUR5Y8v/KilRCxznNpXI
0+7Y7P9tuHDf+Y/tV2z+tc3+m4rvkR8gaixRNFAglB7l1lFM7WyGRc43oAQ58hDqlVnlCwkF08Tn
psdFw5rLx0yHeLvZp54QxIClSBv3NLY//iUpET6dyKf8+vXwsjwhDDFA+VEIoBnsA8Ogi2Oqg6Ix
7of4j2MhPkj2h/eAc8/nw9nEDsU98CEckqm/n6J+ZsJDxzPgKXaSWPZB58zysH+nvXciMeKL6UZd
OSqKtsZJyHRkrTAt58OCCnUdEwmqNhmDp0WuUMO8XqFqTc7sJGebOv9GBONY5y4nwXwn6YPnw7tQ
dWm4Td6sfSUWNwYlEgiBZn4GdUe6XBEXopV32qer3vyCZE6d2OWwIA057IzJD9C2FIK7W8Xi4xvv
+KpPeXiB8Q9kQfZE1nSIC0R/PuZWnrzbSMEqmVmRr17j98XpeOt8qHdJDmEYY76IW9BAh25CTQ2u
1Dr4Zp4CAxOhRgACSBvoVN4cM21POXymBnDL4TX9sCb2/DcYFWGoU60e9nGbIq80n+S/MV0lIIeB
9vMyup0cWZ5aaiTQjMI3Iqj+QMOUJ/xu+aJMgYAAUQXlHkmoqi8ZnuqpJ+ddudrLe4SXwXckHX+W
/chooa0FpGCY0YIl9Ao6NDPIpCrEAoMLA66Lz8/1psDwrjg+Gk6xNmDlH2/Zd1446F446NbHZoyJ
AgI6TEit4Fp4n573hr9/9wtcDfFHfjm/ApVPzfQDBECZTVWkQDEMJu54yzUSlLSUraz5OBLFNX7C
DDcA9iE9pkVc/7M1YwNgiUf4/VlZbi9ki4EQxVPaVZHK2uCMhRq7juZeuXb5TP6NjdQ0pydS4Eqa
Q+Xho7BCpQWd6osfEbwtLMhuMwltfPCBpP+yDezr+ZmoszAcre3PX2/72JQzeKJcUhgTz9s/JPZz
hkjQbVkH+hius9VTprxi9k7oCncUOq0viKVoW9iiMI3DemDI1A6NOOxQBn9S8mqQhxrDEu9M0n/J
lpKkIbTLjww3WjAvDcyagVo+PoxFc18zHVqosFq6Q0PYm7W0zhMwP73JlM/S0n01T6QyNr+jMygy
GPK8Tag6exA4Fadmi6+8SgubQy0nTLBe8y/K+vtGrXfXW/rrHQyJN01P3R5e7OWHSmht8Ts9a2v3
7gwW8TKftX/PKcCfhoz2GmBMXSYCwNQx9Wb0+M+oVuuL/HAARyTzb8Pvm66JbEj3Za+FzdmFeXC9
hTKfDdw8XhN81vRuhv3DtjYGmTbxWqFvMGIpQ9o6m88YgTsBrWbNsngWTaUrmk+WPLJ/5gGzomDO
8kpnJP4noj3pJPmf7EQj0TXyddElkVwnGiD+PhpHtI3jvkh6ykRoHX+lf+T3Mc0wXSIdsJuRgOxm
/GNMRBRMV3f8r1XmQSN3JPrj0ccdvV2+JZ5EOlSm78336FuOWMyMPssAOci3vTq6Z1VkLd8bBQEa
Ctyvd+GeZv1So6s6M2G2PmOtcguLGYHdbszlPR+8qUQqt2miKjGXNmBPPthKGCyDVbJ0MiRhcwId
ZMQAzGJgt9ihNPWh5y3u6yf2Ugzmf4MykxdvmB6jR8rIVDbsK+XmBpeDQ+9LNeHUjDgIp2xtdWtC
9YOPjn8to2KIkROtcGC9jSCQ2FLcn/f3KJ/0RZMC00pnz7o7DPHO6WUC1kb8Zc8U3lJ4GzGlgjs/
ukHMe3m/I1jYHXkD8BbiJPhDG8V/rVv75eQEd2AjI+jG3BJDPSGo0AeV5AYHD6cOn/Q2OjQKLtYJ
3BvszfJF4edBGxWpCECmtCUIpxiWY6pWiL71nwxvCj/7nn2L7tgNl7ZojISEBIJjd6MmDK5APCHm
vYh6ToLrjfVsp696l6Gipm0dve9BSZ/xoqAcWFWoPfzT0wdujl8nRB7Ml08QV64Lbd+NqZvVVMEa
FdVbzK/qvAXxfo0NJtQoXXOhJ+gd4T5hJF+tOyacjf9NXkn999ZZVAYkjT96AwV2cKyz/QIG9tkI
XAto/xWwY/UoXlgyCvsJr5LJGK553wF7IwD/23Iela1rJMe5FlS1Z8D9ZOcPFh26PZQXWIkInA14
j9HX6+y2iFvk8If92UJjULhWGCxCi4Hkgv2SRks+KMk/QpcHkNOL8LBrsitN1AEeGCpS+CN350uF
jfG9mJC0MDioRYU84sPcLLdbOhuos1RIsDgZIj4xaWNmdhJxA0zl7xRLVOFQMx8zC7YxUj1Bs/p6
pv8IbyMLPv55agCgneFFGj5zzgSXFR7CUA1Sj+pYOI7g3lczK7cREH7gU0KspjlqPWy/FLgwGEj/
AoU1XY8ouTAUeDQCjwOOx6GeqhSswcQUf65m5wOZ3UMjkxNtitvg9rrupZWg5jKHYDZltSiLvKLy
y2skm8IxkK7rygeyhbKOZCk/eicNL0vO9qDiPTBvhC+Lv03n0Fei4eVUzm7BJQOWrhechSbOl/mS
ZbLWBeu9/YPcflnzjF/BpYIgnRQD+/SHicmicRXSRYZwBsaXCX4wFN3jU2auuRvZtzvQB19VfY7b
ettYwRUJ/EqaOAW02HmAMUO1x3qhcJSzf/24391399SGgmeIXR/DLQ/Q40v1VtpKLNwnTPxaYuBP
mSeQxEwT0A8AWa4BY4hzt7ymBpJdwBVjChKiJvKYrYuWCBopvSnXj/MYKwt214Qs29FOCcjOOTAq
Yjj18u8JyD3yq/Y3fpcbGA9fItc78GXzs/p9hv+7D0AZXvViqDVQSqr17WK/TGLZBybYVTPITGdz
BVrKGTRBFpnbqWMHjhMHaGAvvly7CFZ7yByE4Zcxx4IE5TdJgYyqUgj4tyL+5xg+lPvjBrvls8iP
7wSZBU1TUaGuEiYFbGb53X5AmtFT7jXkPT/6zIOa1n1oiI78cYFDVK55xZZuIeNQ6ImfZUsv94BM
zIXWYkp2d6iFuKtwBwn76LpvI7rE11qdXBFFy9kzMBN4uCxiJ0fZMTFkIPYMVSKOGeOh/NDxH71F
F2xe3/ZlTy5MDgnWYrDHQxBuYA7mCV4VV5vzGizIgbb/BbtZ3k7EMJEQMBDMqKvDSh89+/i92MIl
BtNSmH+/EGrSn+LAaMWo8T7Dkc+7zmFJA5xgYKSstF01h4IWfaA+fgIh65mcZw//B+WrD0ysBGs5
6vvwp5JzgpdQZO77MGVFkvJ9a03AHsotsjPY1+4ltLAi57MUXu1XEhWEowW+a2m1BkII2sl51U4x
aGMChGsnQX9PQXtd5Ukf47tYgqxzd28rJTQW99UFvyiGNSt4xihqUCE8Y3mIysDKyok0vRyK+XdV
znWwf30l186PVpvGmy4ZSgFQ9uYaBVUsSB+/yT2wRn1Cb2d0Qowc+W8pol6dv+BoB3OKA0BWigba
rYD8TK43+ibJoW+inQI3cHUPu3byLr5DycNlw5ZGj+ASm6EV5okZXmJk4ExYw1P6QA+uhQybo6cn
j4f3QAmVSZ6+Iu3vRaqr0IKfYoPt6kLgDG5hpGL2WZCe9oe6W1gxDMyFtSByfXRayBFLsnPGxUcn
sajy3vPPXFm089eGxZThqfjUEF/RmV4EcnICIqAzpZ/iRBC4jioUMfVYEjs9qzb/kElR2YFOgYnw
C1+w3ZUFYf5CNVVPTO9FYEy9gPq8wBsqOY/feK07t+332K7hR8J2mBjzapTHzt3tJ5h5pa8djl/Y
9e4Yt/WS26rF6DB7wQ0am4seDpQN0nryEp64lAhfva3yZ/w9qegWxqLcPVaXDRYgKDgO14O8Q21B
7w4GNVd3Vkbd16A0ix+T0/ASPLwrZMcmOMW/uUlPMj+NrIX216H6W3Hv48yj4AbY36iJQm1QDN6A
bJXN79j9QJtgWZGYc6T9jbH+WOL2vywICMKOrZdA4lvzdVgXEGj/TRibJey4GDe9Do4SnleDC4wu
anSK/++BUl+BNEkKV6PTxgrdSnOnyqBhxK86j5rtdYoGYt/DhhAclHjroxp/sh/MeWTnrkQ2fI6y
Hzr/6De9BxgPOlit7a+jNa5rta3O+pgtGhORuQ6wuuxmkndNSctxLhP2U8g4fQcacieh9xjwsSJb
TpN2kPAnBFQVPNGxEon/BPVSYBdJS34tyIgrvgBPDpP6Fme6gM8dqcniSQrT4Ss8xxRGQaCVZHmR
Pe/lJKycMg0OoRE8/+6ICUQgGnzEsbW+JcjiyMvZ4PZKGYhpEb3G4GFROPaXZqAsuEynF5RE2Ign
/QhyDKjwFwjc04/96Dr94pd8HsKQn9GnQM8th5/pM0OOj2kJFoM4YhGFxLpFF520CxUrnt6yS89D
moKAKzWuh7knbYUvBoqqDmdiwOSP80KH+nQLpPDshI1Xm4MDTi7OARDHk9zqDcGQZS3HKIi1Mf0N
7/azGjTodVCQs8iXItQC+BPU8rssqGsouoJubHFTQ6floz5HPbwPh9f9mZcn7WMAZro/D5uxSqzQ
ZVqFH9KG8XhE1Xpz4N374CM6Thh9Lry5xBiV6QNjY0BtbCVquxLTYge4TJ3frUFOCbl4ZU1W2m/q
Bjp/aDmZmeR/MtFe6BtgUMU35oB50GR8r/uT/+iWngwAqFz9DzI4+JfIIOBKXewvVmE9mygAmXUA
nAjo89/vAL29w33WzmEVaiRvCE8/kbyMLbQNyuGsGbawyoOeeHd2BXzJ0noCVc/XXVKQYzCw9IEg
pZid03sKdZwcNbzBoood6jfIQyokLMOp5z2MVf/NmlCY8fKCLN4Q+yHIBPlgj0lSQHXiP9uB0ROi
9bznnwELFsqW+TBGWa0LJ2NSLNT9DzXYTA45+8x7Imv2+I+n89pSlNui8BM5hmBAb8lBggFRbxxm
BAOCCvj0/7erxzldoau7qgwIe6811wyY9NBEfJfp7Bq9nJdZYVL/XORRq99ALrH7P3ITl3W+vqwH
Z3n1Xtb0Yl1T2MKMp/0w2zFzmffDrVlHr9UwlJ0fTWjm1dAaMvu6zi5qdWxhz8zkCTMbxuVEFUT1
pFwytp30kJl2zUeQ2R/+Jws+/Osmwgyw9bpE2Q4z4FSj5VqUs2rRhxlFJc887fzdAaNyc/kRSf9q
tCp3HRefA6eA7BYwlHrhTTSeXsALL9F3OcT8P19gKLDoTIsg5eti+ZrkmAsssh10L+BlzoTrRPG3
NqYs84fXTC+TO93Doj3eV51G7TrDSTe8TorzlZJa2BI1brrrWYXRTGsT7b1f8VnornLn4gznio/d
EZ2dQC97/qMUUzYTIAgOWsekIX+uBmwXkz7xTW2owE9sXLgdPh0cbgmAvpQ66CvOit/xaxMCYKMl
TJ6HJDGTAd9XE1z7KYX4/edkFI7Cn4siA8ua+0RC9dvXk19wmbzVrVna9HQgQBKW/1RtM2zjY2ZN
mDJ9tRIoV7BIvI6W+wL5nQEhkgL5ByMi/jRAYnG6Zn2kOaNxAzpp9mKX29BsQAq6Tpt9JpZu9jwY
+KQL7D8w/JjJ4zdGN5+THdU3QGU4k4W1kvC1vWKVVEYvOjUchiGIMiK62rC6AhH+7cPH8scqDnne
GDMmCrT9lQIM7Du8WyNnHLy9UUSLDtQs2O+XeKYEYJ0K+pGHrRgMJ7SBnzu1iVbWKI2P+dJbM3dY
m5yOBasEYV0Xpj+B1+HdxNXNKt3Gkgwg4tSuOXmwpHB6bgsnjpwIaABXJ3c6fqU/ln2Q6ME0d75a
Ggys16TWFRce0gi/qsa4zWSTtj8S2Rn4Py0qB+6F2sGdZGj2tBoc+LJWXIZPZkVQB0Yg0HjG/m/6
s/BHxLWQmS4A7jhg3IZs5GVhsn/6+D97rN25TGkch8QsENUKXMdWNdCuAHKAvig4qe7+1ls+C6/9
Ma6sXW1/S3DRoBskj9F6BS+38t/7C+osyUE8MrlFI4ukPmxK6UVNKk9z9EcaFkY6OQpA7I2j9+Qa
tJZsoD13ibZFIEJTbZO0Dp9Y4ef/HCfzGQF1gYxIrjrLgHyHrd/Bd3TPiIJEQ/Cq6VevZ9/o51w9
ooA84q6EgShuygUWiNvpfQnhZVIKH0ar8aD7s/R94Q49ljiq++kSa6YNmUeQluRoHGwnxR6G5CDF
E1vEJUkJ5DVAwx97LucgVTcdB2OrVGVe1ocwxoS6wuqbrp1UGBj1lEgFcgcseI5ZLBnfYGSXFgFQ
1ohpq2RieGswwNGZAKG++SJbJKKeDVtJBl4RXnCfrw38Q7+hkL08IplG35UJXMKqV6HOMWsN7Mwn
duXP/LTkYI8ng2g0q5MCypic2M9581I/QHZcFuyNhT6G0IVkBOcrVEjRe50iH2DrxygcB3J29el2
+goYJiKvpmZEYpAhAlXHsKDg9QhT8yk+yeElERUZVak+RvJdCZe3By0U/H3Km9rDm67fwGXWC9r/
mzXaTuQGl8U+EL4CKmZikFdQeOM0B10Fcwp486h56PyYxUFJRUVCjxRhfgx6zH9cxoQNYEypo4q+
QaGqvRu5Ycj9qSvID/166dAuv163nOSjIIMY8ed/Xj0MjABJdAL8GpD5BjkVNlm6XvGcJgOz8Lqo
KCjy3jaZcTKUQQzcakYiXj7DBf2UHnhVR7B/YX4uOqSkQjt4GLnIiNJatpORLv/ow40UI33U8PC4
+BaP+PyWdfj/TNA70JYbndwopdQRBZAV1BXeI9rgZqLnfmEaAlyPaDFz3q2JHfsXBq00uW6NZ6vV
pdYNrskWNWrJ1Fm0pB1wPmqVkfFu3aa2c9yf9VfSYjKDGxSUSmyTRFYf+rzruXeUDgUz1XO1Q/yR
HccrkCvBvT/hcjpuJl+c0rc68VqA4c9YgWJNJA6SDWBtllpW0ppukqxHhPzT30CDsZVSVchoicqk
SMCLTtujsq85M4GFvfKjYmC3gU1aizyA9MBFQlUKutwkbW3QJIsVYzvp+JCflmQxUeLD5li2y+df
/gWzWaLTqF1QJkB7R7MDEIEnGwk6aAcV/ZnbH8na3q32GZXZBLuPa+Y8c7fdGmnfeEtQP9SHOJmY
q4v+nfcnnRuHA4kdpPPuWMf2k8M07OLfymEyeg/t1zB0F66LuCW+yFdkwjPUuqBceFoABYFRIGIi
whPxG45lpNoy6O1jp2jwgjQIyQhXWENL4yXpw2aRNAFfFEa35zSNVfIYwNLANyvxkF7UcpMuMgde
ptq7mDiQr7PphaEyKwlNE0eL4bGg4DwhsohHMKR0TLK4mKbT3/q2uiZd2PW5qtc0t41w1kwh/I4Q
BeCRgouGqixHNl01dhojcIu/STVTj/WPNKDX4nZR+xNhRnSUU7UOn0Bqe84enoFyvJyhR5yR8xOW
9TsIbxbU9FIokCnEqZQEqYbwonsenuszpPb3WHAR8M6sC+1TaHdkLdhxQpdnLn0VSfEcGQZedHH3
LtHzcISxrIRTLKnNBX8ZFSQr5Upg8PLVbix0h1vNcqpBdKCTo2fjvtIjhHs2MZaQVoVyAlIGCsbp
2xXsXBVHG+61YjIq6m9xU9+PyqWvoVl6EHVVa0PcHB1swqxM5Os5KABrVwaHfhrka+lX8xoOooHO
A02f5nb3xolWwtEddxfgPdqb3woVrjqYd7zrVssT6ZiDYK2vSW8NSz/uRUIK+fKQrWA8DcUBQDSW
A3k/SsZuthnu339+mOAXVc7EnEgSDdfOYZBh8YG/B/xOxF21emcnZfSEfCwZgx4SFoejZ0qX5SkA
D/X+ZgljuWFwT/ixGkA2YnUCPMlizsE3IMGGxN2tZDy3+mfobt9B72tLT7MnmZ8CL1P9yloP/e03
6291OXl/ws/YrP40EowsmT2BVzLOvm3uITO9+LF5TPteMX2fCoAFWzbbyTP6OBDsl3mUO8L4sFyO
Vq/oE4289/Trt0mKU3cXnn50QX14zI5V8IgIzjwMDp05nfKfcR6HFnueVXtmfiDQRTjyzwDqzYEl
6YfouRNiQYRRes/pB9Jaimr885rwtUwRQp3BzD90z7hefNwKYwfoK53wPiuxhPiRAqsq+1LQxhF5
9cBH9hef1TwYRu8kj7/CNebp03dimv1biAKCxF4069cp0ubpxe0h58dH3U3nW7Dj4RqPXg/Rcn89
mNXrWrRoJcVRs//gmPJ1WqOYjAFL+i4ie6sHfHaLOmEe4IA1ZIsH9V+8J51DtfuSQ/me/ODPN86A
r6+zDN3TFVITM0Af7QIFx8C4UCleLKuO2lCaddfbiHpK2tPBA1V+pqPlCK+eEjr+3+WXwxk7sPO0
ZwyesWLEwiAYTSpz5Fxpnu+TrjNaDBeCcVrYddRf9H4IPaoDBI7inHK9zPmaYqYNWz5X60sMqzVO
z73NEwsSuO2DaXu4gRPMSDWhzvZorq+ncp/hojM23vvh+nLKT+TH0p2um30nyOOGb1ytt3cBYOw7
UDZYqSx8a7kO7Jsnh5Bpz8WuIoJgKa9uy/6cjqOkOY0GM2a45b7+Gmw+2z7uVPj+ahCQGNfcQD2P
nVOaKJSjFfCtbDJjpKUHqLlvmCTx4DJkTIxXADWhmqxSHDQ/yJMgNU3qqEioNZ8izpTOgECE/rFe
v1b0nPKK/YvXiZSDmONxY7h6vE4ky4JYdqdqRn8CsEViIovM4hltE5gSBh5TQRZAjYEi80r1Au7U
1uDzrQ37rF+wnAHa0bZgzoJkjU2HCoDO80Jmk9dcTcIO2WQJ8cM9pXD7uRjEYYYDv++fHw53hcVP
D+gXjFoT4l0sdSjvNnuRKs4yrYFnkiAvoumR6KjmAjP1BRHkRHujwCsdensNIbhKz4JEuyHW/svH
kMTrrd8yLQpxyy4rA21prehcR0gD8xaegObLBB+AyYPn/XunNGVjqUnlPBIblS6U+SDEQWJz2VW7
kftaZkeBL3jtqd7UszLqQuEXwljAFQXGt4tN0RWBFGLFryyibqgPUS5s0ojoHkgB8FwYXu5/VNHX
6dtDxNGbwenjSkO1xkHjJafSy4Qw581afcxFHNpf6hs/Kn4afheoA5pbAN1IXtMMQvaT7OuGVxmW
wOtUzl+nzr4O3kdoXsxnvlgAiXhRar3n0v8wS8apYCUxxMHtivsEx1x3N+wUv+Nj1Z+KgctuPP+T
InABWzR4DwcCn4xZOHlo7aamA3VvHP3XDHXxy+0g7AH+qgIuSdSd5YLoV/lcBSaxK+6V2hHdULb6
BN8wXbVxtirWVLT9ZQeSbE+lUOSdIybUuy+MG8o5s7keXoVQLsA6d3lSeY8YVgpE7E84gqehSuwj
gg/Gtn5l0L+nmP+emhzzQbHzQIehEdtvDYrqsGRVhsvsSSDW0no4q7xnkp6qPWA2MCpezThyDgBT
QSBxsT+lm3qrvykb9RZmCk1pnLmyTSkPI1/sS3vMbNYdYRqandi2itND/MUvDPfw4PrJjyHmqQKM
WsiTzHN/sUDvce6GBBtWyXiiRNQXw0y7UOIw9xlpncVwNhBcGLU8vUIigPaD6IYjM+Yhp35AxVB5
8PLFBAYsmKRfjiav257STJ7lCSVU5eIdhH8grhc+pSV4Hq/TYH8zZZCslksfj/iLlivCTusd3dbE
sTC+Y4/gVWSN5f1+auM+i4owO3vTRWN8j7Ae0fboTK8DgVXk+mLKxdcTyI/iNKBgi1mQOCk45x7z
p895l5/YNNjMtyL/nEWKPQi6YvEVFMqnmx4QeK+5RkE6H3OcSghA7K/75NhjkMrYjvMWW4/sIMdc
RsUCuTEmzpQ5C3ibwpv/dhh7lS+iARhlV5vaH+9HJ5pfNGg9+2dlQY7O9DIr2UMhgZD3NPQGAONb
afr+RUrhl+Zw1pmIniCWImnNQZRn7QzCgUNACyESUxTSGJjFL4vhkneZwo25YmmDZY5x9SVCHi+c
cyd2UPZFJD5sDpmWgZ0adU+glL3NOJYXDF5bctuYG5NgFkEw1DYNnsGBcNS7uGlhPDzoAVN5fn2a
3QxNlsuSTjdBWwsZ9me/rnZnYNM8DybCv+DNoAMKDN0frxP9CjOXv9biM/0jCtM80JVg4JFvMM32
huGdjSBSloPlbyctX/Sm+F6BwrZiTJ6BNBqgRwQ8spuR6LaNyn2ZnLI9MVGbKzIdQJ9WSHsUtGNY
QvqlAVKmxE2rU0Ngcld67boWsDwqH+0E9AHF9Cl5wLmsW+w+byYkKaUiZpjAt2zjbMkDwk0oMDFc
6RrPzEhhBLb6gHQVwJI9JQX2NXjPUhwnOfZvOAsFcqsVRIUzA8G7qx4Tk/fFeXEIkK1B9IXUK+e2
FNKxDpvJjRafgPCPV4ASkFqDZx17iD3esyr1n+ZN79nlz2Tu/GGpPw/GKotT7bery5ZRryozJj3C
7BhDgeC1HQrjLdbGHFLPgeuOEhUe65MpKTJ6/D96eyjBkKaeAobAzO0JW405NcMG9b26nBmu4zJB
78LGQRAjgDOPfPpZ3GYl9mLl9DvtIUQKiHJd4BStEdIyuS5/8+GmOIwZCWZU+AJ318aYEQBQLhku
XnZUiJ15vqTpowL/rsgB5qvlg5FkttjIbrVERy72J2aVHDn35lyDdJEHKNwhY6DgRq4MM4aekgaB
6pG9GiAG5jPd9Xm7ea+KFXfaC9vZIKK9m9wT2gHEHyj7nDzB6CDI/GuIAdbiuc/8G55UrFXRKMCo
0ybO3hhEqfVAjSbPmHcxrawxqMZYnw6uSvqMbrDomD9OohfwZa/jjG1iEJVIxhBMRM5tA+Y+GFaN
o78eQqtdZV5OyhV+SRwAWwnbAon9W+egfhnT7+9Jd59tLjqvOpX/Xyv5wrwNmh5zG8pUjgQAHRql
9dMeOGwBEPbSzSdBDPW3rNbCXqazBuC5HHBMRo7YnKp5Rn7tcy4nGDDHxPEiylKwg0qn5fQ9+wat
oyw/876HQi7qe/jZwzTmKhuLpDy/SqpEVpjVQtHI99Lx6UnrfE+Hx35S72X0S8kv3u7Rra2/QWoj
TLusm91rAfPfLGa8ue+Y6d8URUedvOZv7vMzZxdhd3uf6Ez6+0ejSsTTbbri/2iecrw5CLdGK3ld
0VFdUK9S6zfaY9MjDWKDAZJsvONbLM967JwMTBgKMSoB4dltg876Vzt3veGyCqE90i2jXd/AulaY
oZ46rszmuUKN9pw/SS7ZMb6+r8cilaTGq8/iab1puT+J7BM2pLFdhix27AOo3zCJofDp4O76sFCI
0xAP5l0tI002Lmnax0b33OhY/OLX1QYd+PbgGx8MOIACa7pFdXvibkURVojFuHHYEq5oS9RmbLYx
HQmwNc4MoMnkTzfc8YCBb2ngn6APJjez6zNLq+Ovh8EGI4CvljtsgMbFetulR3E9ckZEflUxc8wT
e8ymnHdj4WzQOEyc16XzdVKzQRhdR7+gSz0OH+oPWafI5vmxMfZPoyXZA1DUFtWsCjIoYGCziwuo
eeu/LDJtsLWBl43xDqwYHoLsbCdKQEsSoXxh0dhcp+X8E5fzns2oCniU0G3uORourzyOnj7cSYs2
/oZD7euEYw++EIFAwlPjM+0u61132VmlkbJ64Qr4mr1mY+/DoRBsUHZdtuB0DrFSrOlYJIol/ich
KxDMLjhKrPMd+8ceXOOJyhCgQDuNb9D88zZHSzjr0cfHCNO7T3GiJfyMcbAHisJwD7ZzIBoaAX8x
tXTxU9ORJm8YJUIk6enZajB5zwt86Z5+b491RTzKDMKzX1j/PMHOeVw8Rgb2zC18IaIAF04+cYFl
U0gQTRGC026eyH06K2o/6GQs3aByuBrjijxQAQ630+9NS+lVUX/HQ7dHylfuX+2ri7sGzl7oY9K5
HF3oy5gX9xiD46hKgA0XD1UJ5pp/FU73BCD9mfU8bFh4PGwM9xP8sgdFGPbwJD0URsGBwnJFR+wB
s3X4tdFQND9iGYSAY1SD8hlDCJ24VmDnrPaSNz/PsPCSe/fWKgq9iqGhpC61DhUPd6AkCrmbBJO7
3CHmhZQLlOhURpjYMCVtSCnSaM6lPcw9zP8YzHb9bN1ZVdBpj/lsvII2iVNHVwvH9DIbf4P9U1dj
FON/Ycv4Ah/f8P9j1QxFjxS+1LCj7jd7f+/TNT02outhvP/VFXX1VFc4wrXGSjRFvqmoPrCf5vsr
vi3aqrG6wlXO4Hsbn6/EL/Krvo8RmfExxG9/sDHaTn9muvBrgx/Z/N2Grz8cbp5b4S5oPFXdv6sb
fcXNAyyVkyFSfsat3Bbf+pm+Lm5dvHU1XddJAuA+zDA0fd5C0zSd/312Fk8fo/YTvZMHqTGXzXR+
fcWQFWs/m4PEWj+8weLal3EJmGZvTVo8N2UoskF5neHfcO3gOLGrEM8xSBTIGQSo/jmLygU0xPKI
YyxMG0ZgT5eUAHU8Emq0a5wecLv5JqSQbChFe0GalDb2dozJ4SN/4tcjpKprj/Cd7pyZYiSvjkTF
39HvA1zuGXldgYYQ6LIn4BAzHdmZd5s1BkNOd+A+o0cAy8P7LNJZZ4pKDgE1jVyc2U99m9Tz1P6S
gT44f2Ts/J0xFM+HhUK/gwKOwoxKAJsaCgCDqiVbyiGMSGlasAq8/qRBZIl73YYEYgxCKBgRkLEn
jsQJ3j+2a1ZEhsS3gGEwHJOemzNHewR9Tn1zwylXL2uWZJxwJhROXjWj+ua/QJlfGqYVDWUJMA40
TvmERxMDwhFbIG4zJP4ZQ2S9P6foz7pb446MDIN34qFATBVm6lvU7T1YLS2WYeABg7F3kGYo0YkU
jtujmNUKQ17gZ3PUsophbgUtE54AaNyGWrUWwR59yEFcaTAtFnf8QbHAOuV41yiIErX+FGVfgKna
Gjth5j4j5+L/gurQw2QwAH2hp1CSbtzZQ35jbAKzrhLt+K0VzrCPbnSZwZ8EWEdmAI4kOeWViCAj
65plpaOQer7Nl+QgMqrs+qWBgt4YvbXaG5stMitrNXMfgXLeeteV9NTYiuM3u3NHK56YImig4ZQi
Q3RkZwAFhdHTJ3mu28kY2Oovkx5YSF4Vu3ZS/NQei/eGeoRqiarzQiHD/x2kFd3xb8HuQd/xOY33
UrmhKDl1PQwM98glEtpWNJZQGbD+hG5TGCWFO5GySvRlDkYGkQdRkwTNgD6TTRiMlLJpFGARaheI
RHG+9W7iwQ4cBJ0hGrhddlyEe5BOg7QxiHsIxjWRd4Z/X6OLLU+AKuw5NsHYXMcKBSavGplmACp8
iLfH5N/fwoxIwhSl4ymTkSbaXDJL4DeK3I/Mx449Jt+QN0UfzkTSIa6gfA+nWQjVQJ/W2CaWYAVC
hpUb5446tAQCxAqu0rJpDA8z7Zog6yRgcmugU77h3ncxW1sEoRCHoT3wfIhjt4R+QOWrCpu4Qntb
Qj7EkUc+jDsAhEtuR43jVj1+1Kl3XC49Gi/up49H34eT62OwYoUKXm0Sudw4tllYR5Ju8jRaq7V6
+Ir1jj3nRbGZWvDebMGV+5BScjGvUJpawo+ywqQ66yZAEBYId8uRL6yunZu5+Ub/TMxVWIfUczcG
niAEa5IqMAkgyumc/jS0ts9U7wmISpUPDfz/4AVK8tfQFSDPqQfs0ZwQHY/XQBmvpPTTTSciqoXC
z2YAGjMa6e5Ln2JvOyunUvxwQUt+yPFZNnC5pHibE5wwHYFx304DWltwu4hfKuLXvoz5FzeLr1KQ
TvAIFt6p40V/084qt5Go+/B6y3dA2rxvN/myXI3iUt/OXmbqYogzpaeJf9DaMUZmP39P5OlnyRT6
Kjyrl1LIIgLOBG+NIrAX3r086fDSnAVYXOHgiWPc7L2oN98oZeTOsrMceEQ77gEt7qz3lcUk7oLM
12D1fszphDFG+0cDUuw7JnD1bLRsji0R282R7k7CuRGw8288PdQWD/1jfTbvkGoEZ9qP1SPRsme3
J27h4/eohzKzijEG1Ok7VEE7rbgiQphEdPTi7G/YiIdLXK3ZRxTvzj3igGnIlKQYLZs4uzKmR/it
7ysgTUAMXQQOYyOoC39FBhMY3/T+flT8ym8iAXjyXT73cRtFLArnKBfEPGSpGbUY1RcQ4x1gkdoM
nhp8dk0x6Vl5SzVCStjKyEEUBrv2BRYZ1h9OsxC3dvEEhCp+fsjPkdPOlnfTcaXiX9SdfE88Kuod
3vAaZiNf/XCyxQxS78zpPsUF/piI2U5l8EI2Ju79hJR+cI0Ve7koNdg68KFsDSyGRTSF+E9FzagO
xA+Ib4vFQlgSiouqMn6mODhEUnGPEBHsrVXtLrbgAAuLTBHNLB63yOq84/bePxEjIVgqwNEUyN/w
bjxdWF5Pl+2bg3+3mZHrn43iDXgT/xa/KVwTG31D6y8KKEqjgcl4c0EeBB89/FQp+if4pDj5DGTh
GWB9p/ld4+9tSaDHxYbrgqnoxSbKESPjZjFcitdQ4rnw2BiG8ZyfTG2y6B7cWRfFU+LMFn81+nUm
PkOtmLUGYdSbi70RD0g8rCEfNX5Y4qbwJcS5dPN2NuIu/vjP+z6GeEi3VRKAzdqvY4p1wk4JnufD
WcxmUTRZo+0htUalkNXjOMNEiPSem30jtuYdDLSBxtLnuoVqIPZBsIMbOW8/dzAdYp6hTBVsri3B
whEeEsIdQth0QFhxMMLAfGNgCb+MywLKI28Rukd880+51ainiG+tu8T0BkTh7FhXY2DKv6W01R+I
OrH3g2gD4Pf/G/533ySlqacDPixQSWeLhRPu2WO4mi4qT2iGk5SBUWrHXi5XwPoIsNVrwDkoyKGi
FhUlMPpqRNzQKG3qXMHT3N8hwXAF80ZXYL0EVCfZH6EsF/Skngd5+Jsje8beOhH+nuKIMheb83uE
Q1BBUEX8u4xQIHD7G4C6jbiWiL7BxQzOJlTXf2/9Zf/vR1ItrMQ7pYEmHrhlnQ5JFN3USVTp64TC
Y/NcCa9m0QL+LObyMMwGwgqhmfUXnaXsoBl2ZAfbdkPBoBUdJGreO26hhG3wFbAJRq3Y8uo5tPQK
Z246Wxotnl+F+YHEpS4+eH567Qvz0dqi/TI7Cem7fPcjXKlo3cjgETfDsoHvIFyeO+rU3CJjjzb4
61FLvJm5KbBpRb8KMOSchg4MUiEIhsPFZ0e8LtAFGF/B+uWj4QnjoYqHqWjtxN/ihy+IkRtYapTo
vG0nJ8L8BsYBEXNyOHxMqh9edogOWiLOWPTA9pl8LsS+nJ38a+7GWKAgNBv7cO3EjwkXlkT8ElQ9
frHS+yhqxf1ARL6ZgviPs4Eq1q8eL/KLhgf1k7phCM8i82+pAUiwhFlquK/i7bJIrQ7TwieWlWXl
CtzcBMMgCaiJmOfnu/L4aZA1lYv7jkkQdGvUlxD3q/Nn1knuG7wDWkpggtTR4ygMWYGV8dE+sJdl
VBCI6omMb43xy8c2ldEsHoonuCbwThAangcYqGG49QFFVIsDY9qQSS7O+0CDUHS7oP6Z9YFcJhkU
ZVu45lkMz5t+DAq4iIHD9xY39Y6Oz8zVhKKf4bSg9ZylMqFWQT1iE/Kq9YN/A4R/tRQZqyqNrWA+
YcIiCp4rU32hjUaoQt1FwJrw0hUfotAC0oxaa4kVfgw12hH/dd3TIGvHGsCHmkooCKgbjQHx1G8k
T6wzGEwlfIK5BK+KJLaOJa0JQyOZurKRFFiisMPe3bMB/nBV5gOuO1JtIzfv5IFj7oSj8g9FTqHN
C42z4KrPO1RBBI5ZzBUwLxFt0yvCn2xIdJf4IMFQe88uh9/pg4/tiTo549YyQ3wW5MGr+WBkIoBH
Kizab6rwtyfyr/M5oB9+gNf5xbyQsQ0lRTsKIHNrDCmC0xj6vGDsvpKtcbPG+vliQn1wrxwrYmh5
dnhqUJHSitkjjYx7gNEHR4FyFozW7tgfN5vcz6mTUT5nDmNC4GXYGIi4WLo4E+nwRAOnMWscMM+X
rJwiOCSAgPwi1CRlqreQdc7dYMA4h5D1jrdt9V5IpsD6+ds3b7r2wuhlUBx68/tyOGUGNvshQInR
T/SOoN5wHF7Yb+Ig052lqY2X4/bpvDfxuNEuq1uDv70t4Y+IfgpSNMMuVGlMHjcDnD9rs8WfDyNQ
yprje6wFz7eNcerXkkj9+1qMDV7F+oVRQAuDJnMvc2wY1YRZOdxOFrZweEihx/eFQcwQnCh3B4Rf
cpGi4XjpDI8l9gU4xi9hEMfn4VjF9QAzqSc/M7ayyhRiNeJxRjftBnUN7nwkIrlRUML55KkEZHrB
3Yil3Q/nVzCdSkf3KbVECHndsUPZ+yYRDtk+em8Jt+6RtsYTsctToGFgLF2aY8r9UsWiDd0nFCT4
v69VN7zTvcO2krQRlxhxY7V525Cbtv8ueSYyctDZN8eMGkRWu+/7sxenNYuI+ULE0CFLsYRQ+cRD
mwiA3vx6Rl45+YWiKaFt4JThCnl5qQ91ilBhLm9evghBmUDMZ5xr1rlWRRfEhSUuK6HNyTgDSXQi
43AUYGUCU/rSd7DjaTCkiYFvU5KLxLiKdYs1o4tTDdpuhpDwWwchKrftwJIYGw21LfNfpnKwF+ef
cNDnQgHM/QZNPO+dZHCRI1wnDiU2bjIdBP0uUyhA2laoVXNs16YwI0oEb1AC5hX0BHTUGJzxIvyN
jhggXSfVqjeV2Y2pPKcQALaHx250AJfoUiQ+1eFhS/HIlJva+MxrAUjywYUbezEYD5xFAzXJdnwh
H3i1r7ThI60v6Rf4bMwaBoiidWVzO6NeREQgO6M5pIQHeT9A9K5kEVgnucPD9Sgtn8cL7dzi59fH
VMEDrpqzLMg4BeiXA0+ZEx6bPicjdkq2q/l4Wc+hs81Sj+w2ULg544Y93dGHOQKutacmhhRWuO3i
E76ncCVJ3ewnEMneIEIjNWUPBL4kds7D3cl8B7+BDqjPGjZHVahoHZJ24ME/ZnmkWLVJnGE0tsC8
Z8+Ea7RSBJWJzpzrGzIB+ilKQNbXzTZBu/xcK8v8+HGq6LKq5y3DbiKEGJuEiKDnDVuuxDiNAGIx
uHifbj7rWtFXa+aNjKoBjy06s3YBhvTTjNEqtfFu9B8W7eXbeuGGy5qJmXrqchZqYq2+79mXIFOR
PcbIf7jZxpczE+h8z+i/eOsp5BOscNGaHiEHbnF/hAd4xJ6RXZ6tH+0rkHiE08MFRiR4UqYP0OT+
nYtwuZqYJYPtgzjOu07vR/1IgyAbPROlG3MiiEIwlb/gTeVEmTNOwCGTh6XRDbKnqSO0jrWK3tHm
DfsOG/HjtFZ1zdNsT+SF0pp7tu6tAA79FcChbopPm7+/xVc+/76r/K2v2Kh9sEVdX3me7k0F1Kgf
9anO7oTibfr3tSf+veQb4n3Km44Lms7d8n60bfBJjbcp92wfuVvxh+KUH+OGPK5fiDC253tPNaRH
MkfssqiWrCXIKLMMR8CiPAQep3g8AKB/X+iru/r3fx6PTV8tdV288xCxdT/yma+XHqgod8fP//3N
X/zj3x9+mR8UX4tf5+ZNbpqbB1zlbvjEbwn4FfBVHI+/4yDul98T/+Co8bfJERTf5PfFl7q4EYHQ
ggOvVg+HmwCiFQdzyRNaeTr1ODkHPGXxoKa6t+ShevpHHRkcueVHpQTRj56349QcL6rk4ynRNhjN
mJ25jxjynynr8DsMFI4+NY1HleDK5MT8VoVeT69AMziiMwOA7mdwozB7YKNieq3oSpT5g/XYURoL
C+RxNI7gaoibfGiwkVHNdUV4KhcAF2iX6xHGXuGnhEz3ueSAfzKNuYMaFyoZkoQVGPRIgtHBrtH3
iDEFgSkAi0BgrIf7Mgu3cLEFMSTal8LtINNWrGry04QSpoN2pkZTUOtvGimhZ8AHYZebMvxxbCBM
O6dweZqN/7XusBSsSrhMyixArfNxCHIyuzrrAddorVc6hA9yB0b6G+8Rau9OsGUu9cWxxwIgZSTX
svOVVoz/WOgdIURSTxGGjliWK3KHh5YDZYZOhNEiZQkXOPEUHR3BptVTj+wPPLkv+mYo9kZXH1FK
3VizOq7k184raidQXkFttVZ/OpgzGo3xxaiRBFi1MT6kM3dRadxh4PWs/vxnRdB9GZM3NTX5m4Ea
dnPajWPUsVKbeandOk+OQR6+4+tfcZe6dTIK2n03IYRl+phihDjRxtpQLXl4nPoZB4n4JOz1sNKk
g9lVHCHZq6L7hAe0GFHPY+XDU/XrsDvpLXvLKko9rJ/e8MQRRgF9LwWVD8k8sAKZyR9eoIH2Sl57
wfHvWI8dJUd5llcZwyPqMLKpC0hqhwfEQgJwnf4a+zfMx8RQirF+IkQrAup/xkOnj91VHyflUapX
i3JHK3uA8+b0TXJVtS5LWp+9pLY7ziV8AF0Ooo6AKIMugjwSpw/jFAanMgccGcbSHHYeDGuIQvw4
u83Dkhkv44iFSQrFL3IEzkbhbBmNgCHvesf6TLrCxPsxQ4/CSSMtH0E9uUQFj6NcdhC5fHT5MAxb
Aqnvkx98DDyDAyYOJM/htjkKt2G5HIbZsti9Jsp0GA5aDvvQEfyau0tSPV6YV5rR/ry3+U0F1xH7
qhhTGfe6oUkScYfb9WghR9n+kcjr7roH1fPmfcwGQQxNKr6TIwILSY2Pe7MLRcDNUzQmYXYv2OrY
7Ok5rME7/1+CMM1vS2Q5GNM1Lnt6+bOZk9wn2/lofpkI7dYXp2WUXYPpFVtcedL18O61e0bXq/bj
6EV+LzrZ2oN00Kg3Vo0Mzk4XTsBXUPZ5lxFaH15nhNe9kBgu5MkiXfptppOn/YQKi6LY7E6l+d17
AQ+zL6FLoWPxcl73DFc0cxtQPGEYlUKb0R4AYsSibxj938OHtftqH7PlbMak10AO4rzm+WqAIAUZ
hnnzi5iKYc5OPE2Zst/I3CCdZPpl54PjEVKA2Kn3DeoQa1i4W8jfIF7bNSxiFp4nWnSIB+zVAD6C
Ht+d9VkoQfD965woUI0ax72ib5KsgQU3BPTgQfzTFR0XBE6svRuM9DtJ12dCJRSK0iyDfTRF1Dbf
zrFmGyJbUzZUm65igbXq5GAAJ+CfFXZDrl2X1OLzhXVhWUA9Ja9df89aJ49ek/KMdR/FWklJhmmE
PxTxE8N5Rt6f1nPBmoGLphLjqpeTr4vgNgNkwncWJYr5O0mGZGA1oMm0mIDMG4J2c3W0b+JySn3T
i3/+I0DAWdy8JykaptsB7HWeeuUpi3bfLt4+rRyjD4qoDqK0oaYp6FgZYEDBEEvNb/dbooA0m2UJ
Eo4QgpjchWI1XFBfMR5d9Te9BSR0qjgRFdxPaG7ocR3IKT45evSaV3bnfjCevBKQ7X/v4z4JxeQR
/UfUmS2nynVr+IqoUnpOpRPse+MJpSYBbEFRgavfz8j6dv2VrKwkGoXJZDbj7VxI4PDrQGInWXzh
fVmXgf6NzKBENXabA9Kw9NRxqbzDdvPSF3IeHPliEGLIARZFKgrlY2Uu8ZWG78RsVH36AFav+APt
63Ux50zOqDskqzXuMELg9/1Ns7BY1RDvQ9oCY6QqzftSj/t5TVj7aWtzsUF6RTmfjBK0+bggJT28
N8jA1Mn+QBTuV3tMTixKx2nAtu2K4xo11zSoGfXgvUGqYNdF0gzhirQ5AioIBTuldhvsnW2CgnsJ
kqYL9t4BVsXqlmbFBhs9/7kjHFCn45XcxaZHbuLnOYcKpWdujRwv868kwHZGfJ6ruZhY2K52bI85
ORY4nDq9G0YuLIMcWDkhtlndKQf2cZN9CYX7RuIwxhLB/TEos8DByLNmUfoBk648BglwmKz3RjRl
ByliEWJR/rj6Vj4ocEVFOZP2SLD4PNwn452KxRJ88B5vaZu4MQboyZFoQZXSvxHkdXD5LMQNB5ef
6hGq9lBjiHp5hupfL9MON9QNW3s0arnpZaln4M2e4O/hK+wecJWgtF8FnSowsvBN6vfd78I3TAPi
y17M2k+vQ/uCGTYDNR/trvag46fdScNDqJjXL6IXstHjMuSr2boSHH3zb8tTRhNcg/bKxrfxkEDZ
v2AE2PqD77JZYDPsRGebrCfIM7hzIqDCbwKOMNOZRVDSmTqafXUfHxJuHOw/Lhvshp7lOqkOmrbm
5Voy/R7n4QkABEAlL7u+Xc2J2iKy2eHq3TvIbgZKMsr/Qpg7YEdVfHKI4IlVill2dCYxkwqGOitV
qIjxi57BYZdLvY3u6kwrl7xWYw6SZNPiJa7DrS2X7X2iXxZlNbSJTZXjMbdndZZ1przYvVybLZ6J
I/M+7ajLTnl8lMsbxLwCDSzHnY6qciTZzfhG78+gqYXT9Bzsmdpk1GG5QaQuAp8SoN5OMJ+cv7Bu
KNbmaaMWaxsqGYNGyyzYoUCgkajhLFp71VzDF+Gt65Puvsith4K05agasMUGlTnRoC6OpyjLWt0n
6xkvUT28peHtAU8tREKlLBQGiqukO18UlHvsu1EeKV+nH2wdsFIo5JY4OT3EeyrKbg4Z465XD+sD
CjzaFhl9AZSPAc/+OYdywCBdiVE7/jTUeHgXxw5hn/OjbrtnNBclpcNfZDztEKoOJJ2uBLA5C9hv
U67EmEC5k3sltsc6AGETvTOCyQbJrZnD/TO2xD6RXQTxkvw7a1JMsy+6S7UE3BgaG5UAGuGBJ6hz
OVmcTrBRZUj8oC29xpeFNXjOADBH2sQ66nE61vpJDFNrBiqMnKNc4Vz0+YG0IqA7XiibR1AQAypr
7nRN9yKDbghnZY4n3AqIaYESk2HscIaSBbK6S2NSfl8/XIgpw8DqCihzA43U5+CpodV/Q0wcwU0c
IP9DpQfd2Dhg44GPpK8cH8FpB9cvOOEIooOQ3SGdl8T2WgeAVw87qz4SE4/8mynS1VG6sxBAjJ8M
00fOhF4NdxWlIeFav/AXyjmmRXrtvU2/pGT16eNBp5ww5vVehsdQ+oJcMr29wywNT/hmYXNo+yYq
Xc1TWTs5boeJbH/vTjJgfpZm6LUDepWCegBqA4wDssMYAxngUOfBOt6Q42DWbonPcumn0O0giLI4
SgibC7qYPgvZ9nn2VcNrDzgi1FA/iTBAlbzWiPV6Y1cFGSTg66XjPdSAUCMcZTlSin8CnQkCogAh
sl4Re7DgPRHMkgAwqvL41+DBVEDQgqIFbEBifUioJ7Alhit+IFKKvz+kH/wDOnEy0Hv6e3RiVUcj
i7GKuGicoG1dAsEZVIEcrrC9JHrjBmjV4pPywrGJzFAGIiSjzULHczfzECY6R/VXw3TqV1g2LEop
xlO3oYaLVRsoWu6Wa85T2yJwEnsMHuSTe4RMqOybb9VfbpRsidFlw1ORP/Gpx9e9hS+ChyJUmaS4
QicznNlYAWKGgXuDimg5n3dBEfNxJ07EU0nHiUSfWQtgZFKuGTnJlmAZTEUaaemVZbqHzMrR3Hph
/iCm08EOSwKysoffGb0ogf6leuyQyqOkZ2Y3p2mBaSYBkD4OGBTUmQ8uu7dAlp/4JQCmK2l/Jjcb
9FuYeemcUPEtpymiUjbZAoCaDO5gWXRRMAh4WxOypeSgsb5aczMSuiVXVvhWdviBYsVoTL6JxPDV
LHpffieGxBG9fIgHj+Et4oXvayFsUaSEyPuHM6a0wg6C/h9WhsyahoHvtL3vn+uPD/4oMK4Z3pB3
qzH5lVQLwW9x6aIUg1YrKoYZkNx427js0IQ3DOPnvL8I767hGxqKZ2AiY88+vwLm4hY2ewDJIZ8K
b8N8j0cQUzgDFAXwyxCxNMGEcekLTYNSQTeC+XL3hdChUe8U9zpcano4AYMBbweCK1O42L7BaQXk
A8kBKQXSgc2WuQEWTjjQzLGfBWb6AQiKekEUBUHmToLJaLeDioaHCxCh3Bwkz9Fw8mrwHmLZIuhX
qbbr4ROukkeHSKClQUGgrrGWw8O1Dfc94ZZQahmIR4h8J6S30Q4lnh9QHBEcJQ0ABQBQeovffr/v
cSlY9vF20iUp9W8pmwyF8eIsqAZJMYZhiM1n2AZQ7AIvOOwg6JluMNlxnA2XXXWTsKYOZsa1lG3k
am7p1BDtiLWlLRjFAioyYAj8YHHAW/o9RTO+s7gsYj718kcwqngbIeRUwx00wF21xCC0L5SdySg4
HECbdXfUejvcyOGLtsMkFqS540+UHtyEUlhcHZwBepDvQFzHdEAYHPRCedGPP7pFz3XH5TicSRto
eCPmioimCiRf8PoeEMaP9JI3P1EwIorXDE2sBKgBh/gmcVo0xr++y4qtVwXS7DyPbiZ4rnAFUZww
sclv6efcrpMG+X46FoYA1FQ+btQ6cEKYCe1HTtqZ3CL+ug4aN2WEDvHj4sa5RS2/IObI4HXaYGvP
VI6iphpoh7QfCAevzaFAdmxcDuq8Fy2YdOV8fFrKiCMUpmJYDOtgxMX8R136uNzBfwzIkSKdaidH
zXWS88uWQgQSYpAcZRtg60LEETxViFDyukIdug15hfJvcUtRcjva7uQm/2NkbqWDiiNNiAptlK/J
gcFikTwjfk9Rmt7FjSckC5Ym1JHQD+tdyony9rA//33842lCROMevskFkEOkE0hhCDcE6KDyXcDd
JPdTMBFxHDTLPwopccahdLJi2OD3grU9s+j9tc+lqAnoBbIFDsUNw7/KS0ZoRQDBBAKTO/jB76VY
i+qF/6VwK6v4F8OUtAUDASwRlCGE10l9KuEuJ677b5z6xy7RKJfWMFDu8cXDJ3b8j+OBthOYEEMf
eCLCUgHF4UgA4dhAo8fFuEesyORWxbSeV1RhsPDhs44je+LfIzB3ZwaaWVkp/OOyUJrh/eW52Kb4
+NVxZNTK/kA9h/OUV0tgtpq4oGCf6wsSj1k2/6gPEcop0a7/qC3SjEL5YTFBKwGo8iFtIWcsj7BB
+ntc1DoJ1Ra2CJ5Enpz5G3rIUfonrSQtRZfQqN1J68pZwT7mXXBnhkzCVECPfv21rLSjnPO/9v1w
rPIX/JZO8vT/tYS0RcWcQotDM+rw2kKvZ3riJ2ZsWqGOJFhUuDDvhbT0U34LSUce4zlTaal/Ld5y
/DhfQRxgKQr3hjPh+SxY+7uGl5XhSi4jYDcfGHCSACKxHwrl2n8fAFkcYJf0a2EfCIUBIgMOgDlv
L80m96bcLHQpWIDkzvIWFIJAvni5+j9e0B8jiO/l3pLfMYQaPVJGCA3i7f56Hzwq6R+yJvlLRQVU
5KnpWC48SALvkvBV3o+Qpb+BAcqy3JcyjUrrc71n0ramDpKHVoHMcTkDy9PHkFL5ju7uA4ACST9+
ENJTSha3caIAKAH9gfGBoO4QXV2M1bhE8pJyDPJ+QpD69yYPHoEU7lsTLj2/o/PRejQ45micmEzM
XIK/39DU/1pM2uwfDURMzEDB4KiUf6cqE8i/E/7HV5Hub/JPmN9GYP9m30zIj+D280jReZQD2nrL
YzA+Ukb9D+g9HpPjLLTIKLXpkpUcAZ0O3gsfTl9jgNRZ/yG74H8MCPhebviam5Tm5saQzivTNIIO
/prVHs/CVQZ/lUQ6qc9Nxl/ADKVdTnR7Xo2ODXWC9pShQP6nBfmQoUS8MmRYkU7NO3jiUn//u/Fq
bHewqqcd5NikFa6cJ0tnzgLSB16h+K8fWPbKr98crIwVGUtdnsIJycGXPJ1ezUGLPT4OpG5OrVVq
oG8eYZE7ksfkFPkfSbWcBs5eTJ5SWW89mSjFk1LueO4P+HjynXz99zz5CbrXUJrqv+fQLHJZ/5Fj
/81gykTuTGmyt6dMKEUM5cZRJtIR/v1jDv3XV2S4ZW7nIeK+5Sv9RYYM+UjH9kz6kNwM4rcnvbxx
MaJh4Pr3RvIdfeu/58siU17VlJXO/z7+vdH/frZH5ozLwigtFxPTAY5SvqcTH2XM/v9nvmkFGdWk
8wlnUDocIZxcCumauHT+N2bI/5Ta+Q38yj5cbLqCvCbGPbyWjHvS6f79z2Gz7pPRSsbCf+8kj8ps
8+8n6Wp/p8ff/jvNfzPA363G75KRBNbLq7PEYGXA+oBAbnk1TN95BNLOn2YM1cZEBhvpvNUwu7j+
ycZZI1KSaXv1E2d0Y8ft7G19fuNuZoZ1sKdzRoATOqFjqCVbF+S6g6AHgozmgmWrxK5alIECAkax
m9a3Wqz9CoHY7BfjFm0/kDd4NsxuPo2LbznE5OHt4asffKB12K6ZD5mfCh0kX96k/P582xTljr4G
UeGofndYBS/Ycdc4z1PDLefZ4qn7ABrGBx7DI/fO0aNw7zlMZ0qpIMwuMvFDBmEwxvAjeEAtoj4c
ZEZsEqADg825+7Hj7kwvDsc/NinllAaiU7wFZxHQD6uc3jpeK97Y11lEadP85D+xbj2YnuZ45i1A
+Hny1DxUBe5n1Qa9yPGa6a2PkaqJViBR8SpOgAoec4zaKKYXzJ7n8EWy82tSruAQIKz9502WujDy
XmT1ZDHM3cu6WwFfmZPSGaLgyI7qXu46NoaoMmbkh4fWAb/aG8i74RH+08GNkc0EkrH7mMTzX5zX
LSd81R6Cjs5eSyJtiODj2aNAh+beZhQoRGF1wd2xi3NvSicmTQjscEu8WcxOue6hD8JfQbdwyfFz
bAvDE3f+qhgSiTs9z9vtY9tOMghfvxhttItKCVt4fF+nN0UVfWZjrUWJ1Psq9snxubxOn992n7DX
VsImYMYQGGozv6jIwt3H+vrumXjiWVSsJGSOavAn6u5tqb5WJK8geThiCXibv2AhmAfq0J0DoLrx
1TVoUM+InGUzTzfNrPrSpjajqRbSsp1jRdUD4n3w2n6O9+ODMunRgR5/pBuiTSmBBB1okUeJSdU3
FLhRsabYzazsTTu6HhER9JsDIoXyoHw1h/vkvih+WAiyfME5GIzb6JyIllm8YFQuUhVCPb8E1CLa
UFCsGqJp5wZm205LiHHBq2Z/ULCA7mfYOaUb8wxboqFioRFy8JUN1bC70Aj0NtlpQuMq6uiduiaF
LwnZGDoEUpJThaR+KBeI2tBD9e/17FGv33cMjQZvBMoQcyB1UocAS4IQW8xP5uSGlWgxr4zo9JnC
/t2ked/CQx38E1MJgg8Ur+147yJ6tSEl31dYQNj5BMYgKz0IxbevAu2gvUZK2LTQRtPZ2UUvr9mI
yYJHEpRIH6Rmjn748ZV9NeMWCFKWh85AylGfuBiqe/3HnHZnd3RpslO7RWBUQ1R76N2CkzqndN+l
xqMRVONVE5N1/2fV+cFmU1cDw4rv1jS1puYnsi91VElWaJAoOI6EOj4gWh/rjJMenU/HCwMxxC8d
KSxep513hAb7rI/JQnhAEzxNLSIbjdHLmKrv/ivtXyleGPdY7Q5eSl/il7DbSL8LjHq1fmXDKr15
xWWkaZEDc4E1dXdwQjxVHIhDtiFy6NgVlYsuym0rqE+z8+mQBM1l/j4BEVx89dtJhnVspydigNlf
Z8QiASqEKoSYwb0Tqp8d9ErTEvsjbYFteYkMG+OkiEIqwRpZqIcV3iSnGCvz4boeUpPH+f66p0ST
DdFUfGF6E106gwrnGxSk1VdluEpgTKGbWGl8pT1w/YTDgh/nvNwo+KPBfcLFgSVFGQIedEhY+0on
CtkMKtVwECccixZwZnigOzVHt+FzbS30HYKYn/zeJ7DEAEGG7/L22w+kTR+6S5fCX+12qh5+Es+B
Gj6Gz9hZGl/ARl3d0/7srmAnqGT+6h5/fkY0rU8wC0Z8fHPfundlJ6H0bS1K8wCJjjI0juQrgQB+
AVGgFYEW9Iwo1sMgdx9V4t6wjbi/3eddrNPzSgcWcLuAflTZPp1QoYbFebCesHzh8cDUhKsAn4ki
KKuvaqbCPGsb1/h2gMVbEShb6+74s2wMqLqH1/eDDcZaYjxXzlomiSIqqSO2syYJLoXLkyyqLnAX
IVcCycQKpQQEbJ9Jd6QjUBP602OV2iKfpjh+gZR2GX0gfJSDz+wz00f1pMPGugpIpVrWX90CvsJF
hOWdmZP6F7LKMarS0tDaUjJ8IUEzvi0lfqfhw+7ryfj0WDbP45UIJuLjT/MsPZApQC0fLxH1LwEO
AQiSEcho1BVgLKN8qDUPOwSM5R5VhHrrhQWLPmtQHBo4ABSRjUci6jHqdwqswUQNbcxDrTuZVG41
q3b5ovSLKQOAjUfFNh9cKEB2qIPjn3WFL9xQ3XWVh39tyH4DifFKKCmYKGJa3ARIzz54dkDAzzHG
e/ZBgv37V9VKXF7CAqDo4bCaEkNrrQkfnfOzCcMOIxzAm+8TAnKu8Pg0z7/fkPJLtzO8QLYC7yH0
hzRSBAIgRIywDppsN829V2Q/oy5y0jerhoBVCNy90olIxCJAg7hVUtCJlhXr1Qa5G0T+NPio3r3y
ux9PA9po+0roXD3SM7otAjh8B4mu8VNXiT9YjHL3IkiDB/h7qz0ARA6Bz3ZtDjC7fn+dVqQesv7I
HGENOiP1G0DisoH+SaHWJMKgZ6Yhs1hybEhVtH470H1YaZcuHhLvNYCtcfUMIzClNXvJ5BOYwWNs
bzl7KpgwA9mhNgsWVDXVpyNhWSqrqjSET1jgfnjE6ihoyEgSomKDLHKtB9jcBthweUQ7VGvtlz9p
Qc47Ac6xHjwQwEy+nzir7uzjvbF4wwqUmXII2bEDU7TXwZIK0DT3uEu4RXRMVd18a62fE4OJTFYJ
vewyMAgXrPt8vU9UqpUULvGjP5NE4hrIFiYpaZzPYTk0Ys0lJsgtwgt0I+SIbj1Eq8xuFPJp9IF7
9w6hfJDjsFIJeErwgRyb1bh67NRbH6avWk275vD2nJRFiNGN0h1eNPdEkr1BTYpAgXKvU+MClAE6
wzfA9rBtBjvcfljdI5Rk48D72gBRLngS7j6II7VBUfSJoXl/q2BPZNOhqd6qLDEQHePcf8gm1uaJ
sNY4NE1YwZImuTVdtMbEMkfnbFG8BleqZtz7yvLaLhMD44iBjsHwfZFX64RCAL3CaYNT7t+enkKj
d6OabX06UAAgnjMD/rbdb17D9yu+kaiQ+XctfjiH4gx+ZW3fyYq0veIZtfqviULbNIKkG5YQsiL7
3G8xxu2MzM/KOO/sz6ruTNNkXDmrV7LImo1RxQ0kcAyAXiE1fT0GJ+Xz81s8cfKPCK9IEl+xQ8vq
q9Wc0oK2VT8e5Gs+Qdr4SvUdMwyeiBxp4gAfZy4AoVQaqXO/bFdHULPMyDK5wrGNaLmy7xhHxV6d
q+HJmD/VmYMHNjysdK+a24+6PN8Hj4oMFTQB7O0+g5cDI2h1r+hts7ohqyMocWf0r+agdMYpkr92
AoiqnHbPc1/txk66f6BuIgvHCF7AdqehZq/KZpeSE5e8V3iQvMDU9GQDUNom8QUPA5xb74O8nTxT
nNv7J3Zw93FWLzrO4p3Na5a3jjqU1Jd6UGfz8xuvFOLnE/9hRyWoK6tnwiQchNST5DksqO4lMbaR
CmqZJL6qy+q55fR4tFVZrWlW9FbX4PskydjIE0AOrH6WzU1yIbEMP+3U62/jjAsSuYpRevupdP/K
0YgN31wHm+2Ux7RtEO0CalWxo8+tdP5pJiDMHNulXjCLlLPMOpTPwx3983lRp/vkvMjV2b0bvqv4
/F51SNEobDSrYw4/xevkNrjYq/S9Sv/cQY0UE6w4s6NLOXKYUjmVYtbqx9d9mmlQgvlrw1rdntvX
OX4/yZM8Pp+H4rnNi/XVGXM4d6QLZLS0yKWdRfle1fnK7C7TzqjpzjJjfqVAjQSvjT7dL2xZHxTJ
uzF3ovOMeUdarqvPu5+NWWLv+KQ+pbkqzepMTvD1i5GpDJ/t6HKfvNspLVup69QZv5txxhOKZXH7
OuWr/Hmo2ynHk15/WUXBYliZNtgaB86QY3zwMIfEwY8qjgWsqxjLdP693jAKGsE+0RJorIzqoKDD
l94JbZ0S5EbwbgJ6v9jYsKvCM970HtSHzwHzWPHw7IunFlh0ULvRGZ0AJpreDTEIiDb8+atPoojw
P7jolquh9cPAC5Ss7XdAFR3GniCDyt8lBDMoqIBpbmUeNF4bZdXTF4kDhbJzsL1Y/YKC2JXuF3b0
IMkjvqmbcUmpCgP7i9fUu5ukzeCNTjwt82ovX+eUkciewKW67X+AaK5hN+V45GX4qlHJZTz8+2Rs
vA15g+rRv9nh48HTD8Wjz2fa9jPtW7kveXVOgs8O6/3TkK/cMqoxKHWWuIrD5rmCMMqBsMU5Pdi6
aFfvDt8HuoCeRzhPvKh4oEamVPgIPkxg+aZ57Y1ipnaX9mmRc7MXcsQcwvPye1J/NB2b2ewFw+jN
SsME8nUw81EQSXRdA0TxKRFxLK3u+MHeuj+WmdC/QwO7zySH/IIU/8qUZJWl9+avToQdPbuQmlJW
CFyfW4LQtu0/PpsuDOrah6/Tav7HmZ5yNmpcm6OSD0/k+nSHi7qZqvnmzpBoRleLySOA2IARbMpG
RRz7NkLZYQ1+/X4y3WRsZtuRfYrh1gA3aNMSospZ0oZIthCDuJMPbQ7svE8VNBCpjOiNuNJUTh1Y
1UQ0jm6uwpwnsiVo6H/kOCQXA72IIZJTqMeS7CGebJQ93mPSiI6ghZigkgT6mFuFiySApSfNlGF5
GD5mGRSiEZIVtsHoavT1Mw9kaf7o2SuW/S9ejSrogqrEFSxqD38Lm1gNLzYYt2ueqH3liJGZKAUp
nTtqD0uldqiMwdKu+8eQ2yaH1InihsAfnOEqWcw83Mcun6iYLUzwA1W+779gYikOBGbP2mKEd/nG
6xVSvyILCVzepo3Vg2omRDKOB99QY12w3QWy3ukoHmYfHia8CPN2ZHv3HnNjq0rw7H1fY8bX7T2+
6m/riwTUx89pij1mRBQrSNrBWEH/d3pY0/gq9N8GzA+k8kdBLjq85kFnWeJs1zd+Ejj/+UIf3ecN
uxlCoVnuLh6rYv2eUYCwt0zEVATGFQtbKDPOt7V1jvkv2nPM4pTFq69v7MP5WO/yL22lUIfdXVbJ
nKct75MGhx/R82bDz/r5C8wR0EdCZ8ne/e5zOlSv9/jAuRRK+s6hWlJmWTzHitUrRwLwr0u8xq3J
55fMKWowNSOZGLrCXuqAb7HhTEV+8XPTe6cfw5uRhEauiRleB5Rf6B6s4phTEdEg81MWl+EN7t60
XhUjbYFJeSuNme+50qcvfZVNpUQzQPZyitmYlLwENy3HC0Hj+3Y8zRDhM7jR8GsqQhQEmpFz1MMW
14+l7b8G3MKsW+OECzZ/Tu7flNBPoKNUsVBM4SB7ePwp+tYXfCVp37uk72qHZpX2cdjmVNhUJmRl
9XCiY3v59WYhQz6dx2tYf+7Fmtx918FpSrmA9UWkzpLGzb5I0bLe7pt4Q9bJpWcsdPRonER3lL96
+I2ZGFZw5e4Gyrr7bznpPNx2y5iNzxSboFaC81qTNJLenZygNV24Ar5YQBsB8QxffdbqzTBjLuhx
C+AYnMJnWqqbdpdObJriQFVj35DhrkS46WrwynpKfJspJ9jg9Zw7iRmnXjVvV/upxHGIro2ab9Gu
0e3Nq82UTcbZu8T50e5VazYNt/hNzWTZmbFZ6+K0Kx5mVSR2jhGNdh2f52/2BThVxDxB26gKKz8x
iS+Gj+FWnSnMnX/NDjOWRJ2R9nLVtYF3IuHAWDc3v8rktLQ3bNA/N0jtzTD/YnYk9Ob++wQbWV3R
1M+MuLO8yjRkHRN07UccNCh32RhxGS6W7LBRFkywkJVYj+RxtbGeVDsY041FDpMm72FULoM1C9iD
XYthPiN5vwsoy54o0ieEzVHEMd3T5AVKMC/gEJRiOKQDm6zwC+p8P7se7lGNVxL3gQfZzUt+MUxk
as5+oCArA5syAlqcnj4GKQMrawMNphlrhmD16a0pXSBTMCKBuUS88BzIroLoSmQyF6DwJKQQ9Ke2
xY8XGkUywuA5QCEU7O4MxKToUOeFzAp0Qkp3X522va0AiMx6YEhd/obSB0L566h7wCtx2x7TPZBi
rM+LsIk/fX2AbQwlpkO6uIycqDk80HBWgm7PgbG8eqQH2C+j0iCdFeiMGKrJJ4Z3ACLkGj3QOpMJ
wdxAs/ZPEMbHmC32hqvF7NzjxB/eDs9AvxMO7j6qC1QNOYwKxVs1QTM5PoMhUgJ8Lcu+yc6JEsWi
E7dDHFBoI4EEyl8p6wOwx5/YHF2iM8Dxc1wTVgEUGDXuAj3IBHWBzzIe5r0aimAVx4oZ9ULvirA9
0AeQukf/dJ8lNqDm3PYzKrjC03hEz9lpkkRF0EbaADrvIPPeAw3jQurWWzynBm0fba5b9vXYCpSD
6KjPIHTnUOccEBLYSGRQg+Kch0tpD9afKJQHXYLm5+fRz88d7jamMH121QiYu+B+zKpzGIK4RbSR
gEP/DMA03k8LoE3VkDVYaiJypT47qPASaEdUFKoQ3Rh6xAapaRZRk35IrwB2mVOsZkL51kWTgQRl
heLgkE6uBzUugJxgtgzNEXaLwW30gh90nrMJgpZ6nqMejwidcO9Y6ODF5WUT1h9uiv8yFbDwuCFd
A5GBgmElCzsAgx/2v3Q5bZCiXidb5TjXfd03+trGCkz3tRPfAjw0BhiDwCLLJsBC8BBoigE5luBx
5IsgHgeMoJgQAFXi2GME6cyMuDHnyhjr+hHU6vznTWUMDOk9UCM2s/ixgT34+Z4Ue59VIBkpzrjb
/+t5kIxKf/dCBAPRinXIK87XmMhbwzvximE5oM7IkT08c0wtnlxqQoXRwimkkqWYT+NdB2p7ZWYj
qSJkZcDVIb9wGsnhg57gucF4obj5KB3loTUvBu0ceHx82YKOfpsQq6x+6ptTNYI/BwsPmw5uwfdg
qi7qQdVPhp1vHJZYmvaa72IgZkd40/VJfuC7B0YAnYUzQvczQHkXQ+lHQ/FGV1FuEXng0OTXeK8Q
dnQAV8NVG6ro2XsTFplE3STU17Wy0qChMQmIudVTpsxn79QMzMb03g1lFFizv/Yqg6i2Y+f38ale
F2PGZNa8kFbZnyqp37z3J22IDzKL2FMVM/lq9wnW9rYxyItvRwlS0IbyWJQzA823yYZDwfiDZdOT
3EG6IMsp6mjccY/ReSIx3AVekc3g9ukz8FLPt0lL6DP6ARFsmiU/2YybXHfuMJADmLbsWHMcZgJ2
veQEnSQRwCTZlbDUPqKrMbKNLpunHuXJOytoNvNHa9tAk7uusStqZPvTjHMdmIeboTNTQKLRQjdI
cw3dL+8D4i3ID2Z6NjEKwVfhBirQo+ylwXW4+8nAYXCBYoIHCDzpS7/9TsadGYtMqteXn9qQAMiS
MmvtKmdfO0MQ9eCcU1WGpoxIkveySBi/9ZyNBSdoIGZplGaHWNuuahTaGDdj2gz0hyYtZu6DrAmK
1++sXiNSITwsdILz+IW5hxFUYLb4/nylZEkB+vrZDxoHhJx3dtwewuIR5mv+G6E91nL4ImBcy9wx
m1Wh4OhE2/tHhDOw6JF7sSBHEg/6LIg1gW2k6j3HlKcGGA8Q3MnaiNC9KUl+faEEf2AZZlNKv1Ex
NtEptQgZHmH9gw3C133P6Edimzl6oonvLBGY+saP9nXeF0t9pI/yeWeFaSIp8w7sR6Z5wTnzoR4Z
GMHijP0mpYo9I+aYLPg+G1j6XYxBwrekbc2xK/O1bRbpO7YxwA0smigvX1FWp+jeDK23zsIEcta7
f/mx8M3DGbu/dbAVfJNBZkQPFmnz23e5w7Z3nX2dlpA0ib5dsM94PV0L0ICmH12D6xAcMJWbWLLs
e9eJQ9iMM8UDqm+x/JnVI2faMNQigvBPw5G5R7n/NWBXGly+xekJcwDvGQGvxi/mDX1GLQ53G8CN
8ROOzJzlm75Pfospnn/30QkPyc9Ije7RpY+LMLFwbBvIFwnxMpLpHRCNJRYW7j7rw+ugQVfeIecI
NOOyvETPX5YqrCexqSg8FlHP9XsIlRDh4vGBWTOOg5tTVP7iMBppEaSgLYFAs8ZPYnLfpyh8R+bB
7IMhEKJmU8d8xed9vYUwbffO88mTrJ98QIWQvYeywSMunz1DZfOCko5d++QF9wwzA4piMe6KlK8f
APogXilsZLfUJZe3Vt3PCz8niOwnRN5/TuL4qIKJwN/9Bhf4MBmmbgKFAvLHgrVcQkiwoAUfYBiz
h4PbhXVq6QPD1azwdvqcvU/XYKPp37DSYjMz+e2rbC02H4IycaONXvErtkfQ4bgS3CxCbAIU//NC
ofFJbdm8ZtiV2z7vrn3TbjXVPOHqgHWezt7M7UAeweAIpmoNGgg6XLoK+PuugQy5ylev/QmA3xJF
Cfz9JhXjbLAo7YgrFRcFuIldHdRxguDZQrOBYU1IJfjjs7Jk0ap8xMX7xdLgihytnL9mr5+IIfv8
A6iWnPzugemDwgmp7BBbdOod4u9LaLRGoZ6d7ico78EdUWwdOg55ugwuSAbERu8BT6ATalw8rfdM
XO6GdJP8PnBWHrBcB01iL41OR92T6mUlZL2TSyPDjEVSCTMUBMN9e2Acq6BzEtXIcPac5At03J+D
iXjHLfCF3rI0v/90fjWLKYEik3h45WbPPKCZy2ikPfI5loNzILDnr7qCgEDoHi41Ywvy5M9F9bMO
C51oMgGrvbq9nyVySsYiQjjXBJ6/2BfT2bag7jnL0h9W0hWbdu5aS0z8CArSHGHW0/SUYtnbtpRp
LeYhr7Rh3TxZ4dg+iOkZOyc6EVOI1VM6MifCq6h/wShSt9qrQSfSxrhwKyQ/olwgYuBCtQV604vw
D9dJvAy3EyDv75s6vmhAnsPrX+hRSWEzQjUxer/ZI/T5isV5BQP7o0ylvkXZMpBoi2ypz+7MNfe1
gwWlSzWUJKImvK5RIGWPPps9s/YvQ6V/Xd99nopB2/Ay5HdXo3eCYlOFemefnvqJM7gZ7hPj2Pfs
BLTYyScJBhFQYqD+4m+pQeCilK36Ornl2NrbL1yunitQYpZPCi5Gr/A2wdoK2vo1dlBPzyW6kWUb
VJwv/bdc4+avDBlJu1+J+4y7x9sbTsXr7GFX7tlf2gENRB+dYBUTzXtdgm9nW7wj1p9d3rDZSYjx
ebgX/OVBbI4EjoFkzeCCZ1PkSV3CIilEvIhMFFt2zBnRVeJWjkalQ01JOsVzpP6glCDwOR1UIF2X
qLP/rOnp7Pc+KC2+7/SRPheA0Ydi4EwNqVhBWjNZ53eX9QZhW7sBm2i9K79ht/opf95MYAdL9R5L
5Ae212khDOPguO+c4+u6oTBCvZDpA2nK8FyG5oohzFnc+yhEi608oYlx40riO1u4GFhdIoPxvk2m
5hRyDnmCfbZyeKMQTs+2YW3H1VBjnYDs5k7OWi3+8Zw+F5uYvTWju3Hz0ujF/sd1jmw6qLtO2sX7
mM/VvZb7XAejn+6Q0loBmNsWk9dsgiALFD5Dr8FmgLvGGJNlyn5hyR77gDBtnK+SiH9Li+B4c5KG
KGn6dV/3HNSxd2BOR2wyCB/EI+W5vOBNcQnPC7wnPKg4Ro71fP8CNQhV+DAlSrydl1GXcZYALrRO
kREb/FCy98G5AnP90s+y+MyOfffBlIcql+oZvzVcpqW+Haoq6/uz7tqp/8nwZxdzjvKYADkyDbAS
Y0kFtnz1zzyPPDRQ2PvarFCNes7eQfuD8tro2Vj2sD5ZPanDIaFYKvuSxc8tbuhX0AqWXTYxjJfY
sHEvP1ydKCmMisncgMhMrAqrwzq8kclKnNzbv7GYfAfnH+Rv97OfxvXmDVMZdi3MRWyP2AsnnmYH
dirOxglaZoS8dq/ATquWCYtgaJRIaP8sPXrBMB6dJh15JdbTL6xjSCIlEwXbam6lsvek4TFLwkBw
1W6qQ7UpDtaqntmLPHL23bm91P6PqLPaUh1tt/AVMQYQ9DSe4C4nDNwhCRLC1e9nUqv/3SnoWlWF
JZ+8MqX1pnckVNf+4gK5KZORUEvdlIr4DSbQVwlyKvQerzOjYpYAh1H+LdpUk4F6HfJ+LfFPuxP0
UXKCyypDKZOxzGq4eXMWitaZVRqVY3rKkIhoSXcM703cDb6wYI+4EGXnNt4HJQiVq9uqgqEknpcY
cD7bn3Y6yNPjMt9Rgx6uOrs55152snwX89yQTuyT2JaJAlT/PMx9W2eEOe4oGpD1xC//Brtn8ppx
rV7UrqQUW4NCqAjd5DpOosR8kVJRJ07tfebea7i+uxdwCAc7b1gVSeU4Lwwvn7vqvEDLEturvX1p
fPrlL9Ari02A63wEJdTKjUuvADdeVNku9vrQLnXKc8bQkVI15S8KhviFoBlJfGlW51mH7gYaQ6de
8mzvT97p2U3uOJTBniZ74rQRWheq7v5kV16OdwbRSX3y5YJVub7948mLFvQmlllxUCu2C+XwhTIA
bLLIXLN9lEGqAYsBUIaE2mJT773Q1ErNT48fEGC9G5UZD2eTORUcTkutSO0RcVXz3KwwMdzDOKY/
YHZf0yMmn/y7aidOxJo/LkfWE8UIrywPSa7E7jCWS6gVg9P4eAe4ZygL4oLTz5ZnJ/tYVSPAJa6d
NA7PnReZo3BXTaGZIe+0fbfIUY4zlfz7ETakd7tPwQEht4f7dMp7uVvXNrzF4mzfQvBW2jg2ebuX
x6IJ9Rb30T7I7eXEBrCJraoFhMLlych6mOSnm51vtkEo7Dj/qO1y3fbD8/DUMMZK8cmVPlDmVKRP
ltSXG1fcSAgAnlt0TFv1JiAdRDofyPVTm4u26lERSU3qG6ML59eYxVLWOXZqEq1/94i799PjNK3h
cE13ofHu7dHh2PBmgEkcZ/Xw2q1n2HICjNudUNBhPyc8QowRHXlyu6OZ4s556TuIH7+oz1I6RD5q
+N1V1tm0kKCCDAtUH6N7m5TskpsOCg4jHc76afkkOESeCkPV5ygfZF0Qv9TWAcqgD0yb2a4FT8Yu
jrl+AbWCc7COHFyQqPugFu+iGME+h2VTflobFAfl1gnbV2oRjZufTdlC7H2rFCyC/fwziRp4AI9z
rU8PNycnt8y6zHEb145m1rq3KgAl384R/1kSf4cP2N4P94ZVpvBAwNpfDEGo8F1+hhtHFaQldgnI
wjlEZBWS6RZjvQSoOXhQbCYp8mqzfdpb2Fo/2Ez2KqJWT9azUe9fyl4CJhyo5skDOhbHoxeSb4yC
MwF5l/DugZ7epLAKxPaMZgf8Nj64lLiGDwH6MmAXCguT+0+aPPOSCZMqaRBZAdHHs3KXrkEb3pGP
NtBeAseB9FcbwmmYpmYkZiOW0400Dd7VsJL68fZQBD/mo71Ynjy8N+6A5CYntwweHg2MMJLyO/rd
SOGzV6yIuM/OCXJF0cl/WLsDvo/nH+weDiaq3gQG/BlgulGeN9xGeAob7XcQW3SjKAcBj7Jg4NPe
7eTRh2T1GrCWX14mqAbrzjoBcfHZLUrTldK9sYIE7udWcbvqlpxjr04tO/LzQWqjUOEn/tO/e5gl
oCrCNULypOxEPvqNuMu+3CpNhfCOQMN9WpzVZjd8YqlVEecf2BPwD4JKeZ2z73CiUxj3YMZkZlNG
z8/hWlLQR7QhnrPdlAgg6IhDTIHJatdX36C6AiXwMSvLwxTd/wMdCnrSjYSoFXYt/wCHQ2mw5EgB
Fmus1o2T10sIXmxe+7z9rN4r2o6gbKmbaYutmvkNi3ENVbEXACKzaFiSLKdMT3Ueqvag3MUohMpB
uYucCREFXvSNKKwugRCd+u8l2wglXNjUX68WT9OI1054JKVk0qoPHnk9dB7mCArHRUv1xlioJ9pR
NENYSrfkhJ9lYZsF6pIdzUv/2X6372QwqSmoD0PbzFCq8ePueVabVpqHfpwApykykeG/o4LTZOaj
VwGjK7bTGRtxYt4Ybk7FrHty7b21pVeTuQCvEXjYu4l1t6/IAGKGZRddQJXoS9a9AwhGL98gv26k
VP4uVr4RtaREGCEHeGpllKUbSAC2qvatBXqvI81CFQITIGyxj/AhxWaE3vycW7VzPo5+wNtoM9sn
mp/frhSFFrye4QAYYlGkGNhKqVswI3q3Vq7JLt4gxrAfL3BHqV2jLEP1zrtTdlh0Dm0qfJ7RujfZ
MnYPdIEeTeRe+qVG5v86bDl/+l4DQUHwJ8Oc6Nou0U8reYdmBOmn7n9m+XY1eLoS0JIKUv81uYwO
vesAhRpYU+ynaHIQKPaum8I4T6muJuGjHLKYjaxBtHDcxBsEAemoIZT0sYqkT2+rCImB5Arp76Ex
jof7vX0vWWUAtHisU4XcLniSEbYo4JcJM5bnKbJlFu1sVMqyRmnyCHI9wFiv4adu0RG6s7cSJL0C
dhWajy+WCSOoRhJjoT1+GVW70eixuo0YPwn+JhvKgRfyowMnH+/MJ+MbA2tjabw71bJ9FqLd3leC
7B3S2cyhEQDMsNig2rFeIAzrkvdZFfKEuJtH1RdPkNwgAhtXGhbyQTImDGLnezTTKUoEdKvLIRFE
qVtGMrRN4INl0eeOUMj2tMttz4Vd8enltoQge5Z8fl1uG4ji03DBZOXn9sSSi3nDcwNAq94pUxyr
+ymVYypbmP1QSBqSBBpxD+bzg6rs2yptY8Kep+jhheH54rAGZGf7W3f3h0BZXY6oG6A7OtS3zmF9
9ct+kQbr00KuusQuSqy+vOIyQmMAjy+aSJADIWHzY8pm21NqFpe32XOjlhaVZN52QS6AFYxbWu+y
R8fqdWqXnaNhHYdYFOSnnxBjxEAvVFzS8LrDvV1GV6r3x9CgoZs1r6Py0S0ML93HmJe7dHHUoo0+
pH/Jp6ZJTQccyQsjzE0XaAl8nWfdS4aLD0qpiMSe3BScHNUl3k6Nyq1VC/IzyhMXrLdeZhFHWnD7
IXcGtlRgBzKSWBJMgCs00N2rAdqRVsei5scLrzo+7qk65mlfpoBZy7B6fObT84OgyaFR+DpAJU7+
x+MXrFxpwF2OWnlQ/PcAtFYAtz7neWQQvTInorTvnMG3HPMOC3U+tagb5FOtmsS+KsDUkClxjYMb
7/0MZytguVQsQRxcrH2TpfSUc4AsAkxEdok1NYIEbVgsqCxbaKqAlB193hQq0XMZkF9T7KENmJuw
Rl9HpPrtl12xK4CmuzUolF0CW6w0G3LUKgbVdrl9pslQ7xMNIMxb8tL7z1X77sZpcKAofrxbKJsk
R5ciS80tPCwkrHiSXgQK4u0Qs75QEF1fGIFVhnaly/Wn3ILzCpqaFlyHa2vB2ky00cEXZffpMehv
kwMIPCrJjHFYC9TsaJSSGj3wZ0RBBsoL9S5laCRmpSH0AloqiFYa2vNzVHMorRWdpGDhiXH07iWb
H3M28XxcAOqDIo7ihvWoBYtn+AHflgTfk1/OWvnioHIDxtCNMIivurfMvx/716R3LDY/t7Bwdx6c
ef8TSnMqs9lLbqPTFsVFoLtUVOQWOzqgCyVfv4vHamtdepK3lfS/TPpY5C2QlDAUJBSHySXknGVm
Yw9vsHszygoWVtRBnW2EQKaA6nXBOnbvmMzn3Y9T9Qxe+ByQ7AQM0NL0Shb9pNnjFUK+9TKX0NPF
uIu/hFcWHC3AOs5lQpQXvtx9cEUI683PefthaVDsgHhyAIq3CvSGDu59/YFWg4G4g7RTMzXMexmJ
JsyWnWtq7l/WGVFE+B6kMgCH6O9XrXfIqkOGDoWNUO6nssxYthLnQd7xsNfdqtWt/NimXwul7m3d
6q4pJDmTd8hDfR5szKuj67TsLFwFMzpKiJ1x4RN/SxTbrdJzO7bq9N4gaWCelDAk4BVsqVtct9ft
F+sfosdvg3fv3Uc0uRpx60tDr9B4bK/zgv9AIf/oqLVs+OewurohIJGNqKtQ00U6Ql6e9Mynn6Du
shhKC18sPbxGfrw6AC4w58RZ/TtEeRPRTfLyDyRajmMJCxRp4tFlsqvNEg+HdclmqwYvnhG5IcVP
Hy9i+i5TutHfpsi0VInNIY0uuuFiA/5YfzDTJIihe/0m9mBfwVcr+yjs8JMCItPAHn6HTrVuRM3I
E5rMWvIrHO+tch+AAIeux8LntHglfl/nuhxb/MVMV+hpehPKYxaFCi4MAG+k2NgDJMHG7/TYuoVs
ETzHml1t59ACLJKcUCSihUiPYrVS//hPVFtPTEm9ofucQ7nP3L7N9bpkw1xxqJ1xfMnugI3bxJ02
cBKe/c2r6LX+Xom9mGZrjnsMgCO6INL8rvbr7Vqgz8pKG/Sv/F4vhcxpa3u1tovgYyIxP7uZzYu5
Ju/iAHccbPvtsD0KC46URom4KLOLBAwgjHuCLBpSonhmK0koA9WgH3XxNvox+TCTMW+GNdMpMMH+
zkpKXMSwbR/61JeQXkRIGjkxkOsQfiOLxYSpCxKIWPwXaFn3IeEWsTmtHYu2PocUoP90pa8wKi4O
+tI2QABbIntXIj06J/xt2To0KuDOD76Oa/cnYka2GQcSekSACb3hmHl+D67BAysaTFQ4XuvqvDpP
19lavdhz8A2R22sdm+/wydy6100iYo8JprBgFzmonMVriibAgcOFm9+QBboLlwD2CZe9WW7tm8dm
sVPw0nUBJb63lQ9imwABbeKHna0/Fm03hgs6i069l7l5SSPHzUP7XbUPtLt7C7QJT+1Lm3Jf3fs7
EEDk7xPSFEpTpP86cvTlK/a3TVMZ2zMKBRWqDE9a0bI/kzcay/Vvbi9mH59bY09cQyaL3f2PE0ua
wmCnBW2XGGKxbfQSR9LsXDBWtHtTK2DZq3JcWTG1albWyfjtJMjKvQHeg/qFq8VBEwA6QGrXEZUs
rfMsp9Ey71Y9+R7exosBu+plDPjDrXVQgK6b9d41eO+uyG6e2vvupZ0ig0XiwpKsW+Z+oPFqFj3s
Qu/lpm4CLqHMonwODO8Twhn5rXdVqh1Vq9Cm1+7vW1SMkBujT+YfvcukYuvUZJ3q7yPWnWhVd4y+
0c93s26hTQvI1o3lmtfQZQEIZb1JM2D79SSUeejnXY2U6u9W955LjR3Jgp6H+pzGru7ReePzVlGi
NJDhe9BMD99sHvATGPWcvm94bTKK5jJfSPk7ncz092kYb25sf1G/1rDRPbvtA0Opha/bwtXAU7ks
/HqHndQBy87/H/kBQRX/lqkAckYrqgqloIgfoYV6I45ldaT+a/a2ZK/XV6Y5Fejg3Ho3WANa5xZw
FgAvolpLCAjAcIPNijVT97G1ktnBEAmW7dabNDF/iMzZkv8W5jIxuWeVwG4Ou4i8SwDMFU95k6gQ
kvKwsxLvc6uGRZfwp6lJ/gjwp6D+xPNwnvhTCVz+rQGKCHfPMTVsC3FunlBzQdqrugCQOSiq8veg
AEJGF6KkhfDGCpi5vGJMfbPSOOWDQzsa01nC4arGSERqtKk1GLqfh7QpjDVYvh9kFqmfBi9XM4fJ
bMmoQYfEF/8kGPWd9vN4Gk+5JmgyonbJheCCUAZiC2X7TCgVyVbhObl6x5b2Ue2ib59aCohOljOQ
AA3ugOKze6KS5kiYiZqRz146ks+DKP5iToMNoDvx306lawEznUWZy/dbxrWkI9jEUW39kkUbn8fq
jK9mczYBbNXM3MnEnLBW88USrkObmS5pYXXf4nnv/G1/gtWI5E4DkY23gItcDXEg3SQSVIGXh2CO
856WBzQq+cbVD6ie0n69Nb8UfT2oFJegsEaapnMJSt5+WSIvjuC2vbCC37fz5OpN4CaV3gepoPpA
O7n+Qloc8U/3R6oViHWIbF5Dfx8FkRfGCzVSWUkHCFKca0piAS11kAwo/4LkkgKJhCP0W0DIwNoe
NN0eDmqfJMSE3/xcjyCGQqVEVlToA/KXZQ4SSjJ0xA94dAHd9dhnYhAu0Cw1BdcYbzb0JADyAjK1
D14ZS9O6/5Nz55fzKcopc2IJKpnmpcM1C7mSPSmKUPQB/kUjgzIxvOEuVUF+xhV26Id+G8fwO8Eq
kSei6AXoClToHARhYXWeG/RNMVxULy/16q5iIxK9v69FSVlDhk1kyg2XZFp8fAFTJ09nFaTfXnTU
tkKeDNgLSCuEQoESdypk6p2EcpHqZK2sdcR5gtZpHH4DSCONc8NonnF6NJovjPEu2F6QVoJb2AC/
oQ982+hY7HTsEUAc1/ngt+GXNVjyXDTSjGmsdLAwPQ3t0/A0jMfShbrSFq0PcoP4FFR63zX8zTP1
lKPoSiAj/r4YDXCqcabVrRTydLdAQyf/O54IhJ/HGmpv2IOxU2VzxzZBfdQDjEtsr7vFVr5dbGF/
PfwOaqNoCusl5OrTOZj+Hcex0YHeUPxJgNGZq/SMzqH5Ch+h7o3BfoyFBzDK5qKK6EEyxW93ukia
Z1rGe7vSqrSePNFJIiv0DLF4r8whQCQY40KxWozyNGxBO+phf7fjLl+x85SKjIEKQ3Uf3FLdB7Fb
bMkQ94k3WLQ+73IHIGiJtIH5QAgH4kHQkyoImbDzmVUIaG9rYwhCk8GtEEpGHxKaUuik4+eT9m/g
98COALwn3hqkkz2mF2Q4IcBN/7lNRolHUct7b2OaqCR7AHMzc4e/UHPfeA8LmEjf+0Bt3Bw9Q/fW
hVQJiK1gJ13oSUhC0f0iIpePkgJnRednH3lKFwSuSz+X8QFk/QCHkbiN/nEA2oOvOgCprurLPBBN
aQo+7SuVhPae3qd8rSI8rurrKAANzCKjI3UWB7SHnogkQt6CJL0ucn/Dcw/sXRnzYklIFcMza2Eg
ERepwQBOQjeJ2i0x8aozb2xqDpMVXIhmOevAyyq1qC+3pIijAaRhFAOa57yDUb1NE5cFBiggbhse
TsVDiHwCspNTkPAz5yFk8Igjw0+rlNYDiXfRK/Fyv7Ny9F8P89Wm603V4wantWKeqZERZzegjNLL
8Osu7AKKyXhtBdBRPwESjM2Iol8LL9VhxG9u7nPwJ9qXjmQ8JMgkFHVXfeK6jG5JgmcRIRLuDMHv
OY8N2YhF+D3572ARUuCCdc4Q5BYhfUj1mzd3k0nQzxPqYktOSWsJtQBTRl8FJA+glAZpX25TUo+5
KQtbS5gjIg8DlEd7eq0EDfdcX3mQFHXkqgR0yqe4wHYhE6FbRxsHFpNkUXgAOLxFsiapBD3m+Oby
eJ5IDwbQUmbLbr07hi0nNH04fcQ6am0Jhkk3u4jf1aOvl9C7yVq0kjk4MeSICBP2ro6I+Kc1ixnq
iZ7OUt1dKeggVPg6S6JA+9ilDkxwSCzwphv35KbvFJ6hsuFQEHILUEQRpO7+pQp/6QBCwuSe6po3
7hIrtuMurW9LYtw6Cg6FAEOCtREbRX0oexxZxezwJwqXSwoGBIMvkpWMVrmiXIUfkr2mM0gIdyU5
KHuLgVIHwRYjAoViQCj3S8qI7DlIYBCNh5hK0IeBJ1HGh/T8RiCh5Ew5GRE4rTz2FjysZLH08KDB
uJxnDuQqONPG72rticq0Fx1IHxXU5X7qVuhaErF9kHtAAkWSLR3lkFR9LBoU8m9iW+pBXTA7kIp/
KWHdIQt0njQ9Kgh7J/5fpKGkUdG/bi/328uN8Iqwy7jAy8fpSyZQAiag6EzHvQlgNay2zs1oR3fh
3x2uKwYfcB9Qhu7Q2abMXee7cusd7lFZ3weEsz7um9xIldA3sPW/bLPw4/XXA2KB/nzerXtFF7Iv
l6nIJftL9vKYKcpH3MvNjmhvXMkT77+MUJL2uKx2lUdeuUSZ/WVQEIvaKFGSqCkyUkSkFPvPYEvi
P39x0ro7YYAxtRXQKuE8mXeMikYnZ3QJcVcbRNZgt9spja3b5e4vGNH4UOK72x1MPKwiEw+rCfsv
ATclWLNvtI0+VlhdsKE8L9AI7nMhOs4cUE2mCp/DkbXDlKl3MHfsdRyYVYbt2USWa+s1if520eyu
m832EkqwuRyNCLpnVf6iPZMLgV4N5r/l7fFTU/lihTKPuSowzzqd4d701ttt0B8GQ345VAy/Wumn
3eZkpkuHtu7vBtUdUfqTOaL/zydPgJJeQjLn3xvibwwCdmqc5OAK6P/OJh0kl7qHhfsZr8+LwDSQ
FB/ycrJFRLUPMLbW7BVObVjaCQ6vYotUrhSVUi0h8CYz/pVZVIjY1omjwSkt7P7BRZOJ8d84y41z
M76ayEQCUINg8LGnH+5oDzLMV6sO4pCaCXTHTFVH9qQpwyF7HHIpD8CtMMYpI9AXohv0V0oYQfaw
lhjnhQezx3+S2gNgaudhTywANwEPYEc0bIHW9QmgCfP/KupCt0CKRFJuQsRxrg+0woAuFvvhbo7p
a00yDcuATbvP9u2r9nj7iYbJiFQ2pEsGshkueWUcRiUH+FgmQeqoHEbJlRX91M2h3YjBO+v8E+G2
A+Dd1beZZyfQDTtLwOastpFb9nUzfJaH0dGpgOWnLYWAoURzFVPJjkpCimhBcdbv3oe8nzLsb7lQ
NWhPK1o5jcoQpV/V6Gsx9t8ezXSKo0ikMnVUW3j+yowAHP53lGEHlZ2EvdC/NUpBX2Wsar9mA47/
JZ91Z08mRF5Up94EGRqeD3ExltbIa1FePP/STYXJSn72jiqLKO/JnI/Nrqd7bWqMGfYonZkR1M9G
lFNOCgnj2wAFxI0Clc+H8t9+GWoVKmf3Fs+E37i7mCEdBtEFsz8/HT2QHH4BFjV8nte9DEC+0S9F
fOgMCE7Lazoi/fqYVdCPKBO1EExD81ZWep9BkRQBsgH8UU8WlKl3DyEf8Ba1X12ddxcsIYIueMe9
epFr2Gxh/VcfTCSajex0BkfapiGC+iOSfeG0Mxx6/S6WgUGfcQuqjw1Zm7MUsxhPVCOVCgBtDi6z
AvxcNI0OPAlUniDa5JdR97aBvshwFIrEIKgyGLJJUNrJwbKyq4VnwMYAk5ElSymoMlt+JVSFRbKo
klQWqm9ulWeIAt00VaUSCfLb6nTicKXKY0FTahiwplAZpKZExZEOlMlm0eYnTPROh79a8S1/wmfZ
zpa/nN9uDkKr3Z7NJs2Jo1UeUj+byDpxKEevj79MVlVMLblahLloJUqemvE1BghFZ+a981em0K5W
U6uEoQqEQM9APfW39Ri9UkfV79dam2u0w6R5rqrQOra7a4rfFBR+voKs1j0Kj6nPzOQIl8QPJ98Y
761lGrCYco3M0cEcDAa73qBXt3uDQThYhm0+AQv52+rOVF+g+omNYVf7KHUR6B1aSvn4Oa6wQmWq
zL/bi4uni6j1zfgZvJDPk+TAlKGzyCKnonChrcKO6vAL/+uBnGMHBJ77qxaSwfGzhQsuhVsZdZ3I
p1UT+ZLh0owtt7U9l+xu/jtETegyzdGNTulP/61gGRp4UhfVmqXhoEtbACyt+FsXXJkucp8op0lt
/+9QgtsjxtEWxpk4mCyO2gZ1zLST0kDvH/oqw6i6Mws5l/Tv+nDgftkzEHxA2fgdstgcSQJLtKcl
KFzyQHXSuQ7yiDRrydQhkVRucG4JpWAmUkugTlBC+AFMzklQdptkzSGJszNrymkWaPJDjKPRcv5t
GRHldpA3SC/JQhQwDLcV49Z0WyymnIFQ3lIszlygv0o++uf9XP/f1fvNM/DSHJJjlB4eUkI/8jKk
ICjLIi6/dMPAGSFwB5zg77gz1FlSYHCB9CDKQlR4JHlG1cq0nalGplhZA2C1KnAFEN3m/MMWZZpm
zm2bO3mwoTF5U4l80WZlJJAgnSPbS0bK+/b2AS5fvLp4crBmwLJ14SHJDbc+QA4wI9mad5Qu9KbG
YLt/+xYY2Z8uqBJI1U5UL9kjWZyZv8dr20Pgiy29aGqHj90Te+rLLMOyU4Qr70aFNHt715Pf4RGV
yzzWHiST0ryEpKcWGhnp7ECDTdnpRk6Jm78ijF7wzw1PqVapVejEDjqQ5p3ujP6vMkyK7J7csFT6
kS5miZqPtAxvlIm0O2lLlchqrlNw/zZ2Wf/Wwrh9ZOb3DbI/jWIS119Oqil39RFT1t7wtz8UhnEI
YNd5I1OudARyGDAZ/Q4MPMsr9BDWYBjgsjNWderWzFALR6Ga8jP75S1QmorJObsoSUerYmkhV/JF
A5hdteLVOLTWQtDBNViHEkMZNkOXmxMGDIcMse621N1u/4KQFVq8mTVHEvm81MS7wE/8KzVpKs7n
HUbtbyllBb32KLS66r8oIkL6iRQjz6EqMi4tpDcPqtIVtlfcWxl0P03QjrFSsKMBRxr+O9gFzXFv
s9moqqV4Rmao0k9WOsBLukMsd+Xeu2afzpHFEQarOyahbQVsvONfh0ZB7l/d4c/3E3adhgxaAxwa
WdQVtFywWiyX7SW13wkhrkPMyle36627Zac5ay8HLK4alrpJMJhyHOoZXG4pfhdZJfJhRjdXv1Zl
7184rdGLYfoRC3eZe9LOoZlD/7ahdhBsSP4SFSGor6LHqqaH3yhadL0a4XDiVOlRAwJkX1jzpvhq
zhR6a/LA9+W5NdTlLraD9qyIezDiIwwGvjYL6jIbVsPfHGCuEQ1pHZQ7sppsarVN+JhEziALEAxS
SMf8ahFeEt5FKAAl1tOLmGkJL5eDQfVuF211sp5YZl35MBiOMZf0No5oscaQVA3dA9KYPPCMObUe
EBN17djgWT0U8f0NxP86pB+k3Uth0iyGeVbKovdnQvmEhytIUEPz7Les/m/VlVavNGZ5IDNGCTxA
6lxboRexFs1ZhrqVMAFKPAQfiD7HESkhDzmdFAchlMDQGYF5AxQcjgwDBMPGtwgiOWww/ruvUO6F
egqon9gaZt04HSdD6kvNGKxa1LliS5AM6pNsdA5Z1kFdR4PqKgJMv0q35dWtQ9CF9gqQIqDajWhQ
ZFfnQdceEnzX3qulEoGqEeDkGNnFsErtCKkjlQaoaw1hKsHhfLVfbc13yUfCHWj8VbcpUEX2u6t/
oL3GChK3i84jJLprFOy6zyQfyj38gFIp6t50j3Hf0zxVEUjz9JfAPLsVu3OnnlF3OnArjo3asPMO
CsF3COCHXA4fBsM0mpdGwS/jhEIZeRECucDhDZYtV/fz8AFxC9Dqfkl4SEYeNqU0I51cMveRSVuM
uMNSnrX87cMEI7teZO3U/xyMRmzKozC828yn0dluhzP6rwMsCXsawD67NjJhBC9XNxxotwj1H6s/
xr0nsBFa4nWvXWHfQQ4vQNC+hVluS/VBnuEWVhogwNRFBaGrNUD7DmOYrqpKjHLBfTUuFqmNjbOu
yo/wv1SGBDVIERLrN8azZo0eiaIJ+0zFVxrJv4DOlTcZoOAAXy5E/Q6tWht/OHL4XxZ/CNltUMjC
Nq6hA3vLVgrVL8X6eNGvYpeKjSCsUTDFkzOEFGZ7oauj2M63P520pzLr0y16bxc4LEQjyakvWphb
7gvW5dYvPzpf2qD7sBZPkp8RcDTCyGS0H9xGEATr3VPJ1Ek5ds6/I2qhHsZ7OlA8zVgHtWOrzKjd
TEsUufqgF3mDs71DG7q3I4ubaqzMGT1S2++wJeh7iqD8VFE4k0c7GPrE3RPHtR2Bqbp1o+Gpu8A6
QltLzYt3GTT+6kA9kgt5Zn7HpgTng189EUdYECOiHKz47sAzUAtdzg3CHMXuK20AR3l1bz3ACVVr
yyZEvF6zFXYuKNhpiVeMrwmgfErAC6AXbBDVdR4fmjyDnz4AIAxNEmT0QvwseFVlkzew3grvEk7z
dFMn7Gso4ih5mFT2eoM2hQksqVOzMR7vziS1MQKGJ9a2V6McVANFGbDrYVorSrjD/M/TRqIl9PvQ
16Vk+9VtUn6ihg4PZn3EqYOxI/Tt17kPi+yDi7WxezRfKK2BL/RKdPH3s3wzEoj91k/aeXvEWl20
l0mbAP8E+bFs5W0qJn+1Fv0/odJC5h1GJhgg4vrMvvQzGJ36jVZzME9gBFCHwzYSEvMvXdf9f6rf
1w7jm5Ue6V3WcdibtHM6iVWZaNAL76lQSnOMafKbaVhvK4hjv9ypkq8dVRORCI+ZJBUB3cDeBjSs
iAb1mzs/Iz7UJuvpSdTwUsT15+KNSbbzF81dQp0fRYPLZWTyVTOBjbJTLQ++vjgXOkasHVwbEKed
yDv8c7PWu0jNh18O0KnUrAQd7G+0wafwnxXGK+DVbv035ikQo1VB/WUMWss8YFSIT4gizzKazfxh
qOBOeUjsECbA1tVHePFxdR5YX9SSOLt8o5OgyBG81u8vNJ3Y/kzClc24zNNKW0bvgDI9seNfUKv3
UvT0fijyh9gDm0o44GH85qPiy5qD/7mnrp1CiOtKPTw0YHmJSl/xrZadD7W8yV8vcXOPvXfBpZjH
qskU720wYmKxp77EBSXcZ+mmUajmoTJm5rvcB7NQXoLGsApkmYSrnNhIz5xRDoQBTtEYVvQBtjat
UmMdt8tNbJ+AbG/Aay6T6aJ3X76WkFTfs0JwH6sr9oRXMyJLGn7tyxBp0K/5wfRqRvuI0nOUmtGa
b78RBvD5SXUWTdMleyouh1TrcqaRA6lon6vIjNEzpenUrIVv2g0UKPYgQ0/DJFhd4JB9G4hZ4PUS
2Sy0AJsZtcDNWeE1YPd43aHBVJzU1vdZHp/Oa+c6iHrFJmO2WdKE68RNgDAoAx87iD1xIoD8eZdh
dfAdHFqiLGsK59ZkeWmlccmFL3Tlcq7RKcXuWzZvAff7kvd+ACpmH7yFCyM4l/z6C4E8831363Qw
36Swx91r94JLfXVyT+87XewwJEnYLGt2GTDq3i1PQPNHWCwhVUB+XTff6wLlpP5i+0Z+E1wZnRWC
Q3guD/96BmuOhJ4HNcni/JXYgOY3dKX5wBF/QJHz1L9vMFEDMUpgNkE0Navb8PuL0Ixzs/Pg3rn4
pz7M7E5+8kF3l1rcyakl1vXH7c1/HAQFOu9eHGQwUsAPkw/soIGVBumL2kQ0Bt6AjfMtvHbSSQ5U
PdTZa6MYuwn+8JmDZHSxYIG0hi2cQSWnnEDL1kwe6AxbBwwDRWS57CqDO+t1QjgLCh5zTPfa/c4L
o5uTCwHDlIE0RIDj95uk3Qbo3DScR+fdyoA+InmClok0WD9r/I9wHPLrze8gtVjQmYQp+s01k8v+
YfMvLKPlg4ppJoVzwNTQDOs7QNoS34KXEaPnacLt4SwmgN+4+LCCmMDwPClZ0cTOzG/n+ZJUQ2XE
Xb693yVrWp2ILiRrurQdePeMMicJH+CXkOgcR/NsEjfe/G0f9Pd3lrLvU8aHO5ThxAl9s+aUJrzq
Ybvo51dod/EMNE2ZVbXRY/kEegbxh1EDZWtwm9F7RP6tSB+KuhpgEBYbrnId9pV9AAN3RR9Dut/v
wWWtwGse4Q5xHOcK5o0sZ0c0K0IyuM02Sj+LO7bxAsmWoNfT5/G/ALAObJrQRRG729ZX8fz24rnK
hHFJN1smsqmaMx4Pmyp9zIc47adpPH9tXyOohVAkcPwAHVs1FziDoVncxw3sw/OPanh3b/ZcWwQd
nSLiUI0V2dukuMfQa05tPqY5QwUB7wVzdaZoW26UGwVCSeCMeVFueavnUuMOi1dMkFvifGkVP8x0
nt0dGO184tsMJfTc9ABlc3hf5qt2ukPpj458ykbXUjkGTRmSWmSO+qWbA+OZfiyiofT2q9O4gkxo
eXok1WmxZKGMWb4RcTzGNPJrc9jF48r4PRhWtiAOSqNnN+5nEE8xUGFD5THLV/+L2TskyEZuwgu0
65149xsR6V6SHsW2AfLd5MuoeS2uwOIqLV18uWgHI619zFvfo+MWj8RK5za5a7PUg/BvJxVWokY0
v41Afu4LHoqaddQGz8h8IOhEGc+ndsMa9cibENCoGYL+gicDLhS6O8CQAqyGH/0gZ92Z41WGnP+e
XwDiA6V4mOeN9HgPjY93xvITgWxwNqv99JJY1ZuzR4mJyuUGFcE+urupYR1LToZAAhtYLNHd0xcx
YBNEIQ4EYyTbUeXKhobz8QrL8nIPKGbLMnOqOSeIlb3FtqC430RPjKIRxInW0X72ztN4ZpCb+a/h
Y4GwNuKO5mL6HhuZcOdwf0vsqUcBzDNeD1HdzLog6wozZn1YVnvpFMAdv1ET8oUQ7jjtsJCF90Fl
wpIATr+B7TaK3AkpDTCFD7La1Rn2uqs9TNcJ7yaelPrXSXUYN3ZoAraO9FT3VqEF6vo9T5kD6IpD
cs2jQLJLvmb1YxsVF/ncMglBuODqr0sH+/KxF9TbYaIcbO4/VTtGwfbbzb2W5+LucWwW0MA7oneK
MkgeSR+EoXAsfDbLVOEvg9ehH435FILUkz63q0skx+b3wWl+miMvjT0uPCOYRSwYiMbzvrMVqwZf
tdWDpGUOsTnZnsGacWonCaS6DUiLQgc9r0ory8zF5OPAQelXlyV6/zF/U589JlUkFCZXhITP0++4
jKgZYqtIg0F1RJEuaqHyEG3zT3M/gMyYrSqIO4Br35T6wFDm+8b5+wNAuLIJuMyZhhPKhpNLq7x5
F0B8LOb3caFTHiRro+oV5+gExCR6rHdrYCDVI7IE9qf76bBew1fv7gcGvRAyVfDCbAeUWJdfiuKp
lf94uYOb5XyIzDDqXzW7RBeUCUN/BnXK3iPcd/gAkLAaNzmEQVh/LJHLue0RHYZiVd6+BpFXh1zY
P672u5Q4BoaSloKkVXA+4/oug7QVlooOpg2cmS+fHGos2KPBY4NzAPOS64G69ME7ovdbaVRP/hd6
0sv/nltGNKlggJnANaTDU0R4iy0CJMjDvE6ZIlnBxjb8BUTEPFMyQFth91zeu7VVnLNKC+TMMdWA
7oEhq1kidUMLJ9KlhVq2QD/sDKhA85b3XiYy6j5nqPCcCITmjypP7WSLxh7QBhLvN5xpsWOVAyxh
xeliJSc7T1sBaR2k0omhcTxCir1skbvnYERRKdzbV3qVBwvxPjYtIhEWqGSKg+1invCRcdfcU6Ak
VnvXTRQpDpxVAaC+d5U9DLCNzceyBJkA5uwjrM1v0xLLPnulYfLmDuDA8J54aN9kF2bLy22K8MNx
KT+3+OZONEG06sG2egL/5RQhpULQ+3DuoKnjdbVgo1GcXu0KwsIItl3t8/9RdVfLiXbdFoCviCpc
TnF3CMkJRdLB3eHq97Py/Se7OqEJ8srSKWOOEasRX82+O/dFZck6oo08yIA6y/hdFUZXrvvy+VbN
yW/de5zjGu5Gs6P3d2a08LlUwc7tat6pgsXIuH8n8isFHp+nbPl+FTt6Miw1Pm6ZRx5h2AIXU353
xYmSd2OruWbF8sToH2aa0a/DXNhcNO4WLsQTkqo74cRVQSnUBcf0rhJH9qp4+VUK9P9I1OPFxaXs
njKiW+B6qRIM4ZHNxt/6Oj6oe+Sv1jYAFGjqTmpJWuw9AODaaA684Yw+3Q48JU/Ae1mWG9GvVMyG
tJlvvl+H4gvKY3hoZD53xOnhJJZl1/02Zob3z1c/8xk/03sP4q0en7m8Q+rSOD8DHegE/sndfsI0
YU2Mo4beItL3ul3UPr1J5bFhwPsAxz1hR3uKLiV3Mt+2YwwxAlV28tsomy2dp8XHb+T72okr6sIZ
+Zs0qmeqgHDMICSQ3OwkZ1LiUFJi0r+ZDosGoEiAT5WUT80lT175q+rscbR1ZGBsaytENZbEyVmu
oyqQhMZiWbBPZ3Hu/OCzevQFkdSDLVREoUynbSYWBTUqgsxaLt9gWZbdI0UUAC0OS7zuhoXsiPfF
kMiixLKSgHQjcVgRSwl/JrPh9QS/4pCfzjfcb1uxg8r/23UM/mXxyN0cn//lQPQwSZwQdUy7cAhl
GgFy9tHf7PjxrqMlCYZOqvmundLlfbKJ0eay/dX+59kN4SFhNLR64FHHInLNoxwoxo8sXWnqp6Xn
1XgvPHAqiq5Zyhd169JzFEfUdG+fe6fv5WjPYiOsdi3QSkhfG+/fZCc7IZ99PyCPye8GZw4tAM6x
GaMnjnvqe03WzCqwppphlBaXI4bmXQWFCidjeQ2uXMREYuM4yjWIC3DKoyWDTTXkVS1OqjD9NSxN
jiS+kgMqANMzmKasyUdv8W28senjV4htZZ7cpVmamze7Qg0BwKgXT4OgvIq52qF0QOgYxQH1QuMR
L+66sXqkN4U4t9Xn2hdkl7fZ9u7G+wnpCwJGrkH4nomG/4E5RigOo9myyA5ZburJwBJxF97mqs44
H4GPiajAkhk3jqt/718Gu/ijkW0sflYwokqppOoFygVbcUl/H0d2P8g4qb2DtJH98/BBJ7cX8KJH
rsIzULywZZO/ihPfl+K7dulz0etneRaDv5quxhlNFMWt1yr9Ebwe2T/2noJtJLsqJx//zttvO/GC
QoQIeXs1TE8YMqlKtDNthhrlxnmHRfMKO7vPTy39dTZAwl6c/ZjC4nHrpq1kL93jeN8/tb4A4if4
3gSTbaKwYNvmBmcU1IEn+nXRdIEMybqBI5l3+BIpsM5jdPNihq+pyyyLRhVvwxB8vWlMF+05uXWR
5bj8zRUtfGGb//TJSANDlTEI0BCtrVCGtA64ukbnjwzKhWSxlvk+/4sW0mKEcA3T/JdJGsWVMlvI
jW4fYTMgq6LiW2GdLA02r7b/M135ro4conVh1Vugt8c/FT3md5ZfRJP40Nr7T5Ma2vKcq8l/rVDq
AakBrap7zhYI6pzNz0gnO76dCmnsc2Jlj6KtwhJrIi90/NYyRaehv91jvGYt5zfKsxMUMop82YTC
qk7kVDsuSo9jJXn9t181LvHqGSVYdvjIIIbPp/7h2c1+JXspYE/uWDJU7WYz7M78KmpzMNaXnqqx
/z0M1A4jWBndvjFSThtrtASQ0F0G9P3EbkqP7oiDj8PIT2qCrmdxbCObtzFgBU8my3tEoojP8CWp
+o59Ju+zfW6WBUBejY7J/mJXSu06qVz9lgMwbfjY/lSL3ovZffFwLGH4M3dFAjy+1r1UtHGbFuIw
Hw2OYzx2zUeGujS+bWW9fymESC9pnO6do3xrZ9aN86YkIXvHT5iqHM4VVF7YWe7lNBEYqYUc6YVK
DM7nUTqsyzFslnK5SZZpMaNYZ5p/qmg3/pGfUlrkiEXxWywGS6WYlhFGixwFD/8SCAMzNLnRqkam
/euhObXESQEhOpCPknNDe/Vxq24lZCJEZvKnT0wZud9L9zV4VgQYE6VtprxiUmVsevnpd2qheN3D
uTXFhl2Kf2xLr4ZJnT3Vo7hyjqXb95ZcQCnTTdhT0Qkm2gvjvc3r36uTfIFD75vc+ROj6vOsxxqL
DxbpZnycWMcu9VMj8rmtb9/5ZZsMTiN8OqPM8SfdW4w37WM33tqMSaxDzo72v4GA9DWf1lON5DxL
Nm6Bi3rDXle2nbHNWkmH9LsGsYFV4f1v0U8LGN7DknlFAXCqTOcJdARVdfez3HA75MMu1JL+5Mas
Qkot055pesliQrQm5wSrGaQGVbSx+9h+qayd5IoEfEpS+ZjcpPobFGJu1v+fE6cIK4QdsxH9zcQK
p1EUNOoTjuLcUOYyxjgf2xZ2Yw8ZdkUx7KVq+8wb7OIuQtknA+DzKFcWOO3un9k5jk1+0oJG7KKN
OCAbSIr34nrpFDUyrM/KeNuXOQatmRLsj2c/1kcb1r9hT3nbXcIKJwpwGD2/E7QJab6AwTJg/11d
0oDhzGZ+R7H1FG6RvHLj+EmliqhS7w5vdSwdflZU5xgtEG1MEFYHOXEkNRSXUuFFbMPb8YMs3/yg
Y5Udj3A8JIFnBbGwF4LXjgQpGrGv6SCTyk8zVVsJDhuAr2MpFitd6BNFgsF+wi9rRL7DUrRPYbwp
hOP9ILCZBz0vBidz9lBU2+Ky8VobUufK0syJEzYpHhTnC6PaxO0jNnQFDugyAo+H+VE6SYI8C15E
VSHDt0iUV8E2LXsitrG+VAQxrsDfJB2LCh/SAmQzADCr9Hnfm67qfg7xzh4WH3n74StxGzx3zVV6
mNp/vTf9daIYu1afHN3yclVJz56SrYniGV4VcFzMQdKwzJLDCxmx38LBkWdZlQKQe1WKJur7zwyk
VyZoeFPYi35IhPfpuwkrrIrp+hJ99U5phnikv1dYU+Jk3/O7Pntx0ZjW0ZzVFg2lErl0f2e5rvrU
MTLyFFVZ+My5YCCAC3CQu9n5eRh+r+jRcC15HdMMqloMGP3lEjfRfL1tZpDI3IOC/QNzQXfKnEbU
0Bf+RE+2O/1irmOHxTajxLmnNB94OVXazCKdZI+st+I+KVh0vfbNB0p0F+NbjzmJbiVK2/ol1opc
wruRSyk1yV0nL+AczI/UDvDHQii/BgsuEpeDtT5OhalSTl2qm9M/oTIW4GLRW3blepn6J+p1rPR4
8ZUt7BJDJMbHtk9sDjzcRWV3QDwf8pq0JArXSP2dG4Vw+dsc2gB29QRwjqnSwQK4PnaEcmxwYumH
S3l5Zl5uPk4XPOdCfP99wzfRpfeOz8Z+W76TK0mg3dqAbdzljXCGsFsfRV4SOZgHYZNod70speQB
7SDuU32RKNOuRPMkvSt5y5PpuXzf0lkohydFrIMX98LITTc84r1dJ+Yr5vSfGeFRMcIZlZpmkuhX
ZHAuJvG+yUVbRNhnrga4Y1p/Jv73lSVJq7/v4o7zwwPyw1DZUEByQnEageNXOY4/+1U+HcceCZgQ
X+EF0bX8egU5H+S4And7yKddcaHt/34oqCzS9urCXfwrQWEDE5Q4ouzN+mMfH1+PQ+aP0MMqWV2N
uWzBawP2lwTnhW/LHglsnFlLBCHEmZbxJpEOP6giGU08Oo9xEDGcDh6eP2IWlxdaxuCgh+fn//cT
5bVbRM9Vj9NsO3MLn3Q+gikevZj9mn5llcv4v5VCkjFtZVspdThRO0q0ZzM4q1Ow8H7ZhjLiOvP3
vwf7CyYiFPevW7hp8ba8qhi/CiGznaxucc8GrDJamVJIcrkgyGTJLmxYjZB4DgntAGRCaSMDd/89
VjAgAVsFwFKoGJPp2UFjwhzVJwEt9zWZjB8FuatU3oNEbkDm/OVuyxMAgEy+gSFmHLRDITgDLsBd
VQKgRtzyL28awGT/5VVDNYZwLnjgX4m2WSz1+oYAFKv+Qw6CZwPbfANQBuyND/VBZyvK9bo/ffqd
AdoUMBqC2oXwGOA5gU/6rTQjHEj8QT39DgIVBkH418GejhTw/TA93W5AgH+f8rTeHwB22I1Bp3KS
z+9i5seyFimZIJPtMAo5FglOpJTy/Ni8i4xfZatD/o/USUZ+b9Fmcuuu/7pevVRLEk68U3bwjY9G
jhDpe7Z1QtJTj1QjCIQlxQYGXAwoRQmVNkBnqcxH199/6GcyCPjrMKRoO3KK9ni/QIiSErOATw0V
X6Hm60BnQrghV11LOicr2xpeZHNbvjgwvjvky0mfP4ZZuBhDmcE7D1TxQRQzorbnXF4iBY77ZqhV
3NZyaHP9F62HawYNLCd793A+ECQWC/Df/S8nffirOgtZ6TcEWsiph3KofXfbjRdCij7AwqeVV+k1
DkVMIV2vSjJExQDKONWUHs9NWJngSDeTcucvofC6IFG6fnmTAttCn+z6e4/H4XnIGsZcna2TuvJ7
b+7aq74IN7zmomovCb9gjfBvCYz0kZ9p5eitcP50/TSjZ6c+8/iHVwuItVC9GbL67yJCdpj/dAE5
ejU5CxVDV9/7L5d/x/O8FlBfd/fD8E/kQaD/0N52D+1EeddvBcz7816ZwvvQX6tHgXfOf5dJklE0
rH1RlA7/1F3fCzfJzMgkOg6Ym7uapVV19xeYmIcr3//b/svFi3upz+k8O5eF+JemSn2bRVEzR8fR
cbj1h6LCo2YI58ga6LKi/fA8KqLtv2vtEG+l68yxe9OFBlRCgFCm/tB3KefbfoZ73XejdLND62T9
htYJDRiadI9Hp56tB/b88O/ZxJqmFm1RDf9es0B1/5gd+hIHIVwSL27VO2bnG+z5e1e1RfU5lVA9
/zv1H+1z99w9eoXMs9mshE7x3L5rYxIc+McamD9mOZtOaJt990/pwhpeS0sLa8IXRcvFoSIOFLoB
PLseuYFavUq7/pENINrmFi2fzePQfN0Pc5PEspibXGbCaH5iVNXwsVAGclnh32UW+Qn/cj9RehKL
yuFdEh4y2EJU7cYZqtvCxYLoqiUkZMfZDCbbkKhOAwHuJKMP/uV+wkiFUr6WPHJak1r2EJ4wBFyG
4JEfF+paOJz//Zw2NUbB7aIPmCR/uZ544QyH/i7b4mNlwJFy9A9ollU/EUDlYmlPRaOFZJ1l4QKe
SwoEETmon/jc6YxpesD9vQIHvqvwkvQ/zO9/v4If5WOimcLKj0QQ1bj3Fv3/DrKv5aDdLVKAXmKh
r31lp4ZB6iNVVhd3Llq9An5N4s3GRzESZQNWTmfe8TRszwicspU4YGRa2cNCqR9I9HKW+gGEmQvy
l+LHf8zhHxiZei4vOPZ3oOi1uXiXGq1OlvnTmHSiBc/vxeIEqKfBCiqCy2UfxbIFQOMI1MJbJwqN
r7LcFpsA5Wkv9TO1fuyh6mrMc7V8wsiHfOOQL3vikLYZz8VGWWmbaI3R4s9winCyv7e/ym+Vo/Xr
Gf1yk7fTaJX50+wainaPeTrXDnJ1OCCJ+sQLW0EC8MBrn1V1xHFot1CuMAPQS79KYrpMSY7OO0jh
TTp0n5xYOzaWlCV6IZ7Ap67FJuyjROKXOUTACOmPDUOoFbto/hbpMonI2J3G2r4xKYs7MIQYGMJT
BTJ1t2tzC4Jwra9m7sPTa9OJ1Q2zvZaUmKg9hpy9Fy7jBnATu4pEnujvI1bZPEaZfNl9stZu0dZu
Jsh8GDu7vYDl5fTO7b4RSDvKiWrvoZ1KWsw3s33TxcKXn7aDY3MNQ//zmBs96jaUhJUpObNH9Ueq
/yQXVozCrpwEPJclJ4ZB993YjzP4iIvZN/8O6pviz2wxXwE7LIR9MsMdLcV+ZEddqNO9Jw6kMi4R
Atm7TVUTQI5qJrpx+4qmC7Zv2FXa+JSdK9h0+UwH2KTU0PgcYc2ymyUmZolbAo9Wm5pBJb6sZb+k
GBjvfyfg1DfDm+TK/64jXMuXynfNplg2vMM21hLXeuon8bNoB3h78lwOb7AVQUxYrBBm3OSiIIwO
01NCPnNXKKNEBsJlPOTvFeIDc0pIsG2RuYKV0gXNuS6R8+VQi9zm7pURXMkMpD/Czn8uLmYBwb9o
MyNuFZpPf1eIOnlps70WSbqHRhIg43EsWk7Hgp62QjECNQcZCDaGAyMTDiNIECrvYsdOfSvxuq/F
3fjitNDj6V3lIbZNxkvdQGkx8+GOz41vAnHOrTm+jK6CS3cP10xVytsBJ86wYne4jEw+XPhGG0xb
4TzhJgLDULYliBiw6TsvId14AfNomJOeGW/i9YBQ2iqeEKWn00ZRnp0yEOzklvs8w5ERaWKJPpSg
OTO4p6rJiqvMdCTzRGdr5+L7J7ST3JLRDkh1mZ8np13J6HY8U0eMT4DfFbKhVa6HJFSmw/hR99eU
RQ9/r2YBq3S10yunFd412lJl4UjoeHoyUNVCAhitYcw0pZG/rbkBX9Uat5JTksmgz1zZjLkXqzES
V1c73tZ82ZiY8CwXxftPPNx8acklYQHyE5I9Da4AqiBNZ5KN9VgnI4ko2+aOJDkqBwlWODG6ZpNY
prqM/83Rv1YMjZxKk0m3xDD5MrLxKOkTk3uOEbWvZTovtAYqqjuW7sRk2npODuN9LQAjl90kBfeF
JVkReLqhVCC4SJuZezYzNTrC2n1F+BdUhrDwaRh7lXWTkWpcZIqGg09OW3pd9T5SzIJeCdUHbmLN
seJakuvjo5VvBtGZR8ZgDW9ysNz9bmx4mjOOAcDR4sxQNFzICt4gTBN5gpWxH45XGE2+E8aG2Mqr
cJkncFapVDS9jIPBtnmze2mCgRKYOos6jNrQ6DhByvfJxpC1pBZcoIWz4XI2s2xvMYsMlrWpgvZM
5zA/zMPo8ta05bq3Zz1lVAUUHJD4AJ+wz5oqQmLhrefkQR/BEBqYQD9/34ORsnod3K39ZDGj8lHL
JtnIZiWFrmJYu3iFq/GyRiA0DINw5GmY9gbJshYAta5PfPBZVmg01nLGVWg4lwG4JTq/hWvgKzoQ
Zl0rBfY9qy3IXukC6d966MKWNUoyNRqqggJ0MGUwTFuOoPVedaPZuUIjBdP9GrpJHxytdeZ76GlD
6zAP4fxw7tr2XBXXF8nclqNrY8iBNcrC7bvL+yTMd9ARJo4S1B9ZPr5b/TR/oIPIdLjcp0s/XnlO
rG+nuaObG9fyauaZJcsiroY1LGPhVEGBzHw7BVmwBB7MV0A3Hc6IAsLtiSECltqjglDDo/7qrdbV
+JdscmqQGcBExptWueckFhYAo8V9hrImCLmeGKQw+Lbs1Gt50Bx4R5HBRT6xmRpwwQI1Ct+GT3ya
/9dSKqnkDS0TZvzM1h1AmOeJzwi7vuV7g2ZHVO8QdgxJ8IFtI2Yhs6uHFg5t/bKCOUDYwrj6mepq
poU01N9+4A1xj7VhZOdpPsT7/HWzRBjZBk7YLXIDc4FpYF4EiGa8R0pKT4e7zX7BR1YIhXLtHopP
Q8+HAZwbiA9YlXhqmXBbGvYPNDpIwcBP9Pi6dp049S2sXo5u9/nbpp4TA4MEN/Hb4hMK9osBFQZN
iD8A/HWQc1AybVmVJjrmPjnM1zV3Hc9YKM23BcoELBVV6//9JwkpNcpdgDYl8q9lUV/XFK2YMWEa
mo8PivRiFlpHeyT4pvO91Mi26M7IYJ5/BDFOpb8BTaATRFXBCcFVVblH4IuneoPK6Vy2IU9Ll+yA
7KYGdzRz1+gRSIG0yAxOc9qxYdb+eA2Jyeoj9JgLClaAdUu6ppZs0YXQjSHH6oMazA4ikV88NQAg
ACaANwOzq8xhIkx9UejuFU4WiypfuOJT1XQvZrQVi73FKzjad2C2z9V3EGI/Ad6BlQCe7OZg3ff8
qY/yroHioZ/7iU20xiOsj9PU5NjczaYt0547nhhAX1UCicodsFM2TuuumxkC71Z9XChRYyAzEBno
iBfbsDLq9pKVhM3hgXKe6o6PLeEe87GB25qOtPP5B9mK97IjMYJ3ZzNGnxJ2kHXzvwMglQT5uruv
nIqKe3ELgZ6sWOAZViY6uPC2Jj7kdE4V1CPGIq+D8Gs/UgIwbQn4uQz1ZYXwmfB3GCk2H8QeqQF6
mi94dgQxVyuuZva5QEoUvhmG7EOt4tWWkP0ipDlYN5+deCvx7/65+iB+KkBlxgVsYwAd87m670/5
18JFXEg2tUW+XoKGpitw9vkrLZrQAgLLldKNfX0BNi4Nk6vJ9CzKqa6CKIgcbaxgzsA7jJnk90Tz
AIuvDG7fXTVO9QQGCHxAUkWT46ckBUoMhNDfa814NT0FbCvR32jSi9HWoz0VbEbdcm1yb0udZ9HP
s/klNt5YfL2j0IT1y+gbKVHJURQ9Kw743nf/c87sV2EtALKI/ayAu4MtIzyqAWVrpAXM0FA0fCF0
dikxbe/K6MIvYKnJHspxWDSqAuZh5Q4sUGFcy/LY3KCixWLsHld0jjSdWlZqb63aADu2h/DKYhyi
OwbFo36dhG4Jy2SkmrGxXSfxisC2jglfh6kKcahOVlcHFmYj7e+1MDZpGff0iPdCZzJZ6n8daJpt
xhGh0HTLsBG0+u+IAZ11/V+XhzNYvQZm9s3eGdZni7n1NFyv2zD4cWS3zswjB5kvm5bzJKYZ1sCr
5yHd8pAII/xtiuQCBGjXyAyl2VLFCyHDbSVbyrZzIOmSjX1gnFs1mq5n8fiAqjdAzbu5Zg7h1Gae
qJmyzEHz89mUZEjOcu/G8d5YSrWRJPpOfDwlI6GhbZvglCqTepdnKfk7OZ6qmcZ2cGjt0qAkhLOU
x0YW+UUP/Soeu0IGrEKcUJ/XEbncWtvicZCUFfvF1TLB+5KPwv025ZI4/fm92SV3+/UEmG/mEJLk
SpdEPmaMK/+nKUKAAh9arLdO52eb4ew9z9QXBYhT2wzME9Ayeni8a4emlLm0rtrmCGTAPNXKfL17
uO16r3+vf894NYWBfZYuBuqRTeVcDYz7siH56dBZc4UEyA6lhlKk7UYgZoUAnoMkVgbwngJg+6Jq
EEcw8sMMKL/uyI3tKh6WxQRyzsCbKbP2xuv3qzHJLh5a+e81rIqND3GOCNuubw0EYxidKsPpIz+t
PgunSWS8Gh6D4IBK8cvw8I98x7uQ/0zMoRaKISuXqKNf69zMvVvtLHjQV24oVrBuRwoq1/0GzK7a
ZIVi2W7yQOQw8e0Sr6vyXXjiW7QrDaQjR0y9alNfD26jlRQxpj0R016IHOOt168FOGAr9KGyLfbD
7erwrzOYY+e2Lekccx9v/D5SXMdgh5+D7JgX0E4hke6mqiF4TPtoV0+ONqUHHLeSVsk8ssKpciZJ
YCxV7j+H1gw5A3StvNTfVc8CMZx+blr9Z37d2XZOoyXV6bIknyQJKE1V7neWHT8H02dBKi0u0P15
rZFJEtlCSSC0K5ot6IGU4f2tF9bfei3ReFRI4AgyYS0jPfeYbze44FZEOwWAyhd8q0BRYB+UW6qh
c3qnHsb+9FhsrUvWtf8wwxSTx+v2/0pskPoRuw0lerEJtTzcIIDT1Bo41oXppwAzIoxVHcbHsZOj
42dS5GHTOASBA1qUqgd7ZIyKlSHyI8wMH2ulqXSFq9eOwAiT8VB6oxBYFaLpPPD4gSrkqyR8DkyB
7+nGcs7Ajdk3YZOn0rrdoNz6KgmsJNIWvUM13S5a27K90yw+vmEEb6SNf7wc0JDlPdxA8PLjJO0t
8IG+QQHgqS+OeAulh1ji8v07VJk9BgvQIlMKXKvLTkBz30zIIpXwB5/987gqxlDYqIl+C6KkAU4I
KRVSCpub8fGJQHbpJN3QVZL4x9n1miXK2fkNXP3SZsaQ26gwtEJdSj9aUoV4TRZy+eVnCAEHOol3
c1r5FhW/tKJjx9QSEthyjEcKfZIdpYgqw3/hwyE+GVYNd5Ks+4b7AAjpo7loC/HtRWwP6q2fxZMY
pksTDpUPjZUjeduNyNVf0j0+F4y6KsIwGGjCFsQ5AS/yQuwppwq3+Bq/Ssarmm2EL83MJD5PzgNP
xSUbSuskqvuRkLS/jQ80+caX8Ykney9HmWWMGEc0fKBPdADWseKGqpWy6hKG8hcpNEFgwpj572iY
GmB/88xP6kesTIyE9xS2OpVpE6EajhrrNYT6w8sSBqJ3IosKu/42RdXsHKmQOeAt/NkkR0Gkf0EU
/Q+jvI2XszBEPN0uydHqqXqoZhIlB6E/ZsflY3GrbLj5fU5+IadF8Idlqipjd2bASLofNXhtBR3U
OpZAsT5WTYHVKkbA0mEW+NO0aRBtHWrqstyFhY2YxKp3/4iM14M0kpcGuyAjTyReKh19aS+wxlUZ
E8NWp3bbK5RoEuX7Ve1wsu4EmuPNKFcKLCj3QUt8GjZ4ALrezOHaQ+OX65iBCCOLp7bcWSjaRQGd
v/wC3CDwGC5GuCoXeStADt2qkUwcxi1UV9TQi8syio9Y/8UsxaAZaau0WBGNXbXldMpz8y/kPnkP
IVyuMMJq2AgV0GeZeF+poQNo7P/l/oa6hjLGzZ2FELxaDqYc5ojQDYGR0nbdI2cLSror7LvPmq8v
KPkcZVWOkjCZ8qkNH2nwH7tq/sdf07mRqwqAsJcKKobrGPzKd3P5RHhYf4YaauqxVs7o2DYvZm93
BiIHeK2mx88hGGc223jYRO8FA22BN09jmnKOI86veOtdXHcfAFv1exM7BeDrzxuAAk9CILvJh+p/
q/1XjNi5sGpvrdAk0Eckyh1CKfti6ntX72gXjt9bOE1IMVNMGOm2lHJyviyYAm0QtNgNXd1TZOPY
bkzKqdPQJ99FMcUE3xGHX+hNIWjp+US2JuMu7+6aQnJIzv8nXbg2FZKY6WoxTpCqIDgVPiDXwUdr
i4Fg4NcJeuyiAPdrLpxlJa09fxg+glqNKzrGp9IGcS6pPkatm+5kutPfZzkqvLGtnXrHAUf9Q9Na
GA+/FuDrrb2jtWSjnGHMVOo9WlQwjq1+8/iMP9ID9gQ3u5IRSGtPP1dyn/fOEnTsl6KmZaSWJhLY
R4sjwh8WEYMmXlSCe6yF+4DQlp6w+A7xNkGgtd4y/7NsRTpqLEMQIuiWkVl8/rLsZD2+i3cZDZCM
TZtg0kxUGkJZqXtishxqRH9DcFTgIIv34bdtwFI7rROW4b2xGRhGfagG0NkIDkNSpEPx+O2luhze
YlgGAytq4Es9jMPkH4qw9B7zW30KkppPDde/5tim9G88wtpRvLET5wVeH/MRMFIdZRJOuPXVqN4y
JDJ4d5O7tVVyP+jjBMo/lhzmXcvxdhgy03hln9UKwpJHf1oJws+xbrS/gaj841XFiqUUzy78Hj4N
tH0Zcoc4wQ3D6aL0Gj1GbA05geJ58L4W+CC/DBa7kd8N0ybaTdeeH29jNsuUgRHlSpBTYnQECcpI
Az561dttGlaEa6A51a2veCPWOIx2m6I1ZvG1g4YDvpkW07VIEEC7fizLWcJ1WcxUyOnHh5ra398T
GGlvXvjclUeZes4YL+Z6yxlGZnSikzfy2fwyiG4FMm78p+NVbTl+17Os3GhtMXL8bBfJTvFh6mPD
RppDY4GS0/e0Ge+uuVpztTRxS1hZJcREXd00f/kHvo/T7lbbPAiBLRn1lUwrWqOSUZwO4wocIFOG
d25EHw9HIf6AvA5s6t0U2s7foCPfiPSN1+m9VOmXD7+aqMO420foKjE/YLZWvUyDNVYHoLER/cPu
NT4cC4SXbj4sw49Knzm025SgQq8fzniv9vvLzo2JKt//FSiitrn6q3U9l66d7UCZGoW2GvsMv+zo
jiEQ5yzMVWAH8VTw76pwonCdQscAZRUyx1KaQXEFK9gAjljot6vy1Koo1V2GUHcNyF5Ijvpz/fNC
o1LVbU56aqUacQThlaQoyTiB9yArBiG934pJUYcUeQpCKoia4x8EJwSlsES+7Wuke6E4Cgeqh4Rp
M90LfZxlRbF4Jj9Rj4B74paEbngeqpRUEnJ7NMq/7x9wlHy2BZ1b3swVWLEPz8kmghy6cxamtUx/
pSE/w4ik1mSHTHbv6JRZ2q7Av/N3FlJt/RHUuWL9ZO3+nf78wYHevH7DfKPfXHe0z1kMMz5a8ZJS
HwrsrNXH6qbEyK3cwHNqVvX38NY71JNWpnpMId7lK9eYMmEyheNJiWntcAru2OuZX/4sTeN7/vxv
qVosWr5IhuqyKmPN9mureuTkVjGJpVal3G70HC4/g8l1WA5XDQIyj+aOk5OwVLdZ168nb24l0Pmo
rF5FB/bm/la95uTbRf7/7M+k/Xxst7LJ7f/BpiXHt/a1e++cvqKjNAc2W1QHyYC7ruhMsQg31Rhe
yvZpr74fWO1ZDFYRk7yUYeN+H2sCsH324fpzteisP//2PjC5RSM7ZkqjjC6mZ2e5jDJtWwsfaByU
gdPfazsAu3fJPne8F1ijTmmfde/wc8iPlBnSmC+EhLK0q1dZYEnb2rPI5BvbvNX2Lapy52QSs0XK
q0cLE9YBxUKMu8f4NXNMGAFFhsvPHAESNAV/dsxUXV401AnbZ3320AaOUCixviLoe40Xgfrnv5va
d18lNlL/WPuOlTsvhD3hCKxAxuEwAEetXLbqSzBWH+NVn2j3UFVQ3hWBCRandWA779j+702nu7Th
IhREbqrhdpRRShgEmOBjrLvDOe31BjaD3GAYZuv2pe0/lrLVygHuTn28V6IlBoTSga7bCoYumEd+
1w403DAhlfScd0VlZwmcseqzVqWx38HcEBdKiYJdS0fspM7yxAMbbIRgPcfKwrLde3MtK958ldQm
FVxJ6OZlNzeJMaHDxh6anjpYEy4lvM50ZmBhlstNvn1aEkg0lU/3KjnVd7BV3FT/e9sNW6rm+7av
tffDcFT1mH/0cWdIjfDkxNNQPaoLTgbV97TC76wzrClW/ZHL3JvbIW03o0+UwVsG34wTh6K9zDIC
fZByfJc3VA2kUYDUK5cZC9dNglix4ZNzu69yVdb6qmrgNJgr82DQNB1CP4zDNYVtf8cYllhvR37+
+ztdX1ThXYjH2sqn3ngWdVM4bOhoBI+WoaXzw+kEMIOaFeiQN/dv1+aEqI1BLiBlGykpmHkuNHt8
bmwAIKSZWgHnEMAE+00TDP/KeFBrYz4FsyxRDq2HqYO/F8b9oU3u9g8hATIUuusfB6NoxXPE0PN/
SAlzMvCShabxetadROe4e/Q/IMftyLlaxFpu4x0MytTWh8MlvI2ALO8h++KNmTW85r8Dvsu2eLCM
NMjqA33WA5lQQprNk8sMavQy1prRqmMvKjwdEMpFtModIkH7ytujbisR9qUhtv+zp7iS7iCcEFXX
zz24fFmhALO+0ErGP0/QpSESmArklVKEYCzhwpL1gPJAK/J3kYBygt5ttQqxaeswnm6RfzlJWaAY
oDrQOpzmIXeSaeZqF3Dvz+ujoApc0YaCm4iA2UmK27vS1L2DrHdp1e+sy+mu+A7G1SSkeCFO8Kj6
8xcAApwvLwjPPEpW8uZt94cVDVrGejIDxdeTTRE0DqH+XKAETwvNB0yAWpHTjnhw9ovXwA+ehw5D
sVDdKsTOWsVNkUK8Z2CkxB+F/Da8+39/IX173roZqqmqzEKVELCRkEqd90ekvy3nOB7P2qV3+c0d
0FsicSi9m1iSn6VTK5ZXA3ZobbRd52wil5mJHGSAFI552rxgOewQHMEdCNmsekupBLW1cgRaCLlK
rLv7QCtxLXM1q6mGvSvzkfhWg87A2vye4gJTy/KqkuurZCHz0ueKJZhewawLIZND5SIcJGxbToKm
veayh7hM+svuuxniRmGJjJmHwZrecO0zP88y2O93oyWVUiZQrZ4I23RURueMeSkM4/XwKBilKKAS
NliOXkNRnVxs6TTOjo3/vdsJpsOm3bjqTQRBYqpGGtwwRF0Q/XnNsTh90RrnDT9MPR01wADSec2x
/VmpqOi079/Dc6d1rbVAAGQ+P6P9zD/k4LF/8h39RXEcAqt70z0EtfNPijilF+nE9RDxYC81jPeT
/UNj0ov3QmV7cvzYlnSdENim8LRPwq6ToGC3fa3L3DL1GZXVMkAx/Qa1o/DqaaTfhtxc/tKnMF7p
MPo+VfBnTj/DFguMUeV/kYPYD3b1VqCNgx8vswsZZ4kpQ4yH2b6T9rl+LEb0SO18LbHDf8HcmRZT
hIGIReO9RCHm72AChde7SRpDufb2g3IZcQkKYJuv7/gMfKDL5c+nULZmKtDbeG8iPSzlNe55cVNJ
tafF3//+c6rwrL9ao3XOtC5/yhjNdBM560jLXvQ4g5RvUD8qFiWOROMr9pErQ0SERD50FTeoKJyg
LlkMAH0ro+0zWfvNlXKCOd9B634Uk6Y8lPeHIsGkUjjbsXogCrQs/Mgj5jf0ZgPj1bSzU0/Llqld
Px7QGhITb5jJS39jwQvb0pmoHcayykvgXQM8G7EPS+o3vr1Tjhwkv7iZk5StsefPQk2TqEhEiP7m
V/VUc897z1Y62NdjAuKhiBGYGgGaNUMbbAoxAJhHPts8ND+a9c/FPd9FXmuOL8sxvLOH36RyCDF7
NFBKXdGxljf/LkKar/wqRxJwN1qadCB9CTRLC5xff+J7C+HkeAfBZ/1V7t6KP0eXyHut5e8mWqoR
yH0DU6RoSCXXMw7aifZZUdqHjt1AAwc61IgY9qq1FyJpTWsMVSa8GUtxsNWPCC8LM3u6TFXOU9S7
u9E0YVYT/zxXs/9UAHR3rUWqiH2U9crnWvWSIy3RtSYxyXCBJCBJwABgp3v5y2jKDJjW7Rux6rR7
b6xaigvksJqNGIu+Fcchcx/ypfG+P0VyCJQWF6Or5le/Fyl9ZindXvPHcaz+pHGy3BYiYrkgWKNh
iGExyRW/XN9a2oUrfNMHo+Glx+6ciQvY2yyj5CjImW4QcRG02ZHEgResf0QHicrjZ6eGvJAM9N2Q
Z6VXt3v+sCcNEtihn8HDWeO9k9Aw50SRWaoNC1HDwmr9uwDllY6DZ7rCTebd9BICZ5eKsp3H6Ij0
9+VRobhvJ1jc0V+cPYrDXzVJYetZJbMux3+F2pMjWTaTvyf0EB/FWckPudco5jzRSURBSh/GasAK
+DI6sCGkC9QO2iAAPWwjr8pfEhhQMm+5uBTE1CP7mnV+8zvtmv4GIe7kgzTd/9F0Zk2qIkEU/kVG
iKjAKzsCLmi7vRDatoC74gL8+vnSGzM9c6dvtyIURVXmyZPncCJuPiomL69h1bzGINvdg/0Mq9qu
caek9U5nebpCCl9vJS0zKNCwIkjNATNAloNc1ohdN6gPttRULgutbemzF/IYKwPs1y5+fuXhV5I7
kcrCcDrjt2HzSL3sReuvwv6mwqyOYo2nJL1hZ0UbT4gddm948/s7DqCuO0G9wl/wBhMKx7Ez1tfA
kQGk4Wk+LMjQlfUHoZhAwIK6y2VRV1ldUUaF47KiOQ3XpXaAESM4I853rDRXN2dhmp3RRayS/kxB
3gzDLusWJvquiOVBwI6OmS6pcGgw88RZh8z1siVnRQX2QpDLLCf/4nnBi1eelq/QLvrS3R02ivRQ
WB3SvpVHoo7E9b+TRYugtFf0jM8rwneuhEjCVSZV8hljy74gjMDGNz1457+3f/4joy2O9uVI3ele
e6TWDBjQvqWSG9NaCkhaTC74+pydxv8391As9CRdvIzKmBtO9aaMn9MbVggU2dg98YQmQJNSrQgz
lkQpyRjjz7IyOzv8bvcfnAU7o1t4tn6ZAzStgfXQgPanLJjXfAbOv1iEYgi81qAFxC+sFziDG6yx
P20BcuhJHUa2KdStJ7kgi14Zy8mSHPPTC/Y1ctIihz062RdEU+8enhTYM8jRC+dD2cKtmFGLbIAy
ddzzz5MeQYV0MmiLLggRtg1yzbQ7yM/A4Lk+amshT8t7+vnBTA81hJYNaKBT/nUILJTSo1f8gpHv
yemhQw1nAT7E6PAQE5t8yQPKi/EFbCGSk1nAIi0ujXgkPMKo865vsFG9sl50BfUdA4cUeFesPu+B
8hi8s5/XIaZ0g4TFimLNZdV64uPuZgZMumElrYV0L3NI/E2YHRfC4e68uyGRfu7eMyDIMygz70Mw
iGRbMfwzHal0ya9aZFtClXiQAKFMQ67Hoaj8IMZOKajFuvUe6HNe1ZdUnL548EgORmLakOy8A/ow
8hVtiHMMnnfvgNxYUpcHOT98K3/9Aos3nzvy5cuKdLQK6s0Ly3aEK6PbrqBegTJMkIXk1lmIW7wv
YPhaoUxrNG5OyYl9HjrvnPcjYUA5aMgJVsDkYGzyIYDQCvl6BciC/CAJ9/dQhaTtfQKwLJS2BFLx
CG5b0CeRIc4kLywSkPCh5GjCTa+I6fQBCQO69PI7hCmGUjk9PqzLihF8t93+pmBeo1cOH/5N/to+
caZk6h1B0d/4B8NTEBSE7dKlapTwdmqR4APfbL7nSn4uSaxk4EK+l6Q73f/7m2AEz9nalXdS0Zrd
E6JihrIgyd1wndQZGFN8fsdtSWVZhmmhFDyDPa/hqM+AsQTckPSQQWDs5HVXBoUw0yMHxwQ9KDjf
bwMEw01dQPJx6EUe6I1L5r8B9rK05b+BEfxCjkRyLBm/ZJyVTfYo2Bg4h+DHnzm7guAS8trCF6QD
laXK3hIUk/8RRXE1klB/mxooHxIri10OqT1lhg12PU+qbEcf8dD/r7jwKbG5HOJ7aRQx+Ngv0iCI
L9pJtN0h33rxDlkoMEgr42T4gVVBGSkpnUrgLT+RkyUktQRzINWXIccB1+RsKxvIQuAHyYxJWYlX
skk5v+mYsvJLSZulcJHv/mWSld3fy5UigyUwiUAL/wZDBpMM25dJJG+RiqAMDB9RA8iDTtB30jnb
7TtMA4e/0oJQoVmg2XQh3NNhDl1DpYTKPdvdiGLpdkcqxFZKGkDgi34VM19M3gOgBpk/NQ+dkUrN
PnRtnlR6l3tOlyoWfykRSXQyrhRROO0ev3O0Hobn00BeDScL5+PXgKaJD3ZU5MDq/N5yrigFNkMo
7VjLtuLy4r3xDdCtW+ap6eY0k37lORw1fdKaknzSlASLD14jxcBmSSwDDx+W0osGgBz645GMJI2F
XKqRDmtCZyYrJoQS1h/KbA7NVjAWeyM4ZJAm0wstV22ihtoSAp0wkKEWUxLDKMumhYESA2Uj5LX6
FUKzZ3D9LWmtT/8nQ2j8IkdGq1i4E1IvNOyBYZgjufFSHOz3SZ+axX1C/WwmEE45lxsIWMMUOIy7
AxpOwhYdCKLxR9rJFk7HYISmo2avabCZke8zN3mWaGGl+MqCuGva9nP6lQYDJfQpDw/f44vLVrbD
gMa9TkiRPLDs9t9hdP6pv94P2DCeIG8QO8HT5JwnYwwpw9aWnROQDObIBfDa7c4IOfTgUaJ05hZU
x64evO34C8+ebORWntTtgfnZFZpJUVt3ck7VvHcnyts7rE67E5qCYyKmxx0csLU87T6bekMbLMuF
YdV8Lz850JGU74yltmQy5Xaq2QwiiircVKpTkCq/3/AUdHgQWApZvFh3ZsuGBYFGT1tH4sEPoY/D
TaM/hfd9WHoMqRnextTon+N2POrCvCERJBZ+Ai2ziBO8SVCOl+6dckHnZv4Fs9yVqNg6KJIFwvBj
8KiOZVgBspWyg7YNp0saam+h7Kza0NenItpMqyDw/4JkPiaXYbRCgP3bgniI9GFR1B4UjpfuvCgK
E6hAhHVf8bfwtt0eJ/xUzotAGe2anke5NrfLH8SysJ+CcAAD6OMhuShpMAGcBZ8D14JvmadwaL8G
fXjQGL+AVkHl4j3t/l0nN8617/DvsZiUVA1IHM/AAOyI+lx2UEHA0wE9dUg3wMGMSsAEcbCicxsX
F9wk2ClvY5WOKEFj24IJ0+iFuCtAKcshqX/K1sBtECSCjuovlwH4kiUG7xQqsyi3g+3KYtaes5UI
Hgr0EqEFDUyHgTh3FQhUllr5oaxLrO3o8Ap8KuuXPoDX96UdcCIsgqnHSjxPvWdw2IHCGt+3wTX4
V22H/iAPYObLwkm/DUivEAvo+0KrCKZboDJGM/m0z1wsXHT2EpZuWSZJqzmIIB+vzX1DgxiLH3yE
OTCv2L7Iktxz9QHlZdnD5OllAWbHISBknW/weOEo84fOHtDfa8vPvIVQJBunLOwly2btrAUANZY0
xZ2tT8uh6MncPia0b7FIArMeZdGnyMn21NCbLMtvuUHzRy47h5fFyfG3fw+B9LmKBtDFabO7NC6H
5HcF4HHjpugI0lAN3RCpcGDM66YApQLY5tNHtJryL5kdDWmvOd1qnDp94tov7dYnOu46dv6IqT1n
0PmWPG/9kPUzbcfqdQTIdMdB6LOnyQcTNzJuKnSpAx0RKI5mcjqjahqUIGTt6V55EA0pNuz45leo
opT+wY1guNOVebJQv0Is3tPR0NUwA+oPW5GOpIepzfL4uG25lKWIPSOqlCtZ+i6R6A8/XDiIbAo0
5HEH9L/niPlfrKXYBtLzhig6hpVm9fFMxXOrAlXTZ94xGlO6arwEy/XgjLgRgiBAruDcTA8LYxpK
lLlk2siOw+VqO2/ulGzpsrVvebzZYxPB8/PVe/YYA459EKhwLzqETtBv9gsiUEoOYpwnuDKFN+l4
RLhAIkxf7r/qvjasWHpnAHorm9zHpr5/69jdO7gWzSODtTS/Uf9/QWOgoxwHpQYB3fNUGR0sxAeQ
pPDongfPyFv2/YWkj/C/Xj8P1T4jM9dd5c0Ui7/0Gt4bh+iK3ZumuA/EiV4/YZa0bi2fX+opfBea
13XfUPcNew/IdwpmWxkUGmtwHq/+/JRXwzo8JpX6d2OLxzCXTh20rjqTcxdDT8TSSexrZCTRdD3O
e92dmicFsFFxDdmTytJlWumfwkIerapCDQz+6NfHN0EMLBx0U3L0JN48Q3DimGaNk+LKdqMkfA0V
PTih44SqSasCkMzfLHXYCOjLz7uw30agGEDhi6O2rEsXMgE8mY5+8V99qpRQ0OCqqrPXaaCfb8Fb
WrzqqaFiRv6rnQgzOrBMps86zLlf1d2tHpOsuLj6MzmgF4IGggw12whok5KOSsat2+aR6+26/SXn
D4xefwSWzw+p1b+I9hbhTQuN3euow1BAvS+bUarUvo5rNxtoocR9uYFmp137dwbsrVTo6eWIoGKc
1gcFekaPdMQH5KX/1vz7jdHXt/QMPttjGrFScoY2gdkD6qwxROuBaEfVf0STQTFq0y74jMsbmKFD
3Ypfa0A5PbjqxwV9a31EWI/rW6n7dFpcR3qN4gAwj8zsFDEK4zlA44FHMOOnWgmT4RrWnVV2Qv+j
1qPyGT3Rb+r95nfVatXDWqvIjmrqD8BOEEl7sAtV0nyYVkoVtnqJBiXqMbk+IQac4dPo2/srOjXT
dtpen9vPpJyTjMEbOzDdGEc6RGgAQDcTohh1nXSjHSNNnafGB+Ll4gwdo8+Wy/2jtep4G1eHiFbH
21jrPC2tGafllkabtAk6FIFZ4ek3SkeNsXnnG7i5T/3nogdXoCYEkG73CR9AiyydgM2ButF9fqOV
CalqzVZqKg3qvHvZ359JTns3FOLsZfY6EYcwmqv9btg+q2mlw2+a0WrIeNbV1ZEljlbf44B2lxz5
feME+rP4DJrO/HGf9ZHHKqWQxc3pazfpysPo6zrqkmsIPjGqqASxE3paPWx3XbE1PZsfNIDgpnht
KMiLHuKoSP0oiqtFKQL6SK7VE31ID4OtjkpYm8Fdetguvwap+cNtQ4xuhpRmqtXpp2X3DQdqi1Wl
dr3+QBUEDJq2WQuOCXVx4zUggMh/M8Wvpg0FC7UMWQmNJPu7fmIALNgdW9Rv0lV+mhG4iD31wUY1
Er4D319hZKD3cwN7e6HAQwcKVLVdo8FRQwjHI3JEwCA0EnwjZ4hEA729t91lcws/wKqEBDCS2HM+
Gw0h0Szu087wcPSoc0eY1brzvFhIqfIMdPpOSRO/Er5QY+5ixvBwCgLs9mMN5GPcBsr2psDKw+Kc
aKSd7y+4s1xikJaMoB9B4D6orxqeD6Aek2M9OZKZVHF5np+ojLbsFxhtBjyCICfx+iUNzmr8fvrn
2r6XUOnZetHl1Xf382BdGoTmQNa59xx3uyvSfcCEHCT5RT7QQv0LXrqlZlt4i+zi+kcjZT1fpg0G
bSn5mVuiGpB7XRgcNxDoxrmBeZ+yIao2rfbwTpcQu5Vp1G47r8Qj9LG75OC/xMMvLJR8rTVADueu
2xzsSoWF/KfTrA3kV1T0U+owU4IWKiDq5N2KL48J2Vh+inQdFKkLI6Yz+bAKVz8fUIimRWcaCxEK
fS+47y/4ZG9WtdOizbdnl/WSGLnVDKnbEAz2WZkuNDqAs5G2woBi5lJwY4k+o1ElWR15Gs9aH1dY
9Wo3D1s5RldoFjmEhxLcE68su2DmIjuZjtghTzcwRgrpaH88l8V996xCNrv6NrzoW/vEmJAe37OJ
cY9zloec8vkBDvfg3slsgw0xPU1x5+ix3BSUn689FzUZlumqQ4yhI53mZWJTch01NlsriT7RP01v
g+JA2xwrosoa9WZJZ1NCueMYHBA0OkHyv8O8IMbpHSMghTt7EgtZRmaqsMWqcCXYB3vdPzpiSUgu
XVZO67BDPOKIEhvh61kujxoLsyq4RORkkr5SWBfvHHZAYAzvGqbYDohPBw0GREpXZ3p3CaKgIh+8
TpLH889AVPDp5KDqvq3F2+sgf+zm8/kORRPMGwbWfjLZzanXIBVBMmlSUjlaf3/cU9zfzCjyzEDU
UAIv8ExcLNl1+W8x1txjWAUn6ns9egrD10KMra44cSujnBOSrwlCwl9TMcw6zenPIFqMT6Yz3YtD
gmxa9KBFqK5o9hwuEMVuglaEWSa7CdiYBMl3JFp24W65Bj5xYvxy7JhKN+lCGy0W3v8ysdKTtGot
CavouixZQcCKK3O2pFXMsYO/JIBYujTMgKzblMNSmeM48p3rY2C0t0P+sgZahIIUVr5uR6uLuYoy
sbWbed7wZjpOEMxGwd8i+hlmuItuTJT/rh60/7FYDRkWNjIiwTJbQ/Wp50KtOHKfWI0AMyvS/rc7
v7Cs1YjhfczJAQ4gFCekT74EqDXmYz0ztPCXnU4ZBwJYH+cW+VYaSu3cJP3nlTsxgLhYk+WaVIio
lCsh5gz65u+feNJJ9wBYAQ1O0ir6dWbaT+U2x6OKsBVKIG2Uk6vp/Y0Tc0SFzQ1+f4VhDmdrZnqr
VeTMJFGNgAHh5ZNliW+UyijTobIoF/nfRAybuvMtFiNJklHrRWJAEpTd0dx9cLiQr5v1s1lhGreZ
TnDT+0HA08aQYk9XDV9Sfl3LiUu7NA0mWDXs8dQdDCbSdvmhK3n38neU7nGD/zpFfQ+630kRvc09
174nc+J1czkUsny8jT4hb8nNJXMhN8FJZJ14Yy9ZSzoymv3+/SZiDDeaJWP5tvg3bOMFMjkjrCXl
bNg9Qer4Ff0l5h9JkRkEo+958i4eAw7A9KcRRUxWST++g321/nBPvTCc8pxcrSRaMYRQ+OQrMxeL
C9Uqj7/LxEicDdpEb+/XUQdmkNuBYXkzLJUHZxYTOQFoxGRZFOnNUHdSK+yub1Ai3jzjKM5Ajbii
F5SJwegauhU9OEm8jpcjThkRoWSsmxgg20wEyqkW+TMzQfJcsXpKEAXiDEfb9dZNfn9/k9l34ow8
BNY4wdWgcn5EK2m/vzkQmZ0rxSkKnevKlhFGmweqhQdWYM7eCuVuimJJFYgluGrjrAmAYPatkYt6
JJmrRkcGDI8pJbCDOfw5unseO9i15jJkMkxI8WgRM5f+frqf/LPLOeO8MdntZam4WSwXob0MQ3+6
n/pz2mr4ClmqfnLYsPEyjue7XcjCsJYhkzkkx1uvg8qEPsygY8bpMjULuSOFAwXei7woCQKeS9Ph
Kd6sgoRbETiDgWN54o0TrBnGES/g+xnD5c4Q4+VYAVPfHdE6xVEZYlIOqrXr7VrWCTrIwpsdhkuK
ezIv5ZLiWZAkI24Slzi3JxM/nAMQ8asYbitzSaZqzOIZmK67jt2ZnPHRGi/64F1RxEm7QSTrKsZi
rjyL+PKas9E5GOIeTL0GmFoayaVfnE8f4TXLjU+ldQ8WvsVEFe74VUyj7TRCXYnSrLiead6YLhEL
YAeOyWS2pasV78UlKCoTDbEl+xDA0bQntm9PcHfh2WaWzWbYz/3Ea9dNvCRYL+Xy1lwdAyfjgVqf
ia2Ik9ucWmWNqVjhpcpXZkaNFTk4DM8Cz+ubXvLvSfiLolX03T8CT5ZVL+Ejgr9f6P3mL08C62sU
RbxYRLLG3ooBcZLvLTOHiuV48pGVSWEhuMeI9mE0PH46lQVUqKG+iVn1M0wO9raNtsOycmWZYFkc
/clT6p7pynu7S7ofZa6os/mSRX4Gi1Tut+wKjKcLP1omizyjHzcKktxO/nApHY/5GT83vSEnmMgz
z7boOCvHYVRRuHVq9MVoF6uv5iKgCHtlAVZY7uVpFqyX7UeUPcSjLN5p9P3h86vYsLCXTKBwz/Mg
JyV7nj+1Bn7cMtdLe7ILRzdIfC0TwZdYlp1ZEPxx7bJQMRNxdOI2yELF3jSGPgLF4ylXI4uMN6QF
r3Jaqndc99oI2rCm0JfuUU8zOAuqDt68FU3Cvd3aseWw5nJrZ3fr70H6Jqeyxis6CLzSlnvNp/Fc
kDOYbBJ/2YDHxnKsyAu4dUkyi5EtmDPd7+yrg+13HpbWJLP9SRhygQ97Pp/gcImvsjzp4cTnO/nF
cjfZf8ypvXY5gOwJe79tWuwg39V/YA0s38ZLa0lMwDsFJuOcPM8L3LWbEMhav8mW5+fIVPh3gxKP
R8eTx70wg1kE2MiyJps3RA+270XDczYej/+4hdxjE6OqoePNuDaORpWR63OG05+9r1jMyL69elhW
xCvfCxzYIYDwn1VYXsJ2xwjh1ItUj5OYCz6UuR9sE14rW+GMx85cfDkK/mLhbPCacMFN7COFcSYM
4YPs5h8rPgU8wNxBmDDCXRgHXbsdFFHUcVVrOvgwafwPjYeyFvCCljUuLGfVdYm5IijMIOlilKtZ
bEQUrJ8DSMiaSWqtJFQdrQyCaggbZQTzY00LYma9ft4URKeAtQC9KqEP2uxdk+lxmdasop7q9+D5
YK3XE1YE1e0jNWN6/myFIvAFW2KZjj0I0S8s6K/QznMeoZ7/iU8KfVtWl13m77bChrYJCjrJ+08X
JR6SLJ6ELERw1FbMGqu951in/pC5zQy8d6VEGVudr7lNBCX6lRxREbvtoJXtHlCnEliz9TwdyPb1
7bEp/MtYUH3Kk4N8VUVQRcftL8X4juwngYrK+sBLdnBLIykDXnZV1N1nfmeTDs4JvTu7dLBGWgz6
41oE2DrWtmOBLbOqQ6aOgFepEGUXOKhXBRDZpbmt8IFvVfewElUwevzm9+EbbDelw1nqKeCx7bmU
2digUb+9JyI6dkza88v4CwOj9JWjGZuvXptyeBm3lsaS94kfM6UJ6gmi3QaLji2jRHutPdf3+gAG
9ZNPR/IioDpIoALuS6879biHkEQRk32Cc7+h3AqnGIAWWp7KQYRAjdocFTIh7b4jaMJkc6CiuBvR
cQUJVdi5X2o0YUGR8HONxmW/3LAjMIxjKejdZrwtFpE2xKo64NnAJt9S5i+lI3BxoQ9n/pdp+2bA
wBhpnOvuKSUNTpCrAauxJZv9q/W54IKA7zanIGpnfEI9Lzdol4qvHOlLkCKD1nZe8wekQiqlaNxx
n4Gxe8ushA9xHr6BAH5vKMDQJlGb7T2EVTr6cKM7jJ/RWseEVUImuNggczQsKZR4u3sR0esPgKbv
SKoiCzgGaIZYCPGVOrK410hMjs4MGsZEiTGgtoABdnufj2HrgqRQ4T4y5jfWd/w15YPvlA6Ab6lO
FwmxF/8ek1jiIT7xS5GWZkVa7opE6tey95xmRbJ+zaFtm70lNFcgcwkvGQiCHO4teKsVA8CD8C/P
sIEllSkSPp1B4peEXVRZ+f5kLgHVieNQSUBfUcRfMfuLhQ7tkn1WUIFPM/6kqUlGhauGsOmcZsIg
fwcE5gQdHAT9HFIRZACgfeOyWjJ96GnyaEODqSw12Y/DOtzyyf4I+Z6R7r3mQO7NEuAM4F6Go7cU
x0FDMgsUUz3OiQECV2YkKaDPoWQzuWqU1Il4FNHBonyJgSiyi2aWnKUjjTIHA1kzofvAz5g8RID+
EJtJsCknVExoeNZ7rrFPB6coL55BwUcUWqSecd90B4wAn84kp5YfHXqO9isvhreGWg+zcACTE2L3
rLMv58YvdAW71XXoeivnDworaAhxKJ5TBGuTDuUSgLMOtT5oMfgeiZarMHUba4l2GxfR3vOmB4jz
MEvaA3zEGMRZMXwi70hNg/NgijIG8veKDFy3iiFvoJbBzZZTFASXSiC1Q6YsIkaz75DB1db4+Bbi
FWfEffjP4zZz62SmwaKmWU9Zcoecw0x065aQzst5zbyVtIfuszvd3DPj9zwEsvLAJqivpBxF/e3I
uzOEGUXuhAgIzZVZa8r3Hyc8BdeaTedlTS4WHFBS8A95F3Iho/lkOn1atPhY+yW7LY1Bo/NGHvCS
eBPdWcJbhDxsSalr5DTb9LSG2QLJW9uGg+ad3dr8Buhs6PsbdrfkD2RkoigaTojYpxPIuJLMQwTn
S2wF52AN8yWxD1s7276/o1/anJPdLt1YMsyvbd/XaHUdh4TQdhwTm/f4jW5J4ihO3ltEWskPptMp
wDSLHXnwWmAMEiH+4dj/QpItsdJ6Od8R7hEbj2J/Ot375A1ify7xoMRdkkvKycHK46EgMFny43WD
PTI1GDmwyLlK2iPggiQBI1adtbslkxqRBSyXayJeCVPdeBRL4M8/63UscqESSXEI0Bo7XpM3jpYk
NfGIjJqsoqa5tbYAKSQFIOkgnpckYrmFIYYT7wEmFXU+L66mBtwcCGKAEjQmSa+pSQNmePEQezcL
YNrJ/hbnA+QjvL6jQkMQ9gmqGv73nw+BlX007XBKTMF4+XuxiZXIbP5NUhiXtZhV/z1Dmo2BPLgU
QmI32LqSLwWBKymzQCuIWXNGwvLVJ4rLVcUgTvs5LqBbrp0bVHuwG8GRrjKKkzn+iSIuNCfAfHpk
dXiYnyxMQm1m3HQy0lw3HPjEfJRZ2XbNcGeTPHBrOS2GYU1cJsHsbC23Zym5HcXZaOQe3O1oueQs
4q0EJNwGfk1875Uy0iIHcDZpTeUuw03imceYVJrAcaazuVbhIromK6KI961HCL4xNigqojzLI+Hv
mctMJ6FyQNpioalswnE4Euay7e1S9Olvds/ucq/Eqbq2dpA6RAkYGU9r0ueQUjzmoGC+NspxtmQG
09eAN69h4JlL/JyQmG17Cl2xEvTKbZDrKxAuZQqzDHNYQmDWYFZ7fsQyx1ukzoAi3nnDFWxnTD28
5UMq74NsQnjnJK0zIyV83Ny+xpjSQxwmxoXqd4ZOzuwixUwKwKmu6Z3El/tlj51NBFN6mM1YMOw2
BMOb+TMBTvmBRWPudyczujDHrNXvyy4JX2tz+HYSJDwIqymJBTezjN6O8CTxA7D+RqByFCRF/pyS
NeHzOIqO2JavSJ1VckDFasURcexqs6pdDKWcKHoBe1rRy73b0R3yN601Fp5CQBcXiNHngAB6sZCj
l7Z8VdbtJObdPY+KEO2bi8+YmF3Di2PMv0nLQTDEVIbPwXvwcC5+B02SdGagnaAHOpIiYnsrTPkg
h5iZsc1ZhqMm2lB+A9DDH35Gl3U+hegJLkvFkCwadCwdk7bDxieVE517qJ/nv2qr+MoCyZFAkuyC
5knYpeQhTJunmVxjcOXR9Y8WgGKwVX0URdZgIshHdAgQ1lDgZKiwBoawI1woyWu2EsIQ+THbmD9z
aYdjVUIZV2OCA8S5b3PcGLPrx0cFdHgcwH6nm74XK5PTXotVL+s6/dysmATMyzENHvBsuy/7qoYX
hK6KwQsiXuo2n2EbZl7QBLM7uQz9lCZ1BiJ7Wn7tWPO7QqyyMxjpdJ/4PV/F8t6Ao3Yb6wN2OqFg
jCByxqhpEJ1KnyfSwnAOCYlGqcfeQ1K7pfTj3jH1PtOlrsDGEJcdGHp53+kJ/wxqIlO9HVSztIu8
bdcp+u6hVoRXA6Xj+gLOtzt9FwldSKLdFZnCJd1yor3bqFNimeI87isSEag9Ojuthk8MYiZV1DkG
1enGt+XrZPW6cy3z1ooyfnetF2VeHJCeaEgc/X7Xbd0/5rPvqzjQUrjIrecHbiKb6m2IliAZ2rR3
om/jk6HHTxdcXx28+nAWRzfuk+xi8h/3C9EcVkXWndIU4I0/BfSC+SuzKWDlAtngkfjiiCAmzDDh
tIwaM0ig6qwhAH9/Jfki1syi0s1RZsnb8pLZTBCRsQfUBM4YjReS5o9J+W5PXCFMvBROBxroYbKz
wLEGQCeyIQp98zwnm2RQEeSRh+9NA5R0I3/gFaM+Q4syX4iHLw6ukRjseO3kcfOp08CebXQSPzBv
zp5cFAADTrnTLBRag38q3oABCAhlMaDv4+gUA6hcwmTm6xWfnY93oW141tPd8qfh7p8pakRV8Db8
lBYkPpvuFloJZhXR8sPq9t1bHpZXiHRLCne5976vqBaScr07F5zj4sPqeS2J8Dta2EPCAY7b5jnu
vLZ4wJ2nfavOaBUwXiKinFt9dUbxiWfE8CoElVgm67fKz/nhpy9bgpRqsAWBfZJNuhRDpFylt4Mz
KRqlJlSJj/folP6cuzV2aTwnsIn7ZkrF+4DvX0oLlNEa9JZ31s6XV7d9cokTFkpmp9eGsij9wSvq
VpxUOtQ+Cnp0IKVvfMNEcGLb6Qy25VzNN9srRTHUk+EVbj9MNGYdRSG4MznvuanoLkFxCM73cat2
t9S3hBGgkyOgpovteD3dZhxz2+vQ8NVImrIl7t2qaB0iKkoC0McsUYpN+a6l+e17L3x2/6gWyYtq
UuAy4OGFM0CcvuV/Bw7egTRgPInG3gUeX0ebV6NNkF7/jJLuMgO2T7qhYr8t28EWPiUK1AVwW+ZB
uKlp0Sub9ZYo9/ZC3gYpgPb1rwXR6ZyW1rb4FE5ebA6tWDV+hP8jotQWfbi9XQWh9QUXhOSyUhXr
+ZggG/j70ED72wG18UfmvT5EQBTeOpBrrqMb1cbODIMjOCsVVb9DRCxf3nacyEUZ44N069JXA6uu
e5rCWYBf1DQPqqf2J4uPFwPrnTHajcTInAaCvVV4MDw4npXup+i6XOy0dB99OBoqQuN+3a6seX2b
G9TdAzQhH8x/kVO+nqVrtdtKIZ/719ZCva4umUdp/aCha2S3SlvtoWcoFufGK/5oJnMlJ6hcNx/4
FyiYtfeUpuFoNvCNPpNXz857lqr7dMXNH/DpKgjx0MbJc6RzJGQHOSkWPQYixAz/+u/QtlVCLsVS
j5OCPJeK/fh5wEPFKzqu4iPogg9NG7fy97iuAq35/fQwMrThKWhLCC8ksih2zRX6xB42qRa0xRwi
yP4VaziNP9kF4K7Vmw6HodUS9nR7CCRVxEyovF5gSKujqhzdpq+EvLYe5aTGFxLoC6COf899wM4T
7XCkO7dYWeNV03OKzDey1fNNp0G5fs6ubGnOcfDcPui8G92mfAZCBzAl8GjDJaZyzljD5anLolau
s2bQAdGfaO/hEwvRxmLZrvcZLVxfqejungabbunCL+j+FWpIB9NMXRrTliqKrXSIpfPHVEOT7WV3
x4V32KfTnjB7rb6B24VdK+75jR7S0kBS1bwSMQOZ2PQU8GhqlDpo8bCNjdqNj2x1qt/N/Sv+dOg/
IZ2l0HwA0FV6p8wmxdJQOqVTZMfq2bo5nVW966yo/b53JTJhQ2WmKMlz1yegoVf/jSeQ9Vh92JyO
9EakGOZ28MTheRYSKayfJ3dOYLj+x9dOE12PDjrusNLHdKUsmgVpx2UWpOABCUPSveP6Rqpq9uBn
rVQebboHaY/t0C928TXlh8W41x3dcV/uxwZKaBTKp+m4ANFAtNG+Nad5tTuy+2M+9xmqOlleyoXc
lohJAe6F2uJO/bjy271Jpe869ERep+3NRR2f8pBPhY1GI0WGbvswo+sBxia7ew9Ffb6BggA1LHNb
6U/3PsQlh/X0cvtyNb9/wm/otHXaDzDVoV/hND77D7ohISmM9fMC9StlfHy6R/Zc6H6GlRv+kxUd
ShTOaW/vfF50+2aWTz6vCM8auizgY91vIX82kNlPP9dbqF+IG+iG15A7R4t7+el4HXxuzoNnCbuR
uYl3qYfO/x2OBCjVHS6xLsV9wgj1Bf8Ichg1/+Y1yPngYxEDH0nk8wDyA7SgENrd31ojlku7xlzm
7OrqzH2+PQPlVqFVkoUgRP5KwBeqp7Rf02Q8f5BGQEvT/eq2Kh/zcn7WaX4+9+GvZ+HnyO6ls63o
edxTo/oY3I4/vIAjdJwG1/UM4ibCXDy97GmPVsxWRlv8yU/hcs0OxQa3INgCKUSC+jRgWTzkHphd
vkLY6xjB1HjUi0aNlDJQzmBWMHB0v0MepkaQPxW2n8OBCcDORkjVZ/eClACBTtW4J0YAwSIn86SP
m0XD4iIuZzfTwnO2bFIyKI1W+BPW9mB4cOuFWHG+/RVtBDAbwozH5PUSwZ3XoPVbQcJ/k+a8vDdV
5tab5vmzn99GkFfhbfR/idpMQJoulN/HhBugqftR5/NTPH5fbMUsvC3WQKSq0z4NQ2ZOJNBQz4HD
ulBG7QSfwU/w2LAI9z4EiiZmdUdgyD0qP7u3SnAEmxmX7BMrKfzOvyeTIK5mPHtnOvLEttgHZ6Hb
m96S5IMtFCExDQMjw+W2QC7lNvaoKRq/9H8QWdH2BnBJdycw04qwVV2eRI2uYIWGWYLACqVvKuC/
l6mSolVm0/J43HRA9mA7cVdgsJxS+4Ht54FWP4LmR8ROcSDh6NPnZL7YAGmZAif8gWr9XjyA2Npm
2jKPP5qLlgxkKbDP3IQ/eni79PUxkcuVimIGz79CfzsJTn602K6hULXJ/elDVE04WtBGP+bi8Xcv
rceeW0We89zqgWI9QC2FmX+YalTZCtKIAbTWdHcZiqUOQWa1uc+uuXMGQtaDLLeNHxwtC82pLr48
RRSFoRxf/Ko76h5+cfv6dFzqc/ifKyVX2MEe8IVvL5dM2AQvKkbRr9FG9LalCJU+XWTsPoajGX47
I5E4NaHOz+Jqh95Q81me3mGFd08bblh70aRBhf6itA9dnv6jMzwh5lKHtTbsQJw9+Q8ukWfz1C/g
wxIzlBMay5D0ILM4+xU4eOOozRSwUD+Jqr1+s3DIsg9T3tYgK9GmoP1p++hWsUMDqnUGHWw7zoOz
rz6dSyYMHHiaRho3NFKng1bfRwqZGAerdK4Wft7wE79wlT8itRKWH3QKrCq5HwDoLH3azjZ1y/2M
ew490AUh34c8XbkGz+6P7H7TFloA2oI5atBRxyZTNj+9t/dJHu1FTWpSD4/ZCHIdy+eTfje8psMu
wCCYOMwAiK8iW1edXWQxRFHoeJmyqnLWLyqvRsCKhGQKI9JvHPy5WBhYYV7Dd0TTVjpn8yGyzN36
GKqFq3Yh2t6iogp0TA71u/S2FvewvAxqZOGN4L6BOw/qThB3cA5oombOE3pR46sEHTS81eZ/PJ3Z
kqLatoafiAgEQbxVehVs0+bGsAVFpBWFp9/frBXn7Mqdy7IybRDmHOMffxM1niJPOiqhj/nT/d/5
V03q4zjqU4WJY5H1rWO+iFG75OO0N5USXL7STxhTUKirRj9kEPi/wkgOR8un2d5+mtcKrSLa7SZI
O4fXBF47KQg6Ru9jl6u8FJJ0tAfUDt9Z2gGQQ73W//L5R3UQw6XQmarPP9+cFu+FCPAXU4aPJ5/a
jOaWi715oDQ5t5HdW/PzGOPQrtaNz1YNIl3jW2CcuJ8TsfjXODc4FjkVlyaQPwelZs/pc2qBxA+H
njjehK6UwOo9FVwaq0mz7g1M+Y0uoQ9HhxxZt0kP8ZUNCtmfMRE1mWq+ahejxFZx5B7VMHOJ8iHA
9hyLFkjMisLUDlCZrTBn85CCXq2Of/DVP3QhjHDkH4KNOD10Nh/z4LOjHgfp/r5cil/abdbw1xV+
NqD1VJNOv968fpwYG5QzifELjjxP9xHbXy7YbdK3e3tNJp9OJHkRjgbETOHIcseZUMW+du6tWRKT
7pCwaivcOq6Gq8/LTEv7SUlzoUB571XZHBDVA/sWO6DcHj7Iijk0c0YYmCBsUW7tHiQ/BOQAdlRW
IFduJoACeOLpcYULB2h1P7blA+vx8NJN2+BzK5lzYqOMPhrR6XCc38to1kDKDY8VhFDEUdua1oQq
BMeEax9VESx9AjjLUB0yjs9NOucWJSkjzG2v8J/KJR1ORIItyzmKnoYYhB4Mtm9MiF7/MXvNKW8G
0VnX7S/3xxNO+77qQys+Ks5PCilIar0eZ7rNtYzHrnA16suHkiRvHScxmsm3dlfUzOLH5cEbRYKf
F/uyP47R5JbkMYNBS3Tw7dDsptVnWgRlBZ+M8vHU6FeRogeB/lIF1YkbdbnOpBV1BEicKEMoWAv5
0FJAMz5LNhQH6WDSdpTF2eSZHt4fH/0ltQwPtTzm+CdxOnSsighRJJ85i/o6gLtEz3J0oCNmq1Y+
y7p/l9PYkb4/p9audYPjcrGueAo+fApOBAL5GimetFMhVTLApdB5O79pYgAv0uQdA13f1ZVLSovC
J/t23q9D126HKLxe32KkQSMtEypqaoyYNfAY0ghnFMTQQFGT9GlEhzofw8fwNVCZD//yKtffDwmL
6UrOry/WURnX4m9+40Uc29wsVcjsiReJv1l9Fp30+bbb4o9ZXkCcjj+rs4evsMsydpN+2+q7Kcov
wdNQjBUtjKKfZSAgeFGFZ4lvbIgqY1SIkQDAL8am+FvjZ8d1x0iL3RwG2rVGBtearwGsWJqH8bcd
v24slsfzD8e09+TTjntw4mFp/inMr1/XNOiF9aUXfgJtoq/f9/LelCN9mpxYOKI3EY3xCo5+Rk8H
R8RTFsQLb/WldFUv2pRzV2MxwwffxA2drgvzld8Fy/ignTfoFq7ZLf3rvI8wZoCS9xWe/q8VTYMK
dxLCBiqtbXflIrtLEsP3o6fMe0vphOIOh5WZNEE3cMovBob8cHCrER9OBo/FGOlMaOF5XFNGgsAh
vrC/UazP5rUaLHuo4Yfh8fC7MCSjY83VUQ4AqNi5PsPOIdXM6ocbpVgm2Xa4+jvOjAcrRBidI/Qm
DCPtCggmFoE3BCrt3ljWofzdSVcF0f+Sn4Hry2r8YUMq6BJ7Z0Rs0hm3WqbU8KaWDSgVF3TNVg3V
QHROyJ6GjmZ4cIMTdm6sWFvT+HCRmGUkUnsy2dNll5YEnXkRrz4Bhj0RLj/j9oAAWQStfU+M1+U/
ETUyqMf6QQ1BABhX4nlkgNLKvVkrgh9Z5x40YJTZw8J8Dlm27W6lXVhd3/Nj59A8qzGCdQ7BqMSN
HU/tzFKiMQ7JkUOMmY4PE9Y6EjgG8g0ThLbr4foSnVRlHFNWME7bC309imYD2RQadd0f9hjhSNcI
GP1JaLBKEzTFeVIjQlUAzclEruxXQtcb77rtSGfhw+EBeACTRyb4AFlkwkrzX0I8takQzvUnHd6t
eam+kz6yoj9ljX9GwfS552QD7/FbJSje+uSf3rM8jFm4K/fb2h8Mkab5rNomGQ9i0m6qrfcakm89
jgtH/rArfOZluaoNO//MjQeUXJx5e1zg7FfpuelIaB0/v38GO/njiWnTLJ1p0mTIifE7fkY/XnaW
28UnzFLY7DpcjnHXUVRAcvvtv69J9Lyh05cUizdNWWIYaM90T69J4QDHkFogbLZqbKVj7/mrx2Fn
xELTH+GM9HIGtRVTEj84uF22Y/t6Dpbqa4rlXmMAZb7fC/z1FPzDvsuE9OZInaU9N+lPKqaXqSuK
g+gv0hZt6qOgZul+KQHYdBHvXszZmjGFCC4FKj5KupewrI0rFgZOtaukU8jjUoXCP/V1zDyEHGF8
vONoLGxBFHyCAL5d5IvsALDykaAzlf6niUch+am4DkSJUq9fe4Cbz4meAx8+t57Tv+bNmNqL3Ria
CM0HyPVwzA+xGBLP93lbNLcdQDoWPIzsAeP/Ae7qccT9T5Ej/hWPxq/zQ1TGdOSUCdxoT9KuWXOV
DcsZ5+sjspt0PGQ+T14420oh7lFkV/Td5IsjLoNtgS5fcRIKOvri2AQnT5Y8gPhvz80rk1Y4kwLw
W+AlZkxAqyy1y3pt3Pt/DTq23wQ+DspgzvU7+D01Da+XXZbH4Jf4YSyiqWx5t1yqSAwpLQmh4/0/
2T0xMvy3HdK/YczHEsah6aYFQlG2WshPmGzvdNA4/rGscaMyn40TvzY9JOS19fiqo/pFPSrNHvmk
L7sJNIGdcWclwJ76RfYuJX18FRpLyUKwwG4MqscBgZvAEKmctW8LqSOKeJRq/BTbN68Mpgu2ciAG
vHSUAW+c8Mi2ezs9dscHppt8zBxK9k0OsjqmeIdVBAaswnxARclYEl0oRgCpUB/DjCBf95u4QvCO
AoQNnhofT7TIIccERJU3yDtOwCYgRpG8FVsDoiOFGXWuX/Boq4eORJcijpdgO7BiP44rnXw03pAc
0AH0UBLpNg+Axk3T7lCRODvp8pPeTGgF7/BSeGW8FZY94Gy0a2z3NZfc5fum3A9ZdwfyfBifEIyh
z+gjdkPhBzSLFJVlHJs87OkKZJUQK8Aj4CbGllGKoDO55/QkH3iT40chg9yaoF5YGL9pnUxLyDUk
AVfukGwJNtlUAC0yCxXWuDUGVvlYhT9ZuJrHy8ZZB7IPw+PWfVupMIOztItqM61yweW8zMTfd4yL
BoyCiuwtaE94mTxNMD/uwY7KTs3Ne6yCMD1Nhs1msUUnwFDl5+KJykc1620pXZm8SjDp1dExwLkb
57nePJ5Wdxk5Gaw7Vm51miuiEJbv8GP+qmW+/wQqlJz0RBkPRvtc4WysgW/FcwKvZ3lI/457DKi9
Y3h8HtCACig56Fl5MtJKmJRThKKteo6H+3bS3AB2blGYrIxlP4in8br9g6RGZGV0wAthwnhlHGP1
Awok3iCTn9qt4P8iyvKwmKOHosLFDGkYPGYPJh1MMPHMGRthZ/0s+C3O0Hw7j7Ack3NlH11M/5wa
ncsiXgmbV8T4O6gItKg2LkVIs+i76HGY8EhBn5UVtcnkcasYKUln1RgNSO8GVGJ+wSV/6J9gn3FF
GH/5ql4hMAVEAwE6LoZkanz8ykV76tK/kmqAWZjDpeuKeZ4wuxKS66HNmAmq1MPHQ4yRlAbdsZ5k
zrmyqP+EqsjDQ2eRzYx5wVQSfGZHWy+FMGyIEQGr3LzIGM5Bc0MAZGIyd0/YgIk/nEREPvy21F7Z
psLikbmzU05bXwuTZRO+V88w22CYHpQTeX+8DrFc3n9A2+WRsO3Ltz3HCPthFyQzkWjwDkFq8qPJ
OQN9Avuy6WNx3B/npfuxX5OvnazVRd8UGn8GZzjvNGxAnCvt3xtkHM30jEILs7nO+2465uwzSI/8
u0FCAteK8FNyoqnmUyGJVrnayWHjR3PdHtCyj9gdbID0yWMhPJiLW7lCxWYP+CB7ix/T/j6WyliQ
QQyAw7n53qjEj+QFv6zsxSo++h7oktkYcGNVyNSorxSCgkUJkr0CcpG2n2V/w32iX8ZxPaTGYd9g
u2HrAWD4iYkuyS2Dde+K/ss/3roLxx59E2q+Sergr8sYnvhPSE2w4KNAx9z4hdsIG8C6Pf0wUMTW
AL+hbqLsmRL5PcZkgdNzHn49796jD0h6CZ20IKkOdyXkdB6RENmYKTG+D8bpe3oEyiy+IVKsL/Q2
E7wlguMfbgXuIKiwdqs273O1f9OmXpyKF7Z/3LzetqB+yk0VpzDzMX39qTN85qx0/rvLoTGlsgI8
Q9UHaK/cfgmSRWH6hyci8SIlp13pFJx0zId/6OJGHYG3zba/r/ZlOSouBihBZupcMExhQbVyNkLA
tbEuuHH416GpSHCfRpAHSQVfyfGBUSucmTMoEesMvAA4NgDeJpY7kIa4AGxGS1AaNawmMqvY/hh+
CMk9ey5WxHj7tptPkOPKB4NW5HsdHTpiLEWiIJ9zFTIYyhZExeDAdgGy4DrT6FdRx0A2o14Rw3aM
S98epSaUE+FkDgXAZsjDqyLJgEUS0wjo4iIjCMflcQpNBXgJxhKoZuLUhZUecFb5Wvy9wOKbQpVS
ipPyaFO76+sOc2yMkZ6MotVZcuuH6kKjhkEMT53MokicTDstuFQYZlAiUhSzPimgmld1UWLfTUHo
NbPcZYbdW8ri/sbStxGGYEwJ6Z5AKkXKAOcNjmB8T72fM/CVtXQCAIgSK+97euOh7nw0FvXtx+tv
sVd/43OBoBNxdDPP+l5EXIhMnNu40Dwp8n4sNoxFv3YKp1lz8tYpWHai8TcsBsts6CVENukTpMMl
6lPZS4zzgxfz5dpon4e82WQDjLa1nTVkrjAYEEfoUQsnklNElwzsse7w96tvGWCt9uhR6sD3NOy4
mpQ9q6uDxlhLFXO790klK5hLNDjiRfmZVYffWYWtIzm5lazlM0b6k45pp/X8y3ie4XgIlueBlQ06
swYxtn8LHQs5At7dPGhO8k43fz5j+ASbpQdX4ejJtHNUcrJqdESVk+E+AajtGp6K+6SN8Sjk/8LT
8R+JPH2lLXpWFjKTxYJcCtQltm0jXJ5ntRVZKoofjtlMReyL774l2lCDThvbdA+XQiKIvq0PIwUL
l0exiSLC5nzMSIqvK3Ox8jqP8DUiZnyYAsCoocVa4rdZtD4/R7HjcDFinH5LFikb+zCUQrypLXDQ
UQXtrdIB64jrg7kg6E0PNsB4JQBsoOBabLMZHUXmqrnPJuw97XLgl/jJ04ZhrfVmH6snlWbKeJFr
zreFlGDha0kmD41msSkMqyMCqRKGo6wXmLXgQfOJ/a+2BaU8fr1nNDWSoCWUBvdW2QT6ttXSYQQb
Qwb4jbWBD+W+456v9fxM+AX567J2MHJXcYGH0YfCBs43JjCsSSzUsAK4ByO+3KYhN1gv2sWXS+Vp
vwczRMYvyWw1sprUCfkcg/OAuDAeR8bAchobhyftkAE43vU3r/beLzf6KzCkv2Nv1xiHPF0nDPba
hfyav44Lowm/yq5VdmwGUUTH0C1StNry4DvSf+NqaMko0o5T7RUabBw4YuEm+ZvhRH58BR+VKSaa
CmhuqvUsTJ1VBtedgcNWkesed+KDjuMCP8DcBQO3Jx5HiJmjMR1yfFEr86G40ZNouwVNVoozAsYo
h/wFmo6lWx1+i2XzXn/EdJStqKY5ymmog54yP/YOhiZcupt1YmAJcjz0Z72dhp/e/fOHmTFuNqpd
svaMI3nEehkki4au/0H6R/+u31O/DB8+9YIvUkHS2cfBAd2PATfoZbFES50SVV7pdgHxA1bjRl42
ZV2Xvdekcx6Q7hBojxQ7nvTxLCQWYtb3pj2LGaHFINGBCzbDfMKNLH0/hI/GOkXyDdwt1KaTxyba
fO3aSqbSAWzBPM4Z7g6BNA1cqi44UhpM04di0KujyTDg+XARCef4frSlm62z3fc4/R6w4eTYvbD7
22vkIdU23a2CdAsk8K+HzPGzygt4V53Q5e0otegxh3YPd9PIf4fqtiiguYz4vJT6ajx2/fdWIYej
DGQW4we+kHW9AP1mGCM1O1Wk271tpec2fMq6JdXk/Thf1cnwqYeBiPqLpmUNwT0f2d8gmdCjVUGx
JK4J2/Q0SJbCHx7m/pqJ6TRZpn/Sha4nR+mBzmAOLfoRvD2sGeZUE+Vc2/F5Q5Wg981XLWjsppo9
fMNLEwFMPVdEUrkDlDIovDpGp2J3ekLp+7k8ILTxChOw1Bosh8uKUUhnUwg+TgYkNDTaSBIQRfx9
mXh0u3j6mpJW+tuRNyQchpprvue8pYEX7R/Gh9QtxEbiEcTiSfUc9JyYPTMW2uZzutGWKS6XmKjt
sxtswHgFUsknhimM+97LoLpXIdqokGn/E32xi2KFFkSTbKnQTt4T3jLIKhguUg1YtBwimPIdOz/s
/1mLs2IER+BHdMHNGAXvEVSwG9sa0h+QO3Zf8ya0dBAsLWZgHAlgc+H9KsifKP1ulwvLoU1HxbGJ
HH4Zzi4OlbAOcLV+ej82dxB3khypOXlhmi1sRR8W+RwUiUKHh682t3pEtu1Pm5Ml9FRzB30fKl9o
aNCB19V4/Rtt0X5vp1NrP4VP6jhDCwcci+1HlKKCJjZJ/MRX+a66zM98hGcJyiGVakOIiIU4G9fg
f2Q6DMBHZxZC3jWerWPxf1EkiyMQ22tYakTKaJhyC5KsYEly6MDOBxgR4y5GV0PaCOLTjD+sl3A1
hc93OhPsTWRVCyHghXqGFO5nCbYqEKMNEiukcvy94d6fhd/wiI0UnSpT0Z16/wKLsMDcP7vBYbjB
p2fyA/t8b9/bilgepmP/BqsyLKovKOdIdAfAlML+UUxC2cjYvIiqID+jx0z43/aRshUIQRUgVuGw
l1DUstRD3IEIwrLfz8bYdE64xSIgweWDDwkhNhs/QSRhRHI/t4l4I/qLRgwfC2o4fAwB9fCOJnEF
Jn9PTFreqpj28gP1qg6xFV/IM2hBAetwM+9v+ptjYvY3zwtgaLlv8QqFKeRhpwmSe4xs+B/8+QRf
TMXx32Xmok2bsAm1qXQEfO3WZFj8dLLIRt/U5Vdwx4Q29N9Xo00/JRUZSq/WjHfMUfnTW4NbAefS
SQMbHsWNXgNYxXjS5zvSsIfi1UdPJgcBP7bhGIcEvnM7es7Ko2dkjgTRE+UBJzft5L/vfQMfGkvu
L/hOW5JkFkySDnFP6vIzHV4a8YTvuHPS0vSBiTD8IiuBtMjU5vsnspGekQ/EP9HK/PfFKqCmttYR
/gFmJ2kWeJWsi8WIcXEPJgkNtGHyna8nrFhmNUX40u/Nazoo9pBM+RLxQ7g2QLviMRg1i2cW3wG0
2L9YIvkObaZmfg2khqc1qVDlOMHQJLJ/LGiVDcsD8w2YrxooEpsbflwP5szCKo1fUQHT2wksERiS
ApT+TDUDmEJ8KS/XUBwpRscFWMZ/+UKchs1RBz7wf18vwBqzV86MFHie7njVsIZoFiSW//96V0gm
cRQsoVbQFgLEgQ+xKvMdtiVAz39fIF7cYDZO33h8+eBi4jZvVMJIqZRCwWbB2gvwHOMeKBTgyv+M
89ixuSHwxsvw8t//2TL4Yp/i8Xmif36ey3LNpCkg8YBSD+PR04dGT6jnHpnzbhwwtA45GTFWrCZC
NMPm+E86A/lfrKMxbYxYTb9/wsutRecnBAYaPdSAW4krfuK/P6nVexjep//zYhyPWspOMUVv6MSI
DEFoX+GuoYYq2bUEsY9xUUB9fvrd9KUyodCCE4K5LMdbGQGUAWf8kba5xOB1Wu6eIe1HFRCXqopo
BrxKjn2zZ4A20HRThwp9h0CiJCjmyIt/VBWw7gPZlm0gGdtHN+P79fiE3vhy03HKZo3wBJf3HzKC
EzmKb74Ly3mwC3WrbiEgUSXNkT0dGEGoM5b+SzNy2CnYvZA1L4pZ4msTyIwsyaorkR9GQx3iAggt
XfR+QgWjO4pPwDI9IBvLw2c95/eFqlswvsWfGmfgOiTljf0LGiDUcdyUGWsrHF8BqTCNBL9lpiT0
e69r7X3wlyd6ZydfkH4725uQSwt6sdAUg1XxPaG3TCwMh/2K8UdH2B1T8vEBV1QEp1xN/z4vIQqV
KCY4W9yzMPU7i//hRvVP4auChwwW+EW/x6UsmHPYPwPhvELvFb7DPCzD4aQMYQb4gq+Mh6LaTZgz
EIDE+soFSTmUyzhJkqvB1q8Cl2nTOixE31wsMLVksQa9Um74Ev9ijFdG3HhCl3vunpfnjg83tZQN
FYsOhx9bF8Ckl9WLxe3vgbb70L/FF+UmneWbimeyfMs2eG9ueltSoPjkoOh9KHWGHYbn6SE7aFua
i0MOVTJbfGcZJEoNL+pXmGGYr9pqtutrq1pziZ1g8YfWxmipQ3iZzd71mGaDckTphfBNYSh/YfSg
HSgtWDTwXZOBaDm0aN7VBBCaj7cPz4TSh6MaL1hlGL0JzyZ8Cx9mBQkhXjQfrHjMuNuCHBMl+auc
twZoM/yHIZCwmFp83m1z7kDAnkMvg9uHHkxxgPd7H2egjuM9L7KFH935dDVUn+g5cRZyCORaQmsE
YzGILP4D8MKNcib7IpRUnUAfYh+n1u6L9qw4TotomzxWXe9igNniVnyC9FscNNcw5m0UHvneLSrO
8WwVdRtI58lwF2n7ofZ37O/56jOS1ONd2eyeyvxQzulmOPUQq3xO8A2fz1MpbdTXRk63v27FEh7j
8vgw61qoc3E3Rk4V4zXDiihJpyEQWg/OHA3JgCYM0mU6/vzEYME4Bgwfyj4GU1B/lgxGEt3GhCgr
bizn2OxhCwu3i1kAMDv36/esC2MpVOIZpDoGBUcSlJYwyRkeZAUmdxbeY4l4EmrYWY7nmhAc1YA8
wioD4bzvb0TVMimnA3hfiNYGqJ/wbQjPQt++Dnc4+riL72hyFVgT3vNYfwi1Ow3JCCtKoX2eiZ9d
7wP+d8IWI3AwWfgnRkGrxk8uf6OlcDB5IE4Q/3Uu+DYgqd9O546QJXiMmejPBDLcy33yzkhy6yu2
ErvPaqskk2YwY8HLyLb7zZQySGCdV3SF43fpNJVDq/htDkbn4wMOHaMuXPbxjtkZNQUEnLL2Huqs
jB0yUgZL9tovDb4UHGELYMN4l3Zy4mGuRzcCHwdD4IzLEr5wXDM0cdjJ+Whpnzooi6kHmsxW3EKv
prNxIAqwC0Jp0iqPLFVOqghtIUagDER4tMr5wSurnBb2DBps7DYhK/Iy2H7wNG0crZ3w2uD5QOSh
KWofszZz2nzC/YnLnigmUz9Txp8vZuKfDoLBbyJT2hLVCpBOKWPj5U01Y8jhUBMOz4gKqR3vjA8V
dk1RSTxM+uXnnnNIjOyQT5G6+Vzq2Lgrn1HUngbs6uRJVRCOnPidizPt0fPy45lX9ZVWBc0Vp6AK
iwSvY3glaGGSIpBwjJUPb0oWggjRnncWNUAFgaiFyGfkQfU5d1LIyc5OLav7fhc+2YFV/ysfeJ4j
Z7DsdagAICABwLWrx2eKe9ix+OOT6FOZ8E9MXBkjYcY8vDB54iy+UNzhWa5JM5mmcbBToUkzjeLV
Z/+EENr1cUItwnAIqzzqhxzGNxTSNJ7VTJT+DcYAzXg/zPcZ0z0ZA/HRsmSpft5uob5mXD4vRtWI
nyDnerwgWfbe5ZqyI4NCE5/gq2hQWnFYpLTB44zBTdOuYDXx5o3E7wP3Rsv+nalhdY/XjLjomVmQ
cJRMmGtJ8/6dGRazLVQI2Fv+1L8j6qY8kBWcynhD/Xb0K00Cob48u7ZTd+id19AHYSSchPHfnZef
ngZYPF9a5OW9SxKkJ2ilpSJUfSg2YLWL1YgcH0qZn+BdSW5tKhiDpzd6IxQ5MyIf6KwIw1z8GyMs
aBiAgYCNtAeWnPZTmsSY1X4IwaZ6dYDUsKGLtQ22c3kZvtONuKjkntuXyaKE6tl/uYnqqEN30GBu
6RJcUaCfj87122BYKJw0qddgHX18pDKwfPXKbhpWRUQSLob7ZRS8kGxlxRwSFHBBLQdQmwX9qOlP
WQVlxflC2hlMmO5pEWxPyYeeVB43ardNlvXQgyYkFkusXpF5fU/GcfV+nDieiYFNhuLDAS6qCz+h
1j6OaQrJbu4z2VBPMypmbE+4FhI9algyY9htG83ig3oK+zTrrVlQGxH0/Nrt77HUaOkb9S9hCIsn
7RRxNtUYVSlXGRQmNCetz6fWiNMr9kAzMOyWdjQKyAqQoJk8M/RwRruCwYFAxVP+G5hx/d+k+ZCG
cVa5xbZaHS09kKgXhewWFo+EjmkvXaVruySkOoT7AdTtDa7KUg8G889ES+xBGF9f+2I5JBUiW36W
zysFaLNDEu4Ya3n1uchXNchX3w2o50yUDfgqk9jy847YSjAjlSxoAq0V7+M94WMgGQ8iThIrovSh
zGR9RGS4/51pHUNoClGLAIH683uj+QR3ggYHV5MG7LPUmjEokgZwQim7y5ZgMe89PWFCFyUy+yAr
4E2Hs2sJidKk3WKVQrwFcaGecomxOrLdYUhBFZ9ClsVGnIsTciwUHowkjnfaIcqCfG0ceIPJsixn
YuYN+IL0npk269PHwE5ex6Q8m7x2qQnJ0m0dVBa98WPFVGrMh4c3ruGjmPabUIQ90vep5oXJqZ36
WMzhcQ9vRch2nHhKmYqKu0PY0YSovAI+NDJiBwRlEEzFkjnR77Ud/XGgLZZdQqni3WNTM3z+d/hu
x0V2SCEgTL6kVwmMGa6BqS6/DrxelKetzT5vDrbDA3bWnrxReBX0re5Iv76JCg36V3n/2DD16Ocj
ZQ6GV92l4eiL3QREBWZl/YLQzVCcS5RbDJ0gQ6JeiM40nLhbP6+YfUi+oHwyMlfm7BGCR9FZCqaL
rPjDM2x/eCKIEaAIGFhIf8hnExQnL+9WcBY492ELclWygKNEYQhPr6bt2n+EAvnOM1JmcC8vBsYG
JIM2njUVpGrxUbAKQb2H2NWzk88Uh9ToMaNMIRYYywbBw9ffDqszDGmeiReg4IxYjGEZcETZT9qJ
JrwakUIUlf3F0QEiILI7GHpkV3aWfFwJFRtPDjtBWBEfCSuyYJAmsJg4vWCSKA5EVuhh2OunJ2Rw
XKu8YsbH8AMktKSEgeFHARmA4ahgilGPQfYjOGDg4qHIbUgEZOC1Oq+EV8SvF3/JCekXnWK95L3B
K9VbiHfq7nunAyV/YuA+KjshUisLP5KVStBnTuIRebbYornrLhmd7JAEBTP7UxiN4ynJ4ZMsZGUv
w1NG8kheSp6+JDjRG4Spqc6Hl6+rO41dOhVq3cKNAtJSaG2gvpiZPsmn2FO/QQTAnSJb8wTpXfeh
mlktSJ56yadfN3Zfm5bmB4shHDBeMzQKM3mhB0//M822IFMTYHQno1FFYeBo0BGOsx5n/xegT3eg
a5rdvB8UZ9U3AtUb+k/8nWCUu9WEwa+b2RAnZsSNE//7sN9WNUmQcFlnwBpbt4rJbx6dcsdYkoe2
Is7ZSf90Cx3nuJlpXrYVUGJvRVLjBHNyM/axlwygYxCBqLpPTwpzovje092LsCB2rgUr7WyE0pe4
LeAyMKt1pI/+wF+hh2N5Al90914PLhFmcYrT22Wn5KTjZf1ec4qoXOVskegCgVAtpmlkbePSQV9p
s/6xnPA7WF9alEE9tz5/diUru1N34xImZ0tGoHUE+cYzk6LQHfj1PZrGwYedfS2Hiqn5GtX0H7Mw
i0S00ZeL3k2nWIigV6ceBfrN2zF5XdMGS80LXLXXlVwGhz4egXSK1/vP7c8JU2LONOnXZk/EdaW7
bsHsgCk5GpOnxTouADkMVQG7nPKMZJwWyzPMaN0/R9h/r9JrHsQ4Et+abXXTF12o7ZQfovVHFerT
aKoGMAUbFCPbeNuDJ7GXliVpUWdwZnmGSAI+K9srMCCWH0DYEyJv2NIpGX843xRzxFEJRtakjGv2
WzHlOzoXLKPdOjG1vQjyHtJUjx4MdskJu8TQBQ66O/A+Vmlnk2zbbeCwxWTnjQv4L6zHv/dY7jt9
1WtwrhAj1/F7dhyaxgx+bDoZmJFtTKBmHLDFrRfp/TczwAXwKjF5blfHN+cN6SP3d2Qk4Em2UcN4
xkzRHXo5413Otf5MPzyBT7hjegSAiex4zZruCYV5Y1PqWANCBERAo/g7Dz6nbLloK55zDijqAE7+
Rae3R335dHCY9fuLegqhE+AZMiD2vIA7JNtgrVKuH7chkUl0EokDMLf4Z3cFNmPr3zFW0LgoDJfM
pHvLaPM6w3Py213BlhrWfz0m0hD3Zsf1a8lM1SKxy3tvS6uyC9wAoplSm+S12PhwlVZ/3g91c2C9
J30z/5NmMNXWxIPYsVsH2ZrRT7Kg/a99TYeDABxs4CjAHYw5SA1s3Hyb0wurwRsSkbEHvRszO47B
hwHTg+MVgOdr51t5Tmj2Vr5owWApVN8fu7LFUyab55bXBbFrUkLj4flGjw0EVn2uBrwBMKXXhDmU
2fd+S8LbAPBZ4nFmoIpgzEIlSXNpS2NmvbCGn4yHTLBtZIrZQWHYL2Cm6rb+3BhFkjx4xrvaoB5l
cDVpIGWdasFy+kLavNHF0zMz2iedwoFnPlcgcfXId2Hmgu6SPrha4tGzwA8/+lpIeZmIJWaCApG5
VjMmW/mlexmH+sgsLKTsoRSpgC+wlQKXpuhE1AhFpRSAL5zEVy/opgnNnBxijMyo8ANI/TfcYX/U
giELXJKwX/jwyBPg0b1Ntls2QKxaGwFVQkylYO92MJVr1l6/PsS+ZEuoQlYRVaL/sMkOWLECod4w
u12JmdAM/6oAVyN6alpVhlRvF/ryGjDRYYU9q1OcBVzVPf79mIYpjAqjDamTFqxGUZCk9uOU79Q3
ABqEbkeddlOqBHDKk/IXr6MlJ/MgpNSe9nrURk+n8o8bYkYWtNw2KXgMOo7z9FbjPptk4/6cGe6A
qckE8dF7qwXqgJNbOrS1OYQgGbzOUMAfY+lerYxJ6+l2hgEHyrdr34NHQcEIyeW3RRrMh5GHgzPB
Iwwu4HuA2kDI+a3glECpFaIOMDCSG+HGy5jvowH9D+VGI1XxsvWDopuMrlGdfJ04AMoRxhsTEXfX
Y1gXBcfZb0d2zh1KIDv+A53o9L37Yio9zmdQ9L+uMa780pYIZrhK03iTOyD45nD+UthYS4eFCIq/
duZJf7aGzQR1L8EwWI94DGktANmUiDLDayZD6zgdWM0EzHSe3Y77wnzM6i10lXSjzOuwc6mIn6G+
Z5LzOzPCeZm9aXMl+tVLQO43WlC6ukcA5Kwg/E74omKCbkJNWaizz2XAJdYL9Cl+H9AgsPkjh4Kr
jxHF/HsZWOWENYOrJ5o9HGP6Zf+/VTfAvht2e5zlXEGDrQAnZchr9Cd2GdbzxH2tKSROz0VtVyTK
QA2wdOLUcTy3zzq2ZxS74K4ifwVYFzcPMTdjCOpBU5oMlviyuT+WAYnkNqoO/DuQ7kD6EYgtvHjT
4L0wLPMZXf4gJuKXXpuyNPL0eUJa23tOR/aPbxzvUS9zdJH7Ctbx+8pkwWYmQtFFtcYFdGeGwjxj
YNdzRp58fldpZyNgonPGkuser5/YbHpwHp5cBq1fzjKTvDWmZ1ZykFwogkD1Ytr6W4OHXXGe/M4b
pppY8fvDg3SLZh2WgV9G5Io1cJtVc+1NmQEgZrp/TgzzhTiegQmcW7xFGPeIWGzqUFbEExcz1R87
IEgbjGJY8qAnxJZhfo3KEvjy33Hhgie9hsL+tX/Oi9MD5jCbKlOmEydP4fYDqEw7UvsIz4s4ysLx
AuSRR9X/8HFlv7IVKAeAtkuaoPuTnpEjcx1Q4hOWS4tZEliF4V4MQKE4NMKUn/27aHhIjuZv5FCY
/IbIdECyBXnTENksMGWBPKi4UfdyJ7xg0qYoYKk8/41NKMdBIfhVKnJ4yTwsaRmUp7gfoCIoCMOB
LAtUS2HEu2Y6n4uOAyHDcEcvBqWQQp6+FweOPkQdCOHCXU0B9G5sRllh38E1rKXREk50jQr7q+Gw
lebuNy2WDNdHxbKY9fnQDLPANKbPuZeNGU842hKy6IacWjaVN2ccG4L1MucxylvsysRkjUEFSwD8
khzT8wlkQgRzqLZhijdS+KxdThuE1Q0IncnL5RTjfCtxMSE5YugwT6MJZWWmFecT+OiCBMe5xhyL
Rgc3fHoEO38uadkBhAgj4d4cZhInPRRtBo+gcX/6Hbt6Wh4xkItJ/3bovDgxqI5YgxAff+40Iyz9
H5Z7A8D0nLn/o+m+lhNbkiiAfhERePOK904YiRcCJDXee75+VunGxEx36woZOJyqyty5zZt+J9Xd
/Yv3Et+ZT4zlY1gG71p6tGqY3647kfZqYo9t4J8vB/sOviNTnk0T6FzNTRKT4zjTvh9MIVCGLiQn
mcby89YHWURblPRTlDIaerEFRRMVRPmCJaULP/5k63ZUyAN0EJ6eyFU0jEApdDTRO8wkMvSUwdTG
+x9QCp4g4aKwDaSB1Rsdqfqkpxs5Bmp5EI155aHP9FVY5HanLM+QPG498VOI78J8tjO/wxX2N3PE
P7I7GTnevOuTkgSy5AQpzbBgsLc2kvxrHhca91VYZYCUMHW8FVz9gJVhZnh+RDT9RZ/oMFxxEzTp
Q0aPwAJcA5c+LA0AYu4t6VZuTCCyeySgYruwGuSY3QACGkvOPZrWc1gNh9OPL8CS14dasQAgwsbr
svioy6D4Wzj+1pSSCuj+2Au587+NKE4j/HorSLxbNOA9iOZKYUvST/BUWf3FvMYEk5cQKHTkhmLm
yupF36JnBBvlvqUZCa83F/6nEZEE56cGjbDGx4/XY8yz5WNr28r2D/NYjf9BKz1M1HANj6LbcAO8
Gcfwd2pwmmfbh8ayleuuD+VkK9l69XOD6UTO3TzZp9dqUNTmFkqLXMf74W0NEZCRzu5fehiOzXgL
mHRhe2aQUlzMMohA+BIgna9pU7LId3xw4sbxEf9ezp49ZVt28KwLO2nFFPq1V/e8FiAhQRRTAYv2
PTfQcldSxiRslFJD07/XTqz5GLHytyJ/3CbLr+S/VXttQvPx0kZ2rp8XL1pWV2J8GC5mz27ix4MR
M/8A92R7++a1Kx20r/LINt/zXTXTutbj18LyX7Z5HaNKnFAq+H/II/xVRLzPX0xDR4+Rm9W2uf2x
VsGNqZKbAZZgJS+/3GJuoFusBfTzRhE7RFCqJFfhimB0UDDC7ZjL9jPdQ8MqTvanveRIylGLIybI
8TB5z2PjYLnzER1ef6AubgzTGIFK7hd3pRvbZ9wj/+0GoN/3eoiYyZrF7wMMep+vr/JKmhfHeUG3
IwCHRECPxzk050I+HrQA5+jFNsIkeRA3pWqnvnbj99f521zrX/JYiHVSXZ3OWRKAZm2W6eaqt7qn
MZ0cBykRaNsfJahyz60V+9y3Is3kJN5atNe/j950IUX+UecwkEOeOvXx4XKfqSruWifV38+385DT
nUVm3tTvjWTn9Jn+2DVRlYanz311RUKdF8aslWy8OvHOPpVfweabaTeSJn1fvMmBz9hqAp0lwlUk
C+6WcBVRUqCyTKgBLtkSzoqbRVg6SrS9z6GVXx0RNvPp8DZOGaQ56mjlfT4JUTeS4sTgrlIzKFsx
ZO6VuDMQ4PMmzQ1MhVUuyFiyPWO5nhSwZloC4r62tEzhGWme3OfysrIYY2rhCEXb8f4Vto7Z1d7P
s00J3xqbQ5POpbXVZMXL/p0vx9SRRyR9Aw3UU5TiqAiXvojkTapI+3eNBOY4gswxUkR5w7HUt+hS
4HDLPIAU/RAbTMIzuUE9OTr+rMP/vtBgfryE8xfWiKdPxf1whnYdoUbuNuQRj6RyehS3bLzABFY+
beIPiHWZcMi6swPz41I8dk89xZTsUAx5LBA8pm8th93Kee92Ow48EHj1FB4OvMCMYMWEPP+X90aL
k/i0+bjB4dW2V+3TYhYCIWWm25Ns58bKCUk7MRqJB7nEHJHIEBsHkybD7Z/+TQ6DvlJRNLP17/r6
D2TMW//eNRWnLm1IE6z+eXExUPZipvUYZ5UvJwWMBRicsibhudsg77o3FRFIOMcfCjaHrF1e7ukM
YmfLv7V31Utv13NSir/VeUgzWRW9/34IkkRy5MgAFjPVMiZQEzjAnHHuCUOhSuR7zxjKNncu3/ns
1Jfgm618iK3OLb8t/ct9PAiJmpHy2SeVdbVgOwqkORai7Xtl28KFNCmtSm77NDQsxCETWYIRbcJn
urENYiDoAYShd/tnc9ZWwK2+XZdtOTA/YrK/sdYq1yrmdJN9XUF0UNPHpVR7Jz0d/b0OpAe23V5k
JqfStkZuxJ0DE2X2nw2leUpL+6Pwdcr34kRHe9QTkDMEwvQY58Fe51F7mvDXBSLIq/4sR0f3RpDt
V6fFb3HSlfmh8A1vskan1TtqS6DFhSYETFta/GKk5plSbcduj/pxPq2mC4t6vOZ5VhO9RT1Zu2lC
Xs1zOzPMTEKq+KlInVv/zlS+Qoty+Pa+I5DE5ABhgqCPF5JbMqJD71649SAXRXv67/c8Xt+V2L5n
qKYFtiZ0Gg7rCoYir0Yf1y6tJ6Q3v2jOl2Ub5HBajVVe7Mu5zOgtQwbFM7/CJH95FIDQvBRT/XdT
YwaIWVXpIJFbIL4Nyq3AAOzkWGbIbBodq+9xqr4oadLLkcoTbzdTSlVOzUfxXqIggMR2r6Vc/Tl7
tqij8gTEyc9tFZlPXvy2EZllzoXXF0EAzQDLFJsaIfiCAZ64MSYHk8QYb4Zs4SF+L8u3qJBz/8j0
zrS4PvEKiJxK52iRmR1Hv1QVbe6ut78T8Zduz9LL/X4Lx+UxkV9xaGS5qurkrHzBwiKTMogntZ/m
k5G/EjQs2FvIczwOTNTSI+wKxnUjpY12xep21x+7OYTGMDY/U6XX0+QXk/tHZG5jvfUelcSxmPw9
9WRwHj/QA1EqbK9ObMISnGpbsOE2PSoaoJxAjoyBqBb4Sc51tueXQA1S6SIhTP+Z5JCJmjZ4Yc0L
WFVqZR3u3DiM8Ozqz2/oRGkFQ1sj/dxKkSq3ce5/G7OXfS0zRpxyX8eaePSaRRZpVV1KtHjquxr2
++ToP1BD47i4BgWpOYYSgkMT/py9wudvyGr/VJG5b3HLOQE3cKAvTAts7Ws5Ul2ME7VMLQTeHov1
Y+tVz2jwl6Vt5VE/Nt9fqY4nrlh9hfh0aEmufSlkfzelS1+uFtwMNzMB62JiVDiWtjwW1/8wYHtX
QJcQv4LxYkXVQ+lCEVICZP2ahN1pzLzJes31N4cKx5dAdoBSY8f4LhvclGxQm2ghZc6ofFZdInLq
pmf8tdmWg6DXtdjsUJSR2Ij3NuVIeV+ISEthNg4dn1Ko9FQpW0hGuve0S5xKP9OK6catgI5o/H9t
XiBtX6eR2gFrup3L32vXAel/NdaImfEcy88G08f5orVo3IYse0gi7g0lfOGGbp6WxZhff3xdyp5e
RTd/5VhWjhPgnGRVlzGAKkTeOGdmMQb9uXxkmOxitnevDb5sw2xxU6OPOo9BH/RtBPmTzPj6ExsE
HjRr2d7ZgLXjqBNtV3VVvM8p/X800HDCifjjfF8IoNQEYCmQHNuJZ2zSP83oTiOC/FV70V7NBIzk
Xyymk+1IQ0UtvO4rVhZlMz9jBO1rNz5+rVOJ0LuxrgH2OSB9rvqbmWQ4QWWpMgp4LQPQSdvZ2J6z
RLUzlAJaqxBJNOMK20h/R5JyzlPJ51mE1I4Cck+tTOFUmZavVUHz7VvRDBtvjkABY3gxyZR2dF8K
IZR0bpTlZ33XPDSnH+fxpbidpWgOqfYKl8G7CgStzBaF2ZrEqxmpPD7am+51FoPfFdKf59F+lGN1
UVj/eyyK28bt6+lUYsAQw0bnfsG077Ap1VjGBZHUc1UO0aGn38OvcoRnQmJaPIKm9mqxrNi5/GVT
jOA34jdh3p5KyhMyAAWXPYj5YPV9rHIvoIqYohRXmdgcEsbD620Y2QZujQNnlKLm4LLHRcJ2pbEK
7Ec1Cf6SRRlObiRcnNVL8bwqbrjAWaZmptbJuQA/tUNEV9z/4/QS7OYuqLvaczLOEBAAP41E6ol3
gIIgrj69/VHeFFG9+Jg7D/mt/XnFYKMcYLGvhj1xf+kBZCxc/xfQeWS3WDDt1LcCYJe5GoE2Tsc1
0joZRpnSfYEHVFnbbdOEUElsRmynvO2KJod3sIk9BWrY+knW/er46DbTtOrZNrN9kyNjtPdiR6ZP
8zsfki2LBARKvQu6c6ituIraiqXE5f78EKfCdfUPdrVdiIZ875km3IOzmR55kS5n/yXKfOJADGen
zkH7R6qcDUNP/AHjTchF1nj21rTpR24V32e7gOvYHy7t67bJaIcHDxpZdPH51wOXp9r/HJJdEcv3
TSqtgdaB98/d5CwwSZ0FxpraVGuSZgKw4WXcgsh6l6gjmb0WPQ5wSMIIaOrHdKRr3G5/hxmpJLXR
V9UIBMxrNAr17T4rGtPiVHGZvKvN7GCum23Z73uyj4jC/6bTdsq9c0kMDrkUHKB/uNoOk6x0rwWc
igV+D5KtvQfeiiqQHCk4Izu+3pGZENjFqZs+XIvTW5//iv1QSuUy1V8nCtdtGNf6tS78jjc4Uxcg
/yTH/sLRXEtuv6fLKqrGCkqIW8TZaHnqPMwIbqkwYfa6DvGW3wlIu6e9yDXAWwdJUT89/mzaCXMF
xbNYPz3/8dXQL+6AA9g+gU+EEbS3bWfMGtyzx8X8nMCKjJNwKfXPLcBH5FL1zkuAXScQ6qWabMcS
YZW1rnXIMYw/xAjfKqlTK0v5fbM17fgFYuIbOVcyp1pODYRlWNjSP3X24cXV4uNVh3w7zSui/OgZ
ltn5v565KtMK5nd0rsMwkai8mwwmptTrxx81uAbThFzRqoDMgchDUnfvPS2mYqVjdWOQlMpfziIO
DeOKj2Kkh92Sj3/Ef7ZSasD5RAXPgiEMwelpWzqna5nbR2wQATJbzodDJfTTfArQtzggS65vvdbV
BNUWT2Osa5X0/fsiB1IZVsONT8S+WzJcCIRTl0rLCQriFyqJ+YSBgLh1roFOOPnFZ8cyTULULHFV
5vta2vwe6UfmG1Yo1RwlZa6czDYvLQKGMx9UrBE9kY5B80F8mKshBLCryEarvHtNZjgGwXiATDIo
9SbBKMns5106R2Z4ZS981du7k2Rsc84Ns5IEeKkhAjxC9iK+JNQppAOPtO3H5C8YFYB2TJReIF3G
oKdSRLbzs5gDOw3chER4/PPexQ1PDbyp36jkGraCsXz2MonS8hA5CnvA/6JcaN8mFH1v2SvpV0CM
5DawW7L6oFY2MZvgwzBopPh5tc6RwpV4pn+vqjVM+QLdwdvJpY7LF3n1uaSTYtKAVYNkzXoqUlxp
WoY4W8cPRmyCj9HGbozLVHPi0fNSaSDq8eKuKhyccgJhqmIrAPNJ8XStbJHxmTbab7/+ENEdDAQY
ynxnZ6krW2ZGq4lgw2WL8oK4dtic7LcWS8AzPjvxXuyDnc0HX9BT9TR7tF+TzaO05Kw4jD8IWMpx
NB7FQpJU7sKCsLWfW7r7Mfl1Lat+JpED58PaK/FxvLoHfy2ZuZURE3oHO+2qsrwUFsOz+fGts84N
OKUimO227eRz8M5MYnEcuAIHWD2W8SeFtR789tDLE6ZG94XdMDFPPguvZV2nkytvyAQv1CCl1bJ2
2bZ39fuj/IzypuistAyLCR+vO1016ZqbF1d1G/vgH0gutKtuU02kyjQGKB57bo4ifZnkGrf2zfsn
coNtPybDvkBV97oE+KV02afzBwY+ouk3fVTUtbW0zX47KcKo61Z93JsK2mP3sJTrwlytuoVoYdRg
yMz9SW/5pSOovMeK7/20EuUk4JWz5twkB9GR8lN+euDTTZ/DAIjTTmJyauTjdahb+vjPFn3HW1/d
nINOdJ7mydvclp6xT522VSODZdatW+TgtnNG2cpsks5QgOHyZ5HsbULKyxL6tX81MD4971hyZDvn
tGWL37/G500Ts5hxkrV8zNbOqW82U/FecpLj+r8rX3ulhCmXwe3YMA4hpPOO5PefAE/nbJwPclvr
cZuw8Y2DeqrCJCdJwZXF1Eem+/a8/07KEcTDso+No78ib5kZBph4pcRMNdc/sDblrh5/r+sc7n+v
qEb55e9TFx4pZ66VLelFfjH6w0cggRwELHRmG3h8TmZO4sAaDpLrhvYRAX/TvT9HQBxYvxlXuqyK
d8zMRThohm4ziyI1tlW+vha9+bROtCgvNdr2I2la0EzG0y976WkaDC1RNJhmPlovALD9jXTLTFT9
jF2sLsodi9cPFFY+l9FD0y7yYJC8rHN2Si2a/ISnj9bpWbuqmC+ja7m3y1ezw6OMTzkwkfGjhbIZ
S1WWHRjsaUioNlxqwYnWPu7Gxaly7HMOWo+ObiM9xqNvmk7plWOlvKjt6suwHFkbb9yL7jbyZ9N1
3bXe9trD0abfWJQ5E2Uj7duV1unnSMiQPhQP2oxjw8V3aS7Jnk3QnXesMYJt6UdPIQY90XPOqkPc
KG5A6sxt0/YWHe34kKAhOfIyMFMM39Q/n09djavXhTszWiPZU+8/AHUfbdsedTVx5poq/H8Xs+9k
f9nUBMTrPGrs52gXFrSCpaxCw6X+WoJDOvjDxg9t2yqk6DY5VXzFoT5WLWoQweuZ2GgxesbE2iby
p/J9w0+plKklBtDXzKeWcglc7ly+YBSLyaLxLMLI4OqV9HDfxPU9fya3JRP0mXmY7uT+Q+4B8SPX
x+ZGgaRszSikUSn/K5JQA1DszNgUSYD3cfZhDJwFqacNyZejbH47vn2/ukqDy62QIzdsLYa5drxL
8RMjOL9RpZd3w1UFEIm8sxt2T78PmEJ1fr6MI6/mG9fqVd9GIm70whMtDM2CCvC2bWxRPql7E63o
n2ujcSBjO7y366fsBBtBcTNGDIaB8RReVVMh/IMnQBLDSCfTOsTLq6RJ8130xbR2NrIdL8uZVdka
he2tqqu+iDWyyH1RNkKwF5oRNvG/AxFM3t/mHXH8rxAZsFoXY/VzKS56pHf43HGnLfLIqCc7Cwma
2C72ifBacUyFllZdpGyFw4Iklk8V7PhUoZ2P9OG7PTYI91KilzQHUgKkKutzsJk9WQG7HvR/iUHE
Pgv3H9W+NWiZaV8HrDqdqJuoTe/ej12rE7jjMtbmwKUkbdPJmbTtlcrmxyzrYtXt2iVW48FSkMwl
vCmqWFtXsyMpcF/v5jlXPUWNWP+MoaHP5iVXYXldltkmj2Que+6LT7RanU4QhMRn6yiX6fKVDimb
qNMzIUP9kBykkROzWMtonYLmVyUIz/vUYYclwsO3CrGQwKavCb1F10BtoZCi52N5i9gIX8A60hMw
yFLG4jv0ee4NmAR2z9DWKgiZ6HDF4dGYLn9mstqmT6Ay9IELTGOn89iKOyNvkDXm8+w/LvgBbQVV
uq6CDLMpIO00RIx70mEgHn4DMi9Fy983u52cMAAMjpVe4LLL7EHygYI4+MTyQOZIJqU98x231yrS
0vULr9K65b5fu/T+ddNw7G5v0Y/BOmyftwPTt+i746dEj23PLbA12x74+8Fv/jyIOCgmmQYiDcW3
76ILT5ddo3fTGSmqbsuokqzvfTQEeqaNC+PRmo7RM17/qP6loTV9PFWLb6rL7rZr9tH2idj7af5Q
4neUzi9v8VJaUkKkZLoXxkTE588tjtLIWC+XownR3JXWz0wR0zQNA5H2FY2MTTT9VnqbZUsSXG3T
j0sqw8MONvf59LQUORHHVp2Kxz6YOZ/9dAZqyseH0qq9a5jS9DNN2tPubnZTOHelizqwsqHzxJ/L
QTV21X3n1T42n193ST+XtvizwaEe3nXD7eatckNAW0xW9UwV0aZ67Kbmb1P4fWG1q0527UWVguH7
9u+gyK0v2pdSrvPvWISAL/UOsU9bNDo6sDZZW49tQtvQ1CedXOU74d9miKszFZv4rHknzUrDldgW
3k2tnH4aQhgZr+q3yXuQC92v9LLPV2WK2B9YTZqRS8lmkDPo5grXWQAaGpquQyVglUXjuZc5ROIj
Jr1sXYHp6YaKqXasupjcqzGzNlhniII6VeP9xcezQxlGjo8C1YZF4tWd7UupZtzjuU7cVXu1D8Mz
M5D8u/EaLRrLzrvGvyTXWo9f5S3Lb1QXnVAqX5revi6Jj+VOWxz7hJTooeqtpDuotuoT1jQO8lv8
EN5WeHd7+LGAy/a6nepfMesN6rB2ju1hcn5sJxv7/rOycorf8o9lkYnLdkt1QKZcWjunmZLOnG+b
dQnhchSZ3ffV7a0by5bvjfW0eItUjzxjJpH+e92ZO48fj9o9M9k+ykj6uTL8JtXAKYrCS9B6gjlU
C/2Q/3OBvX7yd5uR80d0OWJt5JUpICrxYWygjuKtse8sTuVYfpdsvJ9d79GxkpzdPzL3UBoMojmO
kbFVyb++esuTYVHMjuyDIXRpWqflT/ZSJNvOs3shw+u37C8F2PXHIOsrh4NR3bJGgj3ePea/siMH
rZJpx5IEtxYXpCYYA2OoDeG+3YPsO6I5TZfIm3Z9YZ1/33qtISyc75/ub7JoJKCG8wrNc6UPVE6d
B5CFZ418JF1HrguFLbzvWZwov4Nhly2RTNmUPt5iTzad+41hHwyI8UIi549GBWGBWlzZwtsbHYpc
DyZlE7Xn3muJ3QR2ZepYt139/YqwJR1uTXwHx3t4bXTATU4PTbuy52K7IN5adj2TQzuItwvnrmds
o7Vf7NqXkSWiTF8YVEc66ToAW2Plm1UpTsl+7vVBm41hz61fbz7bDq6X2mo39mNtVEkjHksFqpz4
sgHbH12QPvINebLyXNX0jrZxHkyX77Ii7DEGzplsBYRtd4Q9zhbtzLWAWbhuXgu74g7WvcJsPVTT
rSz0e28gmqzD6KsIkyBPSlOxCYlPCqLv2KddyH6T3Wn7Q6pHJlJW71i/W6YcRyLqXf8AWDIoOPVf
M1CWIvrf9gfOsxJTo2L8c/WKjiSSYm98ThmjdmFXVwpcftuYoZvCPT8mB0oU1v0FIkmkft6XYgII
vKAOk6vDdv7Olg/DKWB3XbL9PA7N51jV47GXGs2ZdwiO9dl1KXf/R2N7zOYxArTedICNWLKGTWqd
xIcPQyQ3//VYPKZqy+9lth5/VSJT9ahVX3zdiixhDyybKS0L0VyToc1uW5mOlvsB3L7y2o1y5Y41
wbeT56q7PxAabmP95ZcbOFAkOEivW3fUiIIVd/7K1leNRXXhjwJh+QgtYHwWyVaX0bLpzPnL9zte
/1tXDmenbIJxOC9TdvGHPsAUw9Wg5O8nONpP3SnxgNEVN3euhoYu9k+zljDrJIt2K2b4MCPSKGJd
XWde+PMMR5vj7B2KCaXDeRDe2+elePc96E5N41K/sAm4gLbl8kvGLPZvPy3s4W132qm9DN4pnqGV
foyFufvSurxylaLKUhCFP4e+jrNk1vv3S8OJiiDF47INaOQvOogr5Jb5HO0oFwo2WGrAGzman6sS
S00r4RR5Nve34LawqBJHaSPO7N2uNdfhrE4616glQO872bL/1SyQXZWRZ+l3EpjUntH2W4CAyU2b
wsMKp3TrK2HsN7GKmt8ZvL5X3pEgDaIg3KsVwlFviaoJEJf+X36wlrSUlRs4YapYlYaluv8B0zxr
4mjTdjKXklfrjrV0YD+h3mLK9DOf2k0QtfE5GzU6MMKSZhgAo9SXTGRUqBi7l/wgRKc3883MSwIQ
D7RnpKA5uyCm8+G6NxWgzGo0sraa8PpVnVAAcKuEX9eoqEz8I7ZNRebuu2obV2B1R9r8/6UPtRYA
tXZ9f0Q+TT+9yk2orChpMhjQuw9fAG7DoqjHBn7JX2nncdXdBSclG6qxVR/HIPMZ9MEoJvV19zHi
dYt0NbhdykuX1jrAcIoFipQR4+I5VBmhrETMVIDj/Qyco7VC6FuVXwdGVvXbsXLYlQAAXLOZznst
LLjLGafZ/gOA8bUbTrvZbo4XIiu/ygXnGBd4OlptvXLH9d+zDLtlYCJ2HuJ2bvayA1SOZFkxNToP
Yk3h0dzHUr1N0xyunJO2jOxsf5aQVExOEig2iwpGjXTXikkqY0MGShAcLU9r+eG+FF/T6sZrv1fs
VoOqu5RKBFHi436yiI9YxMn91EcQZ4QxmFBArjeo7YOsHCAlOxTOzsMM4FFebA1aoTnJXDP+m322
rBpwn/f3em3lthJHEJtwaEMBHc4ysL5zI5wwCtNFrHXaig2rbJuRjk65aJpfOhfjvbtRFjuwypXr
0pMlpZC8yqYewtmennC2tsGu8Z7cm1NEkbNF+QKeGKytO6IxqPs9g+V3Oq0suLSyyXBxqwuxmCjk
23DEVdHwiEGxZRpHmKgmO9DGmbtWdNsB7N7xAnBnxFqWgOXkPXHKSaPAdDnVI+NLOw1utHkK+hpv
hrxpeMRZ9i5DZG63TB/LkfTkQbnDNLRzTlYPE3gHnwJvBfaQu1Edr05d9GTyPfPf8/2YbQaNvqN8
outhvwl9Ng2Od0/DoCmwn5AuqSN5v97z82wld3Ojoom4dQvSjkFWioxFw+uKcqFrhEnSdVs3DULT
3ZB72CpsCNN6GAW+S48Fc43IJ1mQtWZP8E2crtBuJTbyss8Nlbf3RKBvgv1BEpd/ScOLyrL+fOZH
MiaM0+pHTLwhYmE73pMgw3Tfl+yJSzaMtH2fmu06cOceayiudJYwFhASXOs3EvQSAdTeopBnZcvl
ULU1tCejvtj43DgGKcW7DZpZFruxf3xVu9NyTLJI9QWDKjQzBXDkUMvtZmYPXrF4zOQAX+gi1U1F
cVhe17xp2/I9yrqUkTgmyrmxmMQGKQUxn+rxiYJMOMQv8lPtQGx4ZG2B6T7ff+XGOtuf02QzjFWx
cr+2DabG7XcQOTkTSoaRW5TPfLJ7K6Y/7qXLT9zyTQ6yg2VZBXlrI8I/RD0yKGB26Rz4SJaAStOR
J7l6YbtuMP9g95Pd8D5YjOZEQFV+GJ/p0bOIG/CZ4kWbKF9/FHS197e+yy3fXMzmNwNHhPS24tfN
k5ztmWNpkvzQlvt98hzztVFxfk7LUVPg/ruR6hv+AE86BM7tRcswFLQzj/9Cah9vjl+ieEyrb63w
7zPazH100j0zs5q8i+aBce6yTA/bn9YfFbVkxz38dXCvKsSSpFv8dmGW1FFXhEpVFAf8ESzEsLRK
9myxOOr18GFHd5Y79sK+iun0KsVHYed2StXNLozKHMp6jUQTOHdoh2rgGYZtjj4fhGLBN3v9dsU9
iITbV8n24afxuGdCUI0CKHl1OOK6uFCrbPA7O0Qn8RHLCKXluRmxsxbjrUR2iDGOMuI0Nmbtypls
36tKpUXF+zxZApAqBj/JoMLIjsxmbBGN2JXZKLcclVz037mrVQtbV7KpbDZ9tAJK9wF4QHks8xDb
BwMaocfAs7gRpDHwbJUDvBa4AJh/Ut+PDNZgAJSrQec50+gGOGImAcoRZv7JGUDgXkpQNRay+kRW
CUV9qkQLf9jTf5csqxEQrpQrbkuJ/NCZC81uv798vCim2+fhqxppROzV3e1k//3UA5BA1q+DRY/E
uRPy5XNlo5s+NtbYE0GYylJN8GSb4tQVFVigqCVlPdlkkcWjqdpE7zh+IzfWz+Mp9no5ioHoAqT6
evnBn6RD90mnexyR6Fyr61l8wOqweypvmkuBC/2sMUojzeTY1lKVV7OOwH5DQe2m+ReoBvEub4jx
ngnts3Csui+RagfTMkVDCTb48pTYTjpq7KzphDs2nemCBXDXuoiQyA2QyVQn93maraXO2w8PjJAv
s8ehMEmVxYjUj9prsHNm/OiHqKqCUNpSqpQWvWnJdrblBbkatyDQ4rRsiz434HznsfyjLPbpMtig
mwBnvuH0OxPCdoJMAeGDBE62REPaQ3XaP34HRkr7WMyiHHO90Awg0+nsu1ku/8nWIt07LECexVf1
UDo0IkEKsG1ekHkX+0L8xb6NnXbv+n0ZJXvJbnf9wQG14LCOmdiW0y74K1CRy9mPbPfy6Xp4dA8M
TKNK1TzfMUOBtls41eOrXFjbvyJYjnOBvV9eEN5yd/mxOJSFkA71E0KvCs/6achcmRtzmiVLnliu
r/m3pYjCAFgyDC1nB4ffe0OLVoPcay+EJD7HV4O38WV4FdWa/iJUkEGi8uhA/PZfinAagm3tWtMO
76rxmT8GIV/+si9cay+AXPAdoV26lcLj8jl8zSk4NhuKNzPXanrmmPLIadHJ1peF5LEREmCTZkw6
2YbF53PvUDOvrxLe9iFXaNtN029cAp3oWYvc6prcUD+HnYMZoLBD/xGwSK1IsNGoOHHR7mavWfLW
VGD/cUttP5afYc69kl30KIlfDbj8rv8qZcocFs7YF7YX0rTcDzEpBU5PF8n1wY7awmxHoAWLQ23W
tVQ3FTR4gYD7x8kJ9Rxchn4jDD7AMrrLUNbVFqVzB6YzOsxsI2S1KLgLFB8V8gNmem1qz5ujjhY0
UF+L73miuugzH3afCwP83dUZODu2NqqDddEs8XeDz+aipr/mkn9kZXGYWtXAn81I615HQl723dzt
Ry1RuZfQ+nhoH4wY2QE5LAa3g0BT7emGx/MrdJuLyRouts+Xs/Fy7lS6cw4PAz4As84ymF2Fanr5
vWmwxh78AS5BwgbGXZmwIr1gxd3Xwm8o7o76evok750+61l7eKt3fXv6+utc4/iPkIB0b0DNx0P4
Uo4Rz+2DDZ7oFtLsUqRxX+eHLGwpLBu36nEyBHBjbxUv7czHbfTov+ry0G/5+dWF5p3U4jgpvfef
Dc0tnO4siNWuqIwkJG1UTA7iVZ00NRdmr9oiW1zTRfb4UhV0eD+bqhpJebRqr+axIW5s/SVJHLVq
Bevkib8doLbqKVf5T908A4oSWPfUO+HLRTqPXf3ZvA+ephpdYVy1S0XdVnzOfV2JiGXzq9w5O6TX
7aRKIQYMKi6r0TISSJGSNJPveiq44NeHcWqoK88FhAGjqHf1MXQo3X+SszWM6IvPCD74HUcHQZJL
GKYnnMfTEj14hQ9p3A6GcKNnLSGykfFdWXsHywoAo4IWWslAxWaWHh7GU7x0gF3x6sI/xsvK3hGZ
TiHZJ/KP4CWRrLxGapIOUYGxctBCF4wAfoz4oG9YxKN4z+1bwHRGlVbZgVubhteNZzN0hBZtouiG
j5ZGy09sdhgdQN+icbLHBmYn36gqrzzwZsdXNVWOdAACg3RvbkNvJpVD4c5pQUkrHHsQ0Grv0a77
/n05laTB9H8f5emtIKg8SaZocmeAPtTks213mZb5b6dxIxGCtlFgVY31DoZw3UfZmRtzcWSk8foN
D1g97/mp78N0bVHLYHpW1u8C6Uqre6odK7HS5uNUPrZRUe6tU21Xno6JDwfnUfLn+G8zZCL3cd1y
QdddzbzFBpbemzLb15dpK06FtimXT57rSdu4Crn4VLusS9lEO0PEp8D92LSmXQ5MT27OhcUksOql
Q1NYaJXNyQrh4Q3aaJLBSnA6PsVVYyxTV2Waj0g/gQzRugWk9NVaVamegsB42TVtO9bM8izK02j7
Bb/fVIPxEWH+otTFE8dgLx6rLO4H8UGsIbBD2LVzQgvo5nVUMUWjjcrNkf2DJPEyO0nBrp3HfKbG
8UGuxbm6e8MAaz46Z2Xv5Pax/kXz4jyerk7nF7Sa+rG3UtzlL5hxNErdkxXXX3yuL/mPJ3HbsWfC
377XQS2cOTsbtg/nqsTD+iJTczWj5ctX/IFnuEm0VR44lytBPINF6zonXB4eETKpPi6F97GUyw52
Q/mPtAmaF7Z5yY78+PVHpP8XTBQbrzPsiA8tlce6s1bJrnq5V5NB/tjFfj1qMSkCF9zFWGNRZyLN
NO45DvbY6/L2GnrcGEOHjhtsuWj6tA+yCwaHZs3rU50X9rIjNnhyd8XIFXjfmL7qJk5c8a5nbNzB
heHaeFN/LOs2T+1i9FhWhK47t8r+Q1D2oZ5iB9PJptra5mAlyHZaG2tLr8cQO3q+6XgtxBoSNw/1
k4JOD5w8gen/TAeLJuhSNdE8b0ySEw1fuvEId9iJWPp0IfTNQh/1IX+P3dNkqgQ+RiSpxvI7ADGT
44+bZMlDwZGZ1SWvv6OmKAZ3ajXAlzCBhYG0w0VDv+PtGjWVzJWheWBBgT74vizEUV/SJS+Ar99j
cqskh7oCmPrypPtmpprA+8WoJ6fOiJmrpvTWX0dxQ9n/fkiqCjQP4ODII3zCfJgdQcRRSP4AehYM
15TSFSInveXxeWj/YePR2SmhbSztCY2DIM7xo4RdNe7dey07Ynhm8rgKAoktam0VKC+kCPi2wrL9
2UMgAvCGn4ku1tQwZ2fLz0XwW1aoTM4/0P3UyDdcf/C+w4svcsh7qmNUOf8VFUqNUFn8YVYZdEsW
yImQHceLdVFOX8rQeE84PBULKC5ySktuB9bCfU3/nf/MxqD90UNlo8YUPlJci/m2WKDc3ow3t8Ig
PZZKiUXan5ABPtfmzV7RfjuEWELfzq3peaSrwkUC3Os/sGGSDotoFqH91HEMGxLoiBaHyvnCn723
ho3tlMPHr6wZDwlepAX6eDLfX5Zi77Iv9VRU91B7YKNwGoZw+rXloi0uNlvFxuEoJtfuMgJDABHN
ELyiDB+AUwowovbyo2z4flA8+fWHZHlTorwTAbVcSbiHBPSBAAzJBuev/srJFqvv+nCegQsXZi7/
IazmA9lAfSDeOg/QGA+J+mXavgU43SDPdIHArO6Jc2AzU92rCWG3OfhlO5WrJC5VOIZucMNeLhGu
wN8IgcEJ1M9ZRf6oHvN/bch6EFyulSCxsonqAGy6aosu20wJKkPKT6psNtkPLMi2cW+4JFB8c1ES
EZSYJuAV75TkeHcaxRKj8HV/scb4NRinvgOYiHRQecYQ0THvWOi8PmQYWchsIZ0yz0bs0/aMSxpr
qZvhuUzCcBiCSlNWJABS2HxM0b4th5kH8yoFANZftuqXBp8fVkOXqq/O9m4ZBG+nPZLgyJPDqQ1Y
1ic/I+/zogoeNZkvopVHR4/k18E8dNe/tEHhQpzcZNGRycujfbEt/ZVwt797BxYtHWpV9IKVRkic
60txcvSM9oHu+l+lDbnHqcVDaP8NjzYbZLK63+mGELfsGw4XL9h/CW5OlYxsjfvfmonaKxEmP558
IvfQE/2PqPvcSmZrugZ8RIxBkPQXmpwVMfxxgN6CiEpSwtF/V8Gz3283sNUbmtWrV6iaNWuWSk0y
g3hb2yQi4kt1evjNgu50xBoojQL4n32QPWW05cv9aoiCCqXN1SU0nnJP+lkPz//gSeJyt0ZoSqdj
1Hz5058tKsx4kK+O301426vVM+7WZrKbCiFlrckSFTnku9b8KCK1A/vdOrHJuN4RcCcDD7W2pvcO
35+RwavVuyJ8A8XGYMS22ZPK5iHnxpnCa1bNyLjxp/PA4IWx08LiSJqQ636RNZtNtyDth0wPupDr
EuTVf2bo6WEFAy5/sYDoSsDkVY4QAfyYFlWJkLP780/ZAeH3l209N3A9uVKL1tIyjyLAJNRz/lZY
4zcM5reR61lUY/F4dz52giq0UH6VNSDxlyzTd+F1AcDfzxul0adyGJ/Tl9FcoCoFrZJSNymQDpvs
JseS/8HIHtcvAz4N5MtquaulPu4zoTaBDi3mv8mNfePvpJc9k+KckB/Ry2v9Lh2YZl1qWNyTO2zh
k0I31qVWfpAnTiR4vkPY/6v0xrI1kNYLt0iUudJsSQnh9/b42775usNOKab76FXBNCUkInFtKEmb
lqggzGWp+gLGB6GjePNu5pu+q7FAoIFAIgAzw/ei9aUzjcJIpxVGpVG28YEsIoSBQH4iYFaWxtGU
jV7HQPuMlF5C67cUAUAJv5NVV5ru0BC0atDCD+orkfTBsUMTv9jfPf2tqyLhhcGhTBJObnllT8mG
tz6wBlUYgeufJGwmebuEBns/vfwtmBNYrMiL5KltZ+ZnPCsIYxrhuGXPXS3rH8cKOK8QvFdVcr4+
O7sGpZfM2niunej61n/vNzkR4k4me2vDXTza9TDuClNrLT/mrFixah5NeIctW0kkGTFRmWxev5na
6k0pm94W+X+yHP5OgxhnaK5ps4pR2rZJzYoZouj9KnT0mawGDf75P5HqoSDPODtdtQqkd9qG0fdb
XNTXv+OdwNa6JZPA8oobHzHs+xTmWE8uP6M7PeXX5u/OuUhPXL6p9PO8WKuaxm4/lurzU6PwVNpX
0fdehnJjV4MsWEha6ez4EHwOa6x0kQswVXjKjXavnCUnqOdnx2aur0hWrzQolSsn4QFrcjfdKvfO
/TV3HWg/KN8u6jjIwOaGqlrF03P+OfOMdtN8qX8Vu1npXnuZLXAqOzTnbngAcdMKul16oaPxUU+d
Z3MXWdiznIMy/pTbVjlvxXtFShml5IyUCIUzib0kYOfdlKbBNP/Ix7J3lGkqSxIlxH/7R3QDMR5E
/O+Vzj/pm2q5rS56R3CnnW8v+z+E436Qu47Vh4fGcAhuUfvKIFCa6XtQn4/YnXtSX4f6NkWL4m21
EzFT3YpllvmWzobyywjLw/KrG1Gaz8RvQjEMtcdUSmQk+y8nB1NBkPpiDnDZQM5UnFq0yCqXi73D
+UJymvAwsbIT6Mhhht62bqyfFh8NoyhbQovwO7CYNjrY5kTwPRAe6FkoE50l4mL+TfZjqu1Tmbpf
rudnx7KC5hgxYi6GBv+U54/SM7FH4pRJp1sP01PGU3pnrrwBO76a8xLkZuczUx8RrJl3UMMgTEgE
2Sk7NcBjKHXz+2zCCY8eRTm5XNNSZLRUlzmxODwsmmiKrxUXVVZaqe07yyVnegGsNkyPXd9EONRc
qTBuwDxm9hLZB11cIEXgv/oMaFJioolobBGZZCLlDnitbFM2UlNyqLY+/r0ZxCfWw8VTrs7KwzgD
vnMvm7k6dH9eN7MsU4COfBQ8DN3HoBqFoZUu1Bm4ArMo6xQj+gweM1OzGHofTbCy9AywmIUNr7PJ
xc/Vs+wIMSuYWORIi33/Bca8f7n3JwjFwj/GG+KZq9tLz1UcBXo2cYGkVfxRW7i90wDdC29ft7Q4
r5k0H82IIEm8Aecx3dgVvvb6UTphE6lOzkcoO0Hf8JZHsfvLH9gSYOQAyPGHfh8pm9RSn/canUme
j5erEwze3Lo/vhIeH29ADbGlKdj222Zsx2mFtm/E2Q427t3YPyiJCo/bjrGyfdLJs5keI4LIqc3Y
Yo9dROWlUGdsSmhzSfMOMTuFSFhXwVRbjW36QY57+Ra70DlIK2EWmV5/OBp1X7vf12jtlhq63neB
Sdx0ds7JMDznabcL/04xUD7Xnf1asZ66QDywkQzuJAxPqqwf2DeYhsLx4sLbntcCQAgXT/LFhrTv
LxSYXXCnxULuOMEM258GrHIepcnD9GZfp0KI8RLIthrj7ORCpmabDnXsxQKI3N/T7Gc4jVnNekjl
nb6Kop8qMlEZVZ0xDGEtzfT2XS1lh0p1Fv+TY0WAA3eQZu4C+v1lEt3aAchgrzGGYpFe1BhSAJ/U
gE2e30Ecvy2BCqnISQsWROYb37ctHGg/HTJbgjqw+H3c824PRRsIUKy8TFePyDi7DD3p38oCSrq9
QULI2kZ/95Wym7wuNXcnothB6FruwPVGxnnJHD2kRiWVb4+HDGz75vZHmS6hbklDktAOYHvoOd0I
dQ3EQMw7JQ8ekYfluDDhvTqNqIhXj4jLmySn+vWHwLfQZ5HQT6Exkr28+uGmKIaDyp99Z8W6KR7m
Invwo7qgpsIEVw1OnKdEkCFe/Tw3J0Si6anhLTPyCFHUbt55Ch4COYFansyZmrN6KAIet5AII7P/
8oNPeqReDVbvJXPyf69OxRQzGK8/zNGi8Couj/zjZ6bnCuweHox+16Hop4sTit5M/Za23lg3LXlx
PWI0Xm/ebeYkrMaHyUbNMY2nofyu3TfvGym1rBnMqEWSFyXZTOGm9vy45PLrR+5pm+pRnXzVCL6G
73RF2XeKMOVXLeLPXFuSfqelUHz1QqylftPeTO3l8vs2U27GRihLt+KDYeiXidj6mx9wjppSBhcy
+mr0S7Proeu5NONnuhy7z+F76fiLGKp2ctTHedsnY9VN2JbVT6PwvnNnVuPVmD3LPaMW4h1xEXEJ
bh0TPvtuhOgFQyX97uX6QL820mlMe9UGMk9pm8179r34eCw3oiM2U6crv7phsqF0JAv7eqL5rUqp
VJJeN1MjoPzqq0OAWkNdWHTi5Rt94ubdCwPfV6x3LX6PH64PpqeHHp2nB6nX7LsUhN8Js3g1Tr+X
X9PvxmNG5sXlUTwjYyfue0765FfUdQX2g/6KLH1f6B7o3KyesKBHQqhEMa/X0cRHrnt6RBkoG4hA
Ajo3rH2hX1RBuqg6IyZd5kI20/BDSaUPE/GieuGD0lW86i5n0ELl7vWIgUYz7WW6tBD4ewHuAgC+
fBGpmJ9V+ytEgkLI9jIu5I8WXVV0r6HjXvCOlhyki5vkZ1PDpAiv6bdtAvMCYzIzBi43yRf4ej9H
uFPQDUqBOcOuvnzranzDCQ9/xiM8C1cpcuOe4AVeHghJ//dIlWP2X9cAfo6JSgbXq9PFdJFiSclY
+RWXQvxcn10y5a5v8Gp48KnOMV69vee7vlsiyFRt+C5e+Vq7iQGGMk6yBo3aPD0ksmYxoVDBTfKX
gZ7ykU8sLbm1l8eJuC4M1NUtEhl5Hu6z15dviy5GmsWIEBNHkfzzgEd/yo4221egwPpDsOQOC8MZ
aA7TirqsbF49fDfvPlzZ3ST6/nQ54BCYTJlHCTnvvzTOCMfd4Dzuu1pNRy2afiOXnECihhDtjU8V
i9CE6mayoe37Of3wzL1iQR7de9XALMLes8gmGboRA74iVhPevAIxMv5vD0weAjLkoYuET9/yQxo9
w8X9qpp52jRzw0UvN9w85J4ywzOZIlp1y2pmiGaV6paYGVVcEb/kwI/V32YoiuyYWLk6S74x7wF9
BZeFOTd/rVbmuxmyf/8+f+rZJ5vVZknzEcRPfEl8K1MtSXCTLiLp8m37S81CVsfi8JrPNfLHWinT
PX62s6V7lS6lLH0eO4uXu5cfyqOlu12iBB4CXSI2+vciR6z2AgF64gjmTkKkX5K0XvAAqrl19SAx
Hfvh3E+dasepRGOVvVobSFH91Cj1jBcGBcCiuesb2oWf4dxaNEq9SWX9TDbbRmlHUUXdgN4nPe7x
z1nml2TNwephTgngvVRn1NS3JUWXi5NVcztiAXzluFS1NKuHGdHedWHupdfPJ+2q/a1a2e7RVL/9
m9w8flSPtDL/2nsMlHqhK03wQ8pxYQSOVYCuCDdXvrUoKrbECFGkVTskW31Pz6te7idBHHlJPv5a
ylZm3/KfPQIfSp4BoZewyUp+XfuRfi9whihTyQPsaLNi8Ff66e6uW3wv385r5DHleJ0fMLXpX+Xu
F4itFfJAx5kwx2nZX/00YfLA+i9utaTWH6WUNkl2vHoniyIemWOJdkvjZQYgz29OPubtXbZeLNVL
39VNTo59sszcp76aGAfFMtJ0DRtIBuXH/dIKPvpsncT8i80U3XesfPINjyX0NdHhYuUwLEILf2t/
v2BYJWwLb3huDcH1ee1lr67bXG3UGwyu3V9TOibXLp+uzQ2d9/Tdhypmx7qSxN1z44DOlXyuqvnn
3AiZnQDdIcmnGwwbyUSskc45H8SgFGQNTbdZjjhkztgWV3lVKbFZ2ie7z9qB7NviN1UNcmS58nzi
e4CUu+UK4DXiZGvFSH5r4/Hgp/KIPOqPyM6XAzumqnrQFwwNOUpN0O99g97v889g1MkdOjsM2VV5
+vUzXG2bBxS6yVsxUYuHMI8IdbIlkLEg21N4lkXQzgsyE0GRLIaV35FaXCHU35URB+5YtpbmHnW+
fVnuov/VC88F4PNt8W556gt5z61Bz99Yethfu3eiamT9ImpNJEMokDK19OjKrlx/+ercnNqZHzm8
lUPlzWMyOQ+oz1Y+K5O3t7fR20/yR0V/8EVcYJr+624qz9EPubvt6+nUXJWlgY/eRu+sLoLg7Wmu
2j4l/UXlvWkcBg91l0o+62neGJX7bCNN0vgm5C4S5cCrperHw5arWMsnb5tmh/b96YrzHAeILlWN
mddX1TdwViVPxyhP8Do+SMe4nxtmqnJKRUMLtVxrlaJbuWlmoCu1zDDbVycUm+jHJwq1Qg0FvlGq
xbFs5LiYvgvDoRmamLnKhDt+F3X28r5RpnuFRKOSV/lW3BYkkWqqPvmtxn3qNGX4VhSWWVIRLUXo
IDc87WupMasz39qImBMOofF1pGJ1esx8DOP7XjzxtWu/zfdlb0XNu6DYIg2VarGFopJ/2j0Un3az
l36BZMaQKLok0ChKTts8lZSpSnt7/O/3YXV/aB5mhyY151Y5WfaWPYUfeqX+2y9lJbZd7bc6GqmL
c/c2eVQGZ/as+gA2h5I3hW5Ocgiz31rg95vqSLTenH+ih96hVdEs6/ifWuf7Nf2cft7W14nqzA1h
8Hqu0olqO7+Vyc8pOQ7in1RdrezrMdwONDJf7vOVx8cYT7+1E9XqP5tLXictWvNJobdoXQ4Bxdap
vWBsKDNekuLczjZKzy/PH5O/R2k/jJiGIgTOMrqfLit3d3ej7+q759voxfPNgOzkKz0TLaZaph5Z
d5m6HOKhoU9TSp7k8Nh9DhrWrqaOtJNFPRQlPLCKqBqmv2qF0VfJL/M+mlFXtsC6m3ldtXKvP5Of
CZoAAtFHXwJEI0fz5rtlm2dUKsCGAzmP+fBoDXhGLAd8LbBEPa2tMpjf9s0PtdIFNEuRgWnHsjdd
fxDytJB6CBiXUkExx8lRC9pDkQqcPQLPiJQHmdFJ61JMaDAejEPo9rPGgH/YNeD0+COigORuZYED
3BUi+lDhaPD8HNXdPm+fSVH7fVEdZKw/uypi5CyNuMGpH2SrAwpAOAY+Fh/0ySi8OfZpTDKE7Z+K
H55VEhv4R+SQ2bcQJEFoVc5O9zgDjdkHVCxKnFF+RxCQqoDE8IckEwXmKBR4fidftZlKnIWqRsBi
MkldE1pRPYkicTRYF9T8FtCay/D8qg0gDtJYou11NZmikV7i3zRi53qeZ89WmGgdRMDBiXdIGmt8
xDtDrXw2iz8fhdBdnc65nj0u0Gn7MSQszI+dr0ov1uY4fPSoI/45wThOi1DmZTbzLZrzPBsMdKXS
Ie0UAEcPG07Pqko9asYsGuki4vOW/Hgj8iLcx1t83u/IFeqy8el4npc/KBiFCXVpOc8fSTOuwElm
SFiuMS4isF8kHU2L5yzrvs3OWtJLV119LLNS5cnRxpFtF/0WB3QdeTYY+3Pknt/n3WgTaZ/Z6TmX
ELkrPtAx4hHXjl6Fgav7TtyGTKU1uKm6lICKlOlEx0zXnl9gHRggGMVxtuikuCuDuH8tl/uDEwAF
HQ5XlX4t1ZiW2+lEseVqukvxY7jvL5ovlXam9tuSw5v0p0/ytZ06esRwiKtbVP/uDMvLjcVHS/QA
fXWyll5j5OwHX7Wymgo59N1N1MVzI5d0i6JA4K5HI/q352TXnoub/S+YUFEOkB9Xff13k/x7Xdde
h0hPjpcECVwd4tXsA2khd/vpb6+rSrfbfVLbSxMrmMUVGGNl08JRTFa3pyRTrdIxafBfW+QUqrhz
VdhiZZPskuXkQqyvk4l7Vx9tlB5QVCd2XazN8dnji5DyaE5ROSMpvarv7r/vvkb+b5RSAHFVaAN0
q9PGQ7AI48g9hu7Xtpt7DAG4P4SNUiNGOfWNy2ywWxoLTHkr6GSdGL1xxO9x979basBU/URZC/HJ
csU1p6u38veCisAffQ5ePABJKPPmaBymY8yKnUEcCVRWQtk8aLE1wCFacrF+mQGPiqq9v6u7uKqR
uE/ucW8dy3a8rtqhL7iuLslYf9YXdnlZvlX7U7XcertIE9p/7EBfFQ02YwR/rC1lQ43KeyN+ilWb
fpoJsxjObwkjjTfTbaTXEnFfDKOVP31HxZSLNwvBVB57uLVF/yNikPjlUdmE0CeElSuAQIsOGy24
r5SaPWnHVDqr3GS3uisOosgv856rQwDKcayHvWNv1wK1F6Y3ypOQeW4cqpNHhW7MJ2N9ML5287IV
b97b/8I2CyvlyBSSJI4zJ6hNfKfGGyvffXMJRwUA8nGOtfa16T0MHx4efhNM6uEheRn81YihO7J1
22btj2r6keFf7P1vkLXXteOoqFjBw0P3uzKkumJcixtUHigTPsSv50a8RkGO+P8rEMrxaipua6/y
MygWAgOqryIklVeledaV6bS9sNQ8fX5XT3dlfnrzIEepnekdaTYytTp4SBkx26QkdvEgil1XPwNX
6xu/7ZDE68ttyaS3j5/rjM9qYbQAhlWOVLE3ncKN+ieFvrpVg3VvWSNRUaPNUuMFkDbc12i7mCk7
goYqBEXhjluxmPt9J44o4MWSv/9slKxI1/UuRsTNMun+1c7Vp5TQz0si9p787ypfb7SGxnXyq7Ff
Zqskltq+qhIIl+uLkjpqmgEpAuZ1bXBmOWvxTCeUuIa5auo9jbMXs/7eEA7LtFlO1C6o3/SLSZEd
Ga/lbp4q5hsjdy1F+bEl8vNRHQ6Rars4iK1//0rJ7a0FP7bWWDhzcPZYI7PV4LrGlIpyqWFNh5F+
ws77qf/UI4dxjZ+3uth88V1hid6ckv1f70MIyBkO9TP/udTdcjnah8qHC4p5ppzhVAV5C1SpQjbW
MwQkLXQPT+3Kff9eInYt+7C8dEF0RXwqljTu3dO52o8yhu13qXudeTJnPl575zMBJ2F7rfu5KlJD
P1bwdJKvSkxPcrW/0aZeaF6f++qqFu/0viqps6RQYcOz/Dpa6Jri+KDyp649q3TF9PztXFeBeXKo
rKwGsQrwq7xj8UznTW+Xk0AKwvr+egg7/AUd/qPOdTZ6gsuY92Uc2cpWTYNF+9Q8NJe1LV0l+2yh
p1hPciN4s6hIZFnR7b8jZZp5TBG/XVRWUAvKTFVQ5mVRPxnCMWDk0FRj6Px047kj9FX56ULuaR9a
7Z0xjr/GTfMG9+1lFgsbwYUE2zxclOYek6rt9It2tgl4d2NitG2r3+1CR0C0ch/9jWdWJTppuF03
lfi4jAbHPHlXFMJQsJDe39/3p5lqvx/fMMo+nJi17WVlGpvmonlD1rPff+rua90n/02n9xbdqdvv
8STyW3sqN2LYx7SeZmrTfd+n79pOqS75dw32qwGpRjSD/GiV2dmNpmnforKs3dvwXLWQlWEUG9vD
d4V2qF8tLk/9+/v2onL3/lE/NC9N1cr70dv7m1yExrIhKRzkM3q0Lw0GFpSr+cjguRhjzDJrca/U
YFdlGSP+HCWDY5/6s5LG6n+Z2w0bwbYbG1csJMpbMPwR6cP/JGJlxqC28rYkelTMxlYx4WRw9t7b
Fs+KK1UD+LrPpJL3Q+e7d/ArVzB8gfTtxP7wqJ7EZaN57Dx2OpNOqcpKP1U7j6Pm+0cyii1qc/d3
n20W4CjHyg0P31ZmJPHg5J7JiBH9IMDxfJodZqknz+H8bn5X9rriWe3Mrd7yfnEfz8X9/AB0VqL4
5VPZncJ38yv/LJVQFu8yELGiCuI3DRLnv51dZ9X4o8ss09v2yF8jDGWYdrTp/W40T5ojviyHbcSx
ugAHsXn1nnU1Yz0M9b9OWJnz2j+mKjpt45ZODquHOdm+pCUPlXe/+B8L9k7xFksJABeW2r9/q9m/
v8q/MJMahHHu9w8rReTuSYhXd7c7qdAzAT3BUapW9lR5ZFX77eNWZdXYRONmRunoOCLUl6I7zUiX
HIMpLk9tauHqR/4acxEqkr4YNOGGvfBoxV4tjzl531Ft+rcfodqjXfpldIDOR0zgd5Kpx3ttzn4i
fsoQEoCNzJwwQH2a7FedqGoz3HCypxoYjQzIJY5YeGPRnYUhs1P5OrDRfXfbPYTdI3YZ1kacQBK3
VGWnqYc1CxRwCNJo5HV0uuSTjX/0y7m19F/N+4t1z2pmn39xvlj7at3TB746HtdvxUlKlgzrcwd3
NQlfRUKTAPCZZvI5SFdb2WBx4ScwKzP7tqCeb3SD2rmtl8a6Fa/Er6cZ3AMJBO8vjfIrkBc2HLy2
s045q18W/4/PSMIKayhu018isfWx0AgnO45D7bnQPmBDFXgHB5ooAexm6gJV0Z/RcwfVKujCmHsc
oJibbB0Xe3nsaurGV2x7BwgA/MQMLDf9U8zVuK/x1ZHtezEe+b3C5a4xuvE/U5zzUpmFHxK+92w2
k4WuHNeuyoWa8YXSNf/j0i05gBjj7Proxtgv426kZFezSXVyFOMNDyU2fXbB5X1RFVvHXnwH9Qsn
Z9kjZN7tuOFl8g24fivm684oxX3wejZ8ogB3yHwGMfBqI8e9jgGEMeaCYs++fncMJBlwevjmHWn6
QnWPTj7UFH1fvKnPzL3NSc8Mhy76XmKXE5wTFJjL1Lj2bxixMeg6MLlRsqqChWJB6p2qj8mkM1pW
3+fJaHQ13sNq5dTxvMdjHmmxEj/yPC/ObFxvi196O2zUsJh6K8lcpIC8km2k95DiWcbkiPQdEXt9
G6NcqYGGel90zQylmFknUHzMJpoksrL9mA4pHtkywq/Bl4x5l8MGSDnifqIWXIZp2b+tGeIxneJg
MgPCWc8xVmNCx2XHfYNf6LfoEL1qlEptM1LJaFkncvXfKW0MtvyaXoM6i5fY8KURekns4SThPl37
uZU4gG5AbUh/Fv0cC1GsI8IWMVhjuIY1lR/sIEnx3Ovk60ITb7xph+eQNySPmKjxd3M5kJ7rClGu
PF5NHfhZbWnz/rQj64Tk+z6V3NmY/7NSqCNcQNVit2MdBly+rQBG6eq6e/USwvYN1+J0adzz1UEz
0GEs1ug4hJgUGIpRbcjHwDrVBmMSz34KN5ofP56Fv3rke8NtGlRoWXLhXRIhJx0e+/rTS2Ua27gN
/+GBWW+/DqpRmH+/rPGHxmFoywrT/9MmQGjr6owfKwWIv+KaXNDyxf1UCJRYxcvF5Y9GfVVvb/+l
zCqqFnQsYmuINvxUnUSo5jLRIreZq219u65wALDEmLy2lXJwyDYm8hVcYczbmJGrJIjs8ROaGGFM
DPImTVJP/eHSZ65adk5r3JqBV4A8GP+khWOVjENGfff6067Koh6AQSh9NmIZjVVahhlXlA6vQRGo
QWAHV4TpAor8t/qT2jIR+KwXeApK9Ph8sVOAFjEIrlCP1WdWmiAlOcfR+iG1EIJFCALAcj3SsmDP
VofrxLaMc4b/+z1WkyL+jKRHx3ZIIbMWc9AS2P+5pR/rd6SaboBsf61YGGJOBuBEmtkAuKyI18Um
folGcWPDJpKLeFn7JDVbO8NmyscybAwWWyyCSfgJkkQrrBuxT0d8/rKc3YXzGutz7ICqV8Wy54vx
dpxk4rMWc2ZVTB7Tx/vi2XNDw6C4lc3HU7wCJIEKxc0fjGenXlEFDeopzhlPb4+xEoAPg7Fhxc3X
L4BR8MbAY9/JYBB4mB2FJch0mEBlLxszC/GCjD2zAevX6RgbxmwWY2PjnIFA8asat+P6eDbzNttN
54dnZbiu7gzB2vrusuveNnZJo3FrNPn1tUE9lsUqpl1puL/X1adg7Y7quzdtylWMUJXagVUXpKs5
+KrEeqCV0YXP9peYeTM74F89MOmrnepfngfPPmaPgse5L9kLnLiyaQVMiQN422g0ug8M86FK77GT
BDx4xQRnENPx4LpvhWFGLx6mWq4AKgaZhJkcdzwaoKPCRH187j1ntGJRH4+j32PER7/MK69MvPFG
8d6YF1dQcLyqgxfnlTJf1I2IuxW3EIh6namDWCOpRjHdYltxoXFfZjHMYjcz0AKMB2bqY4tbp1Dr
eM/l7iKrmrvnaMdzB2uUzFV0iOkz0Nmz8SoZ9EYvtVH4cR1ATphhE4UJHpGp4SB+kQVifE46j9B8
tuexMhxukuFNUqz9+/fv1sXE4Lm2k1EQkGn8chlRr972UW0AO56OtSfezXelwUY1OC2bDd3NbqXF
DkyLg/R6Q3WFkGBvKFrgryEhcT3KtT//oghy+8d7LGuNzMyq51CjzGpzuP3syHG1eFnELFOxvoVJ
t7OtWtAsCaeehLjt4NAj8VHfD06f0EoKHf8CF4tnHh8wIG8VCFHApCsQVZSaKi3GQYa9thtdUc2w
KSBXMRXc5seJ5JOYu3HEZvbfYayb0xPvMuzIOFqol5oSpjReT4B/+Sid6BxhvsTMD2SOgEs95nkY
AGHCXHfKq3PlQzEa444fahhYMRTKxn4xIlMR5mOEPT/62eyILcoseXyMtTzmgxFaDMDL4LrVpmhl
TGLbmHF23ZOV7LjcuLjHsbcEOjMHc4b9i/f9EBtErOthSpGi8Eo84SkWxAxfg8Fgs/imXK+4xuhD
JbQY8hnL+n8m2HXxM7BkDdpnY15ng6GBUWXnuD22CMjpaXog0nGveHFGdlOGGEemeaCmKAbVuJjn
TTRdKiMSSetufhPpoz5vz9sxPM5Ne24bH1nrn5QOkflF+V7Y7nJRsSaV++X+i1hgf72X+B6p77G1
Xo8YZJJPSVSUknLtesRAjCGZMkRj683fFnJSSMv9wrB8m3LQM5W8du7IGPusZR7Wll1oxI8Et41E
wZ9G1GjU3M4LiUpKLr7+emQQLZbVwvBmeHQ7bsv9P2/BBnIdxxnnznHuxJHpRLWSXDMrkevQW+hT
uychls/rmqJ3omDfZzu6f2th+G1spHhRfOkVO6r+FDunXoEA1OBEmi33LaQjWxHPmGKnIuFfWLJn
w5wQi6rsu+dQf10gGih1F0f6fjM69cqdr9qpf5JHewTrQIDJSpRVcPzslKWXr5+odJGkOmAffzZj
dw0PKPyx2IEzysnEblysIzHf1I7jBYI+ZC80AUW9IrxD7aDJJNYS0qTbp8/mbuvtCnocpLRuh/s3
6WNomfVzS1J12+7V3D6V68fWZ/OvZTPuyvf6a22Hv/1cN55HBlcr181jwBaxarO1jw5NabPAx1Ua
vTxd8L/LzKaTRdATQTzfjYXAAnB5hl1wTqTDJgzoy6Z8jXeVLTZfAHRbMZmpAu2+owb8kW9JY+Hm
yWdFkygzGc3RI8J6zThj2BFhWV8PU1+zCtNPyeexQKmdczHNzu7kdTfKWJ6cLeS2HIunOX3PqLek
PIcLj66j5tncs8RLp4uvhoHVXD5JK931d0QHo999r/7A4faiaTcTLOIWCbRY1/YK0VBFu3RgtDiq
b8gB249/bv+cPuTDCkC02/2Y5VNgwMyblJjwurct6h8uWAJ8Kz2Nc8a5kUau3R0fDXI1TRneQfRe
2Ek0K62nCM6srPDaoj9w/WJ0JNshfWRb6DcgIMeXCw9kr30v7zjV5y5W77mLWo4ZjVCd1eHLpxN5
gO83mEaJy4qaw18q+37sZ0cE1P6z3dIgitMkzpudxP3RPYpCv11keBTMpQrWR7YOLS3051BtSiPI
r/90A1EqPNvbTV91UHJbw8O0RJPo6tejmRvjWPXWL8KAb9sWGODYLQmrhbr9CcVQd52mgUbENSv+
66rjuuNJTUYXRqXMaNc+6jxPyfB69+VOuydI7UYREcTWergfZ7jSt2rlBAedDIEmX9p2gBXDPMgr
IB6UqxLpNpv39aKfitaeCW2smqmfZfVmV9+OSxNyNE9fDA6MWXb7RS7wgB53TKLwgpgGtZQ/Fq1y
bJyU0OizJC/eYBTok3Te5QAc6IDtx6X3QvBzD/SJpjlWnnT5t5Q0PTcJ8YW6wLs/+cPyycCBytJT
ViX1yfnV4c60ZE9KDropVNSxzKk8HNxv7Gs8+vSF6a7WgzYpJ+QLcCsw8ucW4nmD6nf5lbwL9rM2
/U5KohKLdrl5rp+qZyzjAeXN2g0TMUCRGG6Hhoi2QfiXLFqfBAYZZd3f9i90FyunuexhgXB30+BI
fG4sOfiegXua/nW/1cihHCewISLglkdtT3z76jejVNNtXOGiFtSWQimtZGpH9CgBjhYTsrMMzM27
PtxsKajgTi6lAWDZVczG0tFNTy2F7VVrOS5Han0Izf30F62JqgQI36pOCZGqXBu+O6drL6QlY14V
4dJoiVJx0wgnN5uM2Gmme5z8bM3KN9fWqN/qj/iGVPg8p5pr7XtfGipihuboeJSSKU8bvbpucImp
THVSraOl6Vsb1405W0OMkLLGqoWXYVEptEujY7Jh3LgS7MmMTQVPgG1SrGU6WzVQvy38ZINYsXSP
vzWZhGVVOSGwDtkLVYk5Hwt7zKa9Vqt3F4V+7/IzDPuEx0weI5u8DP/uVsm+s+nJh24U++pOVRd3
tuAey+++MFTtu1VqifzW9nc/I8Vqer+NXS+sk6/evon2qHbWJao5+ugg2Yde1N2ZJN56yFjrZycH
QFlqsBiG06A04oijr+c3TYX5BB3WgpoH8HEs+d9IAd93mWbx1ZAapFrZzqcgBvzNBgYW/XCfDB+S
TPlm8aHY/BkxM3uES3XCuaNcGYmPztF15Bj+s7BHPuzFu96LwmGGZPIdmrmNl2dRyD6MRR2eY5P0
h1g46RFb4B+Z2aWuQi9hRFGatBxK726UHz8IPai7UGmrg6M94SjnWX0oLoCBWITCVDrVJi/s0XQt
dtmVJvxW5smy+mY3bUDjipW3EsnCgv01SgId2+l6zt0Jo4EUiZJJYXL8qqfD8FIqxLiSx13/s0YV
DRB1uYnYqmfU/KjpoPriTcQ2chllv6jLHVSp8CnSMnZ+e2Hr0bawBpaI2kXGSizH29YLxZ/84BsL
LCVYZh4qEAc+Ih2Xeo0y97IF6/JjmW+5JoAH6y2gnqLK2UXjUusBWwglYAMWuzmFH6ceUmzXjLVq
9lVEszO/L/bZWE/z9l7Zwebc/ck0f+v0wOoGHPX5Y3NXF57tbqtKzg9umFDjMuLhupJ+2iIIPpSe
VCrC81lcVL4HO4HR1vfgp/19t+ut7g73mQe13WcbxfB+G9S17jaj1APpr4d8p/yAOLipkINLzX6f
XyZqVPUjA33T/sDVIMOnXPSnpHd7dhOCMGGDbZ9yf1W6tIN1/dR/4e9DAUebkPLqUB/goIctFbsy
fMXMtJHYbPw/zCFU2dZ+eBzfhEBPzc2SNxUbHg9GuZUXeoZWmiTX/WCaqNZAuitnvz76fasJdnfv
/+3bVwMlUVA+tuwAZyXojG8mAcQEVjenJeLmCxZAP1BFbffhsEozv2AmV/soLJvFxV664rK7fsam
SlzVppE+3Su+cROjYP1mK3uT3799y9j37fexEe6HsSFeEA1gboAk5IA4XrK6kDOhLD+3JXbDchjC
JHuq4IExB5KMM3NF36MR1izLsG/NxC6WMd7CkzpQog56xeV9zi71K0RB44LCLt0BeuOIkMb1CNCF
PlpCVMw0Y0/8zw2TifS/HdquFm1kvHQpB3MVaQCFL0hiAHgcZwu7gO5YQLXb8eID9iTVgm0S74pi
Ys7NWrkScaBd+pN2UnVJp5WlyQq93ASXMLsCr5LtfgDTzisIw/yJhi/fYk0KUCv8w5gl8d58fRbz
VneyGedN+3vOePlgeF7f9RxXd6QNH3+cxS8aw54LhDbeQULAa5jtFFMTezL25iUP7MiIjl4vtcMV
pZ/ZJw8lrup74xNh1MVwuBr7TGBiSc+jR5skqxE5ySmjcQrl2VLVgvRlgW8TmIoe/p/rG9j9FccI
hzQMrmhe3PGsZSuuR1pc/0ZygtxxfXTF9a+MtDJ9qECrAykPN5Op37wxAOLsJrNxEx0UbY9vibhJ
QN9X7EeNP53JqB2X3YW4E/EUJXBpEfpKTxYkc6NDomPib3FF2cn/bx17hwHnUtfj6A9EMPSW+CoC
yhoQ4bQbl3HtKT7zmAUTLYpRjXuVa//m2ns1QKt5EcnV2/cb+8o9B55IsbuUupa0Rl5Kgjthvk1V
ReBcNqHxoLC51rpHykXLyUGCJDrNtiP4sELlOiZSFNfUtGjLQDhhSl3ZgJh00/LrXEZEPhI7wvrg
foiRncKMY1kVsXWGzndGmTJyPlQnqvlWSUpHydalxD999f2ZMUY5ofDu/dI8ohL2RFucRnaMhkqX
kFz3FZlQW+8YY4YOT5105/BAsXM++BBnPTyQ0G/O73JSEXKtrR1BmdD26V+O7ZEV4phzsCK2KAEB
seLbz8xtrs8P2vpLa2XXdztqCAej5SXupTRo+1tJ0bxdIQCvJQlVYAsgDkFTUOC7FyUf6c2z7Y7N
WwKfkNh8JVV/wWmdBQ7EAHXrF/WPxlbhH5JA8JEgvKpl5f5gohMGQuGvzB7j3VR6AvyuTcjJNrFi
k7egAtDarzwb2bWIbNF3E0koiXRna2Obb46zjeBZW1J5K1a3zcEsbDfWK6MqxpV6h82VuRH77g/l
+w/C+ip5+IxkSigHlWQD7G1ZnQX4MktVStU5m+BgH7biD9+CM4zzlGwUDWU8Ve6/hUL21SfOA7EZ
UJiD15Fs65jN9pZ5jTHlkuM008/6XGRGEnodj0SzAksLIFz2vYaF6w7f1CC2tcjXN+Kep09YKhVc
iv3DTswEJLkGmw4aIqEUd+KrDS3y/wUWFF2/6muwOfOdw0UnlhBHQ/IONSd1exsxh9W7gP3EySgM
iuKUcY5jNVbNAEmFxGFzP851y50zlbI3FY6ZOjHdpQM0cywhVoUOOD3velfAZA6w+fR8+nn6wS6Q
R6485ld31yrUg2oxr6bQqdu5xvr9uJA58v1+eP193TymB4TMvTvfkDyYINJ2i6PtVMGS1Gg+fJHO
kWp/vOUh1H88J3LoxDAqy+laudNHKdXl0c2+8cNiXFTOyIOoUZVS96W+BSqViMUyGjvfzUJyqEM0
q1vo5ryFndU93y5npe7yYd15qR8oCarJpmrAXydLPvCPpK6IkMKvT8yh6mcrXT+rVSKzd3wEbIDo
WsXRobXr/j+ezqs7VW4Lw7/IMWyI3tJFRLEnNw41KmIBKQL++vNM3d/ZRJOdWBDWWszylpYNu56/
tVw0PThVhRPZFyscN5zWsFy00c+94PVnImee4WfT19uUuOEo341LG7lx/UHNHmDIrns4g7/p4F8F
yVJP+/qLhA+NmtwsXpr+BAHzA13xrNVeiGIGkSCse9IPVtyzeYMxz3MQXUDDh7NIHxna4g//u5b4
ZWgtlJ8R0rR7f08sErCfRaUInwn0lLHjIzHZvzBhzfQcID5YOBWt4/7FrtFYp4u3vjOp0TTU17UF
KW5cdYad0XVUUJtD9MTvTVpBm6AGnsWaA2ufp42gYxPl3fY1erYU8SpXHRhJyTnkHVpm3tSqxOxg
J8w1FSmFrlHiShIZKVSlCP6K2SxZK3U03flldAGvPoUoo271M/i0fNKr7IQnIklll9TsoJQkZt5F
70aD/5tfLJQhUqJ51pHCiBFMaDOTG08bw0slNi5cRbhXgBucMU9CRaDAecN+Jdgd2m8FLxCMdiC4
ig1T1tMrGEGTEIoIqJCYvdPiI6/zeCK9bfDnB4A+AOcRNoV6Ic51WoPxS9mPb1JeophKVVbgteRa
cP6YlAg24M+BlhlFREfBhcxBTvBOqtYnjx1eAvSnALK77z0SXXwhoxXNy/YoUXFIGQ1uQdUbZ9Qi
70Gh+GcqiYrf6A4r1Y1UjD6Vl1WgPAu6Vllvi8m7N1Zjp25b1ctin2u8cljP6bdxGmB1kCEkxlvG
wjDBmeeS/4bKsEaCtRxW93FbWSOpUSKRVZoLRPEVLrQ0ec/6jWNBr9dVEGqg9AzyL7J6fTE3xm2H
o/PeIwaGnFebDxVZZWEg9Mxv+Or2Td6X12u08HMSE8FHQ35PzZYfmuh68BswhSh+gwOAOEcfZGuw
kyj2IzqGfCOydQj1dxzM4nklVaR27W7ZhYkFF9m+oFx6HjYVoz5eabvfTDQH41+0IMEj8VwsybE+
wl0Za95Sa+0Lsi50tuCtgWtnRf68zAM8BksH9q1vLzvrGfKlV7Ou9B76Bscm33E6J8FuMem0B+2F
XH+nNqJxvECD2BQTKbHYasP2uuotZfimRvbRuOfvHParimAZVLAeuXXTwPQZG+i8IV/Ulfkv+4BL
Ec+OQ2wizXfPvpN1AkQqIIFSWrJ5ARTRDNhTXHef1iOHBIYNGCKE+llFB8sK8SFEBgcnhFxXsQ+j
wPAyzrQGPnbNfbrlCgIuIpHxhIKDai1aIX035qWYu6UV96dtzL6TocJJrZwUMQ2sVW6jfGvVn11q
EltVDi8+AFYJf4Gd3Fpd6nwgc0i80p8MbFPHCq9WfXfeF+OJQDdKiXeLQ50/0LcyxMlGkYiTazVV
hgbENpOz8qB93h62ZtDykNCNhd/GctGBqMUFGWCVjSW6l8zLMXqEzDh4aqwjCPLFXY0hFHNVwaPs
jIIbctIvMLeTjihzZgGnilMco6xbCOmMMrscYbCrCPANTFJAdqz87RFSg3O96X1QiCDlNi+s1FH3
gJYFfqAjBhavvxwjqEP/yEHEVrXB58kgE4pWG0Y6PCbBcoOGSs9QkVSztuhhp6Ii3D/C5kCjjrUZ
z8cj75EWrA7nJp4Tmtr0ohImXEzfS9V64OUoPLCYok/AXpUz3Cr8W6S1Fv1d8XtGabZjnoFEHsPD
XdV5Qxy5uS9/+UCiLE8CRLONjmet82B2rgufaYD0MjlW9YeF8vUupsr8gWfxIWSXGS0k5jyf0Xy4
oTQO1PzAXuL0nao2HxOXMXYp4ThyPIHozOKeMYDNCcxpVv0NRmR9djlrZcYDvpxeLXBFvKhoosph
Uci2Kw3Zd3RVGA0DwoG/118Lk8O2z44wiRDR62QGT8AT8ftOGfkZVYndFs2fAoUuBFbkuPJ2b63+
7e94TSRaFATsqP89utqbUSwsjCLodvH+9frnSYvDSsQRm1tgmbS7Kck85iruV/cp0i6d6yzvDQeN
ZRu+T38U3ZcPivDnRX5e9Z9e70LYxlkPQ79DOp6v8Ldrt8fb7uJynmwbfus8jcikFP3cHXXElSto
39cg01/Pn7JePprzfhhcsukgD/o1aJjrrpet2vG8dVti/1GEQSeahc110ZrciuHgPXqm/rmokV2Y
Ji3/Rn9FnZUclgvc37PfIMB5ue2Gf02nF35bnCe3/qxTbFrKKlYWj9cmp2R/95Szf3+etnx8XKAb
S6V/KGIu3/4DzpRLCldQzb3sUNzuNZ37UxTBaaE3V2k+LO5u+xyEfFBq2bhlQRi8uHniFBwFCrP9
Ueflqlv7Go3ZnUcejBu9vzs2liwAaBc8R1nLiQYOVs/bE1JkOLrWsXlO7EE9eracbXNypebV9dpX
MdqGy08DClMhXPCUPkxGB1M1duqaWxUyIrn4o1Q3SbxvTsmkWbPiI8MO1A/YJcrU1KYR0SEEwWcx
NxEFTKc3ugHI21AnzLHyYh/3Mo1E5sNukcHcPMRvEDNkX8KXm2YGfq9vBE/eFqJPVI54163dpzxG
4LWCMK51kRtAA4oFJvOv3YC3LLAsfIlLE5VDPmUxQxoEbbvob9CbvdmLl0hqkQBSXydDFC78oaC+
7XZBuG2DYncJaoSy8ByhdP7+K6WK3juBHXzNq0MIIn3IlZ9IZnYn3WHA/1BEgNbWwcY0eHvK/n2x
FATY/GTRPnKRxNiTi27IJYX1T6v/JABkX43+2UhTa0AbONKeqY48VUoH5DpRXn5jENxwJS+nXEVr
lskz5MSfGEmo8DXvNCnHVTHW1f3V/b3LCZwelPB/Wv1ZM51moJsc1KE5Otf37lLOqIX8lf4l9V9d
kaXnJKBGkm4Qi/K2Ywq+c7A/gTJEwipQptUk89P9Yx55qgcuHwFCXIeGNGuP4HcgDlI7l21P/HNh
mVXxENxOnovaSE6IzWwXInzqZRNGzoKgsYuY88t80rccbydvszE7ByoKtBhUBuWvsj6PFE+xSyPz
LpQJqWBCHRmh/DSNF68Z2g7WxWPYE+wnPKrEYmUR9iY1jllWA3Fyoo1Kx4AYs8YXhOhhPr+OWLlv
A6zwWBWmNF+Tv+ih05m7NIEA+PXLY8WqKdgA2WWNaabHBjTE88ON8kWVRjo/Zc9Rjp9gaWPtl9Fg
x0PDq18MpArx8h5X0RSVmJZ+zf4SaEoX4qGt/WDgnVllttDQqbl9yPsjhm2fI9JqLFu9E36xg8H+
3CcFK2cNxqF6ZGQqinm9O693S7s+T0XDf6JE1ESaFSK+RY8MKdDoOsv8ukIiJlt0BsMY65F4/qpK
rfdxXWd1ffy1OD+oLzFlXsoqz/GjG6I0/mBm4VDdHtNrpH00iHYsMrxHGQbs8bkmEEad0L+gTsW8
vIjhG8P7/tZxT+/Voh7VWjAp3xAvyXIHOtUb3pOyBdXG9vHyy4J5eAexjoH4kpiTwQjd7Tf9uQfs
+G+MqBW2dWazaUET80ovn90XZnuI/JFPlHBNlknXbkTjXhFcK7dQTeW12l4OrRZeTlRBlElcGEl3
2KoPz/u+fEJOrRbqy8rp6HZG7fao09SIywlBELkD7zAipL+6V0ZUr7YLRtsymXdGBXhbwgvq0HdG
l9ykjy/GK1/6GX30UTbOxo8J9/hu8GO5jH8RIaNKvFbXz996mc7zCXEiEV46UUeY80H8nFyDlOvr
JON1MlvdUzAA9KegCMsIdon1ynEyIXpJJgSzvHvz2D7KXxibfAvSCRrbQTq/uz36Yu5gjxj5b/Hb
WAOzGTcBDzTHXxjNRGWmUai8/dCkpZod8y68z6hEi7cYY5WBABqyuvL2Hd5c/kgQ+XQxmWZfBYjQ
HAPDmchG0IIHHvEFGecVAyC9u9xeXHRtM8RtCf4eRBAHwgS+0p93zsnnrpoXQWtRBBXG09sVsQBW
EpF2iVzmaTkrZ29I5Isc0e/aOHOKE43JBhbhvSAAeBEw5Gw19R8Uqzt4dk8JY5KCIa8R0kDwF44/
1GFKe1jYPX4Eh0BFvVrEKR359C/5a+/kBmgG2dP3iHWtTaOMoRoj2CgSbu0KYQVxz8gXNLsR2JoJ
FlFwwUkGgODtdbKAecS45YsyO2U3l5Lh2aF2SMtcGsqEXkNB+VYoCgkOV5DNQquAXS1o2Jt+CkZ/
gsARvGvG+ic/V3SJ2q4Q7ATpKwhqKf5zyf5AkQQJmlj72t+3tL30AYWpDBIIpjGQI/BxiAoI5m0M
7EgqJiSb0HPpcoG2AeH80qcfUhW5MVUgoTahm8f9RX+h1sC9q+pblKUhtlVoPd2wr8CVGtNlk/WY
H7gwoTZ4i4dIMTI7SKS5H7b2d4jUcNWhhDEfEPb+fe+3vP2ex5MeDmKHe0lyWUB5ETgxkN1wSrii
pWwltGBQb4eHBSySXJIJlvKrBzUKawAA92rTC3vSaQQgD8qSKgOS0sfOPiaIFPMcvyzN8vh9+/yT
vDVFpoLxMsY8gy95tZDyivl9zJ3pEQesKPWSMHGwxsMmcQZ76SLVy5zuEpUMON88OFuy9GTLe0Bq
zaRQRiq60WBMPv0k0ZaslzfayTK3s3FnJFZw4QF5QWYgOWE6kfn9nY4ly1i7p5dLdf/87QCe+mX+
H+V+sJa5JLNJAHGQWyhBBDCKPzfiZBJ7UEAuM70DAIvd0ovllUYW2DrOOh1uSuW/wlnu/q6gUlKf
M74AOEYCBXbBmcl2nB5UzjWRcdCe1/DEiI+1EKUfIzETs2AhTczu/GnUk6fxxMiqYxe0Jivdq1yh
c1WYmdSf7WU2gqZVGsKprMzaEHgmWOecpvpMKPTmjOImQDcgmQDfhMYoQEYksSHbAIScLGazmdCZ
px37aVAcunrqGMuOSkdBB3w25qEwhg8Iklip2ZtHq3IT7tqHaNfc3Ha9Q7pKdttDust3r917FTrF
MHLCVC+H4QiFdKfvoJZ+7DkPEqsgm9yh6EGPZF9Lr6auBkNN/iOMN3IbYb3BXqPY8WGxgeGVDSS6
MOceNnIPn18IdlDAvVyuGL1QQnSuxPm4Qgdj0m9qSaW9iBr5AlxOqk6WXel9ZDHcJuS89j5yI1cp
bhS7wssoefS87csKVcyZVDggDWZChTGjk9NV4mdmEcLAdD1Dua+O3J2CD1BX0LSyCfJWAIOC1heI
sZxrgKF8/SEUUmon/tUaNGIa1a7ru57/I0RG2GdUVTXBfXr2VAChyGbyNf3x3XieMRs/XynDh+rG
ur/O5u/le3kzKZiMs8lcZ8UKLkZjeIax5v/83LQ1+Hmko5bvcbevZZN2iOiWNjh2cfI7W6dSG9U0
XwBcgoOU77LPAo/8iHcIXlq4Zjzs375CmYMjKUTKYgiuBBR+X/tZr3mbw1RK+CDqj6HxIWTZ5o9f
3L2UkPzz1X7pWx4CypSi+MDp4sRAVTHVb5xcAvGO0erL1xVAANkBNkcDvXvXd3c4nwP9zbLcN/K+
8UgvFFFrYGRto0/kTv214955PlgkEgE0GZlqYps1Jszaon4B944KOkrmuCciXpgaD7qrnx9eRDIo
mhZ6/vmhtUXPhCKtiotPoVenN2JmtVZAEoeRLBRTFlnuB3bDvv817LfZtpoW9TkzhhavQotX7cgP
/acnG0+TX8TDwnsOVVd1t5sOAxw9LZiQkSMHcYnLlcE4XsGIkTEROJw7RoLv+Z63zjVvetU5qtqP
SzJklvOXLYzZq9Vb361Eh8jroCATacBzClRYqMjCov3boo0T6c+RauQKPxC7A9ah/zCiksx7ygbj
A6YkLMe1fCQKL9ZB+NRU5gG+hzhknc3Qeu1FI4Cu2Sw0+Dpr9mxq+j4kZxiptZPajHjm0pNyzIiZ
1R7lx/zIbIgwD9C663h+NeCn6okrlNFacxxESrozQfCrkBS1Ex917q+n9syeCe9p1tCnu+Xj8+iu
U0JU/fcBaauxywTWHDZqGlrGqBu4MvYabqvH3S5yOivsW61k1jJbK4aGkfgZh1wOu+Kiye3TbqC8
ssFiIx4qbrKLh+/TddEIrosmUCbWmnNoPkKWBzDbRgPmWDVPT0Vm0pG4E8bi8ep2u7PqjmOVdqGz
dEbqit9JE4S/PwjLg9sqBAsVYAusonBlvPALGTYS8X3fFjRrKHIcaEEcmodw1/jlAYNE789vq2h1
L/RodVspQW+iBGoQde+jK0JV0EFoN4WLc20it4VTS3wqt6Yyr27666Zzr/Lx6un99DpcS+N16CNn
1P9NN73f7fKMIlGMROy8g14PUtla6QK/xF8JjVsQkl56bZnoO71Jsm01YAcaTTdcqbXzkmI44QzV
MB6YWg1HBGAGqsjFcg192gMFwa0LF5zaIkOgF0PlPNpjQEG5PJnSByY77oqkInO0nWrtUKQGCEcQ
t+vbW9QvRp1hjVGS3g22AVrm/htzwEsQGq2EojJOZdFKcGBAosyK2cL4BTX7AOWxDpe9WXtGoPn3
nr8nRmd+Rg1nOz7jmn3dKSgaItb4lyzyBd5lUyC3gTTqCInNCXgQ1K5rcG943s6+H6rtopewSYFj
Atm0QKFI2IxD2whkIbrYqEU03XEvuIF+y9x4RGFRR8Z7tPUb02Scji+bAUJoRHNPxAJ+mimWYXVo
vE8DZjbxWNN/oNP9ss8/b9BuKdevHE8TUgf74b7JkLTWfLWKzc6kN468Okhv+p3K29lIOHvNyA0h
IfBC8DY2rw26VPkGfzQVujghL4oGIJXoLNUaWqW3wu6nVs4Cx+Ppnn6k7SouPTwGEcLFeSY3RN9X
NC9Z2gUm+qWqNUEPNQg5aYsA5AYHZGcGog0aqDYLASpY7zvK20h+1MbA/kGlGyoW+Ztxng4gBXCR
sCM6XtEu2tWb20rmxKrexKkh/0uJEdyrd/VEHwTnWVrA06OQMqTU2IFtSr3ZpE0CSB5hH1qNqbN1
Xu7Fe7nhaeu87fOwN+/NZXps57Kc0iB8eo/Vg2kiv+zBT/Lu3ou5OKzcN9dGkjs8nxjhHx6qSKYU
tuCcBaBJPC4IjJgyzmMB+Y/JNJNTjPUVUrqYK62EJrcJpyWIUGpBHD2WiV3Z12PYgnK0tvYLNVQp
bMm9uADKi6aLYocpHgmymONOr7MOmF2hCgpWQurjMKsmi6McAzkCcDZQXAGHd7Vz52ijfyHMNo4s
s4S1jbSMI8ziM86M3MyMjIXoZYYzIenL/1S6nRL/f3OAt31YlxY2fnbTGtDG+15i6Ct2keP0KNLp
P0jw3fyHT9fy4dfGm/CvhVABw3GEOv5n40I2bgT5qreRhiz91A6hFkG907dy9uq7Tz1CPdnkY9Df
l4/i3TQug3IprC3ZybV9hO4WwMYBRgCpTZpm+4v2SyvGriygAKitEAXxir5IsaReQtUJQ10AFWKx
y9HunaK/6K9/ogJxmwpYRiDaAty+OKWvYBqqeJTQptnn9phGP3iaAf0tdzWSr9ildfXBJvzLQE4L
SziF55x48lYAMTfRorPJ8CPLvSYqo90+d6hxynJxaaOWqmzOs2wls0TmSPsEv9NOvKbbdIWFjxSW
in3keddAJWJXbc4+YlgUUj11/rJEQayvb0256hZrhVarXTiQ84eZ83QU6Gmy8SCQoC9ABjlqdfIE
uWFVjczZc104DTryGZaY8WiArBg2AOBVaxczbw+0K2I1IljTt7/bd/YKhbRexTPsuhfpQmCFL4Gq
YIGISAgwqhVYloS/3Pn7Y5p84P1XGr5UJKiyhXQKASiCZAPwz3onqLjziFJfBvJd4G+CMRdQ9t0X
iivLMAAF4XZWYD+E+0SyQH7HXPtGDDKUJBUgnGb0yhj+Bu4SvMe03ImCHjv1Exw1UXFo2F2rQtWh
ZYZOz2qZ6Fl4CjF+rne9XK+HIs7Q+dA6v4MOdyhdOCZCatoOYyAKzzGMDSZ4HFyh2FwCIdcIhmlA
Oi+8bmGHSy4Or1wAqIIqEzyRAO56K+osYGRwFrMElPdtYgmXSK551DzMLYkkjuSIkKiLzvCJEaJs
ctkR8ZMO6zaehh/ZO1HD43oAekJ+g8mHLSJvNGZ43Pcm/98ucyu1YlP+2kZIp2ffhkhEPnB0lFMK
xNMO/y6icv4l4Qvc/bUQoL/8JBgaoXVmwZeOVGkzRPaB72tSKZWM7pMvofoiR76A+tclJctAYDc/
K+L33HQ/5yYHb119agcihkMLFKYS7XkiPWHpy02QOVdzIqUuenCgWn+FYfIlElEPQHPKbq2FQlYB
Rxb6GIMBKC9FC/GTFU6Z8HVo6Q9p7iFQ48sbCDdWHUkrHYMX4OFfTovAg4WiJRrOEJE3K0KE3Foh
7LCnpc5VqQUmXDhR5Zg+vMhFfSpsGVybJ/n0FVqNkGFpx1M4IWpjPAoDUHhXEeATOhQ8V2g9EgEI
94pKL2cbmrctA1oKNsCuEYYStQAhMr+MlMFOjyP3blwjRA2p/+Fsc419c9Z6nDuqjhYySEHofecw
tgD/JBLVIX2uoehXSDoKYBz8VQKUJLUlq5XLvwxwRe9aXeu1a9iSAlS7rrX0I0Jy2ZC7kBqTKAcK
PVXUJL/CDpKHyU5+xR+iKbbijGz8Cjl68ntZWmpUCmGzyhNkJBJXaK0hPU/CHREMkS1zADN/FURE
TQQ9EZMwQuSx5OUF3nedCfcc6ibkW0UbrSTvAzYVjCRnlVqXCLhJCPG5rgkZ9K0N4w9D88PqFoCi
YEgBgw7x2oGG8x99WCpeck4ZbWxyjuQmTDe66CFD6BkodEasxl4KMrWccbBi6UQmeMZkvwDsjnUW
HZHq0I9HkkzxKz7OZmDWgttEKi2ydXAnKz+VmWRSH0HFMXa/5aGOIxwtNFQ/pVEhy0FMdITm1axw
4hNwNK6bDBjWEgaewKVD4NSshFzzb6AdrzOBkJ/ZDVn4ZOlrU5QTRqash4JnzyjvlVSYvhsfdCIf
VljhkMOok11MJQcxIrMJqpIjiogyA4EG8CcQ/IhFmNkyZg1dZke6ag1qWRS00r7G87JlCdgRKSBq
a9ixo9EvXi6s6ONozhvN4+N33gFLAacigRYFR+HmyrT+0t2/JUTo8RcKN5Ury+qTmKJrCJpKIo5K
b6C21WNtgb40FMo90pIIm81J1VZ/1Cy+VF0q19pIBGQYHaJFgy8ONyfUlpgbfASlaqNJUlxbEpqc
pwWq17PIT1YJ4eGWkK47Ucd0vdRxS/IOJdGLzXfDznVOk2v6nlXBbZTeQA7SIZsgXPtELwYr4kWI
Qd97Vk97i5pHvaAp01GN5KuNdlWkIxoQ7W9s24UyU2bnpTLLR5fxZZzsO1jSQoroD69L5LPmQj18
79/757G1x0IluAaPyZ0bdm4MpDsl/ERYaDNBmqtXCPa1/5r2V1Y26626K1y/2fJFgXmYiqGboP6F
uSbcNawz2PCR1QTdjsnyB0KE5h2J9cCHjsf5iMfxkmXqswlH88tDlMX3O0nk8nohLSb95oZgAYTS
GI/bHvGgKH/NZHH9qtpICP0daHwcseY+gj3iBTHp/KyYsug+mGciHyi7df+QHWSGfYnmTCkE0S66
ve5y3nua55PhU1FYRuZrTHVi6bpL1/yZdrW1aDHIxV2koWQBk2CRBzJERFzsAYRx8HM2KGt9qkUP
W7SSeIHlbvnzsxZtJRJNyiESr1Zm4QGIIjsfuK3C22ZOEx2wUbHYEgrHhjyPwnutBQ1DlMEKR1Rf
JWBS4Wd8NWchoiIHLBhSiU4SD6QNaxNjU+oLIq/1XN+AaJZQOngRfcnH2KUM6ginIyo2UrchfbZz
4NHk99OMes12IrUbQSte8TgLIvIOJdVMIHyhv52E/gVDBvfpXYctV7FbLpr4w5YN5tHGdE3QLb8t
fkqAJrYXKijDM9nVaNvErvVtd8YCauzOm5OW3bIvw8epO+lOBmPy/fHVu3jtQrt43XljKRVfGf63
UeJMO37Hb04RhmbKvintkp7oAAH8vpE6UxDIyV6mOuMJvQChmJ/HBxFhvAzxFaaXSl3Oah8eADIz
Q3a2QL+utMiY9HUn4K7S7Zf7ctf24Hcwlk32hdbC+JuxqONwRayx9s1dDVZSS5zsYTWHSlAaHnVK
iSoarIDe82y08B4Cu4gu9cOh05nA0omQcDd5tNldlFN8e/KxHCU5NtWsA5vQhFTCCvT65DaFVX62
mj1EiGx4Xcgwk9qiDDGp+9x/qBh+Kmaxtcz1navvdgh/yYcU6UC5ybBq2HJqs2Ho3P+40fjV7tMm
+m2534L/hTON2eE7KZH5JtIrtJf9QlytmNOJZCWzWss0QJXuI3sW8zScC6iqfgXEQB6YTW4VOn6V
ibj+Jl9VZpPiX210iWTlDTrEs4qeuq1xOXkFSLLJa3E7652PCJnojX3nS0I1W5ZWoJJmqaHd69Br
kvoWx5CyHE5Jn6sLarbkVJxhwhxnJvGfL7J96Qydsx3POEkh7YF0FrUDXlEE/uT1RS1OquYvv22A
fN9RKHCyP/m5xd7Lp6iRWkz9nC31G3TCcHXR47/nX+S0jXIhnyV0dvH0Pk19KqjZomk0TlK3lIP5
PT5nSBp6SmFeSvPysbvWmxcXBUc5LSX39+F1SAVNsRX7CStx4NfWnZSgZvLJ2WLyZewdp46Z6eNi
ySdrI5aaTc/6jjPFEiNJqwj8ZczOkowYN2Bes0PLA1zBRzUSsqQpNWh5tOgZunJ6Y8TnEHjTs0ls
NXFYpr1g3cwzlUfQc8bDld8iH//Z+XqIyhr0v+3LlkzcfzxH1e/3c8lBxGJGb7gNl1NIji6PkKbg
ac5VkQBQH43QkF4q+pLF8uEuWRD56zeMQyl7M5Y+wFiYNSIGIyQg2VDQ/fYGxFrgq1oL6sXOzGqT
mYSmyPRIutgLpMuIMAYltNXfaTAMbhRnArke37UVf6FkP9D2kvhQuueSIxcQkUhaSGfRME4OZRwu
zU2p2PJZpZ1JksqqSfzn3lEk/yhcSZlfNmlmqpNo+DrcT2AFMQEJCug2VjuQVPdp8iR9AGxf9NYl
iHxZIhFa6yIo9t3hj5rI98VWEsZyMfijx8H933V/XZMr6/WdoKGBlGR7JqlzA4HDKAjN2sF1zS6R
nUTd3ezN+n4f6cnMue8lO24sRBZc0uwbj3oIOBuUPhjNZW5/Ph4TFuAPWwNt+J4/4H4ADH7LRekM
ID5OuEv0qyVqkI9AxgLyhMzsniPDV6QyZWbIbUv2KbPjO7NfzG+KnGw01Db1Rpap5qEGnc0I7Niy
ZOLw29HDVZJqt1pTxsr47Mmtx9bsGOW0X27efnP4cHI3PWs4YYDg+/yvOcw/Fa/vS8l9m1JnoivB
M5y9Bn5jHOZeooIIWmebZuv0psaCi1wD0KPFi/QEFH4l4WXt5xjORdMolJDiMwK+ihN0mWX7RY9f
sndRAhdOvsSysM+IcqXjTBBNdCKx7VfrASIpPxHdX83OSMRXRIuiRThDIMkog/s6CelqBHitbYoD
15yp6s9m+wWaLhQsYfmqordBPKvt4QTzDasH7mk20kFIsxHyJQNKGBRUKlQjGuaB7hSISVk6jBfL
dJPSo2z0aijeZ17kd9wX9J6hrCZyAqQFmnAxeeB196BYyE+nFiXD70Fv+SXpD9fNzgxI3jpZd3Gw
hqN4xGJy39pnR1DeNL7LY0mKkJBkxOAw0kk+ybBLlxawdI8xLZRvbUoDpAyiS6zCNyEjoL4gubtU
tSS9f5pQjV2cZMJhw8GF0WxYopRP9cDA/0N0UweLr579R9H+E68AUGK6NG3q0Gx8pyzUDigNuYWr
hBo2MnZ+CIdkmm56aLT11kS2zkSd31fV5r4azJsu1OIATV73wXH14f7AA+rbUsWgxm5jVfqhygMG
gi3Ygkco9C6ppwlpVvJikQO5mMJfvY8reBLnQFTWYXoSeRIfy9YrQbVdjgh6EDT3hghuDMy+oYmo
h2QuEtBKDvfdyNOkSsFNyGCQvTCWSz6MLiGdQU6BnAcwH/kLFDUoB0gZILEky/tIW89JfUifhB0D
SgclaBJgHiGb1G1ElkCgFSI7V3LwFKi9EvqFXncs/g8Z28vKqLOJ1PMLVv3wsgvpIux6/6+byQR4
s0kyJ5UgfCU/6Z70v6mBMD4Zrl8JKclxRSttQPFoQtY5G+gHSUUO+b8qF4EwAWDJZUwhS9xwRdvw
oy2qvhiY6Q9n8KlYdXjiQI/WA0oTh5eGGLFIlqlun7Eu7cSXiVUbjZSMwZzBt4XS8pHtyV1ZFyQq
bAVPCH6T9qSw1N/CIkhMzCdpkbyunI2GHgeU/u67povVJN2ExDv7/TFeFtcZrCm4E+Cux2Aj7k4y
ray6h60x1mlI3KEpgQOVsV3h4wxPMzRVup0AuJBB5oxSGGP9oCRwGsBtopQJ9181Lj5yD8kPPvfV
uoduK5pk6qazCQv3Nq2J5qiofAWk1ZZxflOPYKBb23F2EpUtqX3ePGVy8+TnwTwabn/pZmDKQbET
s4HVfdULGnMKr/g9UCOrkXDHcBVxZS5/UtiQmoUYYNQ2JQ39Pe9omdv0q2kfwthPw8rB1w0HXjwK
xxnsnfBYOJn8TPEuGqtDud3GOIn/YI/BZeYM/0wuJMnnUiJavXLxeEAXvxonbL30ZSfdXMxGhXcl
EgThvAvn96aHOG+IJ3V3VWL6/ZxswfhZt657y1cx+CWQsIcuKnGV9ri4YA7S26oFuZHAwLz8KG6u
WBUx0UVrbjiVvcmPRDw5krlcg4BNaU8LoK0ht7bxnH5DNZFKoPWiYhESL8isidoI/Ehm5ku5rhIL
fPJwudjGo67fp9srF1Dp+ZKb6wpHTG7IGXDRLnVlXrr9sXDj5RkNFqwHvaghZLadFM2/m4iOi3HV
lE4ILZHu1cFQSqGGnq1y71sVFsnLniuK5FLBlAaJ9D6+RVappLBmTnBbJqNuhs6LcugadkgBriYX
kfpkUoyhdnyrNYKnEaQbOHIpUheAtaQB0Glr2UW/z+6zK9tjkWCStThLoVQ00CG51FqGGinGHbjU
S51HuGsUh1E6gE7wmD+RdQTs82SLJucgHgOSnryRRELoyOXCgw6FVA0v3IMX0EAvkKCS1WHhzTEn
ziV6THVXDS7D5hTQo9DDgoun2jentdzqfteqPdpPPz0r958Z+QpdJSZ6Da/ZKcYt795ymg2/z8KL
lgcqjuCBx9C1IqDtUpdpYaSFq0QKI2+AG9i6YIh3PgNdgDcxSuvo3NEwd4FyEOmlFJHrjxWM2MGE
w/uJBgFnh4Th93nq2vyPYYVLyMvCGm/cmScb3OM3DefGrffEipaXaNrJQZqfTCGaF525tGUwIGGe
9myKfiIMXOojolrJsE+7nb+kG6iHxGhSmvwm3lQVTelPSH9ERPRlha1PdBux0PUqCqVyZaxYjGWT
5mbmhh6GOs3fmgteZygSqjJBP6n8UoYq9l8G/jFUkYhJeTx9TC8/QK5wmtC6OCgJ10rZ5HNzvd20
7TaXxojGrNw/zcvqadJ25OUx3yEbAtzCJgLn39Iq0e9EJNADRybLDdTVVRsg7fwevyeRnY/fCtOq
Qe+EDput9H66YKoEaQW2alMAbCpos0mrLScGVIOctVs0l2VjV8m0IJx8QlIJNQk//dIpsJxBGNrB
4obGTucvJjRocAYblhr6veU7gs4hoGqvMcICWro+n+4B9GKCCuoX9IewkiVY/k+Z3DnVDh1fcBMx
AUebR6FmsfmUcXmkwJ2Mcdu+b810Q1FOfv88DebA31HvuK9kkW2i4CEtMTlNsoV0Pi+zu88CF01F
vjZGZUkaSxIySGtYhAZQ0wCGTbtWdClksN5xr/vFAkY797QOHPI/rhPvmF4enm1dN6XJPphcfPob
9KGLUx9PavGl7gUD2BP6YE4fzVfxicHSiub5p7zet9EYsZncPYwXgR1H088eReyc2J1eZlcqDQhp
pOy7XF/ovlGRj9rSAecLs5rLHgehus0xvA3sbRDV68HT7sP8fPy1Y7Mc9ai2bLb1kKfJMAWmQ5tc
7wADYUe6wzvi4slYgV0XT5uzd8OBbB1fkaYmiqHS5VXP45YW7VN7HKPjc9/460zLrnWm3MMSitkO
Cu7TGAe0fF25CZpg9KIrNz1Fb30QEMxTianMdJSOsJMen3+LI+HPOqMuq1JUhrPURQ9bx7esZ3RZ
qROMmu/LYhwHCoXnBJguBFKj/YvxJZwZvLwVI0eVJ9Lex1aJGyvwWaAoZpWZ0J6gEp5/b3uV4jSv
CfpyYCaYHkKkTkaNN8F+tCa1wI2gAf5NNc5Xr70dt+DkQoHDDRvY81pJCzNhl85uz08gk5//oq4Z
ds0tAmRoYdNMJh5J9Fc5SinNcC45xURj9G9/E5j72LZ1dCFAcRUTH25Q+7PuSdQdRA8MAIsvPfTf
bCbSD4gaeNJ9fA+lMynCHYnVWH+7Th9ls1FnBGRUiSGImBlFAWZ0LF/FWScNSufJ5A3AlcbC50tN
sGxGGaR7hA8GpQuK1ACGFwBcIgXhTCU/sj1+0j8GNV/QUkAEAwJuInhT7go26R5v7cZh8im9QDfv
shAIq7057dOCbE8VQroG5uZUhLXD2vsiIHGVwHAadR6wU3Q2yMJQ6JHvUrpVZ7iqHAeU7fqf38hf
pWIrsmWyiWAstfrsEzQTopJtWQUNTOSsU2McvS2uc9J8+Urt4gcW9O/TsEmVU+qcEd1HqXVKpZOF
7RZgfPVJe0mjaUMrNKIV7ll2uT0d3KvYaizDOhjeUzzg4vmBnB74rGex+aFPioz5m0D7V3wPkcwU
tXp5ey4ALNxbPTxudVnAMycj0YGQhEJPz2ySzKseMCIW7etJFu9HC3qnnmzk54rA9dAdi2IUFrLu
f+0tudKRK/7+j6XzWmpcy8LwE6lKOdxa0ZYjBgy+cWGgJStnyXr6+cSZqtM9PQ2NbWlr77X+9Ycd
oUZrSOAL55k34qsr/7KFzTrYlxl8lZGm5C8z5m+VZHJ+M5hY1I62Q4PMr4imc3WU/Pm0bNnciiK8
bQn5+7sRC9q+eBsq4N0Y+VAgLL+WYVElOshGqY0XQvIb3kQbKcZHsvIixceIZ4sLg443BabZ+HKt
vO6MbBYhsVGz06FezBdKdLuwlc10D20RgYng/B4pI/TVBaoMvSzIFsCR6aHG9SdgxubUp3b0qtzc
+TTWTgryqW9hFwpAfCCZh4mYKVAm/maU4dnmDCydaXLl41D5DZ6VmWMx9vFXt0P2jqb8cYTM1r1n
sy3DVkF0FCq4GF15jfJnAqoDrUYT45s1QX4wh9vvAddCDELHFWqJjQIMA2IX/fTsINQ6lftARi4Z
BLZgc4anwgNO9mEmF5akO/rKw6u/uMuma0QZKk0aCWkvNQsPNoVTvFvtSxT5CYPn26KMn5lQE/7I
XGbuOSWzdYbBDBL8wk7oZFyN7ooxfYLeGvkWk7xJhoGUGu6TIOVqZZFDTw6kshYS2m+sHJe6Dvo4
NdgT9Do+D/3+GW2g5E7g25OfYUbiNGH/qf/o8riq7pZrwU0PJrh4rL0QdpHI8AdxeTwc+QZ0l4SG
QvqtmZ0MF/LIbracuJrkFhwnZeogSh3CPFqbn1yi57BLapcQzZy0jTNqcbn0mtYemQr0DMjVli+4
KV8DdN1JPPTDjvMnYlAX/07qmn+bdJDgAWlMAtAP8Ppu0YbuIOSfUaNqmv8Yg6r2B3GF6+WI2aLE
KLxnbmyu4nrT6bvB8pID80Fl8KTwaW5VGbtL5VLzN5eS8agM4J2GnCcVbprMxIkDD6TwVKb+QsJ/
QxtgSdBy8lPsMdoiwC+An8/qnXHGhKA/po7q4u0InZF/B/0cvRN2TjXe6nxfbOyeEnYoOHhA/S/I
YD8CCWl08+lGZWrKU2QypCUGvP1S7Z5J/ULp0tcNfg3GrgSU9aMtnXOEqZDAfncbbfS/FRv3AUG6
kO94ggweSlIQYsa3A3Yd7WVEM+BPgj2H4DB5xGgYnOaa4VsCu/6kJ+MilEatPWT/WHAq6/uGR1Kx
/OD8t21HJmQCnl1LG/7/RtlNMRVbbEi1l5QoKsPFTe31j1Ty10gPf8al/znqLjami/lzypPm6Gvs
D5jBDYG5HsIY540FG2Max9h22VtA5n1GsOw2L3W8eVxbxGm7+jeT8Zc51j4Lri5t6RKdlvsXlLuu
8eeLVAYtbGKsdI/JmTfNFWxgCeF/QJjqTqzfEPyqK4mp8QGNPoNJjeNiHANR9u4x7l8iDgZeTdQX
m9Wpr+ixFVzClqjAhauJtR8HLj4i7DBUFWwinZuvFwj++THZnbsoyABf2AepQsZf1gAPho3MH8EU
rRtjl/6gs55og868XMQu94RvsXnC2cEB2JpB8xia8mHYRE3Mgpc9lC6Lb6s85tfGPb/S7C1T9BbN
PVOWEjmjq5ir+rlK34kRxNd0adSghf8r3s2DwSyqOHQY2QDEYKiWhuUV/RhHPBmvv/3bYot7R3nC
W+n5gTyB5PzAwVksbMEn080d2YjIdgWww2bOUdo7qFJM3lW0se6sLW4B77x9W3T5GB9grxTeS9Rp
GfetWiQtKr0Vb2pF74j9SAj+sUMAYrEINpBKTCzs2jdc15DjUwlNMJwFBzOGkgVDZ/oXVo8DFLTP
l+w4Mj3HxGzRFC2ehPgxrxG9bIu9DPkJ1vLWgpVc7I0NDGRGRv326cUvj2N6VL1inx7btSmH6YOV
fFt1YDOvedALZ2yVllhBSOkAYLxNZhQO3gJnrqvGB0Rqq+8qnhc0Jr/4sE33JU3q9goGSgKbyJQS
u8lqE+HMdpSBT6oVVh/iz/fvkVS2IAvHY4a5iuHyC1oQe0COqwycC0JyTZwvMNHo2GnuYxy0ckjA
Ybll+Vk3O0ULoWIYrARtHKSnVzaXe5WfqkM70e3ioBQ2h5ixISbCeCdgeLWy7usT34We50oNZ0BH
Z5E/NW5Khs3hcuWlUGGSWWBvcGVhLboo9LLcEP+uUDfTYO/qaZfwkvArtAC9EWu2WA3cQ1e5VN6L
IeNvyPfjdISl/0K+IH6AH8vkxcJiUHWRKE6rRuDR5W7jsNODHuR4OKrUwCJWQcu/UkJEtCLYOP/0
ikUEBzz/Xgp5mY6CKpzOMvIH+jnts6HfvY/u/baxOKgybZ3+9kLQQW+jDL+0/j1x1N/x7cYz7FOs
tkjAbU1cIUTiMwGYYAbpXSMe6OrMK8BJQYzEfkwBu5G8fDEKvrAJguLj9aMEw7k4YHuhsDAxjMCp
smH7gPKRg7dgw+RAbsN/jRtwor4halJm24GrwtNYbzhIMQu+8ymO6cbCxyMFUY29Oz9iOP7q6orX
iW2TAhu7DVed7AOQjY/BHq4L3LlLzfuClb7m2vG6Hbtye8W3ks/DNxBdPVFRwlphn2Pc5VsXFYae
6kq0Uyc+Tguxh10TxHJeYzM1sIUCtxJWgj4TFwCmD6prMWPCUWGxaRYuiLl8/l51mzMOHMguYVYc
8MvIF5OOZSOCcsPXG46jTSUxXtA8jEFYIhxTeNJggFzxAXj5a+ZwkFyKMw8u7xQumL9gmBR559K+
KjWcpRlzNPhv4365xlxr+gh6M5d7R0wBLRvmIZiZoghLw+ebxax92QM+Eq5D0frX4lywE7H+BPuX
B4c/iSj4r3zRwxwqhRGlBMvl5bzmeiA6RVXGDtX7XNUQAhTxCIGE88di+bFPvuMPPCcQTFw5yzcC
98tgYanuY4NvCarO8sRqRAXLPTF4qYQdzOIpYe/lb+SJP+JKiBclpxd3YIMcT9N9zAmbTRqwlFn8
qHw5UFQ3mJfIGXScwFLfw1HBAGS5Y7C0eUOo57wXFKyGp/7+9+185qcOXZ9Hax07mGMjiKsjlt/D
RbHNfoyVNHZubKDcNMTljjjtuvMC+WuscagxLb6xMPshxWDnABkPSiFMvnH2U+LyWOLpBiE3LA4s
55dTB6E0H5zvYtkfHgxgDPDfK7xxH3uHQMZSkWcAFA3vgGWZLEtc4fmur/ovrK/wwaxDttftjgXR
tD5mGQCL7OlolsEveHSwRIWP+LpI+CJthdcHkO5n4pm/y7Wpr1xx1wgl3Cuwk4H15GEQzvxul7rq
G8UTRocwEVd3SJPE+RCl7vHJn/seizC8syoseFmpSFE/52L119cuFh5SMDEQseW38rlb3vFiTobs
9u9qMW8Ll+fhFduM1zRkLPEdf3MreTjBmhYuNvJr5I88Pcs/QMPLZ+D5Y7aDBJef9TYcYbR5OnGi
NaaYy+dfHkQQfwiACHJYeillNtblDPPuPDeLdSYsK5eLGnFjpjMfnOOOG8EhyjPXv2S8Qw34D44V
D8Tygv89vpZX6Jhdszt/c8BiIkYCyQe7V4+p7y93ZvhhQjidC3L1ltyT5pML2PGgVrYkOq3ISdsD
dnPPYTAeIZXseDV6dvTQeKM2yF0cnmh89Ay7xIph8TDhBzyZdXMD55AQAcVvPruOyjxAQPz39qDK
MkKg1AAdYJeWWDUkRViMdygaO9wuAonwCJ6PGUZOhJbsmICAdW/mezmfMA1i3+Oh9Icjd1BwcB75
+1/9XYGhAgkAlq8j4j0F02ALwgF4YErwz8yXkdCG125oMCmKvDRzNONHVNnO5MOtPJumsVdz+Kl8
/WnovkEnourm5zBQOhe8Jsrlx0no27Vo2VEAKoEcm+qtiPej9jrXgPgjnDzACyie0+2QmsgfEjk9
qcROyCx9Do4amXXj3dTc0bLYl5TN1PHFB9SWGc7bsIGmoX2JIKmgobpbR28Vg/ASYY2L8DGnMr+8
g7lmcBpn3FXrxfHFCBdnm9AY2OMX95kdCnBY/csqYA0iZI6Wx3/GAoN7zUJS8QLL3UZhtxzbFXg3
5uIHIMJOsdkGoRcGQqiz2lRCBJq3CBIx9i+3fStum0VqThO4bfDRyL81nBnWGixbYXKa2Y3hEHFM
KngNyMBProDYb+BmEOuIM2G49CXkWQq+9pX5YH180ijG9nF9yz3lwXCt4bTtOHURrShYTdV1cHv+
JFzUDhfntPHlZtNY4SS9lCV1Nflvz5Wpvllxyz5ri8ZaMOxknzenB0wjYVpMJCdbAfC1AhM5IZqb
yIXCaO3qNbZ2+SeZgvSWduGaFzlQJYBBMbSO8UYCtwgxjtAhI3vJNTr0jOXYJnEu85CT8kedjrYN
DdymsNOxsfJfoGbwAbyVDj2Wo5vuPgXd3SL14HNMjt19uHd3yjkDj6BfgV2JnhQfWwJvwLXc2+et
A6ySj4AENpI15blS/o2dC04gys6jC3ByU7kDmBUxEQQlHJxccR8KXa4/K+Ewb4Rxp0ZAn6thImrh
R514kWil051WO4MJBy6KMAg4cKwF/FM+xH96GUKoZg0SkCfjXNqQVydvMJFQox248FexLk0728qn
6mM83b6MV+ln+hSvKoLvjxai9sat17wBynpt1fntbVUK3nxzP3tq96VrtW+H/fgAbTlYRM4qr81s
Z7I/vVv/5i8kVjbaqvHhYtYX4wLgSJNdZe7tPv2OAqw0R314+U/zUlPA6/YgezlWVd3qtle1QxLK
9cfzR+2dpZmZaG0ertwf6MnSK/+3xajrrDA3XvxYcDSmDLkYEOresFDjy+mV0fV0am0TjkjQwELB
p7vbiP3KB2sxcWeqTiULpdo9PeEZ6BCxMTcDBzcc7ZuWO7G+6v6LTJInWPaqkxkvRgFeHtRvi6sK
ESmmq1IXJrbmxiDezDmYTo6MpnjODOI6yWdGZ2dRX7KgdK+QgpLRYjD4Jjtq+j7rYa/95s9T+djg
KTbSAAO43mgHdFdnr5/tZoschpna4pdKHOCilVg0E+ULoWh4fy5BBMCkyx8og3A/9R8M7UlcoQnE
ZRNTaX4txqIL07WFbIpPp8tADiNzSKdnisP/EtLxuKZlWcffSrzCnvi9+mHXBgBga/jeFesWi/X1
QAtsba8YjuJp4/xZenJY93vOghYBPg0XF1rnbeAGQNGBYC6mY4vy/bg3YG2D72GmyNuBAy5yzj0y
vzkbHKR/fkiWV54wY78qSF9wNYSWsNgcY9aLO9AWQ9fp3jDgcdEi1YiKGJGrm0U1cvtXIIFF3pWi
HTgV4r78SrkUPW8RwsnLzaCG7gNl8RoV2QOYmv7I0AXJBHjHXtn87f0m8Ti1SPujiFuKWLqaFJIi
H9Wj3uVM4S+WWuZOIrZIn7HUp5oaSBfaLcRUxX3S1o+/Yt3kDKcAXkyVONUbPMAJg2bsSMaOGfNu
c5SQ6IEA8t/YOBb31XSzYD4RJ7/g0tlSI1/wdlCxJiVwJWzQg63BsphIiqAiJznBQXHHIp4SWslQ
R8lxVEc7imzIM7vs8Prg8Qhu6/y01mROEnTRjG1MqiBUcPhnLTPPgekIoB2PLYsB+InTOJgAsBxQ
KiOUo3UdrfljlR7is7k23B6zbcQi6Pf9lL1cpj7FZ9HjarM+lCBGn+dTmokKJexSOi91MBxm52E5
XtO4Bw4gSbWjfHV7V3WOCqzRK69fKpD8JfmG4gRnlHWB5/+VVvMTbyjOrXqpUNH+H2f6dKg9TCqI
NlqzNPE+NsNXVu8OR4x6x2fhY7bX2gc31GJPBb0rPWwZk4PCxaM5nk8S9kyiM0jfVO/UMDQBSrEb
TELfqH0s/OKXpoQwUvNIIVqf2DMW4AyzCHq4pXda2ob+BBJ55JFiLHnipPvijMVeJSgrPk9/qv8M
4FDD5biDUA9yOH6SQHJ8BHhxie+lZRvWWlBACzCcw1COocd5QnuW2E8c6yKQHS9/pR+97VjtfHgz
WgnfFn/84g6WIZCF2R7n8RyrTDRhVeEHDc+mKlcYe+EJ99wBblYVR/aKYd6SLkIZ8sU+0AwbDMPy
+GT2W6RV1kcRvWM6VvRBNYQK3IwsxJfuhvFd+luln4g8hPsNZyts58/Y5dxeG4YpSzhR0fgYfHn1
ZEdXpaxX2flv1YaAEWgc6AhxnRrpG0Z8HE4ZrNC3R7aHptKOB/H5OmhhKvCOsKtbSnceLWfkMomO
HuMt6kigWAsZniIPxxyee5xyJlAsNxEWBAKU5gp2b4QN5JyWh6Z/i3l/hA9heMKjhNQJmym/qjFK
dPJ4iUuicR2Difl/ewYRBQLBsdO04Muc6OytwZsv2J2kQFHTqjskPX1wPwVlftSMHf58uRniP9Oz
V+BcrtB8am5vImmRCL6QZP6y3rOzax/8faFub/m5rY9gQGR6qIVr4IEFJcTR3xP40EyJ32mQ2FfA
v7LavakOB9HyBEPvpS7LbBlt+cO2CKBgjznG1cYy8GgTgh4/fcBZPWRtPF4rmIvSxsCepL0jRE8u
OJg1iIOedoPVOc5e4YMlJP6D3K5j9eeO/fqBUTVyYS75aBdYlm7E4kWN4Mdox5h1Tj4VI8gQ9DMT
wpHsAj7nCEBcOwJEIS5ngakfw8P3jPgFy1FZnHeJWww0s3vM2wwlf3uwQI6EMAZrxoM4LF3VcoSf
BuvWJ2AYiFkVpB/tT34cqZT+DSYG7NgMFPs5w3Rw351S2gyOiC479p0tPOz2h1FEjqsxpRyqxMxk
vL0vSKXa3j6y6ASULHabgVozs2/WDt4HzAwkLsLVHMMs3SSSn3XQkOv6ddH7P10VaIzSkhgW4l6S
AHqzwhaW+5TjPYUc8cmhwtQCOod4nH2wVxsmdZa7M3FtlDzS5luAW/7EsDFI2XorhhH5W5W+aiBr
0Wb8ZM8pP8RP7Yn5of3snETBseVZXWeGKC0TjYpdjw4PHg/lDIEkvyLUTieitWBgnTkTFJXetdIV
ZsT6R36cn2+DeIBq3WAhZK272b3Rdwz+Qzwnop00L5W6KdqjwFCid2TII+uJXHmNZgIDVzaxAojM
1kW47OKAD8njXDVHAzPk2JU1l1mULDuG7Es7asyJI2E74ovLYZ8cVARM58a8xCIGRM7j4bSzZ5Wh
WB5UNJDWqtBY/dtb8IRU9i/SXKmBi6OftcVdyilxOFPwtnXUo1E6DfbAxfoheQ18KNPvwAfglcGP
wfVmWCf6MQVIF2ztrQdLRlraMc5+1c0733VjIIlEoYfQhXA/wCVRw7Fo3bV+c8yvXEIqrvbKA1xW
Wx5fdeSDhOxFo7bP1VXeO1SBqcYBPUD1CwxIlhtseftcc3WEMxLu/DAM+mTN4LB5TT6AAIj3wu0a
9fZeMoMix4yxCBSoHnYfTyvRZFOnjmGYmD79UmPqFCSg2YMj8BbQdVw6hknlFyNwDJ14qkfMfJKT
Oq7ET55O5iiMMKQwelMqvPV2ceM38PFwXFyZ/viPZK0fihD1lMBPgE4j7yXsW4BzvUSz88q1jO2T
kWi3mkATek9jEoCOTHOyTcQR1jsJBsGLITRF7ln+61ZKbIcfP3h9DM/N8JakflQ5hHg/Da9GAwvP
7h4xVvjQSeR9uhAKx39Y4INY08Oz37cGD+AK2/062zT9ZqCOGpXVPJ91YZ8rPqd5g8xa9wZQjgH3
bKdOIEvWrxFiG6abb6jI2m9NhsoUiKYfs+rwPdqU37hxWJOrLCfBSoOj5c/wmD8qJoWardD+jnYC
DoxgdATlIAlKODOB+OQz6tDDOWEfXosbCDZok1cUBwk9isSKtcubKya7HOAJ/ww0G5S0nIAMNXRb
ht7+DCQ4B4q0euLTXaq+EuHB2lIU43+advZ46aSwV3ecrGSGsQltCghUiu0kmANU9ljZ1qsIyH7R
9xnl30VBvxH0shU0PQFL8uJBkHIwDxmgqorh2WLi+mOaS7vlPXIMxyKe3vpSNZVfsr9H8eBSngZc
xBIP8U5Edyrum/owPFpnzIIhhdVAVSACJakBw5DRdAdsMCyPUxBTsAFDZtNr0Zb1eynbPcDgUtcy
Mfz15AEc2JfwlbljOM5gdsDOtz0kbch4trqT6+4LaImZcHDayN3TFeCqypeBKjrvD5Jx0rtluvxs
oUUCVqG0muDIUhaWTuZbgSaGWvGWIy/lFcRwFtgXX0b9VA2nhiwvAAZ0VKZXGLh0Ij4KiiHQlSCS
7JoN7+HJQIpdmFXbx7Bvxp0+HOdofUNHDcY0ejJcrBvIC2/AjcBQfAk75CkY601BvEuMZbabTC7m
U0LqmLDNKaJMR+2ClmIbTZA9M55B6CP7Vu6YMYWqQ7esMjfI+JTU75inunobaoys5C8xgXOz0n5U
EJwX7RM2aktoMnN19uew+I4O2uuwbNW76dBpsFfLe+cJypLNcMlSD+k/TkzxqkHOVjv01U8bolcT
ubL4Wf9T2LI2cHvLFYy/Fi5dFn8N6IcZSj1s/PtqiKbgABm5jdp2ui/+qvBCTAywvRmdfBkWwqaj
J5V8U/N6bJpzLjYVP7d/bSXB47a7jeE4hRptuxkIOUcGC3ZtVFi5eRxg/seQbOV5ndW7AjK4aXcI
u5D3dS8P4Vg0QTOGZREODRi390iCDjCYKJExFFBF31z+Xnu4JGI80sutejfklTnbSetkk3eL1gPQ
U6rtH1fGmzcgBo1byj00weK9Bpy1fhuetgCbVXNrHUbzWqzWE+SEyZtrjyBKr2EGRyCUEVLQTOI6
q/YFVJC9RBDE5CSaOxb+RB1FtJZlP6gQIqzOoX9j18x/M9pu6gNmLTzXELOgdEOtnFxA35LFQjx3
Qytnx7rLs4UXOiN7/Onz0jNQCyH1otVnbRAAQD3N9gq7o7Bn5Ij1stnxY5nn8hyTxwa7OmmchBam
diyoOh0EaUdFHk9pQ0baXkzDG02RhPfr/GUwEjJ85cZmSJwbbz8wbr4GflleE9wUEQbh2V0FTFsF
zWdyaTHbJeJx9GqiEcAPIRpBKcbHlgw5Fj7svYen1T6/05tH9lC5sEos4thBhDEFiwkq8XJz3RvB
gDodnZDoWZlrwhcnRAT6V+7eGncwMO51C1pf6Oe40AmOrBNWN5AkgMs3E2oFTzJ8P7mKyN3BEt4i
cETwXnq30UYjk0CEsyXOvRUgmWTZGTgP0CK+JogWYOTNnkgTPbsFktonBBDuKcctiJ511nQ3f7q3
G/vSutFc7FI71NQA8xAviHHUbY+GijYbR+0H/T/O9RzWD44AWJ0eoYIV9KMOvHRtdWyD6nbAH4nT
p+JxGp7ehPdMHrJSG3QBT1zP3aiA82bjk2FIVGyMHVzWgUhrAEBUbQaUZT/SKwMwGnFADbAGGpvl
HXD/1wsfYQAd4X7b+ODN1NvXmZO0a8+J6cWMK/RyG8HEjAPsp/Fg1/Sd2B3i6aDFhzqRnYT0vzSf
t0Zi+FpqOLECQRdT69YDk20L3gcZBa4OrlHiNUPjqxC+VOOsfMCuGPefn/aE7j1gJCJmIV1B/BFN
pJTS0OUBg6p4y9yYgI+SEQ7DgweRmCJTO3odSh1c+df0OQzTrgxpb+OJ3ZWNaVn0IIqmEBgRdCm+
ipqNHhEbfDIT+MdI2rDydXtEWioNGqik8M4CqzgPTpTKBepvwJ7ceYODwLxb5LHblEfJgHc7NgCS
m0d1qiROvHw9iQtJ6Ua32Zu+TgtjbQTQ5Ru1WQUThlSEIDqBTPQwqzGO/MXacvoRv/A6yscFfPzu
SN1h0gY51fT79MwUptwb1etgrXLQZPi67GmvGfvwDayWQdDLAzO6fVx/wmOFSMqayFVPLC9NzRrC
ggUXrQba6Eel2PqVbxgx/3xCgsYsEWaVy08RzhIs1DnQdxz5zxVU66R/1RTTldrBP932ZoMKTU13
4osKsNfa3e/z/NwWX/CxCu41FceYed0XflIW8NFGWKsv87l1tcjhhUsdqh+fB9dpwEDybQoZhZX0
hE3MOIHNP7G7aAPS9YQ4dcTME59Pt53psXed/TjkZBPQH8AjW5wOnx2EZQvtSQDQbWufjwZz9ZWK
vXjkTcMHA4CRE4VifnZzYnDYOiPXghuNxtVwUzabMiiIsoHcUiFvCqvS0zjDJi9meN/7GrnX4tpo
1hXyBTQSzJHA6pFQYh1R2Qy+KAJxnldQm5FQRP/HJ1kqBpu2zgIXKzlmPQi4T2KjNJ+zEFqrpNgG
RmeMhnGZB77K7EfjwSU2GUweSuDI0eFWw/iZAQVIx5y4CNanWe3n4qSo64IwB4iIQjLf7NWuLpOt
WSvATTBolUwChjAhSnZ1SCknWpHqPCMM1lTzpaHSMiBwtWJEJcNeMcb463T6ZlJv7iOubX1BqhkK
zf18tHpa5b5+btukd6yMCZGgfqnxY9MI6kY3cFwuMAdLW3c035NOXw1MbTrDIHqq2ubV06uLiJGi
BkVZxG5SsrK3QhHvuV5ymkrgGD35lYT1Ujw9vxXcN7eCStoic6dxRD9LHyENN3roDrtvBMziWxHT
UpWgTeGsIH5Ewt5NX8hvH8o/TYRblyJblYgsVR4n5ZahgN/AhMNlmWCOGHtlwK/M/eN6LS79HH/S
Kx3JXK6ZHHOu38BPbk8c5pd8LN4EX2t0SA/8cdpCoWyevyVPFrsjmxxx25AMfhjC55nzfNPZqzCl
dkrmszT4d8FYEHccZZapPKy773nZYehpiR1khvfX5BQ2qklM6WAn0hWZznTXGVlIaLnAr/LD5Dcj
XopTZR9TZatTtjHZ+srRuJ7i2dY0FtG2K1yGPhUXq6cpYLE7KfKxU/M+u/p3To0Is/F90WZyRkFa
2QjYA70ZpwEG8QPeF728BqsVJgAiptgbE7eHKZnT3eufg7KeNw9Wpf04kVRYrKQwf5teSFSUAyrq
ciA8/Q2OIqXzFPKOY1Rsyi5WdwTOTNm/+XlIhGPvAcKYmV3MVwZmHXtbkM/n5kt5xwe1RayZ2+1r
+0OFn9nPLcfuKtkjTHXivYq2mieW/r5kxFS84KGpVw5eiLh71nziMB5fGt0pj9XL7GYDCUxoqGMq
Bthzm7QLzG/do3n1WjCMryxdcwH0MPrJbnsmUCjgYvsbe8RvNulu1W+/b9jUcQk3tRGwnFv489ZF
WxwRe5wM6rBVXhS1J9wp5GLlTy/LHR0akJPtv/PXDhuQZlF8azeAgN1E5JTqCbXXudEWhn7uW/FF
wZOlxvnTnzGR0Sni2UGC9ShBC5Owt4BA43yn5LfkULs9kjyZGyzL5v+/TTiBr2hp2t/cJ26CX0sK
wIrOYTVjJDK9JtM/wrUOEggtcEUbn4F3Sbcn5eZzas9p8kMUEV7LNEg8dbgT9Q7hQsoNWpND/lAH
i8AuLixC5vt7Uz1DYpL0nXCHOZbM789fRuIMp3ueeXwyBjv54RDLMPUg9RVoOsNKBOs8kCrL6+CP
Yy+7GoiGB1Iw3JyMAlE6xUAravAQXkXcQlNIgavJl7W1SD9DO5HTmho+wEZ6Liln2LLC8aAbm5ut
EqTi8lvmT+P6hq36mqAZwqlcegX8E25k9PildXrCLI20tfU5gwRYnkwPyFtf9UGpBreX1Mt2iZtg
/HGDe+A+kK0J27gH5F3X5UaGB0LOJVwRolIeR0lZhHdNfpCf6x5NPKegeejwszLW9fMg1NoqRZAk
MHanC1yPkIY6jM0YCWuH6EU7DNMl3bODMnRGZkaUAAYgrkZl4BbKVn5nahCFtE7dB40kkPPGsg59
7nMk0xPSLnLAC2FCZDTHYu2L1xEWBcWEG4OkoqaMXfOEi9w7tSHL/bEMrmX8n5iJAB/TQ4BMwsFa
xhLEBMm/0w9JKQXTMFnxGT0sZU2/zPql4qMwdibTfsoNKGrpivSFmipJOyh33vnjV2nPtbWl0Fca
P0NIVwk9kPHCUCNfFf5RDKWjZ8oWeYq6pRAtPoVLdch/b04RjJ/Yu0HZrLZLTucDwgoRNWSIvz6/
QIfBbpTGEbEqkKn+bC5D9CWdh4+CH/9PouMQNo3yPnjddvpgOtUyuWpdLgCWKkwbKULodpa0Ukbl
FH4RBuFrDR4JLSgxLctDQWghW1vmLZxfeDGaMw8eBkM8Nb88R8qd9+/OSoa/q2tYn4A6yREi0guD
ANDJ/ne68xl5+EVoAkqHGsRpeNeyCpa5gkdamlBt+Tk8KZLL17kSxB8RxJSGxI3IL+2vYawsT92M
LxRwsuHypJpg/cR48WZN41jXWHVDPauXqHLOGt7ggH24mwHYIKRBPgjLNNoMOgNr0potRnfvBaw4
YNGRhUBvnPDfETUSo4gVQF/P5k8TS7GIiTlqgCWwCI7IDbD3HStz5ubVncvDWziXLwwSrAvAGwKd
/o1X17CDuS26xU9s7WML7pEHHonqKHdEwC5S1cR1CXuic29PN+8QV0HLQZiFhIjuyghYnPWXcEb2
Y/ny+zJ2symr2nvzm+0AlswgeVHe5UvzrW54mHrDAfMa1qxZLpZx4A30e2ZUfDhyUpQUcHwlCi4S
J3MDcwrIffHd30Psb5Gu2Zyg1OsKkIJrfuFejq5yhCTTXtMnYRY8PmfjwpBGMDbsT5LMsU/QCf0q
XRKTE87j5545A6d0hXM+ja0aQM4pslf5YdN4RpHXFhvEm8xLJVdH+85qAfiDY/PKyAqo0iAudvph
CzW/lvSadwhuXLzyevukEYQI/Ta8UmXyWHIBFYw4Odxcihg9X34XzgZAElU2yZSckHdu04xFhMGo
FmSUbkscvjDGw6lY/RHHz6H+BjnFe278h48tWcLrGxJdOMzTTyru4Myo94pkUSbTAJkKAxe33xW0
3SiEInQAUOQ7cfUtC8H3dI8PPBuEiWMSzWSOJhqmC/TagKVHM8UCFSKvuCD8oP9PU5fyBuzAym35
67aYdgHIAuUuYRWcvfT0pAUCdm3IKVBRXjEDmleLDSGAMOGgTATzr1b2CaelMOLagDHy8BEUAf3B
dOrdX+1juRw2zJAkcoJsDG2hOC8noqfix2NToaJvSqU1FHOeZ/D11bJswUk5a9b6PwMEhE3PhJdH
VQywXPnK4KfxJYUdqZPgh+kAr3WK8T1+ZUcBNot3EuHHJI3T36ivixSJ+deKBGrsDdItLRa1LcKE
JPJBRRXuObI4YpU8AwnoJn2fDkjDWliEUOHMdyFUvqsPOp6C1DqC7wizggb5YG4trrRxz4Jr93nr
jSafhMqRxYxTjA8NvSbGDR+5O5k3fzQD1h33tHo4PZ49eK1BNJhtg5fnGSHeE5nO6fH1EFwZPSHb
Yzyd0QjervxmVbtOhRBskzFldA5Iy9O+s7LiVw/FB7bXyFiYNRIXf17EBpjS0UzCUyboM/Hh0zyg
mnMaLhCwfUPRc1w8yS80Woj7BL/8xDu8gBT0XH2L4jHJVsLzEK0xdpb+ZVAsTzUFVOH0niAiAFSt
f8LwPkCqB01PHQnMZMfKSi1yFD35i40UfYpy4bIk34//Fg/UwmHwBBUZh8O6QhmCwATqCQUziX/P
X6DbpSr/hTUwEl6P8wKzQWsdx375NbVr9kCMfwmUxfdUQ1Wq4M76JRhB0n1A8RrfeIbBCyzpWHce
PotM7QGUdFyeowAmRQgiBpWCQHjYHYsBIxie/2DmMQc3pyfrMbT22ouK9hYpGPum8IElQGm41mVU
naJ0amujQjXrPYYLENSKjYze0ikwmNbpHOBEznsFsxUv+WpBE7/jdw02qGbT8SOuTT2cU4oi6Ptg
Nj4ra6n1mWQL1xkFAZwM2algIT2KC8nAzBT3psD8CZHBGk4d3rxkm0R0VQ6kO/is8kc3EoELXDZw
WlHaMB0nHAxIg3BprMuZmeGTRBYoZg45JGDJj++Sso7/iayxkJkEp4ZBiPzgcaRx/Pjwpc3EAXvj
eYVx3HxyUtyWcCY5IuJa/Mqe4SBsks/yOid2hXIOOKv3TGyPNOYQq1FYwJOF3RC79Esayit/ugPL
w+1m42K3tBE8TneV+S7mf9vsSJBr8DffJT+FghV3yu9qXT3cxWhH8Qac5gSP3CzwPTrkyEU5ML5l
nzdcjWBEoNl6YUyFXW6lMKCG/sQChL+gBQM0+z+OxaEJ6jcD/OyN0zviDNDtbzabpVq49jNakWhT
3aX/0XRm24lqWxh+IsZQAYFbekSx73LDMHYgoCAq4NOfb6X2GbV3KpUYozRrzfnPv+mClAnE3Fhw
lSJWsZnWwUszcZlQqYa4fq7zTzqFImL8QsgnpFPhdMpm/5dt5grmytv5WDmWJPqkYRVkvKMRuG2m
eE8tjNpn5XqOvy8gSSJDYc+KKoZS73auWVpgK5CTbvFDWufCBswDJD/wJs0J85QhE6bcbaCut8xU
+o0Vn69R1pvKCANLwXt+zoxdv/bizMuFZLSXYmiBe2UxZvHPXY7pF9YKRPaM2D6qBWn5IQLnZirl
FjksXslvJ1UjqK2Ur93A+6aLdvfENOiUjah7cFzGfmz8gRL/seBPCFKWx0sEWOk2aQRcTjvQEJBG
uhBFDqtOOcXLE4O0FH7CpCePejS1ImIWKMSM22AAE/S+vS5k1N53ChBLuRAL2B3qAwMbNGHwl8B3
6U8GjMtmbC76Z4GCmoi3hfJZAI+/LQ3CC20dBCmZ5hAa5gEDSS4woTWAnqAtACS7o3IEjlsxOiQ/
noPdg/0y06e92Ks+WLDdyZWjAl0RfsFJOjXMzrz8UI/1mmZewvzpkt/mUo8MMdyykTJrdofPT7lC
GsOAoZvK3STThIyFvsW9irncUGP0DJWVi/Z9KlkhYYQS3ovHQIGl/jF/YYJpv6+yGRtewuVTFLzy
eY1NU7IHuv8ihUTxhZhdcavMjWNgJySGm+8A1x4FG0ETjxLAPxQdBwU9hEKt96XwwOwBteV7z1a1
YUIyeSMyL+x2YSzqff77CdXfD8mCVjrwAVPZ+nAuZY1lXyKCS5TOEK6RaUCCXjVAT4h6ECzAlO82
nGxU8ftkBvJ4D7hw+JXliaTvoJpgqFyEQJG4js9bDeIVbCz6nt6lwkeSrfoTAgBIk3xoPh19pobX
p0WY8w+wWYP8k6jPGcA7gsG/OqD5oyJN+A2f2XWkLqhMQGrjfYY5HBk89Vy5kE3CHk4zhaMF7S7G
pZB3MCyFonxzeV3p4dHh80BPkrrAHOg/zA822fLL+Rqwb5z07gzvHlfBLR9r4euXWx0FZ43phUZx
MRDwEPrmB8QzShLCtpiWC2CYBaprLKomY5FfJO/pAFKpqCoL3zgKkDzLwyt4yo77nMPKNXbgjix+
WP4BnN8/7zP3nMiSTcz+1nCqdY3jHuSVfL54vsxqcmTS0L4iUGa2GP1DticyMg/rAuh1eKkkDl4/
gN8b7nSpT0IIBrWUkywDMSTCdldFf6eoxgCad5YdiEekkRKHZQGT8b2hdeB+JLrdoXJqcsdQD9o2
Tc/cZUCV0IBwm4BVuQW2UhiZ0uNQ6E6liLeOH6nTYoH825MdcB6U9T+Ygknz2hC3i4BUVA9p5Jvh
HJMnE5w32TzG+vg6L5fKhuaS8T5nGZu+DbEe4c3vTrBHOhuiZ45Xok0xcoM1cX5jOOVfm+AFixEU
GIGHbCs4/QDAw7w5yj0vhroODfKo5TbAUhQfsc3n+vg/mlXdzG6PEBdl7/vjxOhZ7xal8xJq84vy
eHlDpCAeQuvQ190cuSGt2jKdHDNPOAzBgvLEng+HEWXMe1GTx9VEpCrBr7zTbEBIdJtJ97eyQvpB
VuGz7p1v+zdxhBZroKjYgFC3WPWMCZYbnt8/rxnCtjoCS6SqR/uCxrrr+8ONOmbvYWt8bnt7Qqzz
LZVXSaf2cWgWeUNIKIFaYhhFVEhm71zzwzCGgjSqN/FI2jJ8J8Bs8VrxhTkap4jG+cFQgd6Zw4Wx
/P51Ir5yuKGUjpK9tCt8CtrewQgZn0m/tDDdgYICatbhtVLH8MfeL5Glx2KqWTDPoJ+knyAhWQWZ
gG7fojeqviS8Wu9gOB1Os9UragKMfCxhCyJM5IqVsruu3gSk6yvUpuMvNF+01Jv3qZ7lIyV88tM3
BKpoxhXLgnEK/ROQHnMRJAomMkHdl+FDeZ9zj2thK+/xFwLuAfE/33EGbq3h9s3q7mHI4FGW+9Wq
PRSrbPU5QEfXd8CaJJMDe6arz4arkkKL0Sb1ABk8vMnxdTYQkSmjpwdl+BOVhG6Gz8kwQhNQ/Wr7
FDMT2RozIsR9c9Z6xfLmK9MhjB5+EmSgIMqTkxsx//yqrgaDDLUL8QCF1epgZyY5wMbXvKYYHRUB
6wL4E95t9w18KPnpXldkspD4aIDm6FarupRpTK8A8lWzfFKs2jXQz74aAdKgX4TCJM15km5X7w0H
c1Tmt8f+SPJgBzgqwQ9BzRqAFQXTGmZqnG8wn0CO7r5QP7YjwxIpNx9L2AjQxyKjT62j+ER8gfwG
QEgZL7/avXKV4Xcn7OyzIUJF5Ctf8yyxCHJn6kCItCI+weaEJnrKgHQpW0GR6VMh1RYw9vv8l19c
nnBN9FCwo8aKT7ffweqhBUP8lvVlnJKGJN7f4GpXEhipZ1TuZzRcdvIs4cZ4q1aVC4Ih7BwYEwQX
j6hVFRTL11HXMhYmqci+xTbp6iJ7nUI0tr59S8Uj6pcfV3AASoKPm5FUA3onugrc7MLqp7/NEMJp
dGcoyNg1MEdC3cGqiWPxJxCJHML5BZkNBMpUVBBYGJXW7dghZkbImCzjWbkcnpVz79wP2Zq4ObEz
amOLeUq3b+cMSerjK4FgRWnwPKQnTAA4J+ocxJ25rFeiL4UPl9uvyy3S2QuKjGnJmiap1P6icOA0
0hwCATzHVwO0uB8pRBB8xvcVIZU40HxWV5iRH1zs8lmOMoV9prWTE5UiQbLIi3DlA2jFRaZhJo+f
6KqBmb0oyN4K0e2hpohovnlfpGgK2SKLuEwXjL58nZ5pAooKkmk9WRWj51QEJ06/pCIUoHjalg6R
Fbs33NaP3zR3qvkt/jLYMcx+mi+vxBw26vZWBh8m8LpVi/szeE4lNXh/vVtPrCNiNg+5HiPgBna8
bsN7KL1cHSEkeGF3g5bsB87hNbFFXJCMJ+o4fYpjIiNLc7lqIMwYQHoTRsHkCEmLPrvBmWi/11Rm
sgRMFAumriq4o8NLCZwUM68xnwiwMOdS3cKhPM5m394CUvPj/bapqSSy6R+9xqwe4yd4OtutrP6o
GNUCEWfht2h36OtV9YA8+ntW3j/iUmoZ9su/QKFA2AlsQHmpQ2+N94H814Wh62oYVN68JSlo+gip
A8bgVFUWwv4zg/3R5jNGdGYrh3IaBwmGHCbm6IBknfOrhrH3K9oehpvQ6cHYBX+3Wi842C74A/ef
zylgc9QWHEEPJQ+MXvA5LLuxWqfVZTcZ/FH44AB/zNUdZaOQ9k3oVTyzsL7Y+DlIrSwab1SoMQYF
WB34aCuSaUHsMAsBuUirHKHhYy0M6hdIHH3aQbbAIRsd1BFclhTvvkLkO1WoJoWVd+5q/hvrqiKi
encMvo/dF09cRMRTIoVIlomFfwoAN2o9HXcLRAu4ICwS9znFXsdiNxiLGJznDnIiYC4F5Hg4uS60
o4TXkWSqvEQWIaI3kOlbvaeJvBSp6tecJnhvIc6aozsfqZz3xiEEHhM2PEL9Hqx8ZCk48HGg8Dkr
nHSBqNorfLZwkGJcIjA3R+k4SmY5bgErXEF8dDasjBxfXg7TRveOkQBJiSxgrApz7Do4bn37toJ5
EZGlCPZsrDoHdJsvU2WGH57hF2afXQtcloEYA+Hj145vHj4SyJhbLBbkXwYrOA88rN7h6kNVFJL9
DtnyrMCHoB8MruaTIT5uRshNcmn08FsX2EnFZoj6z2scTDd38lGHt7AxxoOfdENFvh+u8RNxpFVH
uMN3Csw6Kll4BZKBWlY6Pk/aDkLxG+lKHdXea4yaleLjdRqseTVYQuqHxxyrTO5/IfJLZgSrzBvD
Ut37HiEyK+0M40qzDd4ODp143IEW+VRG1peDTZo40/na+c4w70KYIyBUfOEJtNsX0DWF3vlAxlTI
cNQ3whJbQ1LBkFF+BoDSqxZVU+O2omH0CDtFt0wBha2JTY9GdCCv54XeUyWC6+tKi96IdQjaBtTh
MbAVBXkfIjiGnvh2clYQRH9D0GiAtBTB/Z2L6U5qBElJoz4zMY4F1vbEXg43xrZb1/wcEakQXILH
GqsRsDBIYRSKuqAdJy9UuDgUWyCHXPVgLaULTDYu7ccyjjDxtT4BjSVyS1JDMcsQREW7oGylYc92
pWbGsCBLk9o0Y2TI2HT7Kcz+h+3KRPaPjpkxyjN2ywAWuoUmkwFxJ7uwEIxtXvvXAeFCXOxPtuGu
is2knMiJBgR47FiqJAoITfuVllLY0X7OlPemYSrLbHXSPWxMHz380xyorbKYYyl2MlZng8W1gS9s
PUAzRBoQA9PCo52HYAGGWAAf6VayV/AOMZULdsYBbQRDpvsOIp906unu43cQKRMVzpyLWItZDCeJ
ysWGGX3hXGbhfZn+qOOHh4hwiUkDx5+Z+nqASZc2Y7D+ZvFKluUywQxvqv5irGYOEsrh9KSJjac7
fV8GoAOylyqvZOf9aLy+gShRKfvzq16waKr3cysZiRf3rqfrl8mi+kHLek88Hdpa27vtvz0YcO8m
ur/xes1vN6vtSSTxQEdu4Ue0qQ/TDi8QcvGagOEiKWQJ9Sh8WyzS4SYr1qOaZsw6dLsclXOZ5XTR
TttdBsMWsiu4JGPmD0717fRrTGi8hjjKfXa3+7pkKnb9abi4hWv/RQ1uOPUtQJ8qmGfg+R//rk3v
N3aER+LUQzqTcpkqQQKc3Qtq3G8x4kQ4SGOPXVkipmAAcjFqoCIBPe5NS7rksqVYmvbwxGTf/qbX
sQHZuk9jW0G+7riCkDdUwR4OnfkXfuU40Z8zu7D517Hw/8s/3e+jPIpuUWMLR/G+Jb4l3NaThfj4
7/PmP79x0sb+viePnhv6cFzpxSOKQPzkfiy+ste88X4sAhGg3ERozDcEdo6bHapMTwQl0G1NRUYe
Ut6/VCRh+UoFbMfTwU6YwxHZyxRfOJpXPIuwmKYWLoIB8YAUyX/W6S++fd/cDtcVvZTztfA14Y9w
u8fJY9nRY3a7IS8NizxwhCyoy5UiuX3loL5g8Cpg/6MnkiH862qwxpfsDq8kHB/pQ9qiDt/JqLoh
VtHxXARz+yDR6tuyBk6Qp5v0hFCgS+xkka2Mxtb6XlX7CccPvykZYGng93vAF5P+cNf//lR9fBl6
LEbYXz6ZmqRw5fUU4lsAd45oN2SzhB68Ls9Ln2xIX0kXw2m8VOd9bzjVp2kgTUQcQgzE+18KQTEe
TqUJy1HCOA9ug4+uIUjHwg4MSFk2lWAFe5FFKvOw5lVNBU+IdG+g9hUswzxCPTDn3WTjmphwS1lu
v/P6+D42xy++vY+dzhlEODd+C09d9YeCHMtHExCIHhbW/N+f4xDsHkK4sB0zj7QMrJ1oyZ3bdd/X
l7U+wkMPQ4ajwlQacz4MqtSNoZIuQCihbTi92ct//v7ZEDlmudWoD4T/UCq0Aw5MASLv8FZmER8S
5lBuB3sIuziIo9bQ9+g4Glae5xvhmKzNFIidXeyRjupl4sKiRG/Zq0uHCEp5XoYP4eG8/fwaCzV6
MWCtqYYIkcb4Cpcx4pq+W/k3ZUuif3pyuSgeTmY2/uI8E3Z2ZJLE0DvwWsU4EIwjlPhM4nPxfeXO
B9TSDlIbuiWgLC1SI8qlQuGRMRZtkXIShhlxUGmOvpIXd7p30e5q1Ams3y8CIV6uTBjSA4w+fBtW
E/NUjKahymKiRqcMtAdNvuCclv6/P71S8PkHJ7ck3XpwujJWoKAQOWAiBBsqGh8/rJ548xmOQrTe
1bt63exIT3cPMbDCsI89UIFzQu6gyLriDIpnUFa9E0cwwgwsaAlixJYd4tBn1B0H6IaRP3HT85K5
k7IAg0tPhPE22CfJI+63aU344ZvhzsdRLwr5BVEkwnL6zs1nEaVJfpJcIpxHSXUV1rGgg/4BcsYS
S9nRfBBCufZz57Jc/8toGPiD8DNZXi7Yh1qjhAAokeVaTBueR6QcLy8DPiI2p0PHIy544mBKtEDP
vCx5JnTYg3DoFvZ7Cg5lDn9T1X9NkNaRtJo4LyIteuZ9VJERm4zykQihuplz2D2A+zaAE28W97Fp
pfqqUKLLObbrBd7CZhI+icT4nr+9dZ476n39miTmMrN50YTCyOQqFFMAIvNpxeHD5hX9+5Ui/gXS
gQ1F5QtJz9GQjBow85zUlnHa192hD6znPa01TgNO9C/0asCz9MR7kp0lfiyReIej9cvy10tSFC43
czkqjnfHwX7HSsI45H2PPov1WvfJ8GiCviMhaTbXPMF9FP3lxuIcY44Or5+O98Cz8/75BfirhCOM
nSv3PfVBBTgC3/bP8h8qMgEdGASYTIfd55zX+CTuxl+WVmq36+vuaVV8/iTOazQS54QsBUekbHAa
QhE8kLr4SIv829uoB6VyeaFhHgk8JrX5NpbSiYPe1MxIOOj5f2eZB/FyrX8hHf4ltZ8YUA+2JDuJ
J+F9C7/d9C+soOR0Xj5QgCZwdDgJKdaOubXkvxsnV1wBYNIcso7nu1snEZ2At7V1dXksxShf923f
8uc3R4SMnHC1FlfancP5lzYG0BT2wHsszm7qLi274ZotcfNbJs5lN+DlFvYIMjgnif95PsWXzy80
bHSZe/zAOWbE+/J6YaPxXSbdf5c+x9QcERGsu4foaR7ojQOVoLMlKD+YWGlyW4iEBeYSJC2IP2i5
bfgdeFs/TSJADl9SftSLxCnctCab7tDkgVyUDltsyZPvxU2Jlxb79L+9WuRTJpEj/gLxEmnn6ihb
lWZaCJEfgwhveTwHpsNsjQwiC+Ysf6GY4d4dG952/7fNZ8HhTj2gEVMo/hjzsfjHh2d9BMMjVl0Q
58QWvQf3GrMFuy3uDOIjo3/y1msb6NuVsUgUf0PSEqpAsVfjl8jve7ukoQYDpsPiQagMXOB0k1n4
G1fyjYKJh3m/PJ12FDMw8bOAX4sjdeNut7PGPhxg4TjK0fDKA5FEFF48M9iBN5YJJ9omkXB5HLKJ
7qHOjWf8E2zbHut0cm9b4FiaNUN2bce++nPEUrNHTgKiBAfHT08BIovHLL/4gG2fPlMoX4ueRGa1
8NeoWrFyTd0hFgk3u50PMDgTxQ3cO7xqSZHfMgYn0+ohBtoPD+1sNqfuNUXfizke2B8dsVFNymqk
Y20hZOKTVW3Z+E9VGHwRUsUbgzsVNgWYo9s8fpVu/n2wk2PNv/mWGM7gBqP6QIEZzTkCHh9f2JDW
HjwH8xyRXYGlDTY9/ZAUC5IgeSS+AF8yClsCCYs1s2qMWDNCDNKHe1ZWwsoVWQU7J0PegwE1EX9M
g6MlebdFGR1ky/CGVOZckFGENYJ1EOt6G3Fg9w80U46ICmmma1YQeGjCh/ciYivz0cipp1eDBcuJ
vmtWcZtdwXzOtTPKG+6j92l9tQLFllH6+/w+C9JP/9BOvuuBnTFAkJ1OPC+r81HwQn9UyIeJd2Op
IacCVAM2ESOJGeXwY38jPEJ8pfWggGEZL8IF4Znteqv3lPWLf4noVtkxRkM3Nsd76/CG1rm8jBzh
C8o/VKulB4Als7gt7ovqxISL+pgwSRJPyN4hwwYWIm+AGf5qfBjC9/z7J9lcIbsIXrTjjDnl9NBw
lGTuQWSkZOZE6Yy6lS8Kb2xmtNyN9RieIHWriJYTfwT6+jJnR1GxjvOLyKKEwM0WzZXPN7GMs4WD
a4atLqeJLYqN+8U1CXS3F0aOL/N8ro9HKgWxl6PVsrOJHL38I+I4vi0KltodBFQBQxPQoc8iu8Zt
EilhaFCf0IacPsa+/0HyF8H00Ghima8+px8hIaEJwj1KRMDly5xEvRtNPoxd/Gnh+mjei+gQCKcM
LERwWoWfGkMuYRLJr63X2Q/eDcvs5yVacNhIwMHif1wD0BYij7vCDWAd/OJASbNeTOCxwuSjfZQx
JgVnI1dmAs8CmIkXgQkU7QxNdYBmvDKpFIsJGYG078KbDNwWQF8QoePZ9aekwvHkRbLt7YwFrrcE
BPc9ec7i03YwGvrULZS5QQ1siJMBifI8DSY38VQU4qiWcbfXg/brd+pRyhS/QPPVH9WsC+Tz0SMD
OtZ+uclxUEVOhGMhDE1gCXLRMJQcdSTjVMNj+wg/PV/E3DMUuFY3mz70iw6g2jyzodljFH57I99e
9XtBM1zIhd1Jkxf4CYUcFRNjifeu0X1+ghHFO+jL1Bm3zkrZlHv2SGx6YhtFMG6lbIFij8NB57ls
ZPyVnGEREHYBVjayoTNaRLZiiyxs9O3MBCFKPMnVLdTYVr7rEFW0UxFfxCx++raGjrBJl825Frzc
frBpgBz591L5CWUh74BYUflPYEQHEMlv5tggeE87g4cGn5ZczJBUV7C/py3cmWUTFzl+TXwwfDAS
p+fpczR8snnBegt/e3n1JrxiI7mMB4EnbvzmDpD0bW208cDbQWMF+Hqb4dDZaeMnZB3cebF2flu7
/rQIMb+PTpuBh+oV0iwyOH5jwRvNrTk/IzyVN5sTRTY6D36V2aOgqTgaDWAi5go8nAfiU565dshL
4N35HdggD+ed8g54i5CLeR6oCs6JkPu9/ncsXmCxCrk0IgxKPVKrW5WPMt6KI2K07MrXTjgZSyah
GjZKV4ohNHKkLjUcH7SP5jxZqzORxwF5yporUY1p9JUT6EvB1aWUwcAJm/yYrCZyom6Tzux8NLwz
2Iq8D5FSxWM88jns21naN369vfDMjh69w7mouuLFRbPnGo85GQGxgARjaYSg/XnmT09cKbPYEjkf
yRprjL/SiQz3S72V7MvpOhVphVdqbVSKwVyyl9dp6fHEaJvYgSexc4UhxiuhCsLCbF0Ki21+QemJ
V5a5qSiSUj4V2Qh/n4U3LlFlKzJfoSvaz4koGqmPnNt/0SL/KkFR7/XM645LnNt6ylXtkXto3ibx
QrKz6eXurLulTM4jlTo5FAMXCxgW2b+q1V1z/cdOHX73r3NSWoMaXqT3ejiQzR4G6knvTQo2UQxh
1ZsNgP8H8LwdcRvj4M8TUllmy+QetpaIV6/d1PKE6D72/31EE84KK0ZiNNBenzzD2P+b3LDUzFrr
6HnbmjaRuCexWPcCkdIu/9DduTH/G7SJ5xzxJ74tHfJcuFZohUePoZ9cyOyMoPYhcRs0XvrCWBOe
nvXqrKycVzsdUDOnZbfJJ4Q/jliFRmKGIeoXR66dHh/oWuWY1FAWjDeoHKKNprBeh4HbbqRe0HuP
btVZqfE0AueYgak1KyQRSW73hj8GHqJblNbGCsFxFoeCsg5zRZnlL4TpvoJLeDruoF5APDZbtviW
u+0JizMUd+rAu0IYU62rHAw/p3SpLGROxAPTLTvDXOkaIISqGITV1oc2KGMnJneOcSQ6Jhe/NFd2
dMN7fPCcC7UacrWFT9VjpsPQFPJtJBv7gTEtkKAF1U7kAPW9twEBNBBzSjiQk3RcOkcAiBHnanz3
+16xQ4UJBTb9HWIUPu76Sxhlg1NLz41hK0LsKzGNGOQA1wYSJVM0WD6uDnNYVv8pLh7klCklBCWH
GWMZQpRXR2ieroKek1X4ofHOmIvBTbAgM5ICRvzTNwQmtEEbvA+RtX/Z7ph7wKMCbhXwMKA//new
GT5hNpGij//BHyibZJMX6MaLocBfxpQFd/v5wb/3o0w/228H4SChp5nG+IIrn32/b+Eum4CgPiY4
Y/v66f5rWIupZP4yo8HBL7cXZ6hLouhLQEn+pU8x9FtjArUUXv0YcYTxTBgzMwdigEESNZsoEWZE
7cLNI5IHqEiAIo8z8KLXmljaiqRocmAmwq9akBsrfDMGTtHOob99U761+oZ9wNkr3PiwmNQTN6h5
s9jkM/nhL/Gp+N0A6PxbHIUg+PcVMlU5YnyTybF4lDhGrXgBfAE6BZ/DlODroChY0rfCZ/3f14B1
/o6q2XLYxY//+3fC7OnvORm2eFAqYsFMpcSu1vduLNJhvetcx2PeTAkce9iv0INBGgfQkWOmLBaU
ZX3G0NiBda9zJBCh/14xsYcQ60pUz5y2HuNtQnKYRWNYXJzTNezoqylFQ3theoY1npne4mjy+SIj
fxnflEkf9MkTb+6XStgKVgvxgoVHwJdWRpkCt5FOY5iZQBAT+DDgKGBuEUVmjFJvVxteHmUB9NmG
WuUgIP1RvniTBE/pfQAkoMDbcedrMFRHcBYMyTmP8K87vZm6LLjLyaWEJZHfbRlZ14z1lMN84usP
9xbxQy9P4ldOM81b6wC7D0dnPhtluyczJ5ppvaC4H0QP1b//1MsUM0HMLAz3SZVx/+lhGQQTuzUx
MJET/z7/NFDgoR8DVWG1gXcV5BsGrFbp93wJwHPy1imX/DuklIeA1tnK+NPiIMfS7uSTbMlKkbdW
Nq1x8gCMpUzEVm6kVA4mBIigl/I5PRrMv8zXJP+BymFGHCxnvx3d8uC5GOhHwNiMqCFlYL9S4fd/
K0aPD6V9PSEq4FyjvZ4Nf3t0ZJDVaUmXMiUEbpGmdhM72lu2wBcSQBC2Tn+5FiUWoNLlMp/7/jIa
Lcl18JdLqq0hN6qnh6AEHjw0SilE8kwI4R86jaNN5ymYDx6yXFjmc83xdTsf+zOJsTKSpnOu2iWo
PqJzUtyA67ap4a7BtmhUQHQABtaVK9ojd+ADd3HRHbrgxcaK9I1hN+N6hmmbZlrYB6TSL/cjIm1M
TvD7PXoB5z9y933sY2VnNse4Cvoo/S5I1vuIX+kkNOs8A7Ikm0Nz7mGGSm//+h3izAjm+i0CWXPz
3zJxjcMN6GFsgI41GCXY95t1ZJ6t4t6GJThEA8rgxoElzt1FS8Fo/AsN08HKHHlML6eYyqYvY44B
rTbrqdjB1BOI2vjsmkjGmZCSFUFEYjVK+fu7UhC8oxjiunwsDANvNp52RZgrUvxv+C9Dj9sZjT53
ekKAAJED90UCS+3zuUDzG8pL7mn4XOnAZU2i/cYNK7aY1sPG2Naoxex4jNA0fIXclQr1E+WZC693
i+3JFVwW9fozxMc7xqqJNArIEABSeyNq2RSj/gIqoE4afekxnmOfIKChABnRhOtmhpn67KtZMjM2
JOdrDmhOFt33CZqOLAA8oLe/SoITjDkRj9eXvaDo2zG2WpcvxiToytzkAlsquSjQnDg0yepxHKaO
1sH/XeS9eTy+S+y+0Hdm33aKzcKmr2KPZANraBruFRYg0BUqMCRsnAyYcDID2utu87JU8uFEqKf5
JZPsdB8EfA1NrB5WSaTXNnd3e7d7SQTNCr+hfYEtKmnW3bI4FcoGdaV6EfWR5OA1xDJV9iZQUHB8
6oGbEpvH8DkX0I31gVB0u/lDMps0UiGARBKGla605jJjdTSsezvtcKLAy/rOdj5PteDZ+Y9dhknt
nkJL37L9PuHWM8dln4D+gQy6s/Sl6sk3X49H5aWCQYDvMy0dKHMBv8xClSk7fSvF/fjcwokfWC/2
C1hXgPatKT8WbNAqdsMguTB5ljgsDX4bnSleQ0QPVJFN4fY7gLtCNx/Uspmt4lMIF4Na4YAjJqBC
RreCzYH7DlhIKoQClPuSMP/qdK9l3eocvQpKlMH9Gs023CL5dZAxI+rUBUdWzo6DPp5GVyqJWR1T
xxu4siAd5AWxCFCekq3LjkPEs+jWcMZcyLOKaxdH1a3GBnVQr6vPC2sZk6dhbAdWuOOvODnckB0N
7OJjbtM6KNgXoK5gp/CYMidsQBdgtRtQQPKtWkYda+Xgzyd0td5nM5xu1C8AHjtAD/zBwAXT14cb
6TviGLZrPV71jTGrOkU7ty/Y99BDWs1aXf4tWfiNsoHoeMTi307UwITVXWcWkvhvDhxYKnr96/Kl
LOtiJ908vGckxnUUil+WWw95pPoYZxyo4FX8clre2NN8Zr3tdeilKAcwJX4EeI+yHpdIiTAz7TTO
0Fd3WKs5u6A8nza4W+1k+PuEMgI2B6QPDuX2xgyCn/hlnNkwyvnnB6eRTwTve/MleOXtdc8gOXDX
UOLfu2mJBy+TKbTPE25Z5ixkc9sZ/nYDU5tw43P7NzN1AqOXuddUX+JZvCq3smE/S+uFNQEj3z2s
U0AF+FBw45+AvGf4CBoJjAs+AKSdodyQowqqXjLM9+R83uD4sUUBRjwK1o4F+q4SNgEse4WnsOtW
CMS/EiuVSaaFAhstP0KmRQGucU1Qdqkhmh8ZtgYOV7iJooyTQp6ImhBWwYetWD6gz3rgRV3/yDc4
zryQOFsV/dYpSB/rKnBbjPA6J0ko8CTrquPFZldAM+QmYgpKK4r4F70PfToUPsGigTtG2RE8W7ek
G+kj4pPz8Bvf3MHrp5VxA0oenkrtruClqMg6EqxnWLRsCi1+PVT/XwlSfsZjbu7L+Im52iuhv0bM
9a395t5bvj6GXWGK9nwR4tYe1G5c1D+96id/JEHaYyPisNxu+6oawy/Gf+ItzVrl1Fe4CyR0czLC
CXy0ZKk3Ufr7p7HWr/O7NNdfP2iWNTwQ8hbZdkHjPuRiSdlhIkPePKqNMAd6sDm0SPU1Lqrhh+F6
6w1xs5YTmLRDZf6IgaUfWJRVqzJeq2ivbjgqazpy7H6Kpw+6azTBwhlFBj4n/+lpIFGZvxX3eV1g
i1UBdsCPhPhZOw+QFcUtLvDiFU8ojbBOARggqhsjIHIop3zIwatvfnbBJvmUnAk+6axmjt0T0o5H
M9ZMw24HW2adr5QovPnpeiFttI/9J/1/DRkZzB2LkRwjG2E63EBGiRGFDZnbbOnTBpExjh3jPRkq
XkOIKlg1URShQhNKeLbi9R62hAIFEzAhy1vE4KeUXOe7DpmSW509D5wWI9a7FS8gedS/HRfQEKZJ
TG7nmtDoBOdHNKwBhU0T2+UgHFDYQPIFzyqDpvTpzp8/bD435wvEB/MB3wxE1PcflQH+cAoAZncp
3tE4ASiByma7qGS/JOELI7oG6kDnFxis9Fumzm4KoJybFcxF2XqRhbh5LIbMOjAgPOutBXFaRkmG
3632O1CjfHr/c89k1i5jqUIzDAGm8GjR6Mrwe6XwXMrCvOW91kkiAZjEjFX+zQg9GY7g8uAbJ1j6
RKIgemTLtkUyMASmnYRL/XeMVJRMFSGOg+Rj4SvrpqFIzH0fFI8ead4fVxs42bjhvw/44ZPMOfSS
HVmvsK+ZWYckuM4SlzBXCNU1NbqL4ucVQL4uP6P317yV5vNEOgWkMmq5wh9+vRIMfNLXMbhH35dS
Gq+vKIlYXkFHOw/jGgBwaqR8VbIkhKgH0p93s+eAJARyN9jbBL3bqfp68BSZlhtU8stEdpKrTUzD
Hmp31u11KO0h9qNXgGAhqYKBiA46P11DnSXgoJU+JPECLnGzqA0LCW4H1b3gplY2Ve5rhpelkxR/
5QfyZnvnTn4EH7Bo6Y7bAbVyz0pONRv5ooRKAwPwp+/KO5uIM5QPulVscBUETR6O0GXhHbNDWXRb
k906P/mbS3i5+PMlUzp/Ph86oWpuVJM0zs0uDMPdz4TPJpUz4ePDDDW+MwH3my/nV9v3w6V4TGGC
Q/Lfjs8wqbLDwgzDAbjhPWBfpgijLGeZlU0y2zohCrGz38Y6Qb5xW3Iutw3AXcsUZxsTo2moVrYd
RO+HzasTfwDxJMToMEOtfNLARedixvUTwAerKXhXta8vUt2UZtclFgYKQbus0YJ8ZSbr+mXyfBJc
eoGlSP1wuHjiCSt8r2yl8krJVz/+gEhvH6+BB+g6tP5qW3MbF7DDA3VmBO9t/WvMbudh6TRb4XAd
SF7CAPbBcLkFceN27MJ0ep+g87xPcF3f9vybI3qTxm9AJ5tf3MpCMVlNRgCKS2DBZcJ1QBKwmMV3
IQ+jIcG+H+iu2aZLnqc8Mxfns3U5SXncfZJOr1N8de4eBjOSmZ8TpLm/hl372S8HNFnr0QCfVE+E
DgtQUt3rmLD57EZIS8zLBolXSMGAhJiBr8SbUnFTwp7hnINS0l8iNg6vLq8MVDHF4xwvh9zTbg7m
CeYQbkQBr5aH0WxpAbtZ7bOf3SZvH2Nwgv60QEQdK5G0kmf9fT0aLB6+thqy03GPRtL4O6tH8koj
jLWmJttW2JTSKwiMeYSXMSKaKa5P04Q80gH8T2DdJSDRSNEsZZKM5WW8ZsEHiQacO/ZRzU8/x+tG
XZJFOCGnHFLk4EddPi5fuDSEjl4jlTgqlYjn+xiRbkWlAtrlkSXX35EpDEsbKdUG7+FNBQMv+PmO
RRBk4asi/OasucLlu0+mRrlUf8mTKkZ4hzMJ2v6PpPNaTlzZwvATqUoJhVsUQeRgwo3K2FgBhABl
nn5/Pbv2nDnjBFiou9f61x9AJPRT/Avb9IHuayyv5NVLwzx0/GbcveQE3+B2n6BGR4IEHafGfCwQ
o1l5Bdd3blELKRv8Vg7WDEq/AlcmQWZdnaDzj2HnXG81X1cnz0g454/Ij988o3g3EAy3MVZ3/D9C
uiVJm2TUjRxDK/Ai5jpAYqqfQVLGJT58Lwk1X2Nz7SmuvheR5zQMXr4qMebG3X1HUsYMHxCrd7PI
wn7U+iJYQSPGSKShs68uYlJW9b9y8YjHxaaGkAPCEtWTOQKkv3xVGJhUy4RDpidrqqKWgJpTOKPU
RbOCFTspqTSxb2JakWP4OgCy/EYcfZ8J50Dicj+hYo9FQjo6aWFvnu/UqU560kyejpa3f9ZXDzzs
WljFKkliGS+6ohVbvsoV7yzGeH94QbBXSLsYvu3Le+BeMUwpyaRQnefAr+AfgTHnFPAamCvDWNtK
IfeQFH5hoMSPkOsQMK6BivlZikkJ1hOk3DOiCKXwN59xe8kLcUOKiOpuGvM/kTScknmJXzFPJR4h
n/DotGWTz7L2ax8XRrJ/XxCDxf/TVTCvwOTfJbwbukZgnblxMS8Myr9uOpCwvDS31hx12Nma5zx2
w++HYc12tCSAvHB1XsFUn1rBY/Ke4UdPWClDazJdcEsfm5fuWq6hHzKEDkeRfcGYfI4HIyPphwjW
m8pXDPBGsK9u0yqA40ma/QCtWQtxmHFhafNxTiYTLFzCroSgWiTQvx+I8fC1ALh8+AVG41hghdgB
YPcANYuYFywpPhETSYlbTYwliznnDzvlXnp6+fY1L4mbiyfJNF+W83QJ2Sv6HGK3jwwJAQsh7dYq
Xt3m3LF1mM1TNuGFAc8qmzfkftPoY1XEyG60UFkk70idABALSre1kjyWBdwwLH9ngOVMW0kwwtdN
nfyby06bk6DjUc//kGTP8NbeC9Q6GE8Cb7wYb/zxwhk7hzGfOQdX3d2s6jHTaOHqBI6AbJhvJi6S
HxQMin8qnCmg979JsMmAga/yhEKbo/4DxBv/5O0BDlf3MRAuilS4Fr1zOOE/xAKekjHi38djHb7R
Ge5xNuHp3uCtjDHqKSDGvM5J/Azsc3Xf6DgjBFUn+GDuZ4GAf87J/yOuyTPcC0ocr2Zyc1Y6UPMz
Eh+Il/uGlIHs8Bc4lEEwFDkwGD9gi5iJa0ScuGNu7pcfZANtGAhmn6DP3Zj0iqpMgqcILXt+hfnM
oAPLJkYwpK0t+LYFuC23FxD0enQRQDQqDVS+uAsf0CLA5IZfQYGWBOKWqEN9woM5+uQdaRuEjoz6
QOHFN4jKL558QjDl9Q3K95KbzhMKPf88AQm/lGt5L0J1nrtk0ywwN0LrU071b+lo4+/gWH8UaKT0
MjwI24nunJeqB11/fh7wldGdC5K9MR9fxHeAKnsSSew0jN6wgM1s8DQZ18ofHFjy0PeP0rL5ulF9
pOhyLvbRPlYGQnRCnjNY+gZhBSIx/uOmv0hVXZLLVjwVrAekMyTd8VQig8KYGn8Q2GmEcaeAjc7A
HM+xfmaxuxD4YE9UBy28KxLpk81D/6Pq3MVrmlz8Q4Ary2+dL8AnGmE5i0Cid6GjkFOuHDFGRWzB
dvlcQd5WCVrLmcoAAPK0+JCkAGhMGXi3GU8MQtGNo2dVj5t4webfwZZNd9qAaVbsv1Biu8X36wu9
dY8CbSkRt1QhVTHYWX5q8ZLjueyQoluylo9YVy+6Ab9BlJH9EVGFpxyfMxxDmeeOmLkvK/ZGPz7D
Al2KxF88RQhTF5e08bTjbeTPdYbQ4B7eiOMbRzks/RvKPWtt4hH7ZmAr8sOZZYu5N755s35Fx8zk
lthd/nvzhPE8p7N7LGx0N0F7wtHJ/LV/ywsdkT2xGbZSYu2fzBcwpzDmQ0jd1hzyuUIZglkNwgTG
s/jPgArwGWLUO2RkmLw8gOPcT7N8v5GFYrbWPx1LFj4iYTsEOZauLzAt9k7Wzq+6yLA5wPxDoG6u
gsMbPDLueUZhX2nOXo5WCnfDZME1O+qLDxZsQfeVfct/+n2KNwVODpjGELKokMc4yc19o8EMM5XJ
J7CsEVuGNsL4huKeOxo0Jpk/b5vnivTtXJqP3vOu38fwOJC9ZjhBYvH4eE/w31LSvQ4/h0QcTugK
B71ZskzIJ1CjRlh4BgbAw8BUFIrfGtoitITtX7FkPM0kGLtr/DZDkKr1dkuuUJSaC5uxzx5XbuCJ
0gdxD8kX9ApfjwqmgzZzJZTfOAH5t9XrdPsBOlNDUhBovr3Mfy238ti4DJDu1LDd68yh1dCI9PC1
nRoHkBm+C+OTQ/uPbIRP+vY+FfXtgyF/HbRzwc4TREWVJy23KjQ//t/nqy7m1IyszxnF8SNItpiz
iJKUopDK8h68IvBjDvni8MG9aAPBgv+GjaAwPOEW1BR4rrVPZ4ZwmwpKPFfgbU3fP2pAqOdcRsoz
wUgbHgSna4k1PsTTibiDRY0RA9fD8PCEFcz3fVKn3OmGUDFRxbgA03RFrIDxY4K9CwUjDhdEvmPb
fR+jtMgWsnMukOGo01/EUXdHRxIjzmhYJmIF3xbZ4uN3iNjDFnM6UiF3BqSAIbLewgrhTR4VfVe2
SDa4ZRULjJtAMVSYnBnWagw0scVYvRVMlwZsFSEPPbcwyvwPMMQSXB6Pqk+UczyLCeUnohfVrDUH
7u3nXk5E1MNtRffX8fwEWqTLu38RIY2YiwjCznNbnJ/LxxIp9f4JnYabFifu4lUHccWpj3wPCcwX
xi8qROidHeGeSDxIoO7lPep4JJpPVwSQCdkPVcOOmmOuRaR7vHlda+2we82zNUXIAX+JJZFF+AHM
yQLATOai0Xoderw4ZLQYYxhM8fSW4co2iphsYPXBK76lW/JLHltApfzcunJELX95zu4KSxe4vyN5
T8bplRTPSfZV577EcbgbVe6DYE9uJ9tR2V/pqGHf4ec7QWHffL3p6dm39ED55XMuCZSRuIZXHCJH
THBA6nYZh9YPAtoAVokH1uSaP5/y9JggMzG36Q7ZNY2FRivPDgcOsQDSnHDnoevphKptTR2L/Orj
Kxpl5zmfoLX5QzDL7tdSY4pblXuQDY+fmFv7nu5GikauShMt2DKVJ4XKkl0XSxCeovYFS0am8cXN
DxoMRey/WrKi3wAQOIjdE8QIjVcarFXQbApgYCleGJpej+bP3JksjxfsnVfYknFNz8UneaICOYc2
l0JEbeMjhqs8NEI1H43krJd8yX++8aPEd44Ry/N8R60Mszdfm6SG2deqXn2yKG8pvRX7b2TMnjf9
GIH2vbTMVd44w1j0v8XsyRirgUdmWq1raUg0O6xU0f04ZlHljDA5v9DYURbgjflO5PDNifepp7iE
cES1qLZEba/NyucCy2SizGnRElxEks1t8Z4Y+JjM4kAIcVlOHNIVshFYXSU5IrG9+zDhrTBcK4wo
7spAkep5XXl24hkfQmc+JKY84X1QRZXjTJ6XSlDWiSd3jK+vGaB0YyhL3FSeElj3R6GzLRIsKHA9
p8hOc9bntds8TiN+XnO7EpokdnHvVfxHDfG6UaJYOFK14wQPUtYT3Tw+Mwmh3ISSuLRYlTIZvXdS
thm03QPw5nN+p+5x6DBLcmh77tJcGb8xOI7Xb3gvkLuaxR09Kuif9jgP0kEfHTGgvTXmOKHyU11A
HFylWLXz/nGqzQv3HelfxBlQkjTT220ioRXPZ6N4biH9I0bzuSupEiSVKQyOWe91S4R0FY4arkiQ
IYfTaRbuW0A2DI1Xn3Uxt8mJfkPHqQuOQ4Lm6AzaSGN2eH3fqP5t1OwGd3mARxXhu1AYUZURcZOq
G3nfT/TvWl31v+/W4foAYz1OwvwrjQAPMXCrUiLPGeoz9zImFeom5KKfAKy3MNwe/6MRwi6HYCYc
PR4ls01MxkMEgQ/FwcSoksJK23aPb+lfNLs0oCCG6wcF13bHCioeFEHJrZqB0MHeQENhumiZrDzi
xyF7mKhhMEZi3xd6FQLpZOZRzBeIjMdRhoh5Ki1couJlc20EHVc/vGiLehVJajpCG3iyJjHP/QQ4
w4LhfbYhpcoa1SvW+Trsp66AsnQLbyC8wzHvfvX4msXUxsMxfszabvb5zB8Fkqn0Vm7/dfFWiujm
xtv1z9TVCp5AwW1FmPmGrok5aXMiEl6ilMoidC6I/1MmkUS3oO9YqaC4uwT+njl7YetpEjBsrRqM
oBlwCDsTuKSMDV6Alwc2XbzRWapAb+UF0yZhLMAhKDyqLMyGH6xRYSWFuTVKHqa3AuQsYU8B4I+z
o83GylYGeg0h5RHyhqQ66KMDIaXseNeZC/PgZFJ5o5LBvUv+j6FEaj/l38TMK/QQpmeytzQYCQcj
2ZH/GTKh+cTcuzLHmukVlv82PR1emzRhLqG/o1zCl3zSl7OYHHlEnu1k1AcxV4MXgwbgLtgnoziS
iOzBVQFhJGF6Q0DAj167g4KFvffARoSNHT8RdKK6KxN9kTrC9xa1hOXhvgcJFnl1z+5FhzLAC3sx
/+HMyBf39/Ytr7IvwAj5/pd8AQTkU7MHFEhG4J6pFVA8PP8/yxXfmA4eAuMpMDY9iz1m+vDPUEQk
TSshhHEsMLH0Ih6VltsrzqLHEp02LTXCYzx8aJ1ItXSh/jivee7udpPljk4pg9XChsTaxCaBLh23
z9v6vq3mpI1DWhcspIz5DeHBKeP4zyU5C9Jv5vUhEJ8HurTA7OMkbVJ0uXRxiMgZ97vlvLwKUjCd
Oh+Jfr0PKyjufJFaAshiGNOYgLaj1de2/Td0kQCPhQKqsUisr8NrH+FWkIyvG3yAxqvVgYDACXln
458f0Qrr4xWrnObSRkKnYXkhwC/ib/hPEK8xFaNlTCD4iBbS+DV2w+l+UJ90t4zK9jyMaKHlyesH
Tt3K3GR7tLr2pg3NTX1o6Y3NBZ865VTx+9tcPWV7cwGakMxFyrh4T0VvCleLwDmIDdNkLQolhABw
xuBfbUEpsAHcJOdknUI0wj9CkLUEnsF3MaxYUmLdl/iF840ibUy5kFYNqkZrO31Bf+YZoHf3aDap
xF5X6hf+QX+x7DFkqPZYehKCx56LF2g96766r9uGJLwNg4ZbOCzM0ARPBJaZK+EEAvU836L639t4
QAkXO/GGAfyF1kzQzEndoZcWfK5mTm30wqh6+MLiTQWiu38xWdCHnVxeSIcwIKqLqKrJ3Zy/l3EC
8Bgx4SyzLZbdzB1eodGHJtJmRGqkDdnhCz8JbZ4YuwILzZ3NwcFZna1lDCJx+8KEtjvKDG6LUCLF
DvkSBe4rJEg4V7ZqP0k0//mEknxMNWtmmxinZWpeY1iHJp5OVcp2GJQkz72R/TSfY659p9p33101
zun49NpLVjZ/m6hPbcw/W2nW69+mit05FhKPhCssrImpQyTHesfOC+ZmB5WiH/Esj0stiPInOnGK
+FSFnQXwgM856ZNdT9wkYiQMe2qSJSr5VNaovp8xSlKUw8kiyWmgpjZsGaNBAP6S5jhkjJ+baidb
0IDw0LOnSLzD+Pjxnpti9Vhozmj6mkDiSk4J+gLZZbccdzP7776BHsYhjWKHmkP80H1RMslZDS4z
MLeDavYWdNFkJfucH/hrBUI/NLiPZobdza+F0hftzpFC3b+xTtQlWVPrGqEeHFuhC0OgB1upcIWy
jaMFvcM9RE2BLAqTkfE/GRTPZE55pUIY9PGwRNsICVMeQmF0U2K8xncYqBN9VpzqhTojzBYBVEey
qeY9Iap+y5HaTOwKmVN7eX9wpJ+UMBG6eTptUTFx+yEGp3OYZjso8UzsyAepArsjqSbU9LGBJUca
WiixsCNGyCLM4kiimSK4NplQ5j7u0W+qWvyFKQu6kGwaxprQQnr2/yyqzRlzBkZBDMhb9CNS8EIN
yZCm5ERwesLSmQSjewR9IE2uH1uMZ8nKgh/A4KblBawAgGGBowB+uxg74a8k/RCd+Vbp32CGLxL3
dw6wccjdi+zsBE0TgFM4o2G4BRSN9OuNsxkd2D+7NBtiM/QOI6LNH0yXTAMiUY86wgXkT9jNNejs
W3vcXQqoExC3J1VoUKz3iiufU5oSrGYR5lCWwiShRpc8HoeydnhE3KIm6v12DFIEYkSdSBEpbWXM
gTSH4fdTnb3+6iNiaAzyTdEIOh169SnjuBCaWjoOo69z4dUo+StneY52O+vMWQua15E+4oxwukzR
KhfNuFQoZvzq6Vm3+T2PBsV7JiEnptFgtOeluNg+XQnAfggkHjdxoAvyGKiza8BNsgKHAPVgfU4/
OwPXOTwY5rAGKWvVcTksGb1XnsFwHfJUwyjWpXR+HouvBzQTuEge/GUAdJCg1KV3vJ9SzdVmNmbS
iIq/NG7ZXy3ftPaERIcONyreLd48+gEAS7x0Yb9RzTEgd0C+eE8yONytKCnhjXaIakeQN5yB3bX0
+PygzjHdsRHgI+ymNhWBc9bHy7CdIUXNi9UAdU0McWx+g8tchObHpxhvMSVVEXwseHBewqjm0YJE
C0aMLYgAU+c66xL+6Wf7ogdlY8m/b8qyjQN+GdkvtOnrGdk0z8W5gszUmxMV+0iyozC621Vrlehi
4NRkTCAsgQNxOtUx7u68JCOLD0PIaRl/2RQk6AVvX+ZtKVrUV1iRNTr+/axKzz37E2Dwq8aaxzC9
CJ8x9AzHrFzjG5tde4jqD87duB64XXHAhebo97i5KD6xHONzdOYT5vgohhtIX/+ECrNjALvc9SHn
Wzx5Lu+rgdhdwuM+jEnIH8FA2WWmjxVk3U6tv6oHIZliA8wEXtjwgfwxUKc41liZi6Kd17GD99Nd
nzT6lpKjISMJb+XPLAdAknZkElWMc4A10eS0wkaXezNbFCDGGMiqHlewb4P+tr/7FqGV/VTTJ9UI
R3FqIkJJdZbQ1cTMjVMR4YAdvHcqlHfrmBe+0YXUpbKEWaxD/89Vpv9q7VAFjXtAMhQPouR+lU1T
knEQzkA0gTz68RL09RS0yHDmD9jWDIhs2Ps4BgqKIKS7wQxTfMbu4QutHSPMhl7R7gO9C0bPn8L+
xnJy1J6rz0oPq2oH7a0iPWX0vEhQXFN8Iu5TNQksgFYUhPcwLwOLJdrzSp677Ebhx+KuPSl5j1Ew
3WTUZxLyzMGhE7ZIN7VXjdK76r2jIsexZDU0NEjETDvZ6/zESk10EGoUS3/1YdMl07f23eDBw7SV
av67QUtGprceMIdBw2vSfvC43rtJcFTzFNmjvK7YWAu8ONEKOqJzwCKElD7NQ3zR4ebF2wM2cIJU
nncuBGyZG0caY6NFD88cs8AZVncr3B3ySFd8mKkVOhXbJfggJimtJJRK2Pcx7vxAQGH+PHIshTgq
R7pCw2xRqbAbUSpSnz18Tfbs0hshvpk9I3kFfbND7QPxwnblq+hysXHH8Q40N4X35NJc0QSVDIVi
h6YlyyMCN1SJBLY1PyGpkwbPX1LaoLqxbXFxJSb8Lv6U2P4mpW8jxUPrCwyLQQZ9DWdmSZhpaIyc
hxoyF+MVAwmTOUtC3VtA7K5NMPnbfzJeIDemIVtmXHLm5SLZb6DKx9AZRVVDv+dSSFjExtXCSZGn
a1I3frmWQmpcmOUujPN/JjOBihoxHgNtlO4Ti7Q38T+LXAcMHGMnJkxyReTCfVlB6OEYW9Bicu7R
bs1f1HGYDsrHUXwa0mn++R1EOQMGJvgpYrxXTO3DezvMbV/UeMUe+1zzfAN2g/pGp0H00b4ujy9q
tDsRypPmHlG4sS5oDTO4ySAsD+a8j4ef5FOlwHIjzEECa2as9VaMFL6YY0LAS51u8YGnpbtW6dOP
f1T3TtMuIlx5KAdDV84xphtFGcXweBmsP1wTKtaqRC0XNt/NWsPcNHMH+tLOZ1Auz19/lGwWY+iR
j2sssAR5lOlPTIIwnhV3p7XwCHVNYkdu4fPjm9qMv/OfjvKGYQtUHBXLQRdmDdUJMmyMIWDcvAW/
RrZmuhS+cs82rllOk4qNi6RD9AMZuoN4wP+FW6j9lI+DYmAbkGRLNe2msmp+JZWPO3+DUZoMReX1
hX1zKn3f0hpCLawhjWHL69p+bNfkl5P1k4RKMBWjB7FHbkUcD6ycWFs/OoxBqx8LCM6uj7F5lOXl
6La3mk07wqGYn5W8Hi/ZJGJ3NfDAvh9SoFQmTyqbqRJI8RSoazfMCXj+d5PYB5BVatLpcAc3PZON
xdwEAJrQ328NISxCDMDizKHqjguvTT0uXIrPLPA/OO8sPZcnGtkeget3vbZ3JBcBdA7wjFKnZf8H
scctYFquufU+u/63Zq6Kc8ZAJBNntUr1grZ+Qymk36ZGuXqp05cRgTCVH2jX7o35NCx53KuZDrPE
Uuy73aZzgdvE6Ioe9sMQj9TrbJOCx8RvX9xjb8oPt5DJUTVF+UBlZK3bykvVr7I1yESdFhrDJKmY
Z9pz2teSCNL49NvXcC7RSkDf0CTiYUqk7kb4NCcWpArjErcf/LjXlgQg6MdlNBjHOxouDi5UWhT9
LiigmbgjoEtkfLydVHdWQBnzHnzQyOoW4h9UbUahtJCX70G4RUGobi/5T3WbSmWB8fd3A3L5BN59
+zLopkZRMkBD7n3yuBJ5b1t/gsMEWfXmdho+c8blFfVZhNO18wBVXqORZsq8TRBppgG9IoN8XNN6
5henAQ3mropGv5ZzhDUn7WCQBt0BVnSkr2vCGOkgfMuTxr8kWmyEzxOv7aeZ9j7slrN8HjbJV/F1
++sBkChAQeaPBcCsS1ilDrfTBKicJLgToCXByO8WwpAYHr+p5iTft8yB7gk1gxWKUXHGWkTww8om
Y68IRor74i69hdp78rGgbc40czKqA67mG8S4i9720rIWxigCzwWRlLEohN1EJhwKdhPJgD968pgQ
hgMd9jyhXFirVz7lOSkiIg6RdLmP/5JDCg8cEAmKx6zZLkOM2HFjyYF/4fJx/jVzCb56D9XXKveP
bGk0jDN2BNpW1zZ6vc9vcBH9sTHZykuSp+GVtT4+b+adIEna8waufOcgmFAb7mREMCHQD4BUtzKw
TKwQdHAUTyo86Eq/k0KjJWuQXWZGtgdoFXKL+2guo2cj91EkKFr5aqR4GOPGGWEuwi1Uoymk2PnW
f0FKK05oRsaIZTnMGbXVy8r00gNwnUa051WcDpxi71lNABXKTbx23j5ZSzEwPBg5qYYwcFqCv/jj
vSpPhbEPZMTD9+MHXMz7OI/YcOxvC9OPhkgBJ2HMqjHLdGuWE95LNBrfr1aELLdoLZlZYIBJwc4h
jX8/Q7g2otjAGZ+SQNKoDdBf5Bzf7SSWAjA6XZq8OCQHV23Cm+nxjSnl1Wfzsr8kzLrqRd8SYeK9
FC9lXjy4NzzlmZm/3Oru2rAjmNE9XFi1CnMlorxH/lHWBS1X7YluJaKS+Ff/c2NQjSkZXtm/7C13
5jf6d4H0OP56NSeVIgN0Hc9RShQqT8oa9EIVuU5Ohjzwqo+EF4RMCddgsxbWVcQEtoYIy9CB8Grs
m4HI+yBjy6/ooUgWNlYWUFXDISojXLq3X+/WctRDc8mv2ZbMoIt9gpeLeQnNDl4cRCfCNMUyZltf
5QsqB75oauNYdhLsTOmgTcYHwCLjD5oDjD0o6+DdHp/HOw/HHlCJ9FP2NcGno9iWMQZzRsTHETlO
IobGmDfsYoc9qOb3dp9ofqC3s9xhjvHmocxmz2CjTwkIRetACUyP6MFn7kaCRQ1HyBgcnamFQaPo
MbZOSOhAn/YhkMwb8O/FtB7sBNWHRcoGjncR9OsnMU3kBaje4zUlND6D0U7bRv04uFjotjDWXtg7
E48O4Jtd7e9005046n/i/esvi5Ymjq1gTuX1sSzOqrBg7Um1ZhzWYfcj0kyojHTx5uDMQdwiQdQE
0bPqyN8ElFUW4/rCzA18sWGQyIhB46eZ1d9EwGrH+oSezL8pb260RB5uXe3H5UMVbQn8eYgYBFes
43TyhiXA4AyjQgbIwDegkoD5aKFiFz9s4MNqjV3kwd48LgDjWOkjDQDF49W99vct55wMQ+iK7TSP
z0ulqWD/UPE40sIYtJgtBxQV0j5vPk5owkvQXCBPTpz+gjKSIcjBgtK+16L35X1IzsYp4RWWeB8w
emE4Su8MG+ZGpyKq6CfliCA15eg0qQFh/kNyjIo1Jo0RQld2h5pd5LeOqLtFWd34GkS+XX4YfrvV
/T1mE2GscYOm+5kzLaOt9NS781LcEbasjA1RyN+dFMs8fo0k/+st+s0f+fsj7e/4AWNsgNMR/p6c
t5RU4jwUJRoQBye7hFwFbQ8NKLcwiCCjUCZ4hPP8i+9lx5QNZgaOfLV5kbwhbGRcxUGMeugl3//m
UqQ2YBfBrECDJAtK4McERbZos7Q6ZOzLu5+UDjdDjRiDq/p0i3JDRBrXiZ0co17qciHmwcNcyNkm
bN3MPHhrkit1lMyxVTpD75hhQtciOXCxYwJzmPBi02qTjjKmfbZtEQZEu23RdGCJRlEPwvantCI3
qDh3V1EeSm4BGMV844QR6Pa9anc4+au3sY4WDj9Rpp8nIISc3YKIUDzcGHjS94hf0kRAI+gkkGVB
D1j9wh+swnnhV98lGcDqOIuJlxt3R7zCDvIvJiEf2KCKY7MEoGcGExxGgbeAyVEx4+67i8kSI5aK
8mic7BsRnI6opccv9Mj7HdPt0Bn02FYzNedtecNt6KIC76v0x9BlVocZGpzNZoMS42mEaksrM82Q
8+kltC9788IpknFKOzfqZQa4deU8q5KpqQvBHUcPzjoo2zs6thw27COSeo6B6UPxaIht7j0snW9R
Nezy5CzTUYopu+a/RrjwYrmzePczzoVRTwLXQRaW/nSqtj3F+xsyDdIjCNoQcDDaKjkTIJopns6Y
qHMMxYO4wonxUXwLw0xoxxDWWr+VQjjV92QK8kfaJsPtJ2YwAFslQhh3sF3GwTzCCxcWLbQV8MUp
22jxCqSZrE3M2s37gIeEs9MhYs18qD+qAu/Ls7BaZSbJmc0Jgu8sbz95OmcbODGhXUXDQ6gVa4s6
i6LJILJjIGjH0/CTJZZShr3vtvA27UBJsAbwMixl2IMNX0UKC3kLG3fTGV0IM2ZSiZGdSTgaNU0r
YCR05BrUmZH7AtJ6kgfyD+WyqDmhcxO6iGUCnkRdQAgH6BN02yfGTqCeMqG9xGYjMxU3PZLvAcfE
j4vC8mPSqXrMslJmHaVTK8LH1eT4ZeHkDu8S5yLzv89COCRQIpjEck3xOLVl50nHhYQVRRfvfupz
LuKfx1YUIwmhzCrFWO5B969Yvg064ry6CSMNLJb0JBTFDsjNvryyGw8Cm6H107k3OSAZCxKjKTni
GOh8xFUFGXU0iVJ4x4CO5YLSXiLSTCQF0Tk+IQhxp1RjmXeVusvy+CompIhawWco3ioDLRDqkwBL
GiFJhcHMh+TG4veET1s5ZZ8E7mBXzVBxiYIMBlYD2RkUsna4fLwV9RPBACwSECoANwc6T516A0mb
/3CgwXIBzoYywJubv31kIAZIg6dLnqK64m87kLDiYgKcki0dVuSCMqkht5gGRZQMzg1Ec+TRDNFp
0WAx8G+rSQuA2LsGDnaGQB3nZhPwrKKfpNW5E149MSXumgCK2wibr55IbDdvwWjCBqL81XGIZzav
oyehqqgjnX6ZYZjTIBn0lB/gIwYZ3SFmb6alx3nv49zBWVunJcKSEChkHaDP8ZhQbk+jsqZr1ekJ
PbLNy3sIK+K2MGm3RLfulrZT4drEGc8QDgYOtCpRot8xhylJoo4+nLIMNk6wfwwYkbjDgu53jsmS
ZMQNCETVQ/s5IpQIz0lHxzcYkfEAWdtHJAS4LSHcApmE/UrkJzMOJiUbzUJJ41WbdsJnNOIyePo5
XAqBulzUE45D1AQaqFLC/F54DxE6xO7HudxA+q05FLeM1JQV0o3mUMD0AcBAyIFckHOHDy9KB58H
TjjQ/IMQ+RNBL4C8LLtiA4NJZHEQcQMem7CVvdx625yBPqzvG/oFbh4uKsc8q1Fxkv2IPfQfXqYC
TFHz0rsA/VCXvbyeOQ2tFXoSmB///hHDqwZ2tMbk0cnEKKK05rdDI4xxRUEqB6p8N4UThEdQ4c7r
O2QCl9T1GntYCPRQK0G8Ua9Q77GS4AXST2LSwcmXcZ5juV+ouOo0KeQHpl+IPnbP3/Qn/YFEhf4J
vAurdRwVNDZdbAQTJNH0kvXNafboE0UCFH+eLnQFlfpjpP487Ckvd2CahV8NN9v99gW/EFOXB70f
UiH+QQYJhl9vbrXv9qzsix8FpQIGdzQdpOxySqMIQMyC1UoX8qFMS9Cw/Y4tFGDYNlM2clrhKcEb
hzaMI41xggIrxukpAdh/JvZV47uRYQLpr6plx22Vq3JYnzEtK7mZ2UuRFRPsxw7zbwKkMH36wG98
3Cn3SbF4sOro4IPsHoL8NIj8xjTtjHy4x1tcm7iwOHfFnP4jwCmDEB+SAIIMCQbEvtSl02VLMO++
iIXEPt10LVoAaHeUCgmNPYj7BECKz6SVqzRCHUJgiIpVPUjHyAcJYe1RPvFJWZwFHEPOjYOgcKnW
uQVLZcrL0mrng/EtNwamKUCBEFNj58NdxJrGWX6A8iC2E6qynJfHD+J6b+XcAdia/hQ5IpooRx9r
upBvDdg2+i8Eg1wnqK1AyjPAtirKP306dLheMgT5aEUg3Yr9Q1koPXs6ax8RH30A1jRYekDmhpz7
x9WBMoyEA2SHNcp+B/GIlQrxiq9335AouCJ80fj7YAMuYACB3/M3qTTiTyV+fU499B0sr/tPvbrF
jFibyi/YTixlcpd2FlS4uSKR42ZeHjAMtYutEE7zWJbrZn5fPpmYsvpRJ5g0DZhBrFHd76npqvVA
NY0g93XWqM6xwzj2W3XfrCnqSE3Zdud+q+yw6D+1K8G2glqF/A2Xg029UnbE2Rrsl8yGQNCGB4rI
RQk4skLZF3+1+B0os34iQkxJuVy1S3jBq88upX2GAEbp9wsyWO9ehBc9yb8aIhODLvKGlMSXqGIY
cPX2HBVIFSkrdCRsSbjU4XiPYTsGVfwB1udQgzMDiHBig6oJbgczf/sAKfcdYz5Om+dKPEkd9ijJ
4UFZbl6teXoZfMwQbwrf1TCKACvDlw+YM3OYOwHHwE58FdxTAd/MJB/kyfpDgfnHWwnsSRXP/Eda
MlOEOPlaP0nhGr7bHXcIjgJcZtuLf6sja39hLeNQ+uo3CuZQTB19bSnf3dHP7ZuxJocE0hvuscYS
HSUv6q5TIwWPlbw3vl9gVAAJiBs+4zPzO0Hl4lWBdf5xgXH13gE/PlcsHtkQ2X39L07jQYmD7bLf
2ofmev+hq7T0sXRBAEr1g2Njs5G/iZ3FAb/eyXPzwKnEm059wXbM+W3SkV6q9fPtabP61zIEFJmV
0BXQR2YRDQB1UzZNiMxltT22xJ9Cl4Vox/SQTZVrBqwkhrqn+qBdTJ9Jo5XOMXO8/7zq3w+c8vpx
ZrVwTfnTFgBdLkuCXxHUiipA3O1yyAZig+n/vVcFQUOwDAifT6upMFjTz9Xf7av649CT35hRjkc/
7fHt7m/jCE3neE5vM0Yl+RtFlC7uEXVR9PWFJdTIASvIDrA0zR0zWvOkI4+9aJMXIES2/eRBjYWC
7vYrYwNqUA6z5Bne1wVoOMhf7evrLjQO8eUzx+nlecVCBbHjNcX846qxu8CMScf3Y/Yl1EUiJhtq
2Lj4a4YxkDrccpAC6hjdcjglVdwVcOz84j56AVJAZX54Ju/bIPQCc2yiElfaxgFJKQwXa7zjgPmY
IyLNIR4XQuos9ZDZlbLHMKBHdPBA5MBVTDY9e82IWmRp/wzpnC2GC8Qmbe15eSP4Tp2r/aoAxkge
SEXTRBacheUho5s/LNxP5cVc2SeEhhXdEvnR18+W36PCuYbrzG/DIO3uGPvicLskGI1sfuHYx98f
koJs7BAgiYzVv+KboL1FuoOxO2nYPN67ZtEulUOxh7OH1f9BOdiHLFK/ZLjJ5VzawPs8C+kU40Na
miu1rXbpLxzJL4pimskQ2IimvtnzF39GaA/mnK6o5NOf5iwd2JuwYSeLA8unDSb6UCQhodNafrer
+0/L62cy/KPvu039KzZvzltGIcSBfmWRGQF5QG0TqfNURJBQKJ6hxUACGi0+G2Wd41uUXu4CyLAA
Ew7m4nEwyIv6RVQorz6Lz6LfyJP8YPzqvxJbCN2khw2SGCFdP4fcCPItD1rg1+3J7MrdHqb4kvLL
PNAqS5d6ZSDpzk/57+OUn8g+9OnVmSRi3MGPcQH4henVaeMFgCLgAMQnAWkrGWamHPWwQQ7pEtA7
YgFDNOxTMAJgR/EP/fqUXZMRVbVms+dzxpXyZQMH6UfdV+vXmSEYV5mWmOcp1hgPoCbXb66q+Unv
Zfcgs70ES3JxeSGec59TD5G3R8f+7+FsZIG0TswLgY2xO5CdvBtDGGqJRjSpDX1lB31JwvjhP5ru
aym1bokC8BNRRQ63koOIiBhuKBQ3IEjOT3++1vOXWzdhrZnXnB1Gj5Zj7scWWbNBFL+0JYRfsKL9
vWf+MK9sxSnKmFkaiYrenDFnVJMlTq3yCLcRYiOiJjY2YJJPW4+Sr6y3jHCN4lfe5iaDd1EQhTRf
X1MKYTH8/qPhscsGkf0ywE+zz+QzW4PBgUECDNukuURBlO4YsKBftaz4Zd8zPnLP9XVNj7IlNNcM
hSFbZnLNbYu5gtaeB96o3QaJF52KI84wS7TGHdm3v9o4SaigXtpwepp+l29LWeUr11lz3cqPYz6e
lVlLPxcahpC+tOyt31k5JEDLfZCAdEF4q+wdg92bxmty8v7DWwfymJ32nqVkutPG5DjxoYBLMz/+
OHeXnzSW2d35fduaAWoBdd/lGRpDwpauJP282zg7yjSViyRTYYyEa1h+Unnhrmi9RyLAZvL9mh1n
n7MyV7ztH+PMPvW+3zxHs9fZK33BEJmlYz8/Bg5JDy+T0fD7ddvatmSxf2OyyRbbZv7SLA6Lw9Xb
uW+GUwPt8zbVuQ1gRWz7g+KQRrPrGeBTT+6Twa5X27wVxyEOZDrOkGP/2L88Ud01b+DxnX1G0Wb9
NDDvVtJmcplAXQA3fVkqxjKwE5N01W3NyxOZxGQVh84hmeiay89FO/t89Mgfeqfe9V5+uYddL9fZ
Tc76Mfs8TC5PEn0Xx0V9mX3GDX+jsEGK5Lmgv0sUGflMvl+NxOot+7yZ7N5Mlgv0dnpFkGKAnMEp
mTEpLvBJuG8p5oPvT3fYijrnvhfOQ6LPWGKZfvJ+97Z5y45pH+nh+b04PvT2/c1bgbbRjY5zZ9kq
o8lGZqjQb0rp02HilY3roOnF4e4JU/IjSewhPV7v73ZPyfGlk+qgAJqcu+v+VvJJwzcujq9fq4ER
ZGQ05KOhHl27mQ50uVEd/05Srp0fJz1CP1wlQ7JA7/SUHZ4m6XGqQ5AY3Zg/7tLj/HD/iJ5h0+Md
pOFMCqLi4u1ukhy6bCcH17meHBup7PBMDujtmoSqwidBdTVI/st2V4LqzsPbgGdzOeB9ut4LVR5S
KgsPpGLC7P5x+YB86/n7H0srD1+OrREpEqTge6q7uE/xBx7flu3zG4V1cn5LoszOPhWxP2Yes09M
gKt/h4/RINOVGU7fBH1v2scz2ud072f2UZjLNXGXrW3aV6zETG3VNDbwM0JiTDq1awV/bQUmxjdc
/81p7wrSPTaXd8zI1eCoC9b/IyrvYM0NRG28O9Yihvx7uK3MhnxpweVdZiKWmLL8Eqy6h6pQm7qU
eaJg6ch3EboKFYFuO6zPVRG1v28/RfVUDq39mwDTKm5uv/nfn1wkhUBZxhDp/vhM1gVpDaisfkB2
74sogA+NYOZL9+SUkHso1+UOK5V3L9le9s1LgekAVV1HLp9M2Je4SlidBoeXQxtZ3/MIxhcxYhUm
vsKFD7eM+0qOq/nX4cUd00fGVjcz9jA2O4fxarcBn2sP3yKOlpWg6VnWIhY5KIpvUBEYzCqRiOjv
fTPw1IGmTvGUMr7UTh+B/Qsa8KJ8RYF6jk8ExCKHHDWh+StyBdsOmR8IcK2Ew+AmTuhjMABr7l3u
4u5pNagejeddj3BvDL96XWIAblihH4Ply0aCHyR0JBf7EYuCKFoYhdVdGMB/OYyYzi/8bI/nZ5s3
CcJ2DcdzxBm5/zJGTMGb3yuc0LePBXS1gItcd/NCBFFe4VZhLBCkQOuHACIQMOWRDEaZu+lX4nbn
4rCNiVojqRW4DqpFCV+aKKMbM/2WXUjsBvpLAu0eNpx1Fuh4/hjxvKnG9h6Jwsf+/ucxRimGVRqz
dibkhM3DunV9Xlwkds61tYBCQ6p53n+lxJvHnIDhyFE2R1YNsxBzYxaES0oebW4WrZXXBYgV0PrH
w1NQpR+fGYcKLwZh61u3VgfMfzDvU5t6ifB/WjETYdcEpJcivGycBJvTR7ahJmS/mBtnn5enXRhK
4bUw0QCPgdgx9aezkbkp+/XgiPUiU7z7+EHZLkqQr/gx/Xx+P/cTL6eH43t+7DS7T3+xiDky/L1M
2Nv/pJXB9SvXSbwIJXaYgH474Zxcs9fvVxJEP//1/Zn3v53t2v1+9c1lUBxfJk4A54U9eIIiJ+mI
H9uhSB0iec58LNgxhCsM+A9S7/y3AjhMePb7Lg+QM1iuF50zECE1avkGYzJ7W3f3Y8lAIcf/kdZL
n8Tbi93GU/UpSrD0uh7nXkufbEXnf5FTL/FKdaNJhnzCWPZ+hv8+PJ1tzN+7h9zubX09tW5pR83m
wOi76x5Kn3sEY5fN6yw1meUCR7m8tQlLhZOoqY+DI5Qj8QdZnZjfUtlmv849FuBWqL6LLzZX/p1k
9q5Z2ddNzy2L7beJKiu76U+rhdGgxBCfQ6RUJsP9LKu3aSexbZG8fiRdW9bXmM9W9+ttx2NKJjmX
OofEI6qcdbadOvdKknCdgYjbqW3rNh0Sj2A+13M3YqOrpMUWzp92FIK03Dv7L4b4HRmBuAS6Dja4
y7EGbmQ7aEwLNWqclSGMlS2IuJjC6ZE9DI+ryvUwTB8myRT6i+tPY5Xn5a45PolBN6F2+8q5f4Tr
LDL8BDiVnT4xEj4DOVWgQWYKD8XU+2hNu7hMzim5quvpQy0TyEwmqVFzCfUqFnCw3tSdYxm2WgJM
qlFa8NYXJrlLzwy54CdTJ1Cy4GZYRQifwqYH34f73E9ttb8nrcwrK0DO/mXgYNvt73ejZiaPq6JQ
O0nr81ODagVd3d2eiqkG40HYkvKcOh5j6kTuxe4R9kBpkSOS4foFPBjk7SKoLu3Zx+YDLA4RbToi
OD5BhT4ubY+VUWSbHyFqKHYOH3vMxKNKKn8vy7GRgVm7LnuraYd96H56P/8KorOzntg7mcs8bZyt
OAiEC79LLjlL1IWPMdvf5zqZY92EHce35mVUKcxqcjwm33LF2o2MsWc3+uIug5RlxAt37e7YRnjJ
BUnMEp6k6kUpgsZm4hi9yY+J54Qw0o/bizvyyaxOjEnlQ/5K7N4KU4A0qehBE4BnMvXMvGosNAVH
lXTFYXPGMXEPYMdBXGjZd+6WT9DL18LdjqYl3R0cSl86GfvJ4/J1iQqGT/1HeL2Ih7q/s1kS0AaZ
2N31eXrlw3xJpu/32dbo3L/t68UVtAb7zn4y39SvztCfzl68D1H/BMNZEyxZEHDNHyMNwa1dyFUt
OQCIPA7/byisVW/f5ZVk4qd/EOGYl20IfJ60RpYTPUbajE8sX/UlS1bOJoEckzjK5T8PORC/FTsP
txRbjevJjMdim4jIqgGtpyE+cUGeiakkrqIqtUZqLoaKfEU4pE0Z3/lVOBXX2Z3FzB+AAwcu6VTX
fsDucJYCMZA75+gYQ14l3jO9W69KIdGF8CyXguV7uxP4OGKjRZeK3uJQO/JD9Jdv7odA1AQPo7rs
NZ5dovaIKo0pmyF3XwnRVASw9G8yauarm1XNKNiSdLSw7PxU1bvXNH5g3j7SC0vv4ByAlvpByvhV
Re66PGubgGrqID0EwRVYMxXbySyNKysRmxpxcTdJ//aDq8AtvOKBLleNW6wc0r7cEYxi4jFWEKR8
2lXOFH48jy4t8YPzh85/GdVtE4aSa9qgR6uuldknbW8Nq1sQgBwcCNn+tJv9d46TYTXZdg+TWB9G
u1CbgnmbYBhH8SMl6nZYYCkZxsGk8MooN3ZknguJtqyCL+NsfmzcesEZHrMoyypWjN8ZmVFF2LER
p9x0u2IjskRY7h6Y1MJ9dCj3eY1TneUAqKVf+jyO3ZF4Va///ft++11smrXdWfxlUP5vuSh/Z4Io
HqqMOS2JmZ2Xa55DTjcjtAbgtwIoD6QS7mq3pgNzr2sGklfejIN6rvb28bjSqjTYmr76bSJRnwZt
aQubgqee1Tc9ohgaotVgNUmO2UVZK872WLnVQng/DGK5d2XJnrCsmJirKNuuUuK54dEQ+eLsTGt2
mA1psNs+67/Vicbo3B39S1fT4zmoQjwsm8mvns0Uqx8UIqXQbgZREcrdXqH2/WbBWfRMs8vJtm+S
7ePZoVUDksLK66O36+8ocj/0PWbxFLDIMkU2GSIRPE92E2vJMxhremJKPKCbiSJXk9Xk+y0Umjda
9ZvhN7m7SUyDSfltTnQBizwtb3Tn8d+WUHjKvXy3lf9cibrv6TOcrtDkw8BaOXf1hPLsydpweoq+
AnarLCdWjTvUZiVNb3dmwujjiKMnDrfsvLUR3GV19E8T68fhcXjoTBIVAerNXDNRQ43UWSJyiJQK
y/pQrAdfHdPnv/NdexJZD3KVxIAR33K3MwI5lmrZ8nvJYRNULyTLGq/fPns3YcuTaWFUbm/vHvYs
cyGOlrq25As+l49MTWTRx8qgfveuYzkdcFrkWzzSvl40CrVzvTgkhy6eF897vHbMF2WbjzN6T9pf
MOlkW8iempgicKWWUw9YW9AqyaEAjPXdKcg1wQEqu4Sc0WVtll/jiI6FeBHZiekM6OJZwqggYBOX
j01TAoYKxDSJj+ldNB4nQO1QKUrG4LxUEnJXIfnfuCvQcctcdbSEoeMEc/5YGj8ylt09XMs7AfnU
ldgN0BDQrhxU5QdK0J1dqfyV4ZPtvI23leegiJ6LGXJMpSPDuZjlXYOiWnO2FyeprmNdptJcY32P
R1LCpO0j6RzH62TTkG7nflyq0mxCp8IHBA+D8mf6fHNXcAalym/y5/UJA7IUPYhyaTyg5WkdHhZS
tR7fr8+rt1vTxs3xwnty7p674hVrILCP1OieeH4a/76/e8sPt61Uh+WkS6Eeb3rZ59PghmDxIrss
MTTOsfRw05P/k8nl+23FW8OrMLx0kvf5YXoouJdJP54kATl8Mfl/Ds3D67WemLCJl/OP4opKftMt
jrjhd3ndyL9vXxLBWcez6q8Y5Oa1vH78fqKL0FN6e2nlcH8N2Jfgb+7A5aRe5dfrxmoAKOucOrMe
vWv7zH70BQveLU5hzCvTZ89BC2yG1XP3Urh+Ltuz8qH9LQ0zkKTMxb7dP09b2d7u4yhcSrIi9lmp
3tMV6I9yRrWZVkrMSWP+Bot5u1TX57vlv/zn4b6E3+Ju3tnLg3UYbwdC8S5jiCFpLDP8gJ2rqL+z
3aKW6+Za59dNlckAgLENjENxhMzkpl/fc0sTyZxaYBTQSGbdidJdSruT66OkNWzLpwSqre+H5FNU
VxVeUVl2T62crJPrh2vlp3NurLBsrRrP6U5OLvQ9y8B7WpQa2edtOS5c7eLiUWBFxYV0oM6yTweu
a74Kjjp+iQ/AyflX5n3HnzA+4Yho3B6TT5An1uUGOOIl0//Gz9FJ1Aut0Wfu3/W1wNkpb2hasA0f
2eeBs4v3FBAVmFsiGBuWbQy4nLvRozUwCOueTD7L4WIComyXE0B1dxvO39L8EK1l192pf4V6+jUL
J4GhMEXxq+Q7ifvdODW+jTfO/uFpOD/Iac191krMyklqG6tvRIigeqzM65hPUditW2ezDAfq7wcu
PYML50VxL/bAAC7FGvwZr3/6EmkqO06cW2fbFRXt+Sy+nWsRBOrOlsFLPhkaeCowHJEzh1w9Bd8k
rkAuaSQWECy/Kn0OGCnHtcZEUx69+XPBowMcKBxbNaJRREMha1/WsGyL3dyMT6gJNyItMHjDsbC1
7su8/SzwNs0VxM3D7QXK7bguZz7W4Gis5+8QdPhUl0/nfDn3wXKSvbZssiT84/NlVxcqPrvbPLGz
Z17OX/Q2+2YdscEz/yxv2/4ZRoffg4YPdnGf+fg4SWiWa6s58KAAjwwGxHGYpMftV+ZFjduvqXUB
Did/+ZINAT6MYeD7XNt/wSZwpgoLygcLMx/AbiOTkjji2jlXKZxqWMp+4UMMC9fs3fkLxBAUiO36
zCTA2mQPTQYI/AK+AFLkyeUU+ggziZjWdED8AP1WyUrpJX+sKCruXEBKl0sfuY/v39iwwsfPo1ve
Cx8lSQ7wvISfguPm15x66tFSRnwZtwFV/ec9GSYBCeEFxABsgwy2mCWO72GBeN8+huGAOYHaRO1A
DBe+CObbpz9nx5kjQxPYHFYP2ZxHfrBrnqv77q43bW8e0EizI1utzASLu4/SC1X0+L57UNq8UM5+
saF+xQ8bd/gJ0s+Hp9PT5mGwaJ/fr18s9S/09+ef9xvnlRDF+qmDqbUukLCT4eply76XoBoO5UT6
MFdY2f2DPuCkyhWarBKsEAAm39NfUBmA69Gi1n4C8PHdLmhkhOG9ndocg4nPEo7c4pAhIAuH8VTC
pU3p58zCf/+ZnzUXbJW2tVOlRBLgf5Bt0zqSwdzYEx+mFbo3bjiQFnvCO50oWwrBnKCyEZaKyxw1
T7JFDt3NugfYt1mTVDnfhlhOpudxWRQwNYQRndjF2cBsMmIdK4XQvu3naklmDdg5MsoKxpzRv1IC
uXHic83tykVuAaLUbpIfO7uj6+yODh6K0CFTCXGQno16NKTUuiovozjfyNSXXy0yjNL0FykOJhwx
pwkZlQJSI3wTokhVxD7tJ9HqEZGS6kS4c3l6TMZEVMMZM0kxe2MptjUyrb0aBVet5sRLEhcty830
I7Xf+J6Wb2pwf/goyJzJKumTrkRupxxlxwI+T5NZSINk0ay4bJCuUOs2b+FB4GDZ9zOdeZsUFEqd
ko8cjzMujOw4bfVtepqpyWGf7xmO4pADaHLtzl7Jj7lDg04csuTXtqX4RYNMTgCdtiWco5zlBWiG
VuZIBocJNayXHVNw6Lcmj+htUfFQsInsM3XKklEFGQMaEnO0/1Vd1lVyP6WO0An78POrXQKqJW41
rvVTpkKH+o7EGU19NUDhqsKUf6jSg11GF6LKeBF6ArDEDaG9bqDyuR0aVFUzCuWujZt9RQHGm5nE
JSOR7wY0JPMcywt9Rdt9C3a57hteTU1fKlvJiqifUnDRAyXjtAa2NQqK2BShqVQfcjkFCkpLZ2ez
9lzOBsh6yvgAXQNVMte5dkUVCxhvXjrZ6hETbFH+k6rW5IfzKSpou9/jz7Z9rp4mJdGzFN9sOTlc
zn5NCDVqx2s9LyiKfkLJPgmhalAMFu3lliOP8D4RQM/ESTDyzU+fJnRagkH8wRY9Xh42md2Na/dq
H7tJFAyUOJn3T7QUa2ddZ/RIS7P4L1NhUrCCPTjrBBXBQydTtOjb4r5mdr4XfcssM21rkXDbzP5R
Rz0EVyjG013u2k6dZNF+Sq+qt1P9B7FXVs6LFsvGrZl4pfaMMGVa1efYXgxgvsUOtZt2IYGKwpRR
86JC5MXZlpNI6dOeXd6vjElWtryrAxr8umuWk5ysP61tNz88022O1empQwG3616XjduPQNIq3OV8
2bS8kssGubTCBPnTmJ1aP/0SRgprNVHVRROPEHvathd8W4aQVegv0RQF/aPVYTvIwTxNdodq+nn9
nh9SY5lbRi3r5LB83hfbP+l7T0Fx2yuCBw92paYZLU3rtp6OHlKzinImJqvrLtX5ALWLWzMZaB4Y
e2PI2nobFEiDUhf94qySQ2sO/195KWm5oNuqpp/qHhYToNvamM/XiiLU95gsq4apVDMXG7ZFqi11
fjmw1RWBSxDpA2cdb2WPqQ3B+J3HO/6C7OPF+rXHpiuQW26yujWkbxhzs6qbWYPpqTHHt9pqCzYX
fWXrYDe73ICbPKLVQm01AJe1AW8ODU9erpPnBfndEk80dQAmFqNjXyh12CTS95tBpsJYILq4b3+x
Ni2+wDQA/BOPupaFotPD61CdCw6U2qwcv7uAzVV+pORoaH++FUYcq4IIiMbIxqT7uY6Z38BosdiU
Tfk+IGmLNmpuk6SoFDFRLChjBjA1t/0geavaEY1BrMV//hyoZR6Lhoc1+y/1W7/xgudbiEVaiS0F
G2wC1jldqqZ+Fps8rOB59ppNPpymXU/uSPj2RBgNi1fi1T32g0xH5fzO+r8RetkKe8uaTfYwUNAt
8TBjlYKmnHaZMpKJ7tRNfVOyYeIjtjKPzKq5TjQr9bruGjhhfycH+Q1nsop28Lv9TOw7h4FdwHac
HiveoFtpdscJundA2nn5NLCsdOfUTNOz5HhzWN9w2BfrRcylu2Z66ISsMmZUT81D8zqeNig1jcCV
qaR5rU7xp65sjLnaHE/q8o2H1ti0EKF2sJtW540dIuhtd+4J2nYvnYtPD81R69Rc43/2KZnjghI7
ZI9RywiPWuJUY+Dj2yhj3ogfqyC+EUemaFc0Ds3Y85uSQfx9M2+MWrdOfO9witpZwJpRyrbrA/3e
Nf/qQvtqvStpH6M2avnqImNFnGlR8qWjEbnaoRndPelBEG/+9acoWlOVoGl+2UJOTC9pPYyW/jUp
mlhwbxRfVBTASSPv/ygr57UhGk/bo3rSsAUldoxFFBiv/kpgX4mR3EwOTR3zLor87Wu+NZtECQV0
1zFuMSUZzoRbBbts/GyaM9t+ZycDQtwS5ZZcWTA1MWXpskn1ebFVNK15r1YqiffJanRbXQdDZJA8
BE0DEhdbRn8tix7+DXDcM/3tLyrzuBTPtwpuFaAtvLWyH1T/fv8+MVMWQHQ+1lH8XaoWf8Aw6tIz
jRlZafGaWUZjLxaD18MYslxtNRFLVcVdolNFTSjir823Tp0YwFgesSnSOJvTNlJe9+kGgnUvYq1F
T2P16AoJ92KFsRtYyPpSj8Liqt9b4j+n7t/KPRm7TCXu2mnCxYiefBkVBlnwrVPQlN8yNCY+jZn+
q4/TxroLXnPLsFu09oqtZS9GEMOFYGpvJXloguv8DqcnJVq57cb6uHQs6N/GxPMS93usnaAYXdRA
T+z+rr74KvptgQcRWFj3thaJPdzuajYl1eieSEwd22hSV5kgHdP9vwqt/U7YhkmTRmU1iZUbdf+t
iL+nM/obK/avv1YlaTCmr9jK+4npjHPldw221cYK6dKYq1HLM/H7JNgyozu02pY+rSaes6iFVQtd
eywrDjcDEPMTq8pOsqHefPdiUcas+vhfDGHxnylyqPjAU2r7GtXf4xbzFCMSKzHaH6TxDPxuigKS
FlH83fZPWvq33ySrUZzZx6VoDjQCSU48czTuRuLup6/UuuHWyUvHxmRxxDA4Hzj6Y5tADCdRyN7A
xR4TExb/k6TiQWjHT2xf0fJTB6W6xgEI+TFl8cVfGwNBEl9fY56jhItpiMVhsi6VK+uVDzRl2Vua
p9gt/16FtYvsZswXHplY+jGSq0ms53U36VD86cNcdeN86V2cdate/OwG8cVPf9G/ugQcNT5kSsuT
yG8dNuUu0jAGNHY2rcXeArC37a9RiZGmdoM4yd4sXqUdkIvFd9KdMLttu3t3QR63Vr3v3kL5P30e
ZWVc7KlxP9UHbKcXN/30E6+7wY8mWJ5Em3cCC8g3KWUPtCLGpTLPtOBhiX+WSoaVpsewHCCq2axu
lkw6NDJntZPMgictJYeJz92AQrPqnZDjyQawYRqkNRHunWeZzqxceF31SjUQRCXWcPE+brEIFf9x
1Bb2zeTYCklXPMZY9CyA47JBaRIwZS/jXqAOMyeDI6O4k7oPGsOmOsMO+H+oMlE4fBGEy6Hi+XmW
vdRvnE5yeO7CtAmsEuDnMb9Wf4akrHzubjGGbf0XO7sdfResClBRnB2TzfZNh87jxUV0ezlXI4Sn
CK8/rs+i7SRFDPjlyWxEepuP89y9h8lPost0H8/jebjaP+b/ucIimuDzHSYXOmgzcOAn+QpTTQM4
oyYOQ56BORR1MFy0M51tP11o73E3nLCaz9sizA5Uz1TTWn8nGFwGaj+Os8J/2frHbKz47sKlE6xo
NoEfi7M4XvYir0KxFWvpJk367D6LtoFgDoZDMTYQWxGLQOdTKTTRPxxqhBYCFa9KdT9GXdQPhiGE
yYP0P63V178Nz1P3/XY41T0omng6xrlrpshUPAmELkhBuz7hE6L+AUHyTthUZZQMLguN1Hyk15rh
AMKNTjLkXesjo0jMsCe0vIN7t+dQ9vQ+JCTA9Ve3G9w15qh5GRdUEC39zSvz8aJvhPf5Gj0ysbv3
OtidQHz2zfNQPTqIUMh6JaLKl3O1QOdUQS2nmApssKcdh6fOcZxKPKw17ibXFM718MPxhYiY0J5C
sWH1eV72d/cP3hgCmH7Tch7SV+QdwiO0r2AQ0Sg684j5nYY5tiOR1MQP4mvV8NkEa0cCZ9A/AyVw
iChLo7jeBG/UzUhhhnihYg783RZDCFV5DnvI+CponX+UCaRKKrVNnsciDhfyOCS7FoF7xYDdoLfC
uBwFaqfl72nRMBVGmYmqDUjWDivmMG1HsAyE2aJJ46WXBw8yHa5u/RBfFeOFJeN7S8bjFk1LRLhb
OhFN9qKmOSWLM1t9/xWmHHC25EXfXbHrGN7f/e5qPyp5UDY2mWXvp28+fj8vxVqKze9omV6Hy94m
njSSXt84Oy8lYYGurHCZXlnxz787ZbBrXpofUR3E+rT/0z26MfEamxjh73UzeP/pR0XUCWebjlyH
sbtuBoJs+OB4zO5s5NXYhbUj8brtqnU5MVKkf1jyJni6lh7HVEyvoty41+n3u1eXIg4mqbik5rxH
o2PnZoVVoQ1i6YkYzk51+af+bQYGENG7HTz/b6c5Kkq8WpobJZ3dKeZB4mpuQHdbka9Rzkp5URdQ
dm85OPDPHn+Pjtmb1pdeOY+Hhdd5fz8+Dkv0xOUAYUvpczlYj39wiZce1sNVBzq/WmoUq3bnaq73
uH8pdkfdy7sEpVV874uajGD1dP1YntV5TOv7RqFy+ExIaBI+PgiIRG3fzjRTUqX/vGzbiU6iVpHy
xBa9bJ7FKN/Pu/M+bzdcV18qCWiya3nZLNYZW2tCUWoZo5upvb6KdeICtDzKH7B6kpLs68hJcRXZ
piRvPkiCsnTE7utrgMIaQn1ZGtjRpWme30MdPvw0c/VDtYdNgbt+3i09IPJ5Kj6uh9FJfHTnKs58
mX1Or/F13jFLjAyzWCNbzcC5FeH6vmuZ2pysQJCSgeTUaKaff1qQAa0TCCA4IYNiucZY1Ui1Z7UF
K6vKq4OcPiiDZMteJTmKYP1W89SgxkssHnmvb/hP+4v6vla4FzjaHjUly+bDrgHSVTL1nvQlNUSj
+woed7yjYb693zXq2BGa8mBXmxtE8Tisq7X1/c/9ol6o3k2h5473kTFlXucSBKszEKt/NUZ0Mk2I
pjJgQOblePQUUqbTbIg4IeXNW6Xu/J4PaVrP9zJSBAWtKiiXcSxKwFE7VVDUmISEtCTH2q2VrI0e
5k15U1uFx3Xn+rro5B6LD8WHauERmehj4TFoKG91SU6kX8k2V34zXWQR9UxrpH50JCLNO3F3rl5l
fmin2/m2lMT3l/tz87uRqJ87udasu2i+rJtIP3y9abHd9GftSxft8ePiYfY4f9jczyvZxorrTD6G
+vO6lm/sWu5vz9rpzgoEp57FVXnporvsztrb3qErwq6X7Oz6295xcOg+B5nld3vX2snec3e7T7GG
V5CUdZKdcbqDS6A3a2/6u+6qv+mmhj+9caJ17Wz6y/707dxZgPe/rntR4rWz6/70vBuMl/2f3pRx
eDgSMNvHQeqLRe/3dzDrc5WtB4veabjozSc/g/XgBtzYWw+W/bm0x4seorbXRc9Vm7v1YN4rvm6b
pWLZdzuEVT2+v4VaVt3d+Geww60xF3n0WXq8lWPEv8eb4fl1Oki8j55elsOrqK3lsLMcxs/1NfG+
HLLzDqXH/MdH+G853J0rb8fXs4vyT/vX7+FL/knOmtpsmHxIPEs8dZd6THuVS9Znw0xktH/qzYbp
h8L9Jw5jTlZE8w8nDjpJsaeyg8jsDo1YuE/Veyuku7n7USP/NIeJvj1iV34s3PMGtpCwZJ96x2Dy
yN1fHw6tzP2uarQec/fJJ+w0mfve9SFzf+6lutnmV2CV/ZhjmXRYwtuXPmRYo8RduvE33cxXCuVe
sole3UtUvw2ZAcoFEOLkBOrJT6ob+GQPm3w4aBJc7rcanxaqjPXjuHbuDr/VWx8+y/dxVbET7+P1
90uh6hqPHRvpS15Tgkw3vikx45SXL3FrfIl5uOdSwA9XRxmF6q7hukFejhuE1dXlS3g4C9VMv1T9
SvWlKPJRKd66Qagwp5RrS+X44ASgU8n0exs4Z4VCVTOSaUegq/8Q1vGXd19N8XmpGnf+XRHXR5H+
Bga7Hq2FQdSeuEo1Abqee6z/u0SydDtW3L6oiwiuG8ZGFJ3lGelvXnYuP+hJ7ARutQWw80FrryDW
p8863/PNxHVtzM6DRT0PQfIWG0cCFDtg2cquYjtTfXQDpfJv3Qnv0m8a5rrNy7wOVvACe+CTaM0y
eRcvps/RqGiaVGaRbIibPT6Jwlx8llBIQyyORvwEEjv+Kkgb4+ofBNNRdaAYVMh/AtKwqB9einbQ
UTMuUVAVt+ELAGB394L/GetaHzeRNN6N+Gb3Ygv7kOXoOYoz7G9W4gcuwWhF4CPQ36vz4uISTmkH
wPOPg0lG7gCNXxpxuBXf1KlpO5TTmiaR1Sk+r1x8FlcIuY8pMgbxOhr7UwfD/rv9/xfDXif6f8VF
kTPvL2qJugLx/l+RboovRs2fZ3U8R0kydNSLb4bixQQBqf822Oeyibg9boxvR29my73/FXn6SEQH
Ak9/CcznrBbVRQv5B1Sqze4+fOB3j1bFzdGqU2Otnd73MIAB1EvHWXabDi6e43sNgyH3/VnhUYKT
4Pd/QXJ+Rs1orWP3jYc7PohL4uPgHI9XxhmKwwvcFsrw8bvEYm8BSI9PowJ3C4GMof2Ionl9tCm+
/CtnVBmZsSjr79PgLo/sZMHyHSj/n6/oKoS/v4Hr5wqPm6fVCxK9v9YZkhdO+Lji94vfdkYtONDV
R17g7r41tl6t6zzHox7Yfw1LeOtGQohq1kbwtwHlUe/yAluLD1w7561o7RyXelQZr6P8eeume7dG
pFafuuLvZ/oezYkrpE74LcwVvw2MkuLnuzZvzVtxD9Z32NUWIEC00pDDD0U0gnrgrg3GL4W7mZi3
Uh9QLLVv+YWMy6X9235eXh+CqIP4R2ELCd0W/k+hQhdS4RWSnWlLCkt52uYtVJRRHrHFN74lSKhU
U75JcJpSU9S3YUh9aJUa3YY25PfXt9iDHtQmZvU3PmPxHrXdcNRH0dHCOZlL3bq98Pqvq1M1oqJX
i6BF18UATlvADhjsXfL3N17FDAXd/b4ucYz/Uz7ZfvnsI/WS0lhdjQ/jwviNG6k+WrCt//dphCkY
s8jVGi/j4/+a7374598PxBy4Z15dvEcpJFexNGVxtSIdIm7C3FQXUMPcMPe3O2+o0fr7V6OQSYTx
v1WCYOhxFRYiipV8DwrDR8IdojSRJkAlkMci/HKVK1CDjBqSvizaUynDNVFzvuXUiYD6zAfEx+IS
lyBNgdUwOopS4PFr/gxcupKCFsBhXxbDAiwCB+L1rFTDprLFz3Wqycd7vbaSctIWO1GkSIpz87ho
fzN/ZZuzTSOVlckDeV8vPWtdp02A/tyhvSjJVNFZ5utpROK31m1XL06bEmWL/ywu2nj9bpvGatP4
LrYuIgCP7fm2syvc5xf1U77+84g4aH1rbTPt8/3hXNveWgD/hVN3se1c0ZKCDtTPulSDtxAqIHqQ
4/NYqq52vGuD0bL3fe5OxSLn7mq5DwSfAjgunk7ZkLN30ll4iyWnUKoVSMIJfFiN5K21WEr3XF6c
KqdkRQhpaQt6w9vc2SWBmcuFBDAq40B9CtokvziMVLIicmR1KOfa2/xTzgRkIFoD6w6FepMGAQIF
6kOAz6kCjpACO0kE75jPRzy85xrWMrQiAlEWiswLBH2SX/kk3yLE3e8/sAygiSTO5Us5I/xoB9FT
XWZQX9d01L0/GPG+a6Ldp7uOUIYUDM2yLmTFleI318u45pYAYxBXj+gqTZ0BF8rDFOClqBqv/baW
k9X8/HC69JbTCqa070I9B/sgReyodnmCToA11x8Aep77XYpXNmAdQBabDFqCAGjokuCKwOrDLwhY
Eky6lbyjImRiFLYQkN0In/jGgys29bu2y1T9c0smGTdqDvAH7AhPIV8jsAXQxANDWfoXOAHCrz4w
lUBqbDuLQhnNloGB74G8ya7Lu6eVGI/LHUwyOA2aMVA3YQC2PFFRcWasEVvNv3aOlVIlPcjjR7v0
v/+VHqe90mPmHudWSRDw5xKFMNjp21myjcJvKknRWNJLgnkCeMgRKNBJ3BTUJpENVZycnAB3uXpx
c3dFIgPsBnjxXc5nKhvAFwRkT7ltbffdIDFvPzcIO1i3JCfFViOERywqx9/HtNCEgrtBvGdr31Cg
MFsM0pny+hNf5RrO+Hy3ZuU4lufCMz6vUGswuLDJb8fz3RWH/S5ImTEo/6xrowly7eN3NZEsL77j
M0He28zd5tpQHzRecrL8V3iXsyb1eP4MTUA6uF6ptW9fPnERrOwm3cXw9DprZrvrl2JfXp/evp2s
HzCwX6v4yzvFMr/6XYYCs23ehqXWeSCTQOT0/Vx3GSrYM6n4+cdME8FL7UZDOjevbbnoZDRDtNUk
G8qbdqoN141za8NVM21wBjdOrIOJCrtbK1IalOrnCpNdaw3ymHk813KPRi35dPxc47BoJp5n4+/u
scMwK4/E3UWMHrSy+HmBT128QskuvpR1AWGbFSe+505O9h1aRPHby/KFORX2xeBhPL09eZHp4VCQ
cX2Q7UIlD0q9G8zxtbz/d5SXB6uXQPHe+mV5v6pHlmVUM4InNa58gFwJhoGcGATsFBA9k+xaWpu7
40euN+qWetOH88fP004qLghjFIoOFjLPR6Z3gjp91lCkHyfoqpfrpXrl9RY6SwadREr4t5+PNPOm
VnYnYWq9w+e0lumrcC67TK7X59JAXEkxVS0hZ09JdnF3k95H9mk4ZQnCcFRDmKIUBJgS55ezdmVG
xhp+ly3cYS2+pNulLAaxSkJmd3v8/eIlL8jzZfc/ks5sSVFsC8NPRAQOTLfMIIrzdGOoqSKKTAri
0/e3q+NUV/XpysrKhD2s9a9/8PilAVDiUZ7ueBVwQ3Dgn+i2w/d4SDN/P6unDFPR4BMT1WRntOOP
7W//xrRwr6JMo2oe8nVZUuK3eAxdDiNtXU1qQbkCdDbvGPtApMMVDxcU6qKTOsr+7n8GSD5MVkhm
Fbo27LCNFQxNFLQJ+wRjvc1vgoT2TLIgzWF6kib5inv6sbqt+lN5+twM/0rJlNkUPDuozbB1xTlr
PvYfvphUuOYhMYJ9mogAHiHLFZrTBuI07JdNhlqUvV2dfrpbkVwIya1nsdPpO+ZgSFiLp9yIFpaJ
Sho8oIRkxCQ4dzBbtOwfDIutBIntP6dUBYNUDUNJ1Pd4Mlmyi01odexQ3B1v07pv3qbf67MEFGbJ
WOUWEe3usaLwnh5cbZZB5C0mqkttBDN3p0014ViVx8/E/2dogVsHr+RR2BC5MTHcaJc27pbaVT/L
W2n1nQ+3veMb8g3DQVQMLHj6Zual8x5FH7TiWLm89u8L/5rf7A+XEO7guaWAGkKWF/wdM2G9LQeA
DJg5kY/Sh5Sxq//4tw80VYaT/H/4DWDiS5zqEwQ5cKPxmCFQHjTA0cZ5INt927h+ojwqI92tl9/1
7/ql+4dcsia9hyy/fvACHuKI9g4kMn+s5yz/u+8+wQc8RifCUZs2F/JFlsW8i/jvMfEI8ogDBHxR
+RvM1EibvEUx6ckxr7FkZjQBRuHhX7/X+/K+VGNMgs/v42si8It0nUdPDlyMu2GydO49cWSRC+Hy
FfPSEkZLd2QpdgcknrMxTCjNCfY/OuIk88eQDbEL155kdRgLlWHxZSNaMivvzE9kxTECQk3N3t5q
fDDheOvs74PdBVkD/PswEc9Wu8jL4aaY61sovzhlwf01fo4GIr/ult9JGxQraSn9pav74ruSPVJF
l7oH43LGmwB+6kf59Ltu1qwJFnTwDcF82ugT6JvHGcbRdOAdFhRMFvHvp9viMCmAvNI5aTMhhGci
N2cc9XB2L83XbFYPtxBh8i0p9OkK/8T08tk8L+zYSnf0SW/32GjigN+8J8WV8ZKb7LvNb/Va1yzY
CWF4TK04Qia9qTT6QjEQql2sWBDXrQ6Tjxp+hkHLplplPCGi0Agg0c0eiZ379+r2trCcIQ20+dhq
TYYqVuowks0PVyv8r7E+MYIbNGLaSMxTIRk08I/s/gHqly3nMD1IsHOyIkxSMgP4MPxl4fCZPejd
iw8qvcXLqcbyqPBensDPl+osJzpoccCu+Py4JpGwYzIPK2nUbpoLdrwcxrBa4MGhbmI2tpaxBFg+
bGn6GuNDeVvcSRdVfSYeHqTw4qiDZep4n02paJDeU9ot0F0CqZwVj4HQiHfP2/5exCmHC13fYnse
3/PH9jmrVvVIA0nZdZh5pnidOwanuGrlOnxmR8Xh1kqxHUR6LvjPnCuYRLq3lzi+B9MD3DvUJjyV
U8dVhaZBpy4S/v6EppklQVUsPkJSyx3Lih+q2y37bh1B0fKkWeeyBuaV2fn//x2X4ahDjrIhEuK3
KnEXgaKwAj91VLQTfzwCNnqG9AseFTx+DGJ1TDhoBHHYWbRbDk/p+MVIYjMYy3FOKQLLyHvgoWn3
Jvic96fG/Ba2Y20uOSko08eV/9S7M6TMwyWOdnqIG+VYZF8Nd8WocLhE1wPJUcJirm41TH4iWhb2
CIGG5Mvqfi2Omc+ydD+LL55vo74tXaXrnTsUrrIu1k/N4YAhmEgBJP5v0ij2wSnGrK2c+lWdsF2H
nOQbeYP590he5vCsQA2jXWqGEPQmRvhlNgjNVTglcqod6+gQc5ZIaVD8LC18szBABA3o5rCIEXPi
bcc7+cYPfG+GU3Sr5rFlkMxDGtVx4z3ZtaNsx55EhYG3lEnixRBpxMsp4zfOl7wtXmvYkKS3eTp4
ZDrfji0NZZXnQ4mXuwpuyQRTBY/gvryBLFO4c0+O35bkKZq4b76/QF3cACMJJvfqWMcHYuBlzJsd
cszGNUNJxBBr6HvzM84vgbKmRArZeO/L4ZSdeb7pvGzMlPtqif7kPX/N0WDb97g7VRf11B9xMz/3
PNBq3MeaD/tenl/DZw30u1vss5iqwEXW6uHMyvPG4XzofU6ZNHqO+5t2k2P6pM4VQkOv6ugRcyrM
jYHZx7kAl+Kb/yWqd4wxNstPlyMMDuESFAImQyahOU3I44rq4IfZCPQ7P51xjLz2zaqjlzULL9wl
tkYGn6thoZyt7kSgp2tGzWPsv6DtFRh3uZi+xM3pgJFYC4XWPPBPRqiRZGpO9HYSmr9Tj7gRHIwE
HkcqTpjv6xXgFtHiwIFF/GPC80EUxn8W0EHiTlsyDgM898FI7l9kJlbbWv0pZH3CitsNxwh7EaNU
eaoG4GV8SHYBcAT4qsewqZHuQ/H4Bvi3XIYrdA4uvRJNUx4WkvUp3FesH8t565GgsX+D9JAj67Ur
45Ru6ZQgzMI5DNIliVJ3RutzSBPJX2OXzgtlD9qxuBngnKkh8GIFNeA2T6j/sN/7awa+kMoSqOpw
r5fQ3VUogFj+w6m9w9PPVNp+h5+Z4H4m7VxkzBkurILJy/2MX4sBPDiKNdiRwt1zuAMTLjAAo3yz
iBkjZ5tWpPZ1w5SAJEgdwfSrdnuw9GgIfusuqpfs2zuhzNGQtRmmRy7q5hHqN4c/yWqkuOCBDZ1o
4KX+E4o5t306T/z3/D0pXS48PE7qXc9LJjo530vxh3oeEiFpfDBMtXP5mw/nSYFxOfNkL6nd9jDG
RVmZ1fit8VUxDekVljZmZ2Q4QORMETrkSEsZuwvRSt1FM5YxVGRi1XBq8m1FZDV4uExm2EJgn4K8
6LuuEQI7n8UA/wY2Uu+iE4dgPbaQRTjesMda6KM26LsKczs9At99syo6FgJe/+jAcPi1RRtKPGI2
ZsnYrTsIKar4At9XOaa1w7yyj4JHeIcimb/ol4FPVCbgGCuJnxPVKxbIP3AHs4vgcy2gIf2CbIbj
FfwWa+CV8GeuP+gAnB2mtH8sNTzwzfv01/E3fM79RbYdzNJJyvRqYBVj5sloUPG8Hhd77vwS65gP
s5FhIFIdS6Qi1UIduOVMweOLL46TdfyDvKlts6NSO7hkJo3ZXbF7NMwxk3sILthH8CYKSznzHdO/
rJXtDUIFKmF0t31zgDoT4/hONFH6/sZkGZpKjz2be4zj82tKEnYyJRHIvC0xw1nIf0w4TxyFwykJ
CKlmMpZKAyXzPpgVEr4OB+1cV/bwaWVYAtUO35qfL5urGpdLykzSQbROJBhUhO/c5iUZa1qgedGF
p+Vx7N3+3rAOIo6GgMsVReuYDIrK+gTZsr/9hbfoHf7EQQSoOfBRS7ROZdM4SnSnkLlwmWl31alS
PAEpXIRdIuYlfcyyNvf9YVr5yL1dnv1xGFXh4GuV8HjwFoFnC7JQuN8hbtV0qu4bwIK8HfRDm/ZP
hai94rYydO4I7uaXQxBeueiCFOpQwAtDspTibG/xZ2uGDDmgG8a8NGh2dZFH3HsdzYHM8DM7k/K3
/5wKq6BNbTc1pRdNED2gag1Iq2CB0avuqERE/8fhgV1VqCwG5qj2OzwCywXXIBUh/9P9/G+wpkY9
VuPKW0mze1BuX6OKkcbkMGV1eGhdMLqnHWQRf7g9kXSvezOSAubZhfn3mMaJjM4WRlMI28nKYyVn
/Rmc/6vyRKE5zbNAVG2nvgbXC8Wk1aHkwvNGw3EQtw/3icnnKd8cWM2M5ymm/2hrMflGkIkXN9Z+
lKIavevAb0jBQLX7sqiPcESsEM1xZ+V2faJU/eAYDqn03zfcn3+E76BrLBus0kq7j6MLO9EdjjE5
5DxddmFhg5phVnYygvxE+sJLc26l9wHzH3HlK9PsZEt4ayGgKJx8U+FmCPaVu9LBx4z5BRLk2nDU
oi7kUy/rjPAzVMM6YP8Vi0+y4MCyJrT7M6S9o49fua9t1glD17IzlZvdi43oqUXNW+AZhejRLCPi
G5Pn4AKisUcXDM9Kg4pmfXezXFgi7sAIeosuTAN91l3xaEY1Q6xPOualEPOILUVAMYn3I+86hqPW
kM6db9IVz/exoFkv9qoPyjml4EjEvtLP6vZl0rXqQped7AtGOAtqLIbuDmXhkjbLeSx34LL5JWcu
x4B4ZnD8ZWN6bJpoEDF5+vNwwHqO6Nh32CE/sBMiZtn8ec8rA1fmDqDLGFLTGZFyiWuUdJGDASIg
UBFwHKRjcAg699hjMgyEpoONMuzTMK9Stwg96d856Z+jGtnj8h41/zeBEIgKi15vUi5vAHFBFarU
+e0pxdN2hM8j+AnAsjv0qdJ7a1rawxlx5+2P1noNTnErAgkT8YNb4J23ui1AXKSo/YfJDP4dF/vv
WDahY5nvyYAVvZaX2e6w7aA1wXJaNxiHmB+gyZ75ElVL5hqXZnyPKdEJMaaYZWv6eCM3E310I0mF
JoESSxQ2CwUrc4odakiR3XmIxUVpovnU/9Q/ZpE0yax1auJNvaoW6Va96Gxqun8UoAgBL9lglO2R
UerTJ/49kRwAmIVD9+nn1F3RbVcrzv0vn2IZsjBy6/rksfCcgJ6GQbehrHqulD8KJPflvDAVuy/7
Z07Wap3OAfYC+nAToe20Bpmd5qceB7z3OFZw6wiFQjB2SsIyfmxf3gGOEHCNC/QSCvbeFFqKJ08O
tGR47pAfOtzepqXo6YMZYROzx8SA19N5Gp/Fn4AHx19yGXh/gMXICY3R6w9uGsUTnN5pacFn9Yls
dXS3mf2OBJYEN+89om7s+U1cM/TJPLjQkbrthcrsN4O5gjB3CmTzAbuhqGKOxJgEMqIHHxIZkU86
LeygYWAgdjLxHg3onXoOmJGAhIhzvmCkb3FhPOdtgIELx7JiZ24x6/tgtnANhgCANwtcRffvd7vv
3qb4w9r69LYnIaIwXArKZlN6it+DxIROxkEjrYI5c9NOvyOu+MeeO5wb/rAzJgz7xXVGbBkTHvLW
Fug8wderBZi2frwzxZkfNBt9jkzRhtCR5wt/E/3Vuloi+PEZ4ZSsM457cxnXewNvsD0rRkDV1Jm0
9vjP7NqdDs2t7+EYjQ8qXtT6ntNwUvs3e0H56hboO7DjuVSnYtP99ePnurkWR7LrOArqvs2zKCMA
E4L/WsoAHNFCblSMgDFuwFkdAibZnlSof7QceN5VppzQtZvKVWP9XCHE3G1+/I4C63lgS0HSF1wG
KLOJU2E6f+0oJRK7fx6EdaCVIu6u+TnJIJTIrP0Dlmpmcm29VrVv+HDMRtryo5nN7m/U7G5XjGJ9
jD7dPG5mkjfcqudqDVZXXfX46zC6ddUTUUjX4QeHHa9ku1IicDHN0LiLst2YYBqR+IpQGeOySrnV
IdnVTgNbM/ueuF1whMO2DFYAdEm0218HiK6zPnzSFbAQkMadiy93e53X5Faz4rTsg1ipcwImuIIG
jPviNMyxkQD+JcFnANyGVoQThqtkghf9+6zFPCtervAGf2MsVwUfZ3CuARrCw4UcRi4h7gHdqTfo
Jml7wJzwDJloEXqsBazGD37LgeQrSwBg9xl2frkpvDe+MzSfffKIhhN1fphksYHVROn8Ad96rZ+w
5Z8T7JKsYkOHVDitexxYJLHbd+BzOwlrcOzC4uKCntMiSVwP9i1sgEWBRwUXGz4DoAQ7w9n0PE5k
GTd/3uLyNR9GD+KJYL4fZXbdkta5tIfgBwj1k0ke9UL1XJMcvPj4xIuh1NwZQGwHS8mjD1bfuaUy
VRnR7qPWOT5gttoLqFnxm8tpr1tUK4VHxgcYx88qiDb+WJUk5PoAsMb4HTIRwezOAfQ7LKjsWZeS
boG0BbmbzjA6Btt6x71vOCTgA1H7P5hFmTZ03yQp4Vu2uxLI3oXfmAvUvO8Ih8PYg/uYH1/C6QS+
dV9QPWp4RMBO68fCs+9BqiHwjpme3oxxmMZ2Vnr9htTl9VYTSLYasxtqBIXEPsQDT7NgQWBKuIAR
clLt0pbPBkQq6GNAOITQB4eJtPzuetPB7uZWVjNrl7wZbm9OxGvNjY6U1r8vmDncF8OTRoHHfPHf
gXQYdf5npATfqYQ9iTAlubvq5rvPF1z3fm/8vDxXj7g/4hpsAwfIDUr4IgfOFyQ4IELuvzLWKQkU
0GvenigMMLFIFr1RPlMvTFnhKcKBUmbNlW3erIFNBw6vxjmswM0tGLtzgXP3zS9OYcWp4HGtUnfE
omfKwi1M6cPpECrbKvrZvGETUJ4uHlUh6a2kOB6RI1ATXT/Xx1p1ajbSe3XY3M7cJCuqRJC9z5qI
5oKjD78zjL9TRpxi5G6IsQe8sxYvyWycr+A7caHkN/jf+FhyYvNaNgSuzmFuMEWFDwrW1sLIuY+7
6ZfDUz0O7CAmRpOmG9olCALUFUdIO+6+mNljJkjaLEu1NXfGkbLEHQgjQ3FlxLRpTwd5NNlQRF99
WTmK3Wy4hjTnO5O5GufQkOBzCktLwqK4zpm6a36xe9mY1muhdjJGaChVBuoTIW/STi2V/oUpMj53
wxUaYDz44pxBd2K+uScYczOQTyji+WLj/cAVhty0WSECIR8anYHAeSC+ZWhKyXOGISQ9Zgo40MTF
LoNDar7W7zUqXVhxywesZbfvksjmqWVIS/H7NwCSAKaV5Wd0s1OndAfOz8FEg9RZEDFGajBI4GMx
6NgO3W9js11HxES6uZuEbeMyLzIBJeM3PdPfwMFo1tFRyzOJiYqOvSQcQQzYJq9F+282q2NswTLh
OgYdWcIxGnt9s8/3+jVLPG0eVqFajPraHii8o4NkcUkcIHdD9YKrp5uvJ/kODpOlG825wrxdzEcg
fyI8jRoni8D4/gYIMa0bUbU4Lu3odWCUXp46ul+7GpNkw4FulieOouTyWoWNQBHFQdS4okqmi6/o
th0mXEzHwMJ+/3dUI4n2MMjcwarvy7Lpp2EV0v5Zd5f6mfKqT6mLLcRM2b2s9wzEl64s2TPCAfkG
hN/QzlDLe32X7lXgzPBK62XP6XPqgZfzLI3WbC7d3RVQGO71pu6qIwElEhXHCAtA0dphzrM57OBr
DBSPnl1+QA1JYGnhT6enXjMitA6cjs71cWHlpYvz+wR1iujCUnd+TDApbR44DdrZRZm/Rn0xVqHR
ZiL3RnIiDi11C85wwC1lCwIzoBcGeigx8xCJv2PGcAMfLwe8VFf6NIk1NiDXK29Z51iDugTfmDqQ
C5DQmnt0q/yMoExqeMO84DfhU8pAXu0PrAFDZUIwjsyV0qM8dLhlgGLvP7eayFEZVOuvExq2RrWK
BYOThq2vBTzE69vGOspvTwenP+Gq5E/ZN1ueqxxurzEt2+iFYgwC9swYIbbE6oeJKzwBM/flOWmk
NsdStgHNRIkru7rF2wTmSkxuBnDLz+g6jJDh4pCMs8KJW+rlVURu8WgnwveJ+dxhou34ZaiZg5b3
/nLeMwpDqgOmbDCaw2qWKKh6SYy0PgvpYd+27z2NPgU/Hccn/tfpy7bPrI9QRGbIxbjd0BsynMON
P6BRJxOLIKuKXPtleknCag8C+y/TPQmVnRL8/miSOcridC/+BEEGG+442hFuSi2aYWCEZe8heo8K
fFomOQFPgt9Y+B02P5gDTTpXxocXPPVy3nEmpVx7oG+t3bP6zON/oWFpc0rtqgQXgT4UnNMFDEaz
F6Jmd+9/XQAcHHaLgTWJsDpDeaB6+JcuFEyhIF38qFxu5M4xwjUMxgRycFhiS8S1IJhrjS/vqKq6
mIX1QCzvPo9Ut3zwzUX9VQXNcXAtg+ccgRJEffstB7989ISNrbvkLcyk6WH+GbXc9rRSBbvi1HIe
4ylzZgrXmCyfieYxjlxWJgMOBpfSzQoH1u8qlkg5MpY3+8HBxraigi1dYnqdKvwd738fGxayoOUf
Yg243qxwI4D8CXfhYCr4e830DScBm7ta9QG9oznVfEdNdZFOh7WwuUKSdcOe0iHBDl36P0nS0Hu7
8qQXv6Keq0Qc9vkc8BVAj0Ryep5fUMORgUGBfhctUz1Bhkb4AH3GPEED01+r6wy+GBs2H2NmHHG3
NCeILR7RMEtlXUyKIxI755y4TDTroHQbT7E48vou2Bk9IwBj5sX9EG0wDmjJ8jBTtqDB/WOGmbW2
ya0z05xm/bWgbUIyW7Cvi8fyOyKl4LYXPShjl4ug7S0gclo71VVdhQ6hR4YGI90NroGwNRgBn9k3
dh0zG/V+V+3gIANYtC5LmFpiupIEPklN9pacpwnqjOLu4WODZqkRRJ8BPguSj1/khK6Hx3HzP2s8
PDAWPtAF8n7D3/lNsBp9EGuztYV2VexpFfKNlX5HNxRA9Hfl8TAj9gotB0I8Fa2l+Ihf8MIYB3sS
2Cna4uMMQ7xF8Ve7HV9ReSyi7/l9Lq+DBfOMNYosdDyoGO/+FrMC0jD7x4ePTZnf9HgaPTOaXozC
6UOoQCDxo+Rj86dWEnOK1pcTuV4wclvI8jDOp4bV87QxHGzAkQUuPhCVhKpi/Bp1UBc6Okf8QFfv
089/83RdZKrTT0b7ebfU4CZO7HJsnLi2oXIKWwVeTmlhj71sd4cBnAVejf73hoReOZrwUe1Mzmrw
6/uUa8QGylkpMweKEDraLc0YRC0vNVd8+gAQQnQmztCvrCNO1JhXj5laeCB1I3gBJ3MnRwnzk0A+
v6H+gPPGtFXyFrKUDSWrQeCregnTdHKgr+Wa/hIRcpyFJCYK1QvSrMdc9SoXX73WGSHjI5nAquzB
lPhIC4NFqyQ8o5tgxhG34R/ovEfolJsdSRsp17jYRk2DgTE5CHuyzU3JnEP3xJsCux1o9x3TuBwY
4Gul7HH2utezEQRWWH49yE5QhTqdRlUyDfvu3jH2q516rc+e48UAcUCEp2uQBbizmGDMDspCqjv8
ITCBobtD1EZBh9HV/V8eaK7YBnazp4NiY+shvHooV31jxFkHizNmSPPuO/nKQJY66i6YO92ccx1N
sacFA84tDLFoyXGCUi0BNCqL25oaGIgodWagncub3x2NDyruh58Tv0NCQEQ7R0Kdeckig462nP4Q
LlrvcQWSCu1PdOWyyx1bbsvtg0HTZ3zfG5Oscd6j34k3N2NqO1xA+mJWC4Oefcbk6p9yQEzMAMlv
vAWP/o13bphUHk7nMuCjzzfhpnRbxi7AKVu/tHvgKigkHGnyjGH8/2kTNTLE6ZZ5WE5nY5jSMWdC
PW69AeW8QnjZmt8+4ktxFPkpylmJ1T0uI5VzF7HS5J7SU3NAJwwFBKybkUayPKBa958sp4H9DZCw
YwlD7twNPrxuy+vhP3eQVDC6hOUMD19c4njeYKmBUP78Bp2Q/ZfBnH6eMAfkR9/Wti12JDViBx+x
pooajQ9HnowweSmjEkQwh2dGxLkIsRG/DZbONyCfggE1Mxhe/WvB792hP0sQ7r5WKGJ2YftENL6D
cNGGd5KyEybA9QLRaQibhHqJyQQPs6YmZgzaI3LBfka5Q5AgrVZzLKOXbu30GDcXAN8YpthRwIj0
ycq1b/cuEufbCIcZiwdrdz5I+AIaqUdPk0WIcBq7NxvG31AOup0caHsUoPZr8ZhxLutTgjjMZM4s
jImykHlY7BDGTYBuKKgUhxdbBvxVcOt4++3HUsY984TfRQPAJrTwTQx3thxrmO8fhGVgRoIGNgaT
KgIp9wc0JO7w+g7S85OuBwO8uAmpqeP7VAtbF5+/hIkzGpPdd+P+FpI7644aG5bxYvqnhjWSyKC/
789gvEkR8+DPv6L4xTpIoiHeIyI5XtpA3cVg5zbCjuFrcft8efIK2Yumdnrszwdeghzcx3DLkWOm
QwtjAPIJkSf71Y57DN2pxM/QmHBwru1qyphTReNZYBMHPmbNwTkYOgJd2lOQ6kY0iuB+L4dyYRj9
AJc5INnNj5AFoVoY6EOzcqcsfzGh5/pkHCCGu0n8HsFw3RxiiXgqZLHL25Kp4xkwiRpWwk0YDJoF
QVGF4/6c3hR47B8z4zMFHcPA0dsPQxnfANIzaL6OrXOfvALuNTeJanAsw+8REUtswLhkzEYloHvD
ykzphgDwia3vrkYsGmRrWzuyFdN9CsUtEe42DFenDXNnS8QeRl7DeS/QIpyf7FcgxRmqxm8gj0XO
ivdjdeJY6txiatnnRWWAPL3H8HRmd47nO2Oi6f3EriwZUcghERfn11aeM3sYzjNKVOoXmzC7CQJk
Dn3CgRF1Oy2+Barwcuc0QsoLTsiXowWUxR82PZMHHSGn6FAPXrJ8HJ84hUDj6UwGkrypltBWP5ny
Uodrlt6M/AXzQ0FNiL3kptGH8jBz3v+Cnkiiyq8VgxsCn0ikujIcWGRrUq0N3FnxkcFLc4ThQzSE
nBxyhQgXie/fZ1+4nVjwHA5vcA14HXWY6UCC9vesrxqYnwMnJ9cO/gTSV9XDf5X5Oca3JNt1YIAf
3ep+QdkRcGX1UZHhRh/34iRielNw0Sy/7mE22NYgLg13CjeespXD/HrHS5+vcg2ahxXR+r6uMDJI
lhxVO1ZouqPQgfbuSqh6bcmG9eJAZJVnWoxhsUUsGxoakCbOnoqO31bRzSqmWrmDM1GZpGb1wCkU
V+/hZODkhJ2gpKJqeTHJobJ708sybOD+ucOaILXUyq4S/Ougu37AVcm8wtWKkZI/DPEiAJ3xD4Ka
yx1PwLyvOr0FlyamhOhXUFI8HNaamqI6g36yQOV5ZGnTmwO7CeoOI5V03gC1AQq1gjeUReUrbq7D
c59lnJ6yJDXnfKaen4g0qfzyRbQEWZvvlvCovvM7MeZRipBe1Zj0GVJOtXnZc0nRzFObFqLFIjTh
lRfjjPYhM3FZs2X79vdPfQko4fXjHdHs6Iq3j2M5gfYVfw9/8CVplXOgr/fqjp1/6dDzh1+K5gF7
tH++TSXv6zFeHW4E6LGXR2+vL9iAMGXag9fD0Y3xxMdTohrRjI4Wd8BE7am6z0kEQLNS/MfsO9J3
tzEU7b6gF3j9XcLEcSodf7O68nvhD1s3wSyEBprHjM9ono4wm2BK8+6iwaqOoec0ugMj7DlLQwq0
ibKupyWFL+ni/rA136f3vzzrwj+4xpxUU9oxGihl8g4b9LN14hhhMjpgCEY+DN9wIDHzf5oXPC3x
zmdL9jbwCYzJ64QeccmYTVshh4zac3K9jylbRPRWPlNGyTbD8al10qAOq6ig+ca8ARRpQ8hWe8Gy
D0PeY/rXd24ioKNagKF9R48VFNuEbtdDN8crsx+RttIXCf0IlqghrzeAD/bhRSJoBAmV9q0Nsd3u
YEP0YNBRdYYMCWlKX740FuPAYmNU1nvDAAeGA2HR1xIPOXpEbYLGC3BqpIOJ+JcAIi7m402IDMyj
ft8OvTuxhnhODK+DLTvluWRLQc0a94LUg0bF4qEAmWUUfM+oL3oPztTxYfzpEGMIgNmuw8468e1Q
h9jlOl0SJYbDzI8z8La5rXsUM52nTuBgA94bSwUOJmFCLFXOOVAvHdpn3wdidxjcdrMkYkbByIwc
6gy/YSUWHHgdVyK8WZaNTicrUhuNbS34GyTYEUHABO1j9b3K7uj6Kg4hUqctSN+2gWn0E3BBEC1T
KrzpLLWUngjnux1LLiHRJbYOqbAecBqiFKaDjH9wi0VvOELuo72xyiBF1aMYfRruwVaQpiJrXzSl
81wg7+FXve/2YLrNcEgV5qLSBl/OzBj9zA2hQ4ZVzX8Oyr377LWo91iXjrPw3bqfPWKQvvV3EEhI
zt2wzJkjjMBowpTBtHVYTCDEr7/2BzcTvEYNJFYHhOUyDtOMilnI5f+ZNY6C6eel2TA5S12ViO5T
D2JV4oNmPfbYF38RxwaFP1zcA33JNliprCLJk3ECtMBnAsl+hYBwDAkpVxUS1+HLh0SrfBeYP5jK
6FWFt4ovId12Y7JGyMXg20i2zaLBujqNeWzZLDlTqPcQGO/EYunoxP71gdQVSKCwtrmNNL+cdRMJ
nuQEiyfzLfzbMc0Dt269b6Bs4GyJasMcnKlQbviD/CzprLgfp9ryDxxjujMqRCwXcFP5K6YPUnUA
i6k2G/jFM6y4uTywMKH/hs2F265xwvX09cfTY10TrAX1q4Yt6JEPrVUkc08h1UX8XfJ6gJfmUXDN
PlTfXC1UDsWfsdW21I9zIshcsHK/WDaQKGvnAUHz4zX9KKls7lZ1VXMNOSSVhq/wZY3wHJp2zuOY
rdvrMxLbJ11BKPHVFVcCSNX3H0Mh57DZPk4Eq+HWbbj3Ge8IG2wK0kYdV4ZLV6SdZBjTjBRWzCFv
F0KdnVtEc4Fr9W0J4LMenulawEelHez/Mb88nfc8kWl0NlXhZSqMnBv8ntc6wwVTtCqtK80O59eR
WS8Ug8mAC7Ec1x+6GX4TrCPAABtOOCNpw3QOJrxVlESzaal7OA4Urc1fLu3vesAwYAFKx173q9j7
OnDbeh22nsKHehjzKYbnxxLW85CQU8L5cBrFJ5E0JFN9W18qgEXKY4u0mbTq7dV2l/uKrchu/8kY
RM68gYGlCKEXtmgizX3OxGOId4r9DG4UexRIYCydfc8x3XZQApUfPzkp88TepzinDNDXhK2Dwx6K
WmWOImcOOk67xBm+LAHOmO8dHMF9/rutpdEjt5G45PegQ9zDYIkrlsrmNaIwSWATppv7O+JxW09G
RikT9xuT2gBnQ8YUI2l+W+nLbvc86Yzek0kWVWTWmy+ZL1BDXt8xoaRgSOBeCyUGciWJHh/i9dt+
v0mXAvaCXTFL7GD5tFtPGxGg+PAlM+fioNyjofffV4bj9DT9TRXKy3oB7wyGHQxozgVt+ts9UJGQ
OcagfiuVdlmZXPKVWzsCp2ovnFfsjwe7czwELbkzIaT74JpF9cSNAqZy238uOZvyx3VF08NJOMLJ
UzqhCWsRrxS8FpP7Sp3KO+T2U22JVMYIYHeD1d/iGy4SQPKS7nTkClMcAPveYt2BXR2VIwZptDE9
ZtE47ZAtwNnweXj5Xr4guvm/jQkgLUmNIxEqf8Juuxgr1L0U0IqVneoQoCnsePhYlTP1YDPCS8MQ
5sbhgcMDM388dmAiCmrng+H6Fj9WcK5juabIC7Xza/ntm/mRi6G37Z3z9cG7j75R8qed5c5SEys/
5oxBKPVpDVg11dNqWMCMCYmLx9WFcavQcYAeo9ET2dIJk7C3h7bpMMP85Gq0Cz5+uEeyRrAm64lr
FQ4D5i7bg1+7BjBWDldNpwbAzm/SBzHDj+uPsjIPexs6qyeadVRERLeJ+dkDSzXsXcZv9xeDx/Ur
onPIroWLuwdWm32uMvEWcAfJItCt4fU+v09EEyIFFcoGqnbOjTk/JUgu3Bdqo2KckOE9hhFnlYEg
GoSKVccPV5LgvKEd4nEDcz9iGC2z3hhXD8yGl4rwaYhKMU6SABRtcDyVuLkztbPbBT/nvswCZidW
wVe8kpdqZn1RTBwm1F8xHWqswk+RQ6AcHkxhlfi/T0D+8xGirKI1y8JqZatH2tjQ68F679HVBBJH
B473DxFg/4Uai8ToSotRDKInrTdaBLxysJqIH+vetn81ttwHMwI8kYwScxi9o8dRwo8mwVHon0kU
9mi6NjKABWFRwg1BcYTWz9KpvoGoZBE6RQipVxvAXH3atzMJlzSzXHV/lNjqkUJ+uH6DxAhhiytc
dI0XMtXDCVkEoEi663CooC3C74fVR1bSl7MIN1wuLlh9ujBMrYC/7u+9sGafoQOn2BFY/Qi8EUQJ
oj9zRcpdbfxDx9jaNeMFuFhBO72Nhy/r4H4A14hWcrClsW6eMi58HXL2hIQydtO7T8NTRSfW+eqx
ihsskV+LbtVfMWqlOOBmbiiknGQxOD24VQnrufBFxNQoKMxBBhis9v4j6cyWFEWiMPxEROACwi2r
iAjuy43hrggCggI+fX9ZHdPR09NTZSkkmef8518AQZnJMUkj6YOqk+3hGeBDT8oFj/6P2QoKs2PP
rR11jA/HpOOT1UYAOAUNCtI3LMfaSDoirE0BOYYARF4s00yGtixEyvizGNjDHSU9IhEah4qJAHyC
14EZfkODpxr9HhJagE/rDhcMNAeo/toL4ODeGZbzZPMs00pOkH/dTXoijhPkDd8rp1WFrGYwiVeP
xX7Dlz043FoYwafeVYaoMbkxVGF6y7vEoIsel/aa9vlusvz5URBwlBFowg2exJ3umnE9k1igrMqu
oP5DJYXwkFoazfm5cb/LLOS5aoIP+23r9v2eHftfN+ac18+CF5AISd/DaYBG3CxShBEN4+QhuybH
iYX2QuLmUiR3LV6XYcptq1+rWd/JsKYlDWhVwGe4FmPIQj4N6OINoR+VktWFaMPVwgbnEX3omJCZ
MmKjicNs1YWhda3sB1Ng7IbtWgQ8wOm7d1yFmfD0prsk9lrx6UcMmEXV4kE7ZqUBAs1bLh4cihX+
VDf8wYD6Pld9nltVbTRRxpGcmy1nFu5SN8DlVXZ4UhiLohrXMSmkxYU0uMhWJZ3vSiRv04hvcGoD
fpHZGaNGjFuE66MgGOjcyS0W6Rj0s5woHMtJOhRFdMDmR1VZxUiUXBYqi+bNZjLHuxmiJEdRbJ2o
+Vyu+2+pFnb3SOPxXmJ4t2LKlEXsb9n5M37RO9tN7BWiwPhNiPxkx+p9HBoheOMfmDxUw4GCZzlu
EbRZNztKPYbtFCRI4Tf67n4g6c7rdyk3TZ5CnH/Im4FN0VlQ4FSjMYPX19t5Sg4hgVHiw/XmRjRm
aXV6QX2z+MaCmmZTnuLWaKaQeJEfQ234IqvqQZNopk/FlCPoc0zX4TzCqw7ajYxW+D5hiVNqDabm
/nHW7oxQgBG01NfaB2mJzFRsyUpMaXyDiKxs73hkLDteExPMQJkZe3wxkU6WPKxpm+DeuhyMz0mx
6oBPDMjmJHyTB6d3zbC4ukAr8wY+tubbz6QYAWTg2k+Ej7wrbGB7+laRuIl6GN8uKCE4R+4VZwAb
Fd9PsCX8izsW9ovb0mY8OkNQjaEp/mdC2CesvnWn+HNDqU79qezud7fDcwUWdYfqdsBBlP1xw8G6
AXrbLzO/zzzdoq77bV5vi78T3Nv7+H3iu2jdlu9NgsgTDRmGarwR/W82ApMS9QI73cBqqadx4hvQ
aQU14n76QhixubgsHMw1KtG7BXJEc7IjdZFG9UOzAlFy/Zs3obYj/RLgLorXdNM8TBfFzxkiNrgS
x+OmY9EIAi/xs8HVKNSPhZ35CL/KiHdwyenPL9L8N64557KjPOrjNfYJRJmlhC9G9rcpzwDujtJJ
2jSLFmYGGyYSesodpn9wUXv8tGfA6Li7oNqd6wFMgNpqT20Eq0TYYBB2ygSLYpd9mUo/lw1gBTxN
EkvxP2yq7LRgM+D+E2GNCUbHneT7Kr85YrflZj4LdZ5df2OMGBwMCrHu2zOUbo5QPsA2K4wP78Lm
yKbIc6EKuTU2cTVZSsjOrdc4wx9DOGcQ08otF2JyHm7AZZn7mmy4p6yVOe45k7vDQHP+ikRQU+bH
YN/C9Pc2E0zUu7frYMwBAW/YjTRogdmSb7pwONmxq1v1ENZd6cvQohf18rkTviYYu7GW1SlrD/S8
59NFMifxEoKckkAn9P7H+sP3oO/6ItpJmQsPTbK0+dnpuodk4oPchij18OvooKHMfP5MRyiq8Jzr
zzsQ9Grrg5/Qc0qwY6iu9lekO4fbqvB70T0o/WxIKt38GeZushwgGAawhV2rub9NErEh0IF4+yAZ
/5x2+A7uo4dTg08UNtU7vxfDz/rmSB5kA9rnQRgC9dAOFdPPVBgC7q3MjoOEfA5aNwBlPOQg/cfW
AFSK1NcSkwnzxkkc25UihOX8SgGS2WhEMzjUgU6x3LxWJ33MuCcG87kCZLMfs7nm4wcu5UhEtCFF
D3C2qAo46+jvJqzAkYy7eR4l2xulD3dvkjP+TNJxF8MtHnKR925JdJfIuQh05Y11IAfZ/KGF7YpI
gnTg7jZHM66Ou4s2ROyT+GBlYPMK5NgGzCFbPpbqViMqlXLtxznAi/hUQLIQaSFH8vixeA4v2h2P
xygPb4wugb19mn/jG4mVjFoag1I6jYcYOlI5tTuqDBg/HMrbuzjAwpv/osPPWMccwLJRYu905NHG
KKR7AYdHbqMZb1Qku6evAUiAOUMrUU06FyoVTpn7ho+KDIV5g4osryv+D+4iqmIlGgME2WYuTF7p
S7DAeA8cU/Bw5OWzsfVsGFPgXGQOpZv5UU3YGx9FiJGUDtWISQAQHII7Blp0hLmtoplw08ses4jS
7BOVJbEYSNvhriM1gyXZur8ZdKK24Tmi54IL+xnfd2X49Z/wVEAAQHogMcBwoV/gZy4h9M+YEGLi
VUeDnbR8rUVQEngh0gy0+JSE6hiNz5FZE40kL6LWJEOJV2LIIBnUi1SSfL0y6WJGKDSnR0y+fvhy
QO8kr5IOC9pIbfAzHiOaxBebOaDklpvBaTktL1xaZu2JJa2ps6n0OrjVMNxWzVgzNKbC1LQzfhb/
1qAfwPRlAffVcdOefmnuvqmKHo6OmuThoPhraLFji9n7D8yaiwlxcUdxy3RKYglTtwt2HVwMatNY
d+LM6/W9suu05J1SPYvlakAcIB+KUFP1a3PdEVtxwrNt0uEgOoHwhgKYP/BikL5rEfTEu/wAJbLp
MHSGNKDhGCr2197wFmBzEB/vPDCyU0eEITA2XEvh7UDXx7CdTOvq2CddHA0Yg8lpvXmt9icYvbsu
lHmI/Mjpd2gQ6jVwJmSvcbbqTxG/cC3X+gJZwt9QkhIOdHPaLCEEdjDhI3jIVn11nc3TcO9jFOOW
8w7XMxk+F9mGt9B0bUKVOKVzxpEsa3DnP5xaXGYGiwMjX/e3MS00A04+IZJKDvETsAzkXZ1tnLL6
Y1Y/M9bNz/iJw/OJ8ii/DqZ1V6gsvsj1/b6PmCrG/FFew8pPw96K2rrcxjFAT3r+LfMljzQFrXqk
qh5M+fi80IBY2yX0WH6ppGA1VPCmxFj2ok3Y0qAVljw/ikVfSbEGnZuJQS0KbJ4OU2geyObiMiYm
iLiCUPCK3o1KlKrxt+Hfkt+f/YJPlI+E5PV1yZfxTpvJx2oHrv/gsjC9o3KMlB39QUIPRhNx7UrO
E0YTkJagIEsRczCGNcO939tmaxhpHe/esd5EvPjM5NmVYc9wlF/vnDiouWE1ckkyY7+hIOQiMXyk
QeAXMoKmFQX160r3QCeRnfXL7dQAVT6NMkqjFpoo09EZI5uCBBWkxtB3p/dJFUhRL7aB+fYIdU0m
gp0t10Zdf8LPAt1z1GHGeT8iJ5xgYsNQkppfe5mgRxE7WBdO6BHkYJSciFSc9Xz8LLz99ne8TbHk
AbxEE0J+yu8vj4deNgcI3GOz1l1058VJDl9HenX2AeBgnhZoExhe0dOJeLDywqqnEn9ta2woVgCo
4sAYxRGtrH6C9Xo/48kMqCqviEjhGOmAqgDJHnDb7h9onXFh0tfFpVi+fRXguI7URfecHDsDo1oP
JjJk7Pck85QrLGF5Qy9X0QwAnb4ZksihNq6xUcHKaPiKtCuwjRggguzOOCOQO3LGYfLMsqB552xj
mIbyEQ9zTNHpMgFIGL/1L+rltaVlAeSHAwMewSlGPBiuqL3OtOIpWw2WbXg/KJyCK2p8jKsmNEzS
ruWrT8pUhqdH69TBYEBccMwV6cM7BB1vZ/tzd4upiYpazK/qcd53egkR0RZN+fNt0Rp86X4AzMAy
TtUV2W6CdTTw8rgj1LF9MncAxhjKrxQg2g334fr+M8oAWqWZGOx6u89JP5RMYZE6gcp3xhpHPG36
MVv2FXr7Pw3tXgiVMX5GLSeIfuhsNU64BRdy/8jDXmZLxxeN+jN4wx698gnVkG6a3YuDAVLGIWO/
xylmV5zerOBNxsArhdnL/JyOBFJ9b8LZgh/cXGymjRBDsZdIYvd+XGTJeHMn35iJcinTav3aPU4N
2u1xmXs81jEOeVMJUInJ/a57zJfgPrdNuYCFFkP82FSXmEeelQe1j1t0LNYNB8z5cfxFzL8fjAPw
EBoAV7JZm/h0wHktRUGkIp8yXjeze1QZL8o8cfoaclBCuBcKtYcIXGZeJk5tcsYczggs6W7oFy0K
6oI/jL4049roTnvu/2bdeba5CY+YajXg0i/0az6pDpyLAY+BuuWx4MSN/1Rz4BPA7KCR+OHx4B9E
yCahr32hD4cX92U0AbyOvzPR72gniX9BXIRQD+SPXQFUiP9LRrt4OEBMsckHf5SwnWE/AaFIdiTQ
dFUZrwP4iRzKSzUeQnqtNUd6Oi1JEPmQa62bKcxUxulouDhLIcCvOvZg9X5aZd9DW9HN3UYdlg8v
6ROUHKgD0p6dFycoZSe4ZhzB29Y4xRvjS8JfPrwROQf/hOcMFSUkggHTXvONrROJlUBewskKVS+5
x9p078LhAbISuwGtK6g8LNzC15Zg7OCffXzbWtFRNaA8aFqEbprOviHNgI/4rkZ9hvGtcG36KmZC
PiPqX2SjYiwOLo7E5A1uysSkxczMAN6Tvmay6TLIlw9FbCLYEdwVSp6tEAiSeZQJRyYltmtYeJkl
yLeU/glUfKo0g34uRfiHAyoWLB+TKX6RWjW/Z7648MwASK7kJkGb/Zklng0k6H1M8YsHVjMrfF5U
QWlhzyBsgruFazxIgrMPGGs+hPL6x69T78Qtp64G7/iF8iTmqDzx8cExZmgZ7qEyo/bqRmwgL57b
x7BdoRpjrqfRqDlykE3rmSJcBfFEWDZrjKYv74g9TRo+Jz+PYKNLvC2odk2F7+745fQ5/azIuyG8
tcbMQyb5kMQ4YTiQEoIsaH6uROKGstE3xYpdsb3G53IWb3WHoIctdwE+xLd3VfKwXj6okPmYrGSu
A5M0fmcrRU0wBVFV5hXy8PqaCgCc1qAkl06MFXQaFcrp+lIyfv96VOIcCbT0exIRiICDHytN2Ht7
vkPy4azHJ8mMDrSOQ3Oi99c3nfFfEBJHOfM9reUYaej6twRqveefpXZ4bwkvvJ8YgG4p7ssZkYAP
BeGWgIJEphhlJVROpuh+MUWU1hH/q7sCqefl2hU7PWZ3z57DwG6AWo+vZofNoKsKeDHv2hBxqeKg
RgNmlpdKIy6SAZNP5UziJSUjpm30AKCcEPJoHQ8qbQ19Jf7WpfC7pf2HK7v5EMaFTJBFTxwUmGWN
FyqvaFC2i1aDA/PcxcgQfnyPRqmFs2+IkwOXuCXHo868n8/2c3QajR0yI/RNkbxTl705M4L+rtmA
gkCg4UFqZxrWXOKZ1KAWY7K1e8wY/VZoCuFxy8wOGKUhtzzvRROC9MXGnu4Lj5cZKlvrx6uxvgHS
/9vV48yi6JPnyMU4lO4reFPL3rFcsrPDPdvjqfdCBmbdKJxpRGpaRTFqwoIXbzI6lQetHOce3YEG
bbWyXqIG6XEiIQ3PnObtf/tukTnsSV3e8RYjPo5vPnmDSJ1Hkw6EOhHOe2veawsn6jsutBhpMlYo
LOZ5HJ46eFeDjyLU78+GUXNh5amdMs3DgAKETLWJU71JBorl85NpC6js9dEzAdHurMzK7TCl2PXD
D9gw5yWHPwwbHPOKAGezfWGhPBxMAXRBhcF0uQLxtWS4wCgJPgoX2HtckjWuhFAU/t4rBzsbP7//
Zv3570rFhxf5VJjmEZiQzu5eS8qxNouX7EaDMSZ95EzTV8+SAPnKmpTg3oEQXbq0207bKpOG2+PH
GNi/fXiC2E1ps3vAYCO5UMGexf536px/LOwoCwn/C7sM3B9k4wrKb2dHqbRTgh/EGuQMOrfYqE+/
N+quHgFrNGE7MkZlAx2BqNzeR4UFx0kdm+kFvgZ0AQbVgyPbDNYAosWhbyMdiVnkousOvBxqGnIn
dpdkIjO0uj4p66xkNhiVlVnmGGYKr6P+pHukOo2D3vaOSFumRaNGHdAH/C5Yx++gNgd9P8dECx6x
nx77f/pWqOFQNNUTrJiZMupv0sUAQLeyO0F7vF8Gi3qq5Aa7+5slisIv3E9pgZfSWr7kc0LQDh3x
THw32bV3s5+A3oY8IuOVacy8pcLbfYagm+Arbt+pgmSHdORNhpxJOUelj1cXBRe3HLF5gVXJjuUx
V+dU0J8T9xWI9fTgWeDG4tDO13+vJSLQZMhogbWkJ27vOd6v0hEPCCCbuhVu6Y+xMtGX8pnHQF6l
h/QAfvKOSOIlXQJLJ9A++mLGOAxGUopTN32LDYTBJRJXQETac04FtOqMVoErgFQAPDmCgv5SUB91
wbrkx0HQkg0CJvT5fte9dsZsZxQU5EYw20DkxyohOulQzkRlAWmBjRVk7ytcPj+T/kHG8O0PkY23
fCPVEJSaRcvuTtcHsvODI0xW2N871Fb9FfOo/kFkq1C+4IUrH8hvIdOEsLEHAOCLHIQnmK51m8Vn
SvwfQCynxJjYAqCyJQnuxIzpDmDRzS9nFNu+eqkDzjZbAHow1UmDBFZ12XmhdEouAdMfv2pWENNb
psx46051DAtn0EYQK1n6TCxYSDI4xI9h4vsP7IJE3IQcVSP84IGB8B/Cd/07pHWEXzlwNmehgMQW
gt/7AR2YpUOdHHjMKdGJ4056hB6DZPcFv6/0H2tYF2bq8wF9jn8syaGsjxd0fUMsgU3Ng5eNIFKY
M2N1ZxI5gYwwDu8C34REVdnFaXZ8rkLJiHhVRg4w7ZHkDZDTPOBECd9hYRt/yazJiXXEeeohquX7
FpSJEKmo282vr6MXSPnTw74oUGKgmEUdUzOYYSNOuNlHCiUI5Qx2IlSMMyYTL4sRoEN6CFZTWPuz
jzAkYFlD2Nlbx5dHSi78HGaYvGOcldzEH8zE+weEQeHePSnEcYjOcbCscNbwa1yyxv1QD9QxI8Nt
NVICUkwcvLf73hdWqH1D9t9a6ouWVzQYP4ayPHQMAS8F48aekKG9FINjh2Ru/dB923QeMnB2L4BD
xhYqGTXAHCdYKHZTCNx4wliCyxBIK9VDljF6X5Gf8N7i1X2ypaQePkShxbp6jdm4MBWy8AAzhbYA
E4EFAnl478g2oATg5DZEwOAygFjAhY94I9CVmdNo8CNhUsw5p7guMDytJyIgxNVMoCgFzBUIjTC2
h5L85PJ/MQzC+huFszNDa+e2dgeBSGVMYC9wW9PhSUWKfWByKm5kBqZofM0JSeQWbZR5/A7Rl5pC
kUl1R2i4bRve3XKMCACZ26ZZpy2/L2iRuCDtec8SllaoPNg1vXdu0zpyuO7P+GX+npDnMckjm2VU
jySQ5QozQHWHcY8CHfB2Ta/fjWpDBGQs0uE5OmI8YDVzH+TY03F4RSNjqm4vbKCrMZSz+jPo3q/E
pFfd7MluSif7KVM7s3P8+eS4GKpLxjWXKBtR7Y/UaXoo4EIzZ/Df8KUQtLLqXWHi+ENewKbWN5nI
koPIFI2hMPodPJ8b5gXC3UFnSoaFsYNNrHWkgLfcvhGB9sGy0kYd47If8hiDwUDhFEbnR26WP7BW
i2qNj4SNkZHdGCGYLok+wtWfC5ugtkEziGfwTK4DWZm8lWHKmgJQvzkDbgR5KghmBuYlrNEilJjn
Qxkf8vDSqgZsDGYHIqVYENwPOtXb7n2MrduUnJblPZx5xoMveqIMSs3jwAgAm429Q8AujaASPEzy
UmQG5/G17sCfVLhR9cdeVyOXNpbCcdz1ODzantHDv1K3njUBUG7xc6V82B2taF5qs1wRI87qioDH
jGK0WPx4L+zokjmjebwfb650eJrh7xQvXvgbMDq0iH39mwxIp77Ltb5mQ05WtjT0brjZVEgBiBwd
Y47mvihr3gzi8jE/qxPuAzj8LFsRJ0CxybijQv8wf6yeBw4Bxi9fhwluMtbnDwbKTLtGWDPiVMP1
HO4nysvRn857/JJIBIoZtqU2spE+vj1EbRkDwZuGKtmfdjHrg5GqbOC86CcRCAh7hs4BMSl8OwjN
T85q+GpYlV5/nFBR+fTg30GuSdj2fiJjiyaCRKgXNnEk013pqNLGUslim/B1lCIUtrCKr4R2gfTw
HcyRH7Mu0bycji+XBpu//hHFerdlVIqErDUW/Zgq8sxozXgd4M4QEBwMC1yay/xev9YDG/JqNaQc
EksD+ZcLL47m3Wd0fD8RTAf3+EBD8d5+w/uGCHTom88pg+YOr6jj96+NgQZEMQDXDNWTAO34r8ae
ypPKwa8ZPGdBS5XZinez8hFJ2oiseRIOepAm5k+1cl+0BmwulJw2TjjsUenmfmVLpRbGb8u/efpB
FLr0JcSZyOeaKggK74ebOMFlD/9N3JGQMIkiusuWutYsdpS9c8/tx1KmIA7Yrx8SIr3fkI6M0dtK
o4XQ3J5DfwSXsNxhgyFOr+lzlJqnyd5w72GC+QEUrr33WdWHXWYs9SunP4ShL4P/zjBsTb+KBnTT
ULVJ0cEt8iRNaiwmGQqyFNkH36SZSBM4zThBwErAzuuPEL5SCCl44rRH/EBDQVq6g6dZzTvrHolO
nXV6gcS+91QrSkfMsXjspxhdm+pMwETYnX6MVRytBHH8SJEnbQEn2rW+xSiexKcHYRjiRIbHi1nL
YCb+jP3X6CFCFDpii0bpdxddKM49uU90G1/4sJt1ETjsNtM9dayJlM+HjYuPOOO+6ojzgEkRbhxy
48TfGSkxIkWQkgEJ8k8IOUYyIq2iDIqA0cgphcUEsF5lhJfsSWuiLwEYpFniM511EwAP/7pcuHal
4+ykY+6xH/P9JmwGl8oQaglDdEZ9xFj1Qb08jG9k0krmX187F8wnFrfY1cZ9r0EJpGHXIAu2Dqw3
NDH09uAteJayqWLSZD68bIw8+Ib75M9VjRmbVcDdRuCYi/r/NtLRNj6W2O8YBYY42C9Sr7Fr0Rmb
Kbp8IHmXsutYXoCR55Rn/IKXeHsKYjCk87cD3WjdYMlY2+LCMbVycocjdfm8IOwixoEvYi71XH6h
DnSGNZEJKdYaj9HAF0ajbHrCt+FmoCDSjyQGUlUxnIBWGGSkZEEm76xLzmms2GqIjHeyeiRKQDh1
Hn7+aKjEv3U4CTIJDW80nV+fc7bHktMwMGVchhMQzRkGesqMVC8fCqdDE8oXVmBWS+YYbG0U/Ynf
nWuEHA0MukwRWoaDg1tY6vZY2zvwnXF8uLCoOXwqlic9LdYRw8p/HQmCmaQBFBwHahlHYOLMxoVj
X7gxGEbbC3osysTKlz0+C3PFuxkofFiOs9KBbIPtCiImIOGJOJwoiEWJMmJydZEmHbT+pYU7tuXV
JkC9NKPAUsct1ha9GUcLZrtjqseGy8bxEABdEJuTBvstysjlEwgT8JMQkWE6/ZHIBh/GDROuz0jo
GnGz/hrhj1OeS4kW4ktNBNv9zQRHA7m6OXnP6rxHHwbhFL06Er1Jzcp9Of2HoMW9xh/2XzZTp2cV
XVHZ22SrIjpqFOprbcajSB2toqXWghrcawVcbD65VuP7+La6L5DqwLzj9OtRLFD+E4Q2Y/ygIsSe
7KBHVg6lSRLD+HtvIDHfHXw49b4n4BfgH/oVqNk/h3YkZ3xTNZOed/cUS7Vvx9bVQaox9Rt9riL5
Tomwhf/az/VrA33VAVZUZ/Tid7ee6uTdtXyJFuCTO/xQLL0thAfe40AtZDxnGLH9VTqcpqINVt1+
i59nD7bHUinMwaprTWrm+oigDAyW7SkUCmT/2gRjdhPfdFvs9y1mx7zuuHJwWQpv/Ayqn7fVcd5O
47zGX6vrNjy/r3F/+na4RBzy/wvJFW5j9KyokvgcprpK8DthH6U5BynBT5VJHsBbMibbzzhom9H0
FzK14vFHKH1LrV6BaOo2iV3JmuejvT8ll8GaCuOCJNgItvELqxYKRevF+wcKyo14CRl2W65jmnfV
RtSFCtDPTZsZIT8CCYFLq2p92ChguvOB3yPJ2ry8p4FAGP4sjKKNDBuQXmnYhDVHX2feIU7SKOD/
7M1f1PPyU2GrO5gk4/4sJvoCykO1lP3uUPxzh9UuRRKue/FFsjDX4anFFZqJJ06SdAhuOuGFnd/m
b3WoswJnAzYFyOwD0elL5wEfwQW+/s1Bo3N2UYtJE85ErYNFeXfNa5KBIJyCcAUw6PWEgyBYk3CG
otNDzceyd8q15L1GT+ezzoNinSwxnxgwdTMS9+OTZcewy6a4ww56YAnOPbxCA7wNw6YSXV9pT3l9
yFUbiFKoZRvmvJBqGBQ/AjE0C2DflGRHiXZXyJG1Lc+l2cxFIBCPMWfUjubCQsDJjNkUvTX6EZ7Q
LkmQuuG/uAGUgEN4qQjPjuFvvLmxiPojCCWm4lHqs3Q6YhvnvyV003zTg3hzCBR4bidLMG9aUAJv
UINgX2NM77bVsdDOs9Bo30zcjcwpEy540wCALEWmtwjePj4GilCE6+HL7c9W8ZRrwY9or+WQhQ7Y
20TQU0zsB+zB+Ex4ONsdj085xMaC9aGMuybEDEsEKGO5Pfo5KGj7jsxtDVobK6TEDZSx2AK/Z9r8
pdj3K/wGwE33ziN47npHYBWAq1IoTqkLMOH9YzBhMszZDCD5WAJ1wsKzejPgrNvyNVSN9QBQgLKN
TvdyG0kYXVJ/GKfk0D23UQ944Tcq2UYJdkRgRBr7qn/9HHA0937el9E4Xik7hqZgLPyCcPHBOgWK
zei5REreYr673z5HA+YMHzFaGRxhm4A/azj7YNaqGR3g5CNfiTxw3fMRisCh7Ra4JBAXxC4NvMkD
JXIPQHrAeMqpvFxAngPEhsIOxA4BCIuhmgP9KQ31g86ABeLfwBjUJ4aicGlzzjlsJlHEMhNg038s
H6M/ESA0EGnyNdbxlGkHAwEOTZpepzJ5Eo7PrYKXk83JBjGqdIFQOGloCdB32dgeI0ht6dn6HFAW
++/LPC64HSNik0wRRXUsAuElX7oKFW8CxvIS+WbYiVJ0LgchkkXoXiKTlNhvqxg+uSeCO76f8UzA
Rfl4oO9W6XdPXUcmeOB9YZbNIsBbkfHQx0czhScKa6/jwfR3JW/e8NYG5vq0BMozexEOcmP6NdwP
oFkXlIzfKHH2uHoxOdlya0YUy4gAc44iqtx1xkIkMJ5jJ1DN+7wwj10XXSslEuwvZNl7t2ShQu1j
1TO3YXRA5UFcnw3ddPgzTtQFrHLZLYYa3SMVCs8DHWzH5UlZpmOB8mnGtWTCGc5TT3cxo/AjvNEQ
E6b0N1bjVg0ausYmh3N+Cxr/9B3lNl85QljnAGZP+kjDFqXFbM2oEblwvSgQhFfiSJAG292bWo13
R43FSgr40AkzIUjR5A19ozzqpQ5U6mwCj/zWmvWMkG0Kc5ociLFRTuQqu2/AYJOQc0TbzVjZIPYX
Rgr3s3i4NbY+xP2QpUo3HQbE5UDMnS6ZIi9+ARsge/3tUI0fk5KOEx/aMJtXLlfbSVY1O2tunlEQ
0QjczwyQFKQK2MDRlKJfSVywC1bf27gysG1dvH98XBscEF1L/C2eLDXGn3uIaR/rzWMF0W1Tmu7s
RexXbHnPqTC4ZtiSjtCMLFhmFvxMmHwbWHsgeNTwQ4kjCH9UaQ4ic3mOADYrNDuYmrym+QVn2OFg
sek46YzGNnqyaHClA8MAuxgcCZoW2bECvLg0LnVYCqBz+aJ7onMnHyqZd47Cg0RDmk6cl2B5ZdMk
TNHjIwQ3yDUxof1Q7vT83lrx0xGQaQQvkG/v2mJWI8Luq7NIL/5x/uNP1uOHpQh3GS2wO6fmQoS0
7sjD5pqLrXGwhp104CV2ynow7NpvL7WpgTOkGjLvnbqR8rdkPTdWPh6Abd7BNZ+cFECqsETpU5lD
TzFF52ESB8TLIsKAgnFEFIydjaCKMj1XPJlZHtlP02KS8YmfaK4/9iYZiwoQtH/MKIKINN1PjdVR
IDb1BBcKCuxm2BvGpxzEUuQwAvUYAgGTJiCIkCBfzoBBFUpNCkF6bYCdjJK8DJIQfTUl4uiDa/uD
1mDv4h3HR3eRxTnpUBSiSdhgVBeHKmQSIgmGrPN011nwmXbi8KMYvqALZL/CDJ7S+BvhBkFcOjZr
QD/M+m1YIERD7WG9zwa2Ni+tqDdk5LcsprHT3+I5aqeclqI1STwUGWwdnSNQyhb3eq4ENgtE69L2
4mdAgjqlfQIbtOPo4bCev93a8JEqIcAARihYz8xRJm/v5tPwjzSyjNkZl7iuc6x8/d5EPwwo3I0Q
B1/Mg/QQdMaF8/ic4gMndczfmrP/c6H1nr/n7aTnMBCQodgGd4+5dohXoXgM/h7FrhlKXGYU2eYR
BJNuEDCPFtwFLAWqi9mRHj5+9MvHDiP9YRIWLk+w6Ii2Gfy2HUQ/zJ3x819n4Fj5keZuiUjNfl6w
zJ7hT+MXLk2qREW+fdicFfBoJsfHEF9MIK6vPUsRfdAqNM4Rgsls3diX+E9HzAFwD8WPIt2MwXBG
rwZbEFNAlij5xj/JVNZ0woEIR34R8cjZdA+lOkL9Co6jEP23j6BoMR1QIHevvguGCsJHQV6hTQT8
oCxasFP1EZpoI864xWfSnBMOvlC9QGuEuMYvlnJ7QVfyVwVQCsM33G+JMvW538tsyQiXY+2NjxrX
QmKsCGgXPXE35gmYwGorABCOAM4Q8nHexNpUuWZRDPK0kgGWsbB4r0gP+oC1YcYSzwXDubJl5zWR
XH308B62MuSsR446R1OPb+B31A0fSwLGqoz4OTEHZIRLl8ZhLW+BABi7MhiNf1aPChMuHaj4y+Tv
PxhRZxYT1GdA/idQOt97ZrC50Gf38HHRJ9i92zIHdEFBw4e6XSAIAPBDhuT1HjssgKYM7Kb/kx9R
LXeMU5EX+GRh7/JZcniEaL7sWYlOBC+s50k5NDakx3HBtjRghqevX857Lh1RTICvlBcyCfIxBnXv
aBCm4DT08rBoXshETKGMgu0AO/5lf8DEd9xYYJ/1/tK/lrP2EkOd8bilrQublv5k3YkQSJ9VJv5g
fOfqYVWMlM4gc8yOCu43QCR8OS4gRFkV2Yj6IGuNKgoeBVTaZq6RBcNXc/LBJQJgKQ9aVB/awzeM
Tz1Io9jdOI0Xb7RLu/uey2k5vak8vdJaOvZq5xvKy08A5bZlysFxilvMul2WUyZpNbtLOVWOgzW0
gGkegovRtohTJXe7MPsq925TkJotvmyJ1wEW47KwuHtDJFAdNgcKaIAG4rsxJ9a8J07lSHzmjwnT
v5AhlHvRUDNJtgTq9R7WDgYwYGhJmI1YvzVlY44ou8Pz95wKSv5UGXKcx9O3i8+h265bvz3ewlfw
oeSQoL5/Jr2hcvz8cYGLJWcAq5l6lOEG+Kq0fS1fFwlmLAcHgAl6agDNhTz7RR8k27DqeiYsyAfs
NTDymQ5V6MpT9iBWnD19/pkk54xB3F2Bl20pfwTl9lJcuIHiEUMQQIkAFxk+F5gDdh88waP03IMQ
PivOvcMNlcy2ON8wCj43bFIHlft5RWX1XLBr5hG3fMC+SVWCk89GBL0+/Dx6Rd8F9YoYVIK4nvnt
/68Cl7WX1V19+yb1LzNKWbMkqjIwDoBCUFnG1qB1kMroBeKQSnTOIgQzlUSqRk+lH36HN9xEGuhA
xoAYkW17SM6UQp/px+2sAa3SZbFM2a3EvePvyIWfkw8flss45HksT1B/ymF7zPuGHvVlQxaZLGEV
yMckeC8hpnFR1rcQHkZYHB6zt1cfYmZhh++ZSxRvWLftjiktQ1dpw7XGImuVMYY9vSJpo6zRUfst
57o6wnjaLdi6K6Af2ElpXx6ySQ87uGQRUWHF2M9bH+8O1cYRBzB2lkB6uQcxi6NVcWJaVmxPGN6U
mFbnTmlky94aO26cwVPvhv4iSlzKafszBUvLRX1MPwIxmfWmrGlp2ss75Nkon8JzB1I6DxnINu8c
rgkTYhWDEnuwgccDHXSinyCrxVGxVrBqk+a3WbraBzdV8Ncgd93fyFH4OthB/A7k/mQHHyoT+DqZ
zcCBESkCbPZauLAPEyedDKQTqhvuXOwDMPjPCvT8G3x67lJnjWkbDLpj/5yCezA6OQ8CrOiGHKJM
j0zYnkga+6yq2fuIe+zmfcBEjzR3D2UWI4zudX/lLKGQmt4+FkwVDXOFvgApYShi/Ha7dARl84ZU
EGMrSF2ECemu0pq8ymehbuN1b6fvkkknAFASrGroAbBlhBKz3WV9nqxmI83VXcv+Nf2dfht4blMB
ed7sy9P7jTT2BuFhpzJH+43xwPXysR4+D3oo/9G+4KrBQqaanHU5tLaVhS0Uy3pNQ3Upptk0PsEB
kA/a9bUoDikQGsuU5VDYD+ZtOLr+ucOS9Utjm1zjjXTsQKKnOqILbIh6wfvGTi/pEj78LYNXI2ZP
ABPoqKkkIGSidctNrWs+IclAp4LVDjXZ+Tg1VosMSnULcT160So1aio6O15LB2T1W86a+7WBDEb5
jHs3/Ke5FijQqcJqQwjaeI9xGBCU/R6zHkrAO/gBBlzGrhThWQMWmCWXZuC2ufsVcwmXnenWGrD7
NAbD4DrwRViXC33Bn3oRCn3CSMi0rEWKWbLsc2CCwVSX9onfzTAHU0NozkAEvQXsBxj5d+P6vhSs
bnrdUQWrxeljSfGPpTPbTlTbwvATMQatwK0Cgn2vyQ3DxAiCovTN0+9v1Tnj1KmdSowNzVpz/vNv
1iWVB6JloxFkj307NzYJ2Fwg9/7ncSyTgHvd1t0smpYw/ZBEYucNjBa7ekF2rpCI9RYBhA5/mHRB
EXxi8ZMjMeAq44YoodHBcuAmgDT4Agik1rPIKRvD1Grpoem6AdTgosMVpFeBQhQ7fA1uNeK6gP5t
knAwAbjZytgZCJGjstDQvUK0YWgJ5EMVjRcN9QgNA5tRDz+PIVLDHPB1laUFzEVegEMlw64EyjJq
90WlgzHzne/bitNwkgsMQageJswBefcaUxVtMurdPAneynRAbvdym0L4FX1iN4H+SLnpf5aQ45f9
lhdLr7xjZnq8hAnND5trUNX83sP0Q7V5Upf5nXkjs3Ns/YBz5bt65zaHHljAUr0XwC2Q/fDPehC0
in1eDgmG5dC+PCiJbizrIe7qyE1NMAI/ANPIKW4r58O8Gybrv7kpt7WseFLvQBGzY89MlyhKelbM
xInZCYrEy5mTPHERmXSKiOLIEZeOHPnfhdXAAo1oNLm4CXCbWIyZC0H6bFDcMIvZqd/yjm+25lgx
XdiokFsq2hDGqBd9LgNTEQoKF6Tf6U+XU/OBHHorcA3gFd9jJqPZv1ME54gtZ8mJyxYcbWvLJUHd
wh8zdim1dsMimg9Bt082tHTMSB/jn4iy+wRLsVq3XEOjK5Ovf4z1r8+tWbCAUgiN7iyRLMotylby
eX+Lm8oAiR2G3c2wUJ8K7iDIEWxlhWkxxgfKRDtn+8xXAyaW9hxOs0EcYjeJQ0+OsMt7z5jO83t8
F/ESFVUsOyZURaQhpBZr6P9EUgU8x0YSQi15xFWE+tRBi/OAof3g8DEH2iuJR/HLM7KB6LQz3/qf
/gezkjruSRsycsgerncRdRD0FUeZsS5i8Yh6fjQuGdXHTNXiX7RrSxnqVrGu1vEvLEdkPqCg8DD7
42v2gNrKBIPUmoh2s/IFloSpwre1lDCJDFdIkoNqXyZ3gDZMqiC0hPfikN2aQ7vqv+FzxxdsxITh
Y+FrK/R5FDsYqSKwk/bKL7cgpH/9iGzzpF+7Q4U7MJ3dX3HriLdeZSt1rS04SxCu6x0DQjAZBGzW
1TpJ5AcpO+k07JjsXxrO8/E5J0m0Q+wA9gAvG5YN83Jtgga8AFlBLLfXvRHAdjWFFzrNvRgRPZuT
2/hErXgQK7nB1y1iWnaauw4YXU1H+/6CRFy66/MXq5v3OCrE7incOPeaymoohUePPhJaDWpmG1Ym
PdUhmg4wXJm8xzesKdC7IS5kg6Mog832j/RV6VBzJtyd3SU9MXEJ2Sx5jnxGf+lB5LzxeG52ba0u
Q7f5S6Mt83gbMx8Ma/IJoBGr5fvKaN6CbvOrsDJCjrlic8aLqHeUgx5jvzNmWl/c85itBRkeo0/w
jY9A5wGmPe4xcoxuYGun+umoNKjZ+o3gAEgZUqcGwgZjbGQx/JK0ScXUf4cFDosSEro7TnTAjCzQ
B74BJZj5Bva5L+d1grEdLnPM1bgsPCzXHhBY3teOh7D0Mlj/ZbWtCTedEHIVWSJVo2emjo6yv2O5
F7u5mECxMJpr1nAWRQxhXg7iT9L2CD7E8FfevIi+AAHjfobFTs9ueBQ1rSRy2cze442wAaiTx4rV
7XPDfvZcLcI/A//CCcMiGA/m+6vOpsRGvHFOZsqFBxymuTvId3S2WYQjFF5ngcTcF4UIpS9v+FRg
FjTBIY5TCfbQBKxYd0pZGmfQOJJpS5weZbqMepJAjPllWYcUBJUvSCEkUXV9swHAYKW1YKIXwJbg
Cls85R7+hkhbNnKf/aWEJwWsyn36i/wZ6z6+13ikjrCIgZuCJeFMIxxMOHaPu7HPLpCMoBQvOe2K
Bxqi/A5E6QiG8k951V/CdG9Yj1wkSlXiqNp6xFzG8pS1PJN+id/dmPvui8ugPJVbahfzPHinaE3P
EteONMc8hTkcaQgzkkWukO7JzEAh8Bh7naP5rAgHpudcUxuqz14gjDhYIZY8aRfre0SCKjGItjNi
bZ0Qwbzn5JT3x6l02WerBRsoH4P9NLUm2P/xYUn7RZT0ouxfvYgUtBYPaKDMRCjW/j2WhX34arch
Jqd3Lg8Khf70DFQyztSDQVHATd/D+FlkGv2ULZiaZM0XBMYLggbOsW2god09thReX7hisKSCgz1X
gy8v6WhpARkRyA4mNUgSOyFB6awxklHkkdRz4hHRxD5DCH3Zbn1sj/URf7c/DdgM9ML7BLEtKN8g
cZDqbgU9umd4TJbTFSj6twIelVL8VFiwgBfc5B15JsatuGCBSK0D90baU3dQxEwuHH0QWnWpzuIv
A1bijdscmLF1T+3gxFPlwtwXzvTYIvnjUP6MVlxX8PutK1cczR2XovBqwHZ5lfofYPQ920P9/djS
XQCoo9cln9Lj89C6jlCmA79EswijzsF5/mBgFC3lvTJjaL1tgf1hHNjCgZnNh40awy/dLdZY3q+g
EZ7Blpc4iH01KPdGP1R/zOTec5R/uT4dbkhKovPALKYRUhF01yRxutI8WilP5n0t2AqF8Xi4GQdz
Q7Susn9duTufB6R6DL/u7Gl0M9x/Afc2hxfemlhquG6qejqaFbd0lxFI4LdXNsx1dmNQE+pEL89Q
31Yi4Qmg6ecZ2KIQBooZua8zNGiNIBxOD34tqxJehqgj0Z3RG7LSEZz0PfqzPfZvnoCTHmPkBhV/
Jv9hN0ozhaWVoNk+hOULPzDP9ZFNn124/FaPzzUOjCIg40dH5f784kJOvljJgIPx6aCbE0ImnMQo
i9YoEsQE0BDEpgnH7Zk6FuLSAfWu8LNB2u8hE6O3jkgaeHjR1nwuvz/OkLhae0iZfBGn6DyIUnSi
c+7biqdsKJzk72jHao2BGG0Db8ThkyFL2uEG/NykwKiIv5nwrVMQ1jO13ejr3w0cqR5ud8lEveEu
4hv6FKP5Gxx8fFofAYo23QEHM9yarQjuHc5ApsPsZg26HbDdrSyHJNtfUqt9e0rUE2OG7GqQYxf6
A01h+5hSIcY/AGW0j/qNFqigZebkYi8GA4sVDVNjp/99FNSUU9MUARc6o8wxWgBlituHNiWsJt71
FPy4WGwfUVDsOdcl2Wk2cr2XN1xlFvJbs0WOsEinAq+eki9Tp1hN5zGLf0fZtQRSGeDlUgizGbGa
lt/vI58LlsRSlaaAj6w2xtLYFqf2l+xdlA/Gqi4uNt1Janl2TzIe4gjMJnHrRFgaXZKtmY8J6Xue
CVzmnc2ABzZvpr4wmtcWZnPUG5bPgBO5DBSWK9qFBygIFIvOgeM+0EDwkTldSDDVMc9eoQ77lah3
LbfBiXYWMj+n8R+TT+iUHJFva9xXE1K1PiCWM8XEkdc8gbkCXV57uFaHGEePr2LkKSdLdUidC0LV
EfblY+HMrxeONANC0cG3ses3tvGdjrzg07SHEcI+4/4K1L1KttHsc4S6ZXwNt9QjoZne6dZ7KMrh
ihornP337BO8uDpG1eeElwFrDqoWLG1tgFAXsEmjg3f5uPzR8HrBkr2YxQzAl9lKd9gxPnP7+KLO
YhB+CJmXQFRDBMJiH3DsRmhvseFpBBicnbhEEGSSf2ROKpN4i9IhKHULlbO8gKiPFsVdmeq/9e/n
nivOaN9R5ly5liJXgpOPHrQlrfCg7D74Vlx0PIW3rGZoJnt4GNsI/cmqqY8ELN8TrOd3eTlDHgC0
DRAGhBDERN66vEbtScN409hOf3tBfmEtAxeE4ALoA2rAnJAFjxXyEHMEOy+/8GQFOjioMmDsvHLp
kvGoe/o+6d2GMz8dRc6Lq2nP1S+sj3qXv2USNTnXMBk4YzlpiRNlW9wRL/NvfknBUAtBqscR4sGI
YMh88gr4DsxPnGfq81BmEdR+C6IDuM44RyGES0TL7oY792mI4PaNir88m28SmEiUCGuHWYVJr4cl
U92LB5Dy/s94WS98zoBGCAFvX3e/BuFOa3GE86WExeYBm0AN6Gfwiyvnq5lhN0oqOyuz+8Il+FRC
kv3mJbIr3+6UKWf6g8EMJRqukoQc8AF4Oto3kKjnxE5nGbeRsmxLHy27WvqVa1EpUXegNkIwGd3a
SnjBFpTcVDi4wQxetaoGWmRfXuD531dus0IT3h+43PvRjtFBDFTJHA+yict/u2ESIiWZ9efCzc6j
3wQv/NIbmDnqJ36WDW5KfP2IrJBjxb0B0MupOLRMuajwXvKKW7t67bmNyfjuoq0B6QMxgT5ROT3c
+tPhyu+rbCUULwey0WWKEZl7lJt9FSvLD7XmWOHCoSt5YTrLbIelLT2zunF+CgyqQSdQwrVwcvB4
m8rq4kFBzJqju5soJn75ZElerd0SHiF58meZsLjky0YhYnPH2qRlcyLaaHv0SrxoEi8NsfdvOTmf
j0bnrhtHtaSR1xJpI/c7Ss7XK3hCMPiJYi8p3Tfi7SIIX9MKg650FlHHwtUDgX+vk+QYhi6FexFN
nxhYlf6bjs3s9kW3l7IvXfceDGvIe+2h1cq6N9BM4WUCVVxyPpcI/2JP3mna+Nm4JIUpLNI/DYVi
KKKtS4RVCCr89E6d23dubLO0rJPuImOYPyx7YjtQjozmhcFBc4bFa8UonTKRfr2GEZm5dj1jGt/o
i6p0esJ7PtyBTsHImaY1grZXhdOECJpmbDEG3ZUIEiqfp9DzFb//mDM6LvBhQvg+7Xk+Jaj744e4
PX0BKhqpS+mSxNPm5bWnd+fE0TwF+Sx9oEBemduGwq2kDzCl2QtNFIa39XTZfla4yg7Dqsymdr7V
vHZZnBksIR2QIelyxWd7jrYZOTX3lrC5phHHtvL+AKC94qVyqLnbGeViQK0KC/gIfJnTiNxjqWYb
NQkeaWCpswrI4yr8TvtVi9ThRO1ff2OdbTn9CnIgHzCfUHU0AUkhtG4EALT01vL1+4VzpqdeJfai
EDdk3j/jnrwDXx7gS1Ijrl9/2k/ka8w+4eFhJbWwpuiz8UklB7t7ec+v+IYJHq1qfFHxrX55CgRL
5Hi7x2PS6UKNyyGl9BXwO/p4oO8TwDLvAGUSP0RbrdIs0c7VC2qJcBYpy6hzrGmoTCntKpzv7DVA
WgdGhyacqxueEtggdtIzGxNTDumHUnIInuocsL4iXwh+KlKui07qqrAU/Ogu+G7/En9j8KhNDMgq
L1ed0XHgCokMj8WrdNEBS5GLYBMgjr9VdCoY92f1VAB5PEVyrkr3QasduZwT+hSZLZzVx5rQi4oX
aB1QSXTJdHZYNKqYlfIUw8RCiMH9eUJWzjPRTdOlyiy0GKhJrkoDSruKMdi/VjrCip92FStjOJ64
Hub8NjoAydf2PWkIV64P7raWrgvu8S9Y5nPBq3HykdtBrRkCfEpH2a0sd4O9BLLMiEHL5vHnANuw
7F3668p7XxVHtibAY9G9YdOllaSrhJfovU40yjQNiuow5BGOuRpT4Qn9LbAqxou7bk/XUJPXDt/l
BlUhmmSfWQd9ndn4DvADWhddgnn8wEoAKHPzi75nec+uG3uLywzrj+50P+Gi/M1gjpEPBYhwYQNj
X6feYmsL4aLv84id+RW5I6oYb9gyHngzRKKKmdTqKnrM9cwbdu/k3+gVeh+FNSM4xrWma+zepvsA
8esZ8LHLS3/6w6m/Xk9khGL1ZBMakYjF66xDyRtxtq/81eGIF7r6PsXAYBQHVIOcO1CU2lWX7V1f
cuKYkwAscLlAlueMsh1tcdClG+1LD8U2t4V8RXne3KR1RUzwm+EOJpXZVJ6gvEZoUIBrM2/26Zo0
G84k/xLLqYCctcLnarO2DHH/XYHOaAkG8i68F9FQQmugeu9vkYf62lpg6S1EmsA4SJvPDH453Qdd
gcgY6Hd0kjHMO8pEmbzL0THMPfpu6Ju/meTRLZuF+7rLjD5pB3jtX4PEJnRI2Ms5NGRY7mJdWmKT
dwNxacfdl3Zoa4+uQt4Zn/GDaRtDvHasSeObnE8/R+zNTJe4t9HHZbrZwzJhmB/5kUX7MoUx9ERl
ROekevoPIWPzNx6xXYvzV2s7KFbit0dXO/AMOAe9ffpX/e1nHRIufsCANZ9TIrZbsngnvU8CjxD+
YQvQnz8MjGef1k2YOpOxSbMEmYiQuFo4B/gMWdF6CrpGSj+v+3bj9mcZAFZozYBWx7w0eZDgtsqE
hk/e1T/kz6M1BYMuYVrxSBDufzYvLTXuTV8xE2KaAvtEvlMUgr6usWX5krCFwJi9BSMmBTLdqIj6
gvBUbVK2MCrsFLiNKSj8KIZCUugQ84eeNPEgRajMisATGHJicSWGe3/8xcTdal0LIgF6QMYmb/f5
cLIv/L7hwwmh+UUTBnrZxfwgeR+XPk4aVItj7DjxH1ZdnI9kcihgS2FPxTAaXyWi9nj+XIQ6MnKE
2YIHE1oJHMp5K38t5qIcbYORPLOpBs83CxDeA081IEgBWmME1XHdToGgO8yr0FjlgGwCgtZ+aBvz
bzpezNTi8Udy4LB/Eo/PrXJy9hcAhifU1gkfp2u9C4BvRp2VwHMFUGl3TzpwaMCQHtdPWM4MofGW
oXFefvbFmjl4v3pshVehOsCDe1PEzFJ4r7RjYsw56LTKyQYFlTeQquTggiO7heTYY96ExlVEvuE+
+i5XIKiYAcTYsHFZMpgj98XhgD9/yWO5Mn8JTdZ+RmGjDvijx29pirIN1mbIrB2OqRBZkEQG+h7j
R+sy1xA0zrrjmGMrkH9jBSKc+BxeEmQJhP7FPpQ69dLiyq8wwEbGB0mV7hPk6NE4uI6l3zHpQ5nw
i+D6eOUevb/xcIGK//l0YucFXoHDJNp2umTPPNuQQJ0HUwXVTeB5CzwCdg9k6aV6NQU7FF7o0UQa
k5/anSywTPluA8KAenqfDd71QLPQVwUrsf6qQVfhhlIM9SwW3xwmWCcrsAhzzlfRHIqgCwQ5tS1h
uwqSPSKgt19Q+RKUhILp/J5ltwGpINSAhzYTu3rl5Y3zhl08Au/KdxjFCFAevD12VNPRfjOySd44
TeGdExiDZwLjaIfkkoLW4pgzob4Ip1BS4vCIX2IQ30b9kam2cKoDX/5IS9PYRZ+VbfqyywS6YX/J
aHCcHEzPpY/MrjVICrmuu+bEvjuuLuo83+D/BQFp0XnsstizDCiAUZqzrSLhnuCGRzXnsJLV51qf
EGMbTpgmKVPed3KBZlMCbI4m0Ji5RZuz5BaCfZnZeKQ4kg+sSdZPNsYwcgGQwqUHQWr9Qpj6k6bu
m7CyU9yBhZp++vf4551AUhFWCh2JXEJ48foud9UCDyx1V0JiXUmXap+rHsZx7z/uT5b4dApzdKrs
YBRn8bRSBIA0OulUSPfqoF+BpHckqFzba3zjDSBQZojoR1tlQc0mXz9oxM7EYlP6mrCAv4oNlV82
cqHtnUvmrlg3xfBuYMY5deKqWCZiBuVyiSiMPMyJ4LBAn/zsWBAUKEiklXw/OpcLMHPyaSU5o9qp
ur+2w1uJK7LcPyyXQb+P0YT61f2gCsM7Yv7+VupVJJY3UlaTfAYdDJSOpVCbmiRAIPMi7WDKegJj
suAC/UwuIOB96LLppQMTbG5kdKEPE1fn+k0cVnfru6Awl1j0tX/yZ9G3LoM02WH9UfzuZ5S44UHC
jwA/0y8EQ3MWwRL/EkZlG+yduRnwrZ5VZ/he6RGGiqCXzGpWahYDymvZaX7A1iAvQt2ILwn1OQ7I
Hsgrc4GY4fMpnJU205ee0WBQ1o7h8/m1ZEcxnb58ixEsMHC+/WzAwQd288GDpBEjXBdqQVUk5fQ0
vYfm9p1fcwYvjvr3zJ3nmr6sZ9j8q3N00IDZU1IaPXk2mrJoMjF7eogRgJ6ptx4+p4j18eFXHaSt
91aB2YWEDjI0lgBLpvVjb/3wD8F0OhpPA0jgQuO79gLXXSz+doh+JtPH5A+zT47MUcj5hGJu+MfF
L78EQz/1uf0mQsL+2B4IT1uTaqUtXj68Kiijvsn/dPcn4AX+8OhCcjR9IlXqYJUq8wzqOlT0NVSJ
L9vE7iDb51vB0NTGOUGZh6cxsW8DqrqV1EGfAm/Sz/I5OaqUNlJGDhVLJFMwBfrCmJ2CSWN1MBbc
swlzx7QnP8aU9OOgIRYyR7uOGPr2+JF2ydII3nMo6BDOo9VnkZKyJWIMXzghGWm87iskstg0tzds
BEOmv/WLuQp6dMwHgyz08l2yUfF5osZjt2S1Ul3FZh9ewsSJmd+y3wGpq3P2gEyFKxanBhQmrqE2
INpLwTzwO4Ke8xMLgzvJC1lMcfCXbt3j0PUOuq9nMT9bshfmFtKnXUKwMYKDlAF9gQwp46ZouRCp
BnH9GacNMGrnfbrIMXBArbkkvBdl4esvIvqnD/BLyX/tI1aEbEHC3Qu/YfqNW/MUlBD6SBXyKdEx
DIEU8ord92PK1zzuYePYqR54HUpgACpUp3yhPd08IleRxQ0Q1nQhlMiaUC8AW/ENpP1gslHimghI
bgmDd47o2ELHQ74OYhpWQ4gQAsNBIMuXnSyenZ9Tr5twndpxCvMbGixWCuxZjF/Q1iRuDWMIkQoM
b+RJuMjkztBzKU1ymmHM4T4uX9g9llqTQUeMaQqZX9n4ZeWAGH/OWu3B04RIRuJLOMHEsoVNx8Qc
CZ2QfFRZ8PqDKgOJcQ4VDb/ZNbFDBGzotf+EMe0+fzpSVNFNAYXJE/MVdNjw/AjYm0/MJg5vAQWE
hCr31bjA31g4E5+TNgFGOAaOGETZ8fKm+EJFt4TTpTEhpQPYkXKq5gbFaaB1G4jEZ1UMlcpOxFcP
Pjrmt7AUYYoA25WLCqll+g2TNvapWFhqe6plSEwE/MBqo6b4Y2EbqR5fHkSzRcfcOKNru5KXOfIP
4iGOPMNw/keuo1xL9saZXMejce6QsMhUf4woGPGnDiau5ZFVnBpNO5dLylHs+2Dyw9ikbjkPegBP
ETXvPytXSj7KlfYo/5VIPIvW47WhP0wpMAWLdSqGG9k6n7W7etd+w1mo1uYct5SVsRidsi8m3RoO
Da8ZqWXQxIt1j6tUeZSPzV6sHtU63wpCq+BZNHssYZbJBR5ChSotPLFJNTd7/tnDHedqXmIAS1XC
hrwpV/0VFxQ3h5hQr1SCAmt619cuXz1hKb52Nva8xFuSO8rEjMHQLNsUB5HENyxK5IHRiswxhFct
SyeivkO6Sg4WHs3lCUkCyYqZ99y3R43gknJJV+VlB93VN+HBHJgDhIvsDOeFi4aNMlz0m/rSzIad
huBzdBDjADIWSNKrEF5+P3+iP/UL/a51A9WjA45QxmIGy3b0Q0D9EbXPucLYsRBRpV9AxNaNv8Ib
3GH42OFEYh3HSDfEylXfjLD8yH70jbGDaicWEssTdDqdke2ZK5sQK0zXzvauhZoD65MBCtWMJm7c
J78lrewVv7nTltI3qCq7yz88nY4Y2RMq9rF9avfWz2heb6Iv/cIPgQkjwJ9tJrx0UtYP9lmYCpjd
MI1DQUiu7W//ayMytPbG1NiO1ukCfsUak9ftcy6dlG/ueGaqrCJh6bwvFfwsAuYAt0CEAOOuyun1
JaNJnqX76q8R1E3Im7vHGq7MP6YYPRx/Ympzqm8QUxRbkF9wtmDpb0kKnhgkj4ukb5exYMrCrMN7
/dfvUd38pftCxEAbf6+vBlh2xqkBMCh+1E260Nxob3yFu/5snZnOGNd36ClHa64vQGZHtFOIJG/G
vbsOp/etPzQrJicHiIYwy5dPOFaEWICVs0tzy5yVr2aX7XQGFeDVImxguFczJgGf8+csSxBpMU0x
CUGTz6Of59aaf1YxPqblOf7rz89t9Y+aLm+UVX95bORFfqgXj8MjMJekMQb5QV+E8/wr2xWr7hrb
E1i6gX6B4g44DPekA6OB4wwZKqiW9kFdSYvXvFv3wFw2dSndRyjIkjlEMwAd6mrQwn94SnxilJVC
RKXz3YRi3Abj0PjnIouXmqAXMemFNKYL5fYbcjiLBF3I25P3wxZ3quL+wn8aAMN09AsnlAhbFEK2
cE7QYLjxMg94o+PH7UEP8aXCsjlFt/ehgqIJVhEbeOVmNOfMDR7AVKD1pBOYZMD7YowByg3siX0Y
pRUczzubi1oLIAjeI8goD+eLZ0++N7AR3zZ5c7+QQ5nUVLpXijgErrsMass97iG7TkhER3urfbNR
8TC2Rp16lgErSLsw6GdwBRiIxhZyhDmRGoYJY0wl2MKkU3znZ9q3heaEKYkynib3N9w8WhG0gIwu
2BN1r+twcWbgD7tM7K7sxp8eXueYoVhi4k4VDPK1kA96nfg64+YEm/Qdt4V+0NT1O/U+UOhwGKjd
8oudtoFTddWZrEFevX1ijxs4NyiJHMidiTEjnfSGqSdsgpyb+8Y9xnSJT8LDxZrDBMrMHBO2Jjs4
dDbcU5CH8gjeFmUMPhjsUPgQjEt29hu1zxN/TO7uCF46apqna2pTsYfPn5nf1acRDghstNxdA8le
2ka1eCoEa8otKVdhQU7pu1spq6c8pZoAjxdFTOyF9VaXPYOQPRLtRgvrkCauwtRd1zDycM3v1oGF
mUzFIY8F22oEUXxhi6wRV8xALDEBbe4KCUcUi42LGkP7pj+mlw8xq8iefqgJnlbrQa3DH6OMZkzK
S1pa+OXe85eGtRyHWwG0crUcQgwrlDOEXdKjk/ciXUcK1KqJpE6PMTj7XKwncBKwEwWNyaYIzgWt
SCYNvHfrchcvLM5PIZD2ntHVocaC9lJif/WCgAVE8pOgPep3LwHSFfPBZghLkISn4U+fjsTojyNe
1H8RvtROZR4+ihuHc1kKGuZUPNr8dE7ygBuCrUMNKmCdDNsR1WMJC00KcnPxYa78OIzq5Tu6Seml
B6d7dzMcUOSv7EfrFmU3FYFSwDID4SJcSBHlGrFflkdN0oVzIWCBDkkN/PxJsNeI/spkg+tpt8hi
DjF5kOGkToTdQvv2qrkGDQc7zU3ebt8lmUPJlB0r1gMeiLf2wAcaCsZzHjYKwCJ25mPWlOrjd7Ix
3zNJOX44SnVCJ+mMBP78OVstI0tHfvxwkYfIceYUhgxcY2ZAsA7X3EhY9zFKjOVg9F5jlmaBHJED
zQa8CLGWfoi8nbUgO9Krzmxk6DUhaKiMK/NbJtIXgXDIQgYX5vlTlBLUluNA7YKrdzoPybhJYYvB
yEdgI8MN5/Ok4nZ5+2nEYCpoP5nz1jVBoeixlm4YXkPyQ6jb7JFezfRTSpRfQZzb4o2JmupEv3mK
25xf38TMHL4/sMcGuObhjmCS178sYPH1E67s5Z/OyjErtr05s8lYZzB57WbS6fFHGdbQcE5V7Z9h
Ik30ewZSLLCS/4Fe6Yz+9SatkC14Cg/eyh6mgP1Fd9CcBjIzLO+NBeLi5XyOp/qcueaUfZV1iUOv
rR9ID8D90IavSI6bKTd0/rJrXGDviYQqQOUmEOQlXyN6sZ8Ne9qXGpIITKajSsU5Y0769CVHX+Eq
lP8AhyL1JCH1l8zwAFK9kFEDS7yRVv4pc3q9RXx4JROY9YAZbJ6vSbHgxgNDLqAtbzGVw0PX/oGS
CvuU8hVbugYCFqrcnAYtbwXLmnhVajHuVtXF8HRXIVUDGEwOAzGYBlqmav4qyRQH3pV3WMADuWn2
ges2BjAnvTD9AMMpPx9qVv5lvC7EFVATRSAN+B+qHhBGPjWtLTxKhgvENCK+6Ii39UupGIM5ZJo9
EVxcY9qkayyEBxzKj8mw4EJnEntveSC/UTv936OH5JKuxUVljU3dB7gFHm3bpd0v3jFbW7o25nob
9Eue5rM/lCiH6N2PpC/5oITKGbgUE1KVrILHF4XmmpmFn3DBU9LzIWxprhloun/kdJXO5BgyVb2i
Qu/boGxp/LbQfF7pnGs5inB7gts45p1JxZmqGi8WsgTQdR4EC/afl366MfpFfhzZJxAOsEV4zD25
3zX/V/qaXNu5vEFk0JSbvnDZeFp7lsEOKCxiAYYJ5dUiLGbsl9Aw2sjV2XHvudiE3/hmZ27qCfDd
Z2DUdasRgZFsgER1Vt6/oVE5z73RhZAiTJ5vjEChzVDcZnOYY0Iy014qVtMes2o2aNvaK9jYsRzA
+Tqp6+Leet1kcEMzMKdYgE4Sagz7tbKCagZnQrBSEGGD3rJ/FR5FR9p71B0qvP1ekIV4zDugXaZU
YHL0j+TBfanWrnS1HhiyoebDaPlsYXRKIf1DmUYEAX0elbVBuK+CM6RLYYFzKSUD+6l05dsFlsRE
10eisdWQLv/iEdv5I9nTb33msaVyNsSOZD7FiKmionExxpMidBpMGz16zMzy2NGehJ204/aL1pIV
gLh3GoaI1QxvisRhXiW5PdslK5CEKxGlvHpDFIOfLQg0KQcW7QMGC+jf4dq5FgBKhhcyYANWdQTj
Ekeq0FJPONQfQdJjGQZmVBHLNUGL2AxPKFphzDhNFmlhuEp7j4U4Y+ek/kdR/OF0q3vqDgpmBQsg
nE9FTh1uzkyAabc8LhMrDD7FOOAIUW+YsKNxI8kDargYqQnmDRDPGXxjfeoYn0ka5A7nhsJNBZAw
A3gI6i9TtiyfbDoZpdEkD5cwG5T3CpZPgTmKkLUEeHqqF/lXBq2FqsgdPC7ww8ZLe9KN5pClCK59
zqBayNqieTnNZwU6rTIBG42Nkedn4LO1O7DmsvIBCF5tCGdUDxJDcxj/nGMUaPPSGtf70Q/ClFKC
XzTt3vuc2sBw2rV96tw6qK7aTGlhbhAjAMkPFND2Xp492owQz/5ZA0MpLCexAwH8ME99MxmkFe8g
vRQz5ZgT1sp8IztV/e75PuUmtwsrGQiP9zSnyS+oFv9iPfgQRJtdxIL0bczRjkPnXRf9iThZ+Y8V
DXMpWJi6r2OdqWECtqmsLR06rpbGmW2M5bG0iIDBepsBJ2MbxDQpB0mEsDJBqoRirH66ykEXmUs6
xkj01eEUCacYyXtFg4j9U25lXLmGf7ExsHikJWT0ePN++sx4NY1Ue0c3PGbSELDTapGojvL0gNyt
a/MLf7t7r6F8FORoYkygHsLW0TR0Es7ogz0eNGem2niHxC5MiLDaAcCP3ptTRQzv5ySTc6QekPKM
YOO9kHy5QL6i/LpD3lOp3Aa/fOaLkHuIfGnR/dkEAEfAgtRDlNKh/xAlPjTdccNug/sBc4oEA1LY
Hm44wI5NDa+FRsMVY7iytEEUVKrbjgiPcKkhTmNUHpTI/DHRyuYZtBZpgfjykc0T5mjlorKBrMhh
VRh1AM8ubGLKJmHn4mrDMFHtfVJBGybkc3rBJ481gevHFZK42o8YjdYeEB3tEePafiLaxR8t0FG2
3ELYskgxJg0rWLVmSNmqfsl3mIYxFWTg4Fs7dfeWOYWTt6/vcOKw3IrCxQxB+LhgMUcMEGU94HOA
+zEJRawjXGz4L7IYXpvigx7BD/+oYTPkCdiJXaGTGLyLjNx43auQNG4B8Ewv+5UfQVfThdHBOArq
JmUmdV6SAHeRvNjOajbVeKykXoRiMA8eezzrbVi1imto43S8F1ZJw2+8eC5x0BGYbk9YNMszzk6P
DcNnhq4WrYtYYyc628ycYUstPq0Dv/mJ+x3+IXxU5H6ufH4Qm8O+j2ickg4W/fvQAkJOlBGknZ35
mCaPlZ4sMWLWardD7GqGrP0beEUEiPGu+/oq/A4hGqMtyObmOi795v0lhcum2KowlqhSbGwMmNDD
hVUo96m8imaqPmcvvLg2moHDdg6/8v24FqrlxioSnQjOChX6axpbh5zOWj9X+poKrpvGDVbrruki
7gYONKnAdMkHACwM1j/hKW4orq0FCYhYtSojPzxYm/8nvOJiyPFbx7CeKo4Ku1C4+Wi+9liX0i21
TxJeg6NZmVDaMKNLm2W0DBtE5qm2V7QgNzYagCgvA58424ndgQ7PeKxZ92u2sLjsnJ6UQgXme7Kq
VZKl8vNbXzXDrirnQ3urEAdIZDO2kY9oHSq25sf2QdPXfUHAw2qIv+LX8vPz0tF4+Bqj/bdfiEm6
G1BDI4HV+T3yrj4uEAFb0qOfVo1nfXVnNifb8p79IoqCt+oJaLy5h01Apf5imB35Vb9I1TmPSYpp
I80pmxKU4Sm552Jvi/CeaHlqjrz7VN28Z63yyjZQFNwCqIUEFtFPc/nySqdoLAkCqsqJBqZKTU2d
RxmLp0HukiWkUSwZTkd3AHe5A4JmMFo7w4DBXbx+i7BuMHwtFHXlA6991S3MWdT9R9J5bSmqbWH4
iRhDUNItOSjmeOMwFSAmQAF9+v2t3qP36dNdXYWExVwz/AFiKJs4T7DEdBtskuJJvIH7VdsGGGaT
QGJ6y6CrM71GcTPJoZ1LLgiHU81ZfA5fL30asHRQIGX1mBu9mACTziLYoD7Da+sxPB7gh8oIvvJ7
rQvpAOOrC51eZohX/FzQM6aeivokmCJZFLr1756jcklsFIx5O5SBXORIX2oAk+rFAVFPQ1Sa8XIn
ps5M6mk5366iQjWYTP0cUtwSuRbFbdSx/mSS4CCoCCGdU3/CuiWZRacDyhiwBDaWIwQy0YNm2g9o
4wRzja0qByIDmufIoXhAOQ4/kFMpARhtAcztnBfU6IwcG6CXQ/kOcgc+INt+67A9a3VoYDDH5ruC
Agqoj6ICCZmq8Js2vNIUn3TJ40DHsd4TX7DLtVWaPGclswygBWNYjG2LTKhdrIlp7K5It10jc6ie
2EsUlSLT0tjbwSgkYGlvwHIAmishC6WZ/7Cm0OMuKDc0GhRoFEO+RVvwuor+PPvJKk/pVtkULyCl
KnZFqJBwNQ2E294IK5M30zin2QNRFRjGAEiexTsc7qEoMxgAxFTSC3UAI5Oi8p7RmSgiNO5l//+G
Fh2Ox9fdwzL5irYG380F9jI3xbiTyIPJXeeggvL9eiQ1Nd8A1RofCkZ18LTfNtwYLEQbUBlUNLIt
FNFxeFvRisxmZOXf0kEkmuxN4AbhU6Lt+rWumlX9bA20OJ6iLytR6dPRz+XOkLsu26O8XenD+0rH
O5Gotre00WA0mN3+tU/lQ3+lESE5xxMArM8W/QruVX9kgQzXGLVvn1SRMb1OdariIy6717ezPyh/
3YJ+PSRubiWyKyAV7RSrCOoxVNSn4BNxiMCngqD9jxMhz+7DL8TcvegSZitlYSIwAY7o2M1NZiAg
4gDX0lIF5xblLLQKMK+N1y8qFl8Qa9F3VjMwQmqLpHQpGj2rL1gH+UhhCEAjg3K8/PF+lpydnap0
kJ3eyvgjjVFpaaNQoAkwBi8GBgi3vYNWPNJr0P90RxmviaJAypoXSbm7b4TRwltgF+xf8t1SI5gz
+hCsnZYXh0iFQBFvKG9W65mVL7VeH7FxGtZZxHQ221Rn5tNka31wRZpQ9OLcYHpTCIHwQVcYRAHp
zD/KzWf3pWSe3M7SRvi9My2JH4G6q/506j/RqiPzfh0ZMgkJz9aFN/5Ec/7ndI33JhPFZFdIhT+X
QCprRsB03mF/TtFMoOQNn2E7pEdNf7tl8kzv9uE+F3SgWrjW6GyRHSkj+Apm1P2B2r7eGcJBJQ3y
js7CtCX7h4XPnIDFjODQv3YyHWhWLPUz685ciukf/u2y6CNTq3AmZP04yZCBgxvkjneAoiEqMGRz
XyYdF1fXnJQhM9AIiOIgyUBa6TSujqgo9Igf2xrTgYK55oTucZbUnragK4MUOdO+fARPhHZryaUs
2pDZwW0qS7xbiBtbtxE2ZYkawdAAnIjLjK8zs7i6OaEZjUDaOfDyaUTQEpvQtaUxzCjxcZRWOhUK
TWSS+L+G0vQAMDgBbPxcc1oN7o4y3ISdGBCwkhE9OejAKbh11JyAAuZ8eMn+f97HxQJKSfKOWNJ5
h2bDe3Kd/I8dhKvHH8ihCTYQOqXNZ9ZbQrYiwtD8ZNq9+26LpSjy4XCngmrYrlCyVGA+yuPi2D8P
4BifgD5BZ5YWEIJSrxgDa3mx0jqcsxlPU73YmPvIZ9iVO0HwA5gOJAiDqBScwwuPP7B3827OS8BC
w3sAuce7dYbdd4T5B9Lvh492h0LSbaweB6ubIOfOshM4CfrGD5vcot7xODNInTIVuPsAiTkBJ/7+
UFXCeGCPFTY9r52RJhnwXh74xVgrMzPYL/meuvI0XkcWEIZ09NOYUxg+R4Kk3SOBYgqu2le8apn3
kghwu6BccpEGppf8EPBa/mvofgk7mO+qD8/BQrFEW+G6fch5NCsdKWs6+vTBBAqWpPvKrd7QgDga
s4JYfvzxHiFLDN4HuU5eZJJNsm3eWYYzpPLJb8l9pM7ocF6Bh5b7A2bDWNWhb3+lCmc24H3Y5+OS
tfRzQDWCuOMI2ppRFjknCMIxjcEKQCgTFLZpcp6XQ6Gpsj4AhAE3lXAYBypl3ftwOuz6bUPmYZvj
c96E0ktWAQoTiGNqFOBSHyWSq4BGLGkzXQ3ZVyovRZbUHCMQQ5jVMV8uD1A+tXL162IBbUKMPeR9
u/UcfgdM1lvRk5OAkUKyW0hs8DSQ2V6BDPM5vNQLMHdPhP76FgpEAhWfo5nlodk9iEh791/30cWg
j2mqG2Bw5PMTVDJinnrYDrwSzrHkdW+/kofUIo8NlMWQ0kDcY2joTMHxXm3gL1CkAm+L+yQT0zev
BX8jxTAsvkwCgA3qHiL8RV11iYkmBuARJnuAnI7CQxWFJvHKAMYacNJb6Ti4MIZGv5HsHxEe+pEt
IXL3XV436vEr9KY+eIv8E3ksGHwXRBx6Gy5b9pON9EuPSzRI28+Y9xPXyXtvs5cC0su74v3MBZgt
GociIyJdJP8fgOzxSiQ6/hXoJFMv5/5xEOnKwOFBkkQzv/BvaMNotIVs+YdJl/DhpFlOg5KZmvbG
mMvCigIBzdvpxX74T78FfOdRx7USECXngiIcpfu/kyX15GSLwsfZzIR8SHYmIE73C1kI2xoANSFO
3ftGvTbkpz9FTNWfA2/JUVa7jc2fw9b05nzIOxUPQGfdui3jVdleNIOgeomtgoz6/Y4zNTSQemye
/wBMgBa0UfcMGf0LzZ0P4jViyMGQzufnAKnyZ9oRopeKkfmYrZZckNzxxQ3gX3LvxW3FzzhFF8Ym
ESZNLv8/BfBgP4d0km9gvxKCJ/yr8Q8tRv6eBYBp+AqNTNJWWTiCOvQ1eGzy0fz3eXxOt+b2c1CA
bxwXcKtO6gpBUbK5HfzBzL2yFRk4F8fTbr8+LvYk/2yRIM5oPbeB9K8aoMPMs+R+w2/leNwtMEZ0
5ClCSNpbAwyqQ4M2ewVXsm3TKwpHPkL+bYNvBkwrYaw1b1CEbsMnKfecdg1HkVr21Sy6vgLuNUhM
PpCGLk+Xm863ia42g4iXp6QhOFxwv0CjSBtAjNIPB2SKdAP+MTSqeXI92syarfy7Q/TMpWYCeIST
+v87uYtMZ2nfc0dF7VH5fYSs2SZhDpN+kNFQ/THSFoA2gUjlsfFxYICVFtMbcRmDNATyhaTEmIf8
GJMkQFZuGa3wZoL7OHIwfg7QLtprADxE7iIu5qaNla+fa2v6JxcgIfSwswi/ByEfOAajxcXiedVf
gizmMBU+70SZHaDmatw/tuo8n1KKyEeui9RI6I+q9brANphk6vEKepzykd84dQAz1ZynS1lEXxxf
WY7BHokvAhUWB3/Pw0JLXt9V0Y0opshI5n2n7MfgYFDyAUDlUcPgNUZcTYeECcQTwSX37wsyT/A3
OXLdCCUqwHJmfA+pWs5CxByWTBTFRYSAxgjlYaf0XXJTWO9UrUK9Cv/rOfWAHiBzuSkiYDtkcqIH
mwjXFeyHBuidYx1BTvRY1Rtpdfv7bAu/NYlPyM4kRE+ISCUoUpA8LwIHtHQySDZcYQyBmwQ5coUO
wMSEo8UEjoTxMe7OQB+v4Kic1Bskj1Fv/ZV5xxzwZKTlKuPuJEMm1By/Ft8Dahi09uCkhrCaAvSx
IIiXQCydMg94nAS/G0483FYz5rXiTmX0tKSF6eH+jHANXCKmCpYe8NloUCrLp70bqE6ez+klgr65
XE+gQslukVa6CfXSCvHCMpLAsVF47tB3QyezHzdjmPBmrMozhFIyUsDubX98ash6p9BhBdOh0QUa
1YhGAIWPe0tOE2FyFD0zBtYOlabulTcflU4fltEHJMYN9i46nz33/g1TKJU7sltJwLsNA12uZlzt
w2vuy0Ng+LmrI5rk/RawjsAU4YdKTQa2jdGS/TViNU2+ZFDnQtk9Z834ZQafZtic33ICIvSR4w6D
tcFMzhLt64t1WYgogzNRTeraaVBQXGRo6T78GXT/NoyuExrWW8B2W0wTeysNzU+AITjdQ6P8Q9za
qVE5R6ppPzEEhMVLY3HPMu5BZO5Hn9X1TDBC0gCSoscZdmdQz/UMARn9lCOuEX1+IKtMoM+1/zve
lyDnEeDsjgx9fkiYISPo61jfeDQ4GFbDSe+vZYeuCpJp85dHZINbC3IZvUckgMP7y5MRkP7417EJ
MgxVB6fcEQcGFwBm6lC51CPgCvyMDKgTfxXNZRrhyZIoKwrgfQCwvWrb48BefWGvgl6DOdRz90Ex
wEFVHomZgAU9paG5MP5uiPOR7o0ANyLWy7IGPSGEAsFZttj94BCOPh0fRLiqhQoWtVEaDpiLOZ+L
vqZqQ8kA3T9Eb2BkZyTgk+LpFjNl9RXrG9VWxq4BLT8yqYgDLAl4dL3FzhYw9gUQQyA4QqVIw+YT
/2Kmx6wvOifko0e+H9VEXMEFTJtATzE3eDLB4LEU6CvSPoFm4BERVO/dn/wcqHMI40goo9Bb4XxJ
GiZlJboDYPiFIaNIk3FsR3qjnN228KAqzKQ4G//mVKFI5kEDhb3D24S0wTj7rTh3w6kWAJDpcRts
dlaRaP4PSSfqZKdN2MF7AUu3CGjg34BmQ7gUfRHUiAGBqQKGNhhj8WAjXQpvZa2F6ZRaF+kAF0PG
gDdMgP0ikKS/4A1X/985U8DyxLgFzZoQD0U9SEHpd0AiifwCn0iowylbPG4GlcTwe06s+45+QsYA
q4AYxQNK655DfQnimT6ccOAkq0EWllkwrdwjBwIRwdyCwz3NIcegxwT0fAZejFlAu1LBejAIxFaI
bUdHm3Eora+Fd+s8CcOZ+Z3YXNmeIBoioa393ZHFhWBJiQmQQo+4Mp/tk7SYdtrbHnS2xCgeOodY
tapXhWwUV89AAkcU+DjRANXY98LeilkHMSN/e/vVVaNocxFn5JqI9dsctM2a/IlkMoOhasvHPYhJ
wxq43ELjkDFHoHdWwJ22gemP2DzNIyvui6nnEyUToHCslilXaoTgL4IFAGqiI18OBKA+j0pbvCc3
T7iUgL33eNuZBOdo3DJZ5gUmCRuHGD/4d+6j3VmAtjv+h0hFmFoz8RfEWa2Q5hqn9rOQMvc/S4Z/
0Xv8GpOoupTKrmhMM69B0jvDbQH5AmsiYX+F0rAFZAwx1NymQrHuIZHNWh8Ma7m8Wsn2gqSNTWrJ
qFWzEFg/XSZ3ezKhLONaKEkB7hHDTA6n22uAGDZ9qZAs3aa3Z60n62RbuWuECwuUndAUSHYSIsug
YKxmyF0l6tJxZXtTePNN6B89dyTxihyPuTU7jmKUyUI0qD3F/yI1BPgV4tI97ltnFG5s+GeW5KRO
5rbBsu9W/t1BiJxpG2KfaMM5ZfARJhH2FZ1+3GwYL+0jVLK9dzgQuNHnrt7tJfdzuP083jFkKQco
uP91b7d9uNWiQqEYM+s3zDaAHS7lz51nKWIO7zavBIs7JwywUMvOKkfdUbkm8j4edBESfZk2ot1C
r7+4ZOpIxt0Fr0yOYPcNWt0B/We5N1P/ZdCjnx4ZdI1dUjYCHWkKQqgtTjO/NTVLhsYPIwhym4Uo
Tpg+x0QiGo79FxODIPebY3nZb+kSmW5Kknuh3dwd8+UHhvSFpJu8jpfiMX5hHzB/+uFz9wQ07LCL
99MhmjZIvXcu48V/2TNAZ3C23fweXHE2WcPf+Iz2HbY9yICBn/EqdslIXlA6qcPnbrCsIdNxvoTL
p2WoHhsTW0uNFp2tA9dhHmJ3G22J2140QEvxw1gl9VGq2jOKDYXoEZ1ApokxDCfiN2GSLIhEEp8B
hs5noYAPf5CxzgQphj37hMmKXRHNki6mSXP7OdoE/Ov7SSyzASvvqDiDPBCtWXg0KNbM3iFK0EPe
CMyHbQhmnoQ/ZB2S4Tp1mNpc7euo66IZSB3wLl0GOT9WWd9DTpPTgEmAADLkBN5cXsXoOpYSKq6G
6o4sekBdFQEac5xmCHMx7scVFDSB7afhxhg/qIJbjCOr1/eR549q1Dt/kYqT1OCcjvQZV0EspTya
C3Vyq8OKPAcSDMbWdwtM4kvk2FPw8cGD1Lic3gMmqhMwlSG/J1icbfNpNqeU9ySCNKOFAr1/VJlR
TqfqGqOd4RNPRveomJYIh+cBnBCcaW5jbADI5RDxBpldj6o5/J5YOn78Fqh0E/Y9XhNfoLHZd1xA
VSjmqXF50UK0wuKBwxWglSL74Ds+nnDUA9XvXlc03shv8TnSJqg92EydEc81sDS7+8S3kQg+OdZA
PFHiDFI+Psz52MCfXprRJA8zr+Lv2BSEpxynA3wBgVJroTbRMSxnW0MtJLUAVyO5W/FtxRKQcywO
1QQGVn/CFIhzCSSXE3AGwBsA6hC1DMfAYfCFQ5QJTBL07H4IwroKRLCrvXSp8Am5308ewQ/ZmSIs
wn5kPdbinN76lMpGYPQRMQQUDU31NnoyXmKXvEPY8iHZUOEzJTU9ajHFGDIukdBEIKG7Hx9jUb6q
DpZ1xIa7C82TjVPoAMWUZtRBKcwvIjwZBnGYedxjpNIHN4a8maQPZd8bmC5lCLME3uMeKRT9Oh3Z
CuF81FmnC8Asez8hOXdAgsxogrk/azHLox8EQPFrgWS33yNR//cHhKCfoydpG3vEIrcWHqBkxs30
dBF6Yt+ulzkRAagpj/Id0+1m2nXf0c9gTke7oHAKGAXJCc0+IEa2MelBeZAb0TqgWYL804Wh34sY
PUDOT/r8aWBMaH6lQYu51KgnkbPY/dnrtjHgaMyuqp/JQiC74IUCgEaFTh8NVPozMD8eLw4IhnxK
HKAt8ZgzJyPa8l7eyRrJQEpxu+QjCYRoUbCRrMEdBMQJSvg3FTDLUXLKUoR7VAvjBgsHbspzRiLK
vyHgBVZg8cOeY74fAPtwSAVES4fKFbiaRo+SRtwQlSv/Nf5M4akx0iL/vOOoJsCc8uI9IRfQY9YT
lLXsRPYDG5N6RQbcLrtw2Golrp4hvQGGbroJyNUBBdaCERS/hB8qC4f0M0di/c6GTMNVLH9ejAAI
OW97jiiizk7budfZ9wn1tsURxdXahYGG09fpivcyH5rFX/17+bKO/R2yOk+HFnjly+7bju6OckwX
vwZXSJXB4qje/VOuDozJIGTNa0cJ/Hy2BBClLdS+L63o1xpDMKS4V6KEg3fO9rpqhQINEfd57naP
3XNrACWPFKvzn9vWkZboS2OVsQbZ8/u66Iv61YmZPjEfmJ838Bn/y9SJ8R0oOQpfSBZEH0Yzqc/E
7q16KTDANHytClCK8m1eDlG4G/XGH6+PNSkMBPRDxyIU7Slq7olphZO3m060zePALKjphbTfG6h+
UEtvdF+8vOE+xArqSHSBGxvllheja6idyCyjX+3phwcTqKWEVqaAQJAeCJDO3tMEKdmqpummHvcv
v4tx3K+fcxQDx6/oIYA5Xpe8UCfGSmuqsb7mz/k1YiHbkv9Kfm6UO0A4HOTSLNSzPCV+jfA4ipW4
mOenXvwYtTG8MKtFBXYlM+Ee9+L2KJ2brUGF/pjSg2/X5fqqiubwzVcSOrShRsE0x8q+838rxbpF
9HvbOH4sQEQFdIAsJuAuf7gtkQ8P8q3Os7MkH90jCxCXh/PV/D7m1Ef8jTxI/NIa5JnEH5a0/a23
jUQTc7kDid2/L/J18ZUDBuZo2yzJofgL4xUn2luHf/808JgLNthDsrY6/klsoBX/pnlJg89CUDO3
Gd17BECQUo+pan/mQPwp5sfV7MCkNjRZzoAEEx6Jqvjl+UN1jRzv9Hu3QSxj5RB2fJ9Ue4xzaMbQ
lRfSXIzhB3dbjyrwiqR4BZxq/t/7xLfl0/RyBm/rGicJRvJdnCH+dnUvX16ErziGDuI24PEbLD+W
LEBAno/mYUbaICgVcc6T55mXJmQkvhHynY1voLYAZRkDkyV/xTUJBDxwXKtKfvS7EGAhdQDYq0dS
JNV/32z1TJ4HkBMK/FATPbAioLS9BwzxCC3GD2HMD/ozJyEeyLTgLLEZocXrIu5GR4QA0r2DavsT
g13KRtGAOJBD4RI1bGeK3ULBTZBMMc7kURrlFdYu55qY8EMF1PreXGin8uKG8Cvc6OWnC+h+gRwq
HI1Mf0fmQhcdITnqccQsIgiKTC1/PjUwWFPOUI479vESyD+IhPlXdpkkLPD95l0AYgB9H3sJMcTf
G25vRL9O5oDTK2w2WUMMSiGJaOLXWJo9jlCimUqOe8CoPYPrh1vYd4w2d/Yv/KulOerpNZRqvjD4
cKHwrrbp7IZa5RM9HgpzKLPO6TNsptKUaR3709GEr00KqUTd5iXEjG2GtgCyjNfkjnUT0nyUpCn+
jL52wA60ZVxOn3z2DZ484fgWDlCP7A8RqhuwnNFDRvzSCGF+/4Tojn56Kj7gNKY+uL6N30y9Zwqi
YjAarXefQToCpCiYIr3cICYF6AWdk7+iCIGpNhtAZ4AIKrQnXP7+9vhWbddrgFs4iPu+/ekd+jws
FD7R4qA32C6YZhV/JuJFfJ6DGGgeKAe6jzv4dynFWxsouqul54+5ykfvNYJBlFQZlpjvV5RaF5G2
XHiuHvxSazHa0IoInA39GM+0NpvVNHWgNVJizetjvWaGIlPdXgg4WxW3n7W00PuAHWxl9koDxlQN
yhutdbvkjLo7W4HQxDOJK+yXNB9y0+WdfOePaef3V/1lzkIhTjT4INFdRmV7hV6zRdibmpF+KOfp
2ETKh/FIKHtP+huLL/6aAbMk+vfrvgEeC+Lyfdbf7Kfw1tE6mUN+fs5oRzFsMF2xmy/znz+gsc0w
GmAWZrXHGwkpUxH2K+WixpQ8cJx/4DEyD+4bBh9hGtF657dxwVxjL9A60CYMmAgkKRjNcYlCpMy+
I/6DOILVSy/ZnF6Yp01EivQLuOVPvrSfgLviW0m9JRl9Me//oQ10dOGkIn6hhwCbm1EFBGyqNBIc
4Efw7DPkPi9M5kHWgi76re9flNrxfMFXk6/iyc0uzpMSlik8Cg+VS2gD5FQ1LCDlOnmDaEdZYNZg
cQ6yHWV3DgLp27jG4Jk4RlihnsApYacF8ZhafVkBh+PtCaQkX8LIwIzCp4GZgLB9vp0bQEFKUQQg
Fsq5nyig/IR6HNnCvwx3EMqzhvrKB5/bm/S2SCTDO54JJuI7uv41EfS2nexjYj/ae7js0B8PUPtK
VJ46d4dU0FFHVC8k4koovE0XpZMOe6F0gGikOfKMoSe4OJRdMDmmNRsUiO0Nfz4IltIRjilFqE6J
gwg22d0UiR+ycQaoHpDnNKS5JCTqO3EStEUDc6kg2j3/jssTR/Ck1Vf365O8U+YQhfoYMZPTL8BS
d1M56YXoRtonGMj3TS+ECkWy9J20EwYxuiAuqS6oc1dls8EZteUfIB/LJPiMVDY0J3yKUx+IMJKk
r1gJXy6GoUFvbMyRheZOqFhnQF3hP3HKnEvtGcPeHKSz20VN9I4ghknLAZ8JDY0j9aflBmYxoPU3
F5MPUZVywNto46GPipwNSPq65mCaY9pUJXie57YCGyofavOc7UccZjBWR8WwQ/VOG4M+/0WDsXK6
Jj0GmRHSj3Mk9KYFHLlh31f9PPx614SAHN5mr0SKnpOnYwSDWLV7DqxJdqk6RMgxwsAjZDN/2fO/
wpqukORBoLl0B34W1ogL3VeNY0JwlU9vZwOdmYBILrNlfsEEgf2XnKYhj+sRhlsI3GPIINKcAFmu
3sjoobCLoBO4aRNXSYaGq4KVYD9CrDfFEer4ikIvyAIGxT4E+Uh0dZjJ+o+hMc0WcGkYnygR+A3c
BXr+b3J+2FFi+oY1OdGutU999O1e1jIj6UFEwZUmuadvzdCwzaGMAfDTzVeKP8ChQZ3jshm2tjzW
duIKShfNBH/gB/C2/7k0FAkCsBuI4HTkKT3GGNFFL/4NShx/H+DjsHIAQpEmlOGBWLrc1g7yKkDT
Kf/tLN5by+jvzNgxQrrRZZA829u4qLn3uHRh2tg0DPz67xZWQ7TMvFu4IU0BdcCOgMQ0SCybS5uT
Y4E9BmhL3UCDN1t0Qp1s+tvosqOOm406ZliAGR9MGsSY2Mh6FoI19hyfTLz1VESPP3Eb8zs2ivm4
jVvs83S+qtN5dvpI0saaW6Cwbe1Hnbefvoe7vqdF5QEkhtVzuIDWWt2G5/Nf4fEnyIhD0UMTMR0j
gKC1zjEUektDYJoFMgU2InSmh/kBaLhQjAMe6vZsLQJfgjIsfZVdga5Zf6P5mNRzu9GbwoYOgRnL
mOmTcl2v63jvPmwKEvsvznNz1RMaXdIIIBI97iHIygg9wq+HjeIqS5STuN2+Pr0CkONFUuFFvQlC
rVcO6dzuwNjwQr1dACRwBHhlWHJe6z3x1pYgKefhx9uT2n02gLd5g2rq+pI1SnOictMQOBTxhGqf
fZQG6dNPp8z2iHC9sezztlVuu+HFJhbha8HfOI1V6yGn+XbRvtwVYW+DzjQn+j31CWdgbSYldNuD
5KvRLWkdzj3qAEngwEwmCIgIwgNV0e0PSTr6EN8JQRIKJ5Csmk7lT1AqIPM99ohLCbadFkou7SfR
LVGTbP2KjSFt1S0wYRdZU9C8nGqgnIULsbKt4v0QLl8sz2p8bE3aHgQU98VViuUqGq7CkfCXHIXb
N/Gc/XRxSf39vAgR9Tw05KhRSz0q1CHC7g+epD5l1monB8PLt+WpC/kONjD78grAXZ8gvaKxcRHm
1tcjhJTHGoIlkz+T4bH9jt8BqDSaD+xRBa5fd79b7yfSrBipugUlgQQanxi2I6wLw5qnw9zGeliH
bRfp05JVIEdfT6UyJCHlf7VDETh9Mr4lqPDoWSroKLgaCM0aBoAgdjxWr5WyUSgDjZOG/7Uz8L6c
fj38DF+JhvOkTfVbOLkzB+FI67e3eK8h/aH6rfHBhnjFaaKMywnMF1wpyY+4T0IEhRqasCMhgRS2
mgAnNUIiq7AIHH1PIiXpQvL8x/l7eCaKfVu07sP0S3TJYZWJxjFUuiIBTvRQnIwJHT44bn0gNSed
oYtvMRJmzgM5xl6MxqN4+kfEQd784UvOvBf8CXuqmJDR0UVkKkiEFJH5qkC3cu/o0fr6mA3fGgvi
FkqkKNPlGB5QBbMsXgty9GS/7FuqtdsxpK4uWSQMPlIqpb3bn4BUTAy3H1I83cl4FlA4SWLv1uLq
jB1vFJNsuLfLzeeZOiaKnRahBuycbyK4sSbk0sWFUTQzEgG7g1HxL7bTVHdSm8jRD4N7jHXzW9T8
yQebE7yOEQxHvQXb+fqAMA92haJnz62UPYBw1i1ExokJ3XhBa4rXnS0W+G86PBlzyky7N8+HE3O3
K62dSdbMrhGuL6HleB9+9jpED3mHSUCoQligYzMkn58KDGnl0F4e9ezdkfnGOIVlmUcp1nm5NR6N
dGvlXdHAZrqJq+mitLxRYIamMCa9W5sdU0cPxG6AgpI1/aNMiUVBULqF9fe3BLbM6GP78aL/y+/c
uY+L+Z/p0OwYaiMQx+gzcfWdB/vB/s4AYjGdIME/gNLFvUk8OXEHzszhHYwjZxVNAwJztGmcneNZ
kwcOtro9aTEyxw+D7tw+RAymY6M46m4V6zT1RT81HZm2EqroB5OiMSZkS0PNbpv7ypne2i+p2FtY
6rdYGzYRCRjGifuAVPFKFUH+oSawIsL08opxR08eMU0uYiKGXOLwse4OwruNEYcDcMFlnhWe+ESf
l8IXk6G7TSuWM0QakYWHaHPio6y1fB33C2hnnK22rY5w5FA6eaxNjgWvDOjzv19op9SUdy8fKvKv
GNVwx3HLgC/C/QO8dzSYaYBWtgdC0aIK6AtSBemCra1MjEW/sgmbBYpbLPAEXtqLEGQsBiGXhNl7
oldxOkr97FjRNXsgBAuMDK6mUGOp4f3IXkZku/o5ZT2J3ox/ucku91ZNBqH4VQV4z6AM83i5LS22
BxfcmxgiMPdUe4DJH7dZGDsj3aInHDT3tfC9xsbZukweln+6aMh98E2zd8w16JW4prYJrqC6OGFi
o7s/56P9+U7eni712f8NbYOmswifg0l6QSIsNsIqhqI3yZcmIxmUMJH/4IOUfyOQI8xDKIHveH8u
RoRVxEiWOhIdesIBAEEiW4jkhs3th9yNzK0QsNE5H/qcjElEI57j9GeDCU+PrFu4s6JQTJ5ID4YN
GmRzAm52jvgQvWICDFEKfDZ/NiYaN9IToQv3BGobYdmyp2CnRBUlFTPFPfM/0eCXCF604blaMr6J
ceYT+S8fSYxpAIDap4flVtaycN4+InvifQJa76Q+NQuPgFsaPNbK9kY3QlwCl2giI4mTNxdiODxU
6I+0Qmjn8S9werhD+3M9EK39GXfHQMXWquJ3nC+bGKwdzQ0aXRxS3JM17fICr+kBGBtmcZRQFIpr
KZFcPlVzmKKEA9ylL3rCaAGIG16lA1grPGOqTahmDCQYVASvI08qY8YQc5BqzdBg9IOlBHj9omfM
X6BTChxHvpRmDETd9MKrdgRHe/znSsajHdHUNGf5hWkIhGEGTHN+HsRftU6JPZSrJLHooDVhxSpb
GhNO62HzQUKsSMO3QZCG+DaKSoRCsGOOuRclmhhf0SKR4+J6KqXL9zkEpd6T41aaacRg5XBvtno+
voPBLkaMC6VuWHERNBCPBkGTZmMz+hnZ9HabXulgZudvn4FST7r86rh7go7vIlWD2biC9X7rHZvv
EH7So86Y0i9b+BE5oszqAIqMpk5a6Y91wlAJxRpGPsxr3HwEjWYgXXJMagWi8mLwAs6bWEzRfgH9
fJCT6Q47P1S1ZxCvZfcJGIKKn26XD9XHMFclaIsRwz1h7swTwd8U+M8jpADfb4Hxg6w0pumuyb10
un8OH14+xW52wHDTBzryjTIqpYvQ3QLKUNKRJ+YT4gRkClL3F6hbaYGiyqfATZjbMEehXjNgflu/
GIwgE1FY1ikqtXeh64UwXa0mYDeZ9ONX94t/zCz06CfwDHwmAM8Bn+hhUu0AimQ1pMAtLThFQjYz
YFxCz6F6x/QU+FjY2aWQS9GueNmChMfYdL/Kd00MVBTS1HsgrpEL52cYICsunYHrmCe2n6j9oItB
jcKwYvSe4gSXRkypuO0X5i/wp+jGgR4OjFBpXHKxytwSox/kh2Ky4tJUYO3oya9kzrYPZXXXrKt1
xkcyB4IMr0hWiindIESa6vpiLo19qfhcRjo35o0ssE6L6GDw2b3nEGt2mi5PyloRIOhq0OmA8MWJ
8IOIUKYWMCbd8O40zXL0/5o/Zt/G1UGG4QWaQlCytC3DXK4SrKI6YnZOwwUcsaB4MZaCNqbRqKS9
1Q/4Ga5WgSZInkOuiVmE7NEX0SbpddLiKyEkLPAT++C+2bh9mQEozUTedV49GhggQJaNFpFuP0fM
oT4Y3JwZxW6pzanUrzTgEIHKPHLrFnj6qXdWzpC4kTV5fINUCNSvs4f/oc2pU6nc6E/X/WpaVKgl
PYpTR8XVLYCB1Ezm5KC/ri+8qF0155OMrdoNieo89EsTcz7dkGuSIG3QMELOm6/MmKsai9szIAgw
aFWJfdxz2ljmPkbfkZeZp9Fe0RhNuJmy4RH6AeZceIjZmLhF+HivcZqFfscUFfAmO/CZYPGli/Ni
pZoJx7oa0wGzJPiAe+DecMXEFkUOz8NML0hCJd36+gwUKdiHGpXnlSWlfib7K7RlVgWLjqXB0uw/
CfnEnEEzEs+YJOvCUxSQhEC8nMqBRQR5rFgiggfpnL/xcsC447kq0AXjxyfho4HKscz25PiB+Gl6
1SOcjlEXmfHOds+ge0V8C8sYmDVLiKOUS9JpO8e2O41u/SUh6Y66h4IRPK095ogd+C2Mry+QDUtG
hVD/aLe5NZgZ9KChpckxZ6AeC9CpwjNzKKO+W6Qh7plfY4ia0Q0uyQXCDC9qH+ADtqPFlMhUL8Vv
/BDYX1QtDRfR2xTBwCn0wQ/NRW2kHn8vrOkZ+PL/IHORj7089OhFo5PZcDEV40VmT0g+idZkOyIi
fKCi0CNdAnPOi/idb5ls8gG07okpoLbVG1ptQKXzLOJf+gGXwkUK3TUokRFYY+axOLCQ8HnFa8iJ
0J6cm5imTgmkQuBGXAVqb4wft5yXoghZyz1Pn2ctBtijbI68Ji8ZPVRdxK8jiFr2TkC1EoIMX7+9
QMEahABYayFnCqeRtwi0Sgm0BCGUDyPM1G0RpDui+mQiBUfCmIrLvFNzUybYABHJJH8sd2DuKCPI
bp/2H0AzYn4oB/A9gW9D3izcqx4RXpEHJDfMvU71ld7mSpeHK5wTF8ArZBHXx4SWmMmEvOyYbmWR
WseEMplK2q/+TcVvaxABT+dSxdo5W5tP8D3GgVFLNabhjkHsETnEC21Rlu8FryWx9UBYrY40WH9H
1heL19iyk9xov4NTy4g+3Tq/IKyBLTyBDWNOYh/3H5A5a3IMYO1YKkhYstqKKRtFw9gQjDsF2JSA
xYPO9B0+fjQEiwk4cOzN9ahTx4yXf40HbD2dgiDhgd4vPLJ+wChLQMzB07LFfJQ4e2yYxwDM/nSL
3/FbQPSHSbPmg/UoA9A8J/FBqeGD2zvrRg+YiHOadKmLqalHvFFsEHScEYS0qmHlofaNZCaojwvo
+V+LGjWAAz4QsAoPctnD1ZiHzCWYU7QBgfWlITh1cABfOCpjgRJX15IMGYZ1zDDIAXicZv+RdF7N
qaNZFP1FqlJE0isokJMBG7+oDMbKCWX9+l66XTXV03PHvjagL5xz9l57+cZc9M1PnsX7TtvXE2jK
7jF0vLRHj58ltpAIoEfiecelAFSQR00CuQFgNd0l6WlGMQJSwXSY7ye8Jvz4XTyzsBSh838F0T1A
NMw3g33l2B1Onv/BtD35GCFH8nbhWCqc5oWAMdSPTNlhzbE9TN9aa7zfnux4XB2MdfBEgU7GPSbR
BxoqNKXAVqax1o5Hg92lZBugQObf/yk6MBdPM5gd8hROv8KpGcMckpvq8DZP9/R472v7/sH1xM/T
D3nW3qOfcdbuTEU6kKOhtNU+7z6b93uFEqm8SV9E6l57xlHvVT4eMrzsas4ldZURUzGqtlC7kP7H
orKQdgJMIBZKkq3sWJRWydELo5pHEU2svFd3EmUWnyEOmqd8akFPEqtHtl1oC5LDv2DCKYnqIRsB
2goDsKQiLG7J/+645B2bWyYdB6bKnSVhcr1B6C91DmEGmAfqLAQlDloA2hf0PLgFuMjvuUtcGWNE
VAzKh5pvu+5Sw54RJkhmHR04m9jT+HOurYLhsCBRpNDTJK3XYavxERF1F/YPljf/ZPlLi0JmRsno
DUrl0dS+E+XH89cZx1POhk4akwwVJcF0w4NadgxzmLTk/kczrCV48zqM27S/y5WMZaNpJcBI8LNQ
kmqFRxM7N9OlUNV2I+LwSkGZSR2d6X6dZrntR8E+MD7GTF7m78r21u34UZEU1MjxZUCJUpunMUWx
F0MarvjaSKYoVlK6tirIZQPujAdOpzUAEslM+QpxvNZw89V42AhaieqD+lL6CgZCPaVRYqDdEAai
8KwnxyQtY9oq0ToZ+71XwQvRQ6sr/zqCod/sHqNIR9pPl17HA5IgMR6QxEit23UjgFR5l1chFuK2
P/djxxvfs6iHfD0DrVaXuvsGEKzq0FH7n3xXQU7oZoNdyJmjJNFXgdlUomMvqxWYjdZSio+QetpX
UBL+hjTVAH+JYQCF6HPAyz2IGH745d5VuRi84EPHSJUJVw2CbtfbfjAszV4iF2lZhsJaocncKssU
r930PdAHSgHJ5aRzoieh1tVN1Gk9jvsQULYR7bP40pClVEpfoqyvNTxuCuTFvNxGgc9sm1ZF3y1S
1INRUK9CX1j7I0yVbrwKJhdYI6x/Baa3b264M9iknlcsG41n36AxlklbQcdazUDc8NO1wCS2RSeW
YDoQ/JWM96+RxPWbKAW5XjfCD/qECmIvvh4ZiEffHotmK3u4DGEdahjA4wqlgHwdOmRAYKrlQlhG
Wrp+vxnu6gSsvA8z4iLzgpZj733J77sel9uUO1AsPuSI3ncITYRWcBmf9DhdFM1Oa0hWxJpIco73
A/XSiyAgn6tCdIo6tKLxOqrxT6hL+0jjihk1wbcvZhepaRBKfahtb4kbE/e84gaca5IMo6Vfd+pn
WBlIa3gxIXxyZuMpQHLOPE0FEzKc1AptTn/jE/QlgoVKcZEcjboBpQTvW5f+hEpY+XrBCuQ1YgwV
blWffnkz9Mbej6KwCv2VQAWoaLg0cHKwXwUcGeFwJnvHb84CYgpWbjsSltiW3OLEDaKvpuZTgs8Z
E8k6mqu30i57Vfx4E+c1CxAczeg+k5HZZsS2sYR1LN/vkc6ORntF4opiiPt4ChBtVkLlzxXBYE1a
UtltYlrPvUgd7mrNOjQIvKk1CAD1AukWvSGTuOGSw5Pd7a1udAoFI3Xwonf1qfltuTW8w6eOshAr
bsQYqFikHJJ/cfE0od2oKlUxYPe3zsWHAxbLJRUDTCQ/wo3CRNwHcIq7bIZ3KyjWY08Ujmfmc1P1
UEqM8VmTQrIW5WUpMVFF1qr5yUMUjadRRlCMA+Uz7jhw8q0x4gANheU7KlyzcoRgttWjfdB+S8k6
a7ZG/V5H7xsb7lRiCH1g9/VFoo7q4r0HdJsggoLqWWbM6esImQi5M8TtSLmNtRNMkwiPpXwqS1wV
Rg8LY2/i/rqg5jDJfvQtLn8ciQ1X4EXnO5D2c0ycf/HnKEwBkDiYBX0b4akoXcCpphWrUxJ4gMW+
qvdZsGSBVthNPGDL+7peEXQhKDbjQSSjcB+GBYnTosE4EWhP10yBivwvkoz4p0k/EVgzPajWLVH1
tW5S23V54bDj+xRp7kvKHLZMQ4GpcI2SC2oTeGc6t0ruMVn4Me2MoVR+dBE0MOaPcdB+qCFd92oc
VqlI4o7ENmm2ZBGoowD0V9Q5yJJK36RFsW7f9M3b75b1P22w61FlIk7rZyw1iFSgJTnlD523F5U1
CY04Qw2spDCPeOTf4pElxh4YE3QasdAmdVO4lhKWE4QYn3hjgvbWhQSEwxZrq1P3g8fdv7BkqF2F
g3wAu2gIUVzJjiWReAXOksCutuP7oUdfHkNQdug3btgBPAVdS6PezXIoelQalbAcIiapsMVpVfJO
1M1x/Bc5a+U6lwqSu0Q0a8ChpKvmb0NizEz9m98m4jpwpQzrRJiFyFYCInlOis6zSn7c5AbFd7MX
aJEhl2tLENUMpjHjei3rt9Adg1X11iaYC0JPpFRRMW4L+IsF/agyQv7CE84++n7769EjdxZlb20s
GgwUsrJG9pcW4mY2tchIqpuxayuBsppFX2Kx70XiWrCalJwXKX3cBGO0JtGpIXNV+qiIbehFDJ6Q
tLDAyDnV/uzB66kN3POReCqMvVrS1hPik9pizvNCK0hSW43STzP4U2ZoWnt+C5TNwo6vVdr8mc6w
/+b7hKpoVlFYvoIphQnpxMhzRCojRgWF6oh5O77B6YuFNl009U6t16Oxp8kmFxOl3NZFDRPzp5K4
KTwNdqlUwjcl7KA6luXb0TPi5XjndDKGeXjVludMwsqdtcc07rE+UeJwJPoh+JiR+gwOCqMHWMWl
Li5FjWksqAIBrQ5nMb+5NOmSQtxluPMNCJlB8tXIlDEh9xdpFyh7PaRXP+yLLlpKJAMZ1wR02AiG
RurxcHCVSHtjK9E35LEvuzeRcNWVO0LQbQaM6BoA2shg6JNdynhnJvpJiQO6+crbQcfvJUzLA9EN
WbN8ZmZ6MGas6iR9yjN5Z5qn2AP/y1+jk7KllOFO5i7qm9mxmfWfBrtrLOnMIHi2QNbDZ+/ODXdB
hW8IDeGomkJpyTlO9TZZlV6/kd4feHuLGc7tGQwpb+zmoyEdR92kxQChuqUb1RGYLKEWkK4TOoIg
8kqF6DOjAGvUbYmGSJbgUQ4zVAMyykATrEcfkd2FEyNh/8qY1Unmdymck1Lh60LixyDBDcFWrzD4
YM/yMJqn+pS6fvDqi94xgMzWCRjisLikXuz6BmPW6lShSKslY1O33OHiBNJOAemCXlXl9jDOWlB3
PifwENreZ+pwNcRtnCzlahehGueG0MmYYr2VQj091hzKOQCuHO+bKVti/jsWPI09/B1/o/2WE3AV
mE7QnWqQGoaGkzPc1CVPIzGFYsansIrjwOrS3zBaDj35zG8TclDolqR8acYq42HW6BzhokWNTQcQ
WZzX0QIAeieMjVW+a/hEbk2XNTRYvupH8v5UefpN6UNgZEBAQKt++AaAKfYQT3yi5Uyqmq4UPpM8
unFQ1uLCUG7y+GoD7mvBui9/a7HdJKTN+XXBG/wbncwG2AOTeKn80hmtdyHhxKhK9G2Y/NSyYHfN
OjA/K+NNt/k0dlPC6cQFhbWvnjhOWw4FLJTcYKOYpu7E/keD1IJdiFToxRyrb4llr2qfYQitIdVE
etSJ+25ljnOiJHtG10N9SdLqrtOh6DQ2Wnk95kSXK9GS/3bM3OmwRJdHjQ5mINxK89SL41dHxKGc
kZ7JrRJXd2UWm3E03F5eD17m+ox7/ZxEYYOiVUm5fPqIyUFW0PTgytQbXBRwkfbxWmbjbMJ2ranp
ypg9IpMEI8g4icgr9w9eWFpDki36/stEL6TIu9mIm4XozvGqqMpiBJtRmvdMmzo2dNuin/ZPlYkg
VrCYUpqmvOaAUBaJSdWYwdZHUM7Z6o1nIcDpNtmchF0l/b4zxofwPwr/KzRXBfoQSkW9+1EA0Ayr
MqFz+W6wCtHjsF+5SLMYzaM25WKXG+XdkyeOR7SPXbXrb1rxJuXpJTaiM+jQAqdtOqWkqgc3Zhuc
Hn7iGiU7m62nuzqMCE9R/13L3/XpzVM3xFwMO3UVoMoOTZNrNO1ZrusVj2KQICgBgzQzXMYNMRKC
geEPbytXIJUmVftWt0awHqLiMqI+eMkZZtHSSX3kcPwwHd7GVI/oE3GDLlKM+jtKFOjvKfreUn9o
blkd/NkxLWZLJWV+MrNrbM30AfKxsTP/0bG66s4dmVCIs/deI2tJeIfHjPiC9lwCqXt34LdM1kCi
2SNjCJSPA/2IMGC+3d6k7im3mqVjTypZS0VPSExMHl6QW/mMbiPZbCKXA8kTt6KmuTNZWfp8zl5j
z/qv9ww1OMeFqFak0I+rMgPbnI/uAJ9wliKCib/akWqc1sXUYC7/5BAFPhCoOCMTNf9UQ8YyAZ/W
gB2uPwAonQ1TUwD4rWAs4wahRww3mPQ3AwUo16dWQM6A83G60VLHDtMdeMYAodol/aqTo01Y4qWd
3NiDYOmY382EF5XmmZ2o5OvQMTLXYYG9kC8LUpPMYvYZ0CGSwm0BBW1BC6WSv2Pae1l3GiMYcn61
zjqVlHAGMMY8zdSrPksQgza2NiavwdxGvHVa6h9q7tMF3YfR//FYuUL7VCFCZzqgaXbdqg+Pjbqs
VPKRNAVSwzs++Whum9nT5KkPCySyYn3JjJF9UT3K3rqWtHWOSae8jNrgeOkhrBsy7akPEg2VxFgB
Q2IKOWzF8osbk8gWDOhQG7XvUBpJ2NOXnfKcHsZIJ+0TfEUf4KWDeQtuapBWoo6UEQJsg4Jf8Zl5
QQobo34TqazWFFgVlyZBEfgAPUatdMrqKAadZIWRRh+ZPv2AuKUKVlkI/PE2KgiJakm+t0W81hJm
m1NcXKZhuwXKSvzFbGSESgMrK+MA2kW8NcCihRSV7PTDDBZ8IH+Q+amYDyqFItgo4syhFa+Sclli
fBlM3HDJqS/ey16CKENxpRL9K6r7En+SNPvRkcxw+9cU32nj5JaISJEAvYzZquqLkxg4daThwY9W
bfh2aAiWKy36odyM3kxdtUsIVVYBkb1Fos3TNPYnBWM8kbdyFS78cbZKsnSJ9NzwD2+Kx0zs7p6K
Q0NREieZGk4lMztA+y3DjVm3yoJyI2oENozNtz7iJG4jkYgzE5K75u1USbDpSxePKBY/31QvJTOD
2pKZS7Z3s95r7cvIt4LGr0/WCCsnYMVnwoYJV9ruivavh12oA0aa4iJBRzF9YZZfcE3Fe8UcOHdy
plrpOd1RLbqlCnObiVRB/rs/B5JwZ7bWAor1l4xteXgzb8P0Be0AYzcIMHwY7GvVzgMMZhm/TFog
aYP3OdAzm3q4dNwYMTN4Vs5MDvm1Csr4Dd/C3Ao+e0N/bamGzNI1m1KYWxcVPkxfRP8EDm3AzmL0
1TY0e/t1vlN2dG+hF2OlR5SIf3nJNCdDyuidEdYxp/a/YVLS9kNxMX7CAF0DClkAE7DH9RFfF1Oy
OWND/0IDT6fXio1vnn0jLl4kzFcwpPYPkzYfo0nrQUFag8o75rjhcn67wNLJhXrGCAXgiu+KY7lg
tskPQpb9XT+6e6/Ntc5CczsXLxUJahyBHCFcci18JIPxSNHHCFv0eJ7uku4wgHnggTd3OczoJ9HW
I3kW2SbnfohCmR1lo33nvYN+F50OrbDp49Ah/lrBJ49z4OG1bOkZIAmKSCKcUMfSPk6c9WA9mV/i
NT49oC2iDJKPSeioq/HhLRkcKuf2QYoLGRguIg12aZxzwMf5UCy8yrT2F4xSlH344tWzr/lY4pCr
TvATVGlPTLkYTSAiWeyh/K1wI1eMA2ntT4JtyE+vScOAQekD6+03I1mAstVi+Co29KMWU/N53j5w
Kh8FkBKMN/x1uuxNi8k97/tr+pp/Y3KcnOaGUACEFOS90o6dk02/8ZYvtO54PYMD6Q+uR1Nx7i15
YJgwIjSKGFPTK0kZ2JpMzB0CAPj9oAXopesJroC8mkegfQgp1tXKku9sZ+gYbPmLxCgibP7Qx2AU
gmMCo/49JwoVuQaZ0qqHB35bIuummXyplZ2k4LvSGHlyfe9tdq73td0xembGs5ZR0nvUG0R+/5h4
4j729AFH3ykPtb+YenPvfsHxde9d7xOElYXyVKns2ckjPENaIsrDkUP9xsMsraQTukua2Y4uu0Xt
9K7MjQiJI6OMc/StsT3jIwxtFEBAmzNOyEU5VQbYqtJPYUU9TE0iCuDq5m+HnA/anjcRjRwA3IVI
NNhTWKU386mA9EYzG2y6LYY26iQDFtOG38x6O7/Bd/Ait5tZORoS2fFbOiUh/Mdl9BJUK7JZn2ws
+HXRg1rBqWOSEanoEWGNfCZ4RvFsGEz3T0hmuILcCvBqVgODzGoYu3MZmDMwiDELonLZodCj6OWS
uiPGE0H/itCb/DFzsteMDvxd3iS7lHCbDXRd/T6sAnswTvlG/CxbR4LsgkfrvfBp0N5RCr+n/g8Y
GmSTNXA0dJdLpEJrpN4L5btTFtLi+t4lnIv3+EDxol+il7TCy7cID0Xu+Id2h0TFQZ+9jh2KutId
eEI/zC3XbuFIxptbO7/YEoV+TSHWZCsAvqEx1+7j0TzoR0rDAzBKZ90tW2UuPnBK7c1tIDshGRL/
WlFS75Z82sExROK7J+Sb5iK/I0fBInCNeH6gy3EJBIR1PNLH0hEf2qrm/dyeML4Eqs0YgdaJj16c
9GLlw7dkq3uiKzVnFizCaC/8vRc/ia1FR2MhrJJ19zCuAqsZSVWKjYs/axYl1vJlhfaPl+//qaDd
6eDFF21VoXpg/MjOeo3scoWGMrNhW79yvoGhJTjVFaTM2cPkrnIVL4a6ZEAhIFgEf8fn1zBggwmH
X3ZH3222MwHZrL1vc+vt5T1RbqtsSzMqoMz5LWQruXc4NzdcIaa2y4ldm524RWa744a6kEE643JS
EB7y2Ijf/rn8q7fsz48OfnFBYCdWn/En+xE/SFYq9PlwCH6qbXj3v8DkuNGpOlZb9jr2ZCu6XjW6
t7x2hrhc5EDM/P+EtDf9hNLNOyLFk9byV34ETsqU/zAeidCc6+7wNRx7uzgDjUQrEd7bHTMQTv69
eccWcFZ8iqZNwZ35E1I11jt9Hh7UT5lHhio9nq/FDTYyFRMlQefHEiHqp2YJR3q6bvrHwseEe4tP
8h+O/B2OuCNdV2VT8BZiWX1xzdrUH7h/mdqaZ1oA7weWlj1b7uLRA76jhYJeeEkatTXchswlXxFh
O5w7H3H3ulniycRnkizGQ7fUamI+Zy6DNe8UbQs2f7QzyHzJOceWqf/V36w295eL0TR+ozsos2br
S/XNEBekxRSPrG7CD/jtvLMktRhLkZ9uFZAA536FOjJ6O0xBpGHZSFawV1GQ4nr6DSmikOosEptH
MMNTyxDwljs//rOV+QzDeisQvr1IP3AvsuRc+to5KgYrtwCuFme23Y5uJfsru43LusSSMzlASbbY
0fLdyzuDscEKMuilhWt1ZEM7pMvmpv70KYSr4oPWy4acHVTHK+Yg6TK/PqJLtDKfjbEIH6h3Utw1
nHZX5h7+YYYkG23ub/b3vhVnwTIWPAiL7j4u8Mkucm4h+jUZ0aMPG9WZBiBogBb6D/g+dhg8LmTW
svyDc/MVkMW6wBxMiFO0jy1uznGO/ORG38PEPEtH6gVA3UssY58sG32Fahx7jclbpMDu2CM+8In5
heZh01E9zpoF5WjDFFddwmT2EEHsGvtWuMwOEdBM4DYn5gZCQ34ecn9FHa0CdP53ntAfikMYaTtv
U1+TV7fqHrxG+SHzTkOHdeCxk4vBruoC2yoQmb8SNojcivb8fvt8KzpXxO4MiHA4PXRCNi110fwZ
f+m+dvSVcc0dZkrPfMVRdIs5sQ66G9+znXGQ7+OZxJzrD9Ope38GuryYlJVsEugTqUT54NwOmOiS
39hlYZ3EpXYzXVQQ/3ZvkKXpQrZYSQSrb3HQ0mi5//v8exTmf+WyNufaZVg86Ke20OAxiX9z/8Bt
Uc3X4UHppuTqhtj5ZHHjJ9DPGzCODEvdRUv6zaI0L2SlO/JqUmiNFrogfT/8khfJxGtVYGlY1LuI
+lywms+v8YD7BbH22+GAtYTTbGm6JLcSoWRrd9R3P9dhOSNLeeWd5W/9QC+RgwBL5gWnID19WC03
Nk70t3ic0wvr4MGxpW/9D1IUu3lNMwy8C4dof9yQjr4dWcXJDjEcRefsl4WPu8E/+l/IiOfJ/irf
U1TStVvBc+ZD3pv4PBAYyitmj/W3f5BsjUYNvEkrFajR57UrPybXdvYquRyoGx7snUrCl+SOTnnG
BKMvxHU5T5691a27uQpywtLMufcT/zSMKyjX2ODZ3siPmR5TnNZ2tEi20XeHALNcIAEQv5NLafP3
fl2HzZV3GgEl+n8Bu0tfYMMnyxcHMx1iDBEKDrPkQe2QfPIssHvwwWrcYXe4ZfdouybX7dTjWPpO
+mh5wbPFn07hvYJu6HDw+pbyGxKP5cg28FTse398xOzo7Lcgc8yldmCqecUG4WYXxQr5IgGne8lf
N6K4IILCkiHErsTsuDGMC0d3bnlb5v7lJEwjhgwA/ttqtpw7Hx4Tf1e5+wcyt3fhlteu3MKjwda4
Ki3v4NNxm4sQpJfD57gLsSP/5g6XnQhGBj6LnuoHaRaV0yul/GaPyJZcqDmDFiX+jrX+QRNBifA6
qadw3EnQcDp7ugRmtrRYa+trCDl8nt6IlXg75Ji2E3j3qp6HJe/dAqkoG9uzZ4/5xca9hmS7kc/S
M+TFsbFz7fkbD9HVRL1m4RzGOAPnAInOIre5RbJZcc2REywfU3oeEXOKHV581/9lsKKtg814FUlW
GqzZssMREWxL6Ku3GONIbvfcYKM/kW9E57F/UgmRM8URNTs2zVTgEEIjaDDFQJWLDpmsm2jfcV2+
Nc/Wzmze8MBmusahcuVjjokP2YTWFVvunoYXqq76s+I4/e4f0WdtR/wOTzyhhbSmncYE5cP45OB5
v0g93+eYD2UHhQvH0URNmcdsANznLxUTOkIQOen7aK/uI2XtRxtmTgS/SvIFsALO/dJH4XTr8WYx
7h1rGuC7XHGbxNVmLvAMWGomnWzgWwAph3WOxnCBl8iePMXJGaOXSmVYzemaC9gIUc7yhkOMVxf5
noNIWkDqnHhy2P1leGyz+FZNEMr7JLta/18BU1JH3kbSL5hEja13VFCe8hjndkcqIlXak5eC72nh
LWv7KqklS+RLnX3/0XZb0M9GQKghnQ0deYrNy0HK5OtB4jptK99RblH1H/tFc++cMp5cRq8iXMlP
/uqKKwOi1eOJt1Fag77OmF3LrsSzz6ZM+MspPuQ2t9wFImerx6oR7X+UV7DkZl6uMKLiEqU8yK4l
clISSXfNhQDK+huKjF3d+Cy56PtbmfMDSNLN84mFDl1JW3Db7O1xn19pfLYDlGmNC7e6jwlosYZq
qV1VpiELGrzdgsgbggj5frgawj5xsgZM6rq4T/NWRzPvyeeknQNiXW2MdunDAmO4wqNE9dfahqPA
l1jTZeUhTI85ID8wAZZis3pLK2RSSVb2FGCMpmr41dClAy/Ad3w0PSe6AE8L3iQZ2brKADlbQVLz
TqhHXckZN492G1JR7CDWjcYqPfP7QIZSb6Rq079IHLhwPxCmHCAlYISQC9Aro6FAJAlVNie7M3wj
FyqABbCkJxr7Mn3BA9+Ol+CXARxHBcggegPBj28j8PrNb3lOD9AGJTWzUppBGLFpoe7FxVu2Zq/g
SMNs4vfrwM64flOoM15HY+M+4JGh+sCgQzPuUoMlnzSL0Qct2+olfBIBwdOsazQWSMz9RFScuR2E
ECL3aNoQRkL/bY5qntgq1u0B2WAv25l2iJexxkGJLGbNHBW1t459EfP2vL3k3/RXH4iJXKhXL/9b
3/NdKTPpqeWyjS/BZyVMAajJecJiuoSoXN4/+u29A/jPNlpwlaJnuydj6Kc5oJvp3fpW02OeCyvp
3h+5/1INUWWdwMfQSSzcKnCTZX1Cz/a2YUrTVLuj7GcqRieDV+GReLGgahLlhS+euSiiJJiWAa7M
J5rzcf8ZX+Mziv9og+x0FvCpqXeaRL5LTJLEIPsXg3fBLsElF1XV8xpQBPRzhhH6tjSmUudackZa
8bY469CKpIvO5T+xB0QRsNbyI0hqg2zSr+QwsIo4upDBboJzGJ9n4bGlAqYDyCsaFw9aT1CYyRsc
7oxS75Ap7wFAC54teliqPcpTAsYMJSyU3G9QuUC/TAeAH1nwzAkEkGTckrjwI7Rikvei9nWCcQFM
5tj/0e0lYeKn33SwZqbsVPEZnb2P9IIkrSBkdF6elU/Q3OtiZS4pA8eP9m0xNBQO4A4fzPIwGRK3
pePGwfF0i28cJ65PgSscMdZeZzbdDYe7FNThOcAeLm6qvG4vpAzFmUVwMTSDkxq7OrPxK/fv6txj
iXwhtNKnNmBs5z8G2WxW9MEWufY0ajpm1ws/3aDmAC4CHPHd2CHb8hn64SJ2qx5EF9dkk8vM7Jse
AE/DxMbWYGfip96jBfji52DpbqhbU5Cs4Qn4faCvB93y681sLyxNc14WGySMAkbAtb8E9o77V/+K
NwY3RGSmHuTKZ0kQaHV0GsiWDBbhKSGnnPCpcI+Q+bocd0DZCITgLbKNFbyrkbYu0kodSesc1jLa
Hc9f8sKRCPtu8ic+QQo1owv23a/mh8GO7s03uBdKbn/KdlG2aKu78h+9QWOsSB9O/CInm90AxvIO
ja68Sg7enYfN0TaUh88XXVZpwz6fLastQ1/YQWLjig/xC82MyiribvoxVYJsAup1eLWHIVgi8S79
l7Tvs5V3weVAfuUSA4pMt2xB+qNuTwiy+FWCyjzOSEs7yu1SuBmtTbLeVHfGU3/WuDBOQGqOZB7L
VMONkY7HBwU2ci1thpHFph1eIlf4zfbH9i+XsSLgKP4B/oTUneB5yqxLI1vhnTOo3p+4ESyFcg9F
HXXKt+nK3pxtoTloayF3e5Q80PnYjRbcc4fy0JKUtS15aEAgQegereJZOozp4b7bSPpYo6v840rG
cLHspoyA8kAvjPHkegaRmy0GmBZTVEaIE6hiAq2TWQJwh4wdp3mkKRZIRGC43ubM1n6QMxz7XR9b
V8KY+2KLWVRcBPS0BvwP3FQvaCfsKT+ZzpcTOjT8fKc49fSVZTSQVK3X4WEgsJ1Ik8ir0NuzAB75
hqHjmxuEzYTp5jvxvfsMqeJoGhXZtny01k3mCg/myE5/4AI4lO2+xTm2paiePacNJ9lkt2SpvJQ1
7+0Sx/JSGrbgKl6SG8zmxWQ94TYWgIHH75ZlZOmNZ4wzDJchibF59KCbQ3dETDrd/4gS/spski8o
SZDmIbKVKCSRwNQ/5u3d73BWvOQdBgy4brxqAlSaTfqojk3o0nk60lil9c/hBK6ZLhm1CH/v1xsh
EW22FVxn1Ju0V9sblaeg09Hm3fPxLSxIDv6hENXpZhypq9ZkOVFwFr3VrHzkxJ/FuRVs6adHVgcm
4ybtpvp5GdLy4jSnbJ9od0flh82uBKVy1376n9SJP2BFsXHVK+VWuw35lqgq4EjYIHAv9Tccc/iE
89YGs9Ojz7YBNGC94I3wOwdWlS0+QMXQ1ppkPAq+X1QlMyoxclQ5KKE5OtmKTZo5RLCiGFd+37jq
QHu2dsLQ98Ktp8QCGMZXWsn7THQ5U0weNXtiNy0I3gumrDqGhrtkS+EXXb1XT45Fci4PChRFJvX9
GnbQvqVOw18Xf9AHSnfs982LGNqZsIpY8Rvqvli9BdVRS5Yxg97xX4NY35UMePxFHN/pEZg53G62
hblkLBj96qS+fAcQGHGbdA6cLnPykuIPn+JEMK0QcgjlZPgyAY8gWOFUvwk4gvzD0B8Ja6gONdpw
WNSdgW4ASWjsKujm5WCpxKY1IZp0+hn8gYIwDU3LMu/thORYeueNzeyLSL3YTt3hDo4UVjdcaz+x
ZeTSNFau9TL6MN4Qh2UoPuAFQeD4DH+Y8IC6RuXX1xsVKnwMeB6PxSZhyn5EvSiy2lEgo/mbbBox
A1tmtGBxD1BMy13ZHvi+SDtM1hlUxzsu6Ngj3OxPo3RAZfeTfcA65OrGJhoOa0CHEyKQLjSdNtZc
Sv2/NYs1CCzGkfwz/AbVrKrzJkYsDzyRLRpZHHsaRoFuTvI8unHF4cyhej81e3ZKNnbKIwT6BZYI
AOw7jgVsXgRpmsGhIIPnl1xXYuh+fMCN51HcUvrw/wfqgpuXpF0lcyk8ggNoHng1C5p7jFWV7bvl
4mAHT+Hw4Iv5FnpBf/RbqR1X4KMEDv39/+jX/Efakr14Dml9zdz8TFmxD2lNrcAGHhCrMMimTMHa
j9j4CPT3ZiIpwiDJOA89F9ejRdx5W5QlPeTRZxmtAmib7Q/F96bBSd5taofTF4gGQq7WHb9oTNNF
4g9pZoGj5uxpK+SuqOnJ4VyIu1jeBeq2YTJY8B4XB53HrEuW2cyGZax2E9RV4gNE+BCshWH7BgGF
GQMTzrhW2iMeQkox9jkYzunJg7s9Qqf8bqrrLP1s5WnGxHnBay8snV9OAtBG+QYssOZuUlslYwpG
dBCfDhQ7V3U9uMaecA1ybmH8M2+5Nd9VIa9L7rncGP9qMkaOgkn8wwJdBKjRYTWmF7Cxuucikxew
ccjoJuYgtpMpqdF8lDsGk6ZyLWY7PCLkWQCHwqIpaCsfCRXA5wZzsu6iVE2OWnrCO9Lt8hCjMq2D
3YxjX7maD6l/Sf/8GiUENKITkLagJigchBzeUC0MxJ/tUb4HoAtCtu5PTdv1WOToOMenuDlIb8ZJ
+RlvByA9/h1baKIdYMCGu4mY3nJ8c9ifUu+WHUZ1hetU/xwmtw3GcBiemOiIbMhCAFnhPU8fk5FT
/MLCmLvhmnYUmtMKuaaaLMLAsASF3FWwsZOFgAiKRZ2AFDy8HxiFKOYxxGNLU6N9QiF1ZLboodhK
508kzGDX/Nnis7mz32EshgzSOFx6hqN6jx54B2a0LMl2+keUYl9hdhhYYFL5zzN+NfxMMALgg0/k
zLKWzlgHnxBzsbGy2gZrlGyurWl0fObdBQvl881saOJUEXuLqeqBT3E6EbFvxC++I3tMYdMTZXz6
QeaevdzB842lizrbPD9hEEMZsKWHVAEagOWKl4prXaD8cAPC3ksFWeJFxmVhEGozAVr7T9Nh9Igi
dWyOBsWZkXNCDFuJbyxsyjSvZtXy50lhV/RWpxEgx0Z1QmpLUDP3LXpR/2CrVfhLpvODAEBo2rja
mE282K87BTf7dL2O93wcKHp0Jv6EfYAE/G5w4u4ObwQ3H2oM1m0lABFiA+0QRGBh4j5p3HOMlXlz
wG8HCpUkXur6vYypP9zNVt6dKoSLDDUgd9qr9AA5gaHhZazEyakeg63CeT6BF7b5l7nTbO7nJEfh
hGfjYTJFS/I/js5rSVEtCsNPRBVKviWDAbOjN5apCQYQiT79+ThVc+ZMz3QrEvZe619/AAHa1vhv
vTydIboaMFBmaLvgCncTNK72Ywb1+7TR5ngKcEdoK8ThB1yeDRT92DtMyqHyHH5Km49W3ZIOcjry
UG3P+qi9qtPvaKeuBaOzOoDQvLEz/F2qNbsAE290585FIlF0SzxJNKS1mBqhIN6HELvCfx2LSGEI
br9dfTwpPw4tdT2jBRsT5m1cmCPb7f3H+jHh+1nye1zb2hmPsTbZtB1dDPvcDzti0AeAoQtPJk08
uWWMox4LzEe4S5CYWZ9tVMOsK6bdd3+JnWLdd5tLQ82CH9hjwdvly6GW5sD4cyAWxDsReWMya+ES
Gayn+KjJpscgLPDUQ7HHfQbyB0jx5AtqLBPSRjByQ9or2u8F+5bWT/EW+IKcONJeq+dD+E0bkM4y
oqpkf2xn/D4Ik4d8EzW9/fZwu8jsZn6LG21UauGQ+w1RTdnXhGZwIUiLIenk8s0HkdPlxclgAnIZ
TWoyIF3yG2EdS/vh5HUM7ANOvXTpyXvaRqkj2e81pw6fZtBnNRJBCLh3PdR/W2N/AhKg40TEiFoV
vC75ep9hy5cTv6IqsSG48vao4aSLSpRryFlGL0dGShqy7BCxw6XSnQvutqwIUeYOvzjh6mNB4BMh
Cmx/POmOtkcLT4SDgCp0+yaSO6Bx6zkH7El3PhnXkeCUQecnYVlvXIbpTlmtpQsxK59jZs9aBIs9
/6EpcKIfXCgsuLmV+ll+lGBlTODNE/igYF3Tzi4l/SuMWHYBTfVQEeGtDUXVDJB+6uaxvxtAioof
qzYoCdVToXnVOj9NDW0Wm8eWmlolleWYfHg1rDSBkags2TsReLv1LNrwXRE4/NhSaezzGqqmiDq2
g9euwI3O1fdO7qttVuG3MSIecfzZn/h/WssrEbnQs58QgByTM14fi1+1Iua+FxknG9JSDSjQII9g
XIT90w3W5xfBEygCwTed/Rb9DPvSK+Xjw8Ci04N2D+urWpV9FH+WBcMsxpeA8dJEFh5w1zCUT4Pk
vW4VBxIFHRQIHEkSkN7msHWRIxsOV0BdwPjUuZiDLz4t+8DUwUUHwB52rPNcs/iXZtRc6LU93HbN
hKSIehtlG+jqmeGDVDDaU4nnNWtyTEhRsZ5noGFGZDMAm4beaBylX4RFxVzzxuvDQCUAjdTmZKh7
W+0gToUFDmIuznNhucR1D9yrnwA2MZ08U9FYY4PNgt0WAhQ/+cbl737o5uK+xZyu2pFiaRD1/Teu
IYFDSBryYnqHG+h0A9JxSPfxer/zhnUxnsn2XZhhCZ175QK6JrvL0FfOvsSiLCR6NBB4MqKbIsBR
ocNsj1XyerKFdDPqmFDuKIbZ5DMbqTzrXDrRMKgi9oyJLoAFvXLq00EYd5IN8wAvsGggLbGSh8o8
XjKtRP8YhyBhoYgH+BfiFiFo3kDGArqCOC9OXoJ5r5EYYZKHTfnXTc7Yc81fyHZTFNby4kHrSOxt
6eXh0P7r60XiDgk5/a0HAsqdkkUDycRQdIN64MTKEH/KPXxW7w9GxkObwPMrIaktXIMYZpAru0O5
e0WhAoTAG7XxumIb6QJp7Hxm6YehDtVZaeY+ZsvZ5rQr1zlSxxkhPK2EYzbCy5XULbQmlGCDOeKC
qrrQZzHs4LgPRAnRCrU99gPY174Ab3RtmcRIFwdqrrprX26qg/dIBZpe6lTZg31s31ONEQk3N5RY
s5CCV7qQVacJjd5/NGvMGtFf/GP0Mir2ciYGj1e1yeJ3IBU9yNAFKlQHuPRuU+p3mirqAjgwhjgd
qWEy3pbpRhOX2XijPpXd9xtfuwye4UTNI4OlOEkzZpq+kfuo/+lCxsLqBNkSYTdLMM9Tev2lLkWF
TrUMfq4CE1rNBRli9cLY24KXCHkLm+odhkqrQQ8zhUd++pL6ban/lM75KKvsImu+ILsd0IWbS/dU
x1gZ6MTrfgFW10cM7IJHVE9fULKRgy+qv58T/5PX+RYunitIZjbJpxQCLR28V57bhfgPY5iNMgeh
fDtC8A3LUIWW/MRAYxjaQ3UD0g1JkWRYCsmcsglvS+xuebq1AGyCxUEBSplDUSl4CNm7aWKk42d2
/VRePh2sMb2acSWOcCVFPgJA5l5DgOpRdjbcf7MPka8kufvJv4Jp1rbpIZuGqQfp4Mbt7klr/P3Q
1391W8R1PlBXlfeeSVcYiCzRe6yCDnIIZTdoLo/BjiK54hYgh5LNj5hkLXK2wKhqGfupIWX4Rm4J
KVFDFB3KWIs6jzm2zHDiQauPPwAL7FlBVcnnIrLgivUd7LIQSeTJ5kR6NNYMFO33tlxJ4XBi8gDj
alpx2WOZotubDDFK8Nyj55p7WV9gXHKR3+4DTRyAn7p4aA7NTEXQSNgehW26fWxOLt+Cozgu7aZ0
wfAPJg1zkvPJNdw4fGygfsF6XEIVZBbvypnV4zM6hhCFWtwrWY6dyh+9B7vY1MKojoknYGzMCoaZ
OqoEcrtFVuJB1HxReYV7vVJvuDtIS2Ee0Y1+rhR1CtwUFiWFynQI7dDwwN2CAOHoKczlEEU+5cQk
JWABydoVQ5SAOhl7uvTI+RKsEhsFHNGxguHMDzY4dJFfr5cG9xR88Gm6c5wDiS1eVkzU7pD+BGuw
PJpQqz5WXF3Bkh08BY7lDRA73uHr9l0DxlhoyjiQ0Qbv/nylL+gqdSiNQHd72SJfgnF/PhNQsP0N
xztckKcrQT639EW5+s1Zx1oPftUzekxSLPP85sIesQKVoRjBst2VLukA8wD6ahYuuDBvJKI2EcU6
PYHHPo1tirWsS7znj/QUEHw8FTadxs4rzMfncVjMsNJhpqVdZCdbkCTJ2o6SCX0ClXHjQl/Grg+r
wOeEi0PViYwwuVLXsVJyhmpLvPBsQw0334snLuAO82KbEu8BtdUZYVeV2Or24as1PvO/eRxScWSX
ZvOMdPzXRvZ3R0fPY1zCQSVTk1i24Xbk9qTyhDF45nbEn/7Sz/Hc5ZJgGsRLT6rLoNAI0wBrNqxH
IjrJFcRLPkaGNThdQjvDD4USxjWYtOAkoIDwvE/9Ej+3ppuVXg9S1uX0R1MCvbvfEy97sPCYevmd
bKXx8jCGh5wSroYNbTtDZde8gA8bmAVMmU5v7opOpIxIwZ6Ul3RAinQVum6ZVOPt+G2r1MzB5/4L
6CeZBgKrBD10C9T8/0AmLKyDZ7gAxUeSvRhqYDrBgoPRMv4V3zk5iyDd3X6wfo1pVpV9Zg/3Y3nB
vgSnpKAHJm3c/uGNNsIES4OCgQzlNVnFQ6IEdTVLPe6sHpzlbTxgrk+6S8IAeC5tTQnaebZIrqhD
ZW4erkkOMss9UznSdYzRjuDoKgWtTVbPiBeiKRmWrjC7D9+b9masc8mFK0m3RtR8bUYazCKIT6a2
H4b+T7f+IW9dg54oVw0aQpig6IdnhniFACr84i3leQS9eMJB5v0557qVv+3oy61NTCsDzmo91hFm
mdK/b8i9Vq3j3Y9VpwoUot1IhcBC8Px7Wvrf4De+yC7Yn0BdYsRuZfd+Ha/BuwUyiDAHUK6EwLF+
3skw404a3qGHbw5WyjUYIvFiMVAC+RdVa+GaVaF2HX2DRHRF5xue5nB5xiG+Db0YMIBC0QBh4pQv
Rmjfr+ytAVB4iWEPr7oup1y368hFiCdTTe7E95o+ukxILWvAhBff1mEbpr2h5yeDiSc8QkDnQgHm
WVoPyCJqWpZJzAV/hIFo/nPfo3NxiNXA/MehfNjCGmGNSVxSg/g5QGH+/3NHV+x+txrEA8y3uStU
/F5YsccRHh6ag4aV20wzBgsrbcZPME856wfjH006nvLYtKKo/AwJgGQpfroZM1TGYAPTEZMEl3uy
wzjvMwXdKNdGEYDhZbClAIZhz9eW8vUEoMS52HuDpmVS3IZA20D34kmF7GEH200/E9vHwPAGsgaj
PZQ7+PunXYwgihG6dAUBIn+Whf05J6kyPiqINf6dEoJfQWcZnidMn7ZkatJTSqA/OPWH2QUoCKe9
024Mf3XSPTYvp7gYLRMlCOjMMF29mYGlMKivXdarPx2X+nhOfiJ2VfINuAJHwmYGSKK0gJYuGEjx
xioHbzm6IMLE2H2xNwG2o75hhZl8Wv/k5jzQ09QZr1nYPvNmIrPzkduz6nIbokO1UJksAk7fntH4
zPyLEGwv27BWDusbbbmCFxMTUe6vy1sNvrsPMo/aqiKG9cOW388f+xjNdAzbhr1yVS0axl5QNErA
RZmZHb33JEncl8D4Y62fiFUQAqn2x5e1MHsMzmIlfDlGTeVcJzx44JOBkGHQtYExa4lw1XxqcUz2
DpQEAAa775Kdr7jxDOTjHUFaDjyKlIFDv2i4Iffot8mb+DkpW7JhvbfCUlopD394Y1R2ziMqd/mW
oTwG58JcUrEpHBI6Ueu7Xfg893YfSBA1xvjUjgOgdmhi0g4AzCpxYKzBbaGznf6NhsrDIegSBq6w
1q4nrwpagAwL0+xQddQV1WRjqktWDJtZ74yU5ByjAB416I0NEDOu/cNDdArJoRfJfKDpyoUQADCp
rlU1xSaN+URnkf9e3yn6SzrX+Sn4/J/EBFqVW1cG5X4XxolNndZDYqYNsjhHEVpqu3HEK5w782Vj
5Wzr0elfbZfOiQKfB/pv/O8suiMGNGIkzBhpQ75woAt8N42zuMOwmeEXsCL4mS3tHM+HgjEgo+5n
RlwUCI1wA83vOWp3DQiaxnpEWAfNaVROewfjEHalC+5pfOiUoTRZBn8MJ5cFekdPZO40aW6APVht
wTsGAgHqYcrlb47lOote29EQZJaG8OzxdAR2IsbVzjyqdwfLNLpzdnHG9ddra5dcKgZQDsIvL1xv
hRlacovJHFlX1gQ3hhXpyZOMaL/BEncmY7HBVlwE9A+L1pn8q63nFng4dpR/n7CMdE/NLNTebCPW
j9G1sH4zytawxuI6lHtwY5QS2Ez56VZcGOd0eiLWYVr5bPURc+yp/q+ZYz2yZ1xzmjBalC2CcFLI
U3+Z31bWPLwy2fYIAWAuAMty+pkZ1IpU1Rso/ExI/99rDrKj73D/YcsF12uhssGEiEHXd6UPiTtx
zbvZmePgh5s8Gpbze1WuDESV03zxIKgE7If4ufmZOXG346JySduA4mry+QdLtHCPEXPyL+clZc6f
TTE537wPOSrkCRLGCXPn0bz5eyMeih1EPmZULVAm4IpB8BsDlvWR1AVfw9RrxoP/vGm+hP9bfAdR
Zixco/qRloy8NprnPTK7CWlx5tWOhJV6eh1ecoNxkgBcDKNVZ98/ItuBRg4hBqqT5eDy4NVhG1JZ
86Xs4vrlqfjHmHr0Y9DNNkU9b2z16BvUEWR3x1jWAZDdKZIj7A5ujDlnVIekQDxmDZ14QFedLRDy
rAVoixhMTbRD7j8DrirPQ2/WAM0UXKCwWP92GK1XJEkOUJgA8bqPVowvEcZgg4tFxjJP7K/NsXS6
hZO3tvzCdzDMDF9pUuWtVccBtBRyKjTv/cnHKxw6IgN6shgiaR9TqGaDsxh5TqCUc0kysWhHA1Tv
Pz76gd2fYo89GYUWFS8UHE+3sm3uIFtorlAElXXn8ry1mNy50jrdTV676iqktr7NIJ9POlTgXnyp
sXoLX2cxzBm/dP8aNz23yC4tfKLYpPHz2lB+nJZus/kuPzMsZSg3T5u3//5rF+XEg3u3qPYmtrMd
+DDSKF2xwCOayQXfEhVuLSvajBG/BZ9dmEJ3XKY7FT/3XPLVo+AKSCDISRmYSsSWbN8ATr2FvGEv
mS+ePhiXRwbw0DNN+p7w8t78gtqDClP54NEFbt6omRtzhYuK/f+uHSAQwKTJ5/T5oEbc8wsAjhut
1B5V1KIDI4qD6u+x+QThQKArTGH5CuR1A9194MPjnntPzR8Wzz+XTEGQooIoT9GB5eL+hpCQbI2f
N0TgRdrjE4CHOpRoQJjTxsCxGNs32SSm7AV+jSmg/8FKE98oBz0pkXIDRLrpGXSVjHjXr7VwYDXv
J5Dmtdsng05vjxrn6yPFJgLA+fjjZctQMHoG0MxgwbGGQRRA2hiOCXf6QhXYY+qtzmrrL414EekA
AwhiKKSglC3PTWEnYLy4yGaJ99h/UTkl3uAMTZ3iC435vGXwIrYaZK7vOrXJfZrS1otOc9O9L5TD
h1stBTvft6Y1hi5xf85akhbCz588Q+14GDObac3vHvJsckTZlPBR9gZLeG/ZaKZd8AYfwlDISXWM
hU3ftxEOyLEar1nCzyjvqIfCt2WxRFoZ1RHRXtvvJPEq2H/Imfw+FCLRIceHBIBs8Z5KUTHt/zCx
/XsGuErAwCAkxiVOZ2rgojcxbuLq46ieG50E8wIlHy4vUpgnyp3ou4Nf1P6d/uhZmNyhuaJgec0R
hmJZ99bxprIJJoNrDAJIVbJ4MiWFw+g2Fz3Z0ehTM3ujdwBHnuZvzKwnFLdJToghkC5HXJAgB+t+
dypc6ooH8bI80TQyvW24bz43btkkLNwhZo1m6MIeexULTtA8q8RjgqFXpG4FrDonyRLaxeSNQQQC
cdlMchdqB7ZNbMgj55GHdRqoy1c++clOr5hC7NT8XnkVfoJmcYA/3lfT9sk2sqILpwpX4FBwIxBt
q3Dvog16r3CuxuwUCSUzL9rJhpiK7IqJdrYjvRycEqI6QC8LDupacVU28w87AG4J8/g5/8xadgqY
YBK6fi8rZKKTvGElvEG7fIGQW+VNmbxt8P8I6hSjCYYSl4iagEnHAJ8PNvUiSNqFHN+NeB7hm7Qr
CUPKXF5fMdtfqF0k0qAHw8YtfkwzrwP4hYSJt7bFUI3h24uk5Mec+SJOwukMohNsFTiifBLEWDyH
w8/RaWAPbK4MGlaT5clrfGBhBp/Y4GJ76WP7mMKGpFm/MEr4hECoc/a3bIEIBYx7I97hKzzXYMB8
WC7oq45WunDXyEMeHHBx0B7gc2IHc1dfoIMOPRH51c/mEHg3c/XEPrwXAgzQQA+qyUu22fAdpLiJ
FI1ZfWY6BNrWEheApIPkopxrO4LXNuz4DwqpATqwAezla3ImogTOM8zf9YexJMXCCEiOmIsPjN50
oXkULqF4aCZ4CyMTo/GBYs10aiFv4DU9YY8kyMPRdCDnn3UQ43JmZSNGMKwl/RGWIlZlp5lN6dL/
cSPGZGqQ+5FPPpopkWNoqXMkUgaDAVAG+n9oBZOfm+4EmEwYIfVmNIb6amLupLnxsuAi+LDDUAxO
8dlqQ62kKiWC0pdwz8vxLJYlWDK2YE1XApAp5vNYtX8COrYlLPfybyhW7imugFD0M+tTBy2PAYka
/9g9EYbTzeIdGJFeRUwIrEEizsFBeD3YUpEepRAraXv+XqVPZM78tKg9Fcy6ITlK330BwRS3Wie8
O8g7DYHIgGP6+de7FoydxZguzkpQvdk/Tx0cTxufGpLAHDCxHoyzxHQqOkVCCHt+4BVlznjaTjUP
XvSKWTD35jh84tUBVcSciIwgxFlROxtOzzQLMHei/go4ayoWeR5IwsnCMEZD12Osn9RwhvsKv7PP
jCEzwxG8/gVf+9hdNGazjMFmobKb9QVjKlxb70+mJCghYX3DzCapQMX11NRRuUiscKrTm5PleN6H
OmxQncA/pmm3kmXa/5MCWCPp5Tsp0Ik7zYHKlvJt62HSi7ltRjdnA6NwaxePDdxtHXsYPFej4a76
2UxuyWq3n2NKFeQF9ZHhG0zUNaxjnuxjuk3+TmuN4Q2II/mXvZX9kXbKlGwPnuJCsmQcjoEeztRM
Gk2yBWToVfEioZ3vXdBuGIMwPqaQFk9rpAMRrcZoCeSs2mmQB2OzhW7HM7EVbCQALrvH3NjppjYQ
vV9Lpsnb8b3zF0wCz9WSQfKWCMWBM1VZDMLAXMxi1niq207jRb/JqFLfUbxUN5gFkD+wiTjnS4mJ
6l9CwDrzUpchK9SVi+Z/V6jBKThgGmHSpzqI2J1/OiW6r2Pwb3eMi6ppcWhsYuEQgMR/8GN3wroP
mUVBA/z5D5pYQHubkW0RjTYxHCV0T491s23338a94cuzruwC/W/P+u3BxE/ZQHfj0kTkNOF5/A7l
gbCBzEvDzQ7CKiZa1HC80lL3opb5Sr/luceem3oUXnP0aR16dd6QFUwb0s449cqE1Wz58dyN2DKH
hU4YQpMqmgWjoA5Wielh6I6xNRDAomZFo8QbU4gP1s4I0/IpfMWcvFvctIwV0MI+uWhbrCCuIstQ
pZOOws4QvALJ+/18Dw+7g+bBKO1228PYftwgkDuFYcF9e89LuJpwNG5s+9ReGEw7z5+Z36oz3kKG
byQBbez593UxD8x+DMi+Q1tPdMdvlbjUmVRejNR9dWcQg5xFeiDN+4igK3Ru6j/V5fjmUbMZ/z3O
uY49s0mi0qod8i/zqFoi1E6OJyfxugV5HihQny7DzRwRQfhrzPehPZIXHb3I8eST0+6IDsao0Ljl
P6hwZ1xS7JEr/Cugtk41EqUTtouhMIwwe13JhH6P/7Qrz3jyDWh9Ovs3RU/5DzFtzHrqq6hjDsMO
BEdnzGVAFgotfAoxRwaWdJm6VAPLRAuBQyv82MwsI8mrKBl7fvDM+L9Dur7NRSI4r81HCNqWRYMt
nTZk5Bvi5SeaPTRjBDyzwT+6DUZ0N5nn4e6VbhfU5c0FEgT+9K9tdeGeTL4kj9nIXvi92OuLRXVR
MdXvho3UW7E5eZhCYBlwWvT06ijXMWQnyMDD8ALriuQCqgAwDXMow1YABi5W/xeJu5EujTV80bfD
9OC1xcgYXbzO0uW9aqw26AlMKGMwS7EOchKLxHO6SYbowRuXgceRcT9tGC/IbrVFZjM0tNUF1EIu
TDxRCA3ihLBeEx7KkJwR/Sc09tzL+C5v+S72Gr4rnqk3Ef2TTyybsB1ERcvyXMPTc9MUbjz+HOx/
TEvzI+HIGDZ3Ew/HmHndmhm8WNTvREDh5omK8iSigzhdoKCyNFWowUBFIuzUCsXeipPPugj7zWPB
umWAbY9J5PnRJREtiMGVQ7VAgMbQMUgTsHYaROYrcHYMGxnG0IwfiJ0g1KQ1E/U4pg6DRAVVPffp
LNR2Wct7iFsEAJ6UBY4qcRyA7+Vbeh+6AK35G/m/7macLPKZ66acZehckJLgCoWEooV0xDRDmVA4
MeWvKWiIzBuIEsyG7ygYWqSfKBher1Ad/fuMkMw2Rqj9cHRPGbrJIhIQ7jld2T+yOEizIaxLUVSy
K0szLqxsfGIiPOnkkzMSxpNcbGmPuuurfrniVzaVB4tlyZRRyfGeTJmg9O1oV03qutKsj56sk9Hj
8sVrJ4PUJUii/fn65el9S0tsRHDh/ho8RHkxi1UYr+nTLX8qdMuyIV0bNtP3WgiIMNWK/bZNpWX3
1P4eSPoHe1LKsqdKXk73UCYP5RM8pJ2B557eQl9uR3twrvcJIXv5Pzle+xVLhR7o+7jL7yED5A0O
/N6MQRmKNIlEOCGfxgDrHQY6+dhpim/UEOkgPVo76n6dr/jiCymygQF8I0xOPWbC2C6Nn9fTDwqr
INplrnFMj9fKUDUTWdBbdn9VP9UHeiNlU3bNm+MoFWzsep1XXc7UT0EiDDZeiHTJSSoDUdD/Cati
hF56U74Aa5WfLzcK5aa6UowuEN4xJhCttjm169eHsFEsrS7J/PGTYWOdUHSBJElv3X3E9clUIIPE
PUlITE3Vxw/qMsjYG+FvPY7qmRDzuChaRPhA4fcpt7S41bG5Ho97ctw+EsA/3lIvEQ2Emr9HNnbD
m89X3Yx6DSXE6If8oSgf7vDietq7Tame02GcIcLorNv9550iwk+9rBH90a1/jEz50/0ZTTl/xKdp
Xm8fv9kTZ/UWY5On8p7Xb4LMWmOidDnKdONLjF864vZl+t6hSFMakOUW1pHG2FB1QRsLRkTYTatj
DwlyNx1BDBnTT5siYCv1E9Lq3WjKYj6a8mXVWM0NUcnzIDH/mmt4TeH6AEnhZb5Flx2gWsiY9zHP
Yhsq2Brkpw+3g4pio+4+gBI/rPjMcgHendAPTj6owNrzO8HGDGtcEzx3la/YKPSwXpX0ORi3vaxP
Zwv/kht/XU4ZAjFBJCSncsQ/EAYhZOOnqtXG0ydGE7BZdnUY2y+3X8uTp4PlA9pKRLZrxRM86dze
EEJAmZjjvoGVkI8co/MgKO8kKEIkjaGTZRB7K+f1RgI2BD+8fQJtCZP8fdZAAK4H6liAl+aKSNoR
DjUeSWL4hRQ+uPnYQ1eXeA0vikclcPKhOg1nU3lZAlwdTDwrt69cSNE5PrYupEens1sHp+igC76r
2O+C5431Zk7bDTbW/+me9C+dN+iZJRMYYc8EAJbOyK6i7xHF05F2kaEIRQvEFNjGUOyXbGvkFsC/
o5Cho4RSx1AU+koJgRKGK3gqY+nnekQoCy3afTAtxQ0cjBumc8ue0dVzZiKvLYbfrIpQckkAoLDf
qIAjR5Yd9sikWWCaQ6X7YAMg4JmUB/xr0Bc8Zyyr9Jl0yXrsY90v4MVC2gxBR7gZYVvDLIe5VTcB
JYAkKKzygRNvwrmF296xY9AmZjjdwPYd6CekAV4GA3MyWBUb/37eiNcnfoJihm0fORS8XDzkMLXE
x3wPrTfGBJcPdvzcMUZnOwo7JAYurMSBU81ABvYDdThSWzzsRhaBEKTiHfjkX1oiImVjhndD7jLH
Tw3YQTFQPLiFFOsv7BhpciAoNy59MH/m/KDx5Dtf25UA8G7HQ71QXGhUCRsEMWdpeJJ2DaWqRB4w
wVOkO3bz+JCsmj9iwBgx+S+84xublqAeQgrY5yiXYW3mS2n/CoeDwD6MARxe2JTVYOKkFnA4hrFp
IQmUowsBGZqxqbpd/tjhdzZEQlBSdZtKAU2CVH068LffeM3H47gN6ayLw6p9hcM25hUGce8DPQQ3
P1cNuvFFG0zjQ1p8Klzc3JExw+DhELrXjO2FiXVNbgKq3vYBiJX7uO+/BetRak6rQmun+P9fJDe6
cMbQjPFvI6JW2K+4RUXsAfUp76SyjPzUGb/6OGCSJ6IAhtCb+EQMNLKfjC9yG/QE8PCBJoghHMlP
oZ4Se7BG6/qjVgC7xXxh+cUa0yFf4F7Sv1AnwRVvXWgXcNYZ4hTAQ2M3U1lZcNlkHwpSKqQONV7m
UvHDd5swKFNJRWa++8ZxFbUoxBIUuLMf/Il2+HsOm4W8geI+EE0zQL2B3xaAGXRQ28n0gPgKLx96
2J2XEAuXnyS7gGQD3oEj5a3gJ0j7MX6DhpuQTqh6Mc+9NMhAOFKZ6f22nxWRnvi8ikoKLse+rek7
YMzfH0cVdQoOV2gMO/+HjfBahPGMhQmPPcbRw61BKWxxm+X9UoWAAnD5cB6S21HqDQxVaVJGImJo
lB0kuiRBQaa6tuCwdYIgkDdT8MDyZcDCQSUBL8iXcYOkxVMLFypoIWJ1iOue3TFuwE5dsI19mmDM
FBbR12tal8k/34/lYQ8PkCyhycNwKJH6DoPlwCB3juG+VwgIa0BLXP76+fVQPKh3A28G3RTaRYYn
ROeUOC0UNq9Q1PjGhBxAoxKOPOXIWbv0Nhg+ONw6HOwJCmRdIiN8TkCOvCg1U0OjxCSExEqsOK4n
t0JF//ztjNfTEZePHQPC1zB5YCdJ2YF0+y3jxQkbi+wG3Jet/ihwuhi2z3IAehlrOxYt3H2JmWBh
tZDDVpLTJVN+B3UrQMtFV7/L9/7I3PwdwxjdtUfm7rB0YKroAJDsP50jEnIIlewO+4NPKqXEyxMH
40kJbrLWczQfHgMYDT9nPKb7c1XEYSe841yCCVDH/BPDlBhgfYmY5V8+H03TCdPj5Q+aL3cPka+l
XR0A/D84hjo+crx4DXkwvyg3GcAwdfvCof9Nud2Xn+jllpCsTQ2rCBSZAowbIslP82Jbs3VEv1k5
A+7s9y2d0AX3H99YGItyNp50HvEJKAl5t2lr1f7uR0w8kE0WtCFYNzJfSIoedpbk1QxPAvcle9AV
Y7W3+UZBFE9+NsbzpB7RoYErXjMIwmSGKNN2jmxI/ZjquXfkEM8+p3P15ZAhr3sDDjSaUBN6I3pV
RPTzdAYlZU4Cx1JjupS42Z6ZsAKGN1qNyfiDewR8csLLbahPsUsTUYewNmNHb+K/wDNGPhjPIs/o
D3kNIZexa5B0hGtpKCJorgcPIURXD82ChQ/NSmdhHK+yj51hS5XCC7TeBxWWaunQpXAEDVcICe+a
ol5cHoFpGpEYbababuLCpmCY+yENMOGzs5OuugB724Ue4hbnsA+ybDFlzi0mrzjxkAVk6yFCYyhQ
rDgtVIgEWxnyZMlZBOOLPVgaQ7qhusCpFZngy6Yr9PPF06cpu8n/khVS73RxWl/Rfc2e89cC2xR4
k76Ex5Hi7a/TGM2Gv3FnJ48lmPlvRcA16g6Hwhz4zsW9uqQA/N/nIfU4sQ+iRQDVAPSqMJmjbOR9
u3CEPxwhsOB6SBoKzGMntVv+9TdwmsiYoaLwfh7p2ERTh/hTGOeYGRTR0me6GfU6vuJgpeL2wfi8
oXN8ImmW0GIjELf4hg9vgeMujs8ubII82HvF+bXQI94NRujs5JMFuAULCikSL9WerENbPpR74Ttk
qj+2w/MueXLULRluETMDGdIdpCArOXizv9BVDy6OqplvVPNOnAk78eVxRAmEP4O6gJiVbmFHuvEW
jGafRSfCkwYdZeeAuc+GBN/TGjIExwVvF0XwZh/8qNdGU6RcJm5ss9dUmF1Rh24I08bcDpwViCbA
Eoajh9ppoeDCxFA9kKoYyAjusjWoAjof2ifB/PkjvOF4Wg/pvWA/YfBkVeYPsYF5wvEAxvxF90C5
QkheDt0Rn1ddkIUHpg0lJ7Oqy/uCmkV3aJh57Jhhc9dT6zDJu/xWyrG+glaWW3V3kaZo8zaG24nT
cnAuAf9Cu+HnxwaBCOoKarsjkBc1iLZnUF5hatf5LzBL3EyzK5ZeLekOT6u6vZhVfNGLhQ+cJU+4
L1PBmRli1r96l6+qm+KWU2MNVU5eQiHT8OZYKFNtwp6I7v+R3XgzWGfMUIjpw0rojdeACbsabTpP
aE8hwt5wYXiEffiPsLb6jhkrZS1WIZwvHHfAwxXsfqYauJKIfGjakV3A8PQwOuJE+ZGsw19o/kyP
SHjmyKX9hU8oOx3k3cFnno1GnehqAzXXbWEtMtZBz5XazBYbvGSYdCF4BCPCJHSOBxWlFK58zeEn
wefESsUeAfEzp2IJroJliltAis1XhZkTq668wteGuMCLwvoEDfZnopkbTJxi7snZ3x/IvtuT9x2M
Z8rmBSyyTRuXtVhBsXMnaglnRRNI5MAUK2dvOcJsYNI5FumlpiLzwiV863u5jL8e2tcxF5ypEkeE
ZJPpMsK0bJD54iL9Wj/WMhxUxS65drA91kCg6iqFrhL8mOwFT1x5UEzwRNf2gBG/Bprb817vs638
nWAvLQXdAo+sWVV5LU49DD/C57+WnLb1mBnE4QX89yetiZ3JLHKLV0LQ+9Ih5moyD+YLTHg9zcab
wamm0rV0Q3rB3QjnmwpvLNoyD34REJn19ISDclBZTlD/BAZ03Iz4K4tUj0OGNu/lSKWDVTEmY/hS
GdBQYD1qngzGSA7V+gFAVZtjLDWfoYIlYm3hgEvvrMMMc8YQGBEllDa/+MO3d/qM6Db3Bf/w7ZDF
NLBjkmFaz89xnz5+DsbcgoRm2lYhKwhODHsOl7AvBPCBfDiKSWE0VcExEodeFINxw+Q1eEvR+rxs
VbdGxEdsyukH9yts61zVa/hOTvG5mya394avOmANdlAGR7wk9u6ktuMCaaXzz5k/1+f3rd0N2M+1
wqwVi5s3cVHMBpjI4cnhvl8EdMCntAtiIYgiJ3Xz9v05aAD49xMkJ3jrqaUkTvtzaJ0ZvGEOPcXX
p+dFVoxTaJ1hrjOshobEWoqZpGTJMDRfa1KG8h3oK8wcxa3/oFAVpNdh2fQPpSlkTlTzwgEO9vte
0ue4tW5WS6JSXut2r9jysbjqy9I1gCpsBaIUSrW9ApBn9Rg0KqYI+l8GHd5Zm9gghoTmyf5wIMRe
UIEZBGh4P7wAwIf/Ndf/aDqzJVWZLQg/kRGIIHirzCAizt4Q2tqiiAIqIE9/vup9/ujJltGihjVk
5nqZoO5glcFUdWgTPOmnbIvbfjn50ELTJqVeemdxNvnuYQkGfJgrUSg87nWz5gk1a96p0G0gPk2l
8W7S+1rfX2yY1ARs+lKt6ZOK1z+iT+gTRWU/pwCgWpl6S2oiJ92fzZBDWzXwnc+jSIu0E7PC/Zwt
KsDGYlgyJlEPWeHpW+AE0UUj58AKmvzq63x/9b5TYNmUZpm8VtiScMgwL0DCAmsarmD/oHWSrD8g
RuMBVV9OxLRea9gUXs9XZ8kcr5UcvGoUQcXTQo7kl6whcdcSEd/hmlBNsUzslOy4DxAOjdpyWqD6
QsoEAuB3D7T8CpCIfD3oZfCDbfCdtDPo3eYj6paZQ4ZYZMpMbQue1sh8BX9jTnhGpwu5ijdtt7op
87sjMjQCH0v+zh6aJNxmxpFAuwE5dcx6OhnOCUqYiHqZ0BYnQyENNe7534mfjhcCKHGk7ayrmVN5
EXwXZfjui17cAxpwJrMJiAkTMWPpokoxXGcGhKmBzCwQpDwQT8rUcbekahM5yI9JJfgXhdVJ5++G
677xjGF9Y0pVs89T4IgxqimIRAIdsPauEMgMsg233fdAX6fr0DHKQ3lIo1vUbmXgGbPWYem8YnFd
MN5YQAzKx4Nh6htc34KmQ76KJDDKo7D8yGXUbhsgYUy4nQ7sTrFWJ9n+ZfMFplxzsKGMZIoyCXNA
R7dFWglIDZP9AtxpSqwaCBqrOWm9lrBge6pn0A5X3fh8B/k3WhPZJ5tiF0Iwd9zNs+BiA6Sc6GDK
NPBmUKlMHeurMs/IMTn5lOxHsWmwZlZAxI3LGcCEyPe3cD3IOjGhwgtAI+kI7Bb8QGpd5zcMUkBx
sKjuQk6APAHeOPhwnOSB/5mOjncLmTXyXI2N+6c6zZQiGjaZidV7gdAAGOTXHLgs2NJql8NV6S/r
05WxtGMKDjueUDGm/E4dtcvmLwrYJ09QYsb3eQh0wQbknUwcaimCiA98IBEUK07ENC+SmeGE7eiq
wzUlwL4HfYhJgySVUyzJrz9Q9mEpDBhi1rqh213Bk7GuFIYOTh3Vtn2zz+bXOUJJAvZMUAkddkYC
ivBj2JTX8fbDbYs+TFoqKOANlB7xIxBJjdlMNESl9sBvsdFarJXWohtHUO5nuSlPwKJQIv7ipKyA
FLtz7vbTaSbkGp3O8F+OCMIVbhcoZrPCEPQR5CJP/LDBqhlNTFN7kOhh1twg1NyFZPW8Ui0EaIsD
FETk3ggqRj1UFx+HclnE8JLcW0x8m5UYh2NzCVrzssyW9e/L6ocDcnxYD2ciKTHZoy/5daJ1yQSD
kTAZ8awrMxbQDnzsCSUiWsF9fwGcOgrVgukfCwWvAgcc1zpj3Z2BOk7HuGD1oj19Q1J3EN5wfvZE
lwh5AZajrBP8EYIGeOU4tRDgGqRZiAPQ4VW4ggZeUHq1VQSbssPsWSLSDqSgDpL5i4Xs7SoHGcnZ
XRmCtjJ7420z3spcF9fw6p07j2ifSGrPCU8ka1XUXzKuCHhdbFRKRofBdEDx78xjD6a1j9UgHi6g
lG8qqhllUB0k0Xh98Anx9fSIO7P91WdETSzJSvGHYH5KBupUkRTQ9X4KjFdiWG6NIMvg0NpPLLeY
0q9oPSIZxYJuMgUEFfI8k5tfsMgeUvRNgMPEQI+pxTKDJEk5sjw1eEH9FozyQOTpf19bAg4ITiAH
8kPS9vm1oDB98XZYkA+P34wChGxl1lw9FRPPhwQv6rCNMzpBbL+DK8Q2ZllFI2/88GjvMdpcqOdK
wmIezR4BcXuDYJOV+gSqDfmnAPtJ3Y5i+tnCb6tV3JKr20Tf3VUxXiTGChtAKHiZQTYFP/UFHSU7
KBGAJolu2Fig/UjtnYe7UUxN9uic7N5Hwq7Y3tBzIGJAErwEwDuothwhHaJHP2TxTJyd8XCLZNT3
nKSeNpqPwKazfo6vSCBX+L8oguq4lPfIqiJIiVO6XGP3Mfl0VF1lZn0cLa4BLQOHhMe/Z+ollwOj
+ra4gMhPsOYmtwXlVkXn23fHG91pDF+FQA8+DG4Rgch8X/XgDTC9CVENQnJHQFb5PNt/zsArXoX1
/dovZkecC/WYzdUN+xB9JFxErcoGwAPqPCUU8IYUseCFk+hHjYLAG1UU+J2NYCBTdcdEq4JQgFJY
rNg9UMICB8Bledkwi7C8QtWi4Bfy3hlhuALzBwTGCr5LkVjku8s5g+Y1fc6h4anjspow6yGqlUmT
I2s1bGiGXH8JRHNFvItP0AU4XysaiBGH0wOtGjoOQf7skGMLKJ60vvpQMcAY4Isa8Q2lgnZlYf5B
ZnKQW62nuTHBH1HCp/NxUoCKb+ttidfSsbU/UX+dA9SxCtB+PYvoqkFAdIwWrZGeEf9JzyiCHwcI
ZBBg9gZm7xeJ/+fVRNpVAb/6MFIKS9VIXcny+LKjbkVLjSQBJhntIYfYH7e1iz3lDWevI+rnAjYD
1nXLcksuBls5j0lvYLFh2mqICnHRqNu+fiV7FGjRCXfk4anw7e+mBjwc7+9UxIqAOwxTg7T8OJXg
/Iz7d08rJ5cTst2E9cc58HLc6j6uHOjm1sCIxNS7UOQBng4ghAa6N4b/732HtcCUVCPs9pNAAQ7Q
XYOCjANxBmGonwvcfawjluqoFWDbLyKqKPvQh3XdQM2TZuwsXfAoUcYkogd6p4c48WVCtBNRNwXP
DH28UFhg5FL/YqJYeMT7WnDM6DXsgQ22yHplltwt4QIl69vH6TCMoQV1K6yzTxUCiLkNDH7DAWcN
ZdUj6JdQZeNqkrlNd8SYXlCjU1gsBrmuDNsA4/1HyMOBdUnPqO6WG7w+zNL6Ni7hRe7leSKKAY4u
BnLq77+6s9TUuh4ebn5Akggj/7tWfsGpgrMohTdAKBQiEukke2gTr2EezibxA64BstJ0/5tFhNr9
EKZJBfu/BlCXoi7B36fXTFkYjoTR4spFcYdER+YxSijIDXy0EKXhh/ii0eU8ogF7h6vbTpglS2CG
yVI1AZytX0wTkHOHfUNFFPWXct84IUsKqwjoX43w79MgcId7gdARIBhcU7IiYnkbESIkzoV/QdeB
IlVYBLb5fu1ZUIgpozqNmbr4njFciMSSvCf8Kp01fczj9Ig/owR+t/tEO7HR+8S5iC9h2xD2IxHD
Me2CfFhEAJcIsFoTHcYS/Ya5idBQEV196ETSRFQn44mQgJwsiSbzmPDqrjFPiRkR2iX4oomGgoOv
Q6dDjRBkxXIY4jqtFOamdLyS/aY/0WMYvdY7eESvkLou9MCZgjsjXpKBQ/IXBwd/0Og2xOps8nN7
TGlMMaRzvGaVLm5W71jyec6k+pIIvAQMMIgLJrMOI5Cl/+L9ELuaXtyXcYmEHXmHhpPPoChFNwYW
ATtabJPPadru+DoPNu0Rl9dGwH1POqo9QjPGUKxscoMwi5mtWRrSGU9EIgDpqvGV4AH1m6QM2Qzj
B003q28+l8lPvb5pfo4ku/aTUsfCg31NugLI2c91+1kU2kQGWtvZnwVFPMFPkG3by8bLNa9RTpmA
WzGp91lpvKI2fEbX6B6O7GQ2AMk6hq+UU/VrDFJSOg2QIyXrtiT4BXlAB+MCb7QQ8VVShNc9fOUL
JMwzqHJNt0hADqPqWB0T6yO42swj9n1NlccRFou5698cDZI5YnQi1Ce7Z+K4W7g3w33nP4EEAqHD
/5NiKtOjplVSbEEHYG6TZkUaBbURlgSMa/K4LHLYjniAgP+g1jHPNx+D/EW5EjMDLsMDub7Jkjmf
Ja45lyJOTtiNx3ifNStibzA9Zq/Vy77Mf8ZAkS2WgG1vhMaLJZOQOr6ziUwWE/NAZlVAqIAUDZE6
MickggaFIyEEaLNkvfBpyMD1xN5kd3KaiCFooEmFWc9CSaas8ihB7JST63iKH7CXpmAigCSiojat
l/jmBOVxq0Wm4dCsMCo7SmIDx4PwkJkwUOYX0bQ9s8IN4T1R0Dy3GzvzIPXNqIuNgkxP8DGgC1Ju
ZgQ6sWWUV+vd09Xsq9vFnU04A8J1/P5b/kmoUnSL8ogwkZoViznMIw0DwMM+1ZwE3HmQARvh5u8o
QoKIxp8g9X37KUEpS276FQVfpu8jTxq3CwEr56fZNsSDEBMfY9p0MaVIFulmeOqlVnFMTgR1LGWr
asbAfnu0XDGGwdBTEPq5cEUN2qZFeon8cqmDA+pvhoivwdOcvrQJpnTfx4ErkAse+t0UcVlzBwFs
QXwzRs4A/MUbj4InQmHWCTnS+yzmtpmxRMqPGp/DSTnHGP/slVW70DY8ISDcnJUyaDWGNrkn4uKE
E/Cu8eQoj+IxCVc7alwCeCWRPU+3YoFCoSSuAdPdrI9dz1CKqE/wROX1BVsQ0vJptK0ipgETuqZk
MOVBpRwklIq1riNj1ENLEDoh+VDyjP6xDyusc48C5M9rwAlIPoveoIhgAr1A/Kcf/n6vB1wTQWgw
aKLHNCFRMl6Jv5p1JMHmZA5cIyiOcCXwEizxD8Vy//ZKoWH8Hc0Zahwq5e9/se0CeRFOeMyZJzNI
kLylsJPYRKqfV+L0YuO/y6WcWJxWHND7e5cabvzNHN4VLrhwyv6+aHZEDuE2HI/EFhgWFrd51Kx/
23vj2bFd8qlnhJYZtGwWwYjMEbuReKc8r/gNg2v9EXdQu1wXteQD9dis1gWsGgLi9qtTdXrs/m0G
C0mBbD7MlQSYysbavfiZ899vNoFK8jgJST2nOkGCJf1CAMul3YbAX5V1y0UyYgu3AcsPVSjBtoF7
AERJDNOUTAIouLEdeaMBigSqRWbq7zdIbS59cRLvytXeXET8kGQUO7TBG3AJqVXne+DGHPEKMw2V
3PtJvPfmwKvD7bLvfyflLzzhK0zm5FeZTAm1UZm9iLh5CnJ6zxhT7HtosCJoByJTb9h7aLNzIXGx
t8vpxVsJbwLn+veyDC8OhyUevzDb/k51j9qgDKsaes3g7/plyNbrwxD3gh3ZBnlchv++qNEbPiJ0
A6IL9YSCLOby96ha8hJsomzf2VaGxGw6aJ5tcAezyr08IqI3qMaz6yNiYU28e0SB5JCb3vOuuDyH
BDpvP3kl/upeGRJDup1GBJKCEeE9RPAZ1D1eleO9gJyTz4/E787Yy5PZCDUDnRUc2QPQ0DIhT5Sy
+RmImcACIrwUv79mHsPo5OmJjyq2SzzTR4QM9/rf3p8DRcDYIkKmYhup6n+7qpyqcsVGcVIegTi/
uIo48783xXGqRXJG7CHeogPY4jixK5Bah9aqlhVESZ5+Qnsn9o2nX7nfNb0BwBcvRdfoRDj13xZx
nuFvYvMcYXhXbnMY/t5OHGGKc1SuOOB2ElcSe0K3cu8RatV//QtL5XA/CZqu2Eu8l9jNQfcqV//9
d7R4byDTN/4dILpo5fJUxN6c7t+hYiuH0JsrtoMRo7OK/26nFhCN2PrvePHeANsdLOMJ4NX9JPGp
dAgM4j5EhxQ7DhjCtANjQPwv3vkeRK8Xg0b//XK/YhyIoUP5POLn4jGIgve4bF1Aj4a2D8wxesYP
fsCqRQ3Z4UgD3kWdGbw+rEMs+WfcD5AsX5bs8F6iZBa/wlfYEI2ML34RFRh9VKbmzZIUIp9/2Q8Y
+0xm4OM4pB9UkdhPPoAVA2T3ij+hvK6ikr9MReI0TFVXHyAdezLP9gNmgcyZgY5hEsR8Q6/gA4Ud
RT3mX6Jw4oWYzMSkhsXLF/lmfqBEhfjDZJ8/MVV6zcwBwWcSieX4+Bt+YnwONstYxU3ckj1MJ1ef
C/IPlwBOzllzwYoj5F1MHpBvUW9hwgI3aiLWibRG7jScZMRt9JeA5sUlxZfYiwtZBBDJzS1k1oNI
s0R+UrOY9/S1vtaYYMXpiLv9vc1pWcmX/45H6KKJucy/8yhmss6dI/O8zp2gWsZ3g4QEmhZ8ISNn
Q9ZmWeI9oABbUBuiXCh3rjniBOIa+qGxB4HG/aI64upI4P97/9/nEGuJNBU3X3DbOXcsTvlvD7Gn
eA3MbJ3xOnOqHdM32ell63IyGl1fi7dHxLtaxEdpG9HOOBX/Fqp3JBrzi4KOYqKkYH7mQqsTkn8X
HMV7yqSAxsSmgaEfZuJhPllqeE5i53+/ZZ5jgkKHySMQjOYBoci/1gERDCgzwX+NaBt8mr8mz53+
kpYXnUPcuShFJW5U9IN/bU1vIan+10XEWiieivy3Q+2K9VF8AA0amuhIYoty+PufDD4vrr7ohty5
ZhU0xL998MFZ4MT/oGwIJvbJRpCHoOFFp+uzyj52IkNBOZS1OLv4eexQ1MIl+rcetyxuLaPyfbr4
aHOQXWcokyMSw9iXWJD/rXtXhq9YkMRWDkiwhBhhtSsd6F6BymMQ28g3cPr7rjoRwqeXFSze/45B
eIanKG7gzntiG4sb+TZX5hJ/h53E8ko9139DDkXlHUHPvwYQ51XW8oFaMGQWhMEmdpOZk6lg7xYi
iSHeFEdjPfCZxaCVubE3rZpAfU+YrcTnFa0s/f+U4sZFC4jWGlliVItWqulZ4ue/1hHDRTwvHqOB
ceRrm3qh0qm5deyLdkHkHcTRjYjjrtjR3Ac6wImBhk3ULu8/5IBo0RfY3JNKkAlK3WXcPAwGNuVQ
lUMT9pcA7dfsjXmyRIQ9xDyNCd63S8Ip9x8EBgCAj5/kAk78BeWqHzQyGaj29gNmkXUn9hvyZ6RM
mI+65RuEIYIqDcIHMGfXj4JQiXKYUcyEFAJ3CNQGjQpIig0oIWWFD9AOzGJX7cTtEmcX981mMiro
j9LpD02sr6XpbfeOqqgiAnTCEH6f5MPtRzkPsQJR6IJqcGghGjTxg90+c9JlCxnx/lec+YmoQdFf
jjDVuDA0S8z5EyduuRPIzLvvtJkijuNefVqpWzKvR5+wohFhjH7m7P2OOAh2//Bwp2PR2O2S7g5m
+lRH34Mi2k5i+T3R5Q4VRzO9rzS/iZkP0q2yava9zWfe27wXow2u3uwJHaJZZfNy1W2GO3Qvitnt
rVcLOTdem1F0X6XzHLjEhhfluMOJHSOlW3C/O4Wqc/EQT/iUxF8eWDxY9KA7l9D5Mr/o42D1YjUc
xR1YGiQk9/n8vSDcGF4P6gLq9hwtTlY3lMkWo1B2+2EXdvPntreWFw8fWQ+6yZRb3DT79+y7oiWQ
PIi7pbxi8br/0BpETXJTP9DgoMDpIjxnbGe+B3+9if4F6g7RH+JeOhAp7BsMMx7YsliqM3VJzbpj
/3SLtNkNQvnseqSOApi4SJnmhy5SwmEMedpvED/TFtjflEcjv8oQmWkzYQs/ofd8p7co94oFnnUZ
6jbIsu3Lr3f9k47+OrGC5WNLJThUtmAAXtfSvI30lRJry+emv7sFMJzjOw+XqLIvxvHFbP0B6jNZ
3AWPHVJn8+f8tSKriYrX/oJ3GA4XcnSbEVwPsC2XSGDMhjtpR0vJp8+u/UMjIacWV0eKl2yu8w8+
92ijOn+xKvoT8gAEGSpHirQ5pfw8BYmQz/YCSlhBf6E3pWLOQg+Q+2YBuvpIMc2TNRw7W9t8hG+O
7JqbRJBIST09p9e5htGj2NTCinPvM39Bd8vDNBKmGAYtUi6hNEW3MewzbjfXVbkqZvWinD8WNRTY
61k/IazMfj/SD+oPc337Wd5jStiM5tflDeVIWEEJIjLoYQi20cB+OBCH+rG+lBuiUTjn4JJXONGE
BHB5CWoQ3yb6DjZXxuUSMY58/j036JCIElMQh8a4voTe8PSHZ/3QLtRNb3PbPum4yL5HykrMGwcG
8Gufs2jWC+io246nF3MQ6fQ+yys86Eqc4B1995ytmdaL/vK71zMDkKbOrsKcaE8MUiYGxjRxWTGt
nOsFl6GHMmPhYrMqfcE/wQsg1LHlDfnA3MI2ZkGGzQOVFewi7DssPsgLgLGIQJFOrScSLv9CDbDJ
dMjBsZhaOevwoB84P1lqLqajvCjmCN7/GzJMsUx5bFMfwlipT0zNLLnfbpw9zXogwKf6GROlYXhc
qfQ+xp4gr0B+lfaQDjr5DG5mzf4Eg2WX22JPZdU7vuakmU+9Y+9Im3A7uKXk98FPsBDwjYL+H0mP
Azgp7ccNPd9WCluWiDBTFI7++X3CyjywOjBTc9qEYcxMe+Ki+oHLixA7OpxU9fsLpjOxkaUnls0l
+KRc4m/i5GS0pcL0CqMlFy3PqXiT6/P6hvI66KtcnIl2Y5XhULbSBlyOnDI3yA2wM9My8QxmDVqZ
2+BqWMQUzeaCjx1qoskxI899tXV6+wtiF0TqOk4f1ocOUX5+1HtQ1JOKkkT9vaoEg9RWUJ2XrO/d
JSzf1IEMV+2LcH117r8M2uo1gHA/BAITJKQpXtoFYKbZnpAc47m+3bz8HTKOuHlpaOWKl70F7yUb
+eWeLEMCG7U1+EAtRNO7078H2tvRgROmc1YVDBE+BDa/mrhVPbnKU5GdUHd3KmRKmz/dvckLf+Rt
XupAKaOC28S6lMXHuQ9NirpYFQ91TWwOwEzVWRkV7UDZNg0+6kB39IFsJNmQcn8mbmuJu1LDM4hv
YIIHqA58J5m8G+mrAk3hM+C0kpRdz+1+QP9+tPEHOBjnwQqmMN/4jW2J9nFL9arTYwWF70oQNRyc
wFxlKfk/1ASCV27gy6DSwVy+1Alkpk7yV4bwOeCeLIJMo9zKS6u+gvv9oIR4VDVyXTPoIo8NqcHR
MaPMZXy3lKjzGXoCzjiYtCfi+30ZFKKAfqOSyTM35R2LZtDPJ4THChTwWiN1Ra2uIsCoTsdLAn+Q
eWF3MOVz+uwZfFaMqOy5kOTp474S3CaAL9OUGpx3YBoY5KQm/av9NplXJ2UsHAfAiqSsqIrJZzxU
g0kuuQC9eJ7D39HLBLQAACunkmbmFWz0JU8BW2k8YTiaKmTWbE4icE10FoyL0XPuO9KjAMRtRLze
KGzI4XtVIdnSndJV+ZuR+9zT+KRvne+vPtVEYgz9CVFtV4+lIzkvfSI005w+MtFfNEFlc/BzdT6N
m1AW2iURDXoVLUO7CwjjAEOcXJYXVFzyZJZczIqxdQbgahdwuALmh8EkXcuVIYMxwCUgKs0sN0ko
6KpYaOhQNxKGZeXoSghR6Pk4Jl/v2jrDdiffIy1fDhn6qhrozXHA6Lylft35n9tUgI1GJErGF3We
6AjxSugw7HotDf9BPL3rg+2ngsvAbm+Ub6YKM/p/eolhlXbjGmWfN24nSbWuJO7WWUU0/K5a7fR5
/zzec03/QRJQkiG/gi6AG/5dffvOo/YypPKpTZG4TeE3b1CbcMeHxrMAIIX670vA6IEgDAJIVLcc
IDeiWBmFI1F1KaYNPcxq37MequOiOiXMANB8vcq5S2EBoiadcN+6ZjAdMtOS3q0qk/Qu/+Z3Z3S3
tAH8TvjfY4JIatDfaEyeK5mA7l5SvFKgKJ5TFgbIW3XwDVu4CAhV7bUXjFJi/c+vm1O0fVZSsBCU
3AjGs0G8AIN3tOGQ+wltEEEWUzur7LuZqMt3Qi6RSBj4rAfgviSsP8bw6WaPsfPy79sbJPOYeRue
2KJDdZzS55AAqIkLAdKs+TxgclgoIkCOKO09lngCzN1MC+X6ukkAcCNuvLpNK0JkqOb4mqtPn5QP
OBNWtqCw97oY5g+heHC7rBT4UrnXL4XsqsMQyR2hrQRrFe4NdBdEMnSvv+F6LCEs7xgmH9WAogRp
44LrGvfOQxdqM0l/+WMofD7d/yJmDfdCtb4hLDWhalqhaA3ojHxzhrLMBEEAFim60xc5FkMJNZqz
GpNvG/4Kat0AMbwPz11QYnsQmGKwLBRsec7fNcooBtzqAtXnOdYCy+lr/81sSROMQjHLj8CaHlir
mIISigapgViAdUfxnmCziOnG+Z6HlMjT4Ys03R0NxS3LHS1+WWeh1E1GPy33t740aMeIUsMUmcAv
+EEOUwWd1M0KZhxk7igp4FMLnlMg3emUYQqLEe23xbch4qt4sl2DuIfYD3T3i8dl09VuWxCQc+oB
x5e53hB1TN3ST/YVVaMBcpD5KhhT6L+EkOCqhYqoCmmekHQQiepEdAaQfRSIRomC0DVhkqj4peoW
1eUgGSBoD/1mrdvdgunTEVyLgeKwplLR8OcJ5YgMwg/KutIYNhnsKfovhAgyO08kBEKpOdbyzdS6
RTm0Ogbo1WSUpTRu1W2+zMMlUziOCr1DUS1pSPdck5VGTEiT/Lpnv8jAE6Nx6HdUQPmhMSWoD7/6
5OtX+/tZheiYQYbE9Lpq6MXUXhqTLaQi1DpBZQcphc8OFkEfQ/izByIikwShkIdQ/UPgfpK5g++Y
IjPnyxw/hBlAHgo8fPkGy4QwMNZp4YMLphhV+0ONRKf1Pz8KGnJfaxj0QeQ46KmeUZsC+h9fXsDC
jWuKklvNjPDDhIXOIN4V+72si31FG2PNtfaUf5iipI7GERcp3hNQJtABIfmr8GqEbCtukIqZDWBL
MLby6dsjGX6xq6O8SHPkrdDsZzeWIMbvQcKTuRujG8qJViO0C9ChvrAE/TzRPU6tBhr7dfY85wV2
E+Ao8nyHIXlfRBjAEEiEhSZk+rCAuhD5bLBLuuaozdCWMCgwsEDZ/TR9nBJpx0BMetSRkGFWAsEg
8UNyEIU3svgFabkjwZYAzCY8e2CHRBRIQyTMd5/5dY8WA05ef4PiQQ2k+zZ2ET/B12n7wN24sXyF
0NhWc9ojZt5rzxjY5Iw3UnUDMgnK6rbIbHnJ4wPN/yWoTiYXIUDK2YJfx0Gw69JEVx/3QdklwW1R
qW4LVD9BRrl1AKV9epJgY0lqbvUf8yZB/WYk4trwZ0nQUPa1b4DK7hAnp5lZ/HomUygxW/jJffQS
EdPcP6xRF+C2ktrgwGc50VcJa/fVvC0IC3YkRXMyc7fFl2o7Qrc05Y2w2uH/zzPnTixAYHpZlMFT
ipK/zDOm/LVrCfni3vQuOiLQV3jRQ/R+MGeA1PVC1FzMkT5JwHWvvyjdE1tGLY4sA5lZcvPfQAsl
F2r8cXTsNsruudXsy1ahGrX0Q+3hz47KnLg4F/MKoB3MaDpBCZ2eWvtPBal7UH0W9WXvOeVzxnDL
gAkfvsvLDkXC71ZbaZjT+Bs9H59v8Ak3FOsWclMbyXgubg7lo08Ic4MLGasIitHdSEh9qdRjfwbQ
6kZoHJmJdlIf5pCcKtKtK5RFaslOSDYz96J3RqBFmUqU3ANkB9ZuQGGms9x6Uk8zMMbaoQfHNkPH
gikoJLlKDtUnb83akfe3T0XzyrQylO8SgUY/BxTUf0w1oEQ5XtaXGqEFa7DiJ6RmJftRbNPtrTdv
VbiLLYMGdTfCXJRiIJNCOd9V/hfOJJBrfeYlKtOlR0Z7Rshq8ZrXhHzEf/RNV/xH8Aeba/4K6wUS
JgS4O7ea1bNy/+LrS3p2dKwXEiGO+w/mvugAEnd49WswId2y9G7b13wkLA34bPr5viu93KmpwErk
B7PbJ/5NJLEB3lET7iFkT7we1tASZ0kNlDVC/UG7VAP5gNxvLDB0r/hBJIxRcRiu36chgcQnUGuC
SgCa9PUnzgh0tsRA8YqJyFFgI8Y/y3xSrxjjZEei9+kT37bVruCDiigdarckWeWDRHySgNMOx/Z9
EldDD3v5Comk7SQiU/AhfWVNCOYTt4t2kayJ0b3ikqgdztnfMWz7i91Zbz4JDTD7xMIZF7HeTyhu
XJwKZ7YibNKQNcATJP5MqC5ZD0Capz5Lp4C16Osvnxp/ibUPiBs2/Y5TE3gmMPiJRbs+dvpa5FKx
FnFwb7smJDa+xnAhASvEx03ivRdao4pm950MFGfK6lNHuMb1MuNmBsgK8ekA84pIFACpZROKa/Jo
IwY9P9ysOyA7U506HhPLAJhVPEpFJM7THbOovhbBOXE77YLYeFifxCP+y9aizgmaNUIBj+3fsIq+
IS0Qf+aVCAovaa5BUPIsbzvdI9OIdLYiFHdoFUEXe+weO9EK1RKfFlXtHXSPWKVHSAdxNY4mBkZC
WBZSCXe2FieR45LWt52IZZf0pEdEngnLx3qSCipDkSoS+aWUSHkGHItOsMQ4/h6Y2t7LdKcIxsDj
JB2EWRHBHBltC8r0lgfAc1ixzJivg/yLc9QFPZgFva1oLNTlZtXiPRscP6vW13elrTpX4EdoH81R
8SVMPbRZvmdtNJxe1vJcnl8O2kJdjBb6XCUKh13U/7kHPbEbCQV2nyTelyfz0bmp7+EVc4uPHRnM
dPddfw5QXBcvbzB7HnAbN+W0pooHYG5L8e5BRSkjgfF4O2jgkavIiHCls44Qkw4DEPjI8WUrngA/
vpyRc6F06nAueZe4XCNTH9yi+5KzEGjP/Occ4xW6xN0gqodsgW7cQD6hLqlE0AEFAisA6WkxAThD
Fwyfj2IdSwISkpOhKYeou4Hf7aJboE9T9xY0XhdB8epZMhUQRwv4yCgv3tyhhyYSY1G2qSPtUzWS
O3sEOpyI6S2QbIQuNrBtF70o9ajg6Ah+rW72KVsr0JHIOEL1niWx6j59ZfoIruHDbQ1BIW0D0I+X
mKQ6MWfSGIh+Ui9z2kcim8CjCYnN7nvDBdVQXVS+HdWntcMB5dwGfs+EK2Vq9iuQrRystG7kCLCp
NvxG6xV8LMEdoLwzmdvRNgPiDlOPKg59RFRxZ6qNEtV+aVPg2ZVI3yIy7BSLnIpO10CLwRtPJW/k
tFE/GsxuZGBquvzLfiyYrL0BiYyP3VlfR3bAkaF3UYNhICcSPD3yZysED0BPlat2U6PggL/6PqI/
DEIDMZGjYDXq7vv49jI3c7tfeaa4FZDwgfeMbnEeXXf99SPWWG9Q9cvr8StATJAsCVLiUDOZI2cD
ny/87S/4DZFKHMF3SGf9DTpPKy7Xw7rOoblqIXVk7IE3AA8HBdJD8pE0z9PTgIYN7N5cmwJxEnkx
KNgfsrYi8HplLOgujM5IjRGcsUbTCyaHndLyL4LPJGUXhGLRMUfRiCmysQFiPRblilaZlsbHehOr
HZD6YLkz65kkklki3ZvFZKtntyANnk4aUDTRuYYZX9K8m728eV9wkaIUaDOUBSLBDMQtFHEw1xj8
VA1HPGaCAIGFGKNRUm0us4lnIYMYqLZOlW4QG2AbKndEmBxxoynRHYEccgpfm7dwJSuGReerDtox
PsUa0Zkm52RXoCHER2dZJGotmM2AuN+bHpI2U6HnCSRqep+RDVil28TLQ8ojQK5KI32uzXqL2xIi
VmeN0Kkugt6i+VXxGcaoIsG+Gs4f9sNWnPs8RXlhUZyHRwRV/I9H2L8EVe980UEd4uci0Bs8gqHX
Z7EUZUbk1YBRpVPDGjGfkxx3qGiRZVh2u9FSCUsHO8hgliCp9nBVY+RKDvYECqGpK8ZTAYbgu4a0
eo9yChsMrKtHF0dWOcM1wJG27lbt9OLrqvJbJ/MakwoCUekz0IEeXTyUfMlJwoc3Vcgh96mKb6aH
o6BHdfWbS2lJVzcvxp1ojxr1TuUGFv7A7YPtbEwwkc7HQ6ycVBaJSIQBZ6+p6EoIooS9OF9Rsi7q
NilyiJRpJ8jELg8IS5fpw3n7SVBtKIjrI91Gz0WdHhJ+4z3Q/26JufvUOsrIFPU3xPMtzSGaQgqx
9gd2AdO6Y9wxd9qF2Xr5ckRyWbWeUI1wSpwBE4c2v0TZslpnS8XqeZ9lf13EMo5dmAd60Dqw2CmX
hvaf13fkCR8EkjXqBvOngJk6Q5ATI79/7GO43mZXj7Ijc6YIMjMso7PPanAU8sQXwJQa6SSqSUXZ
itrUC1IDdyaaJ2BWETkDP2ni4EcNkjqJzZMjLsxjv8AfVI2hSRdyK+PuvsxrqFIdA4McALJKj30J
s5yzotLvvj1pAYPG60D73db6rDdvAlTlHN1/gYMlpDBFft28EjWDGAXCniRvxNJKt0JImRxVSIUH
pw4EROTJatEhmi7y7iUDqDBRD7WYMt17/ArU+WhK2eHB9LZWvWLdm7/5KZkoQOjapJ7g5sHO6wuH
PV8Bsp1RjgNZO4BsK66LJFI4dC+UwUGgBmUO77LqIfjfC7GLQ31X8LDRRrEb4PQBnMfJwBxaPVuy
4JIIFcCBKVEQvfCGzmfR+82Zw0VRQZvKL9Me6SIqjoZtOUG4iH8LP3M/brLtQFRFQ6MyFUOKhoF8
evhq3I+lXXpMgvuxcv6qJhLPFzUN+7ivMeMbWYLGFmiSqz9C1/1BQQ9mAUcGScjkShqL6ZZkNsAG
FcWa3COnC96tDQTfjqgTsZk+UwmrBc78dZVP200+1SPJ7bzLqfV+gC+DTRNZ7REYQxJXzNcUjoZb
DKuE57Bsptl8QEJWCEVlzmdaLGo/XWhhRfnKxO2F1ymfINJiMJLh0JM9xJjMh/U/ks5rt21sC8NP
RIC93KqLlKgu2b4hXNl759PPxwwG50yCSWyZ3HvVv+CTvCnAmdeHYOfqm8hp+eWIV1R66L+1Yygv
8oNht/vAyc/mpt+LWKgh1bgXttFO5/2ioMqhic/jxtsobvZKXoobfEHAcrQjJCQXtiwJPHpI5+ks
uoLTOtY+sHPAuU56Mjfl3jv55+JJ44W7nIFKNpSJQ3yXv61j4Jq39g19VM6NeqvfxBvMwOusynaX
rgCb518B/abA/aGpil6aS3/N7JtMU30VX/rZ3CMBsgu3+GT9aldeFaO1+FjxLumfsy/17D+S1/wf
q1f1hSnmK4ZnwjF7BTfznREk1w5OZnuEz0d0tE7qlgk6cudECBxk0CtZzR+OjHrwbsGzYJNJxXTy
L53TOCq4XR0PS/UU3xM3c/N7ecfdyUEssD8bHzHqhOOhPquO/Ooe5c3cUfY7IwHjVJ97nnbgiAdz
199V6gHZGV/mlWz2MM6zspXp1l/BQ3gnXCaP4tHvumN5wkzxOn0WLouQK+5wPtjvs/8ufZZ3FMqe
lRu5/pnNpHFRT9Nl/Ml2xhKg79X7IWLyrsxb8YTEdab04c4mV2mNoMnOdEXX+rHu0tm6C/jh1AYy
of0CGdobrHiwxTfvmsmz066FWjeCKeVX9Jv8UpllvxYxCYVFQAn87oElX/LoX/0re/in4hifYAij
moLY4Ko+iYeZJqNv0D/btGf5MF/KjA8Q7ep7tKtcFIZXjdttM3vc93sUcneqtp6e9T09D8/kirHY
1cJBO/wR7OSKhfwl3mO5+mpYWUA4X3VHpI93zWPcZQ/rPbj4p/A2y7Zg33EBGHCrHpSYl38f6VFA
zUISoDuqTnyaK8/it3ogfIh6weiMuxRFdX3HfO4oOqKT85MEdrYVnZ5HVb+M9+Rhuqb75129a/AI
T+2LB/XbO9Qi7+3X/P/auXbKl3JWzjjCO33K82xt9Wid8Kc6pU/tpJyUm+ga9+EknVmz81eiY3IM
mDwzrrbu1k/0G/x6aIIXj+DhXf1beBK0JV+Yf4Qf5V16V68aXz46Gnt5poBSZ68tePbGPjqWVNlz
DSq7ta2dNf5QeOPz7NA3pyIQ3fmWzkW7xkcx+J9s10/ru9gHd3j/kBQZtEp7YRMdtBONgxthLWJe
skN0kHD6CY6asGh33hUSx76lz6Aw20IwQDKBWSvsRG8uSRGqN/fdKzhhCOvOQigpq/t0L9klNvCz
Xu9ko28CUWKT7UIqcEgBq8AWV4ZdH6a/gu3q2bA5csSkcqMQ3rGzWOskLWWdbjKbQ/UKLqPTvkB7
oPZuuqUznaST6MJBfwCLePZgvDYzJkTdqltk63l/yFAMx8yGo+9Li8hmo2d+cQl3ypNhN9YPOWlF
XrB0IGOznp9DMJ6EB7wEbKyPMQFI7YzcDFP62Dj+tkQMhlE+0QEqyamzDThsdruqD+G9XzVrY5lS
FIO7Jx8HNzonmjhzn4ikExKKG4lIi1Y8IGRbnHEDERWiJrvVf5QBDIJegkuvQYfJeJEMsUe4ZVet
keymdK1XPDaS1z7F/tE65od+pW76e31uECq/Kk/5UF3lw7SWli2WmWgAgQAX0cCncCBSdljMSNtw
2wO1KS/MscFazDnIP3p3f2se+jMKodvh4vFi5FNKbDMuErYX/r1ZW7Zgw0Wyja0OIAMRwU167uVF
cMV65AQYwi2e4bl7qm/tIXNxbr0On9m1hHxauT1JhLHWvQBSsNe9ReOSXCgb5JmnumP8djZ3vH0A
Fbzu5dweReT0kBRUudUV+t14b8/lub5PzxyCGOUYh+OsfKo73RmOld246kF3mgsG7SfpmK2ba7nB
s3Od7GAW29OzPKfvyQ5Ln5/6Lh9Qx/us6Zjae/jeuHyVDZ/Hrn+kzwGhQzh3jowwen2viVjdVj4E
TnbtOYrqDs9BG5XEg2Xnd4HvWp49pz7jhLQU7BADlJaf1bLLn2SNhdKOmsSNrv2BWHZoT54jHRN+
Vr7aGhKWI+yNfQtPWnTolZYTl2PcaLb3zQDyYPwOLv/w05fn7CrYaKra8bm8i2wIeLjZVfsr796b
zGySWDmuunnKR/uE8hj0ky3j1R4lHc7TsYcrBRyGEX3iQHxd4/tOb8y72Ft0vBNGQiqT2P7RPlJa
sJkpkpzgYQa0xuSy6wj9mhezlzcotVA4Nq7HA4940LJTHMOT6mQXxMx3iGRrNosJd64udaffq4fC
HQ8Jzy3gdx19jUhnI+7kV3wSnYangyuoUyOAc0ou6ld3nB6ZPR0bkCe/Jfpd6UV64Z1IFS2BEkLK
H0GiD8sHTTH3w3NvzMiDylm4VjvFjb4SJ3FSyhh6YbxpgBM4kx3fUYO6t5QygVszPz23e6SIi+Au
SEfPk9YqkiISd2zClUUT1n3I3sYEwOyIpbEO1G5fp/qqQPUuNTPIiDK1iItx3TqY+lUmBGttZNiK
popJ5hdmTIMPAke8BkCHFx2CzEGcrjR02hWCj6pkducDnUJnydw25avxh00w/UZtsuE7Gk2xHxoB
LiwalSBCBY1aRkvZG9H+xEx8jRi5N4teg/1wBzqhAa/QNcqmh4qpKod/k+WFMvNXZOPlBVi5AYUJ
PDSWvM9ODN9N5auwUGTnuWKGbCUADzoQOwjaxt6+iVHXCk5JjUaNMqJ+lL5q4WgM3i7w1U3ZMO9m
wx90hTP2sK2jNyO6JyJKVtkavrE/VNT1H4OF+pG0TjmLfOvQH1d61+/1fy5EbbsWxUMvrqZZ0RGI
39MwsVI9ZyMjc1wl8TNftozj1VvMSzAivBV5fEhKuqgI5SjwjNcc1oQBGNLNaZh30VGfAXNISigI
Mm6okQO8kbyjYfFkdqb4gZIU1F2C1rTBFSz2zAXbS6bjszH8N2kWLZ4n6nIaoVsGcIfVO+4ka0B5
xU1BdvNZm4uapd89YJ6Cq6WyRn8H9tO/HXFpboyBbgTRlTXaQGblKHzoeJMjpkQPHG0TbVPBDs6x
/WQBJCOyTb85bAVz00YuXrIMdeRi8T1i4ABc9tkh06utUw96yUcQHWVmsTP/eGUgX+5vyg0eIrgu
1ztwMB4KsLTm2YotN3P0lY86FEI5twK0yFl3daQDw2XhIXbHi1+EPz6kzff8vXnwMFFwRXTb7Ng3
4/pxNL3P5rNBfKYCsrFJUcHBHBIpgFX11zxTEjqKOUDxJ2x+wRkB6wK2tix+zE/lxSX02P2iFMlk
qLHTVcgvmbeIWFJmI4ws3y5w45readC8DV6h2H3XwGHOUAD1+ImmZsx2ncU2S2kfOR9osdvmKrGq
QeuLNdjA3sZhLc9yVFmxQQdljv9mZ178rTdTsyLGvCgvslRHIQ0+/PCD9KUc/vQstEG9FTvJOEbW
Bwh8n/r5G/tzZEWPKMtbe46XCNSoqn4EbTOJgCZOvbI28fIQVg2OgZDupWXn/wiY3IcuL0pAV4r1
b1Dfsk8hubFf88ZNydbaxtZsTrLM2cCyPa3f+sb7OTP92iRn9A1RVtv5e1O79mjSCLhNieYDnXpz
yc5Ik20TyX9U2Dr2ySsJNRTHgkqN5FfsRDKIm2MA5aTTzkF3NIjPqFyAEVj2aJ4FtlBsJFxXJca8
xhIoUsGSUNyi16/QoHHq/Wf7UehbLkjjtP0M2tgGsFfNTfVqIH/pduKt0K/141UB9TE7or7n7Y1w
p/eujp5qsOtghTwSOsHG6WH1aG8wjpGZdaovyY0fKiap4/bfIKfDea39BAjDvpapTP0WrYYVgAHY
CCUyFsIzwn9ZwDsY9yjw0dBCmekTT3E4XqgZYJdFUp00hrZptqwx74AoWCGq8TDlX+EhQry+FxcR
dZt4VdmMRhVGsykJiu4cy04VhjgzTtr3WXTy6J/7E9z6cZve2ttIR5Z8llscAouNcFXv/Rv81giE
DM5xARSyfKtCKSx3UwzD8psNXwVTBIxRjsY7S/4Rigo2C3bPG9sBxWKeuO+DVV/v9ZOSOmH3mpSj
dysRD+DZmJykZYLW0wXFcRFNvBXjSERyWA8gRV0jScazwYyI1/xmQAlkc1WcBL6hCqmeR2IZCxbG
7Cw1a2VkKxpIVQJVykGhvgqZ5Ft7IATAPCweiXWbkOHbeyiloGKgH2OC9zQAVkTnDPUS0As8rQCj
aXBY/g5sRC8fSSR1BtcIWDNoXi4316RN+AL/r7z1Es2UH6MyCXRQvBvBX4RFTJAbVm0yImr7iGfd
27tUUu2y4A3CdQUJsnG1GmpAC/8P694y3kUeWXa6erMS+br3vmsPeiN+8yx+acViNjXXxGSgzZfg
z9Q6ec6yLeBb4CbEj6GA7ZOwj5c/fcKbEnUfSr+kvuiP/Mm+WA7gW6TFX/vlfQLvNm7YqAV76RzM
EqNz2LX2xRI/zg/127BHZvUM1LYlG2l2yxcZ6wlGjdUG4TMfWMkdOtccG9iWGmCpmckC0EL8chsC
EjmObPAfyid6EPwcf1SWT9gfLumjubGEjT9kLNQda1tstffmyMwEPcOWsQLWDN81MTNbc9gkYjbX
U1xp3jq8e/l7f0p5q+5QrZPf4Tf7RRaMdx9vIfGn7R6edrebts2fZ3whjDPexOnQoxQL1Qjdjmx4
L9Do7Rcimoj6sjAPNfof3TrUjvz4k7FO2nesvwY0LUjBIrLdyzg79ygd2OAhMah3pLtErNFWDSB/
9Mb/SaDPoivZr68jML3omL5IdkQtCi4QtxvUnEV051hLX9DVwaYttvV7Vu98lNrePHxEEJ2Gdn3x
b0OP5kXTLkRvHcGE/84AqyvkX+uEuBggy2JyLQxM2YQoL7bd0xfL5VXpjMpOAUByImVOwCHzvxys
8KfEjSaifpr5OwWX8gGYmmwDmIdg3lPJrJCgBa6EuhuHcHqocCYwzkvPNV27di6+yz9m5XLx06i/
wjcpJM5m3brZfIM6jCpV/2N8dimVxTTy6KEdBSt01wQ68sDccSWL9JFw18oJeXofaXMRrPjwJ3ci
2veIIyS2qEl7iiO19lyD7OkBU1IjCBIKXWwt2ZUyOeaQO5aWrNWoOBrmdtQuQm25CdBVzyA8oY0u
hDRbOAikcsEbqEFBjUgSX4LoWlF819N7EKLfNzxTrkSDF6zmk/6mPgBkDPzWEA8J5ZSADovEJLrj
+VfsMdR0qXD6gipZRiFlDzx+vROBB5uvudYzNEjlzUfTPPj4KXAPGYsw9CZSRklq4Cjls0MiToif
It0wmJZyPVEpj2tLDDeetqe4l/Z5DErUpC5KtqFF3h6XrfLpYedSmdqqRSrbg5RbX9R01rUeZ8Cc
KX+kBTqk/iONvpPoTSieea+vJVCiA7YXykMFx2ESwiJxpXSuhDetDiBgRHzsnQfWCMcKylryKoRT
n90i/epH2Ubo7EZINkVCF1yD/OodjWV7KpKVs2I9MsgYehZoSMnlzTWt+o2X0WENb8pbEh+wY5jq
bdSfM4ZZ+NaYaKEN3wlRrEEokXc/acE2z1hIaF8yNY4WvHeBhZtZiU4OioxxufFDH0KHX/+lqrjW
gNjWBOaYtOFrgOYQCaFphpdpAYQHJ8URjpNX5G1SRdxNlGCFtalz2kYgtwHGb6Irc8Oq5qKQ4DIy
6LvXMIpHtHD0k502Q+zAOuT5cwL1FCEAEkLWqIZqU7ZAx/E7FqHM5LqF4rKx6lPMc9Ba0CyWGsVt
ii27aPlEzCTi9wkhkU75jPrMtqJ//z3t9yjEz8ev0ytQ4fK/L97Nbg4MqqXf2VTT344x1ZCKYrKw
NRXaIq23C7J8wAUZIEUWtpc6lbpSlZOGKSAmLzJcu4z46mePytAWnoY7I72/qVGfgX9LORoeFFJl
neTXvsW7B646DwRVjQakbiN9KKSyocQGQscsuiGMo+VIHGlSA5/SzTRkyzFGKDdIdiFNVg3iegiA
xk3oIFjXXDcwreS3snyUKsueKOGKrnd8RovTpQY1hNWHxAfpBOAJPMT5xvey3bdsDmR2MjW7SxVm
BCpIHviGpcnh6HyEBoq/AEVJr0jep1jfNyNCTEQFPhgPNx/XLReutAVwnuHE0tY/BD3KHg32QbUj
k4Zy0rQZvZXxq6B1mds4MYWOUULOBifZygh8I1bcd4umPEgNmhEkqoziLYVHm2XrhFpOaWlMiMXN
xBIQT4sOnpbyNPkB6OPkGZHJZ63lZzF96c2xngCXfJVZYMfaVrOQr5D8TaOMrkpw+5ds2+Y4QkJt
PG09eux4xG01XvyQaao82gmHqm7bpTnTMDIDSfqOOqNsvtriy4ylfY/LykJv2lOfN8hBY1A6+N+K
6tNp0U9IwGZMyLlJjLKrjrhUhvtsdWqogPL4t1P+TCTuDUoGCf4pi8h614B6zbyLpjerVr4k9U4C
JpvDydD8leJBenFQQCz9iKYRFhCnz6rMRyPYZsG2L//mFVYICeXqa9KFRTpLk4aIhXzUtDIDZ2AG
UVWk+kT9izsCISpyIOb4S4iGJWgJ9gkKOEK50KQF8v5Bqqy44p4wXZJxWFYk6MKUQG2hD4cUoI7a
b4xKzDzQZ4sYWXthNjsFMTkVdLSzir6dVeEu4jpElYxILvM5gXieyBxa0TGtk9iWHPKvkl7R8+nn
qdW0VF8PUfMQZHJPCaihaI6RFK+iliH7MBy8oECaUkRLdEjPei5sfSSmTRjsw4QGZUv/r6kR9j/e
tpbjnadGdozqU6TmK8X8kIxZ0iFYevNVptjTE/R8K2PfZcHSzD816oleE/dxnu3SxJU69JPS0xBs
Q501FjEnoPKNMhzKgr9KN8B+OoVs3rT+O6WgM8NjHaOPhUCTCTgxBCvZjmii+quxDdcBBV2FuLvR
wRQSE+qWxplCfIM9sN2VtCx73NC0at1yAiz+upfLu9LYCWyuuSmKcO4BuOlIdfMx/OE44f6kAifm
YG7mYFXwQxoyyMOCnIq9H9DjLvVWClIioXfm1T2a0MJKsdE2dWrQfm0aQrjRDM+pFJExo2RgFFV6
lNDIxHTyKUERq/W+RzFfSQiKa1h5Rqq4mRDihp0EuIIKRUY6gdiQfVR5vBJHi3f5Zw3AEUr+EFcb
cUkQuT0SlMxIimQVRp9WDDa/dVXt0DBcH/44I35h0L0dC4Zz5qxwa6yGCSYCfo1SPIJwPU5Vu85B
K4vPIiHmKq5mPT3EHUZ+vBlqm9R0AbaqekjuzZdXY9rUQIk3AT3dulbZUV3Ph1CZ0GzxCmCjyT6o
vzyBS8H3HZ5ZylQdXIKYifsmQ+mLKDUpn5bxIX76/ZfICINkICtXmcc6YGVHDVP9lLRwtVhuCwi+
DDD8EYlc3BXKn76vbn5vLPK2cKbEIpUPO7E6jdZ4kZhyMihLI2dsbROkmxW+VJoNE/eRwDUSu9WP
Jo9OUI4NCMzoagLaN8FF+mRGlYnBLyBMIZVWe7CjVLvlX2RJW4vjrPewm0ImHLmIWEz73WSM8/N6
b32LhvWlj+naSEVEuQEki2i8K+cRkaMepH7HJgnAuqWhoixxk7SlP+cR7Tj5bqwxxPEVCMPQGGU4
8vpbIEkroTpCB+GZ64OL6bI1UZiXTwWEqwq8JO+RzVewVN+SfkUwpCNonvyzrk+aZCselinJE3FF
n72FjgiiQE27jPPrRCKIe7SK1HzLh/HJ+nxRhjU8LNF6DPl3QhDupq8MeLTBJ+6VZw5ouGnmEjMy
qVyRHkZSWfTe4oGYEL2RmhNEtuLAtrSrIpOq5YMGmcOH2hMBCqZuFuyhvkQgl81soPyhWMSBto4m
Wyht34s3CoVB2eIczf1rOS79Tg7/hgABBOWqlsUuZfxawI3nw9fJjxyZZ7KG2jDRUFTX05AuiBFd
SL4YTDLAYprJBzRFpqPII8Mig6TS0dq1qFgNNdL/mrkIaZqrY1J8d4V0SXVvFyNwHieOzPvVuEQ9
FVkLRqCr03XGNqek3AJH3It4ikhollFwDSPtU+wKkrIIRugSzXXOvUliSwGqo+KxZTYWf6N4rTBb
1cd3TYfaon9IAMT44xrLJOp6sQRdMb0JmIP5oW7P9TcgzmJfttdw+tQNc5kL1wQBuYSsZpLEmPry
U9WZrVuuaEFLIWJn4bWUiBrmMRltzezWrXkx/Y+YY1iF9lwgmUym4rzaibnt9z8h2n1vgaUx4/a+
B+km5z/teso/NARhjYAUz3vXVdYQVr+PZfB7mPhx1iiHOUFpgZFxsh3MGKzIpyAJbyKNY5181eQn
K9yl+TVBaznQxr3X73RJW8uTzeg5hy4wJ7Q0/WrTYKml+H4Uq8KIThMOaE0IFk7cYDc0ZsgZCIGT
AtQuy/ps0seQlAvqp1Sttol6yzpwZ6AjUSQf1s3UbU0TAAWCYL1xlChxY6ymVAQphUj/q/nBB0o5
DyK+OZIZ5zsl0HyhXYA7US+ZDDppbKZ03WgaLD6DzvM8KeoG7YcOAVXVpi8T8ZLVcvD1tX5KGzBI
hKA0gGeQ+xSQPrVaPbcXmDwJDxzwuIo+WHWtunrBZ773M285Bp89BJVGgTvXXNsy2ZsNfhNJQe2G
MnxAPR+95hpxkO25SBsxAZD9p8+g2StBw/vFukHEzPJPPKLC28617ZyfDSTX65JsxKTdg+QyWcMy
TADQ0bRl5NuqBk1pAN4g4QdkUKoK7xAiJBnIu64JloUECE5sKaOn6ygqP1Vj7cvJ1ag6hA7Jzyy0
tQiZZdydNfXNxJ/u6XMnZzdnJhIeEyvlKUqw+4gajV9tpvDLrLEs9OHbckdEEdqKwXCrwUtCeZJm
BG/uAd59mR5CrhZN/NJUvKRJHH2KyA/chQy6WQONlIWV9jcgsRrRYHnNzurBTJmA8KAvSRn2Rbq0
qJIz6a41fgnJSfhKaixHk3WZRhtWrAxrSYk6M8fS8SFS5dJN9I5RZPcmtjEop2K3FV45miY8ouTT
sFyfOCQD5eDItXq1noOE8hgR9glZ27BCLSFe6Lgif3kaqKV7IJ1q4V6zBq4CqB49Y71qFyQo2teb
SfM2I3K98zPiRUp1tDdQwGuJQ3mbbjviy7JGLmmIXT1Cr5IYY3h7U2Cbyr30aOtL1Bm1wRUN2I79
t19hAAD13bNsBc8J0d9lJvKExrcZJSu6Y1nRlgo5rs3ruQIow/xEjz1YrC60eD9PzGiY548d5Y7f
bGuwRj37L6lc9kZ5qJVPauBOgN519dmwVa80FjYmadPTYEsTyUdbsa5Ky75reKNxajhbrHwis1pB
Plr7hLg5w04eKw4FpXicAYZjHiKeIV3mY90I7/MrMIB1FjfdeqJoLLXsiiWb2m6lMrtiWjBfg578
mdLcDCIiqnk1LITibS6c5vo8NI6thsApe33tyOdtO32+L62Zk2TncwJLKH5W8lOYAM7mf1Q+Wp2s
TK4yITIuqQOFctf3QDwLlGeiNyu4yIO64fGlmblOmz8fcoNc2UxcaFJBjVEtm4zA+aqKGK0mFm8K
1WPJRJIzyauTinGppKi7ZOJChwEZAsIV5XlEMXIRO9RuqUIXJoqhMWpE2m8tX9msUPgrIQLJ4/tY
QTLLnlUGOo3eKh1/Q76Ybkf1digpLaxrJYJP4S90+OwFkj23kK3BpLH+zSrUVSnjZVun2O6NXx56
nSJInlHnEw7G1J585oP9T2G9k24Upqo1nJLeIA52Gyn3drlI4pduZQeUufuOYvQIQXJRgow0EDE1
8GSdp+RX5SHysnuRgV8+rGLAIDrLw6ll6VQ/CPgqbLogZQJI9zPIM9E8XXW4eQjX+WInBi4uOmZH
gy3nupNGw43Z8MZrLIdicZXqk20KKZKBTP1mfS3qbvkyP44k/rWk5CSnaPuaOE5EN90vVwIWNlqy
G4y1nAob5rFp5niZG7LBS444a7KOjFcCVlWeFe0HFWMARK495pVzW9zr9wYN8DTnuoIH/Lf6ZHyR
YF7vN7h8ww+DASi0e5kBPFWUpNgiMx5prN40Ha6K9yoSyg6UGrxAWik/HvONQjr23S3ps10QAVws
Ekb4OOVKx9wCHdZPHQJzLLkC9tUDMcWlv7Qs5EtlfynH97mzVxj4Wf5lHmdwFjlEo9PkE24Kn7B/
GFzDJo4gpOIAQ/Rn2pBZF40Hy6UbvoL2Mgrl0mIkF2pnTMgbQkwgwiFA84YjGXfxURe2Vu76SJnP
dQ3/oTcg4Affqod4BbrZQUGRVLG3wkFHrrZGo26bRtpoLK5HrQXW7H10ArLmJcvC/lPFUDaTUC3W
SH4a7XECDhe766YljPJvRYc53LNzkcY1sb2HT5z777L0CGU22USiiukinqzWsmbyTOEp8bqNv8YQ
cetlwyqrb6OM8iXver5TE43BHLhieE9edPEArycq978QWDws1Jg93XTReFzzsIMr75vvvkk/Hh38
ySGrWtScHYiFKWfdl7tNYf344tUn7Xq6bfKFJRDxlXKpypmlxZxEG0jIIFr4lJKCrLwlvGpWSEIJ
1TS/ZqwqSWWVfoQULUlI+bKkScddMKqsredI/jPySVXExYWHCYxHeLLzDtURyQBAycm2ThOEO6dd
ZAbHbrSydWXW72lF8qOnpedVcCudG0wJujHXS7GaXSsEK8aExdwNi+tOguc+XS3m0wKoFtyhVZdR
TMuYqAERk6ESVxzLntYfRZeckVL6DLmyQxpspZF+Z/qdED4u+4xVIS+bm9zVyVbzf3SKBA5z2ibb
a1T35JvtyAkuw3KVtf1G8u+i5KbWJdeKdc+u1jNMegxQY4N0NeK9pOwUyMMK6ghNAqO6DO8hdUSV
A3xiLS3CgsvTdhOUjWOO7BpQCxdM2RZpjVv1qsbGuZi2Bg1XayLImNPOsZgNR4Qs6X/Tn7oIcWdE
Z6ABICeAK9eSvc+s2oz/D6PhJz8ZDQb3C4B1sVIAeRSSeRkElnostbIGwpUkrFUEyMXRI/uyccWa
fJNYQI2Z9qiGfPBDhroiZoIQBGP5oyNF9vl6HuJR2sn8LSlzCEstDXsDnMl6WNm4KHx2MOJXLGxb
YVgTvmlrzNzNynaXS/IKr21m8HmDOCdHK+kQd+RY6H9z3VwKLz+jQzB3tXSshcRphtb2zO5mlaFd
FCyR8mCL5SaHLNExn5aIy1wAA5EncmdCwgwzxHWZgiRM3rDnAXMipahKeI8cenbHnIOTeugl1JvB
HQZuhS5MqEBcUS8Y6i6T3FVootMeTmN8FToky8f6ZBXM2IjlYyu/2gh8Ad5RU0l5wjEy1T9Wbgkv
sAw/g4yRZ4TgcYL+xmdEyhTIhKr18siCQtFs1OYHwEZd5/um2orDpcAHQZ0lZhNzJXn87VKxG/oy
mSecsokZVHeumubrTMqeI7fPoEkd/gxWgCoy4Yq4DUsmmiEzjSF/iLqyVgNGXjEPxXcpFvqYtRJG
4HX7kQrf7EZWcuZkTBgb9VqXLCuZeHTCUZDAL4ndq+LALXzlJgScWO5YrRaIWUOYziWeBfvLUMs3
8ST0eKUdrEbfkDVGblql4G1otqDhhfwahfo3DpYFFgmmhSutQQSpwlVnHcwW8ZG+g4zG950DYzXl
r8AvbMOENYXMQQwNtMYmPInW5QjCDLUtTxyXUaavks5w45ZAMEJqJSHzQp8RHaIx+3bAOW66blPV
d559ZZBo13PvWo+Xqb6ps1o/91oCNpT7wH2EDdCAtnnLE7Q1YQgIB3YaJiZz0j3X7A6RQAt9IeDa
xbMt3DyHS8lb8CL5aBAHSuwSpmufIp5GbRh8Mqbhbarcr3k+J8ew/nt0xnm1foIpakB+RV5o+tLQ
D4uRmJelFXcjjVoCPvIjlsG0AJC9D+F0NL5GtNjFpDsnaDIIXo0IxIRNocVuBDLEH2uLnI2iF2L7
zopUXzO6CCmBNFrs9pylnCj1riXCt1bIO8MSZ1xVkEY/GdTwqusX3VwP68IjY+Ps1Ug6jO9pmTth
5Ip5uRZ5uQHXoIyfFvPSvEfihig9ASHTA6wWUG2WPznuRWfPmbNH2Zwnv5bmvQMDdoArtdIsY+Fn
CO4NE2yxX6YQTHL6WwpSz7p4SO00OVDGjCjrDCw/iEJ5/WXAiAcQIqPGRBc9V3SUnJGi4shEsEX3
DZPPoFxilaPmN1RyaFWDK0VcRMCjnJIRpu7q5aBtM90mTPfAqSJQUSILfYWhdCcBKuQRRyoy/kaJ
3D1HaAwPFlNFY2T/HgNBVG6Sn6+8Xt2ocCqK1DiSpZYKC30jO1Z0m0J6YY3TmALgkWrtD8tBMFdT
hQkQckHTUJ2k+E2OgJTQZFd+eKEDa2itxpQtbUAlJ1JWZeEd3IKeXo0k2M8tLIOUvhc3oLumGqRQ
cq51PCEQA6q7A4PS1FSXvohLDaxJ9i/b+fxJbMrMxEfHRzprQA5LadXH5qWQ0UjIB0RCtL+QmSWT
REF+MAdldogbcnvxaCIy/0NnZCwy1Koi6NMlXm35cvQvBNUa57m5WpqQZq6zcddZEJmZZUskPT6f
WXJ9ZE1A9+RVNedEk7aBD17fB3ECekfBNl7MgOG5cU0jpTpaVaHcR+HdAJ8I14J3TizVJgOvM8NY
Gmx6wlbfza9iPoxIZFQ+7gFldprrLDmw3EmHCXCfR1X0+Wx+AAQhOlEtQvUyT0c5ebZlso8ak3zf
mtm/eVAib+fyn9o/stzxO9xnuNNVxK1xepPGeaKxbn0UzRS0zdichCrhz+jQpUD5rH8bLOhBVrfU
WZnT0+tR/qjkapYQg9tuQemB4sD317GKUXFs8dAF2DXe50SW17d5iZcIsxvZA7Q/tptaBatYzO32
zf/9twwDd1Xh7J0JaPFC3uWXKExZ6l/df0XVC0mNoFjPZYsxfkVMDLrhCUYobkbG5viMEtiEaWal
YbDHkGClISjVtBDDmTfEsoUdgvrhk0voBInGyzixeef/cXReS5EjWRh+IkXIZMrclvdFAUUBNwqg
Qd6kvPT082kidjdmd2e6myop85zftiTDNdJaWP2bobp/jopQIZB9MwMkEL1pu6eLPpZbpaMA0gie
wckTwEEzuU09Wd21/O5tAoP7F22u0Q1WgpK+ApdI+NfQnZEluEXQ6M1ssfprur/ekb9M5IOJDS74
dCWrNXpR3TvFTb0RyT/ArwR+r2qTQweIUZVopfLufdAI2RHgiiQCTdCSA6kY1rli5W87azcIRI4l
/smm3WRxd56RS6CKgC+64EA5eRqpyhDJXnzyRLjNKBPgN5+frMCDu5XUe7WviQc9kpjLGFmnlkpI
UvKnuDpUQ99hQmP9M488lIeEQ0yNmzMki61IkVRS+tP6wwK+cfXsamzg/d/8v8XMUKF2t1rKNx2M
cIM9R12xSkiUlO/zqz0vp+X03Lq4ilriJL3+HNThuelrkh+YC8LQ3FaJcalkE6MbCT5RrS6lEz3n
rrNvSPoNIYpQL/pDtUJisLH+l6781Q2zxqxR8f/1mX0Hjl6qOt+5gD3KcI+Tt2vZLLOvyE2Wifzg
Qj937brL3tlbt2lv7xVjTdp4uymD4Jx36UXv/fUmukDVbGSIuSMg58nV1jCUdkTUc/2dMFlJn/wd
9XBr2MnSWeu2RMuAhEg0NK6k6yn66AzG2pLeYYU9hKFBIMYB5bm6rb7JGdoiAoo0TM18cm3zliBg
BQ0XFtpWhczT28YgQmWKRk3a3w7ypUC4Z5/+6cFe5h29x0x7tSM2Pg6ioHl49JjS0igA4Ypfmq0E
YgWgFN+qDoajXWyW8FlL0qA+kq48JvGTcCsuwGphUiY3IKHcCs6feFdOfNp729mzoDVxe9X0Ec4V
/1a47iQSHESqPSM4S2mJJK4nB4IsoEL88SIuDINUMI2Ityba+qgIJm49J6+PDCN4S41q54T+PyeW
tz74kkyWST/tZy5hUAjkWq6nKiE73+yOWtQcWlB3vZH7lGPBxYTVvtqps9Hr2wjMYxYxIWCczM1t
yNrvIXzPopVb3aou2JTVMq2w3MrsCVUvXxQgfb3TrBT+ajibuthEk7cSGu1A7nPAax31Gl3fb05/
H/v6muo4c81ibfP/sFhPKQ950m48ajKc8QBK6dMMmyGu/Y6pSdHuHt/TKGGf+IgL0jVjkpcaFCml
t6pou+Ku6HpINZYFV8Y7AOwk8Q+Vwa/m1Kfu3NXD0vP1benhKKdmfBToCugdahs0BC1RZOGfRzbb
b+3r83oVo1IOiK+0R8JXyoAEmuYpa91dJKPXIrE5sO1l9qYFPpFoxlr5NjxZfMyw2aXAFdJhDhvn
vLgSvxj7ktbNxVg+WzewIZnBGrOHoeKDIkslQV3Tm/DVbVntbF7fEMgFUlmAtEH5CPDMFOlxmDBG
sLwDzegm+TD2AV6hR3bmlKRzS/J+c6z0fXgY2JACghobj6x1eXEnSnGOKeL/2H9qkUj08cbiBBX1
BJhGCkKM6GoIrXUR669yomSF285jABuBfJAcaN24CuhynZt7Urh379ZQLOGEARGIxkEG1hrgMuBn
mLHhPnaXgr92gCCwW8nVEGqvCATW9Xjym2JXMX8W1YuA7mYAR16hrRygK0VXBisb9z+Nlwgbof5d
4JWw+TGHv1be67w6VSiv4pgucEagqL7IjgMJBjMv6QOUWOELm4djkA/ZUwGvU6CGf8G8G9rOGw4O
X41z8EHtFfxsfs9Nb92iprenYeOhwuyBeud/R5UknA8FP6LRGErATs61lx+NNOINaNbN3a6TPXN1
IbzjwDZgdmIvebEMa5uLDwQugs+sJnenGH/LVgBjzJ9DTj4pEtpqMJ6qDobTVfRFxbfqbulw2T26
z0Tup6yizpHWJnsjUuNjoqdNSvJQoFXCOcBoEUF5Sa6SBrGwXTyK7ov7bx5mUaN30T1BTUJSK62I
9EIayCMD96AJOsxs96gX2qnFg1BpBfKdG2+V69H5qePWQqJkugbJQu+z2sXAm663c3+uFvzpsqav
G4IHgEqxo5aQbGUIuQe6xxHY5LuJELfWpRmhbB65yUDTOfsauaH6ibw/tpOZdGOMtdPmGrWvafrI
nM8GApnxMwixv6HHBWSNdP5Bb9UF5nuS8EH32WZf6DTvkbaNCsFB/5mwsjA5LXIpLgJou9spek+E
ewmBFLjUMua6WaSRWujKUXZEqVi5/c5xHOSquO9ltZTr2WY16tsJlqtSpBHPyyaEXlu1e/6RWdY1
8m3l7dEyn5KR6ILqTWgZXaQI1+t5HGyb1VAApVqoF6VsLqWOtjEHf7N66AkmK7kKB+PL1JNXWfMO
RXQGex8a3UxBS+13z1bq6FA9Xkgw1PA2dkD6Jbiid9B00ssKfjy5jL2HNbdEu7cYQt3EXpDOiJOb
7XUg/M6gXN7oV21RbfNpWCEEj5LuPABhN8LYIm4Z8ugpDkKSZ1qJZvm5LyPOJEwKnrWe8tpe9pg0
B8xr1ZfNu5vr9heUCmpl3hrPwhmRDc8CoVG/Mxhgi8xcdWb50ZbDHrShHAXjqHrrRxJFQBLc8aBs
IKWpoTgsHo9+M5KWSdhWsvZofLL6C/GEZsF+ar943k3zzWMsr4Xo6bqstlOJ2ST8i53kMJbPI3iY
x/yroTOKWIcJUgLY9KjzLGRN4CeCqe61HAxuhOg9ZCNxHYoRq+TisteaPLx6oB110u8EuMXAy5Il
9JqSPesWz3oGKtNZaPD1o6opqEFSuHcDe1fy2C7d7h2wmGG7ZbMI6+FWJTavb90haG7eapWjyYnH
56HLT00DCuhAdEUegLRW753veZ+tjSc3fYw2qmN/XBnNTYU29cqsVtyK2aToIYq3kIw7Iy+e3czf
cP6EExEHeckYE17rEqPcgN6gN/EU5+6vxX7tQopz5/moqKUBKZyjDe2bg9XzlBagrkM1EHtboTSQ
zUEBlEasUpWEloCvHPyDGSE9YGxr0uG94BCf4B7sAezO0zaDMbJUZPzZOJ8UQIVGjV+NsW3glJjS
s62SzyEZ1iFqLDGJT4WdE186e3tFwduQf2b4m5QT331DxzKSz58y+w8Ng7Ma2WiBECkLJCRVIKV0
Rm8XjQ+Vpi8IXj26/4ZbMeoH10bZFdHeU07avnHCh50A9pYUf4cALD0qeSEuejIe8wCaMQbOnIBl
4wjzMYjnrfX1a68Iq0uh30nZCu32TT4CF82Wpm81iAabYyPhwLLLlWuDOpU6rkgz0Q8c+r+52+5K
B7dVVr64ZFXp+w5kMOqvE/kILIOdVe416J123PbEBQddiy49+/SZT1zj3RU11lPiy4PmmPoBKh1q
TcgYYNWzK+t7MBjsQpT0nvs6UbNIFLrYhUb0TOJcFv2VQO7csFn1Bc1x1Os63gjnqSYx0nTopyvH
fhFr9tUwCDKcSHl1f4X3Fo0aICi1HjX7kw9mJJcVPpGOxnQnQBmb63dEfHczMja8gmuzOMJpNqVc
FfxWLZWjE0FUqPRdk0g/sfQIQQmHTTuaH71BribnKk/0ShYjeg0kPQB7UfKnhRrOEQtmpt3bKGaY
8h2Iih7dkvCpsomi3bzX2yYHATmxA56I4dZECcPttK4xFNgcCxwPiKe5rwHIBOmuiTZ+cWwqNz0B
1KXJrU6HOwz9ZmJ/4dqS5AmQU6vDWeMMnSecVWwjLOTbqNB4Taji8+ZFb2065sYNwr2+nNZBFvzF
xbisFa9XTbjeNN5cZkzhB/swrI6Bl772UiAtLVC0tueCkSxkOBqU2JhxtInUiMzAAX8NDw6zURSf
E5mtxTSHHOvI+LrtWNiYGcK11efXziEAIxzh7BGtomLa18GB65X/DMtDSzRReUhhICsk6mxBA4Eq
KMggQHhXOwRg8+ENg5TygXUBDsziOelewJF6cOOMez81MELhLSHLSpH9yG8suDEjfh+dLrYsDA8o
UBSC36pckX43Qz4zuDsr4iv5jFlvYBoyuDnaZF2N1jMC1Y5hEjUzciVwd7x2blZs9cCnU0Uym/TH
Bj+GYX4p4+h3McPvWXSfPPGLeHggSu49vAfuZ0rlvDNNzzqTY0i8qWexj9ORl57dAW0zkVfFI4CE
zljVtdfRvqiOmHBk0Xl6GaiZ8Yi/z85/oVgk2T9iid9VMfHIWOsRQfo0tv8HT3O96OB3C+mNTLV0
pDTdczfaRz0HSi9Ru6V6cqwz5B1egJHHH/1/DFfg1hxkgMz2ZB2mSb1amEvsi2ERbBi/FRZ+oq3g
5ymVenLMZk1j44QCLm6P6K5PFRB05/4jOnREo1JE5Uqhp1MSjFHb5C17jke5nQfaNd/UEeWyLhYV
9T3/hvD0W91aD+541ONg2/rfvgfV8qTPRDlpMPFfHqhtFHCQgxy02kunXTU4FWQ9bn8rabCvhrek
yNahC9vSoeUd6XNEzRKOeJmLfN9VlEc1JWWNJDRaVPAo70kvnZ0VW7s6SL4C5GejvtRC8lUhPHQ+
7yJU51qqTU2uppulq9zoTzhzgoKmQOQ6qgODqqsV1OFuGu5W9VVAB4fJn+f72ETVhk1ipWYR7yEB
m4BzbUyDlqmDVaPfo502Yq+MC3OPYCKAFnDIWUwyNt3KQWzMiVDQImgQOJE+qUJuQMkTFryeqdbm
ejagyGMs8n0G0NBfm44RNVn6HPltj+7QY+JqLjwgaSfRJSA4m7g+o/o31aatYoEL8FBOIrla3kIO
D5E1Kz40wzA2aRY95V63rQThoQkYC0OFEc1pwM8CRaOUH75k7QmvyPSQPp0aiYdiw686qbvneiSy
H2r+vhGZUUYKU0rYRg2viXQgKlENfhsQQeLudG8tx1jZoFzAVxDyY6/yHxP3JrCh6bMg8xkhzYz7
Y+ffJ3sfDpeYI1pY7wliX13GV4ePuNO1PY9sHF8q3DFa4y4mTVvliCyw1DGsDAhqdWbMjBwjgV0A
H+pQ7/NyPEyoWs0xOJXc+iZidA3atCvGg05IsIaQJqdAVHC5cPCHbGMo1eY89zwS5I/fRE6nuLma
kIKFt7i9pd4NpDHzU6qHkYocYu2haGSSA1h3d20d5+BwrDZSv9ueRGB0b1MUufAcynZA0z+5T3wG
T66EjV7SRbo1bp1N60Z4T9lWOcEcQq+Mkn0G2WQUHxBurXG/RHhXTDzl/Li6w1SP08Tmw+g8Goyx
y2mXhIqnlR+9uN1VhC8WquKBkNsBo1rqZ88NMqEykTvNhYwkvxZbQOMAom0EqllsvwjS0RC3Jpok
sr+Kn2FG36kfdddwHLPMR6DgqXkLUBfNBgVsDa11M+Tf/JWm8akhFb9cJfwh9SjfzE97y8M7YoSp
fxOUvz1LsM8wlLrNLmA1L3IXQPwCp9G4j5pYK/M15ruWKtzPEHjAIWuQDl35m3lMSiOqLdnxZ58D
yd35zospcORLqa4V+4z5vxNJ9/Rri2BNQztTPnzzxUC4LD3eLVSQbfYmZvRlPGTVr1+TWZpsQgzm
hnzjdNEnHw1T8GgrjGEDu0gNPW+QhK4qiCyUrXyYmn3s2oaIhodd/AuMcVd16myZyd6ezXE8rgF6
snLQVuGkH4r6zUQTMo+0Q3Hx04x6UB4scKSJqOVSeZcQDXnNP5l5L3y1i6Ko1iZ6CKneE5ClBOig
7tVr4TrxgjGWPz+GEjxqZi6e5gfK5firHXZgtz0Kdxahl7vAe3IjRF6wPvNaVBq7kUh5vh8HRreq
vq0RLMcuj4ZzsUjT6piqwOEqmOCy+KdbOIy5Di1c+c145rti2nXY43HZTdlJ1VANPTYfeumrN7Pb
xsE+gafsyU8Yv1PyfCgt49fW8g0T1Qqxkz+wu2FczphzBNk4hvmYiMl1cwfMflHBdTktDBu59fJo
BmvvU0XPUBBF1y1j9JbxcvoQzivPOu8BpZQ/CJRAnnBwk2Fm3mqTeFgWh3hYLsbwuRrvVZMhQYTJ
Nd5msG+oshfXFFtHnAUwgFJfdertcG/xykJAMCMvW63e4HvTfIzso/aj9biT5JmbD03UOZqNWhAp
QC6Csx2a1SkxF/vFzfLiZe3hdLu1ebHioma/0TCrgeeXnGSdvEc1MjiJc7AK5lY+7saGg7v6nR+4
qJvt7yv+/NoIUvozQ0gzwCYTIELf2A0DihkAymAS6xi4uDPIC9Y6DGWHhkd9jMTOALQTJKrrwx3/
sg7crffsusW0Cdy16bafiCWz/29dlNIFBgxY37wG+lm3tr73+DmrmkYMsNIAwXhU0vstn6r+1coR
YvINW452clFQQqDlINGqv83ThOQkUUyoig7YFNoQ1aprMQIBFjDodGPMYLc1WvSX24K8OKQNSK9a
wvAg2Tb5gNMr+1bRxUZDHm3z6DqfMGJqj6XeLLjHEYNjwisIaZvcfykxvU4+FzXguSXR3h34YrVe
Z9vdGogL1RQ//ByCu/+x3EvhOYShc9Wlz8FsZ8yxkMSohvFFWsnWZrcQ42OsikPSZyue1nG09/k4
rcoI2Vs867MJW8qB6/xTxqES4LMaws/5Vo7Nn7ig9qxcG/xpdeunIJygJkyATSmKOP7rV/4zap99
dOUWAecBGt4S9sXkd18P9XnImTB48pCj1r8aF7Yb/SY4ooMgWjcROixKYxEgD8Vbmf/aZGAwQVN1
zR0OgZfF3wW3FxRqZ2zZsePk14E24b8nxZfPZdVQWGcjoIapYmK0b2g46PjIeYAVN1wB0zGojqdo
qdmH0Xnr0EJxBS6QBNak9aCYVkRaZcaHpvgk80sp4p2WT09uWawxx+ImDL18z/fnju627sSutlq4
npkmpBLGIlDBaZYxNRXT0xTd3fnaQug2s2LYovnHAm6AXPzxQkwS8IhH1L+j66EtkcQEP22/w/7Q
dX+uCbimYc8iwQ3eNjDjnT/Z38Z0troY+Q9GYe/NZjGN4aAVpUvNepTeYb40W5Mxg2peLxEnd/bA
O8Gy1tmKwC9ajQvL2xeAhPOj5nARVAVtuo/Qbo4jeqQCsXCSMFsPMB3UlDAW4SfiB0P9mtYHHak3
dhw+43rEjU3YEa7nbqPEw2+IPS2GS7BmH1iljHIUs0gyI/ptxt3lmKhb2MC94lH3Dz35lqjC+NI0
9ku4AAWR2nkM5hOPZ/c5jIrXcQ5PRjM+nyzmm6G7mxHySHHUlWZ50Mma5OF2aUSqEauHA9rmryRG
XO56h5o9dH7ZUwzC7BbD2zwYDbxLPnLRUmwHn6LjEoa7gu2cvmfp1AyaN1p+9tsn5KkcXbZzKqvo
SVDkTY6LNPzvSj2cCStiQQ4vu1LKd1uWzNwmdv6vJ4+EEUVHkUWXPFphG94iZMAJgV4Q1C1TwJ5Q
qXXhkZDB4aPO6tfjU6qIOXcluRHAzTb7RWQcJdl1OTEW/sCDmOM7cj6N4lMA8DVyN5d18a1hrT/y
0fozbjXjv4DdOLKEs5iNVynbtWas7eDgd+KouYBwKZW7zbkFOG2G4aDNhjSTVV6L96SNs514yXgq
PfvIeLDySTIAAMiCmaN61/l5QAtVRIYD8esEVc1PHSthkbzxFIfj25wtkwL499bZILqjbTGBM260
0L1VG8I4N6egG69l+mx48RHX3IvTMR0YapPr0V8xfRWY0nR0iP30rBw6y6gZCbBV9etAW+GvTx68
In8lHBUKGMAsudCNbUOSenxSxvad8PNk2uX4iZqV1rwOEovytmLYT45p9xG253q4OsWrgCNjxByB
Nf1hjdCUA3m0XWAruD6mLD4esyyfZFYdrBzyYzlwDQBFlA9bfnrdR0koTUDkMSnZybKOVrwR/XX4
JU9jsjbI1MJkZSGEJur1Az1tRJBhtEkxUgYnmIMeCofUVSZusU3EHr4hzbCZPHJStqfiawhBL/cZ
JVIM1ISVQ4i64L7IO9YlLgUDhAXBC0azub2KBwriPCCvWNE9QzaNQHDbwOzVZG8H+ArrcMeDvZ5n
xFCIfcHAowmHeoubeHH0JXERbU3iwIp2A6JI2myJ0jXtTghXsT/c7WxjEyDacY3y/Wf6n2OjQUEe
EPC7uixcXfGjSWowm2hhudPFlif0PgVcKiB+8REreai1cC902o3Az5QbQ9wwQSTWNoG719MEfQS5
rc3KpgxIws0wuSnM6PPxY/v1TsQk1BClYJVkH8cXn9mIXxpVBJLGgtkOvcOVWQR1iI7N3pRLWhCG
mC1OHVPWKK/451XP3vjj0a8WAAAr6z2nzNgDBxPPs5D+HS4TuR3SR5Px+7fi8eVgLn49/duwqRiV
zsKBGAwTb4FMlzVDI7nAplCry1mr6EYTK/9SjLtWGdCtOYVmuwT5sI65dOasOL/mY6ycCWq/WdYd
BYceVVE4jfkD2BTeKuYsjxIAvNch/KBgEpXAHu7AzYBpiI3RezIIfnMI/+XOiron/AKPFl7VXYwc
QwvjPrLSLPp/dMDs8LeQVjvYzw3pxP3aJkeXOO2XdD8eMGb4Z4q6ite0xBucQhGAqfTUhvMk8nmQ
/9PnK4wYByvmOEdOGNBvogIDKDZb95y+aWuue3uEBMRXelAR2UKuz7VK2Ix+tXVKNN0X4MVF2R7z
KqdoVb5Eqj7Ma7xppJcrsvfVhIejRCdK4S/ak/YcXZqBWpDLiJjXIvx4mPU3wSrp22PMKRxwvhKB
xR8nOM2KiBkK8uUpzfDf1o9EEGAVT/RVY43zNyrAohc2Gx+ZJs87Iv0+e/HlJnb7baUj8Yv9FTAU
BDV8f4f+ChanJIYHIVin6nfOkjz8GT4G9X5jROlQH0oQKcGmqUzj0AJKWy7J3uPsUW83CuyuusyE
ADuhRQgqela+2RmwL2Wx6xuTQiLeeeGfdE6qOhuw9dJ4jtLTBzByYUpz+NY/OXyzObrbwiWgzyGo
r6/uifXtNP1GcH4FLXiQSFa1u0UpEjTrENMalV0RToxVUu+VPZ7Jnmi4wUtXLjHHUrz2cC37WDaX
WNIfHYNWvFn0qYR+eSnpPsNdQhT9LJYcKtQVhwYhSeeQdAGob3LSmlXypMlrHbHX2kixpEAfDhY7
rVAmjLw0VvxAORDx8OEyL21BZY1cVzVZtvZgHWWLyiHxtkI86z+Gh4dtoGujj9c5AxUvBFd8wMPb
c0rp4DY19yRqI9JXQQDbFITnnvM52hxUyC11BAYOWxIu5XD2ix+C+szj62g83OUOMFoRmpa+1NPR
I8Mz7g8majCNtaCkHVc7JNpBkvTPSYcdknEWBSMZdv6LCd5m1T1b4ZdH5NoIHUB8T119cOY44ftI
TlYLi8bFDnzVoqWMbX9ZoKd0eamj2SU7TYSavYygio79G/isC5iHC04RN/+rAcD4PKsyXn4mKCpV
jKGFG1DPWugd7J/nGeADnA5oT0dmQ+FGZD5GVjVLJ4AD6WuQRyBGv27wFBo2swO3KLumF7ewVSgu
/XsoqOKJ/2n9sDDJgshpbgi4VUw7fY7wYYfNVsk5ewtaSw+oDRFoc0gfRhs32RArm+mdeYwpvGJ1
w502T+f8VZ59Ot7WclBD8K578ZcA4x+Al8P6XNvYYYqHbRw8643DfgNoiHOqJo+DYiQA8wmWwdQ/
01djEzjHKjkNo6BVb9wQIOEVDIquuHDtRH+yR3z8i1NiogTUvsbuobG3JG83OLzSHxiNUn4FalO+
dPY2HP9Ces2Dk2vj5LpkKWmF/BwvlOMVN/0uqdAihOmOrAtZjlxpD8qZ+jOxGsjkGOpIcDLM71zc
scuLZOvA37Bw85wm8z8H+ptvQHBK3Ac5xC8iDoajHRNaTS4QzApK4QCfG+P6kuElH/8BvbPv88sj
JbckSxGTJBITyJFNdq++PeeV1230eApZxfLpMbvJrSA+kUvybWjTzAETd+cgA0uYxHvesJaCT5Iz
TOTCH9ggWBeOjVWj47V3poe6kCamOUJ6YTMNRdEjROdOOY6GhHkb1Qw1u4pgb2Md8xeAbvQNYRvW
RtIIATnMkGVsBkAn4n79VazuMB1NspUFVs5VdB0flfoFGpb9M49+0eLx/s70l7B+irNL13yW3T54
CSGxXvQHS6j5SD/hY8mXv/PfWMfITYGe/eOukgxt5TIDn5sDZBY96z0hBLi7pqXhffERGW8Tf7gZ
47E6Moh69ZR4TK+mOLWSnEyXoSvIEOIinxMdgJmz67N13Kwz4xzzxUQ2zUuOAl1jJ6lxa5Q1Sfx2
tUk7zID6jEjm7q3iG6m33sJre0YnAuksQm/+iO6os8tE/F3mEzhm2ss6mNYzCleSJFByHo/xGYcn
9oPSHVeNwI/6VbKETP0bxjaXCNEJXZw/l6C03OV2vuhmo4lzz2aXWGCvtWiXktDtE+apHI6FjR3A
GQ0E3zEXdS4r0JDAtzBKWFcFNkiASz71BBiR6yD55YLwhxaiiUiLJvN3asWzECJAK11Utdnukldi
J6v+0of5WYBC4ZDyWN3R7I7J+DH1WIQ5e9SgdjmPeeX8aDbOxYhCB2Kpg5/e7bYMGwm0LErxISo2
fbYtOLgQkSxTEAqOzEfBrxZN/rpve3zwC9faV/Q+pRrr0c+AMwrtkTvvO/a3wgVQgORVCMUQ+seF
5Od4y4tHBHCh3DdzPttbNlB7kQG+TsKHZj2YMYAnN6hKKLIdflooI+elYQMNOWxy+2473cZMyB4k
KGyFqiL3kPdx4TeIGtziIXIy/Yq1z4c1j1cBfGqJM8lInjwmfYOkq8kPkUHZBFHBWePPRrmWwjDN
JzP6WuTZZK1JGi8z+8OEUFGq+62LbkU4JS5VGy0rav+R2MbWxKGTh68tLFyijm23L8zfyDMfjgSL
x7vnU9JQoS/rqyfD37e8ikPN9RV37FNTmDw7HlWr3uc8VRim84tNq5mCVdebBB0xr7anxqRlONiW
9QY4E2I1HkhYXOlIP/O18xcS8slTNaygZsCdYQYJPVletOIXCM/BbMjSxpGy98GS5opF0uJcZvPF
/10Ya3540hQTEnED+lFZIgIsjknD6UkEVkZujLwnkXiKat6xOiJif6qOtpze85YXnhLprp2wBR1t
u8fSz2I/3ASY9JSR+yf9axYYsMXTy4wwBerdswgwFRsSIJu/0jkG1p8GNaIpcapw/2LAKnfbn3oz
8KcjnmtDMgABkQYiwqNFGFeSf3qY8Ryc2drb1Ons+5/kGcxwGc+K12y47DGNluJhswKKuxedh+lq
jxuIQalefP0ckCGdHhNIYMO/RZi+MVeB26TI6RuDuo8w+Czi4qbuQZod7IrTiPDC2djtluMjstNt
Bvdez1dElG5Dht6AsQ6SEuHCssiucXd3nXu7Cag7IIyyOEXsw8BgNXLVeFqQq8aOCSWjtx8BD5b/
Ecj41r+1/UfZHbvoYyyw9shlqcG94fdzKkrdNEzQsAjYbaJT6rlbW3ZXEBECXz15LJLT2G310dmm
3iMGKMsrMhY7wtOQk+AjLXjnXnOJwfCdgdKAdsgzTFsmnj51slHkLuiNDNGXT473ZEeKgcs6t2lC
kvVAKVyBp8lfCz+sAKz73cDzrHiz47Lci8I9d/1zaW3h3o6pQNtsfiSvGnlAPmWYGdmCpG72nX/o
e2zv0ZIPkoh7rsgoPkWjvGhUz/V0H7UpuZmcvq4mgAoLwDBxaKlSUy7VZrn2oufrzMu5qk66OnUe
0xLxbGaA14dRLnwv5iQQBcEIz577VCwXH5O3lclzyOsxkfKdXkN7LZ3n8TMFK5TWPUcY2TS3yiQN
GMaH+HRx8V7oYyJeIUcZTJo36/wHwfMKsfSi/2ZH9lFyTAtEHv6vtY8eU7weqHtHG4yi/M+/O68o
xPiXyzX0i94KGyw8EoD5vfyszrJftERws618dB/1o36Yz/YntSmISPTv+G5RrrpAxq39MKZf4OUe
+D6IjmMXvbq8m7j5s+XcOoWPA1vTQn3i/+4Vz2YzrhyiDMzkp8YFUiNyCpEvwiiHuSSmCzFTWLwo
pE7YNBeO8xr1xaJHLBNfTSj2BiK8AWrqGkh+ggtN50LwmJZfmS2F1S8ERu2cFTBuD1ioYmwg3qVR
ABHi3MeMqhr5F/2PmznPhokbkYX8XvG3DDSR71rtdbKR6SN4y0JFIC7BZNqOcx8VWlRth25n2Hs0
cURPrfAdmPKAwYkndmq2GoU63Oz+CnaNvzvmiXcpeOb/vfrxAXGQZfxGOa1770K/dfGJvyeJ962z
ZKRhdykJ0kBklB6m5p2luHZ7rE8RhF51bii/Ee9e8hsF4DxT9+hJNk94kvr0X4oyNG+qW4S+RtNu
pcBiBWdwCTRzk4fpekScH8ly681hKsQvRiY0mHr0QFqWJZ8MdoXeSK55SdF6gwaJEakf86fKri8F
92+r6hVxSwjQ6tje5T69Z8+QdIVWEs9xnH+Doc1P/a+ebvz2OtODyORUcpxq1kCmNwgcOrpZ6AOO
OmqxqtX8zKTL6IEnIkBiT9jwCtsdjCokBt84GbJg/R47Etg0Vba0/br8gGsDb0YIcb2sPlrwAsg9
on/DRU0Qr47QLnD8hSrl3opJClYaPrunEe+ReZxf+1qasAtYAkFbKlew1PQ8LmvjnryQut0eOk8u
u+xnSPOdYaDU68AZZ/+e/fwUAH2URbfOa2grj6MkjiRWBALGW1ZX2lhndZjOZa/HaEWtTa0Z0Lz0
Elt3BgNOFq06DcOaSTwgC6WmZYeATciE3EP9QgYqME386fLqasVbVJKbS8ql2vTUBN99Ar1ecV2u
PDqr1Qm5m1c/uxOCaJKWjC5ZOf5rGpDBZ/8UkiqLWSeEe9r44rdMKEJ1M0QXBI42+odH9lPQ0jtD
pERa/WTJWx6WW+xarzVm+omjE/CMmWUZgyiaDv0kfwHbRxIcTda8pZ/564p4xX7b5qSpECqVgMLE
SbFXCH7j1OEo3jvmb0g9iyx3k3EKsr10rbPkd+FXhq+CP0sHMCXBRvqJsHldZN5yIMu2JRO6QSY6
8MAo6rdnGVNHyVocn8Z6r5UX2yvmiKJNgjiiZDxwmmhlRtnGiulJt96bZtwOnyJunxqZPhkV1FL4
H0lntRu5mkXhJ7JkhtsyFnMFbkqhNpaZn34+n5FGrT7TUVKxf9h77QVl0D8z35zgM5Y7BJFBCOKi
vg4TqPBU3xf/GfIARAapuJyN6FBVGsXYEvYR4ckoVU3r+aZa0yklf7hDVS/3C1bgafknHpULCzlP
+eDlXx6bX4YCLETQez6sQvJAyccOXjWkiU+NpDlS0TDGQjakRQpeYVis5NcxBI0yiKohrtaigc/U
74xtZLXqGoPIor4bA5QPyY6pS+CvtYXuquK7Ct9UaV574ltbxmeDFPoRCOBUO+24UPrwxcz7A1KK
81SBUeTZxUDnoMgHJel2amUxZsWtrKn36iu9TLW1e7EfMou+rHNVJJBoPI4FTmH5Mtp6fUdFtokX
7wjFi/rJlkwoWpxRljKdq4nAlEH2SynZK90WXEi9z3XjYV0pyXdIRUy2Wx+LpVUp8ElgJxed7pVq
f6rjwyzIbijf8RGQLQZZK1xBp/Hz+cjIrdXEQJ/PkgqBoTqY0nyIRG40xpuT8SGO7WaYqs1Iengs
1wdFaq5FFMQw6ZOC+6pABwEdZHzrxrOFkiccGlvtmYGlbqYNfjwZXkZn/1qijr0OwmiGfxTfEPFk
xqSlcI0Si7iDLpKBgzih6dyhsAJ1UDFyI8zdlxsXk2aVESEXP1/40m45Kqscr2y+FkIzk8nVqxtc
MbEwZcERgSQq5R5BDRsxwoSt7Yh9uVvODXYv3laoHb97creMXxDAQj908LkMzg2LWD0cE/ObPH1A
4B0J4BjBO2TsOmakb/CgsQhYYzqqXUDCpGQDKc9yTFiNUPbBANBJcyTDzMGnAo5efmoyDzkTg1yR
AADIz9CXPuC+WYhEIaHDxMLT7xvOE6RfMLfky3xvsw0HagsFzoCp4eAEr65H1iONH3wxYF88IdAX
UlQLgULAIOdC4qO1gs03w9rjbCF5oz9wCWRl0Jw7tlYEDSaI2q2CngUj32mHhBNiosStRySV4iUc
suz72WlUePp7PT4JCPe0Dc0UxFDxGJfnaTyo0Ukmk4k7ouStB+q4GeQt9PM08zlA4s4ZVEeRXAly
1T+syJjEkwOINWUfqIbbSJzN2PnZynRhwCxpqwK4WThZqheh0jdcBdbUEFiI1wgvSp3+SpWdf4Cc
4CX2rUETh0cyw6GBnoGBLOHOmT38oHGsZhoukkUhzUhb8j5i2JNrzgcAuPyA5Rrzr5fX3JYe25eY
3wnBTJIfgQl0mNqm7v/0+b1FYGUSICn4T+yOULhREboxkz40Tfhhs7xQtzr5TvqNv/ADozt8EcOY
/XaFi9Agtz5rDmkVPsBGtdzCAIlaR2x9sF5CXfttKAeDunkZB5CpfonyXjErXucLCgw71zI2kIdT
ilrT4WdYN8PB79ubUdXashSk4S2V942ySUHW6wcqsyQ8MOYCEXtma3zUB3CzuQOtuao45wF4zKwy
THEp1a/0EuB+TAVkJpPjHBQ/BVcvONEBfwn9at704RYOOCKeOKkpQ9Q/ncprZHSN9TUx8LNvGXt+
p9ncJBgzsukLxN9bFQTI9Kj+5dYHRyqnVbiTJB/jGLAF2r1wIVCjeLEHwUOiyfIuew8KIdM7SlAD
e4V+bTRbmYyvCUAGlHhLMmGK3WEJ9Z0TO4j/KhwYX3Y0PkKoWmJsBco3SeJkcXPW4ozfSUHdBo3p
TCT1mA5MTDxzEwr4yEU5nP/3d7Hd9ZnXmuscLw9Gie7AQFjgqED16DCzzCDp0gQw9uFGzdH74Cnk
F+IRK9m2gU626qtARlnzIFCa6ahEDbyHGfKSgoZ0KLzkEbdBnQoZZjYcq7hsoVz3FAbSxiUmqL4J
cOSYZ2+R+mBWfIB58ALF6DZdtxNhJurme8Qpl66F0E/773zavhQYLT6SHSbD1tsM4nWOtzpZqkj+
Ro/UVr9VmDTgaUIBBTOGoZydE3sCCDEdjJFobYAmrkY3Ltb8pkvS6XMjvBN4q9xexMjK6FidCKgT
57TSgVjL8wcq1Sp44iddOzUDofK2SA4CvhhkGhg2S1NFdHJVwGitoEVej1FAhgUWimNb4fUiDJNo
LbAwJfLb4Fv/QIdLz+1zcUADIwWoofXqgJwQBCLzXkk1dtU2rkhwAFnqA9AHqNgJPelcYjC0Cv8u
6geTt+hrepewmewuYRukPSfXzlQeaQsAikmQX+luu7fW4oXuy1LsUWZwg6xNPtN9KUQG6E7V7OV6
L81HSz7jwGtGCMIdjRUjOjIDcY4G1UlSB8OampeoufAUF26HvIuZ9yYulgTEU6TtZsRuC4Avc5r+
Dc1aqKBTcocT6znXuCudnkfKIU0Os+EyU7ety4CCHtgHlGV1pPYtacNwcUC9PNvdFweF9A2DKP3L
CJJMbpjeQ7n7wzR5Ulb1xItefjpjBEwbWwaX0CQNnzBxdm7nYWPUvOPLVyGCU/ADQRNrR9/L3AUw
rws0IgSEy2zApN2flMl5FR6x3ngxy/KWiwBGFKwJ8A9kczHuC43Ncci2mxI/BqdlRZ3pB4GiOdKJ
XwnHAA8QaCDR7CA5TD7kPxBzVT9xtyhQ+wXgrzVjnXgPgIXJwrzG3D8k/q1Y67JXLtw6l7/oUK3p
r2lEUfZgpQUYCW4cA9TakuxOe5Z5qWEw5Ji/L1bDl7xwYVZl4xef1GFDT+PhLVIy4n4Yd3NdYFjP
3l3HKM5Yauj6JQy0mB0wP/MiBMs/Io8Yfcwq/LRcLrKALpOcZXZI0DA1AyuVXdgLcO4EcZUhPwgQ
ue8TzNspNMd9aGAX0eKfti8zynJhggmIpFHGLoZ/AqgC5jMIA+8xZg/fX6LqzPFllH9b/UsbmfKz
AXETMBt5XQzQHZpvzXpi9hMGCSTKSuq2rX57IX8dyfXo7hDrawY7b9lPd2cWxYBlCbBU2uVvHW5i
aDnPlLz8srid8Jy5Zw2sIU7sGoiS9Gogl2yy8Y2KgNRB/VddDyfxCN/z13ApVfu3+N5uAWAQrcMT
p6rltIUEncv4WnqoaqHE5dfpzmuBSZT8ig/1y9qmn8JFX08f2XU68D5AOKUQZaANl4f2Gv9F/PXp
JBdJ94kekS8x/4n6ClLJ+Fx6zWwZ5e0qGCuqnRDuwsRvw4XOCTmGvtW4ZCLkPMbO/kzgK0HHXeAK
FZcr5JnWit3SPTpi1Z/kvb5s4V0GJF9p3BbSOdJ+jStX9o25D3KMz9dnd5Yf2U0/jz8QvFABPs8R
MZZcEwaZuuQkBuYFYY5K8fQOBxQRZL+iXcNL+AjBwI82VaDuQ3oE3MlNuzJtDSfp/3z7ueqxzJpM
B5si8sw4ORhWxc4TCdWFhG8G4fz3LyHnDVM0OhckzwRfIzNzYojkkl8LGywdsCLJkZh1O6zIcazI
KX5bN8HL9uXxxGBiqV88s26k5ljRhk9iwPgAiiADFfWLhBIsPtIQJL+08V86qudXZaO2KiTfxFqU
ivXHwLug8UIq1Brm/QocRD3j9ja/Mx2JH69tRrigtZH+AeJI/9qLvGTh3Y0fnrbVACkAVQbSO8Ny
7tCaT2M4grUcVpS8+U2hcOV211flDRwcq6HhsVCSuYMcLAvRPWjcmLx08MF+BXJ7U/9xHgOtdpx0
HEMPJWOqahMsbMKidCsx4AAclnXAX62finE2d5+y6Yxtit+06RjvcbTX5Q32FCkR0hRjswvE1j30
yk5u3PRYb5jkVdUYrK/GtSQzgYF9D3gPTxCWzK6LMFNwkhNLCviVeTkIWAf2wlLkE/5LblbH3QFd
g9PY5ZtjncQviyek+d+fxYH7ubyhfX/BtafIowlkiAU8uHxBzmpuHF4ecMhSdUJrwvFF9yD3wNHk
k0CpKHCyovY8jTvs+4+1S9jCv6cz3QsgB9isJFTXj2wpMt2eMfJxiXWgX52X60sn2GpdR8wL8b1d
pdAnqXrhPn09MQbGFV3f8qBZNLBxOgsitis+8NTuvuqbAchPZGLkZr/tjuR4lsF73gY6DxmgiQgQ
tFMpjoHbiSlZTD/DFUifBcrjYVkP82ExTMK9q7dZizovf5kS2JFCnoDDpFIDJTTdRRMWrpo7YdwV
xYvbjIEa7sd33nhBjvVj+jLeX1+RDMPHEX4yaz3/93uwPiAodI/o9/VfygUfLp5d9jsf5HURH8JP
yojnZZv/+KnYbjhLaizcUX6NLwS7kOengxagrYaA3xwWEsQXvzWnBixnv/C1S8/I+jA2bjGv+cbi
3DGVYHnc53aNBP7ZfkaAE3g2BiqRa/MGVwfscZLUS+PAKtZqiJLBN5fsJ5/bimYJAedTBql3FIqC
NGAbV9kmj3yMvwSM44g5NJgVrJVsX4RQeLfI85u9QNB5i+usb3WnXtu/Ujc8cxdC50tLasJNFeH/
7imDpyNPxT8E9kWxS9R1VKynfl8mRzW/iByG9bUZbnV6k4cbNi3ctPykCibXYo4Ld6LD22grmjsc
OIr0hBoDYYDGR4DkYu56snr1vYoc9jnC+NyHmIeMH11/LPqj1Z80fd+NZGrY0yfe5YWyN9p1Sw5z
jvcLdLmz+NoYpFMalzbbTdVhiPetdKBz6YFcjU1dBAKOoVhsVNum9U3pIQoeZwrEyBnj+bC71fSl
qXApKF6xTxmGzLeQZ+eXV89TYheyY6bpot9fg1OKtPmzbXFiA9E2GKygpdT5lMU6en1nUPQoEA2E
uuG2Klc9kpuSbc/Ml3xrjUBEZT1FXhkzdGU+NMLUaSL8P6XQnspNPPwry11O8VVnP1Y92p0WABNB
ZfAiYnHmYf3M9kbCYqdoRy2IC03hZeOt1w4i9cy4blIb/OJJ/zuQesNQi0xEPIOxRlH0nRCfiu70
kkhtw3do+s77PZNxo/DKKGjoUycfCBeFTUQ0CL4+Rgvy4MErMb5iUt4x3Sa9Q8dLA246JH0/zHBD
Yogp2HLykYwfpmALa6j/FuTX5jpYuxqTgo1SeGLlpphkZY8Y3m+DwG2V/nT4tiR+J6FJcSKyfoj6
IuKF8WjlJ1EgvTb9oWkYZmNIehSKezru2ngbd97M3Hc6iaLNF2IoCT+wEuzpeTNBeHSb8772YREq
DCtIVOVK5Iz47NOHJvz1VDa1saMAoPAXqUyIgp+gxcGHI6RscOJ/tYEByD7VRf45R6i3tJPQGMAz
0vRt8tP5OBqBpV6aEYXeT9gxGer+HgJUHwF2TiZj1FhihslaW0Xipo9/Q0jh8JMA+TH8HsdbLb6/
Umhu2Cism+ijgjPVDgcLGTyNUaj4RvQVKbuw/a7K3ydjw1x5SMpjancTCe4ZBs5YBnMr8/Ef4xmo
BgNp7g4JO7lN3F44bp89rCp7DANsIKEk6YadlidR3uDfkmE5eEPDhNyzwZv6A1fenpWMonAdimut
YemAs7jcLGW3iatthMAV2LIm86iCmvaqD6GI2hO2hOmCvljTNrMQogYyVKZIgTqOQYVn4pqNXuV1
TmrXQlMwuDSEEXpIOT0Mw17D47sjJITAgl0lHCrzTZ02KkvNTA+acKti+L2fbHjFPMtCkKt8s5uB
zLO5xtJ73cBHgos9bhKmSMukRsW0U+WtVk/4qCTYMj+Rt+NrX6UH2vgmYcezvxfFIJhK5Dbqb/t8
s6ZjmwSL0atyiOldIA0rrv700KKiqARsYuxjUbWDiBEQ9AIZcus5+NSy28IDQP7QkKyCNcLRMjBs
yrZi5hsWNLcTNS5Yl7Z9RhjNIKhdtdeIhUAd3T1EADNaIg2ka2PSzH/nGHLkdAdYwK64S4rR4a1A
g2AChrvrk+GdYzNZC4/6j3A+6WjzH8VWUlbTVchOLY39tDBSxMYxpUNX7Ctjw+saaeDgYs2nrB2Y
fSEuRttmftU4MwtrfY+RdiLQc+6eOsO+Ed8upstBhoBpQkAV4GCQMuGraU3I1KAz6IIoPz7Nw9as
abYd+AhVz1ilDgNdvkOjqdS1ntwqvNZwnTQEj9lM/8NwmWF7ood2122HgUSvdQK2SZRVsZ65cjTn
1eORucLJpui3dc8gHMo0kwY7vGODM9Ft4xO+yLe35q0kDjHdioSAR8fUuoXIr8dfSwjYVHl0zeI/
ffiTlKsVn/SRufPVFC8dvh5yQyrPaWYEhjfEPKLqY579WSob2eBAt5F9J1BRh4M+7aJzXDiCeaTN
6TQq3e80PmtANKRmJp6gYYUDwQRDtU2DFoekS5nlckNnxedcfM7FHz5tkbr4efaq6jOGWU0hy3cz
zr8vXgc0KTUKVM7OBg5e6T2TQ5QwjASupR3Fgw7gDWfUnCTQCNoPdQXH2NPXCALsrvXMoYItLjop
qjgm7nn4ACOyBNz4yq04HCt6zabm8ZtvYX2KWw+2ZLEo0PwlahGAXvW5JAi2xj2y1m21PQziJtFc
BfOkkFCGeyr5BquPSSUh4ylXbHM1UhcWTrGocwt8WBnxUlJPqOVjt5xuCQfGtK7hz8o7nsuiyKX/
cFocBZCozcdZhauh/IvlDy3aGo3/6r/iNECEd+aAk2uU3+4TrLmeIMk1V42VnqNz916vpTCl0ip5
rJGNPDUnzGYGzaCCC5706xmMYN0lgKcKO6JO1sK412I8kYp3RCZFdYylN6ze0PuuknbCGxZhiHAP
X7ssuhmlJwrbqt7KzLItZAyzQpVgF8ZNVYKMWaE5YZe7g4nOuJv5dohuVtn14ekZell6F1FbRtuy
p3VYT8YuLnZibkv1lhKo00/jvJPKQFhSZs/Hqnk8szcruVgUKkryFUbnTNxpMMcow75q4y+CC1pm
u5RxngGJz9USV5Tt4tgTwg3tCJTDYle6gKs8/LFD77UVRh+ywHK1oSDG03F544D2pNctt7vp8R2n
uIQw6k4WN6rL6VKjiNXcuA3wAhhoQzXghUT2X/FXX/4zsnUS40MsvlvM74z5nTk2HA8YGDJZc4o3
GZsi2yHMk3K/f+Je7BLmBDHT0qgqeeY4td5jHIpnnOGBIrpDxBOs60+rA1dlsE7CsnrqW1bC20hC
dRyEGNLZA7Qm/CRW7TfOjswSyEf9m5jPtCCw8956+d3kvRYnmBXsRIsQeSj8/T+kWZhu3QXhvbeu
WvUXxeeZ3KhxnVPuZIj2vJo6wKTO1iHPOy+0Mpyw2I2YfrqeYaByWtM5EFk4OZkSJLgOjK6ivNfz
BctYprkEgEEDCXFY3LDXwnP+bVjXNnzP8KAxAx1u6+unmn8RTEXcpFHkdkxjcixrKAuU+Fen4cjv
Sfgv5tDJnvhQZmAf2BkL6OAmf05XeWWPE7RPsAs6EthQSIF2uOMlJZUXjDK72WoAgA3iqoBOkG9h
FbiEOArDQPzLW2oFmyBcGXcTYWFaQPekN/xJUW1L7vyXD1wrK5YACCUnUg8oD+T1zHcTUwtOUpAK
mSQfRBEw2WAsYdgMWLk3AJCyAGBwgWY4eIDUmCizAk3RqSZPrV0cWJ+2hrbylZwAhSRlzYQFtEbN
fbgHIuy92pEZx0A/YBwhnCZ8RtIL54wvmI4uX+DrTOpdSX9aHpaOWiCJkD6carTUZMSk/quFV/xD
kcRxQyYqJEMMYDmUjSwIs53WXhBhEdwqlxvkLzpBxcw/VQy5XX2mLCSiBHdddEF48zvla0+YFbCl
IJK1satfvqFvCbZp0zU+EQI0Pkh6qmMI/6Tqk23FP+LbCHsNRPsH12dB9mksAMy59xaaNYRpONmc
i6QyL48Wi/959BcPdWJ3Ixs4mxdMICMvhMw12H0Ji/QkQKjEz/QKZVWGIuaozIaYnSGANOznFxAN
rxYTbmCOGPstvg06QdVWeIp4H8EPe2/e1EMVtE67Yw+4xhZ07aOGj1q/dd8waSwkRsyZjlhEF9vm
zcjBsD0dkW7hJL0rG57xq39qa3R4Um4Xy03EGNIxOZNXkJ8IrSyUoO+DyfQyiLz8qrQszG9YOXiy
LRaey+9fyXbarSAUvT4mmZAkGy5VIu1nzeO+0lROwwBimS459SMJUDwg02iYz5CC/cdPhXNrtYRJ
odAj/xOXsBVeR6i2IE5sZjztNLfrNkiWJla1ceKLMMPQoFFqPiG/0eIIYBs088eIzfpJk2LCjoHj
obpYLGCBgj8rSEcPu/1B8Ctmp8zjyIFlo0cuAhEcIqBKA4Q+zd3iQJAuY9WlBQe8MRwc6JjElwuO
NZ/C63ObXucTnYCp4x7pxLjx3Oo98eF7ianlqd33qLwdBIINfswZnh/QbZYnVZNPCUuvJF3SlgDk
de/1Q8QjbN8wtdUgxD0aT9vVfG0mO/2n3VrMLRTb+oFiBcjW3l6HDOIPgCEgS+Tq/4CGApZ2+sFG
+Ry2jSseho2VwaK2w2+YWwr49bhS39CxzOBpgEGOFnr952RyEhBlDCmzv7Oc6wMMEjgBnAKRW/Os
d/q2OL1uNEfw1kHcTPwOlzcQnnBgVH8iHgM86XuMRQ5cz3s34Gi9SgJezZz5HKVRoD2ScQUXueYd
I11XbLR9d1jFsAb5jTlKILV036OwGr752bv2MVMAeK9j0y6f2kic9jN9n/c8N9ZTPDA1xa+JzUf/
A+tA+stGzLbctiX5CKpr+29u0ZJdJ8gmpMgRVmS4/GQF5BRhGXkuULOYAkKQec8Fbz5WmSOr3iD5
VDOkZBmwQlGCWXZLdadjZOTOnLIOmFXKtCBfoFmN3RjZE0OZyAHyAv4CiQKPkiIH9rU6QHyyw694
8Xel0iPXRLvi6pAkoJXLWcvEXq2B9ewMex4bCjMEpfC9uFLYGiz32KPhshjA1p7CgtU8g5go3Apg
A9H3Q/FyFezjSAKH2Af6XCIhW+lnTBwaWs0VO4gtG93BiI7QyyNIy8h5E7d6k88mwSlfIFxgSGDG
CLzn1gatrR6k+Q4rXQmEG7ekkcAi9jiBusmtLb9Pd/17/g48oN+p5ON/+J+fZYoMjjscFnAF4RQu
wMKXETN/4TPQNCdEszBhWt5v/9npfnsW4cs0jsQLon4nDRdAgJ7kmp+xkEtBpDFjdrFU5fQkCThE
RPMOl9Z6VMfm1h2jDU8KWUd9xnAXMkJ/6Pfzoldd9Zf0t6LbQ8LFa4U8sJ7JNuUU+sOCMgrXwoDG
00+yw4Ro4bfBWYq4DzTrzHwgxzPqeae4faG6VIOUYbQLMa0QSUxxOcM4eaTUTaGkEXmH3AjlTuJp
CRaTeF6HlDjMumECJS7np9WCIhA2jn0Ksl0nHpAbMOBhtQU6avo/thks4f+OMsSynFVxsxxJeJSz
WIAC69vwh9QW2c64IlwrEp2wd0ymjsxXkavxiomq+6hi4CI3VrCs98XRGYkk652Wj4y5EGmwZGNC
p6FexZPsN36rE1+hbFrp6Cj/teslEXMhaQJm094X/zjPMcVDDAu8ynGoLHMDPgxXiyaBXUKjJSuE
G2eiY/8qlmBw8t0aw4k6G+9BrbXFT1y76QrkvdI68duztmGQQKiLEUmste5sDsyenqFd4B3ASUTk
dG8EhfwBjCtiu5wGU/G3/OCO0RW9MK0aFpwcn+Wet4ybzCxvn0QFzXh4MKr1GuAYSEwxTJqphKYb
3dsnp9TMrNR62aP1XYvXZ3pCu6CfmOOB1A5UBIQ2Aj/xCuh0GCzyu8AUQaR6Vnb0y2zc9rf8XXh/
mjuMjvnV8paB8fBagdp8lm4MLsPh3j0PbPOJWQFlGpfdAZrvT84U7huPfDJZxy3vDQIHGd/psWFO
FbH4drp2gIWCeg1dIxMsJm0aDj08OMpF040AvBi7RFe+ftZIyVxj2kvM+/Lj8avDGQ05zHaZROrL
R6ppXdSgkr2Fohzu4AgMXLP75wnTg+SkmV5ZYCrt6BAtoavDpAW7U5FLOykkb9wksNC89dWb1D+i
9FzjUAJBmQP5AwZ42OFv6GiqX0k0wx6eQxpOO2e4IWHvVrCRKV3QUCDg1pCYnEpw38o1P17lxWje
qum8DOgsMs+wLwCd8yxyQdJTlJ3l/MJYvc/XleES21bgzYexoIahBt5lICN2Csf4/NxV7yJbATbS
W3I1abvM5RnH94LLBKsd+8l7+y4oHRnjiWwW7DlWOvKXHxm+0apigQGKn/PjpXxLUpvHnZ16b/ji
+fUcNGwqmmph4RVirSfgg/MveUSP5w4cn2WEb26hbkUKMR06q1VfDe2zNc5duQKtgWgvwu7VSBKC
r/pRakFnnl7KVlYPl3SwYfMwEK5JZYCfV0B3fy7YqSOScIcCJtw/cciXgtlC2XEtSJ/5lNIFjZ+f
ZPRCDIYVPab3p6Ghw93qIIIcZHNgYhLaBTI2/MRRQtJDVyvtdOsUy5upu1cavjRXDbFxX35K+a22
9jJIixnT+AUwaRfm/jKGYmYRxac2v3MMycp7j4UCVAzy14DAnltdWP+nVFdAR1fGuLMam3sBfrD0
S6JuXZ3NBxpVRuuQyM1qD/5EZEfhTNgSYJ2BGjRa1SZKLXSvnyNN+Kv5TJ6djQwpO9TmZ4EN9l+c
/Or6iVjstgQlLuAhEFsP+w52Bs3vwivKKgq+00CX8PrgMf9HWPeF9iCrp1nfdD1x3/ZICo+AEaNd
JpDcgjbcDyDhZvppcePkwlv/PMD6q8g5iPBjdJ+dz4SRwoj+qvOf0OQG894TIwX64QvTsTG/e+a0
Bg5ffwYuA6ZPkxP3dAH4ZG1fwp+GZm+YfKkIYP2Y6SNDAI9POQnquv18pCKVL/qiVTUw8T/2OOnq
nwjTZmAhC3tAHNssy3tBCi4vWb5PpwA/f83EJuKtwLYNVjET6IFytsi+23EnPiFbBTou+/k7cqge
DSsQpGF+dDJmnKD6jPFlhA4TsGZYXkbAFXVYFwR3hWuZsUnJ/VLCWb1iBjBjS6DjI5ocxQFAOOCD
6wwX+EsElWX4eCJyXxb4Qh7jFJ1Swu/2UuzJdO+sXlH2Fh1cdYXcvWq7R2j6nfeSZwJPfH57uCCv
xIfoBtdw0XVo0iWlVJXyz1aHqNE7c/s25vvc3AvhoU6wt7sW01qqF6JQgp2ZvGeypCcPaHqLvzpE
F6rIXZ4dpfYttrYlpiUkYnW72aKHkM5jfG/093xpWsL3NFr4QQxGXsje2d8dujh5kzX7XNuZ0cYq
AogMkklc+xY7FqvZihNUy0DkcInCR5dFXD47c1zr2SERbpF8gXugEIEo3EQgpOFjXj4/x/YSUTwi
tO4O0uToKBAGCdR8bXbnsvYSZLe43AI7kFP8GNX/mi1CXCVfGz0VmBcR8LjCCZ/yE2bqHDAVenYk
LJK5uZAcMTC0Xz6J3cIUIJZCIgv1DP4dxi4a8vp8XZfggp8p/LMi0GCncJ6rLGCoQN7T9GUS90Z4
GkeDoAKoJhnf1XsyJPZL1Etc+hddZf3bbc2U2kFxG9W3npwC/Da2cDWbX4TR7F1aRg2T7wKrd7/D
IQsKHL6AaFO1PRwSIpJ6a93Hl9LyCWzPSE4lFI/SFhn+Jn65ZeKSHyIWQfLX6qdXu33+5XD0MA1j
YM0kHx4Bg/937SQi+hFuGcEDkF/ln47xQ4jq4QXS7g4EOb+0fR7vwu5BaAZRhBh31riyLc53kJPH
OMNbyXnq25hBZrGxUGrQIgE/z45kePkEl9ZXrM8w2euvTQFxu4HXt8mlXyhFiJG6zuEaTiHyUOtD
jCGimDOOFBdOvrccW9KZNhvqygJYQDstmVF1C+HVEB0JjRQ0VsxMkDymzvwmq1esP2ECjSR8AME+
l0qM74VYvLepyZhbMRpeiQccHiVGaTg10oggGEVevpoQlzOzo2uleVzqYnqRECsBRswZzAAoN5im
2NAWcA+kbmO/Q4xKKf9QFIJeHzLNZfLjUaaNR/FAiVURHg9Us7CcnOZJRpDdENMJuYiQNqTOl9cD
WiJSPaAKuGYsF8KDxMP4H/Jca/yMtdZugAqY3VNIUs/VkJHeaSNrJG1UAa03w9vB+psvwf8f4J5k
CUIsFvlIjBoG14HeXqIP2DGlTWFnNNSDaOZWNEiQ6kYRMiTSdzJZSMvEZ8EuqF6L5f42/j/FmB1m
JJyCJUqrhYfDJ3AMYxFr8HTReXDUU+3y+qDfccHgJAqxFj0Fd7r2LUw7KHkJVNoPDkutcPSehs2J
OOgkbwjZ/+yjpfJBGiz3bla5E8p6Fe0/AM1K/DMkQqsXeuWIPNTyYsALqFdIxJDwcc5l59bysBaE
1TypDombCHGwLyCLhtJjsTrLnGzALM6mVsGRBWL7WMFrWjVY6MCaJtwByHBhrhWQ3KiveR6c5WdC
gBYKMImRMMqh7D4S/DN5bj39ggNiWymukTq1gnOqy1tUiEtPnKVr0bkc0d8wQbUHErogK1D2rQjU
8KdvjBjlb/N7OAKKoAICUmliqlNbXthl9Hf4E636v+eWWWtN3/Af2kAbQuMzXNszBmPaV4be8Z92
QYyzaJOA9gGvmbf8dFBJoOL52RnolEr3A2CgHHHmXAkfVOP8X35xRfYhM49EpwWEaOFGZ//nTOIU
az4H5132jdQkusJRg6tGrkmPyT6RqalX/YC04QQAlUupXFgVmNNyTcWu8jZgiqNzCR1NiIRwG1Xg
VeQHHlM/g2fZM+SCP7pQCKlvoIaw0qc9fO0CfA2ynkNRzRnGmmJ/lt8iXjMfZF5hd7BUgNVqjSAB
GfrzAfeNDV9yEi/szxVbvUVcQavHWTFSSh5U8D+Gdh8SztUsjYIpk1tBcIdwy69BMuTTJniDDCVc
mjs+JWU/WWRIKB7IjziDMzgbbGSWhYXlG0w18EluvJXaueUbj9nnqxy6b3gMrGvEFNimfRT7/si+
hM/ShB5/aqDutQ1E1UCWA0Fe+K2ospQmoCfvZN+Cwg/ip3tW5L5Cj69NoAf9Y+KBsQAohPhZ7muf
PhNNNPGfADAq265zcFGDNGzTmgu39FtnigGwwXwSJR89V+liMUerD1SMuByYDHICJl90VL/q9eWj
zyVDEtMa/J1QpEF17FdQangZEGH1Ev+2BVpROR4yOtuFF2SwMxZ6C+gFozAN6I/yaSdf4AP0VPVc
mhhE5vibecOEdZlLznOPM43Tay5yFs7GF9QdnDAYJueQw10ihlTFY3pKYjgLiDEYR4L0TX9nQZ+k
Tq3cBjrfaDPYqvbxUptxosJvVBp7GgJg5+ewNFOcG5w7bMcnGYz8C2jfQqcEweJP7VJ6GLg/0d1A
xKY2EBx+Co4EKQ4H3UGGpQ8fjSShXy4EJFrKZ/XDKpggoE0ASY6hO1BiGRR0sKwxPcttCP+lxK+z
HgqPjqxFhM2IePJpHWhBuLHoThkFmTFu9Dx5qrSFnj7+G7HwhiWGD6arwMXT0bG7Rk9M0ILHI6VI
BmdMAvi5AibteIBQprYkVHsqmlHQfl4EYJsGI442SztIIN/r8N4lvp7gmksltZIZKff45/zH3jUw
DuPJg9AyYNiIR+lifZt/L1jKRD8SY/fDeJby0dg/d4gStiR9XGYIeUjIMUO24RMyQ2cSIH5VZ7Z/
QvVE+BVrZssV0lzocvtvPLV45NI3MZggav/hHuK9/HjdY7issq2CtobY2KAwscFi5xAXLdyFHAbe
+ASkgC1UMVwly2CCMm+V8AYhScbszJX4Ff10dNIw7gklMBGo2AuggirnztbnAXPUoxuBHBqxEzgp
fic0HOFKeJBMgqkVR860PClcDPgCioOIkgPvhXGZv89UR8lyK9G9y/DdgXAaKNCIeBY2cfSNZxju
Ssk3BQVMYHwIIRVzeDDpUADkflD9mLjJMU9V6MaW8xIOKrgERXF/xYOcBloDBMT3gWVXLoumpGBZ
6GAr8AX2X2FbLtjgDRr2Jt3xkdm4/O+yEKA/BmxdYAQs0xDo/4syZrlZsZ28Mcp49QFDNcoOAXqp
jaOMRM1Ag/Ifl9YUKBjgsDjjlmHUsX/jEli3b/IHdkyJbX5wqiffDKKky/j2Og9/1Rm+dHXv9lhv
vLGBauoczo8735wnzk+BuKAwN1gqfKCFbJtAuxUu7Cmkkou1x6q/5af0MD0SD6NTp7s05xzTL9t6
hyd4eV2mR33TH9a3uAfAvQ++eq8+9Q/hwi9b/BV/7RV55jMhrgIkYME5eEf8bF4TT52XzwvCj4Fn
oH3Lf2h9ORFQgFH5DXcVG/3/kXRmS6piWRh+IiIEZboFBJxQ0zlvCM00mWQSZHr6+jgV3V1ddcpM
ETd7r/Wvf6CqGkO5xiYYvjGVn3oBYPmlnpnd5XV36I6M7viB7je89XfpzCwApnZ3xGYbEs1fsSv3
H0++AuoKIakrpuTRL/NF/S9e9oECjfo5ecy84SAfuitEm9yb/IW393Fyjxja40Nng0qsgKxe++kC
wJTlTYUI1QBs+S7+ZON4E9zUhUN9bZnAQz68aT2pwJRe/9iod0C6YZdfXsvk0CKaPapO46W3z1Fd
8niTopnS8l6Jpli0h2YzYTgRbuKTcMvmzDZn69gdNsW+OSm27zUnHClqmDkQPCii2ZNKQ72NUjHG
BNXBVw0FXB7qPaZaa3Hd3mGTesC2joULyuZ10m/NCcZacii3wwkgvtmXh/rrvc8P6aO7+ff0D0SU
QSeY4mut4sLJFgm894GsP8emAk80jowWpypyQJgAD1b6kL4+q0HGNw2kH68WG4Q1ecB8YkDQstRo
RRAdG8wxcCz6KdmK2CDihZTOqcP1XzBiDd44sE5nlNvmGYD2fmCgm5OHzuqHSM7U8w/+UqBgQkrQ
rYH4kRWh3DnjfsASgW+Tc7svL/JC2KWr6RYvVHoDwAMIob+oN+lCRt48yANbFBMzCMEQT6Ec/xvK
FNgFUO5fxFv/yLfZ9+wSHfQb6IziVQ+JtvqEW/MT1B/0BENHQDmwQ5XBty1QIWdmyiGgUkSO80BQ
dZHtCXnIeI5aHLFUB8wYwtjYhmwyN05ifyTDmyCc6A47nnB+kB+HFX97UzaCRp2HI3axCK3YGATg
fRBpTkleGRvSzr8l3xRoKZo2Ho/0VF8GV3YJt/jmZtZXcSv/dOGcM1x6iq7otqfy2Tyik7yRv4WT
4PHAJUtkssJDfXy+1BW09C/lPHJZ75+zNAeLpoewoaMzYplt2OmZPjTH9wE9CFoF9tN8TyXGk8jd
pL6Dr9R/pRe+aO6XzBbIdrmhXqUAlp/TZ1/OmyeIj/JovpdUpOV2xtbMlrMBpwfG55/Kt9M8WRof
2kGMCgrjdWX9wXZh14Gc3vzyvGcUrd8wrO4C896pGfybnw44hAF/zcPGHIdrf0iiWiQ4OZkxcCv4
YowuIAAQgT+7Kw7N5LLA+LAgxEH9iKjMUpaqmdIYPhJOfiBQxcbEKPzzpTUW8SGzeAnj2vHJLK8a
F8GDZWnHzy1inv3b39i4hwcoj0LwE1DpzELlgnYQ5EtD5si8HwkYuy4fGt8UFFKj3lMvcFZyRB8a
rI0OW/pRdNRQJCrji2YSkCbQNCKhRSMJRARhjwl8zwoyMw2wYjwbwkPxYBl07rCAXA+ZDp1KJHvJ
sISwhtlk3u0nGAfARavJffJtTUDYZPvlhr6BUqT+E/jgnLuw40uTyWCFmZ9OphT3BNaYqf8RbsvB
2l+hxgqn8NFwU5mcq/iEoLY06LnAECkR4DK1NHWokALjWDo8iOiNE1oWJFe4EZk8bl1NXTCKiARx
HMryb7HioRwcsEqMsNaFE45NnBEBPI9dPJMD8jJMQD3ge6BJPGzOKstsXKrj9o6PJFF7cFsBrUhC
YQ9GwcT05gVBhdoVWBpmHfNwGyJd9pl3ACIWfTFcPeKJEHFgqER2Gf8IYspP8NOf2uaXqZijFe6R
g1XmmysMOl3qH4yrJLIuNPZjNDfQR0ewmmdz9uQcStv8qTTFNpsly+qpw73JRA5YESNjVkkEmnmU
I2ZAPabnWC1D2RMgVpQZ6lMcO4rrO0beVR8nOaVXtFT0k/r5glILL0nkkCuNSAQBw+aX7h2dtlUE
Jpvhm2KI2dZPSFGoABkagENH9d+myQNWPQRy5/BHMtjIb5/1aPnDFn2t7/0BkiJBdmxdbPbiCQdw
LlNGM8ijxlwU5cRRZiv/mPcOKQRwXjSHsMPb6GgZsZcb4Tgj2gE+ouvdNJtsX+IQBDqVMH23x9Mb
5EYZUX7h/Gz26WA3cDJxdvzARiS4iIuy3gUU9UX1wbnCnMGnxmoVqjVZywC4EOLKGXmsHqHG/083
KDyNaY3CyRwjjrqG8Rek/gY9fIgacYElXNVip7QU4T5/bApo9K5B5PkKDg92NiBaW7aDfdc167VH
BOETK+TEjJsguEh0LmbN4QBu8ZmX2YrkHhH2RHIsCaRJcPQktgRZxLLCig2uA6PgQphjJt416xkf
GN4UtyWUFtH7JjakEp2CyppDlDWr46zaYAsaTTzl47AzUvXrrsxAKv0JqQPhefmoaXRm42eMvfr3
ZaCyZjG2yibHxgIONXThGWygdhM21lTwBJQHX/FsBTdSrzw0xyrmeN1KOha1KXRnVXY6EnAt3e4n
aDasD3vHzJUOMx8q+XKiL+km2CVGp8oDPmlxMWfAP2hm99DvVNuv2OWZny4hwNPXEAGTLUhGUKdc
5k5eFFMTb8hD8wBB0YIRpTSCxSTfZNuI74YR/Wb4ylzYEevgJtz5xRJQvmi87vpdmL9SJAprtosa
A+XU0RHN9muh2jQK2RCbmXaSoIkNDvHRgLzw9fU9hhc+NgK6BICXPT8x9caMmSwdrkxgQD05JqOV
evtma+GM0KibXQFPtZDa/dx0zH0R1mC0a8A2Ff5w2gO1TZJHMj2guwEUYBXlKhPhheBbn5uG1gIB
zoVxCe5QHRo++G3UpWgyGHe+kTaNbY+/xp8g6lzACT8hQsRUPWyd+2uKKePbmhBlpSxIgHptGiki
sd7QFHbtFhePsy/tBgjuQQmJNDhnk6VuJuZuN58Za9Gcn0AtHDi2/JVT3Fq+zWVs9Iyw75SjiEB2
2lhG9bbwh4CgBYRk9qlo32xOFQ+rNdzFU/2k5YGXjMV5qixSCfKEpY7+zAyIHAZ25WwOku2TOQD8
9fWBHII6PdoFgkubGUsUfY44WBoNTKxskMODcwjfbPg6RjNve3Jl0pfDuPeUfAuFKvFxDCdiBZi3
dtP6UvjrkcwKDPSYoAYDaZjNcaNPXus3kc28mfviDAa+7bb0TwHnfIQzO7N+jGaZ8u313pjojj+5
4N6IsEtZQbyADWX12XrArDl1aFdxCg49jFSY5gEn+PO0PWTDN3OQLFqo0YLDEmU74+BaWYbU0SKU
78VEMNQJlpwuzRW9D6HgsKPR5Bd04p5oEd4XiN8v0cNSt0YZXXwBHbL4OF+Ubaw4uo2IOp8tdcmq
Op7GeXyEKvSLIHuMClHR6+fLkJwwOPMsnOQwjtfpxHPKk1d1LPnAKhbhYwsYOnryxemHKQ7/xZJl
KtzeUHmAtEfd52Te6SQa6hgswXr1PgWzW0OXBmZmV85AYooTat2GIUm+KnzwfKqcyffn/TsrVu/X
xPEpoPuCJq7xehDe7E1DEu8kpqVCHbraHTfSVaV8rCnct2TC0BnoqMB1MkPqmeDMoQ/aKuBA6kRX
Iv6rQq8nfUL7xVW00i/BP5i+kqGrQ7n6nJGSLmPxUpYB+4yiwr4pAy8LVz4xDz0ifHqlKfYekDkl
jI9i2BqyPMxzIXT1pHxgl+LjNfKpBWdaHbuEgwIrlg4k6jVGZflsJgxXZN0tKs2MPuERw9W/Hri1
oY/3B3ZjgH547iJFUTiN7uNlzD6LSE2cmY6Gj1WFpVGvXhoVXWkMZcpP1u9avkb+FqyXR3UIqAbw
yo57q+yotURxK6BbScNVme+FgSTuT4Uws2SWCafQLv32klYLvwdwlvGGeyUOau8O4KxTD2+g4NGO
pav3A4ZB+Yy/xT/aX9VDak0n072vF5cP+afpJD6pL3UbzbrUEtCsN2Xp4RvTkhQtIVmLpP1kp6ln
7KlERYG9VpN4HrltqDlD3O3HD1Ln9LMKzKdYRGxnpyWA5JQts6xsDS8d/Pc2Uacvc//YVzxk1dSS
fNj3rtD76xZhtQJ7MlRvUwmAEY9JrVn4sEo+q66araEXzLrgkFOjDc1jSmVaCrDBwkvQjaZq+/o9
2SARGVIH/USESkmC0oM7tT3eB1kP7AQOYzLLcUEWHdLK7akwWKMtcTPKUiFO92j++wmjWZEZI878
aOlKsQB1zsNn/J7MP5MPsHw4D8Z2stVH5uksYJkE+C+TWpOyAWYFY64B5COd2EjJcDvTIn2ua5kb
v38b0oHzEFKOgHBAFRbEN3jVe+ryEbOUAAd4r7KA57LdqGgQ1TWpinIEKVkEQ1QQAw+Y6JAHfXpd
UwnIUVUOJQ1Lj1aN9C5cqwbv9UGgyk0RcNfO5ILylLoVry+JjT5E4+afP8lkUbxOQo2BKFQxlS7h
M5XdmOSUJDmVOtlMe8iO8JqxcXqJ3fat3xJImgSvc5mfrN2QZcYws3Cajga9fnk63ytheWRxIQKD
Djw2yODcDDFSr8gXwErUSNh74/1AbcaLS47J7DcIjiVVSy5MdsRvLQR4VBH4Tp4vpOqe6Fx7/vb8
AnBb5jKZAkbxM2zeLlQQAux+xJ5dqF9p9VVDtBX6H6tqVbsRVlqUWoiEZ5pkBzCSGf+NKzkbfqLO
X/ev1tFQOmhtssmLU9Tz8KT9Go+7dvKso5sSart3vlfgSDR8sd2pHAVxGBWVxUMu+NaYzU0UT2j0
ZYDvcSiBD5Mkrb1UciuIbVcP085TajwCiP6AJxlPOe3g/cRaPX/jzpKyE02mVwVrFtL3jO8wlSDT
Uvzm+7oe3IJSpPlcx1+gKn/j/Hx0v9OLUZRVbFQYriFbSK5d1VcL84v8eYAhAfuYEAN0fzXaZI0b
R6opZvy5CbLOA+SpvD+5To5IXcm3Mn7mcNY6LzzY5KTeqTIWC6ipcHOXeB6EaFhGeGt/REMOFnH2
tlWIcIH24m5+FZPR54jGjef8rLMfaQzqCZ41FbxBcAQ0+3SUtk2cV7z90LskwIoho0/f/000p5hO
vQbGrjLyaplM3OqMtAFBZ5TCnJVA7YDEhxxpytCewkoyGwYS2jGGvKr6xangW5A42UKtZkygGSq9
/BiuNfHgk8k4gUCehHZ9r3/bL+kEvEl1iOwesBLUobv4qCMw8PsdPFY8GHV87neEYFL0c3duKk0C
7fKvfILml5Emw7xiVao/Ea7UyOn73Yc+vMvSjYbkcBLFhGfFtCHT6CssiSZQynUOC6nLlypbTd5o
To/vPswDZgwvWPBvJyBNcsBZSxZqdxIuZ5q80MJVpkxwZsTrPn8KwGIhMh7BJjocqJ2k5EzFLxAL
UcZ24OVocwkZsDQE+z7ZU0z2OLAC0m9xgg2dFmU0jDI+DnbCMOqobhpADhNsvZRRX1gYkKpoj390
mPQFGzsbo1l3iLLeOgmupnx6Y3wVzpnoEa/FTWDelmBfOL5mBhuEKjaymj2dWNfBHzbhLmDrQXNO
LN5kHZSL1nf8B65pOnyq+WwVgWIwSsARpBj1WilHV7nU3g4dJBlKUxlLGat83RsYkKktDTYvU3CV
5coCtKCmnHpZ6fGVQLDBfZ6JpojJd2Bjozg8m2dhVqEXHar19BxcQ2YutNdYMdGz8KPP94csAm7m
2CzCWHgnC2K4aXeEiZv+gNCB4+QIL8Gl6Y5508QkfwBZhM6kG/972Qkw1oSihvQTm0xlbGLr75gS
j2HZzCSUEK6epT9bjZXCO45Me5BN6ZIi7jenwxyoQrxH1Z76xMbxFdmWeg9BT0DNeHHA4Js3HH8x
fNFAt4N0owfuDBOpxka0yuAdGK5i3+e0E8zo8A4OBdmg8t+7biAzMY5g3KsiAsxwMJXRCMrTTcyU
Ay2t3vkHGUCqhmXZp/GifGOlpKQLvCONWX6t6GuzNrzSxhpVD/13NA5PcEqhBNXx5puGV7VYtT5q
x3HMJDKbVTNo8vXQ25FPOlvUHCfSH6XVVAY8kPHiLeArVKKwDSmKCuLDtYiQtXzGqF50/AK1ZngO
K8WWJv5pSinZ1eFiCh9zJkI1UJW1nsQPPUz/wpZmAEF+V3u6kM7ffkfumOxNsxQcgykeaTlhmkM3
YQD0rjAx7tRdrJXHz6c6JegaXlN0oC8YaejeFHTUGijH+PtUTfAoJ5JCn/eQPiO8Dqf6sU1SpBtu
RgLtoKlbKQ3m4DI6lx7EMKCmh0EYp+TIamS8SMvArull/NkM5Rendl5ByxEZzApEVjTChLoEOkJR
7l5Z+xz3bL9W1rXuisE3gM8nTpcCDjo9htFFggWpfsvgho+RTwIX1rgvGQXd61TXmHWoJaMe7Jwg
hZF4ZilwawP/yUGlCYI7gXs9ZjhojKl0BF5pGi/ft1dGdjt7fg/nYJZCzxFcjfYpbGcbYrLTEYwc
L75y3qEEeK4cEnjnPuCoECIJxESnuehAoK/2d2A0OESDOw31ZabDYmiIL86nMrKp0JKnWykD0ouP
BS/TcJZrGaJ+EoH5S7VTdEZJXN5LKy+9QEFeKgobtwbVZBMiKBNwx5Xx4xHqyvlEM7BXmNuVpmAK
VlpqoxJ0ksPHgF5cC88JqfN6KhANrYFk5ptZ1pE0fxlLVyi9YzZ6WgjrGLuTvLrMwluRr7lQ3Dsz
DbI2IwOA1SBPVyL4eO5raCv2MfvWIM+IPpGcUJdgwwjwsYGiCmSdXeHkAAiw5q4ojOPJmXubEeCn
2h8PVosYEC2HWrGDGi2DZLbDXld/Awb6FTjO6KbDObN+39U/6dr/8DRBqWMuAgBLQBdoKqZEzCQT
Byw4Rp3w87rlnvQEMuoeASmApSevZyfhAYJQ/0psngwVGNc8khMjLWpMcpEgQ3KGyp9LfgdOqrzi
oF7US7cufvq/fsPkmMdXgevTHnkz+lZ+t7gG14PVQ7lS2ekuuCLD6I/FV9kY2g/IWLv1r3i2ZV/l
rvuO6iMQq3ienjvFHhih1z2jaUbtZ+3ao5U0/FUDwR8iBxb6hr99sVIvPAx5fFeSUyV8i5iChNnb
EhHo1PhOxViHyqzn4YXevvvqgcNfALZTFZhFH44Y+7ppiUEAwHaDoVbC0UJOsxFDZ6ycZvy7LsB0
OSUBHG8ceig1a+/Zh0ayBJlwBs5Yre4oAWIMcEfF4SR1tGZPCQfJLTiynihdUgX1g05pJcO08RHm
fnZieSkY1+RQn3zEhC8BwKQYD5kI94HJOZb2AijmTLv1cHGl5EQtGs6O+qlov8uqY1Xr4kGSf3K6
L3xN6B3TcXo2sElDVtVAN/U6h4vx07+3H2bGYo4bbEjuKE9aFGI/H00uBSTXFkpOKx8SQM8Cgdhb
97TmhmnrQHx7B0KSRMRjCn9jl0DNhfqbNOW2YjHPul+loVQi11YGTWWGIdHAq2YDCJuC6Kdt47zF
N9YETO3E6H3sk+ig6dUj7KOj3gjrd8xaFN/93lf5Pto4kZ0cN9dZ1S8Vbgrm5tilYzYPCJzj28RQ
SoqJT4BvUqI9CdhBp0F48nmwyW5firX6pSgnPx/+Ck5uMUJCJfh7Jcw5ymS3xd2Oko05l6iN+UT+
XA19ziHsPQUkvHrN1s6ETYSdzIiEXiRl8je+daoxvungkdVMakVM13W+RiIrXOW90GBzqs23gli3
G6cgEwZV6aIrKRVp5KLyWssgk5MV5pbxhJpjo9dfw/QYsfDD+tIi5auFVZp9ZfKy6LZxtx3gKcmq
jRA2tKGPAae9X4j9LdJxXuJJnG4LZcnhSu04UnvQbD4HEN4LcxUoODVn4wzCvUWcH5usMm/ipbQF
ycrKBwaVg74bqIVDs80oaL0IF/fI0XlAks6plX3J/Lkd/bbhXhQFmASBj6BhbrAZEX0E8ekCa2Ap
Q+LDfGoBwwJOrCT8i3KfYTsOWQjlDuobHz9eN5P5rF46XMk7hOymjjOp+fT1nuPvBsdU4ziRTSY8
jPxhLE1upJsgJ2BGw28EM2Hf3RLRANUjm7jt1JSXzf3l8Vs+CKByCEk77M6U9dRpAf/3FUL9YSFn
K0gotJ1pCLyBnZgRMnrzXTBLjBCDgLT0EU0PONvDeX8VTqBdiPPNk0ARiCeMUa36Vf09nb/m5Fvi
jl3t+CwcNZP0S6mozACfZXUv4f+Pw+F06rYYGM6cmnhrmawWg+JHHrPty+WYfzY9CIjGkQwlhCEw
u8APpVtpDTaHxsyiE4B/31zI0tzAz7YZZc8u6g9DVWgRUrJb5P4Z6UPfEOuz1QZ202Itk8Kt7XGd
0T5bQdsrCbY/rr9j23YgdUIpmdYrxBGNvH1XB3F6fysbsgxhSH/aTQp/SfbUiBzYedsvcf6sRq+I
dgLO/1P7t6J7VsWduGS9ZUJH2jydEtToDKsG4E28QjP1e9a6ha2jjSL0YssHACk+BOsZw9RmAzWa
8T7SXLhEkwybZGpKWkU/WtUXXbeAGONLvVSOY2VHl2BoyDvn7674IUUJ41Ux3UhcVTNPn1DfWQFV
g0ZmHTwnuQ1VKIbMAW/lEPVLDeoH/JIkAJLOLD9e9TNMC2woOrjIVb2j+mw77qs7czUk/in46rXI
oJTvuDvLUJGgS4b2e3pSypOQuxD/48aD4NLotgzxuTpg2Sykm9ewhpmHuaOsLvtTgUZVfQwztxBu
dfcUKcQZe0GCKaoLxx3f2OfpY5QXufjH0UjhI4TmSjhy2g2NJ5X3CVfA0G/bnxqUK1A6iwUoTBq5
DObiYqFnG0EwGZAhckqHJWEPiC6hozUY3a6IoZbK9aT44kQess2Hn8Mst8D34zsrFvjtWrj5vOVT
Ha6L11Z5zhij42YnlHNqUSrKCSUXLq9aec/7W9jt8qmtPkZifTealSKkyABHGOVVJ0y2m4IwrbHn
X+HCQvBvWvHkw1yfGZ9wIYWL91aHljqaUUUu7yYWCw1WubrFUinw168KY5djXLqT+Kl1eERf/PxR
ll/M+7js9nscARKAgZcdTnTHz8spVTLo1g0lK8QZWfxpOzeq7hGjhNc8Li3A19jO2h1lSF+upGf/
xFS6J1V0FO/hTMi9hwMTma3Vo7OHZ3inJLOUI9mOoUl/tX/5LTHgL4tmtzjKazYME73rRsYayhCv
cE4XHADKXr5iZ0mgNN5baBZJ5vucIVQhzWrzVerh/TT9oTSQloWwwUQLQ8NFf69o6tO9dOKJjX/H
gHcju8Vwdqbr3NtgrFV+VXsifshV6+c4d36slIN+2dNHMhpFbFbbSNHeV64sgBc+8lZMmEFu/MO5
F8Ms4+X82AnuXUvwELQoKEZvB6JCNw+YbONExXwCSZ1izLwc1i4aUNbckko9KJZFboKNmd01za3W
xJkP6qU1WyYrcRVu2x0cQGWRb2QX4zDr5SSGsCXM+dbzdFCeRg43lY2Wj9QdOyLHRqpHQfcOwXLO
JIiRyTWBe4YH2dvOz4hqoCdCf8bb7I7R8zZ1uWevBcNsKOSrmH0YHQ2Q0w+tGZIe7P9yI7x9Alt2
KwosFjVk7/oI/xHRhpkdqLCtgBEB1pbMOyA8c9+ge3K7ZJuFKB7LL+2OMxfOjsIXYdTSEoppf5WX
/bFaiJQCRBjTMpGJw5h2pSy6B/4gxZF9wz9z60qScMmeQsd2eG9HSlN2gD070H36sHVM2vrB/hbX
xQLzwgnNHNx3I3KV2bLccAZja4Y9IMSdmdev8I3P5wRG/uk/yVncybU1xYTVxLGNkr/eRXPm+mRC
33He2jN6r74wdQOM34F1Uiu91p9zdwh/oIxsmJTz9I13LrmLFJ8GbBW+ZXCNVVAZrQkl5yBbI7xo
BLYGn0hzMKu/lvvOms3FVWWoP8iyl5i4iccQx8Dl1OLptCd7fTTKFF3KrDax9JVKSASrd9O5+PMY
uhvvVDfaf/YDg0g2zDu3jKXmpO7g8tBiDWBxWrFicf9a0AkELoyC2O6/qTkw9z2my/JEuMcVckJ4
Rd4XzfULlKTFbI4prW4PF7rfGzWy9z7455GX8KQ/qRyYZlZ8rZ78mQPnYglxEXxkO3z5i3YzLDAX
NINF7vTzeDFb0gnLOPCb0k6Ys1ius7/0Gy+bBfpT299px3Yjwn9mzYwiPlPmrUrGqquY6PXXliiK
fXVn/crXFyS/fAk3MnIjRpV8Am3XPV42xzIriUbK0UfxqX7hmlbs7hD1t/JVMTHoWIQ2DGbqRoyN
jeaAo8yK4e/X7MR5+o9slM5pb+QVvyRv5/IqOGHXcuc4Gn8ESStFow1Zf1gxa8UXA0YfdrHnziGW
2e7mSB885N4jnQ2AA+KvV23p4pbk6WH9bHD6GdU63yI8guTDxBo9FJ1ish4c2fno5OjZCAyidkO5
AHkmdXr4gSOozd9C1Q7RGVD6I1+eHuD1J0g0Prsf4WMzufQxhrI/Z3CIOTx4dd5CsYRbBsj2Jh5h
ZA+m0GD6ZWbDHO+fb5xwyjkeJ7BMXcxTsFlFbdHNMdbp8HRl2rSuvOrMfite02UAY4gH8PGy8FSy
WM1jJWS0N7juODPkS8FDAkN+uAHUu9sRV3H3z5rDnuDNnhAF2XyIVDXyb1Kj+cKyP65MmKsb2Xtt
NTQJwIBzgt9Gc+JwiyzJqF3xK/gGFv5mT2BDhLs/MmG5NyzjebZo2FjEr9pF6zHnZ7yf3h4obito
81Y5crwhOOt25+6GC0l3XOpYGUoLfY8LBicMCSJ25IybyGFSMOZFZbSCuO2Se7uOlpCKfvQvfzdO
IC8yx/KWOggLbBnK2R7dqI0i6Js5kXaHOF6dUb9AYAh3ZJYuXisk6CyTY7T4QIAZaaVYswYkNBlI
Xll/PKqJl8yb0cGVDpnUTqb5VGeLzmVBEH8qj/TQ6cZOmdTgBevSG7CQg6fYG5Gj3Zgb6CM1uX6k
392DSU5rAD7rXpAb0i+PNyIsWHHMhhdwKO/Br7Sm6RTnxVeIKTBOJcvoRHn7not/oPCWfxyc4vxZ
C+itOTu3s8Se4XXRwhWfy9h1mKLH6IeuP5pZ9QXStYPmzXBoJ6zAQZi4Y4Bi/BzLU4SvwfK9qkhp
6i5MY8AmUEqkp+S7mhq4EXyV637LaW6MHF8ovXCu2U6z1ZuomWPABof7OLD3Eo7RCWOQW74GwfqC
RZ6uS5uF/HE0Q1gSvbSo6fTIFbCi7x1KBrviwXjdgxMrHJbVFhWD6owvFDz9/rGzcwnAvQ129/cZ
V3wbmgbl9cY/hqqVx+MYng31pzirm8JF3XJN15MdtsA/1S07Awo5vZ0B7fCtKz/SNjrKe1QwVCPB
73QJs2fqVZTPUF+QetlvF3xsLkBkZIt2Ph8oX7bcsV3o8zA5UmD7aw64tUxDDf2HtY8NI2p13UjW
9Z9UOxwQNhLmmiyQFeAMp7r0yyi0NlUnWRNBnkU28GROp7GekWr5NiFJwki1cDR4MNd3Qk/94q3H
It63yCH0mj+ReJN5Qwg9N7TtjHyDShr1M7saRW45Wr521lYZqcb5c/qFaJIKReQp8cHJDazafBee
0mQRbJiLY67UaWzI2fndm8qRzynckYTImN/eUUpB7y/+JqhTNRxIrRqfhz35DbS77rCv6OlQWAFZ
AmWp3wyh94B9w5dw4kBBDLRIlyP1naeDpZutQrte6FtcdbZcZbRK9jDORqUVOnsKPYbBbvGgdPsC
joLwACvCAiL51oGNLHmdb0JTtLXTbIny9RT+YJ65BMwffbAxS3u7mQsBMcZwAROEwJo6mYtAhvvK
nUdfQ2OXTd2Q4xUNweV1oO68f0lQ8WncBRPVzLmkfDiKDseXp1jdUtqNJ+qWNbUXPTriyIH4FeNp
wRwOpvznR5layZMzyH0d2GhRhNUuawZNEdIBpzObZYVeeiPhue7B06ETspi0BtbkN8pH1G2yE6l3
d2+3W2ar7B6tm9VwgauKeQlTOkM9T67sEruf0OMAXOBAamN5ygPyJX41fzMebh6VkeJpM5Ma9uiA
kB+N22vzgMizV2nMPeFc4009OUBPg9SgkZlkYIVSnxkW0qgsVI/ntD1Nzjm2o0DWxvRRntADzNg2
venbnLMXrj9X8Qsc+HUOkDbAJ4AEQuSppz9DD3wN0ivMZ3bwHXocbDkD2MCNqyH+0+ZdhwjJhhAV
IwTh1DoT4IxZO5lPBBiyEyWmipzl1HNRR/Q/6FhHsxU0g/ZwGr6h4L2WBA48MIwCBCGP+rVa+4+S
Sz+8l8zTiz2k60Kbo+fU5vF37WRzwuRd5Qq56AJhQR9Xq2Kc/iADzBnn8Z+YRfYxVAuesUnRRFvl
CFZwiKzJivBGviBUBHt8m+eRPf6Vg9Xsjb/f/d/9NrFO5KrhXnZmzx3lZQwcW9uXLN9YKnZg3rEj
M+/33jj/8Stt2hjzrzUi6w+qFNQnmgfr93fl3jLjwkszY7ejmOZizr94oJmr3jiN78W78qdUPlbh
YILHD2GRZcLEMfa/v61xwOjGgSjEa/BCtzJeA6OJ/42voBXljSSD6zwp7swl5I87yGNqwr8yT9K/
f4nLCi8pTFwVDOj8/FnKhx7/X4Z0AanYZCTKn/27BBM4il8MEcaiN+Dnxv+MbC5eDPOSl4Kg2EVj
RVgF3GeQXDkY5v5qcvz4BgOv0md8bWlQ1TC2Tm1NdYXXAfrUtF5XJMCyeAaThn7eriEGW5A3uYVT
kyfD5jaN/4ozysQFjP+N18oNcvmIzni1GSyy8U/G62dUuIRryD/9/1lyi4ORqyWda46L7SLdJROb
YPW/JDUZCUUpyLBVn0lSPGMhVnj+Z8mMbnLsRoWhNbpl5a6/en+jScRnFiMLIsZ3SJrgn0XFrfsD
s4I+HOyEfIWAX17C/cWQBznd24Ysh8HH/cW0DHm4b7Wr6XFCbpmheSHTb4pfpJAYTE0Hc5/e0l8g
McKMMZ3qhDkKyRDKW2UR1xNucAMcyAXEW46OlQQiC5m2tgVbD7H2gFU22gdolSsvu3vmMV+UT/E4
TzOLk3pnTDIbPLg7MdTK+XACfe+PPgUqoeF37Ae4D+qSAXDjESQb2cSs3RgMVr/JDpvvU3fE+Jvm
FBsOlz0jX6MSCz+UVFSnyM4iB2bl9+fQnHQ2BDwzzBz/txsV536g+8RV8W+kW7Pyoi8M3L0UhxpP
fs6AYrbMj7F/IK5gW2017Jzn/Xvz/upJKzuP+msbMlUK4BvYuCII7Un+g27H/iKfx3vj6k++GOxE
8VxBkCLfAopOeamgUr289/opOale5up7gYzWpZzNodzBTGrzbXxHKTWAju/4MrfSA0dB1CzT3xhU
20gfiJUhbWDeImhzLK4UlIyHeJ/hyEIYhouKo0H71C8D/wbdWOMoj4+dfvbx5q3h9nuBhga1tzR3
soLFg8w9wPsBT7JNz9hmydYYYM/S7ILpXcGgOEGsbmneDEY4DolEDBCspR3Fz6LRzxlyfZKEAj/c
t2ipI0jx0XAeuTLaJpXvOQOPibpknkCPz0CxXY+5axOQIgR+nOKFdnlHSBSIGMuIt6OSHJhSMJYP
qRVewykYDtOAgGxs0pd43tSIBomPJF+qIJJ4KUbrsCAChuiiRZavK2E/bTf5ZB13cPtsPiQvTiGi
6ZtB2L1ntxBBjc+n63j3CjcuhP4fdVPKi1Dd+VgNSquUp/JZ0ipCSe42OT686qaJlqRSjQm42VXo
AJaOUb3KpyexzzJSxEsSqn6Jg2LwtVOInUyBEuvdRHXGkGzJKuHA4hUTeROJJb9Kppcq8oqUMgWf
OfYvNHNvomr4FCaETI5aUkkopvDwkNGI4QGFmQdya5KCdYyHTU0kXYXDA23lPBqgzFoQSLHmKO7w
MeHYwhvPXuCrFkdYCwN3dHdjDo+KAQbNqJaFwlKgpcJuWTRnRGeTU0KPwkYkjEo82qAZ1S2P/X8k
ndmWosoShp/ItRRU9JZZEAEn1BtXYVnKoEwC6tPvL3uv3qdPd3UVQpIZGRnxD5kBp6HFXeU6KQxy
Zu6A33vSaA6SMrVE7wv0R7tBppkQoQwSQVBXNNIfI9SiMGjSqJHfZ6hD6OfEgj3xGWEkLSIB1XEW
NbJtEt0MYCx/tBbQuQU8Bo4bZASIejozEJUGCoV4H0Z+TUpEascF/kY8LUxsGrpowijqdEjA1l5Q
dm52VthfUf9GJAhhHhPqPv2pkjI4RRZvdiCJeKfUYNTXVy8LnA8Qs6D3p51B2lNw4cwE7wHOsQyf
QJveDKPINdjXTzi//LOsf4FVfWC5iTfFAFGmV1qzTY0B+JmbDhgwh5zOdg1z/mmmlYXgD5he3uAY
OQtZDfhuiM0cFBg9wIIX3jyjJbqd3Mbd5HQGATqPFKjtEvWuRjRC0KQJUTCdtmHd/j4APtVu+0Y5
LbF63gU0kES/FWaDGNgTwrVVKOSbIIqaayW56SOkdJEqDvXzJKMRxsaE5gu0f1WOMelSznq2k451
TAXLf1NLwfKm+xqNn4aopLVRecWqCbzVlF6T2m4evoJqH+L8tgRVj66lYtJ9NMu3raCYDgaGgAZM
U5P2iv9xYd+fG63dPD15QUn/8r/o2IaT6URHdlcA7eFPoNEmwWpkMIEQv9TzzZkehcgSbaAjvXbo
s+jBE1FIw0Ga0nnOdhcClNpHY/PyQvTlDy8hyLCcJfhddoe7FAUUaJo+Fk6AyJncfL3Yla5iwdmQ
pxowIJAoUow/qkCoDGGcUYagJG3MloMVx/7JPEQd6bOjuM5A9sBhOGuCYxlpkEGWoJkxiyHfhTRx
LSmZoQ/D3XNwZN/esXAsFhC66ABwafsZb+O1Q+5sUUNNT/AVXOFNRU8A0uu7MjguTReC0RqLcigu
Fz27BnKEkvU1+7/8MLj/MtknE/9c7PPUghBRlhIiVhMQb/jJPYdoaOT4qpQI2qGTfcN1ESt4+mXs
eCheUpSiqkTVL9eQEPrXlWMJqnMSHyyIoAbeYBxoqAkgk4J2LH8W6iAcYHJtOMInwgQPPpz90csj
R5/RygYsSpYjB+ckptHxUPbnHsdmk5R7CuV7DP76dfyA5hlbV5jZdP+ank4gxGWDaT+TmTAIXg1Q
mEFqEXyaUIV4xuB7ih4tbPuDqC8Ej+6I1SkFU8oTdHtm6Qr8ncLhrwKonrOhROAKHh8hMwOvirI6
GLj2T7lkawofGdtng14/CnGUI9UxtSh/dq0XQ6/aQVCH9HRDMhHb+w0+CJQeF9QIplMJOgRJW+1k
FF842uUm3FyaTd/cg7s+u9kzhZKUqB+k861cYd6sJ7erRHltQlQzHjgh5Zi3Yq+FAOm26EN57API
Ff+a0MbSuHO6dMiFAWqgYESNjuZTV2/gXYwR30UOa+K1KIxxFu1siQRuAq8SJNXYx3f9rNAocpUV
deLh9zAqWaMm5+4bAi/mh9P7yGzx55t435HRMHTfNSN5Q2q2DaQeCIfPMIK9p3RXpPu2O2J8B+hl
BKr9WAGwLVFX6rxBfmChdXnIHB8MUWbkMYvWotbyuOJBr9CnGY6jFC2I+ygep/ukP745SufQV9Cn
dnncc8cAColxRUu5PthrQmxPVWd+P35p+GXvkHb6DRuIzWsWfj9LqcAPkQYha/1d08xH1AsJ5cyq
PtaA759z3n9DGGH+zlDRiSYjyj8OXmLlbVkBKZ3NlmBLcj9F8U3eKV2gSHGjBNP3kWX1HOoNrCys
1xnEO1uxNsSG4uugcM+ON82sJrmyyLM5gjvmCClQcqNrE742laO4VDo82qvRIJJ2H68NUcZdfrec
+d3JMnMlbmj1QUSVrW6F2rlHcVfIs5SiqTVZzl2JiOJxlag4NbtmV4Qyy76Li+vj1O+KU38lqmRh
vnn67LwUe19A88LSLzePUPyq+C4l+lzJYcIetotg6/Mfc2VD2TmsQjpqvTckGvk9vsr6jQ6eV/tK
PIE+3uxkjF6K3ciF8bZ5bvrdZ9ecxK/hjl+IvjjpBuDlerB+WAjH7KbBeDFaT9bgzlYYrODGVPot
6hmEzqcvR3LU7jKu2uxy/xtx3Yg/bUbRKJbjEf+WGF8IQW4Viid4hO2uvWanUXSjCAiom6LAaRRT
+KSiHd+uZfyKZsdXTHiPlPUnmC6ppi5ny24EJqjLssPbnFmDC62kdAuHg57ZZr5FZNeUQinMF/NL
8zPct6tmpRwgiO8lWiLPrfBHan/an/tvTza1bffJGv8t5Hp/B4f+x5T23bZffVadP1n2q3ZdBvKy
XXfbdg179hX0qzpoV902PdZBta7W4tsHL6MMGr6zWb/oA92P0D2Ge2nPH/79nh5hmwP7/Rnm9vM3
hcWOE/MxPc7+0t+eO6ThtS23eDY3P8rhuYWue//twN/SVZjONOWgHLjb4/lv9gd3paJL8SvulU9A
32H9/0UGh5JLnJ2H/YS1UK2xYuH2Sm5XhsKPPAblCD7l/quYfBZ9/Z/hDxipYERxXNo/j81aXubH
dvU8vrcvv989N3I0AT8lGbR/wiysPOqn71gQki+yA2tHY3NkTnRR5bW7SUSbjYnWhJ3fbTLXrJwX
s48ezjejQP+MGokeAznV2Jv4B4XeFJ2myUW5zC+vhWK+fIYY+QFaLDgAHV46R/K3lRq/U6vf5wH/
wOOnv3kgA8b6BdL2DIp1xwEvyI/nKYgS9btV7NemC168gjqgr4eDrP+if0hIh9X/2pVh40/djU0O
F9TBZ9WEHLliVpZYR8zDJ/8rNwWzssZagJJbv6vpm+bsfK5MycetHLEmqhNgrer0uVanefTaiK1+
13tilX1YN/N4HsNwLf15LJZa7YvfCXLzuOQPn38fVrFclJgVDLOIjxS/UXdjFVOkZzlc+QorfqIr
XIs+ee8psUCo8U0ss2smfkKJxd2Kt8Jf5OhxmrC2xP8IgNlJuI7x5uKKmwVCSF0KtQYRRh4nOdpO
4oKvVyc6GCfob+KK/4KLoAdd+ysfxWe3V+Xft4kB4h8k2DcxH/XvL6ztDFEKJQZogDgqyRJ3R9IT
N9eaUx4/p7DKqekPNOITiznjY1GCSfi/1hMxBu1Fci6ohiqaW0QcCMTiER4nJRaPqUTlRiaqtDsR
3+SI3py4WYXna68pEFo1ObWM/3AHft0lJY1H/AMDx6gPoubU8yFiqHNGlZsnXaVrImjNAFVP1+D4
Nd6rFU13cWfi58j0UE/cpJuc+cr38V91pU2U8iUgHfwJZuEoypgahHavQDljtpUWwdHJneUFJ7og
2c2OXSw8AglT4pfA0Ysuzzt+xUh00B3C0GbxdCX/5Szn3hgNYK0/cPBcVtuJIx3Gl5n/3E9CaN7h
IGyXn+XUrKfjn+lzuO8rt1+JeNSvgBLRocrcJkTfqzx+t3zHDyauR2l3P4yv94vAIvx7U4w5wXbL
3kuPvkDQmPcziioC8yP8RouJ+2JnQK9nzrWGzFP2jR1hW/wU48lRk7HnPfi0qDE3YE/xxOQv+Gnx
i6kIESxOTs2VK1fEiucGUEHChFRiuOBiHxS6JMUpC0fRXIuok23awzssXfqM61dU82t2PDNoj907
6uJvzEtorgB83tEsOAdJyJYj7jo5IRbEZLrx/0IfaKDJPEWxE1X0zKjQHqGrdAuZEwVodtCg9LoA
opGR4H4rDQkiiTkz2Aow2lO296WMRd19m/08hGD71Et+Jpv6cNuXy/sWM7xzmKzpp4odotmfwxIA
6B960Zf7Yuw9l3S7vjDX1M/fY1VvC0I/tlZr0HUlW8hzm6265XtB8d96Hz4GfmOarfWLcpXbuTNY
pN58eccuCdHp7yX7KRevRbftAuY5WyU6M/8vWUjooFIncf6lVvPe9uUPnpeTRZ9fBmMb9Mt9EA6r
5Rj7HJmCInlP7oJoEsSeFgsSigARdW02+KdszCtcHoIRSkZzkx77hMObfc/8QnJhBj1O2WQlMXXf
TinbUreg8TrdnkeIzasIlV1gfW0UBJ3nUPq9/NBDRMKrtDwqwAOOMmpz98Ut2dBHbRNhWDZEGq8Q
eUcLjgQL7YZjd2lL7ek8Xd17iu3n5S11HmOXeFYquNRoNYVtfIpppsCjny+rPODEVACd4VA03Qwz
pOmXicpx6EERGhhcBBpiotPXHUwWPB8z90vUQVUC8JH+wP4Ai076Zs5zdiIilT6IJJK8b7E4Q5vs
g3fuk7QVFkkd4nUSYr0b7HGpLX1andsGlISsgXwO+SL4gh6AEZ7rpfP4WuSDCfLJ9w1E0nlUYRC5
RMVzVOqZ0Nz5UDnMUR3/FwH5QL67ygXlczvN3CRxICDXgyMIrekUSjexGiYsjsJ5t+Kzk3L9xap7
pM0nftMbtQRhSy0saaKPOKtKWlcZyLQq2L3NlkouUFuA5JBQ4FofnLfy7Tlz77kvAW4ZwMDX8XCb
ZP7XbWtB6/l8rNdobKU4YGe/SZg4tAgBF7zJHLnEMY3PAdJqOfs0C3eOPvAP9zdyKejwD5zAvbK2
GGCegMgKOSwxK8BGCWQ/Ey3PWfARgsaYcJRnfHyf6BncH+Ht+V7kn98RLnhJDzYLIrKESxTy3LP6
SkIPBO5Y3FHtqS2ZktOdYsBzTNaWcl+8Rqg9I4XxrdvFBJ9CZEhf56dfSTRm0t/zN/fHdMXTjsMk
ANY3FyhfeA42L+88uBPoGornn7gtj+fqC+ysBoSVBGdJOSl3at3UfO451FbySkito8/cftVLGKSC
RzHPUME7gtGlyDR4DnQvHV5vHsfKN831KyLQT1+iuwjsFVweEXr12F04WXEo56CgIJwJTATJUK8v
l9iazCln8i4eGocQxDHrgQumgUXHkUMW8mIOWhsjNZsZF6ht5cDFwirZ0dYDL8k3DqdBy4kHRg3I
HBxXSTsodV/xsxcYlfciNVuP9fG52ywXsZR3dOalgBrS50i3Dmssi1MnhQ+alG981c/sgxwx2dSG
18qbIl1ExVGQpkEWgCDHEEn3pvPl8H1kAbFdVizXekdZifdnVRpgyZKincDfXMoVNohfq/As2E/H
x/aCqoGM8or6Vi+97lAXM8k2CpROqMngf0CnUXaBAyYcGx4cjfk7FREmPDObkAFEYyYwMHCMTDqr
l1yQCzhvAIkNzmxRSIMwN+l7ugOIYacEScHWEji/zdPlgs6Hbu9QS01lXWnb3JQ5aqH8Sf7ISRzs
CHU1C3fV1edxoFMAN5TK0YMm1grpRcpTzeYTPyZWeYW2h9o8xWxIBeDxR0iC26OPNY1mJA7JES6W
EJhRG8X5tn4twebGx4Vy8Fd/WeVbm56P38TBwrVjfUlmHkIhyC7JL9U40RP7IMhAL+Km+jBFeGhW
K8hKsHMygtEG6nhyzEPeDHKgZrK6jQ4tgflGcBcdC+ovzZ3unw6oCVO5qQUiCKhhN7bfQDDY8GbA
nfINWC4Owh/0B01MdyelMwGtjCgIPbMplGKk/lBsspmtWzYazqlaa/VXKOBf++1SzJdeKo+DPoKH
5n7H4NDb9JDx0dAqzgXEpsUrYry4QeICr9nboClP9ee3H29aZjl3nw8vIyJE5k/FxEnRaBDKLegb
VW8vNROAnyeqRb3ZXB8O8UXiMHq3S5+6Crorc4QG8LWE11ZYRCAoRuWineivcqG0Lpb00+RPIqpA
aBtQDEEAx55Bicisr8DksZ80nT7C9Ccg+Y7YWIAptqfEpTZDERnklyvApLD4NDRhuheIlYfNM2XW
67ufslSxkdEAOgKB9fJjEqKSuJdtChyb+jdxKof7Y/vi7dHAH3NTwFiYegC5mJvpgeTcGk0xqTFm
V1jHB/RuIgg6bTj9ITONXzZIIrYfuDBcw+04I7D/cFBB5O6tcdFuQ8AHbi1dy9phYn8e+6kzvLaU
0n+QPFDr39v6ZSJDTO8E1NcDwOw/W9IxARzDNaQe2XeqJbtFYgxuy/JsytQtc6OdGZBwWMAcX/Qh
IdPELiGE895cqSvcF2JU2bggFbNyiWBQIhJQEFBsD6DmmDgzpwFxjfGDqFHoLwRMyEuG1P8OMmcZ
3oxbbrJwMDudWPwKaB8cO7U5OKXMrz9X0JJoxhZvj+nSE9NSyMU6KX1MiZn+G6KPIwoFTFZwRHLM
hk+9pVi8JeOD2HUFdI9K5zya05UI0KqdUrMpbVSprtQRAd762XthLkCpbP5hcFFeetuTCCIvHMKQ
sU5NSEJ3AKszOlq4ZOnj3uDAwqASP3l8mP+nJ/hdqOdQiei80pgfqj7LhJGi9MsGyZeILYT7zCg8
xKhbATVjAxQfWTgNuA10gIggTFY/n4dC2+8IK5aGQWI+a6t6w9tl5eb0WoX8OOhDhkgkHuJUNzd9
7DFoHtY4QUsC0kbmLJIReCkEejYS2Y2ZY3RRJReDER6pte4KOh564pBOJyaoF8D28DPq+HJMjZST
yv1KZ/NT2KhKnRCnQlI2pj3E3q691K04uHlciTVASYiJ8day0y0UabRV0s+PHmbtzeLKXIJbDlk0
mFbz+P8GCMNFXhTHfs6EmUVxqgqR/mUkSQkYI5quOnqvrV6cAHMycui62EwWQtaN5UKvICo0s7J8
FEHTTT8z4tQnGskIaePrDRBqpDEa8U2NcamtrDg1OScaXCgJY1imb5usEPybD13IbAo2VIGtbm4L
pTJ4VQVY7gj1F5fBIs97+nHBJ/GcKSRs42ujVIhIrk8m0u+a610Dj0/dkTcnF3ZNZ733OFL4FI3r
4XoCYAd4R0S8xRhZJIV8RXCtFigViSArx09EIEAY8vUHS7LkzJOcTG4dQdObRox5vlzeTof1ijhF
+hTrJzFZWMyDEymIvtz7i5hf4pXkpX5z/cbUgDuTDfH2Zp97ZPuK6ToNbieMMzVEUUH/QyOQ6yjJ
VnLqn29XisLUxzqzRJziLm79XKx5G59yWW7EI+jcbUsHl77H6dppZ0DNKFQId3qkKEHrvIRwClsJ
wBXZ/saguQHFjCvgIdChPrjHI2c4VuPcZzAI9WSVPF7NmX3uJk5MtR/OXOTLcd5EZwlxSvLqZlOO
bew8z+hBchijRI92HsAkYG+Ah0TPf2SKLgisHjQC1qVBMwF40sCobWqKlcUy/MY3D2SyQW66lEP5
1HQuV+IIfaZmDoKVXg7zb1doM73TuqcFaw0LWfWaaJBk3sbd/put9m206V0UAo80g5Xgg7k1PZOF
TJsRsEgBNkC9rRr7E6VwHI8lpw1ox0t5BZIxstaz38EqC8fbzgb+q9PSgUOtwJXXGLabBzbtjdyS
Ch7hyVr6ApAbXNdIo5DooXkKwG1b/bwO0K+643kXYqml1ZfHvjYJgDbImi0nmO3LJO/0h/i+s78y
wXnziAWvFW8eynQ+zETLdmkM6/7eLJHwtawlmgrQ8nH6sGRIKUjjTrwKe9kr6k74E6CVizxCR2Vd
DZ5fFG3UWUCnZLqFAAW6NHhzu0DCSKVqTtklYEBgImM9uDk5gB5uIci8oC1MkHCyTYQlVNxhcbIl
POO7Pj3btIGGQasYo/UAgRXgUVwy6Nzgic4V6SBdmgFoW3OmgvgrKYcnVh63I7NzS1fq7OCuz0Hf
9KoFIDICQvmya/tsJosp5/TkyoEqoq8/WyiaAQILV+nxb+fAmV+BmhOw57Izny5ZLWJUpXtbfsEB
Gw2YwV1w48535Wc5C+iJKoxZxFfyv2hOFwu853qwUoyB9xOAMx2T6Syr36pUpYH+NwavgHz2YIHD
hxQ+E9XFWbP92hzV4Ylnf4Xh7mX194nz2gkrnSQanxp7ttt/ORerh89D/ds3sTv4xVHnpk90JKuU
LQoubwvAPX1KxNppf+HPdfyoYQ4kFTDeGeYmOT7EYvVNn5ae7keHhTt8wFRTv7/zNpSDW5TFYwo0
wVxnviSme1591lyytSeL4UpRweesgGsd/pyBic9P++9noZ6mu31LbFKBkiG6unmcdTpby9vPUCtU
L4mKeAQUCFyOwPmUnU27m26zCrAb5qoz3TwjZglI7P8by2VUIuPL+QEstqcAQTS7uY4IE+y0gYHw
Hyc+67Ej/ExcocKvAWmlExfJXqkmi5G2621pBa4LTJqf2qXX+NxVeoKOPYZdl6qHm+mlXuHyxxmF
e9Ajbwuj7qH6iHqj1ci9YZ4ue42Sy3NZGSEGSPgZ2op++7tFw9asC3Ouu1Mk+xf71mb46A9Gzz5k
XPlZ5Pfp8flPq4rcpzaR1UmQ77JNd4KB3sAe2hVnE5o6hn+TAFjLR1UWhAT/tuF2cCB3EGYB+TXf
St6fe9agIm7xEf2EuXXfKzsijkH//r4qjcwK2JBhpdL/O9Yu0OJRfPeZyGzKHtssp5+WnVxrryMS
CXKRjuOeNU7xqCBJVl8RlUIMr+HKW6ge33ULo7IIUekbRXW2ImIj8UdbkzsEXw9xkVQIYaBI4OzH
aH+l2v7zXLyLJXMOFxhwzSiZUp7H/JxJYIDs6acnJ6fihe3aJ+I8Mlv9yQteMr1dWk/dYHFAOFM+
24+otWXOOnrvDNx7YaLjzMQFwlIMmN5pQdz6G5gJWYv76ozRGDnGxY2SBxu2bpekSbRmWxQH9Zn5
Wd62LQ2B0nmtPmplH1DRUcDAwzcQhpYDdDeACQmLt4HL+oCxdie9XfVavqXoYg01PBqtCzHnWKyH
zmv9CDZPq9YHS0j8FqnNPN0DeARf9vQA9aAmrAmkIG6mAfpE1LqGRq/qXR8ylepUr+yHj78JqGlc
Ix1g4+f4o54JpuujBYUIpGG6u1tglGRtupn5ilcsNquH/onyn4busvNY1GsiolYsnGO2IBSStpg0
5vUjGyZ44lG4vq8lk/YHoqQKaOor5dVZMFpn1s1JMHleJlsA5QZ6BIujczce+rHQS69d9DoaG9ot
XM+Aus4O4Okkf2lNL0cMibbpugheP9SBPMD/wtODnZ5J+gMkgQLJ8s9uE7CH3d8VoAVBTQlvQalu
ENjWL4PQQCzGMO7qaqAriz/ghT4OsWu4UwtOjtx0TpYK8GNJycDurDdA82LD2sRKvmd+4Df9iO+q
w8HVHhN0r7V6xGBn+1VU9hZjaj5X481Utb5OZ1ywADbfVm8TrGigOs0iO1aLMaSQ3Bi6uXE+LCGq
eVEpFO+GMcdtwG8ymzogDQvwK8kpeRJQuMqf2pXJbLILHTOKbbcC76GRhCDO4jN7La93eXE00UFE
kB/0YMcrc/TGJ0KYM+LZG4IsuzLpsVME/7Wr7PNaWmHf8YjnSAmALrmnVs7HEfnJAfbjFSG9NWdr
BSyM3/IfmClrONQOMj6EfuJDR9PxogAS+vKecDAtZp8B3AZwrkN9HlDryMiCstb+tLeRtcbUNqYz
0KB4kxAAxTO229uR/NdD5FCvT3zoTLv5pfXioKk6bC5qKanuEDqItxtYJf3grUKzmRIJ+AQOZoiB
wZNlop8eG+cT/T4zC6tSOOSEeS+/Un/o7bMxCno+7B42dgLkYqxPxrqL2tOOkXWgWGtzq2fzhI1v
ME2wRrkBeQlTrvDy5uRBG/d5pcajiV0Dkm2K+YOWe/uz8bHvHiVEILWVnQO8mevd7u7sPiqYWDal
8OETXObypsXWQ5XAoWzg+YkTgdZssOh9PD3e+feUOg5IGWMcZZJRWqDzmAIVEO3O2Id7EWNTz62i
bqcAFTbrU+3UV5DQxLLwpof30/sKLvhjO6z6srf7eD8/TsEdpMZc3/c8BDb1gy1/lgp937JzJCa7
McEJCHYbjxXmZIi4GCnvUd6yWTexPvhlD70yX7Q9QjvpWHXRAkXsaq4/d0OcnrS0FJSQSocL4QCm
jtkkMPsAQ+ahK7r+Bm+wRKuH6ynL0P1ABUXnANEFFdHWPprrg+CX7fo1Y5kznsCIjTuXvTvnWCCT
WE3/Mk9EAg2u+/KGrDkLQxqsohiaTCfA3VUt25wj0ezE30J/fa2u01eYhOwJuHi7Si4PyoVUyMHB
wyKGrcBLQQHEA1WV947kgkWq6+VLO8o7Ck9ImAIZv88NYvrp7raoXRMaZi4+B2G2KfTcAdCG1cNe
5sTkZ8HMBo3k4UW3RT3AGsFn1YfUYDaVCRSajpla75MbnDB7ACXsedrJ+9qpOPmpraRhFjoQG+og
kFyCDc7iWvlxSGc20h3cMmVdrzEaZ6C/vXs4CfBXuj5p2pI4buYLyRYiXcbEL2yKNJf8OgCFv3iv
qg1aQmcX7NAZ9PqNPTuo5mbqDFkdKvOWoy3SjOPFMG7ZEZCuwByXkuI12WQH6lhn9xONqRA65Q4M
/icqPbAgKaIN/6ILKRpwTxC9dIV0mnXiVY6X7AZfipEavMnle4ffACnKg7QK31axfj4C6JpAU1GH
23zFGls0ztiC56wm2xvZniwiAdM5/BoAv3FwBwnksOXQHFigc1Svvn9MHIdyqDYl3oG8JVou87Wy
n7ogqZy58wUvV+iA4cCwR4z69DI00d7Us+C1YrOF2dnoAmy8wpht4hCnTZRjZS289Va7QT4wozCj
jnYzswVajE3QX/nT+EDvHnruFabY6V57sg241KDopzaY2J7a4klxsNBzcN1F9RiSjTzTm+X4shsK
wDneyhqTdGaXawYF8UAj8e8je0ZiAmK4DaogXY+8lPMXuad+gz7KviKLGIoGzXF+nTz0p4HFzmh3
vpwBSD4MSj5I/IL2Q6f972X0OgK0bAXA02dQJH7lPeaZf9WiYzKCct7MhCjx3f7OtAF0wm793vP3
5+psjvaf7ewABLwOCW8yja0feBiKXe7PtjgNjQiB9Q/y64h+mB2AbqGpYvaHbo/mSToIUuByjV1O
1YnVQBL4KekioEPagEtV4baD4y8xJXZxBRweCPVmjjY8Tkj622jB5v3I+wY8vAURznxBF4BrA3Dx
gPGhQJtXGljztwOWk2P2U/DnTDxwX29Outy6/zh8qGwXHAPwzPA+QbEYbjCqgUBT12pZ0CJGgGBK
gD3QUda6PznXSV8L9YLEGbOtU9/OA6SlIW2hpQCW/64gNZVsBA71cj3N1fbYLJErMee7EWSFvaDw
PFcMAAaPU8hlANcfBt6M9lhH0Pe8aHSw+biFMW8cWiceSR3C482R+gZCJocZpT22HaR1LiD2oUqB
iULZQprarc4OWuKbYeT7J47XTnH5omgKJOTFCW94GTworzClRmv0I7fTRccKoGe+BL6mlfZd/4Z9
q8F1hH+ItBmnZNxrzs77bTyWz71ygnx35POGmxFqz4ITgGCOLpIA3EAWz4jXARDxi9762KxuF1RF
ijcTY9ocJ7CAao1jLpY+QPTmu/FRuul5JG3T1Q1A3Q6KU9oGJS4xnCjslwPq0qO3tr5v5tHbfbwt
eX1PNbTEzQqfWOOhoQGpjv05xjvWnIM/FWtqKBTCO6hLrBcPhwMOR2WLJqTwn4GSdkccAwdP0pl/
COxb6gJilDiDuJcpmzekaVjnAcofHB7OnYEb6mCdx+hrt9RnaMysb94NQ3bFaLsFEODzlukBGJLD
NgWU4RgBLWsGG3G0ZlVH2Qg1R2GCNkM/y0joYdB3OSbXbmTwMdPgDml4vkJC2UiufOGt4GazA1R8
kRYMhaLNIPe6OCZxne9a2kxhhv9lhdofFGoRn9+xL21agZBWOYe/IMxCqWctmKRGGUKEQsp+BhOy
NprDc38L5jd/upxYg/1c0Ya/DB47UcxjjWgbfX65UZid49/Hkh/LlgjJ0Fgw+6AeWuX4kI5hQawA
tKcTd/4y4W3eahv/cO27quYq3rDUl9myEBk6+2fzDgEc4O35lLUacxWljR/p2Ji37TuEMsrpdr7C
O357/CLqqL7j8QI01u85oM5wC2eEewCb5NYAJ4/cixI25stF/295NmnhBbOgmdIghVKyR6Kf4ow3
ZAHUeAGLqd6OdOGI+tXaxWf0W1LvOzONyz3HB0i11LUA0qYfTFYUhaKIbDXm9G19IZNjeWrhJ4iV
ANI9N6H3fOeAGNUGFZY6elwlahQj/CIMyobAyC9nVnKnPRbn5RCTjB3Q1AQvhN/eoiDGNDUvgExH
K5Y6VQYalbgBFWr+9w7HjJU9W55tqEflHqkRRr0bm4SM+7rQ6x0xDnLLy+Pxj/xs/VhAkAaCCjGe
2om0oFh6ZHIv8SYobhSNtmjBoUtEASjluEu/rTSYE58jWHV+HK1oLF/h1N516mUjuLorDF2nATj5
abugfYqcSo/LN6y2s3tmzJDoieZrcMuTdSavXqOfuhQw3wmlIlkw+i5T//nzhWtagLekzjbW++W3
xyAk4RwDGdaDgQHtdcO2BxGMgOVyScIt1dbMoru8w2smBZQz8T4YxBj3DRWr8/Z8pMJawj3saYlB
UWYVVxaoMapVi4lQO/kyA8DVskEtpsfxljuSPS4Mdo2nX9bGxBtv8d2h2px489V7MfKn9ACWvfFa
5PrjqmgDsfhHdtxz6qafizKj+hDlZ9ncd0fJegb3gPLufmiAJ+NpesKKMhEE+sMD+SW1Bb+ZKPTf
GfENVNoROrFUkemkSke4w0zT5jjYpbDSQaWPp7TWSa5pzpoz/RaebcIl+9pNv1OTVDS5Jj9TYeOX
2SLpLKYTqo7DsTYea/XPDAgSffCKcMBs02k+UNPE7IMa+tulM00Fr0aOZ0f9rREoqCcmyhMDrWDh
SlJYL9oR6M5jmUSzflVdaurNR6bA/GcQUpF3Enjpr48O+eUDLkOIPymn7oNUAtuUNEdtiDMVbOGz
+WK7RuyVMvY6/6E3LAUYKHkwXBMVshz+0hfIqXMVzsgFMjCmp8shHAuhVm8gzzjeyqev9YKRR3RY
nn0EqNHuZDNRPyb7MKACdiDMa5t0mW3RGMckA6rpcDOliV0F9T4gbofsr6gcZFuFRPuQ7Gh1Y9qp
5TibqTXeAjjxWSL7mIoatEJbmSG14MCRKXQNR8W78aa63NXL7Gzf0liSjWRJNMr+UQE7iwoJ+U3t
oX1QmBSMQfnXK8AgaPYQCk04X87tZUDOY+eenp2U3BIovPnibxBhvDFKE61QucJsDQM2KIk/2A+O
lzVg9VZrP6ZiVdsx2cRsg2fAYnoZWKSQt628otKEYHzi0YkAuJzRGvbw2tnxpqWA7Y3oRGYhXchY
6ky8hfHh+zBmqOufB+YEzUl5Dam5GixgtN9qvc9h0QMEMr7g9WXjTLoMOQ/lVcaaG+tS+z0MpxQ/
kYIAMg8ZEdYuShWKXRVHjqHdD9pjcK7nu+kvfKVGZMk3pPCvgM8IjMkVAvxWpB8vD0TBx4TotRpd
XyGdUe12GoGrxkJDB55kyvlczPIlH0HC+rYr2nQbMKkrFOfrtdONyQkq4DrCuY/OdP1vpnLcmCFi
SXDDM2WwRsLpGVHxLBkBJpLsw3PbFcsBrxe3Xxo9Hbu/Mf+ar21Hyo6GFOdz+LEgGR6HpNVpBSIF
QGcbw8JJxPpG4QrIRzn12ivAHfrztL5YSoiR9MaUlnyGdIXGrVSAdqClo9q2w06cpivlwUnjIsBT
/ms4ykINBp1ytoB4dqSI39qf3zm9XEQOYeTgsAd6nCpFup4NwlmpQnsYsYW0Jk9C2oipbv/mspq0
gSbBN5cYYoo9VwpesbyWU+9MTibI09AxYB2RzPUko2M2e9bqJHMAcFz4mcEOncy7f3lYd8ThEZDK
acuIfxuScvFNBVPL+P4pIdkcfH7yaO5e5H4X6SKHxKdMEsKOoxXUA94z5NOf5oA5/NwathZTmy+O
D5KfLWC4aL1NHaa16yt3/DIG1u4N7/Q/os5quXGt28JPpCox3BoEZjuJAzeqJJ2ILcanP9/q/ned
6mqKQQZprTnHHFBZwnai30jH/j18/mHvvr6+skyUihvCaQ/v9XrU3PmHeTkTwbwMkpEc7w1TEGxf
4zSYXeeDU3UoAucDiwb0Ybi2zRfSAT6MGy6aV233nQXskvj5wDV5gn3zYFlnkY1djTXLa7FRA5Ld
Vk/Mr4wbujnMnUah0AqfqSpRwnW8RPLF984n9Dno2Wy4xXSEYF1smRAyJxKFUcCcZbMgySJTjS9x
eTUZ/jHSVr66PWMKnP12zrp/Q3axY+GJ4U9sCQMMhSMJSyvnKUePdNYdtnp4B9CRJOSdLk6oCNAa
7MuyH2HK4eJfjyWfHkwQ4Lm8zhTBVbhnJ44fRAiBjxw1go8pi4lmUdGSRuw/wSBs9I7xsom0Vzb6
+MuYfZ3elloHA3TslEmb9G1y3opP4Q2Jw3T6qxToEYlOWRl4ZfVwA5hA7aX0qMowmMTuj911RZCZ
RyOAHNSTiJowiNyYV07rGjsNHcnKMVeycQDzzKMEEarwWBKwOb55yxUqkYERysiIfYFigh3blgDG
e4lZIrLzRZBn6h8ylt+bOxuk+ZSeyjZg9FQCppFYflfcLuTzJZ5n0+DDRMc2nfDo41thaMGYjaWN
LUCfTvmrczK2NaZ3zVbH/oD6BDBlLTOq2IVrwtaBf5EeO58FdSCdJAJaYx2hoBF6E1Sw2CluBXlu
22W/iP6slwfg4AvDrvqNZZouJTT95j5jCszI+WoRSUXmEjpG6YProXNOywmFH+VX80rhNoJX/mEQ
49Quys1l3lBhs28tOCgqh4WdMzpyqcuECIjVl32S6SkeLhiYoFsisgP3KbZ3DL35FhA+8kny2axo
XqbeZfYrzgNQd84RMcx43IsAptWAnwHwyDTBEgpAwQBOMvNM1pIrVYcGnZ26NmqkODttHX5xr9Kg
AnwaWvA5pTm1l+rmY+789K5RQN3LZ3NxEWiRu1qspV1p+9JuVjd01PT2SMUHxavDs2GwUK0ebJtA
2SSM2AQ/kFKBdcRDOqwo429oJfm6cUVO/cevBnSmP4aPWsgWMPpDXQTbHwGjZCO3Cgky3eamBzP5
AYjIjAFDPLR1tGa0J1FAN7WQhgNmSAFlYXwJRh+y/kIxqN3uD/QL+dATIIVTCsm4DGx0+lIjWGgW
Zrx8GJvSmjC/k3zG/9BAoOH1Yuhqxe/DK7MbNd3XjIj1oHq88Uq6yoccM2GfZ3rq6CP1YkIW3uHg
JsVevc8nDMeEWaH0YkfUViKKLMFmzYU5bGP6BVDhM94lHW+TvBMv7t0rZCakyeJIgzENGAu8/YSc
jE9HWWkUuy8Wte43GNcp3uuu2F2fzVvZuCrm7DnUIVlYq7MVXaNPySfUT5khrwiHO+b4RDAKlVW1
iyoXbkeTnRW2UbgaltBg7yzoeNpyIx4AnS9nZyN8ROwraAthRGyEZ426FvvIQT/Lk2cOQc/eU9E+
WO1eToFC9JOSnjUFO4OSSNsN9CeLs6vmJmbdOArHHEbWT476Io33fmGI5DyTqYAlz2Dg70Zt5RoO
vOOMrgDTVQgAuAaDG8w46OEQQs3p43E/JS5GizamdNYuKDh72h6ur090NMZQsToHcvFVju969AsT
bsxIuKhf2KIN9kcoEzawIhb1MRZKsS9Ip9DBIHrxBbPkZtVnOODEd8En9AE/g43COHEqYbdyMM8C
CovfR2CRaK3SADAbrM4xg47Wo1Zo9R2sNFwTIazpUYDoLMzu8JpU47XPWe/GY01BFcY/MWmLPdyj
JGWjgjMNAS5FJP414ADwWJpzB5U4cQ69eYrApLRixOtA3xUtA3I2Phg2RoTZ+B9ochZpw9ZwguXp
QMxHH6NuFcftqUgcl1D1DGNKixmJBweDL8zAAtbBLkh0mgmOQDABsRwQDMjZZKaTPvOpQsQZLXjp
0AjD+Ro3u7zf2vFx6T1kkku3G+Bkt9jnYXLiFe2xxPNNRTYeqBwQ8eMlHVZNGyz9LgF3Jzsk2aj5
iStDKX2bVAVGHBAZYGQeW3kd7kz0TacFQvlwQLps1og7Xc28RfvQxCdPxMmR15My0VlpDxlQ7yhH
bjR8KzjzVKulPUqsfC8E/BjSmoxw6LNhUL4RWCPUkwNcoglKlwhJt2fs2Fbw2E386VDtYhDzjOZ4
weTsMti+epc7dyLPDSc3FOZcIQf0SeU9tvy2PXR0J/O2N1zSWeZdS8OGDR0DgmtK5Oe+3+dANZMI
ao6vveFpKES5jNmt0BTyyb4yi0qP8ewZF0Na/Wrv1jOmCJ6MXWN4jNONXASPlNmddZZcvPS5D8R7
JrrqlwpF9wMsWgngzxkMYFb6lfg5rOwpLaaNdcDnHnU7UoxAwaMmYN7Kc1tBBSpy0sJAYV1HPs9n
eIbwgHkd4l2kx/kqDUD1KIDgSIbvzrRCU3dFguVjeNWuv6lWJ4Z22R7ZgA3HKw7MZDcmOyhui/eA
B885yPSnqAjHrgLCVlhnPwhQIQea6vmm3tsCy4XdYmz739RZyfCvVyAJ4TZm1/NtxnJbPNCj0/RG
Ynhz4HR9mZ4g0SFXRMgADRiKIL0wnTRq2lYwl4newr6LJsSHMUeDL8yPj9bWuX07wiSVkglMj6pc
3saXxwVSR3UJryxOXnJqP6DKdF9Awz4NEECBAD/YzVn2OXeYX7wJbvNJwfrYTSgmdshXgPn67XxN
n1F5ZRu3eME+6gu6jXaS3/D3JeVoJO8XG4aBGRsARXlL0j9Q+dkRMm3fgI3iIYmrHh+MC0MGNjcy
18P4kvhp0ByWw8N9qNtyp342AbJmdQf6tp/wjkLwFECSNMtbCjWW5bgLRAY77DLrRCLhHwjfFCM9
LomAJjVsnmfpQ04YTUbn4ln3ZV/bYacbedTt9gFtP755PTJdzafzkJL3dPlToZGEpFnPV8xZi3xv
IBKBwPlUszlDAsdgHYetF4tUH6LuVtG9/BTepGq9Lu/1r11sRqwPhw1u3uXw0WAI1QnGqUsir4Mz
7Ko9Qh63ShTlgjyJkN0AjmQMQ6nxOjy1xwTntg/1R/9snqdhlT8PzUY7w6R5sj3NjW4NSu+34ZwD
g68B9CmKaTFMb/my9vBmUzdej1s8sSjWLaGtyllQ/qAX/oE1ATPDvhAbsrxyesrq/jwcLJzRN9U7
dNDXx/ucCKrt8PS4FLvhC3s7UwSTJzdiLPg0SYy9E+cufB8/SN/Q3IxxwBoCjovcdmXtFZ+S1O2+
yWnGfc94DQ/Ka4POHOMyNCRBbHrQbVXUScm2b93mUsPrUDD06w6w6JrLI/jiDC2op4X0Qse2lhdG
vPjsUYwbX0t6juxtK61il0pUERhwmG6/uRJxGEaTnW5srvTXBc9UI3+r9gM7rYAwzcchNXfO+F0P
fjL4pFjjICEr+2z2oljwGw0YJ0/pW0rIGn0q8wmksiRc7asLEbLgpMwVv0ArEW5iaWY/sWe/44+C
dHDYZ1yV07VY088STnqAvLTXvOQq3ZSb+m2/P16HL0i8/9QyuJY6X1yFUNu6ng4azEh9uECt7q5/
wwpDNCRYcIcblmTBcP2gxPg29lQ7OzBSISSNNyxUFzgVvmO7VAAzSFoH4X49nNXmZWJIvspO057T
4Hk+kutCc4aMewCZhLDJxfol7+xd6cnTCkb34UtYRjpu55Liu+fVsxmwE9ixD6Vh02woCRcoOh0L
KCn124UOeQnSJ2Sz5/jJWNHgQv3048b7erNvDDDBXgV8QEMLOKGLkYkNWBYIACsWLgTQ9bF9hOaI
EzYAwfIFof2x4Vv0ddzeOFvFabORP9h4qgtLzvIFzX9Lr2Pjn5pwR8pSwuzbD+jMLhUQ4g8EG3c9
oBr9Hva3b1xMAqDNC+h7A5q9wvzeN04xg0+y392Xh8cQfw8YCBo78gKNncJMQ9uRoeAz6/SzZ7b7
V1yEzO3vxHbUeBlUz1fpQnTKbO4eXspYxfGLdxqW4ffb8jCHUXEi3+h/7YcSBoGQULYJ81nDVTdU
jwVM4w1tO0r0D0a9DjyX/lWhZz3pJ+M9rQpkTtvep7CjLEdPsy4IiEw9BSZZutEIoJKeJYpu0DZy
ZjmetvLJrnlg1PfSIOl4ml8f1/w64L8J00DejEyQOXPsVXFeapeKadGZ2jbZ9zA+MyJ2CQX+6xXM
ac7Elu0Oz5HupkybdvAsadthVbVgHhrQ/lh8d3sJ19yz4cU3y2sdbDOZ7Kq+FESZK/tJ+A5NJWRa
uhtxxP4h0lPB8xcJ5Zdee3l2Z3c2b+Oe6TClou3aNPpwoL4iGcd/kn7WobV7XI0XQ78ubIgls5xV
iQUO7UtyRNSB71fkkjbqpA2YuF/86duN3oEa+Eb4pNUkOn12nz2MUeqT+BgyyBg39vSkqc8YyMsL
chzn1IKc28GiPmfl+yPzm18quW4kqSW+pVgcavfvjvlBzjgTLxjmfN8trRkEX3x1IPcG2C1iRMDE
7Z20TvAg1loPo+4boLHuMmTElUFbJ39kN+e57yHXA0bH7xIfwXOLQcqtf2CKdofzBxJNuEC2o4Xs
bknwuDN3l7fJHzCc+HPCDPiua+vc2gDMls/Vy0x4BbPfdUb8KsTMb7hM00mFOr83djo+sjXazxcw
U0qE9KNS3cKFbSIZ6+WJ2GiL6Ur7AaOEeNrK5XTgBML2/KfGdelqu+E5/cWKjA8whr/62PIOpPqe
P7Z4h6nfBD7VB+E1c3Uw1GSSDkIrOtGY+KNN8tZMfrwn3YrI5uZmcX1Bn/7I3h17va7bDUyICnYN
yhj4ScO93RjNyg4JpvIYgC0nWnPe7pv8HkbbWr5oBTWOg3KmPjkNqFb+0iznpjvQHWNMOmFKwOxk
ks8hvq4y4GXzx2Cfy/Ogqk6PUuTycvoiXIu9GQ2jTHkWCmuWzwUbtBwrwPmg/eWO4Mf7oCOi1A5P
uLqZb9qCMI2869ssXxKuUoLu7l3JgoPPKQVVQX+HHzxBt5vpbzLw/BTuM9grnP94hZV/kjfMjnTG
KGiuTgTjcTTtZRkODx0lSw0s7EnlZVI8LqHyu3iDV0vASCNt9QT7fy9WrzOKjPyJXFOwIwZ/iU3u
74cZ3SL7JR4+C0qE6tm2g9CgubyU5q3NP0AEI/4LWj/tU5T85p6Ij975SJSn3kQd03+N8+uo35Xp
U7bg7uUveXSWhls8HqIQ9wA80fJbs1yHOOiXA9yTkp86430ZLqV0t1Q0Kwhk8uXemJ9h/63GsDxQ
zs5/lnZa3WLed/0Av1++5uKmK0/qiMDLxYGrKDC/Cf0xuegkL5FqY20ZT7N7w8fmLGujbQfFlhAP
AAZiWCfaLa9akD24S0LGLrFUgdYe5DoAaU/NvbWgJl23YFOqF9mBCeEjPVrw0tYaqJjF4rAhkUUC
H5LIQ4LYJXywLGFsxfwENyzIBTwpDACcdpiRauU2BqR8H4mVJzpj3sS1+FZwxmS4PH8zrI2IQYQT
AT2XgHrSvRAF4MXMtD9nIxb+Wpj15ONGImLM2coAncrOmqH73LEppuiCQQGoRUTlliNHsE+QATKq
0A586TbgZ7Fh7JLO24UXwq5jrdGygw7zFMC/1ixgIEAeQDeGaAI4bH9JVSLlg/GNOrkCPGRONW4W
c6PhjKRsqkIMEdrkAEql6UTircOF2m3VUA8lzIZdMi0sxg9AY/OmGe4LnOp5w7sihoNPiGkM+K20
RsewqOhstwykKCFk1zQPBM01wLTlruvdENqrsqcJ5jOYU485LFWWERIP4aaGB6NXHlAxuFT3qbSf
o10d+/joYFBN4T9LP5r6EmqvE94Q8XvuvANb2ONzr8LKvSz5tZrusn2YrcsDMxaoAOneuU22q2Mk
TTGvfwI+xGCMaM1WRrlhmE82BxkjJVmaveChLKCcqHrO9Ao0rRmcR68kRkPdTq8Ik2K0vWjgqalF
fQDojS4vZjv2KrbGJ/mHKSAVDHekiapFDZ4/4WiBf9XHEdKMCERPfCFwXRgMvRAL9RIdCeIxGWC7
oRQAXD72QIXR/GwURA8YfvmRog3MOBCnw1t1BrjIJuQmt/KIZcMerBMOZ094yxaDngRYFJraGMRl
gNq19kp99RMyRWUOUXgRt75Y6foCoE3zxcyagGggDcg9vICuIUOepvX0w8qAGSWOc3QM0gp4229B
wfmgQOMfXz3BzHAg3uEEwEQImWkHQHvDLkEX7WGDDswJ+MIWd6U0FjIGxAfaTYhcG0CFDe6wCwWl
hSQXzDVQPP38+H0wKyf78bFbhGe1ipOZeXbY87MHiwA9dWymH/pDDNVZCMgucSA1Mx48thosWp3h
92MPuEviPGhjDWXRRnUuVEH9DwyQMdCwumIsA+EVZQ9k+i0kUr/DhXDGQj20Pkb5pv4b0r4nAJ80
iICpa6s/gD4DSljl6rNTApsAJpUGD2ahf+E+d3JHH/O2Ouk40D7bMOYOe6lcrbrgHNxmRiL2n0S4
a0QvzDE75jaK/g6LgNF6kzpAC5DbkGBaMk5zBKSMxyj8Nax2i2UCM0pJ2rVk+7bfYxYUp/JUs1OQ
IFWdzN+q287RmwapanxsM2hzESVVQIm1SmHH4BMPDxGacfRG5lWsofTHJ3C9sAMyYLLw4sVQ7Rzp
hxlZhkLoR2Q1O4oUJXozJaoHIlXwaUI4fDMzRLQA8YK91Q1eAUfEYmcd74BtqL2otFnkGD5RzGAP
gRnUglyG6hwXXzBxoMXvlFPKKFdgoP9+CHbW/PYG0yvanYbZFaZkVSDvrKe52JCbRLsPTqleakb/
LJrkTrw6rM1/KRmgR90rjRmrB30SR8Zwi2lowNJMZnWjeNMOehbO4bjW79pv2m52hQy057WEEEMd
NJFqigJJ1CPgf+/J8spmnV3qZ35324eYjKa3BzpCCHGoo684X3vdnWGX+RRJLvC+/ocuY6MH9sEM
8GkOMNnap8xrNuD/+P/xD0Q32DEOvhlAT5gPP0Ie6+nD+094WQgu/mvO8hJ5KIfQoG3tI9OIU++P
NJfwJNYypyfYaaLuacW4VNeIEeLNd7nmArr8jb1hbsm8kgu7+CDXFgoApzSLAWQgTvs1NhxknxD7
InS9YK0lSGoZELrDvVBCIkSll8vrLQpLNP9YRK3Qq2VEVtCbolQjRxXZcnUW2r1sp9Bo81v88v/9
T/NrFEH7+pjt0D7yMPHnv5v+u7smgILW00gM+Pso8cj/PZpWmOf830P42b9bNF8cJdtp6JgZM3EP
hqv8DwH5/x6r+ZqPwFQ84PH3T/H0//9vFtbe46DiZyBM3Evz/3qu9J54ZvFK/nsomOluYE7pFYgK
xZ8KSUWMtK1Lgmusmn+nSGX5kThA75F58Pe3+FMnsUL8XfEL7emrthH345VtxH3lF7y2iAjkl3jQ
v7v2noyTV++hBvcqN3fB88SN//+c/90524kj8h7+HpcMAo7270gaLXHlDpfhUrnF1vp7vIpbxc+L
7XgTf+vbYgvWzYsh4kPbiJdmw1/5+2zwFVi5GWPtQC/0rbhd34K6/O9t9B5J8p62EXcWb0Q8mfzS
e0S18X/NF08t7iNe9r8/xX2Hp3/313zGq9yn5TbxoVTcSzy3uFU8Ttzv3xsQj+pv4jnE8cXb4+4F
D/p38P/uKJ7w74vkUyVf+0U8eLwNZ/H04oH/3rn46b8nFm/l3ycjeAEvdcSO8O8T4eAXcRg+4ZSP
QtswauTDFzdKAncRz09S3t8jiDcpblApYP7+I+E9QX3i4RiAXCxX3S7P4iF/XzDvYrwVPERH+crd
MI4jKOLvI/57kf/ehPhTPG3CcRuoZH+fkoRffiye8t8hEl/8a3rmm+WA4mDiViIL+L7FByveqcIp
xNn938UiTjfx6+/zY3zAaZ/s2N6fq221RX7H7+WGogkELvEifptiX/ftwA4QceIahowesWt8HgCu
iqP42bBnUP1n2NuEnJnIAdNXfcMK1o33Kb+2OPklLh4pLDwPED4C2xBLYbJvuU2B2n4zT+Rj5Dwk
8uaL4lH2etWvNlN4B9AkQGMfLlw1qrqKoDe2ci7T+E8mAdHe8/E+I32JXno4OayknY800Rd/mkH1
FXkI9j0EiXjf//8vqLs4nCaEsIg3l3jWVvzCbZVDif/l3Prvtn8/Yebl4TQPfMXc3GkvMhKr5RNu
K0VtjfGxSuVyhrZhUDZwc9qeZPu3jC9VEbDkt/WmgVWLhARwWX7mHctnSng4CM4LQXLFmxzfdCuA
IGS706l9riHTrhnmpFCvIfk+MS/WdnSID39krAUVjZanXrEzoNJenI1iv6IQhVFqHshhWWAoFiBb
xbU8Fcf2G3taW9vSfdRwT/CyRhj+1Bz9xxVW/XN41r+jQVDLBPOWgPIPsIWmprxfjc/1WZLQo9AY
r80vukiEMj2zSnIZbTBpCn9FYaCPd8c6YbVgXIe1KC/a2kAqRdvU3SVjBbU5zN8HktvZ72mmH7AX
qRhLgtnoybEnAAmJyScnGd5r2HIxXKHd+J0+unvKNgb7LCXcXjhrTpwtWJNiJ3IN//a+AMHMPTSs
WEKcizHLWM+dl0FQwhO7ugzyEWo4Uhyt5gPynG4zthu69RiXeGttwQxSdtQFjIUZXmH8A21Qg5X2
Y3BGPoiG2lJCYDbaA11Ra9CmXTHYzr7ptgAVrEIgPp3FG9/WQPadbrvtAf3yOtsBegaQ6AkBSbzm
S7n1AEVfJnki4R/8ePb9jXlE4cekEYJLw9DpEV+ph+yNjxZ9Guxyhvhizky27RpXCxwqUNXZ8IeK
FwiC5FP0h+omM86AhXqZn+y3NnB200t1DF95ClFD1i8jYosQCj/M9B02cUdocUFxcF5m7FmpQhLM
ymaX6aQ/wuzFOgaYHVwSDiaB3AGdFJGP4aE+Yk7h6zv9Gt2+7Iv5TNqI4VVMTFVXPDk5aK6zrY/z
HxrV9h2D7hFu+cd4ia7KbXyDI/hg1g0CI04Z7ZcaCVBgphKOLVW4vpap/Isvctydluwtsg4dQgjS
W+ihKloKv9FwgMWUhwhjkYWxU5/5G9YDZqpjehpJKYV+TH3DqSEDQJYbGFGAFHByGA0OR5xP5RTF
+laIp5n23kaMyfDxPcojLB7ImszDFAQkxFtAowBAh55YdzV+U2u6FeJvcEx5B+CPfrIfkGLMt+lc
IkE/Y7WEHgljMsTB8pYcp68G1yXnJN2yHzB7GrsnLJoF8G++Qxql9qUZamgfSpdH02xgqyVc5cyA
vokHo91S1jw/hHWRMTZ8Ma/m2+AAzI++wPMLamJwqo1zS5+od0WPxoSDaQNWTiOzcV5WdhRZMJD2
ENDDz66CFrRjHI/werRfkKP5Wwy1SleusOeGeuOb8t74irEQMTag3VSy4CYR13JIkiRTRChqWnod
6qcErlF30ZSXf/+YbaIVlq9x8Gfom0AocJH4ohycOGEcd+eH4s8Ep9oAvNAKbvPyVqf7ydwZmi/Y
MBY8VlgMgWpEJ5pFC50JIluac4JfGPww6iHayGau/Z5wzfvJ6BPqKkZCsHoYSGBCjus/ymeCP9VP
GGIxXwEkschnUTSHoOjPix7gQwtzrE7+2CQfwHSwh2NIJ8eKCcuBL55v07xMV3t6G6YD+1nxpuVX
JqVUrrooW/n6c4Zv1M0m6NURFYHgEpHujaDBPMzptzyQ6IVlQvYCI4z0bEfmyS7OAJqZPPfAoWr2
JWnnnt41+uENkd0VyLKr0+AOwoKZEWMheSFrZvee6h8AJOwc36BJTvLakgp9pT+KAtn20HsAs5rn
QdmxG4w43TIyPywFblxfXAnKaT4P85qFFOkJqS6F4mq9m2tnzdlwXqNGkOE5VlxfpfCDE+NW3WvN
w/g4JNbWfo6U/dgfZ0wboJmz70k37ZY3TxGGEej2SdJ+50zUJw9bYbN6ifQnFm4z3ePhN9LW6U9p
tSFDdzXF6RbzNICF0T70UA1GCDg+4zPeP24Xofw2jkEWs4fhYjUi7+U6KhgR1btKf8H/RAZTQoW8
MLclUfQJIw+TcTz7KAp5+yBjMU4HnV/rH/4g0DQCtkBW7zzPZAYPLvRA4qU7xVljqcZpgKksG3+6
KfRXYZgsbwrzUCpJUOuoLYta3uhkdJqAJzrDSjWDah6+c2HMguX23FsHnXnaBbYyOxWXI7ZoSn/K
iyMpQHX0l3CRSb/4YGSdDlELXBGvX3QDG8PBkUYo7cF/ZDRtErDiRtgwWCtuooEMyQ1hLQJQ25ag
jWIx0NqA9LQivMFqhLTG9jgsvuScSkRUzqor9sL939jP02mM4CaO81ayqmtUmH4KoXvYAmHVyxsR
qSUUq+ZJ6eJdX5n+QFqFVphbJ3kEZlU8oTeR9HOKUlznGpIN+cxP0unGwaIIoXXJGqzlHzO4QwpU
OuQYVXbJAfNzDF2kuGWQkpE5jLv2lNbXMU13RqJ6/Y+kWTdG0HEvJGBAdtoYwfBha+Uq47Qw2Z9j
aBeNXd9MfAKDNIFLQmoGHIMEyhkRkdm9A0QrAz21IE2KUB0bPBsxuRmBVD84Sl4yPalOgGw74yUu
L63iOuF+Qf5Xe3XB59wQYsWYtqwipgrRYaLdBf8qBvTs3jT7EnWIPayVdjyMExknuCXM1qfarcPw
W8Qo9D9mcufLkDY6hcHQeM0Di38G3LPNTIOMqkdLZjghH1ONysIZgqaPaYFVf8BMAD5Al+6L8sZ3
0YgEh7AKHnN4JlLd6u5yhdAg2rXCxlEZL736aoU2OZrILdq9XfecDKGfPhj55wxacodBzXyF3tXB
rlbZwCx5gNP0FIdgBdRUGhQrFEmNcY8JtICMVMITsPu7DiO5YR2KeQFmkPRAAgavSOH12039ZEDL
6gYIjJr+OSKP6QrzGvJWzbkmcDQDcdO+mqEhBIRGPv/UEE0kCFtHBO2IEdJvEz/HR71zHtluQSCe
9tOpe9D925hetPWvEe1lSqL50Z6KOXpWpM3ckj9WzhBDlOk9TtNXYwjvRiVzAnpmX+0rPb3kBtwy
s879AkabjddVe+p66+JIvPMy3Bpt+xpBpJTntVbK/kSUKuOZBpqn0j4vElVLRDNe/T4GlM5xzbQC
Hwdb9YbcNbJDPY2ukh9CuXgrNAq4qd3zNRHvg+Q16noWTuuqj9pzAUYOClfgPmDYrFjxlyyn8n7R
SnYAuBiavJs668vW7b0MBDeN2b4ehB97d58zAne6npEK8FtfejXGRYaS7TMd8hSEolm/9Kjqqdoe
BuQ32do4SrHtRjBsq2dxwuojlIPedHB0dM4y4QsOgRyjCq0JfB99iDpSDgz3BHKThtJc5OJKiu0P
TniJK3l7LPAQq5nk0yTBZKszFFdF56fFR95IwZxEDDvxJbecl0V6POs2+CAhBssmacHIZMhj9JvS
HYq5rCPhNFGjqPKTJjHhj8KgqpEV3Oum851S/epT8oh6fCFnryjRxRmAuHl2zkZIDmNHvcW3HpfO
Lus1L1PzTQyaNf9G8dMgrdWH5OlTRq4fbiJNtJkN+yuONg1cVozqYXe2aA0hCzn8YDi3RDIa/Udp
PvdoVxdgw0pqt2r0nU+xl+TzziQJ2oYpVPfHPHwyMDmn9DNzI6itBLB3OC45EOYwJBfJsA6ZVt6a
6jUHPrQj+tiCgHMF5p61TfWBhEgZxU9UkYaFsOFRkG6ep29OIv0ZU64zuztITfZeRFMwP+hhpRy/
aQV+cok14NCLs5HlecqBfRwFDyIuowVblg70O2u3lr7rMvzYHtp6ohixp5JYVcIZKIM7RC45xNGG
OrRldBhZX32PU2U17SgcSBW4lNGbYRGXihFWMh1Ds//NGY7Ixwk7JnHGDgykw2JTjZhrONpWsmWX
6/eJNJmkl33JBCXW4Awai/sw4AvWu4z9roTxUUZP+G6iXJLa9txPcM9tCD1Q4WZYv2OJBukTiFQz
yZuKHb/XVRet4uxQzqa3s/5gUYasGE0M7+t4mzNtNvDLUnZNd1Vo8kbDtaw46KRjtlwdCzvtcS+3
GKbgjG6dC9RLROaAjikzQlVt3CYyk7GI0Ftbuo8s5Cpo8jAhwGUiG+HvFOKZsygbDmCp2MUknIXt
j/xQN1KS0EPy1leDkX1nsERT7GA5LYbWWk3M23pKW7PXdmKVm+z0kGeMQAuT7GoUBsfc+njI/V0y
5xsyCqk0P3MNGX8TkpKhyp6eP96jnW7AfC8hdywvBhI2wsjpxVhotIpPI9G3Tc8XMGVweIffzOov
EfT2lMtJw0+h7j9wzwLmEG8BMKlkJXtwiXUj4cYdWsJy5hP5sBPjg6Ge8YCa/5kNg8ckSk+qwzQU
m6GW3MmKto/xj4HKOctCSMBYgo6dC9NZrlRGq/AeMdgS1YX+opoGQmMJZui1L4lBkd/MjNZ018nw
7qdNmf3EpbHKaK/D5gcxXJxftRCG+hhjhVEAdgw/SxPv7ETyUkc+tcAcKcQQrY/8mpOHzcBz2N97
Pn0ZaCGiYF2q6U2PEETS0OrzcSTotUq0faQb+6QFxLO+tVp1ZZr3joFtOb6YEDyLP5odHbQO0gfr
vtzWW7t5cYR3rp7ji+H2mbblPTgqkuHH/CyWdbNOdxMOswyldAIiyuogwa3s+1sN/P9ACDj9zjYJ
eYSWDuUpy8svhyssZlEszPxSO4dy+EqVmLzIr9bG2gmUe8g/siY5L00PVUeBfJBH7VerfrS97iuy
7SfV3tCbFnfXjEI2wcqmojJvrqVlnuCt6ShDZVCP8XGS4YWtiuZHUSPN7RVjb/UMvGbSzzSaAWgG
xYdsuIndtIz5LddUriP2uh2EJinzdNmzbSQctXRZHgwsbCRAO1IADJLI2wLtSNcz39xpMAWylnZE
21VEvGFIEao7zrwRI9TElLwIoVl0wtdo7A7m/DE0frlNa2wXV7xrt0Ae73apG6Z3DGrZ2GuIutQ6
pCdWWyuHk0rP7UxuQmBxRVds599tBUzYWCjmbbneJgDkDUgV9TNXidafi5CxMBdfwnWRI9DOd9ks
8qLwqW3vcnytiI0rZYppRs0mpDhOda3/bJRya0raSpv9vKpfHhZDyDQ9yc5Bg59UoWDkhGSONm0H
495K3d0iYClpLh0DqUef75YZxMkJQv1ZV2rfVI+xTFTkUbHjtU7/mzeEUdrmnWrRNSJ572jRPu+q
rZ3N+Im8mYij2pvNe1EZwJkY/CVKYCFmQBCQa1sLwO3hJeWTmk6Eud1ldvmUEaDCa7AcUml6vr/B
OAx0F0pZ+TI+C7IJlMIgxyaOEu/IYtmmeXkobYFRCTpBt7GXmU/YoeH8dTqyFEGzGp1tSlUPqQMX
7cjSHMIXGhIoVtbD04xl23f5vlUh0THvpMaSVCKiLGWrwwtXBYRGODplmvhv3EGBUi5yqr+qJdkm
Bl67LePbKfFtmvmhxBRTeewyI3fHkclSph9tm1aRD97R3voQE0yHhYYYF2MTKhAy+/3c4NIA92dO
zLOllVgT9DfmrPmIYVgxepa2nmUnkGhM+u7XqZCewtePenwkiOTdkT2YY3RR/jaLRP86bRptOqR4
V9a5ch5kC23dYKGpb0sML2HHRfZunHHhGqUnJx/fGwVPMpLSyvk4MAlbslal/B6PMTs0VPtcZ5I+
kcBTuLUCyaif75NSU444jDIT2/EjKcbau2WPf4R0DrW8V+hdh/DF1q+5MqBjYUAV73Smj+nMFtxS
eltHPS+wWZXvEwqeGEMP9iyH4TT+zfIo043/H0fnsdyqEkXRL6KKHKYSKOdg2ZpQsi2Tc+br7+JO
Xt3nIEvQdJ+zzw4mtE708BrxrGjvCCN3tWolZCKTVTb0uECISdXO1jytetHMlmqKqKSXMXPyEV1W
r+n6i+N4HuqrGhW4hECBNOsfNyJ1kYqmjoVdrMH66WjTG6SP0Oct8TMa+PDDnZ0eYwP15E/qTrgU
qf4nSaYzckK4yHvEHoZBNHaoMdKfsIkXTb5zIcIZJobR5l0PofTXKfV5f/bylzUYq5qyKBZVaKxp
pNhWxWnb1wtf9teh9GsCAfb+elo13lixK0QZrrYtDpbAE0OwCdV7lTIsTmlUA2XdpIQ9yAbOAc9e
rcg/AvxHdWc8KNWx3iXIrP/WjHPZ1EuFIaIAiWSUnvoiTB2Tpd0i0qP7mEdQ4gL13qTQJIpqPzCO
ZO5n9KuQhAZfdMDJsRAOHLE8uvJvnv/Egw4vBhgFBZCLlxoYnxAmpwDzzA5SSDJgI54d6+xUwEaW
9hI/mrj3MQPTaft5imssxK8ks2yX7G8GtUKHw5A1YDVs61jdVv6y8Jf0e4EvbmXmoHLjNMGynwjA
7JuBtyqJjHVprHnS5AHKe7PzLCL7yMV1wSVpYKQcbt1lUcPYHqy5mf+pg7IrATmI4Uu9p2k6FgUg
U/ii+rFwGde52yEePX2GRFCVlwmKCdH4G6HCkXAUQ6Ppp4RmwATQwuBkMhiPoSnDBPSkysn+DMjM
LZqtviq2ej2sivYnULKt5V3UCoWE/CzjkgRIhCDJWWMqnODjyEY3lVVSBt37buCj04iQf0oFyuIz
uae48U7nHs1B7m+pj0iKv3nRQ4e6IFQsRh4eiJ86TRL+j6BetxiIcYxf2FJPoirKXbHdCpG/TYL/
zSvMYeypXNuEr9lBd8rnAWd70ElO38oIP2rgk/KOcNAd+lOKpDpsnDKL14ZvASNSyapLIAIuGA6/
CMBVkdEsZUPKtzvOQr9udpk7zGs2M0Md57UJam5wvqivJPN2UmjtLL9eeJ6+qAtxqSctOh28CDo6
11Gk4Vc6eaGhlozTj6BkBBV/WKb1CL3oGDYIDV08KrwGSxed7b2E9+8qjgZ0mRLSEApo9cZ61uWM
TPLI+tOU5K+kjZtJxbJmF81YyT2s2MBz7YSgmTtqlmiAojfZgAeE+RFWCqyCakviC0OdQUmI20uU
lsh2VWktZfjPmpAHLSDAtGzOAaKXnMNC1WABDAAe2au21i0gqN5dGghpXvAnxLkzAp8MTbwtieLq
A4JWEO+TKOlRaC9ATMIebpv/x2TTwIiRVAhHHBiXK1RrXEqVo1tBzpS4PaZb3SlRDwkYrWLCHB+x
zMN3wtU/fIRpXZetm2ZCQLNtreHGpgRON2iwa5GCKPhNgcUVORsFlTReOtJuwOe6NvCINZ5+wugz
XxT8QUhoarlVS1TVfrgvgVilgUfSi+4FdnPsMpJM1bTTNGy2XAD+apj1sN3yCSPgcHD/JCjnsl13
S2V8Y92q1vUittCnKAirpkUhB+/pA6Z1tZjCI2To3h3dAsvMnurnKiLhrrwHdNpTSWJAmuNSyIrl
cOI2Ymx3SeFYElRTHWIPm182kS1gUbJA2kyYR0VqT8hNlun4+rUbGGOdoDq1WiLVv1rVuMgQG7Gy
eqjWrY5RfOltpxqe5ItKjddmAg0DWzsdHgKdTkdtW8BfkKGQD51dNc+elI9A6Kmpq6Wo40sRNwiB
8adkWwI7Qj6Jn85w0sjJEMaL95y29mqEpUCqBK479VMDIm1LUs4zYguG99Q39GdZyx5ZDnHQCk5s
awsevsiC1kHRumgUUgCgidNhdZ/M6yhTsKL5kkWLoRxjAFsu/SXnrcMZOybGwgerCdLwyp1y4fFF
PC1hc67Mk4DyKtX3Zhcvb3ySkrD4Aoc+AZUR131GLFYQz8S/7iJ9M+iwHHx+eFZ4b3Z3CcNZXK9S
nK12hvLRYeOGfCS6uKAKPG+YrUKIp1jSZzEaOwAihLNT5AIMy8ktQdryfdSROJrAt7/SiiCbGuuV
8Kk6EbyiD4rBhg4BE1vxECWrUZ3zspfwxDf5s9ZwtX56LMdt7+IDs9igIA3M20lQBoIseMuUuVOp
4k9E9OKCRCvlKz65w6yD6Jg0u1g4et6n0MyzFJ3xH0kruoXsrsA+gR9SBGGhqtoxZXuJpH1prhJx
lZY3kzlqI64LJlEyXKUMJKdjrDUge6em96S90GMgMB5H91jlp4gf+c6Ha4pyo/aWMhfUy/76+Pkh
/cSIMDYlEO0d6DtaUU6MYO8PRthFYrPoS32VIoIrFxwkw1ncCPJHoG99RoPEyyIfdPHqSB2KXKqg
lk/ZMjkZJ0Gunj7ihnTVeTHVfdCK5yVxX9wOPOjlV1ae1Dctca8vC5IbKHxDIPYl4QbYpBfLbuqm
BWQJx/i/GUmxw4iDeIn6l3gBMksq/ypqB7E5whJSGVhBPRpRelBWA/ijA8LyhYAEgj79DSbigrtM
4aEtwCwsoFoZ+SpGw+SpV4iVz7J6G/p7I+2JVMurHOsrd542m0zZlBZ0zfyLm5Orf/2oUQFsIV9L
YPM80dZykDclfNZKXFXKra0/s/xQcqOq/MAD4U1Bv1uf6k/ot65hY1HAsYJ3i5P+MLiqHL9GizcW
K+9A4duc8DTDJLOFZrsYLsj0fhO8TvQpxzbdJ4wwbB0yJNd25q8rYojQsx64BQHEUps/Kc628NNm
4XtSCroITljknDy4hsJepJHOHAn2BPzlAeVL5yglLYodrk0S62EYN2CBU0ZuqjmeadMPqjkOvaSH
/R9xY8Jf92/8FnDawUye/6rWXGqX7HLoq/HntxzhmNvw+WwMUNiuGPXeg2KHSBsi5rgDZVxQJb39
33JHiFIM5zuYyRfWGW8b8nm6XHXlvMIGXZsZjO0pxyDYvGvrPISwIz4FMi3efIkB55l5RDzFoDJd
NYCXigXjV4CrHA9ZD2AVtKTEMQ9++pyJISbZOsPMczcFKYxrsFacfnIEIDUv9hm+WgNKH4p0stOh
NLCld0e0ndkKzQRsRgj07IpysRKUPWG7jGgw9sKHi6aB85mRiqsi9z6A6zKaqrX1gAUVoWX4nZMU
QgAH9T6zSkq5ghRFs5sVZwYZuASgRoPd+1+XZL7Cdt5fJw2g95Ts9tubKM31wz8iN0NSS2rFWWQi
i7YaVvxgM1zzzs2ejRbDHYbyTCoDeOxbbsQ+kGGc8tdo8zkY8SCaODlv3qxWLqt7XFw9eUE2Cjo6
7mffLvB1xuRxxcRx3JbqlPLLGC3DCfQVAEhNVypeIMRZMrZFXVmfwiPPGeYhkATHhzrdDyooMBoI
gsihTUjCMN4eMKUm83z1i3QArJmvjEjRo327TAmQ0LG2NAgtHD1Iie/Ipn7CK2TCPZbsLCqH+AAe
Wx/J7qZtD7j44/HH2BvWN/Nc6uRihXvYrHRi7fP1wHNqGdxwIOEJixB3saOiWH/giLQKva9uIivI
a0ZoP2SwsRcjioSE/cACATO8C1Ro3PqkRfg9MYeamQDAhEROWIyHSrUZzvkP6OdMU6udJO8JfMEy
XluGZzQaL03+7Oqr0hBbO8uHpSjPg3HnPnCvnR5gAJHGOvPfEr0t3EmVZhtb2IFLjioTNvKedobB
S8e4+gj/oXcPBR30o/kxf6pbe8b+oLzU8aYd58y3aNGXHlkYpyy+m7j+tRe9dlD1wFkpToWPZact
bBrF1tvlHau3ufdOdsmNbZmucKWczROB25/tC4VV+YLQbGzcrSHuMQbMi3mOo45sGwUCOXvCw2cR
amiUMZce0FlbCJzALUgSW9TcBdlDtCNv+g+6iPyj3IByxikMEtLdcbMFuUqNeZpu8E8CFWnBaR2k
JCDiPvaM5NwHaBDAVr1t+eJ2JfRmO2hAJJRhL4m/2bBovqAmzPxNVs2xs8Tnwf8w/RONXsQqvOLs
NGBZh5UUZmtwyqE3wAO4yP2GYgAGDkyK8rv4GdzN5G/ULfGp6jz0GZswPOKJVAgzmD/M+LAsQOFA
H6x+4lOJs4DXrNPDpi8W8JZeivDou5f5w13JmBHhhNhfpQuMkog9GHuFW7AnbIrou1l6xN4A8z02
EPzwvOIGMUR5mjzcfxajHU7gX+nDaxx9knPb+hZRFWfIYXyxp2SwkGl0RyjduOJghJF/+KYdVXZM
4Es7N4/Dp74u0zVH+8R4Frn//irmIBhn1rs+dKXNn3tqG+w9pLMBB0PYmZBmRK6QZhw0xj1MHXAR
vzDwG7J9j8MCk39sZ7ATekxB8egeIV3jWSIthmYt119FdZQnMcBWVw5lOO9QEmaQ6Jm46KjA7QQl
m6KsW2VVoyFB/9fNYSDDVwmx8W6mzdi/0qNW7TEBqwPQpuu9xyew9KI4edvmTsAvZ0Z9jJh/E5lX
2SB2FAz4CpjZwdwjHTwhOFyHt/bHO4gY9uEaBGRZU8DMo5WWrSPsOwivo1CFkqwtiw3EASSl3HsP
KwrEVrMwnnfcAkR+pMPZdQL2SZC0jcaaEwiawGeAkFd5EByIOwJHBlPrnFwj9hvm93E3MczjfIoc
ocQnNoj0l2W8Nb/AXIo35PAGZ1cB02Oo0BjyKOKFDbMYNsgZyubAvkqRYhVLsd2za7IfkviBcnv6
A9gMkYXJ5G8L6O0xzZhhERk8maC6Jp7tAD/4r9jdQdrR7FezBoc5MpCFuU/ECFhSB4BSYK41V8nj
1dpD998Zb0PiCJQGRCzmKWG8VEIFYbDI28D9as/+BhVFCDk9GGuv5HX3Q+1fgF6RolOvYuIIR8fE
fBX3VjiH9bRt6YuO2WJgS/D2TqxlhF2JvFOjBTwC7YkRaIDpVwzaiiVTh8OmDGSJogxzDeLKMFq9
mz2jpSV4S0z8qjkvpfVkquoes/gpU1YoexMbEsbsFIFE6GAtVjEomWuU5xBqbnT8bGPQWU7WMj2H
KzzWRHhGaB5J5t0Cv8PQeueXTp4p9JTXaNfVG6neebeH3i+yXefT3oDCkPa0hg4ZfjDuyk7+Bclb
Yq0KrC1RMRvQHzCio2hAwgUGwzwq1hZqYQ/HRJuXK22JaQF1kAUIiSp26eET/KWu5B1RZag56CL2
EIRQKSaAT0ftA+vYZtet6TOjhbqLvtj2EJvqvj0gkq32xjv7zdDUEAFZHJpyz4uWWGmwozc7lbgT
JIuQvcDWAYFsPm/91/30+L7O0kvxK2AnexshC5M3AgMLN95d9QnsqsF55Gpkdn8YIV9S0xRL+Wbp
tswUzART4tXiP9fD9GuTWMeWPgXaLDPb+EP6q1E/NuuiJrZ7OZDhOFkHMwTu4E7pM+zVixMVMDiR
FwxO9IaJheso1QNLNibo9YHmS7hXE2NvEsZgiMGbZ5S5Y2OUP+F5tn8jSsHnD8cGV/npf/TIdEo8
jKjA3JP7i8VR+PBqu/jkmi/Fn4raF3gGvw0g2kmtGhUELi2HT567NXyI7lKdEe4Xz+pAwybZ6mTS
h0yo+ipfygsLaeNdnKpduppAGFv7pj9Qv6QlFDUdavmnuK7S+X87shIJsgPjg0nPLPzwEIr0rmM9
GelyDHbGqv3DrooTKa+gBOBcNPkU+d7C/Bw0B+n0pyE47UvVnP4l6TBvg0/l7f20kEDs+mX9IShF
6OLri+LGOMznKLt18pzcQvog5WaJC+2WfONwnd452P93ELNqRU1eba1yUS/Dp4xPwNP7LJjonAI2
Wh7tC97p+Z4LX66SN+q0e3SZzshhyT4I3c099VuIbBBscazGhLjylmgTycaBM6RbS+BJcDpWPLkp
vHWsuIxvNXjJvhMNW877D9oCBFMrzO/WPvsL/MtNdYohOG6MvwQYleVPv3Gx3sqH9tFj72B7X0ZP
XeBqzviy5GVJVhpymg+krcMVsbPwV5sYGHWAol8VCOdNozadfgUSQ0un8MrjdYsU8YXZUotOa4HT
dXNlzKduewhhjPhw4SQz4g1TAgMUgyRNbny3AAkfCqe9Y0ry7mkOU2UdGSikHfLMaDyApz/jX4E7
R2ALQ04+PdPLpfmywCYJRifBKIi3NbSMlUcY3XhjxtacPcfEcwNzjWhdfECXyojChitNhajir93P
9I+evZHByk/hzzmoPK4OdjW8lXtxT5z+iPRpCm2S78AONFoq2YldiRGL+BCwu60/UncJLyKv1+ab
GOp63VzinwTujfUnSmtZDFaKP9iN9Buld8Pbow93f7RoHY+T5hJaHGS+obuKFQJOg4CTaC40J1M9
wBD1pmKeELOuuGcas+d5oV6xN6CriVDW8wk5EvEkJEsqeXNgKfFUrWScUpOqjjqcgRFEUZHRdXdm
HsQgH0OryZGwe5vhVuCm+ISb47LuyGi/wiUI057LTEOXy05xTq9IfDSa886Zor20w7jFJsVpDibE
5wo29Ez7pDPOv8ojJzWaEaySoNpd5beAheJWHTYDvyU7wjfptVAdPPSpO4EW8dsvbIL7YFvfQF70
D5qPcd1Jq/jX/1K4e1fZtGFy1h89e+Ii/iWovJ3Hvzhq6X+ADjQU4tPdA2U7NbHfqrhmtpKbK2kW
/+a//md9LH/1F3e0PMZHCN8vPIEMCCUAeIjYSY90f6H2wt47KA1xwb86gN8OCmt0sbb5CibCH716
jIeVufR5NLgeK57cLyhIQCQgPn+/YDWElU9G3rNzhKtpC6sGOoHDpBZS8ydJb8FMPKtPnSNzbh0/
eH96tGouIHzEGP+nBEsOtPW5BgSArTBabNzUscen00H4+a3hl48fz1xf6gQtWChQaLAf6dy4jb/+
2qsWEwVv1p+S0W7pBkFYYPrrKxfZPzU8e5rgeMIpF0++xnAX7TB3yv8NCRT8YXYWkqdeIAURbS58
AuivrUgHHQWWF77XyZNVhdncXdvGwpf/2Z76AIVoh3uhdMH9DsUvHljokL/7M0NgzEnGMwyRS7BE
XOk/0E2jB4INDTozNa93aw6ReUoFzbfoFDy4EpxnzNVt1LTBGwV5v6KzJ1FqP3GByeoAsZqWbbzF
/fmT6GrcUElqEODyrC0SjBrQM6ZADAqXKiyK9krK1s4gP4NxKPmdVGHDMt1X5hnsRPrS+wu+k9qX
ggxsMQGr64S4MVyvbAULidhhR9Of0Bn8m0CgPYIHBlmxrSrLXpv7BL6sIIKppLWsQeU2xQG3pfEt
AGA8qyN5Q0W7hHcy7oeHe/DZXQz8eD5EmT0WHnBwruEYLurKpk8HL64w5sFlWwVp+/I5OkTTgmoy
KZChm2p73f1Lv5PpIkLDxYOStt5F3Yfz1QX4FfHKUBOiO2I3Tm/CK2B/FTpsErjjTAzqS3rFoFqk
YmEdeU/OTQVvNei30wWDmRvq+7iepLthRjroT/KmLKVwVaMDI2cL1WF0QMzL7elxhoK9yCaDipll
CUZrNSdp2MF3DRyEFVqHPx4TQFQWXFAwEJGcsruuHoAAgAzkBZsBus+GIuSKfyo+EMKcjDk4oCgA
mZMA1GDD8676m8BVqGUnwPelPQ1vQG6q9D5bG9+YfanrJuIuHMFWSoFAj+4kRyclW5vmLhlu8IEZ
noX6crinYOWEO5OM0K8N9zaq90SHzT+xpaZARUJJlQUYokYF7m9GCRM0uPXTLissEnp6AqUJg8a6
Cp7SL1sUw9gpqYWQ6CUoj9ocgXh4fQn4pt1DT+MDDt2qR7qLsHpVeKh/VxMBRmpPkA7c/IWw6u3q
p+IZbLCXgQcBQw2UM0VvTCEJXIzXFYTnnpjlr6mFau0ktosLEPG57BcUuXtvrYoYDeD+DAXzLiP9
XEBx5kqOj54q/1swZ9k5epqnNTMNBJp8VsIzUVPhsAC8DqnvgoEMkQDIU48/WMrC9YLWrJBQPNfY
u50K5In2dqquiGCmpvjUPrwfaWpidg0n210k20i4JPd4i+0vtrIuwMFBFxd5jjk4xPLJgEYdb3Kx
63I4q2wqIyO4CPOUymWYgbHsra+upGJGzylpEE4sznjDJBeHAx0TKpIvOJCgH069HpDyl/KYSh2u
DI6qwgHrnQV858pnvomVRzvRyefybeRu4nX42Urf0wEV2ZDzw4QrQb8F6Au5UPsGJ5vu7xVnPJjl
GiveIRabHxRwSMYl+M3q5HviOyXL5impK+6tj9Ekcs0KmWW6iBErEkVkgwThxzXObjdsjmg4uUeT
yNuJF4FDjuX0pe/AKeaxDY8EuWeBeHU6SiU6MiIMKEAZj9vRZvp5ijmymIuLsfI6fAgQqbML7rAA
mAS1mCiWX+Pjtm7oHXlzkpN/08lLZ+cnnj3EBWR+bHR3OGbMytnLn93zeU4KEw2NXe/reWLLNtqG
Q3ghumyGi3Y/VzbB2ulp7HB7nhdrZX7AappfqS/e/M4cGUsdlEKb5oSvNWkvX2RK2gSYTikOc9EW
bdzGZjLWJMUxsuVVuoc8NaEZr+oXDxnzyBhjFKEbbYWK7hZSi0xWKhozmmOeMThx5ITdLQW/s7NK
M3fvm0Mo4nPFMPp/yKP/7qonXXl1xxkLLYXRnkikDEVoTiDRTxjGcXxTGKSRvk2+Gmxdb80t4wLr
+0E7QH+erC0R3zbYntc8qUQhT3hkDg5D07822K85QuIblWBT3ilIom0s2nAn+XJ1p8fgnyTLuhHG
LUvyZ2XkB1dJ+IJ+kGefjPTr5BZjvYpkhzCq2ZS1y9KCGNYdC0YZ3iPFj5sZ3V0OrrrPHBXzT5xy
5/orxJucxAVmD/ElWkkwxG/pV2+8ZevTxH9mRmHTYxXkfOvMSPfxVboxoco23dvNcbmcCwgtqX9I
geeqQsVjVnVBX4JSjJadGJrGxtogtBbZHTBsOgsYmCqIs4SDhiKK36jRh6+LT2TrPz3djbboP8pL
u9Q+yGEBnRP3VrBGMclxqyPwuGgHNnwxvYCmqcp1OjxwgodzWJLvyXDWPOt4kHbqA2kAwvmLpW+6
9qsITwx8M+ZYjkLmBzD6b3ghyACJFNCBf4A35NDk40VJXYO3VuP/uoxGkekAMsWUlFb/C8yoHlpo
1S8+SJ98sn1lU2JH7H+B4ZU8kyq8I0pW6h8ycFeJv2HP9CZcS3t0/Q32JpJz6n3o9jlqkvADDu8s
jI6IStLqwcnBODfaii9e0/M25H2y+Uwpo7P2gU8J21j9nZJ/B7BI7Kf4aaEdiOoneA/rCRiF+oJ9
y0u/Y+VOfi5PHLjksEGPpjP1ZPTm4jgB75mIYhOdEeZiGP5H2L/8sDqjDhbWvERx+Zh2xZK6Tlnj
L4o1wAwdJrznRjlhYsi/XRLGKVj4MDMTbtt9ZKc/TRkAmT2EW5+z8S5+5QpKJht0+yd4B5hljxfU
AokjnoDnKclg6hN9PEer4oVOg4V/fW8wlxfWQnCUsxckTPNkwlbZllut+TNgjz0ib8VwQ6TEgDCG
I628xhBaTo5Sf5TCVZafUV5gK6HOfgQcjCPAH3AFMDRzkX/TXVOihflGbr8g2bKhoe79zVcIXbwA
pS8qqZHZFkVKdUVCk9DEzAXa/vP/92A5lHGktsTR2ZUPDXgkit4B8+mbYT6gvjYCs5oZeSneBPPB
THDxu3NGBPH5BseTSZ7jdmtCYjlUCRQOntmZJ7+8BvqjpZZkhKLCBkUC9+wLh+BaHn2+hj2EP1fY
PYoXoJ/xUIrp9ND9P8nYBE+qcrl+EmYsRsucUt3HaKJjIiRBEMDyN1O20rclfCX4CXWnCM9U/IcD
/YpXZuDU/q5EAy2TK21b3UKn1EDQdbY+G5Kf2M89TANn077Ct7U1RCOe7+HNuAOuAOupWFB2V3tm
mjpnH7bij6x5euNS9DfW8FaxpVEcady1IRQpCFtzBmxwPfBEYsBHWpQ8mcjxBMFCpqCWmU4wK9X5
k/Me6/HuL6yu5ZVJMTUXCGL7jUpSU6cWz0PKAQm9qPmV5sCLANeaPnb3WjoZu4imk487rkuG5cqU
S4mCNeFKdg5p2/SY/WSC/UOb+cOeLwDTtOm6ZcMIJ6Ue7QMWsD7hQAHri3tEcHGKwMYBaUZnpgYI
ntdMx1DTppwk39AbiE7HyusTZhHiCBr3rTkguZyl3YH2kyqBoS66L8DOiKKqdSeU1v1giZnNV4If
AV1wRGwxeyP2wfweYyoO0k498Fb4inyD+7yD/UvB3H8Tjk4J4n+Jwiq+cr6EC+Rw3AAT3us0eGM+
8uCduoQBkYUpEIyyZt8luxhdAY9DmTHRwvVqy6RSpBSnajrXww+eyAkRWZgBUTjLuIoh+ulPPQnK
hAvN3fjA2+rLpQDeRymdRdv2mw2SV2X1Mhz05/EV2U2LFTADY8Y2k3ZxlO/teKHEKxsOOADryb6N
j/MloFAMcQVEyzpp6TCBwRm0YipDV4cGkSqTLuu3O7jeInRxCLDHY3qD05OYD9Zz0q9gxEpivODu
lpQ55LqUmzQ7NyM0z7m60W4RLGa0tff6m5aN6QDnA6pYQ15p+/CVaI55rL6IM/1WYIJw2s3Lb66V
64ECArxBrPdo6XpHR2XffJPKlHIaZxs0cCWrYXJ2PtcYxRB466+gIdd8aDglsLyPwxNNFFEw0KKN
RxNgR4xCb5sCgicbw8O3JJhAH+kmfDc8LvqcA2Yg1IVxobpmt5JPnuHQdE4IPJpaACMYT/q9oPhb
mWcG0cCPt0FHDAlnfNkwf2X2DPDkTUWGgTci9Tq0REgHczwJ77p2dKNuskmTuPNQgDi3OE9xLTpx
GsKw0MKjjp6A3i4K3la9Tf/3MPhVMKzImPTEsAfnU42a2+atW2gb5lEbjicZXiBTNGvR4g+LuVP6
6Se3EhCRSSCOTOk3dVERMF40J7aJNZ/YRSKTMZOYyEwXHR14X9LOsPTwU2Ktloy887+StAkcqTCf
ybpzFN3lHOeslTk1t2AuSP+0wPrLBWPOw1ZBt/JJRJ3aia08RDeBzTMaztpDTUzbEG59yiQn2noR
m3EEsRHeWqHph6ysL72FT75YnyK08DG0Wc/yLzXiFKsQHPXtp7AogBj96FaLLAvKeXAmD5SkHqNF
2Aa2YDkSHzbn4chyIqX4MFAo7aISbDP4iNV8n/b1pmqC3cQkq1wmoq65VLtli+RnLDi9xWNH7zbh
Y96u/dBJSITpOkmqM7zHR5GNCNOqzoXOiQS2AtnJI1Jh6leXvnp6/IkVxWCrjBBGEEtAwQSf0uCk
DpJg3kNubbve1jQL05aT5T1VD6Upo9r4Q0+gzoQp3CLUBoW/T038e3koc50JsLj6z9Didkp2Ii+x
+MIeqzToBEIiXYaVpE6rz3WvQ9xiVCmvK5nRvFBs84akC8Ajxf9O3MEOaDmGlFPQkbFlTzaQtALR
UVphVRnlwhfdv9ICLm93o8x4Qy0WljYBtHuZ880DghtDc25qAlFT9Mf0wqi6UtwTLPaM0+D9tRXa
ES5AZqDtHfKT+MpUZSfRW/lgaDoGB9WtG+/NeLfS4hCOjP39tSnvmwOUYCeC2Kl7+jHHmMrL8X9q
ZEivzaMIlb0S3ltN2Vg1as1CXieW9JeSjG3pIM+itmphSJtauGkj4dTk9UnEwdo0k83A5fVb5SzJ
6iVuzUsWCQuLQr5nEFV8WgKzelSJ8D94rVxE4KyJuSPQGqbGXaOzNSqTIyhHWD3tn9COqp5cRv04
eDBM5Ouk9ZRhvZVm/4rLEn8zbBIWotj9WRGaVyjNjbYOUpjbLNoyO7vQ8psS4AD6FfaN+lcql1Bf
/groBn2+0d2njyeV9TF478r6UyUaKIo91nJZh6sEP7EczUKIQKDO/JVc3S30p4oSYcy2qVR0gcWI
XeXGd+NXYmHMg5tgNhJgMuJpr88T0wllVAhDsekB9Bu3n5W9SVQoEWxqtdZdprRQFTGGd4t2HwoB
7bZ+mKj/bZgQQiAwz4NnAZ7Za0zacbTjUUcFYHUphTr5xsgRuza4NjnGI3p2HEkfSNRs2fXFsQxI
h0GlifioFEBfY/547jbLEE5ED1DQp7ETuB5AkTLB5wnT47DnfFlK1rqb+jdTwlBN5DMwfvLxoM1B
bbTWmiUcTHVD/ZXlc6mbDE5omfUem3tjntTdgWcrFR8QkdzsnTAESJUegbPEVDq1VfE5CUzVSltw
amDRAXmlH6yjlQIabyby4nS9qoF8TBgQcPeRNSSKthek3qmhaqYYtRcu4pNuOFpoROE2eznDn02n
e/NeAcKCgTTd/QxJJqY7MsFLGW63xcKVjvxFMlFgUh/7iI/R3Tp61FZ/ekq7HELFEWEZ12W0HnJi
9twUBQOZGuHCq2GXBKCu1VlSeqIpsBwp9wIupE3H6g2YS0GTkDQiafYG27ExdhuMHirxo+tWmDA0
wWkQPuLkxgBEY5rAoxHgMGTADoLDwVTOg2db6+w+OIhqDamx8TIeErwWUJFiYpv3DKJSYcHDrqUN
zxnkL8IQkBNsKuZDFm8Apmff//odAydSN3OQtC74U6IceBtOcYINRtPbqS8vFeYOYviRS/VKIxLA
9dlTCA3jKNW7jVW4tgw0lBRM2NliIu3QMNDSU5IUXe+j4onRJWyHuDW1pdwlqMchO/rQceYbCgRX
mHNhffDUfGUFZN1z7/Ig3Bljj5YK+CQZ6P45XmnBEkKrItg0/YXlabkB3DwXVSC2Ly22j6DogwEJ
EzaejIexCoUcPRwjLYopM5wsYZPu0zShP60DLFkGW2gcFmbwir+0x3ikpzAYYyjYmcPk+8uEw4BZ
S7eFL2iKK4NE83aDIJIU62mU46QoMvVDQcaKuRn65aBdqWPwnyD9AF/KJl6P0rfR/0Yo0xrUwd6m
xeEgOOnM4diKCZsLr3X2oWc3UrRA0sr6nQMMFh7gKLYu+mTQR9uAoySULUnYZsOyjPd1/RbUPXaT
DZQHvN1iMPj0TKkkGvAIV1FPIMZJhC+p4JTig5ZNPYpwMNy1QSXQfRndwSRINeD3kCzzf1OzX4MD
FoAyfmjNcpqeDHSyZ9rQw/kIYPGrdKh9dB9iULQVP5qsBkXYlOavKC+let0z7S3bT7JAFip1c9qS
bMBU0WKjTjM2bJkYlhFArF210cLFtzqG1A6gnGMWIjtaexXA98ZbDRqhhQRFXwcZnpt5mTTHo+4k
zGiKBtYpiSSQg41WR8ZlzhVKjRgWuXvnQ+jeo282/vjO3rXqOomFJVOsLyK4SdMmrv5N+0JWP8XI
8Wlo2SgFHa90rHBFngrg60bZ0zz1HjRXHie5P2sMNNBLwg+Tl0YE1C+oL1U/mYN3mR44uTXPZRl/
G7ikmIO8K0111VAWlAynTNRQXkzNREegx6ucg2M6hNJW/19clvpApYHGCsklijEYR47nGlf4KGFB
BDlH1/RmA8gKXpMf1dxAgdwe82TSMvjFGSxp/AthJnoGoPWq8P8MXKbko6WnuNKzgBX8hwC1iRCC
9k4AVYpZbe/IispPDY5usCvQi0YjObDdYWTUOvqXTjBuBTOGBtsVUIcePuGMdQsLVjrFN/msfAXX
DCLIvN1l594WVsJNIZcqt2MGfTxJE8mX0Vf5Y504tX/YF3iMGGEQfPTw+YNTeduQADMjWASCTnYR
390d1nX3BtNjHsAMX7tIB3PtH5XH8Ed9i2XTlCv9CP4sbBXmAqSXec4YTL7U9HbCDBkYDyo0fRgu
+EXAAjpL9bKBugcN4TQAAm1AYB7oEvVPVnE0D9/CQrima+MXLAtF6Sz6ALZ/dN/mPdlqp+haYkmt
r+Tv4pGyxazyuzs/C7b6UGb8X73vVuqDNFYQi1lO0AAfyKNZfQAlcVojzJmnUJ7+kXQey6lrWxT9
IlUphy4ZIaIJNh0V2BzlnPX1b+i+xg3HxwhQ2HutuWbADvQaOgsdFNmYXbPZu12QvrbynvAcZ8oO
oI00MmzTJpv45JBeNeDVa3IxZgwxz8OFsfpS+s3u0QVV22/+15Ow+SJgCM/Hcse4kHVSXNBVTuO6
GUlVjIKbj/IY3/i/yuALt8GE17zI3dm0NDOV1EnYC46VPdjNqz4CNg428wU7Wlav4OWetd/sH4En
fx5+iMVH2jCS2TLimKWn7o6WT+DJnE5wqvIBwMNJyZs+DLGKG2DHyfbVxqtqDhFi2W6jzTQu7KCo
wqXavAHN6dGtXXbm0Gtjwwo4v0A/rz7potlznr6Mh/ZuAGpZiYYvH6XenzlRXUhww+kyLL4qiL18
GG3tdnMgQqZ37AswYFhZSDbp5tB+WEjBL+kAIJJe/aOxG7fZLSR6G2eaH/oAUImiY3SHL/UsAOEU
GKXgWAnO/AUaBFfth4INaIFevbuxUPRf0Af2jEHhFX/hVM2yRww3/uiv4DI65al68nhHqJM8Fz8r
2FkGnuepSUFlQCBqgIzYHCdRlYrC1iB9ON4p1szfI2ydi/96B2XsLg1mytHaVPd4i2YE4AO8lTkm
E0lE7RyB2LOVeAATeqMPalcNJz0/dba/lhbpkSX0TVPPWk1E6dEiz3s8E1jbG2jU5/6jXAInTl9+
NtqY2+Tv9sGlhuEGD487kL30qSzSk1TWKEld2wspUcYsIrnnIebviOoqQQeaNaS6c/1oyHoCASGa
11gnCCnR2Hi0R/Ccw1AF/jFX/iAuQsB/uWzXHSPuIKjXZXvSaMnTnYh2J8yvw6hhFgzeFC2mXX9a
JAcBfuagrnP6W1RP05LEMjYJgl1I6BV6KFYPxCaWCPOgZvne15jYmIf4JrSgtDAXnUrcRtla0e8t
cRfiokzBCeOtm8jHQh//yBgSiI1OaAIPRrnvRVKG0YEw5g51HW5cQJjKUXJ04dSSN60C3EPTj+lr
fPU1EZpDxW6tctv4zJSJWsTgU8Xe+78TaDmMnBLhnugHmmQ8jKQZM61ijTfDByhO+E4XbzR/+ak+
cldVa0AdwCxYg3CVyCnpsMLW53n9lZu2j0sBFIFmBzhGgERhHFAAJsmmyVAVzgEkwK8AuGO44HC5
cqa+e4zNU3IXvJvWYydqj/6urtZZfMKEhTRbLF0l3GPgTHuUY01+VkTwt9NoEgjUnrVhgRUFywR1
Ayx1sNIBL7VtQ2rd3lKd9JRDY8IkZqdtJqeWF9wF/6+K15OZKcRIWhJ/eqDYm80/ixytfiswSy2x
yxmDZSbISziHScv+E6JZ9n/LUVqNjYu7T76Bt/OXULx6ONeO6IlAuivq66EstgVwkDuGpMDhsAYd
QxRWCJlmiMQ9dJCRSMYCyP8a6kvb7A0yS8QlxUAIHx8lKR1jhswWNR0jHeLclhY6j3JNTU0UGULS
oUaKNPhPE6chBQvEHhO+8CpCyjHgs6syQzgpOLmYshgGQcs9Tk8hSRGdt1IFkDoLwxJoB8Ngsp38
hZpEMJXTZCogrZ0kaMCVbquYSIIRQZYRim5sCsqOZAwV7hU31dihsCDuIAenFMx3KZNnw6/I/7QA
WntJugOakg6fFI9AOFEnoM1kJqeT2OCDhWQfY5rLMiPMJURK06xQhB7IxYyMbxyNKsnuiapSbNl1
/Iwswu9cYKc/xrXtI4iHgjBwsZahsMdxpPquuhvuIVXzFr29Xy2Feqnrq0pfmeOR4wXhvmmPmonR
yHnkAg7BXvT3/N2AFWm/UbML4G8arJnF9dqm8z+a8sLXgLs4cL+NEHIFahcX4z9E7ilkOOykp0/P
8cv6uxKPY3QTm0skbkzZNiVbNL5D4TV9nvptwgotm+8QUC8sjkb7zXvzHkzb+nxTSUdyiUx1xRdu
6yU/bxsQkrXmXlXmVc0GE9ExInwN9dBkiQza3w22odlBgBGG6TBTGuN9SXOg297AxicV9E02NVdO
JJF5JUzTL5e+tqG8minaS+Y/mjH9Nod0hXOGC7O5rJFoJeOPmBxMSPDgayb34VHTP00ZzEqwUWTf
mAVAujLbWQjPvRGfOVkd/0bhJbmv1F976nXEnqFqy2EdSvhVcvWrlOkK6Ifn76PpBiCmLuKfnI2j
mnpeWwLh8BRmQwNxJ+4r6pgztD6bBv94w7LVIdr9R6qXEVLC44weVVku2mBaFcAswMMHYDJjoAVQ
RRBwdksPZbH1SKqLhh2o/PIw0CcxQ1thq62G+MXZAV58ROv0x1yw8dsqNJuaKikv3FsUVdw4PS6R
m0q2NS5Ibw/xd5uTG73RhBV8Po4a5EtMcfj1KFnyO32JavHTEn7Yu+cGfoQFEBOaZy6MP3yUjS7c
MVJpXRQ/e0U4FqrN/ySMyJtv7gAulUBnLgwfrzs2ZUIO9ZExICshVxlGS1cfNfXlFxvuXCbJo3kG
3xKWKHa75qgazvRvrqDmQNXmIvMiXs2G3zAxOfMCLq9hXd2SxYV922YXyeOL+N9d+v9359X8jzva
qb/j7gzai6mvMJAAYeeqYhME2Fda0z3EUYNgzyMi87hQdDRHbIAz2G6jzcF7dZOjedM2pFF0vR30
5EAfuQtZ12TvC/Qx/u5wzkF/kX16TN50J4dtRvgOTBCVDvA1OaSD/FbMEK9VcAmlTasB1m2ixtZr
iCfHxPwbiqOpOIXmiA138MrirUSnky5W+LE4Ee5KVx2L81jgTtmzJHHTtcrVs4h8XgYwIGBZT6MX
HBTp2ii2yln1nU60i2s7RbGzirVYdQisRA1ts8vtF2tsLdafH9mGeNSzs4H9SGvn0jkxX5HEPp5+
OEDMCS0w8Lg2mUjwAnFuUkEDgi7HzZaxQnNObEQQTmuftbJIdI1q1sCKPJMx3wbcUr3dodhBtZwt
g+zGG+om8xPt7LrlvSRhMpzIkZOQSDfnKsEZmsvDLxPwCVDim6T2IJuVdxoS6kYHqIbpH8TzflIw
j5yKRCbCR4NMRfQpIXVCj5Mqt1oqQxGClTqiNGqQGfjZd669pDeuNlnPoqy+emaxGltL3380CH8u
NAQZtNUt+DE8OaSrrJ7ToVxe3ptnboXpJSqz8rD7cGv5vNC6lspLi45eeaPirQY754jTwdNvjV48
1V/TN2iCD6l4+rbPvsl97IO3MH5UuhqjVwD5FEIiLniZFNa8k/d59y2XH5Su8nj1iUfJSxsHRukx
9g4L45Spamy4SaeUChgazZFLTf/YVLfEddwQjoKjCdck+Mc9nknf7HV+8GZNbqJyxupcjLeEVW7a
84zBmrCSNoqRxqmzo8twKzc/FQPBQN6MLOjsKTzRvEFrbeT8kno3+GXRs+8OjM06IOnMDyAQffMQ
hziyRaeGPLZGWSOuymAB7gB1mRXuI0B5H/8ssip80HERi7T41iiU85CMB6BACVos+pgYsr3VKDBG
WJar4KVnJbYLLMdTGUCVksRYi2ngfmKwGnXQejbqiB3LdwHDcVpweUY6hb9PrHXWOCVUbheagJvC
g/HPCaueabgr9lA9wl92QF/QM7gg0g7fulWoQooaWGMxjSDR0g+anRYaRLPhZ2sNWD+VkBaGTSnD
qw0K6dyWmH8Oj8LYDXwENcJLgI83ynjv9P7SoI4Q4QZPL2/4WBIeDCWvMA1jaUCymXYLUQl2cvlb
lygTWljDFUZvKn6TPAzsGhEVSBaJjm9RZOhcGfaVUed092zPPMPsKFOtUQVEmfHm03+RKRcZec/+
he/IZq3E85CzGq8s1p7Q3GQGIlrJnk5ZSy2SQ56var59v1MhnYSgxkNI2rPObBvLOp+v0ncErmAS
E1DlVF6/FF3yKXC3die9svrJUB37wyNjzqE4bn0Rwy02LXF40uh2DdtygqPhBUBtc5Wewm+eLsZI
8S+BDnOp3ilDv6RfStJ1g54zWffJSowPwuRPZuvRSY1/h8IJQ4LTSQsyxM0Qn2oTDsk2tsi1OtWw
L/S9iHG9eOEX9XA9A6qCiFM7KgYXiPe4wUywG+Q1ZLY4Cb5++WHwv90YVd4BBgpqY1Z+jgkwTwcB
oB9Bp1Cmf+MaKKLKQxwOKMSd561ybaMKzOw4D1ucjaE9p8rCg01aMzu+9dKhVUnwe/B5wsQiN2bF
UfhRL1xj4crktdiP+r5EW8ov6S5AMFl4Jz10ZB2ysG31l9hdqtZ+igVMaK3Wk7sZ+jt5Ebn7gR2j
PMUlWh27g1bpX/DNrNGj85XcvVVfzMZONBQrDr8PPlgwJYQ7rH4i452iiC2ZnU7GRFX8IlSojODm
SiCywC4asWJCwMg0PCnVieRxPproXkLl6MkP2WKPc3x0Pu5xkBYVQs/gpsUL46mpi4aZerlknxqq
TYW7vHdKVZvVjGVGZ14ha5REDHPL9B92pBhkZmdoW3GAxw+QC4CCtsx6TGKhCy+t9GQVv8DAbrQC
85TOlfRPhMiYblIQLSGEw4Vqn8mCAjHGSWGMpc6YPeQR/fh4Acdb4ThH6siPrj4y7x9OmrBaOffU
lMBwIigI10zMHE8l8jmE/AoNcAgoS5ymw/VgBKE0HtxuE2kDzil/yK2fjPAyjjr9Ikx46GnjLVXe
HtuBHv7ylyXGBxVzVQtqHYyA4qFFEkL6TZU7hOZySZvwd/p7gQOIWDwIV24Ir33KEKNyW6sOODxz
u1PQjDQqxZryLkNTOFyaaLo3MXzF9Q5JLaJIGAYBm/8iYwicA/5l2CHmQILwsMNfnwdE1B5Cxxcq
HtJw4RB8V1345PByw+5f6V6h5onVNJSXmEt7/zhgw2X2TwJCsfzAvV43wOAbbnS/PxnSpfcdEROH
KpzMHoPoEBePTHlkxbMID1SqjfBp25OF072yCMfpA3MZPG/LNJ4bnb6BBxZaRFMC2P56yaEZbIls
S+xeq2mszfSSfIByzYE7n81qyd0uQCzobInmvT01bbRJgnAthJOiDKuxlFPD3gshjPEIDA5rUSEq
ZuTS4aK21nNHxJdH51IqPF4qhAA4oXnHBIlQhVJayaTq+N9W+iw8Smr/uylPBXRbwatXbh5vAh4b
z9wperGN4hAfDn1bFYdeMNb1KKD1MzHBRqYZbtN6nVFeGwt4Pw22PXxew5akd0sko7scjSvcLUDY
OrXJH0K9/WCZsLJ/UbRquxiDk3UTO2H8yItTicguiS7C8AwrPKgkZuABvhwBjFmcV2TksnpOV1I5
LAiteNVxBqpsiShGTngwPDxysYhV4qmpT0O0Kiz8V3+5kURYKpVdK0/Ru5g+JCCbRdEiWE9gOn0a
OyfRTpP/VeJw0OnhTi+av8rJA+wfhflRslOgEE2AqaDDmlIIeyTVPHajTsjAnM9fD2vfgHT/bmO7
iJ4KgIml7kaXGD14vRLu/gsuJS/i4iK8b/RNjfkrJp25WLMY/LI4tSiM0ElSM2LFo9oRMcWN/yt4
zBOtj8k8QCTEDReGE+7fIRnHpP64P2UCGYtHKQMbTNDYjei9QkbPicP6ZnEGORUsJlpzSKhHMp6L
JuDBE5eJesq1XZ5wNeDMWJ/M/XTkALPUEzHfnkDNs+C3z3410fZcd6sB7pnCtU3WMfRpxE9a39w0
XFO/fIZqaoB6IwDL9vxFJk+EG2sxRPSj7icUocH9C4HZmu5LDb469676hwD0xNyboe7wEens8H4A
MvSxxZQRNLn+ik9YWLberzuoSVFywG26QFvYW8HCROxXe8VWi/c9Fk9UmgpOPpZsrbVQYpLcwmlC
NBdcxQJlTk8pjIixWq3z4hCr4hlDzmoApEhxJcWVvZ6SHMHzzQBzJCYHacPzQn5wCQdSUgFcgQwa
BT9aFLxRM+mivk0sAWBUxSUpfsZdDH7UYWdJ1za1QXytYeODUBfWX8awK2Xp8sVjaZbforFjrTBi
mvHkUysKrt+3oeHius+6Yzv+KP4+6M21J2+j8JfvG6PEEesfpQ35cJACy3yuQt/xY4YKVjoPUdd2
TBfEZqNkhwCNfHY0yp2oKLg2jgtdyY8yAKUKOa7BGMVgUPSuhZ8Onl6GA2JopLNpFUjGb4HPa/XY
QF2rDsvcmLlJc1doZsvhbRbPyIUJ7v5LiD4dmIToOvxvEKcaFrOYEDL3V5SvgqKG8YHWfzrpWxJP
rolZTSEdM+Wni0+McUL5ktZfZEsPROqp6yY95PW35e9042cwf/TsThmulieLDsB8t3hC+tshOpF1
UsjdLKelkCAu6TyWmGXp1ItKy0D7r/XRc043+UurAOzyk8G6HjHt1DANqzXGSjmCheaq5HeP61vy
BIKUtNlsUB70s7BJxeRoAeX3h4FvOXFZJfoF+S6ZX56ED/HktC62tKJnBrNlvvTN65A/aW0xZhOU
VV/u+gj8yR66q9B9+uTsufe2+/NAveUhnCe5ow00efnchM6VaJON6o+ZYtJBvOEhrtHXYiUk7fVu
0ygPVoQuecEb1ZVH6e4QLnf6OqQxrG3NBJuY8EopPk52sj3jQgjfcgLyR3MXepASR1IXYLDmMOQY
YrvpI/GveHP4sN2L5UCkNJw9GYtBfMImTd3Q/+D5PsnOmhmTZwatAoK7dDWQ1tFvCcxDngQmTmKo
7wTJKZKPvXFMvd9KL3jmKgxW4MgjaqfxnCNNYOrQPEmIQgHXfQNj4dHc1ts0WGJnpQCdwnzr+ln/
h59OUEAjXnkEKWND6ETpAs8acKe0XQsqyWLLlBZDdeTGEXvO811zb5KH0hwm2kQfjMinsZbQRKFg
4ks69JuhO4r6l9nvU9FRPEe0cGaaMt/Bz1mKVpD5mQ/g3kXKQa3i3nNCtTH0hJRuc9GpAXnrHbNk
ThXWYkRqxBiXSUuEWExnVNzm/1lPcStyF+JwAkme7/xhEMFtyYAMIj5j1kC0OQD7Hs4/9R8jpG4W
sAo1iAHFm/QQDjD2vPNkO3ADDQdPhhDYgpgz9MJ2fhK2yt8Isnn4DGJRT8WWqBJKq7/erl/MjYRP
ES79duXJO+Ql/U47Sxgdzep7Qx4bXCQaYYvBDbRBFByYRM5plSJSBZBwZPzNXCRtqUNFjLBkm1LF
RysM9tFc0INJL8WmyxSprqrdeOkxM0KkOSxE6WtQfoPkBzxgHkY89R0C9AH3IrdbQvw1mnIWh7wK
Yu1QctOgrJEG5tR8lqyult7A3Inv02EPVhow5CflAvZjOMVHOV32XWdJzcMfD0WUTnw7qDNG2UVM
pifssIA6RRAAlnHIytcj1WTCEMx3Mv0LwvNES4eR72Mb1IrvgG2n1PbQVQOcySrhz4BqMOouHtPn
FLMfaO7+vS1prPAk3GOwN7LAewqxVP3HGvei1uFnfQZ+qfwl+T2G1Cwr8xYJnzAlPIflldxX1WnV
cxrbfWwLQrZUO2gwgX8ycsytLUYCFYC5b8cM3r3gnNGRq8Fnsvb3v8HBaqFe98Ip2TKFxd7PR77S
OcLTkivbJcvQ+rTIjV0MpaikhBIdU3euVKTJyIgTEnJ8GxJNVz5xM190puBgBmLQwDFbyJkaKrx1
KmonBUQL7pYvvcmtrPqfVkKsJxogk4vIxIqp3EfUIQEcxRacVNxq2tPCmKijYk9eQSQuteHHMk2E
RcnVD4uDCqsF2sHE90NwrtX4Y0HuqWz466aApBG2JknBejIsGOPkg2Op0Jex1g7+ZR0kK1RYZQWq
w3qq8p5iiRJb3adYBQADzyYmTS1gghncoxBEQR93PnqFkC3biqS3nmPrl7Q/fUkkQQDFKgJex+9x
+AsQbVYg7AjS+KrMAKCwF3D+sLt1De6LI/ybvFzieWXgw0ESDcsdrRjeevhXUKGSSy/OJdrGcJvo
//Fi6QjgDKAL/ECdMvsVls89TmCAlQNZf9tSo25eiLjqJyuykPHrHhObHCQiE7Gnh/0HY66c+6Qn
kiLEysdWWx2zZitSlOHveydMQ/I5FTAYZ4Q3e+j8cajhD0W1AYxhyIsMCicXX3uqmsDUKMbuCSlo
CAEg3UOdy9JnRE3WWFuu3WJIMztMGUzk517P17DBxLi0fbU6RwAPUfLq8KzIx32Tij+mAq+/A+FE
8OEX/4yOtoD6UDZuSfpUcHssWI6jCj1Xc8ZJpaPajSO0mnBQfB8ZNfPFWMF/2QAa4+d58i/kE5uY
VUz1gFHtExDVaEKpIJx1zc7Fc7CO0E6im59ycinBUgHGR97/81L5B25Kir+1ZSQ7fYQ1zG0wUVjU
lHpIitB/4Q1PBIpMWCabpNQR3Yg0/OwBamooXi0JQrGJtpildZxCU9NnidUB8BuuUAVu2+OFGz/C
SEIqbbj9QEicnD/EjBNYODU0GP8zg5MZFKP1duescX66DbUjegLEe7l11i2n7U5g3T3oFnzH6Eiy
6dHHYNTGG7dHwQu+qS7DbCHIUD03KEPQJ1E59uqK/ZyBGIyvjgsuLUmQU/bOJPuj4WPibjyY0pun
+J2/4TUwbuWFsLAhLcO+JywJa66JNI91HsqyWXBFaOIT4LtV+JAQoxCvhWs6KYJtEs/uC7senUL8
preE+i9BWYewz7wCa2hxVStHkWhvmYIC1ham98S1yigRZ/QUGgwK7ltMnOdKuhH8FTIB2AZN5kBn
h7ISoy4AbuOM0/nIS6bxxAPQFLGSYdzDVBMKPEZF9aohyVtfSvHebfc9pXS2gNlfgke4hiNNmUGe
sLhmOCMUPK4q5roLCHc0PrDxR/HSDwys85UPZgv/NDJ5WG22drJzylTF3OxiDSOztavS7MoU6ar+
qbDCdDEaaBhF4y1AKkWpkaImkhesd7iygBUWF0RtMCq0hkkdzEcRdh8FE8T78ldwjx3y6Tq6TOxP
r3NaFD64L+Ph6nBaEbFMf8D6lDUYG7xi1wZYlHLvCD2Ce7lfVxIRBCBgQzPvS5zeTEDToTu0ibHT
jEuieFu/Y8hsiHe3HaDalxcrWGrl1mowJpknRBmdWWJVfCjJwvV2urhpJ+uUGeINqVrUWM7jW0MW
r8zbUm7ov5BZx35XLxpsS1q09Vy4pUwK3uCUYMeYXWAkmEwQXHexHpB1ChU3G2YFS4z3YVtR7vR4
15mXtNpH0qbG1W9glZqRBGMi6BLWKA3GamPmp0Zde/yQKU27hS49IttedK8Ja/jKdxnnTJzVf7BB
MNTMxjUTY50uEe3XrJieXVRLi9hdF8quUlaFsjLrVTAQSbaN21OO24tCkdIQNUJvWsvj2mIth8kH
YDRx7W8N9YGbvkiyjvV1GW5zXKw9HoUR/b280CZvmq2HqamwYPvKE9xFQCY8BBkyaddqVK11Nzir
iP/HTlgPBalSw9zVb72yZ08zFO/uVZjfAn0wDihg+aZLA5C3it5diDMR5KryqjHkHAZjUevKmmKB
dUucEoGL/cCybfJs+OYhUIWFZYSOViFahNDmk8yAJwd6tVy61EQPsJSZFX4UGeQrlaUJRbFMbNDW
673ViDuIcJNbJxS/aG9S/9DVdwJgQvcIhopgOjIO2fhjUCsaqQH1lv0/OQwxtNhzgPmV+MANPstI
sNg3+b1KNl65yaVsLtHWVhjJM+wp6zMMigD4h3IJ8+t5gJ+Y1B6oyugmBU1/hOqS5IzGvxrBtW9e
BWmI6t6Qb0REZ1gVwABJkns2nHXMknXDOuJ4uy1dxdZ1SOkZGK6GklcwP0Psn6HH5OZFx+PJ0jYy
U5FejPEsbk8+Lmc6Vs+8edQcU/k94CoonWoDARWWOaJdT6NFEBaQpfSNGxidmaA/R4zEgkXd/lIM
hCIMoYwMSA3pKIuYCgqnvkzYrPhSZZkj5Tjhn6LehvDLI0MjDQoWZ7+65GAbm5uHVlobDHwj3kXR
cJj3lwHCHFMm/Kj5DcVDIwFj4R68Jg9C030ee6hFPOMMX0BZMOLKa2zx26fkY0FXCXNDIbqdfc3j
w0wxZ0KMtJPZnEy9178taJi1/0Malds6TQ/E9h/58DymYAPjPvtQuA3FTa1wkhpmnbR2q6dXMRQd
+Ej/qm4vp1SHrIrdMZcviStv/QEZVGPtzGYPZWuENwLTMfaeFa31RBDVwDamAioS423EN5wgc0MK
Z6KLSRlIbhIsLLpyK+RBgGTX4IFOOAclYmdQ7Vf9wuvP0w4K31nFhKjbD9BpC7pSBaibdxQQT4ZU
KqTdQlyKfdj7/3WUjDSDDPI665CfoWFGkOYCWEYhRlNSf4uy9kcMlC+tIOpD7hetlZM0xBAFtyGv
f/RU0UE/sFPbHdLBhlmliXVxmksnuR+3vqxgSkjMWKrizIfsmYz0HtAwGustJPu57sLyx8aixS1A
VxlyofDBSNucogtvI1MpNUIs3r8CaL2WmC+qMWWdxRwJ/oBZpyTxFDimT8Ftc2ls5mlH3JZGXi+H
9fN/gndN2cM9lCYCblFmQAhQ893KJOcw41GzH5caZqAlVFy8kNNsVXFIUcMPkF9pi3sAZyzwEqjo
hEhO0X4qJXwqoadGr6PA2VX25bCPLLajytG9Vxoy+EotyMm0E8x1IIlOd3tHAPKH2gDjD1V2yDSi
/6NDHC+MK4Lq220RwIw9CwY2SFK06jp1L/UuVlzLsoAMXc0FhfXIoxaYdkpE/AL/aP6ugJlhyczV
muiVahYpjempElkJR8zgVBGmDSv4RCBT/wL9Xctnsdp4DC2EfTPuiGRT5Q9dUxKB21+UypmaB8t1
Mv9msEdooK4FdqxhAXuUxk8IoEGTt3Bvg6scrSj+c33XmpgzMLShoGIrn5njqdB+m/GgW5s22UT0
+SVBwW2wjGHSkQjUPyv1zxLPUfozAE6IA3Zepgskd02ZLipMa2oCb0rWv8zdM35/YelvkGuWMLFH
cbWQo2ed38uIeJ+vWNwKySKotuJK92xX+2oL+AmzmMXQWosNausCFhJHzX8Bigfz1QIrQcyHYII3
Vd/PquEkYmFYGz8+nkL9HZgLb8S4PhFflownTLb4blW51ics5A2JnRICA5lW29XSWuQq4kOIvm1r
GT8mVZLUkS5iWovQFQ4uW0MtQ+61fIgBIc88lgpslPnwK4RXpXggD6fWHMV1WGGGSDLtriJUIbzV
zCFN/1Ikq5zE1z7eUC1VChJmDVIYnlmmx1BxmA8KmlGK21qlp7ZQu22F7h75UN/barYVGrzW6OZx
mKeAa6nDegUBALr9ckAu3LPuG4iZknfDnk8IBHyGn5I5ZcRPCx/rhtBfFlTqo0vLw0rWHnU42US0
yNZ97OVniF8VVi53s/s2FBkComl7PERRlwOWIAXN3HOQvAFQAsk8Ti1iACjny+yw3Z7uv2+tXYNp
QV5FttBTRlsHTUJRexJoG0txbYT7YAhAgSMamk1z9ZTFGBHnzui6J2u1+iF2ssD2DuOJnrhnCRi3
3LGXt+oEi+DbPo8EWzfWcvwDCssFt8DBLeth4pCDdzUm/t0yZjqu3HP34HFP+EshXLoSrKJVL1x8
654nF1CA1N9U+rZzaXUpReQTQPAoMQtYcudZlEfJyeqxZ94bAfeKTQkTlA8mzD4k0ZrxKas89xqE
/2xtdMsBzTujE8SP9bZjRfF3MnQnBK6bmjKlBfExq3YuMOzXSX+owheANmmqhIB0DNSOTX0K4quB
YVBWPjSMVYitT4n6gB2DZVm47w0YKQwno2Y5YMnpvWXgGryc8h2GoZy9KtlGBCtGrzj7auq9iXyT
uLsYWfaiM+w8XstYgfHQissIP6kjBq2ugKRgJylruQi5tN/acAMnSfxdKS75Na36ddn9WZY10lIO
igVTl6REQJPQgmUh7wewT4A9mZHTK21+B++dEzxFCmV8rPUvSdzGPKw15ILK65YjPJ0gvrnuq5Hg
cx7k8GUGF6G7MeIbdtXwFbHUGbguludu4kfrmLxy7a4YyjYqM257zD9NbWflVRy/csYRfkxuJYRB
cxeXv5VM1rTs7kdJXZSSuavy2A5qeYs3/EajNTK8L0n5+k+Hycrr793G/XkkjXnRwAMHylOMXKVg
N1TgIVsPS/OBpbnS/7qou4/cpRa7bkbcjxBwjlrF0enztMn8j/I4LtDr1qGtmiNriXbNs6l7SOCN
QkvVRLiB9CBAM2woeWWhVbdyp1FKiFextzYLzG1ylZlMek+SzNaC8tllFXMq2gCKWAt330JBES9H
2zyQnq2BGCaGl+jWEIBifZdF8Psp2v7jVrnrIFiq48NK7gUqkRAduFS+NZEMM6YKeCHjXZbE3iUx
+hVReNdEDjCHvhaBCfUYWxR9PLiBI6W7svSWkobVnCm5X/0UhuKWHai89iWp0ad0433byIyarE3t
yvuktpCaoD5KuGHd8Z8gShDd2IlxRUCMt1UK/GpJIXXdzKkEZVFgbWwM6HYn9zXQU2UEifSPjKnk
68hyIRt3M3uOSM5qePapwKhdN7D59pfJtF0G3aGvC8eKeyfTrGhlscOqLtbGstpsqugApGOUaJ95
CTrWHMXaZ8BrIv5WRBRDRBTiqzHN2wZm7HDJxP5fgqOWFhyZSOGj2sqvGkOeIpMuzNdXZUOxAItr
lG4BPFQJx5PepV0bFq4bzV3/t/b2zMZNdBk6jn8miEEJwQ0iFyzl/yYETMWUfKPp8lGrzMPgeWjV
/Z/AApNQBkNbmAk/iWP83Opkb2QpCnSZSkQ2LqOV49UfjbDliMSUfRl8arBD41kPfzD/QGv/s9ts
jhnDgGADrVaUjYcJoawqbv1QHvXU2oyDr2I3I/yaWHNSXeGTCe5mNe1vPzBvEGFNSWTlZPQuo6W/
BK13PFfbKx11BRgk+J13VOsneRRE8ijqlJ+lzJNgM4Qfr9CWguCv+zEm6q06FJjwpgMhVupWBY+X
y1uCVzAC5IE9p6KVG8WMXd2pUY5nEP0XXJCiPQapPKf2dkkXtgbiSgmitMvmKxmgrMrxvSWXLyhW
EM2URnDGUp+XgnmVpXYdi+07MbCcDDBySDQMY7OBe7nymlfHDFDrEenVlnqRfcTfdP1iz9gu4nVk
GLs6B5WPCWVz7ETloc/oscla11ElZMqKZbq5N81Fiy4DpHzrqWDeidM82gGsrvH85ZY2DTvTMJLo
AGHafOXK4lfemZi81QvLf7uly46uYRlptxreNgWyMkPbtyn4kfmnYQvRV2DCzDIjAecV3lbnLK1i
+sgsxi4sTjAo9L4l65C0e09Bgm05cc0cfHKY2rtshWPx8z+SzmypcWSLol+kCM3DK54nsAEb8IuC
AiOlZqVmff1d2TfiRvTt6ioKZGXmyXP2Xpve3JNf5gcdXVFFd6SOKAxYTkHp/rMi6wAFhTDrBgw8
/tj5WPKPqNaBbOqnQnJ6zYX8QPu6NwLo7BVeNnwXPOUTSS9vNWdjOpUH9ZqUwJSS6aYTi5ngN6yR
jzTdgHVdzxmcQKj3IaapMUBKiznBttnVdCWAEMTklz11HqvaMyooTdS6vUWMi+/8WGrU2z8LIzj6
Hq6lNIqfJZA8IxnfzMHYT1V0j0s0dI2xyGW/NUYfQaW1KlsTFb1cT9mtwsWay7Re1G34XJnFJ3G/
GKmHkyse3SkfdYSjA12+elrFkyr4vIM7tFsXYkuKmTP0qZM3nuau6pkfZkQBFl4qdDS2LneZZi4k
mv0RP7NblLCQTMO4hvQ2M6i/c4lnI+3IbRTKJtSCJY4WAqaCikBpcbdZo0qNMp6riUtf9W8gDAco
IQqv8TdLvY3v9EcnJiJyetZIlSVhcEG7u7saI5hUCz/72pfcuwYkj95ro5lrr5y3ePuY7Wbrpmwu
NqNUrwr2oKEHbsmzjXRSYN44heLXc18y50Uk+4GuYmsEhwTLfUJiUDzOSyOC/Qq6oop7FXj7EuLj
m3lVbNW1jrVlXpvLXBKu2VyqsdsU43zRQ1SvGsY2mgWkogAyp4esZc7VcFYmkbB97370uOOHwD2N
str2NRYtsIID3VtJRpYfZ+sR5zUovkF+2zG+bRKq6xgaf6DvTbM5lFqBOYyVlVcnz/KRKCQTQCEd
jfewsuV/EpnIZ95TsWlUcAYZ2LUDFov0K87eAX5MmLAzqWCS1BkYHLhp2kTJe4fBSLelKdbla09m
jmWgkKCzZqCoqLxHmKVUJvomG7K9EW+KxvynM8uhU28zCMP45oXfej68eRpTGHK3zqkY9n3738SW
5lgbHnJ0vqnx3tEoHFwAH/gmAhBg5hitrIHk8/Iw2wTEJXNxMDqfV5K2EaiwyhmRsvug01q0n8h+
oQ0HIsedCw+chENkU6TCVBCysy8zalctQ3jwKIG2K5Ivy/32ZyaamiN/NURXM34iLR9uZcurDZun
jAC0ZBWVlCGIp9QAsWjn1nlgsv8OBzgwEZaZGelCNezLCVti3vCDARwkoiLzWwAI7N1xuGMM/O4F
wGF8ZP1zu3zN2MucHLJbRsfO0PEN1mF2bMYeCfU9b+Q6UieeMc6kacZP0vjoW6RGA+b/Zqbh3jI6
IXoMEQwBB/bKMrCsYRguclKGCrpEZfoeGNk2srs3leeaonSp/OgvLF5jw2CObx8cxzwE+rBPyZdT
xvY8Tf8qVkxSm9vW/CdH9xeYrBv+2hWaa6KmJzruXdfzByRr29hFWX8oDIsOm2kfjfho9LS2c8yc
iHo7yVxmNMl/GWBAhi9uL75myWB4ZGxbd/NbGzXHunOPk7g0YX9oeKtTPXzmjHozvPkaxQEp4pCN
E5tMa66VXOMsk7gkjaEJnEfVDbe7iXwY42L6DFlZh0J5diiNB/rBGi4spdKuXC5eDDhKC2KHSJEu
wOdCONNC8aCbtk/hWQO1axB36vsEUnzLCAfbZZqeRXDtyqtG2oafk++so2YkaFRbiWF+K8S4mWGf
OKN9g1+yGgrWO7rUYkMkZW+GPJePJmw3aT4itGTQYn+ZbOZ5W2xtziMXnRmPbKR5lPrcRN8naz2J
z66a97VDF23tZDAj43kzwnwO8Gl14WdKPBhSbOg5m7D/J8buZcIrLcK3jmDcGY02JAXUU8z3cLSA
3kMTb6DopMzjIHsv0tdhA6FeeYzG10h+T+7Z7beRsQQsRII77sYqfnZo/bT0ncjTkbhtaCpSSyxa
+i4leoRV8FODr6TZBNlGXyGfi7Kd/EX8QN9v6LdesUuJkkQK3NFDJFKL2+cTRl8iHWCHMI4antmW
EfVZ4w8B0SOG7JlXPOAjHawS9EZ8zNMZWS3mIg+xW5ZSaBc6vAxVtCZc61/mevXeOWe3+LYsrBGb
btyNxiv7HxbTOvmTA6PJXconGSuVI9ote9xmeMwDlK6Vd8CdNwGBSePXJCdf+JyiVuF+r3vHwALQ
bNqLDvKngf01YnREyjUZOfxbhwkkHFCIddZDov7sAL62jLES72F0H0W/J748Tl7mEV+stXERJ7Fs
EQiR7spbLBhx5nItm3ohjGjTFt029BPKseAndzTmfzX7ldwB2aH7wo1RD6Z1FnWfRMzt615/c6rm
UcIwyHK92oy1+WuU/qcGwi0aja0xDTsZs/yPnkBdriKoUtxg4U7aSFlp+i2N9J0Z1jgCj/IID/Lr
Jxn8aFBkKimBrDKYVTrvrL/ojvM5MJaEFAVrfH7pvENXn5H0J+7LAFULHI33moDtJleYNNT2NScO
rz0PNuPW8V25aIM11wyZ4zrjZVr4LtMJjLzADraWWMPycKfnFhUh2inMydEWyinevMre5vUa7hgT
KybtWAKn6mWI72b4EgVbH8tViii+DT/cc3sOIF+RENotODgjige4NI9IPDMWrkLScjaqgTCuHC4e
2ak0lnq01E1EI+UNIayb4tlfleavhMneZw/D2DTRqwfHOeRoyA9d/zm44GIgMNbPubUcjUOhbUGo
D2Kj0RItDvXa/KHdwP2vto5BfWu4eToELFoMzluESLSauUB+z3Ihp3JjIqYGtO1w4UU3QvYUeLLP
ul1yWYeuYN54CPWPfnbAsjPyRC2IF8j1doSHiAp+P9ePdREuHOM9spu18OatJ4lEw24Dq0BjR4aI
+Ef8qvwosZ3g2qYzbSzJyRy1IwUmUjo7WsavNhg9gbJvAW7wnWZ99eFcyl/iXV+nK5sBcp/79NMz
9LqRS3JGu5i95J9ecQBgUpMeBFkAJneMwGUhfodsXRyaTcKQbmNsup372X2184lfdq7c0KT35EfL
qCBX+amlOUjIQXQllLP4h/Yz2I/OUnwWRKO4iMIBsa7bdIsH1DWWwxcEzBiU8tM47TRj5YGr+xia
l6EB1GEOmwarcsT4LYGO1dv8d+eEPAbh1mK8RfF2sJnOppvZwU6MPkZMF3R+5Yn9FqYL5AZkEOAM
PWPfcC7BwKvTH2qriWEY6ri4exrf5UvwatzTc/iDv6miSEaiYXHleTCibYavhlcKQg3ReOVBfGV0
j5+QXPJKoPBbi2jVNas0UZp63npcMdB4k+6o/YHMlD5IIpxB1i+nAdvk8OTBXePCMCx75prdGuCu
y4SVgAV6leAdQCDuaBYj5LFD8Jubyngf6O0aPPRf9504BQ5+jCFPHiQobkfdB3pNvjkcQ8CxBcm9
Y7WaEi67z7H9UiWfMKaY+eN/c91thYHEqfyDl3rMfvB4oL3vLHtt0ZUsEmTKw78iB7q8qDp40sBL
83YVx4hE1StHaCcQJhNQITVVVy685jd1rtVU7tibqJ7egpSFgBayovLv+KXZ2mcNuAwfgVICJdQU
yzB11j44OBTeAt8WIIyVR+2S17gUBouYQWztJvleaUC3gQMkR1nn+E+CYLXIPKZasct8tI22erB5
tZlQMiidr7+zNEirXEQtDmvmrYg2aKayjju5ztxLJ4elqN553frirfcZ4rczjpfXAtqAHHf6RHzR
i+bwMTnw7wAo0BgBgRJ0ews49vRd1kcN0lG2IBGp+Kahlou9kZ8QZLrCXLjy6rEBxDWDYvC9RMva
MjhnBnxoztSWcBnDXyaJtdW4+qXTOyUfl1eXVAwS2+tVSiAA9EVscDYfu86MWf9B82DW51ir3sZJ
BR9jqCia3TC7COtBTro3Pbs14lfDjUR1mfX6ARzqTGaK9i+uBkRQHNGouo1Cf1ecE9dObga3tTJ3
cQuzdBF2TE4M5RuIBtb5+Tkzz7l8VjW2UEpAQDo9y9Klzcq432O47RHEaLqALadHUdxPngZ2z6Uc
JoaUH7iIRu/pZFnHiTiSJAZQRFXvMXNqkd418z3BeOVE8YvKOJaI7eixLU8VBiYfM0vel4ueIJ3U
J30O9oz7plE3uojoAm/cd/lwgtu2t9J2vVyPtb/T51WEFNg1KRrZz6UMlgywQ/M9NmCa5HcNvnZU
JW+jVb2RwFOZUDfroFkVmfbWmURaFtlz177GONqD5Op3Ajs7wybyuHr2fBwhDd5Io63WEhoQI+x0
+DW7bstPD1SGcD//FcFP7dEaqml3OwkiPuO8LsOSNqrzOwXOo+8E75GjL/UQAYJnx+xcOkQ1nKKW
mEjPoVArERBN+cO3TxEnRF38IqFsDhFMF/dOhQwvd+r/SURe8A8STW6RL9Ngzp8y7DvDA1m52x+Q
Nj3paG2Qf71ohX+IE17osnW3JWKqJGVA8jdSYoLDzrdDNi8EVrowpwmF0dZgmTtkpFChPL0XZKEp
fZpvgDKHCBs8mYyy6JN9YZTfGO2AW5F6pkYYIqDbwP8z926vQpnpS3MTlg1swLo7evRhWON3aYlT
lRJ6gcchTuWqH3/myUAx4BBWQm2hBUtfOoseEEYFeY1HBz8XOorzNlfRC0Bkr9zb0a0X88pC4NQl
d7vFKTBicHvU9S4o/UMKMyAkniNqkd9jKGlBLigZnB5HK8ldIR8q6DwYeSZlT9zSvO2HmeFCSMPd
RsXWL8LxUwT0VjhQ2yFc6ahPDNNDmsOEnjZLk/10ycFiWp21H8ivPZsJ25PFUNKL63WD+Ht2aPz3
C8F4uOMm7SmpVSvXdIZ0ym6DUWZBklvJQcN2nR9mRsnWs22RKwHH6m5VtN6Y+xsOdieDSFbTXpn2
lx7Qr0YUBqpnmYrip5eHicg7bFgFpLyBVoYz/+Q6ubu6s6sHBnARCbnRlj7/BlHtlH8V8rVFfJJS
cOtMhMk1X2sohemYa+6vZ9VrXs+9h00jKnrM9jRtptUMVJ+81ArcNb+Iis2kv2iYxEK/j6W5CQOi
Bf27gBLou2+5SVgZ1ARAaAvohsiEp13L7E9DRCfKccUa4jwojqTL9u2IsJJoyb2HPNB3UXViTFXw
5iBd+IbkUPn24XeeWpcsDFrW4qIIIoonV3uICNgSJ/IoGvLIm+uscwVEsJphLyVAzqQKbOlAgCrh
imKdVVZvntAurnIwV/2akQUTnJuXcKXCBQ2CDgLynp8NiWvOQLCJBHChjiBf6OUSsevKM/pdjHgU
FaDXXbuQu06384qKsHFan/q84V61FPDllGJP6RBCqFogN/j9o7JGT9tQGVkNd9E1DCBfdDzdmhKD
FvuR2OyZkgqhbcHhFIMJhPTYxB9MCzNkBvAxNjFtWy5fSGLP84w8r3UWDiue8b2DeEpx3wrEDLbO
Jc4mHJ75pu8XkIAviZav2BTwJTLQMFBczGQRJl37rFu4TrVdVK37/LMLmATpdz5xpWtIxTnVb8+V
hc4aNXRByFSHLHgo/G3KhY4v16B2DvXPjKDyE/kj2RKIladDEpzwNlgAoWDmJs1fmnOJPgVKVYcq
AXufrA+45DusmPQqw0cOoZh/UI4KboE0+2JacRFi0iD9G7kdN+gFfX4GD3/fwtV9mucxg9p7jiy5
TTCIZdbWxJ859teEEViVlltgMnnH2IkOMPd78OPz9NRTekXelU+Db32w9S2/wxXXCfsF+hVuQnYs
144DMBqooenS21sbLSWeO23y8F7b6U6LcX2Jf0bxMObmWbO9RYxaxPRYommznihOy0ES+XrPtLNT
nWsWS+P8BXq61KqNBTrMRY41ozUr+t/RvWsJAb2CllC2Cfp5m7fQtsif0DnATXc6KQrhDKQ4Mqtr
Sz3ZutDwGYyNQ3w4rYPYWeB9HpzsrPU+KKY640AgWyitcAC7xI7G+etMLq+MvDcru8LyOXTIAYHz
NAFzqjYi4RaMaMqqTKON+p1qHd0rDt/atJcni0AfxI09gyrffGfZtS4x7nzhCqAvrkXHw2prn6Py
uybDtURBwW5Q9jYj+X61g3g/MNY8jwjZ4Ji60XvPvhIxmR0QQ52qNj2ggFwE8biY5w+XzVvRIGNt
WJyUddoDGechPlKlQOtf2cmALH8pBW/zqAqUmUh5kJa5FY32PX/vQA9ChddD6t63bA0nOpU4GupP
WnpBrB5CvquoplD0qD+qEB6A14zYPGY2YUKDd5mH4hCEXPYb70i3lJmD/XQvoNMBNLXDG5yIJL2s
K+OKj2WSu7a+xeWfKBOUt1vNvBe2XJqsdbVSwzML1xZ/ltqj+MAwrCsCLw664ZpFX/D4cIlN0DRV
0Hv8R/R1y6OohbuYmf7GeHmqHHvRDw1XUo2vWrhrHGdRAIkmcSjgiJu4T6GLDt11lISrqmweYuBi
4/yZCUPSchzuLUoh2yl/c9rVITpAlwmuw00t6CB5RMN2KvXnxmieu7DZC2061FgumvZ7QmGh999Y
Qlwu5PwLgqyRtjMvSye8o0XvMrLo/1KPTE1zGBK6h7NYO58tvnuDas1EztGUjwjrrq+KNmJ1dHX1
Yu2nIIkudEVrT9tgKKDzrjOuis/A/TZeqRD9817at2jMzmlGayD6xNrAsY2Dwpl/W0KhoORNHWF+
1mkYauiU8YuBtjj2wOhmx8GL9nZSv2J/QAchgQBnH7k2bcYko9/UL7VESfTHbWXhyk7yQ5wiFTFJ
DoyiW9xSeOyQft5J7hKkrNcPQYMQaNHBgIritVhP0kh7LvGyy9QldCHkCp6Lj2QGqpT9K125HO1n
t07wsgzbJsNWSo+4T/ULM/mb111kNcFAsdAMrlo2vR6xsGDrcOp7JZV4reH8UVaOmJQmOqQadSox
ZxrSvDT7nJN7ZiOzlZeEG3zUskZvxvSrWQBbSHDnRuLHAon2QwZfcRJw+sVLq0ctLbwNNRgH26F1
4EIFYAGohWSR7vQQu4YBAWVi+mZGp6a4d5W1rBg6IEUjasTHol23XxUidHeWOw+fjpcuA2g0ufed
suGMhsm+oL/XbvhmVg59wWYFcAHQAQMWcCYjjtRh2kxorqvUAv3srK17wUmVTA0wr1WAjphDP0zJ
zavLg8sgNUzqrddox06Mxxg8dZG8lAkidjoAYUkIUEupLukMyTtRxrqlCkO4Bo+Ys1X76ogDQ7Uc
iltBmBlVjxqVAcX9jKZtgegvQhQk0vzdisDOjV9Tl57S9ksis6oVcyQ1T27jrQZGGsb4KJm1qZqs
IUJdY5zg2MHGp/ErEM5w/aY0CJG98xfN9Mt4l9XppJ0t/W7HGHBrzE/dX8JZ7dk57/a+FLepICZj
WJr9pvfojVh3VKIbug+pfy684GANN58ABscZTjG5rFOBx8X/M71dPtANARrSMAezejg3YfKZVcM9
CsI39F+euoAFVUCOa+CeJz5hlxubD4QxjK0Dz1fy17CL3XLICXU0Xyx1qZisQ8FE2Y+dm2VnDErE
ugMY2rrg/JuE2GLCCtnHmHkA56Sj5Dju1mAd9pq7LGb7XKYms7qGGS5j2Sgtn2OM2u2w1OlN1BWp
RCYupPcxOZXY9zONm074MNkGKrGLXIp10b4rZT4x3hnDblPNAkamVtMXGksclBmGz/yk24z9qwsz
4B7bp6T+LJPoPWHVlDFWCljy/kQRbDPlW1U1dq6Ru0IegemzOPgRkVd/6n5pKO7sY5xjgfNAP44J
MW95seSZN9pPgnpU4kPytYKr0D2uHh5iLIJbdGJegq8QtFjItUYjr8sRj9lgaOCe07w7orLuje8x
ttduOe6EqmwfiMlrbPWD3WykdBv84S4S+73TnwUHpPr5e2aTRvLeRYz290OOB3r+NficgoCPnTl+
64UvY03mWHbpODdShF4RLXIjOA9MPt3opnnVcQSHxna7kO5F4lIxJAVSKPeYUsPuZCbeAjaHWlk2
GUMUkitPq9Y5x7Jk/NsWqFlLbVOibmcf4bqhuLH4BlPzHiBH9V2uReOmxSpPUUhnuE1bsMLVoctK
pCo3tVTgDcI3nN0X+YL2AMGJWA1WvjZmjSnbTnrhheHw2uxPIXE5Vr0ZSsyB7lNsUGVS1wXyUjKm
zPSRIu3moQKPANayokjcwDRPU0bQRDnNalZro8Zgeq/WYc7mQo8LybYLSj38DDLvLSS5jP8oipVB
/6GsomNUV8Qw2JsM8UHOPFyx/0inous6Ut8YOsPIwmNSCUF7aA+myF9G7qaTy91+QOiyslBEpeXe
zetFEpBURuPI9ikJUJCU6UuM7IJJJfI8nl62qhl9WCWSUu1doxfjifpUJ+LgCB4/Uh6uQmF1zYcr
9BV7eAnEzcwHRMebmFErIRazv5s0hBJjJI4m2oz+3BotRyVmSs2dULqj9nPELuHLCZTKrUs88wW8
OxCDzUzL2U0SABcxFgmGJOz8PDSjEdAz1rVxUj+ybNW+KJPwqsJMKMkp2gbWGY9ur3bEwY23AddP
Q3v33PrIWxPpdz8dl11E/BWLoIRCUOIlkUxRQvknGWC7zVUUb27zU/At2kizo4mgTrVLx379GqJo
oDqkaXKRmba2aJDq6UFhvzv1E3CPdzMU1NzKjKA6hGRL5F4MhkUQshBuTYbDeXVlO+WVaUwU1AgX
yS1vlqOKOZfzamz0VcVf7Nf8/1FeNO2KAGdRNuVJvdmxHSw7427DuppLG0lUcColrlgMz9QJmuiP
lo0lQpbjkhsnKIRWIILi1TSJ2cE1JujPtVr3yivz33Oy+TW004npMdG6WZCe52G46dQ2/UwNObno
d3m/e9a4b+21fj8BBh3+WUN48MvqFJknQUsmo/vljflWdA5givDo48DYBdAmCy35nHezwDFX2lvL
+ZUxkKCDieUtL2BhTZZ/MMuB0LmXuaVnJz2iaPje/Bl7SYJzrmYg6rIdGvqmG1Dw3DSaK3Xc8oqA
qkm6/tyl4jlhIMJaj2yqUbUXOIRNjGjVU05L9XJVDfZM/uCQPNpxXCUZbzbOPY9BKCfVTBDgKP4N
rtj50MvIZ5rJTC8lDemMq1Le2HttkhudXoRFrkvt+FiSgW0UEJJNcaxBOvnQc1rGQRoGfcKUjCnc
CXocjQm+8y5wfU2MdYAgrrW+3hJLF+SPSmPMR9s7/M3z7ygwdxbOm4wbMRZqP562Q0tXj7alZ4Cz
LvcGBI+RuWI9dqtCMH0wHk5214a1lnVbQflSjfN5GlBs5mcmxwcdYwlm06bf6vjMJ+No+jutZMw4
7dSp3XFvZ7LpodDKdQNeJyJibnJQJZuJqGP93tLYbzLK+VE/hvw5QYKTjXfAmHnD42cs6SI8Srv8
7JRT2CPRAYBg0DQfSYjnqaJxpr6uU3YHgSuwV+FFYb03h/Fcwqi0WzJCMvPHZcnxffdkBagFUCT5
h2iuzTiencl9yXNxwEOktcS5s6fVAvt7rWwScXRSPIIaaC3HBmDBeG9FJ35CdvS6ucfoqrhxCOSt
YbZXf1ePBZ4JTkh7v8i+Y16PaPbX6tPVHLoxFkBI60TfbiEpvjzK4yD9cvE5+sOLjxVk5FrYK4iu
K9/4jQF/riSXQm0e6nkk+q+E5S7xc2pUA3X0YfAIUQk2d53htMWeyPqbNNLHeAnVuv3vBGRZatz9
OFHqyH4CACNw7J2ps4rQ2VsBHbhsFmdvCqkSSY0YX+aG45AaiZncxxiomG7eNFSjyDgKbghqg++9
N00/8TXUNzTpvGnOvSUXN/7WhKSch/Vrbedip0cETWxagK4zjk504YQsiDWKIewEw6zQUOgLY94O
KVeY5JUXhqsJ4AxGBnBiht3EFcQ+ehIZOBNqeng7Ff8QXHSBMBSG3zqy3yAT6sMpTTcp3YEQvAAV
xpp8Rn1U3sXkBZUHSBRQf4oJ5DtnQu/5bUQFkmavOVuNdL9Ouf87fdcyhWjoTtGA4iGiA3nu+8+G
nFm4yNSazY7kzf4DAvc7FVJTvKGSgsVmUJd+hhYn8bJEho+m7EatFWXP/AzjdFDpGM3O6Z9o6ZMP
1f9zHzbjQOOctLsmojHN6OeI1LBhrkrHxlpy4eB/BiAOZyvYPl7NilxOcm+IhFhxmwjZLv9hf7Y+
qBYTvlNrqw8ILb6IQUXv6ZZrvKnkH4WDgtfrzdVCEDpvBHaAfDH9wa9sxJuEeAC6wUboY4LHAQKf
akd7ao4dBZJAZB3HYIu9ii/BJkh5Q2Hh28Um54qhkaEVue273zfHcR7p7lLV4eSx4vAjZvLqmAnq
yqsrR4I9mc83D1p8hvVlwEsimWUeeAplu/TkT5W/1T1+4bAHjjXiz0cqhGg7ZzPiWpWDraIDV3F1
nY82Ecw1SCbCaniPnerC6eF8FzjJZyZ9hCgOKK9tBLotI0irw6J2o6PBhHnZOj52ES5SHAqYHXpJ
HClda5eh1bgAgl/8TLm1i8vaeTr1kEclrZn/W6Y0t7sG9rTDJvOcDX+9GV/arFlnNKqTdqSfT909
1R8RfSvf7ZfD2jEutg5BzH6CJungUhOQ+8tuI0b4qyODlm2s0c4UUNuSjV/ZAJRGmAXoXKzuOIFF
tQy5duV7bqiuOplZO9oaGlZqibFHRRWAtfA3wpwR8W/pThTYMNRjMhF2htxEjeArAl3L1kvihhdn
qzmxqRk6ctq4zbCB0Tmo6nEbotEcuuJNr5kKQEpr8a998Fl4VQR8hSkW0chKCRWwABPsBdmWJjPS
0avqFCeAt4L+1UG57k/6NuuudEP57jJfe07aeategbl01i0EnWgUJ6OQBzot8ZCtUmh94AwlKucZ
oXppiG1bwdaj34pcmc4N6QrVLvbQ8mBu5JWb3eI4Fulb5VXPowE/2Wr6/4xgym8Wixnn/UGjaRDS
m+K7PrhdjLyUEYPEtFPIR8FRmZmfuBwqYChamK3GCiiPtfVMKqD4QUREya244U5BaNCuSBMcUOiQ
qmNGKTbBsFVgvb1tGWu4ejpBMgl9o+mQW+iYUGn3OhipkiFSRKaex1RtZqfu53HFsxL8kpH0334y
IDPdIfumD0FnnFC7AWJ3yaiGJjvw/HJaldleNd5dPn3EVQHXLTr0amJndDQR/FNr+yRMoF6Gxq9f
+Xgs++EVQLy1oyr5ee+Xs98tzOHig2wgR8MzEGjo1qkN3ls5UxSdMvVnH+5wmqORoA9jTQs3S417
Yux4QzW6eDqt7NzFP28/OyhIynqfqLRc2uQ1x5JPpavAFFpnrXWcqvS+2wTUxUP12kp8XXn6aFTc
Hh8dEwSfmT9NLzO5y5mXdMgR4+zzlqlHyb0Wuj5v42AcFAnOQn+EOXomBAVH5sDCpznTXLVuw/hg
purSJWAInq2/K+vb4G6F/12yxnSIlSU/SnT2IXDEK2z51RFRRprddRZEnDKY7K9hrG/coluObDua
vCpwhpaeJJF+IV/DwySh5+ueLcIeNyg8ib6m1YZ0v6ySnUk32tdHZeBFA4oFOYVuVi3mvz5Expcv
9aEhMHDamxRfqiuulrBXrPSqXuvMrrnk4njwLTSYJlTxBaeiHrO9ZvF2jpEvBNg6H3hjaJgrVzlN
jGtOHxfXYYcX2cqxg9wzd9532beUYks/XEwS4xoDX8DEmFM088tjIpNVwWJaGuhqSnkx6TFyp69R
abm9uaaD7tL/tZz3AZ42ZzEXJnc5U2T3q0bbtwluOXPTwJwJR+ai6TUmFK6to3WJiR26XwT3uO++
p3be+dump2ONvsWhj6cNw7Earj4aCvSJHTAED0Z/LeRnJ7jnVsOzxSBDAKSxqAHzEizuMJ8sh4mN
R3++od9ACLp3pXiaKyBXIjiG42U2wbmzInuE8kwiJHcg2NZ0h01gZj6yAIJXrWZlcLNxWZHliJ9w
pzFfrquzjc3XC/45fICxq/i02SHWiORRo1tck4Ftr9XIzfKx11xDYol8nl1UMmZp9yqBhDxuWycB
BMSJcYW31UzPM4eJKZOvgB+68B8hk0+fQWJMukzUM5rTuiPXNHa5reHT9qarWMgLO1zFBaDLcg4u
8MxQW61J7AkyoPmfgJxnqBlH15hkctruwNzkaUZW147nOH0zYRzQ/p5gIppXNvNWbpiVrVgMIq33
tfiE8akBDIo1fc+Ey4lHqM30Holh4QhW5+VscfceqrXtM9XTTj7NbiZeSUZXhk6tXhwoLkMaMWqq
FrB1FSi7+BCMuUZcMK3qkP5SzGtUHKAXPEXFtXEvJb0njxQUqaO+nS+h/xyVZ2zXEXel4NgGHnzU
YVm3rxG3P49YHIQ3WrgS2kymH0vXGKx9GQZoG6uDmok2TXWWKigAxznNmYYJ5XzxtXOYdtchIc0T
wnCRYXIrN327Iw0ZoEFxUxtiil61w+sWwu5LWUNqwmXh8qyLTcZwiatx1VSLFqROji+U8y4SD5V5
ZI5X9dia6aozGlR+X9jqlWluPCJizN7DDVDRHEz2SYfROmKrJfGnX5PNKfNrjHwPHgq1BVp5Lsp+
FAO0ghaFfSTK4KCRfqOfR6DoeK8Ltl52Rjz7TPqYId6B83iJtqKDMXekQYJSQjbIV9UYcgNptUSx
SWOm/CRgzKZ1ArDG25xug/Q0UnmWpMY4cX3WO31bj8Fq8DKiMpmfMXW3x25pQ34O0VxpwQe4FlPZ
RnMIdyV+Rc5QZgfmwhAoypGTKgt43z/GiPecl1ip+4q7EVONxMCtGA2VM0ytLfAe6p8pMFB+MYwd
R+yyMBSta8IblsJ1VLtd/+iqe4z9WXtxyMhVe6lV0/OC80CD0/aQwr33aNFo6SmobFHniyGhyVlp
T42TLDWm1W24gfUqULN13OVTZL35hNoZKYk898m3I0/hzXu1f6b3sPuU2tvoHDh4BApVj8+iMJ2F
RRms9mEjml9CLyEYJ38u0fXYzntTQlLbxTRzazovevRw/pt1IrgaECV+N2Kvp0zjEhYx6gDuerVx
7hExz3SSTB5F7aebKSJcLW/N73LiZv8Y6I6wZiqTpJviu4VfNpv4BfBWVCeLN2ggggr/B8ZUTOz/
HTNo4ejsUA8JvJDpvFYFrtdl74amX2peGgMwmslBMWqK4LlGAl0T4pPtI1F+OwgZJX/USnOubtoq
1WsTcsAqMh52BOPeYRJdGf03veRNhdDEpbbV2HbmCUhBZK9lSMs8QKHPbqLKKfgUjWkdfHfEgxOV
S5PrMCUe4poIIaFGFLBkTvw2EuUgy2odcYwY9rlutyVxpyN8lpSL9Fur3VIIJADjVSNml/hnz/2w
h7VHURlvJEYad/c/ls5jt3EmjaJPRICZrK2VoyXZctoQtltmzmSRxaefwx+zmAEG4+6WJarqC/ee
W3YvmKpH4tQk0J6NV11yZLszgmKbRNegenZ00r6PnMaKSKd7Vl8S82TEJxC0sXXU41vT/CbewQCm
HlFw+ALXN9+BvnsaUZzDgER9gGtEy1+wcavw3OSwtjZmSwbU3aKC9b1fPTy0MGWC8Dxp58G76fIj
wRBuPBvuEwP+JzNEjntjkMJR91FVt6Q6TgqPx75HWOU96pyHnNlE4Vz9bjwM+Wwh2TYZcW8TZ8uv
r58L+o8+CjeKiFCjpCFgI2sUyLF5t9tXxE9IGz7y+hWzfcwrietPN7nl9Se+RJ8GedRP6NyQKzNY
iP0Vfr6pvHjlWXAt6W65FPVfYL+JwH9y2n9FucrB+SQsCwoOdQcgZ5cwJOlBAODODcnuHqadA1Gl
Q3HHMHklWSwSC7CYWLRJhWuuvKTaRiawj1fAgRX2exOoFQ8rYkRaIbp2Ht6BfOxUkrAxfXFGNMk2
0kEEvoTwj5m1cfPq26l8+CDsQ179SaszyJtAEYMLM5sSULC+Mn9ZqKbhIUJnHYmDQBgKiRQXAtxn
sej96EnR28GoYmQROo952aO2qLcpQ7hTC9w+8aK2jylvma6/9wb4KuBGfOPzvY/RvkZL7emUeMwB
6o7OX2NVUT93fJATEtzAp4yhzJGIUm3eZfLyyo8ciUn2kjfXqNxM6X7go32U/JwBreA0lM+YGKHv
1e521nBn6256DusTPFcSA3zkIz/8ll33U/MelRQyLQJpVKI4QVgsUgihJN6xvNTeexTW+pqjsQSO
hJC5Xo4TYiLg2l9R/+Np73IGfgGOjr4hGmAgxA+l/TFjjLW9N4SrUvuGKIHdEkYQsyxqNXa3x/Bq
vNLOWT/NwTmBHmkvYbFgqtiKm5c+jPHaltcmrN4K7M0Kwc7kfKYckIw+IxJB0WLShKCPLmjkCCZb
2x6/Y30utPzNeCdGk0i3pZtyntEVZb3a2X0FXOs5FlQsC9tBRNIu21m6Sm6dksS+TueKX5aGjNCU
ID/WEgL0hSh6y1sLqj170Z26nF/S9I9By70S7yLC8nioCHQiboxBKLgDN7sReA79y0uJ4hQ3vyQS
Jvwz/TeTL0KTYD8CguDhqSD9upMPyd8fHtgU+BJQEFfuSobXDFt9Va3jXD5Vzkel0+ea/2Jv6wxE
Q9cs++YunXAyAp8yLPRbXIhcySZ9bn3PzHurbfQJCYD16/Xflr0p5kCb/tLDOIZ88aXiQ0OYpvFp
Be8DfI2OwZY/nXXERkW8C6pXK3uJ5YZfDNUgAmDHgHpaH0ajXYlT223setsmx8n5KF1tbVrtk3Ta
RY4HfrYw4/1vpl1jiQ3ditTFPL1HepsgRDZP3LOFMvfByA1S66TBJfA5zG585NZidEnHtkMgmdO5
A7m7yIWkLM5Djn8wBxJb21hdTELmarPnrSXAgg6F1igNv4qULwOYDt0dXpsYmUJuguulzxkuo4QN
oJFBXJhnOwYJH8e7tE83CYCZbnzlRaxbdDO9fLgw5cysuVUegXwMgLMq/bMKHy1hDiqyHhmMMong
ZomUYoDVxC+FWfy6wlgaSKI8hKaOx1p8ICq3syIkwYF5pBl8LiqKquERGPsa6loRolBk7FPyEDJs
RTpA4blLLILS2mmlD/5qbkhLuOTzS8NHdewM+xDQOtH4uKUzUxEFIqCRfdMI4J32i8olyK8UdUB3
uwzlFpUz0xyfEsyI/mMaVuvRG75SVkbspQgXNNjhPeHT2CZasc3M/KslRaT3fwlehbNj4gqnrdM9
+gmSGAdyc3yazIlxmAX4o2y3DVPMLDe2PqFfJnNtCU/kW8PeH80qzM9Cm3aGouhbelisUtQFAS6t
GRhjhnc0tQjfItwQXDmZtdENf1XYDvYOlFBWz4SmDrkaMmki0qGIJOcr9BknsiExA0hro97vgth4
87GZFqwsdZ6IQkSU19kzNv+XsBnfjcI7NjX3RyU+Cg3JT5YFRD0Nm1Fx26YuI+UELyF+LLY+l1bh
yHG+83zweVMij6cVoq4xDuvBczvydBhrY8/bDJOHwyEH9dxX91Hzn2z8TV9OtGXkk4CG0nQCAfHs
Ms6bM6KCOyPYULGw/JsChG5mQ1uuR4ve3brWSqbTf+OtDuhhX6cH0AmnHm1EzJYorbJ2NvytDSPX
QQx6m9D1kcuHV0tTr8yiHqVkJ2PW6GCT/HPuXFPLghE4Nl+dWW8bXRnsPyfGmqy+lnlKa0cviI+k
5IaIhKCn0sGiOlbMgh9nhzvM1dIs1rWKn0B8BeST5LD5GsG3OT65XF9Kb6lHme6Vg7xquQQbG2BO
58ouamQsmWIUHVBPRCEB8xNM5UGhXk1ivK2MbLH2V3jttGwx4T1IgHMAWXiksX5LSHofYkYYuNcs
SsbOiM51x79v0m74eEhVmB1geP45+bT3EtLvjCG2WW5D9w3AT0kHa5TTfPUZEKNaXMZxwgOhiYh9
MGtPhWklmYPCbdta6hGbd7YsQ2AQ3ualF3+b1BO6SM/9SmTwY6bfuLx5WibnX8oQrsvVa+1MC3s6
OlTyNbrg9FkOrwEqofLT8lmWxRoHqU0iGgMSECjjlD73xEH4sBpSRXmE1EqDyO5YOIu1R4dQq3LW
jETaEjdfGnRgXyT0dpuZm1HeRgTD06P3TuSr4rWBTrivvX2OGaUbEap4X0N21TLJ1z6mIq9Z3TnL
HC1lx5wsifhKa/HZQm/ppfIk/Flkyi9XoHmS0PsctWsJPWqKZYpJLeRfjPHs+PGSleLWTMDicTYR
EkTqNEMK2wCUb9wBoKbkGPjxYXDFUlM7OHCuiJ7nH0MEUEMmVTGmtI7+GTUIJdG8ockJmAGuSXlb
bEy2QKBgfca+PqvrQVbbWL764yH0d0UBTtnYJQaYdvOCuOjaJvpzgDuOB812hvdhznpNmK8iXXLK
/65qHS50+A9ZCmuhim6ajp45vAUTe2AD8+EyjbB9PLMG6Q0d2Kr0obfln9aDgMYdUPvytfcA80He
8ySxLe4CSwvqF0Cr6HMkvwATp60RX0vD3sw+uGFZFmS2OMnFDhk416kHjxNCEPK/lPmI3bHxXcWi
WxWNeXPYuOF5GClmlL32wuowNUCcXTIHsEAP+ZtyxoNq8CNNjuDjde9lvrE6WhDAQ69yVvWXfnVk
YrlOZ9QDc11YWS1RKHV0ddVnz4esWEfGLGHYov63mQg8OrOBkczN0v8pcn+Daj39zeoWwm52gXuZ
m2U0XCsD5tBUEI/GCcutz1lqRSn+xLtFEq4+YMTk8ejfPSvax0AkiIGv6mJVFa+dZR9RMW5Qj6Bq
BGfKW094Id8QA1k9VTZfuHkeTi9DijnC64A+1QqZDxVBfMYqJJ9oVNcCFGXfVT+Zec7Q8wW+Wk98
C2rHWXXSPTBfVDUNf2V5uyilrgkTqHRiNQ93RcaDjuVwnifHzRFHPbMjZfSQJ2AXJpuqP2tsFsub
ll2TTiNyEiAxd6PhGuvOb3fCN/h90uX8NrhMy7N6TwgiIGB2h/G40+wteV84NKW/Fe6b1RlnEHGN
xigbzdecGc5egD7TjEo6fcwc2b6EYjpHDpeAb33EkZo0d4jSnWXoandgMJDvyVUh+CpkJ2hhDUu+
rPCcok9l91mDwg0L483KHoIxjl6RUQBvyRTTLqkIrGNOPX4FCPuCZtybsj8bWA/h/a8EM3NWCRAO
aN+XPji1RGfQGfJAJzFD1jrec+S+JjGDvDxxFlztQbu1qr8QJaNI+3op3e5N5PqxRRRgMz0UIxA+
M6mQqJ4Qzenhau7pSwXBrx42YSMX83BBRWrV9+LcZCazrgHDEp2ghRwUFT6KTr1GWTTk2osRwyzr
fa278f/ETkfmn/zxKwgXTqkf7eaVb/PK0jDzyQAqSxLFJ7glMqLZGoClg6iLuopYiH6r+/G7y5Qy
NSjPTT72SmgbFx/Jk+tgXWP2kzLbc2GZpLZWko43tIshY0dJ1OJaK/KN4SFMNtc2TyqJAR9JSriu
JRkNQWhlttwSdAKXEh1IsTBhbuLPWRpEE6f8qfBf0jBgyJlxMlZzmKSmkH+rjsF75id7v4g+hwno
G8eLN1WXxLSAQbI4SJ8bLMNW9RC5wIvXcwsWY0OcMOMUyhTmyoFusERAzGE0/4hceY05mKfK3EfF
7P7otmGf7Qc7JlHR0Sq+FYwFRgqOzstxt6JLsZ00Pbq2vm8mUtR9CFxxNuuBCpbQmdH4K6N5i+ZA
Vd/3CUtxvDcCW+V+6ImwqBR6CocJSPWnevyCAdSuUIlzmOXrsqa3HjuCl0lTdHmRfj7cxlTuCund
87q55D0VQuyA2yuWE9KomE2zVuGNPwxsTCVJAlXCQ6E7DKftaJ1nPQ9vGb86Xrwj22SpWQ+ywS8J
2qk+zYCbYaKBJE1SQlWzwZd7PwVlrt0507dRS69XF+9+4d0tW7wK28XYrRHqq44KAa5rdBCxIDAG
Luke3doBtS8084UDBy5C0KxjBER0H/Pn0+Ak6xn1zhhGUOMKZ5Q5NS/CIcax/5hda+SDlI35jMxk
zgEPeBnzDFvTpARE7NyZcSYNRMy1wNvn3v+b6CZXVDXbLvtOtXzHZFYx2NQeGsAi0Z881sKob1Aw
zYjOH7GsQXMbXr10PQgOGV9h4LB4l932L7NwbCCjM9AaTlTkcUCr8jYg1ouRa5VI2MdZAI6OoWru
Ia1yQ+pGiVJ9hMzQ6ps3MF76Rp8HvCCfTf9dRiXfk9OEtKHHPayzsFNJf1G0jP99GGytBwcoAXCT
NPih9LU/em0Pjpwa8Z4k+wAkNPXyhl9DaYq1Ms81i2rnK3BwejKT9aPF2FwqgS2A53qRJR80L576
HExuGpQH1Bpa2r1ngMgD81mX47EQ5b6oypufVRuDFXbOa+owGBHmyyrpEmI8TJB3Io+1me7OCsb2
z0MvgA2KL3W+a9FjNuFwUYcsH3dCqO96XVG2GvM0goPQJE1hntFT6aGwMHaS7IN5lZWv0ylcOTCC
Q+YZs2GhyPSbjX0oGplcp+BzaJwHPhsWxrti4MOqPAhJtMI1OAAJL/O7xaNTKd59/nRTAVW2Vp1x
nP+OwOPADPUbdXoBlat3lj0jFFjsGWeKn/75nb2xmn3Rbyql33s6Uk2gDseZabAwd5eO3+xn0xYH
44QakzX+P7fr17L5ko/EZiMAXz/CzQDbUFF5Bj27k/BUUjPzr6/MfFGz1Eqd4HNywJQJ3rrRoW8x
15V9QlF9rymjatqCGVVGglbkVGwreS5nwTmj+AwEXodiogW1oGHIdy25QpXDVAF5KF8Gr8Cn8NU6
j1ywvNs7vCu5N92QU0RmsM4max2a9jr2w+d8ZgIgQRnNbgkmxmQR3kzcIheTiI7ivYyLm+C9mlH+
rrPrJdyu8VWxpdV5vWbPsAwC6pCnOyt+hNUMdYccLRdTuPEKB+kr/aWRHWKcqFIyNIJAcwxn6Ir+
Y4NGiJ0KUxPjFGqhoExf0E9mIAQdqzvMz39PZWIaKyyrHoUZWxGWo6jmNpT/+EnlQU00JSwEwOS2
KBdxPyT7FvKpYP01Kpbz7GKKvcYXzqaIxcDRYBxXEJOQAmuImXF+IaUB5yWLk+B8UsciWLbJQfWg
vQE118OJmCooZO64V+Xa7U85kGpsXlIl/tNY4WSOIPw6NSl0bFnY+PSLCq8HdWpHZT8iZ8MKUKl1
IDajjfOPM+u3MU6p5pzDGs8ZB6VwvLNbsHmEvgR7MmcVBzkX3/aU4qMLMNFOtbpVOTu7YBMCwyro
8mKnQVrd0BYZLK1Sf/hnsOYLXdZivk6oa/USsO4b8opTDBAPjia7kjy75/kQ8JhbpwOJydPL2EG8
crzUWYwe0+cQmWIyfVXfYspeU/DRRWFcKnSLWgcYA6pPHJ/ChDO10rbWcDfwCiZiWPYOs1ve6wSY
RspBqYy3pDE2Q9VcRHgKEbSm+5aTrwsuBEZURCm3FampPF5Fhxe6oloZ1z1LMjl8wYAhtWraDkay
bXl65k+rCNpLz/zLnSp21GwbgBvbIRWL8uV94rOeiO0eKdOy8WtuStArqGlXyVvvNVBd9QdRWO7S
1BiHVBm0ILjLI1w1d9oazEg1Uz9Kgo8m5BRWp8EHQSWUpbsm4RapNgx8TUCq1piwRy42rRlCSSTt
MOapzau3LucwTBrrtUmBJndNdWGK9ms7gAR7Mc9Eg3TJxBfP1+wBPLnGI3F18HMgF4BZseRYcfOC
CeoYoDNH0J/TToOeQl3okLSuheFbMhQvtUoubUAIAfigfd9s0no49GnwQldysBiP1Eo7JhVxI6yQ
u65b06njpuesLlc1+eKN2ZxFmdw1ELDmOJchuoV2mmxq2RHpnqd/7Nx4UXPcBNIguB3laer4dGEj
mUwHSx5i6y1t8l9VxjuDwUbrw7opTwVDuKiZGJBKvEPDzmgs1HmN3BtqwupHsZJreMYc7q1uynaV
mNFR44oG2Ip//IQ/2QrrkDboSAbCwZS3zkW3nvyTzqsnz0kPxbLB65pKQsB9CWsDfGVIGBPnI7WA
vGuCrV/T3Op6GZPSMDf9mecdujTfu2VwcVq1cd0vtWUgsXHxNypuL64PI4oPsMWRZf+FnI22HZ80
v541ZYsxEMypHGacjEroK2rifiVhDB6KeiMh2GLQrxLoRA1XN42Y9YzjWXPfOUeBtExr1+GPeZvA
w6jrgs2aB5Kl6JZVbXxUdG6l1bJ+Link/ZaWsrZ4GE2w271MXuuOsZosWQoREItiJom8o6/A5pjR
8ObWUF7tBEBuzljfZAaDhZ2HCiRrgmC1sV9UUik2ptF1ABsJ77cjricNtHWWzaFYzbkHoZIZgGE5
+kNZXEznoQKWzDmvIc+GT62Dq0LSnO7XhzRojr3MiQXhjFMpd3e+Mal5U/o+FwZAPzmvmSueW0Lr
azX8uoYNpzGWu8nJnzuPMh0bzNh9JAmnlZgY5FM4OtKwFt0brJlF6MMbpvUHk3yOIvhTajf5+oJM
RDyPyH/ICp2rf648TbdfprIhiJZVEcu5xtOgGkwR1xhxljEXQNlouIvahyirNwRAr6WLqrHcWKTD
PPWt8RrRoqf/hEcAg5rYKIXOX4oFXxMJTnrPfwI4MJ/rWGyC2cljzDN6nXPRjWp0m7gmoX8FmLq1
wD9oGmSYZKBhddrTZPKjidU/mxp/QwKAp0Vb0MvpihoQxF5n/tlGesBMIwG7iRdtqiIw5+Mmc/mD
KnH+wPwYqyjlVm+nellyozxJu2Zp4LmnTrN/zrrMGAhUeAR9vbgoGAZ5WXeUPlzAU3qo9bVVNn+p
RR0ycxmHfrgnGeCVGc/qIgSoomqdSHkasHn0mfycDwnGCdj3cCvjonVY//pXp6r2RgoYKIbR4T7X
6Fw0OJGup3a8gcsGm0Ce22ufoL+2yyEGv3uD+6am3xLGae+Jt9p5Noq5Lg7FX9Tr7E+abpHyH7vz
yRX1thhfNsnQnHK06SlhhJoV7AnCJi2wo971fG2bVRB3tXhfqL2WaIeWIUhegyMfm4PoEeqmDdti
mARU3k6evLl4C6a+/ZVDtZB2srRnIXg8fvYxxsy4Jns85TN6z2AIWUVFMvhwsKffUSTvgVEzNYCX
bPRs+tGrFmqNKnI1GdY2U8ygFDXJWMLfQKbKxU1s06qf74KUyQM3NIl7s1drAnMSsCrQYYUNyttN
073vV7ZosZ9emGg5036qSYZOk41hu+cYLUwk231fNWcdthMewThnBNYpFHWwNUYLh36wbfyCLD8H
KTE4ZoG+hzyPQiSb3iFg6CL4aeXjsNlP2VsIoFr5LBbrNMQdwTVikn/QyVsS5s+TTRLL2PVPMScz
EMKFFHBjMYToFPHuLR1Cjtxm6FYO/VXaERZW97CIEGIJ4z0Q7gsc3TNBRM25KMyDKqJnVb664CXB
eFPQrWZllwq6F9ijNr7Gv4yJvF5vKdgo3sVqToECswqcAmxEo521lOtSIEdU1DO1PjC2aIHwzLh7
GMllkwD2n9cvTfsUd+gt3CrayrIAMZVG23YABcfqSHcClzN2MZbOZez5nXwnQCnU8hsoiwk33xKm
EEwiqI2K8mciLNUm9J3m5Q5CBSiM0rEJTQTdVd4Hs1iHotNgxyhyOh+zTSd6j+o1Iyai95uFsOKE
YYt9SEZxyvBJT1H1nZEmppVkwviCc3OUDchpNCRp8Ty6fMnNUV3jFuNUhiYF1x+anXRfMC7ZFdFu
1N2/yLEROXRM8zt+Iu0SuYx7eNUoMPqY72JSszNI3pz6W9Pe5xLOT+8VRPnGtvcmDiS+zSFTsNoY
OOF+piQmZ3omM0Fbqbpb/puk/ntJrtNBAMZsPACdIDx7WmS0Z+1SnxM+U/JWCpONoeQBLr30t67p
MVBW461LfWZimcbrBsdmWQQhVh8jQMWB1MBB/21Ef2B1AucD84Ppy13rVv4ySzxjjb0vWfVaB9XO
vASu2uW6vUloj/vkRbPfMT0U7Xft92sMMvnaChNkI/4xrdSFNQ0HjDZDkZBjqeQQgSRF7K//o+S6
19TQbWQ95zP4U3v4fr4J0arVIyVDXIF0Yp5UEJaRNOm6Dcwv9vC88dnKLXc1XsIiWQvYgnzYGU4E
/YTT2OhQMA2nWaObAwQx73X8V4BZQLJ4nEeDU/A6hzJVDswRABazr6l4WWdI8NzWWQsIEJauntzS
PHlM4Un5dTFdKUUcs4RhSPd2dWR6CTPWNg6oB6wkMn9HDrgNyl3EpJIiKdqXzv//mxfplyR4UIku
czHbI3C71nsxeKwSQds/jaRRWEO78mZ5DlIbXEvWLLCj1my/x6a/EYnKpIEb1R0guoMF6BkhYcSa
0Ay5LgD4Mwg+RNAJkypaUr1gbcCYrNDXo39jCEtoGikvOTrAPDwM+PHfPUSffUV2Nfe8M92z+BQB
KRhZ7CcDujC85/j1DBTxzMEGXJtjsXSh89lW/RurtWeiZUBYYVrLvpRrlpjbqNPOrtv9maWG0RaV
YgSaioM225SKCPpnhyX/rO7mc2xtsoxuLttSxjpDfRojfrwNkNMxrbfmZJNhm1tegeqBEDDIE7oN
gcjz9rABPqRsiZb1fmNcw2Xwq7nZ61ife4103hkh3clvlYErAF8ugCKO3luJYeVJmlRzVhEy4Uvn
6QymUpi/MDuwe6TdZazbg45x3DS0577/8OrLat7KcNb2IdmGB0tI7t5i5xfxMdLb1cAy1rqXiCGr
9C1EljiDsgwGCEUfI4uJkWzio4z5A5gAgksp41fhqFOrkELR29FmD+fpK48ZbJSqF0vRik2TYK3H
LcaeSUafrdiWIIafmsb8q9C8O5P1ycFpGTMN76u+AJkm4MTZTwwK3A6+j8xT9rE+yb+SZ0RNhARq
PWTEvpj16P7ShxnAeuA6VoemYmCVFfIx5A2qo2ShY1Rm2IbJiu7aZ1e2zSt66Vg5gJ9UxLMZrl23
fCYJdTf0EA7iQraMInmtUbHM+LQDyezSDXjV+BU/TUYzC91Eu9ZD0PM84v4MDP2F8p6anMJQ24co
avQ5A6U0LpEHmWesNXJ+PeLa6mejdQ55rc4O0ugBjGhq3dmhXOLmdYiLKwPDM2Dr10kY4bIDmcj0
kPvVdVaFQQZVJaganZHQJBF9xNRSsBz5+KeImG+fwCNGwYPD9iuo/I52Rsc1GY5H4RTDvs3XieI4
OxsupU5unWxnAxwLLabPNwc/V4Tyku+Ey5w5MM76dOgHFDh8gWJj1+RYCtBezVs8jWK0s6y1IVyS
xXJMg8ZGg2LTBsmtSpo/LTef2eftyEnCLraqmuGjzcj25XN2ae3LPNvYiB4DuWHqt5lj6+JqXUYQ
A2NiIAwW71IsAL+uEh9LT4hS0mLCPzyXdLYqaH6ylGxPzT1lAWP1aI/rolvEuFID9rLtr4b1xgTx
gKmrwTqm88lZNBd1STaqYQ/nDNyIgo2wgjwEv6NF2RazGK7F0OxM7dkbbAM7PNd5YzDTBFJsh4gn
ffZrisGRjNcdWUTFTNr3oCfUagmMBqYYebeGcfSN7osMDZQRqJ6mAmOPCbebeRNucCaIx6wZ7wOS
hOTYlikxBe914DEggXWcX2v7zmoVEi79hQcmY/715tp3bgKjmKQh98um72VE2hgfzNU0sz1anjiW
JHZXCKyZRQ5n8isX34MOJxcFKy0MCTPXjpF0Dvom1P/JIWcJu0nibd1usvSReevIEh/E7jGcWo0l
tnmmvEP6Evj2WQM7LqFWz1d2zn3SQZY2glMON4pSgQVbgcPA558A311ce1avhWLi2Kzn/hi6tkgO
Wcznn77loLItOkerJxTZyql0gye7JUHn6oU+pDsaXbaYuVq0Qv8Z67sW/e2dWL3OqQUw5nr9keO/
ngJ92cUMPZDwVgdEEnz9MZMRy5ys3amUzEejJyPnw24z88fG/0rJyKFp5WwIM/ovXPTmUwP8j8c8
XOkMGND5mWgxHiH0DBRsOQtVU8TJamVo4M6kh1O0iPu1HYBlk1O9RYyx8vTCgslpMIOsnyULOyYm
96ESX34bbSOAUj0MUA02TsehzEtP4DIAw/VgjbokLxF3SWnGF3Lhzp8mpJs5/0yp/orwMTZHIPcF
Zn5sqtaw+u+7OKKkDmBTJxSGlUOKuX0yRbKd39BGsk627imKTZcxHoFqrvuY99H4/q2UmX97n3sk
xEIAXnU6YdYshr0yPNgozXAbePA1TEItBwmnLBb40xDAJENuBndOiO18h0aqO3aEOTtp5EIOTK4y
YVHUtdNvW/bkCJKt10hjM398miBRVG6Mak5360x0cRX7K4zq7CRTTuKSkq6s0DrLmPF3tqSFE8M1
1jc8Ix0P/kCBYHG6FObVHzdYpDHtpMnZtB+N154NJKGRuIRYczkAElL9glNDCAtLuSaGaUkJ1U97
RNhfPFuDvDpM49yZV9O8I8jtiC/MGItkNTvOkBgGE/uYhryJdfZQZCy6llXp00is0jl10cSOlFEq
lIugx2LJVYWqnkIZtxQTj3sDHNdxrGMlaOLzjJJ5w/PDv/9bJUC0qWE041qguiwYJkd8EvPE0ktX
smAGSgXHr5LT7+Byk6yD6LXgG135auuFjcBCvYRwCzO6ESaAfruI3UfB9Rl7xbppQ8jk3Agdb7nW
rmGiLfHzJcBqynophrvJQphqiFHy0io4rer1UCfrzAbdAQ2+nrMyCeyhPNAwx6fWSefamKd7+uDM
CxM0KfT/DJLq+IAQiuHyHxM4oayzlqtPDbZNpskXPt4qYvxBUmJroVzc63lynReUHowExP+T+lId
mlZuZkb/usX8TJ14VVp0VSyGLFP7GofspCjWfWLAWmI9EelTEDdQdIsA31b937we14tGpmQv6gN1
AQmRN4DVtCfLPDt6DAwKtVPsB4Dxmv5fa+dLOVH/OONHqotzYiRHPN/cBsWlyphmGK531ivv0rVv
fsditO2pYRvHXMvO+W4L8TXgGfFctW045pWfPUX6F7/ppPfvIX7vHPwcLM95qY0pM+tYjJTeb1C/
xhqM0NYc2CbUIO90u2VAPZxdo2aC27/nIl8SUwueG5dylvxC7xCdX68YkiDDNg18Ib2/J+J82sZj
va6nuER0V2E/VrDF+Iw+IcrgPo7YXrcA9yr2nYBYu6HdRe0xroBjldNqAK3pLNrwElUBZdE1Shsk
zpj/uGOjQG3nsYmEmRKtCADOIUaU4PLH7DdMUvi2/HX2BBUw/7BU/qFNzqHVvSt1eWMi4WsD+9T1
zsEdtWX+W9jiGbowwPc/X9tbPvN+BP0ejSGIdw8vAI253qJ3nnAFOWP/3puE3071zM8PBGsoxwJB
1LFCpJwcyUKfRlKYcirqqd6ZzsRM0iGR0odj1mDQeaPHvKgqufgR7qswOhhG9Y7yoKnexBzz22Dy
9ejThXbUKritRUUE8F+DWtuiCFURZqaY356rwfcRix3K4lQQjsXceBGodUJX7RHlojEmyPaZjqCM
r0CFAoVzzWf/hQYd+VW/60swTlRJRNhwmkal/e6DlduOGRI/rR8+cGBRYrn70KB4Mb6ngvRasm7m
3T86UYNgTcfn02weLoc1miy4Z9QPTbXJXSwJXKFRc2IBEhQwZWFb8wOcdTNVp9UfWsWEw7i1XJuo
OuidmaFkBI3kH9x+9YsHFL4ur4HtQq9mHQ1tl1QyjCusTq6gCelLj0iAQx1pdbcFiyBQzaGyQId5
73T2DiguVQrN0Er6e+sxfK+EvtRmAUECBXLWnaaAo1M2r3wRJfOAPvpqkImXzpvGOZR27GOlcdW7
bN+YQJQpfwte8uCwt9/LOcFuC1RqZVnxQXPKc9OQgigwcyT3lO6xaYBPcA/KQVxD0CclQ4O5S6Qb
5CHFZ58SrM1fJ8jYC7qTVLu43Y76c9V/YaSCpQkuhk5XcN3O5pW8/xBc702jbi7/04tfMjJZNfXd
4dMloujVD7TFFIfb2cm37zGo9y8cjyby0JCuKFAPq3tDmmFyzDBKWkR1sLSDU+ocdYcUi9UU3Ypx
rkJ8Rh6R5EnlZCLM1D1ZIzlBIEHK6/wJTQ2PG0Ml4rBikNPEG4w5U/2tqd1T986nTjUwmkRFdncR
/cGRG2LUWkCr+Z4qYgDv0QzYuLSTIIFgn/AZyU0d/iQRZjyizbjrZ2Msagce+T8LEWt0CxlrcZcI
hzWQ/CJ4y9NeJBRn/rGUR8zG+JBRHguMO9rDsuVqTN4K7xtMAepYn0hjVpzIAa3OnGPWiY4gJIhb
G21qteCKnjtll8kyt6DNrSYuLTWf+umrPZ6zhdfPN4XJieCsfWxJCddXM3EeeLBjKrEpXWMxef2y
ldyK/MLlt0UEniA7Pdja/TrogEysNOujwwlRVjob9oh60LRpATpO6HBt17nBnmP4TSZ4LVgX529P
hwEp/hwYqVbeu2mZK4V8y+Zb7NbuezMXJ50loA/xbCWDv49cHpDApTirZ74zKLchil5cVxqIj4hH
9cAXNr+5Ppj/I+m8mhtH0iz6ixABn8Cr6L1IiXIvCEklwnsk3K+fkz0Ru72zPd1VJRLI/My95y49
Os5Y81ZV3UDfFNYeFapGbqYO3Cce55tVVTe8jJFwH11iLG0umLgNE5zX3T/xVZdcN/O323zoCb1p
pMeXemK0UjNydZtvk3PYGBiualOJV9e1LqFsfsLSug5h+wft+MW2BYvyorqnBg38P6akSO65kuw9
kUVnAQVFj8cthRfDr5PJGtUNHv787bgh6BmoPojhhq0Um0zyI7Qv1XthbatsKa1nL7ypg7Ov4eCS
NkwVGofkMSMdLQd/WSaYf/Kla83LpBg4WmcQr+Y9kNxMicRsGp09xDkEhkfICmf8gd4A78VOjrl3
cZqjK751b0TlhmNqAceFCNWJnoOPLt6bZqbs3lQRMHXNvTZvda07lBE9GvvwY6sTlaeh802gh8ht
ym9Db43xZKWEl2nbqcyfjF80xeVEpqGZQ0KVPizOAjufldWkh83QiDyWcsao7VEKcq5BLCboSr2C
eIo2duKvAHDmx8TwSUUrNgO6cA4+NqaGxSK5Yh1DLigTeqO6xU2CY0Hb9kmzIRZ1oUnad6Jyi4oA
8OBF/ZyDPa9D7qzA105dlUA3Co694fOZRmgcO4zc+D49mNkrJ/GvVdhsTJmciG3/1aqfKCaYxVXx
j/MuT8Jb6x7H6GJOJEEjQ9axw4Bk/MhyXlvHhwPOhAEWEXlysaS9HN4i+Z3Ck5+SN4tNa+5tGuj3
hL8BOgVVCahaTHsmWKReUNvN9CGjJnexlV7gJqzmtHhxYCuBqC+vrV9fRYtygM9c1MPac7K1jBG1
GTYREAEYDKdKv2Uf0dMzIRoR0Ivg3Ym7VZm0wPT8axRlJ1Bfc/mm3gTG4Gc/Y5Fg32zmFzLwD4wd
vtJo3NazvJ5ZywX86rpk9dbSSn8nqHTLZOWbSNoHBDxKoR8TWdBYKxdX6NQy/qlxO0A+Kptlpr23
XrDVjXlZ4UXKE+XjhE6qo0bqrH3I+5+iAiu1DjozObHuW+Tra/W3+5wzDvdWB42rmKNNIi0SnY0j
7tkFq3LSpKupo9j3r0VbvfNZ4TXQlrQNtL4ki7KE14ZL+1lVuAz7cOdMPlQ1zki9xh7yxaGM9mgV
eNklahGsujC+nUWi2cCpUl2n0siPrMeAE3LcRuKq++bL/3/4MYe+zR+1TbQdgydO0mbGFUmJ5X2r
n9oi4Ln57z0fBUDDcIIRNTynEui2pXGk/PcDCn4Lv3izY0q3AeN9q+99QJcmlqiKeMkE1EwDHtrB
U8ch0IXGk9YmTDBT+LAMqYZkL6CSmJy78Vk9AepPqfFxMOfzWwJpnACPSXdVH3PoYBxb697GDtJ9
DhjfVoE5c7ke0Jeq33zOemwbuFZs9tLhO01rbgdk42CMCW9Tnp5YFuBqpkcLmxXdXthmlzR42Fb/
bBTdwp2B6Pe8cs2ZBeYy4uTgjuOfY6dXkEcO0cQYiAp/SOTmAfHA/sNwToMTnvRguCBnN/tt4dqY
KMMNW0WygnzkXoJbWOAujPU5W2DcI2wHbbKKp7SGflsNEF2TXg280/hiyqUjoHVZJcofZeSeKuuE
amj0rr18y5FdWePBwpcb0YYNlr8b2L9qxRfAVvSr2aFCF2IQKa4zUZ7oi0byTCpDaP99Ukl3rops
HXLzEkfeGN/8nFVP8gS7gx/QvZUh72w/meHjdPuQprZFVc2e/6TYgFGZ7q2IfUxWb3QNywpIvGSt
LSJecRTxkMo8bLH5nUmVInxsrYcqp7jrMw1Q/KC0FfuhviZ6eW8H8UwmMjhARcombH4U1Spn6zxZ
FDJvqU1RpVkErHh/mDb3AF5QdDSLcNz7Cf0PQ6PSMI+CUpY5/RCZbx1yh9oTzynjRvUmRV7AYcb+
G4Vglr00BXuCamYCUa0tzoc6+i4prV9BCzQjRxiuoh7VEmVsYVxlpON1vE3Ww2Q+YxPziO2TGqVL
+Zd1Kgv0kvXdS2jt5XqAwt50jNYJxRF81Z3vHOwiY/cJpG9gxWiKjdvp+7Dpdm4qz4N/alp7M+kt
RIL+27Dzrez+jS0iPG081JyLRo2Ev3qAHd3y6BENShAf7KAJB5XN9zaSidaSYhkjyk7SRSEogcxv
ic4Wrx3/Av1JGDBbSFbsalAE4xLGQ0FOYk0ihoGrWjvXOtPr/jHPFd15TODC+KziQIXLJJOhdSXn
Wyi9jZX177Hg3YXK3Vx1lqZF9M64gc9mGPdjcdYL4OjdQZ+/x94FuYYBl4LAFG/JjPnNMXd+/8YR
0ejkJnWfUvGExFVQBU3hPlYHRQJZlL5cw8bF+9Twh+QOXMHe3mW4BNULmBHTEnftjy+R7XNwlOG3
gYCRH1L9nzElk2a+q9kBVi7IUwgfYtAADw2edYa6u7LJokXoMDxsxs5D05xCMljCCS1ADmm7ImDc
QXCuguJXuiI95Smy6Ruoi6Xwq10ZMTIr3ZVrvxCGuCsuCJO2sXAQ4VAj87nG+fcO2w2darCV2huG
LX+Obzp7WIthT6Ij95nLXTqzqEORm+PFy54T1Kw9I24LjRZo20J8STLpy/ivPamn2GcJAFWvTma6
hzLkwfpGJrfkRW29e+BpxD6/SXNUKvENS8PWPavfpujf3CI5DT4nvw7MLQ7ODp9Kiu+W86mx7gHs
hZn6mmQAmEGN+OfFOSAUHo/52k6MGZKxLNHCmictpo5P9fE1FQRzpvwGXhz/dWENY0tZCdSgFuXf
lZjuqtzL6XnWI6KtFlgK9BRvMsNnPpmk1dblph29X60EwzPA3uKetV2CuKaTO6c3H8kH0l//fWoJ
sem1jzLzPybT6LnEF5OnvVRcP7Uc12UI95csIIZ0ce28GWJC3U13CzdOK6qz08GcMssDEXaUu1+S
Yo6hjqoj6SYX+hrgOgfPtMox/IbcbRmr8JFO0WsMtjoYG7gVvZLtWkb4k/xXhelHBVghDPtVHF4Y
Rubx1UCTrHftPbPxDCUVX0+Wa2sW73xtyFuS+YcylvY/oKEV9GCRXu3m5COq5Z/toiLLRPGZ6/Vv
XhbRAvrCTiD7aGGOVfQgI2oYxlujhGMXi7+mIkOwUnGlMUAUWiJVMIfIT+tfj7zlbhgJrKWFh8w2
QBfMTIrLSbx0SQN9KvyICm3xZFLNjpG8OgPtrp8S6opE/UCclykAKmVRYjD3EAhpgpZp3tasjX3s
PocAV+sVtd8hJBeCEWLG/Ry/KqC+lTjvQdP+5q7OGFD7Yf7tMWSl2kmgM0oQcwhx1duG7LQX3d5t
ynNVNdshDnepdaDmVL2RpbvrggBw/9/0HYgDHM5aHtPy3QveWN6m5kNNLCKMOCq+F9HZHcUBgJPY
Wjv9ufMRlFjlO4GwKsUREWt5qOuUaWcWUMlGp5bojl7sdYL5Fh7ZFtEL69tiPhbuXZ2VRl6tSu4S
J0MkAdNINXMmqItHCAkVKFA9vuCAUo7pees6E0QuELeAft27+shTnyZ8Ill5/mfrTLxn2l3xpf45
rmaUk563ded3jt+ChjeJvrDpIJDCdv9m8MtH3IOyrPY1Q1+lzhoChiNWv2w93s0uxC/gSFJWk6f+
JWcZEg9Fg+rPhGdNYLY0Fs2lVGbjGXSd58plhv/TQ09RWwxRCijX8kxKLUcY2hzfP7jhrtERQOfX
wO25Df/y4uEZr7Z7suVLA/bZJFhDs6Aw44CenbsFr3UKPNaKFDnWczHdLHYVZXO3S7L25HiTcj6O
HhIR1/i2WQmlpAzGXn8GtRyegyS/Ee5GxGPHjGhU22Ybpx7ZghgnA/aDxV+rJfsZpd7goBcyoafM
OZ8vo5AYR31uaQpy8aQHRM/sGVQx6/BDVB1gYEzm1RCzMs84+sWXLfunbMT43p+qEqyGwaYwQw0B
hYkMIW7qBJz3anSABHjWlUl0grgNj8TcdjtzmgHiOXxj4/sQEAxSogFnbbaKxnRpN3edF67VHj3P
b0UMnGHeoyVYMEY3U6T8UvxVq1iVXxrKBHLrbM40OYLzmHy2TWrk3K3aeNsjKEoRM1mFdcX0TbCD
ZRMbPZEk1zOUYztWuOwgeGT0L3aKhNkYCjocwdy6zAZ/ho7DfbiqA78pwsNkljdh0Mjahnfxpr0x
Gt/IlFeTkIeQYsdE1K1Kl+5ETdLN9dts/vSStJgkwEedneIuYJ9trli24iqkRK/RINZvCmBTIHxQ
dxTJctMYWBSy0iA/Z1iNvrMnjflVNsWPZ9NSGeZB4MNoA2Mx9RCo2ASTeU21Aao2u9ES7I0g2YSa
j1YAr6LOfoxmnTqhKd8kPb+9p5Lqphr8XXKtOuK+dI2kEk6v5tystJoOQRMcb4j4y2Az66cJ8hgD
hr5ZUGZItn+zh/ug2QCcdMsfh5K8AfIYWvHeC+FsF9uGSAVU+uQ8QZMs/eEiuvxgjte4fuu1axxx
hrV7m2dMfeRVGVFPoqkralIxrAXBU3rUvvup6q01efViVvelvs4rAgXn+8TtrmnG0vHvbJRwgumL
sIFoSX8vCM6Y3YPaX48xhRk/vQsrhH2Dqk1CvmxZBSvIUGGhHSa855ON/XVm4FlkwyG2s72ZtPiH
zYD9Cp9Hiay/jLW3jAK8wR/goTZsRnLNMtBDLPW3bgtP1wzZZvVujXt9RE4z24xDqrQ3VlXOhK4j
3ZKYhwF8N0tRpgsqziGkLmLuQPSUSiizzxktjF/MasPO/Cg9a0O69EawlvwE8bCnGWXg7PbYobRb
7sI3Cl2UsaDVdqWPkt7lp+CAuY1dArVWAcgzogPtFkJ9VD6HtGhPfqGY0QUzjZ75HqDBgR/fcrV/
afyWVt1rGzFSAMNBYHAjS5YpKZM/zPl6emK7xvMMkZgzdFhLB81mSEaYg69ooB9xqQxKdKxBIPcJ
+vloa/PkeQ1fBxiyAdj2QMFuSTyWwZajQJG6iLPRDW4WHwa6SeyiScrHykdgIbBS8eBvNSx7jcg+
Aoj9T4bGjiRCdXWMsxTrmXOU/oOdyMowq7XmZeaitH9zG5gOA56fKb/hlpUdG8lr47fb/LXBXZ7z
YIDEdAnl8+VMmCQ3gsVtUnckYpX5K3b5ssl+1UYttu/YJmuXEA++TWga7rAndA/c1z4mxUgzZtVm
Mx7ZW4/hyOG7jteZ4cA8616jmSZ5fDc/0mDnBsgKNQ4ltllcM1jcFqHEvsnJQeAAc4Buhdjggl0O
KC6B6Op99RpoaNdOO6n+itlpiWWjXI8dg0ZjKXvmXvrVFHAwNefqeHywtQnAxW6x7FprPu8QWZJV
enigcTN8jjO8jTjF6h9+//dtImCl3soMpiwnm65LBWQlaX6mGyF+0V4Ir1qTbc98MH+vmyEDu+ps
EBuLtTjLooaNiJIbUCsguKuVaBTt7Ubd1hnBy153oGCYbE2FzNbDIxtvIc8a/TSoVCA007HRbvxk
qhXuCADvuo13M0NAxHqxBsgY+y2syxALxwJpyX6EroNW4xKolVG/1tBo1FjTRgYhbrEzWzJQ/OUo
tGU8Pnr3s8byITWqXIy5AdjegSIMq3plnNTyMtCGQ4SESO8ftodI/avsMILrJ45L9UyrxiGjde0D
APj23WNOnV1tejzVboSnoPpqcXSq0UifIONli6HC+TSaywQUgm4anw5Z4Vb5mrj+c1B+exIPVNwA
zYdbhOFwFgQZG2Jfqaum0xduIgh8PkIuxiYBD4ZcjeG3neQhonAnqQOZOcyREaZm7cQbTJerTD7q
wq+3NjxriS2hHbbCsEuyl6iMpwDdTuXN0SKxInZrOuZKywtwRQB6CMGvRpdeI8Jx2lRYwdiQRfN3
I0fqRO8ao7mKUhTkFvP+TMO4JpP5XMhHOVNJlYj1ov4yGLBjACPZfNWoF+LyVTcOmbOxex/PL8G2
p3n8i0X0awb+MkyYHGvsSEEhnABmvkTxZx14chngdZZl9zoecvbxxspnwEAvmbvboco+zNwhnY6y
NVqbMZuBecQ/qM232gz2fkBlDL0LCEnWW7e4aPfu+IpENsijE3HzEfhDhDWoE+enP5wKG4uPTyNc
DjljkrxqNAAQVGFd/qGXpEQW616mvxGKv/TVDcaDa2RHwjFPs3CetbOnBW8lZp8CqSkz9WV+yios
FHuE5TpNKljWsLxRSChgXCL2BlWIJF6G/00xFwjipJn0iX0ELEHqjxQgMhLllnAWsRMhD2q0dapg
p7feZhb2NsRJiOAMYz7vAWA2xNPs/dc5JlHdTR5eTi3f8/BLLk4sYZH/qgMxGtToRC+XBtiA6OEQ
l2QX5XNsx7sxY+MXOMcsTI/ebB6bJn7GJMcjlQ443HryKCMAQEHCEUE5CewKeAInfci7h4c/IfSN
zaapb22yulxs8hwSFnmiEZo+veAmSbPsC7PtNHwio3Q3aTXeahHiBul52qpvVR5oKM0mjdPvIytD
dG6cQA0oPeCJ4L/AAk9RZO9Qhkejz56JwSXi3rLZFj1lCaKb0EQ1G8pW33l58ZnS1WjMRGZRbMXE
iDWETJoXKFRizAMw4eOQB4evlZYCK9KrzigmaIKvNNy5PJJWuY1KCNhNBjK3ZXYjk3vo07DDVe37
eTlP47lzmPYoSexQUWLGDBaMKscFES+cev404tcsRYY8fwODmMY/I6oepCBiieMSxx9BGZPzrIbZ
T6YonEZR/SZju+ubiSX2IuT2b+Aj9fam0/KvRg3DdQotmVEmkmXMKdNY7kc4Yr5DirKw7RmDdpRk
h+GZqLYMD3aQLZyQL29qUYO68sqhhp6n7cWpLvv3QmEvmNmU/slHEFeCoS+pvKTOeZPF16jZRO4J
PgvU6ZkkUV5neno2MaQ1Ltg1fPRJuI4AkBoaXsiHSR3gjvGu4dXpY4KdsnQfGdVZBbyQL1MxN5XC
Y4ASbakgb6JxfjlT5th+DXh7CWbh2LrnVKizo686/6FV49qpplPam5cWqd5w99kVMMEW2p8u8t2y
oIcIR0SISHbZkHKH9RqI03E4tflnUzQMEXMkRC2b6mQCBvsi2LURQfFqVuBkW6LrsfRqi9yTp7Rp
odlk0TIXKZEOeyRrCUYbJKS539wSaisRry370ptckMGi6MSuZrIch+byyZrFsTY58mCZRkChGXem
FsbKjjA0FBcYOGdcQaV99onTajL919C/URckTOgakDv2iE4H9exFkzZOr35b55jrdMu5Ez3zrUme
KDhwgm0bN2PK7tQ0L7I7INKS9ZU5Xur/i3O5UtwuI30vE2sjYKss0qTdNx44R04yNnbJOyO9taM5
K3v2LpGFn0XVnnqHHaIHvZ3VPyNypOTZoZYICKnUwvaq+VSgFW4YdLr+vz7G3i68tfTArfe84cjq
BEPMevB31XDii5GW+6Sq5x5xu6mdaAdR3CHkCxzcivjMlOg8y+EgszMgyEp5pbq3Jt2RmBhZB9PN
KBKuoeCiNbFJ3JM3vdvoMcYvvCigiw1l2/avuJTVHdpYXFMMjTZ16W5HRoph2O4Hl25adWZUyqi+
ev8QFdnCv9UYVtVUd+Ztrfi9bbYKWg2BLPPOEVV0E8FdDoP1oNULFG5EJrbxMYzaKw49VAVgurW6
Wwwg1KaxJJscVhSe1kJiw+epp7IKXe3UM0rXtwR68Q34i1knZIFdvMVrmg31BjjUaUx/05fcRQjA
4n3J/iCH6+s9I1iauGITXtQErJaC6+YszStTULey5hK+/47BY+9MxxIXHZlsnL5ApxjVcDE64Uxn
h0lrnm4IpnFtJU+piTXYp8kCIRkjB1ikI0MYEGPgUj6NVMepFr3wINdRxXlZGnfKMDU4TFXdmlDw
N2N2xMKxa6giGkZSoi6WFGd0FLVsTp1grsDuIWIfodGf2V28I3Uh8xnyUheKwlhUWg5OBk2O1l+D
+GBk4QEnDxIbb+sEbLQ1e+VBkiqKXVVgqN451q6yvEdg4WqDHqSJZqe5HbrUiQiyGq1owfmadTjY
JrHNyuwN/fMp13GFGHH/r+pmxh+5aSwSxyEquHhJem7C5oqs1bVcdcLmLQ4DR56s7qGHZJnzy8QF
pTI95udoAZBf9BojqhrsRmK/OUGFfQ22ds1qgKXGuol5tTVqoabCyml53VXRqsukX6tnjkdm5VEK
qnLNH387OR6HnqXEo+exAP1JZ4qrftJLbQlvpqJS2viieRCH9T4DzQtQV9hAWeJuZqlcfcY9mVkn
5CdPsNXGPH/n41iy0MAHE1bpC+aKuFwllIUJRXaKzkek5dJDKDvK4KoRz/2VCcYEjNglO6Rs6fLB
ZLQskvDwjNkxSK0qq1Y1ky5VpmjAu3LeUWk8iAjFS73IR2urBjaJygur3xSW1+UFDioAjvLiobit
mB+nGp830ZElcywWFAXd0shQzr8XxJlrhaMCTOECoKmkE68Zz9g8Ikvb71iT1pdqQDJmymIT9tne
sSymPdcwIK0uQYvPe+36wNrCfmebz6oJKrEmUfCiz2sYCd5VSY20Ux0k6o/BFZsegwgZTAAZKMcJ
w26nZbTq/DVRcpC1IE6QQIn5u+jouSL9hR9tpzKmTAsujLfLESxkKbMyVtYeSwb/Uun5ilMWgZMm
9K0knyGiTqhr+vhhmXTZQQmk0Z4ibINas+Af5WHziXgeqoIFDW60Jlt7s/ZtQcxxRLtxdA4lWsmC
Y1XKty6DoFbFz7rrLfPpZ8ZPkPCGFDQO5fSnjOZoaaORLoSoFoEmuAKvoWw7CF1db62ZyBK9Ry/5
tLg/AcSHJEoiFsZ6kaUmc2NCMmgT1CfkyXarea8Gqxz2owNUP6Jh77noL33ZLOJWcQ/1pepler1f
+vAifBfyBHpwpdcZkPsCBKcLACTAAKu0iWMRH5zIHj+3equnOgQEDx3SfLZN7gD5VtCymrFxqZOf
Ajuxo/MB9R+ykssu3/OlzMG7yTVXAeTzpxdquQEXWvmVsnEw3gU+IdUrq8eVIUioNRg/i3zdliSF
0keWMQYRWPec/gueLWpw8uD3E2e3QqTVDAEM23pnjP8XsmOp7D+1nonMBusFccmxjvYca0v7l6Fr
DvmEuKfVR+PbXBAJTEZDbHoLPmjx7QAcDVHonrfmSOwHwaV9AlMauiXdnIlOpCZFfaz3pcROPQcL
I/yEMrsyQey4wRcXfSzKo6/py7AwQcF3P5apMophlzh8AKGuzBJIdpG4VWnFzmKggrIXjqVs84+A
VeXMnynnXVbfy4gMZSZimYcYcSxy4bYvNjQPdPvOzsZhrF+GWt8HLN9939pYNXph1dUbVEBTCjQ6
e6SDcx5xZgxoDgzsV5ow/4OvFwbQVt/8NoS9RrL+zG+7yvgWhGWsCtWhyumYYUCx5+joNxrvOFRV
e9oyOlsMUXGt+uijRYYbxXb4rFAcuf4cGsO/EWROb2wtlpueYI03RuT6nlMuy3gEV1p76ue0+SAr
p1m6HE1i/GuQ8uhcnk1uENBYcXUBbGnOA1+xA9tyHklZnZjrczirh4QSQj2o4B7xAbMIRGQAVM2M
HzSWLs+mx2oqTg6MYYCaAxd6GsW2rUFJUvja+pd66AOYcFbK1pjxYbGptFOgvZODsYH4Q6K4tzRk
uffIHwjLgZeC0ZJOP8z4m7EAKp7/jsEubJAPYam3ILIN5bLscPJkDB8kwBbs9FDdUswYvtEvWWDm
98GHYVVQ9BCu2ZJ/FQM9dritjgXnJUYZNmKYOnBoQLBVwaYGbj5VwHQgGtSbP/DBqNaFa6J3+Y8s
n/o2XgfZtE3BmKoHXmcgVSAUxAFTYeFLY9D03nJGtKJx9zHiw7kDq7fuvgHL8RpVDDaCKL6E7Z1B
BM4VIoILfiuPNnts0t9Bi9YWYW0lIC3UHFywqFLLFWqudWcbZ4NztK+RXTL36632xW0kog/SHM3g
7qTXzI0RaMuO7WHLGqtjzomKJl/hZkZZ0W4gbj1PFiu3eUcqygWkiURyhd71fbYE6sdNwZBThaXa
XOxG2q/J1lBb6m4YTupAyyxrl6mXZWNY9XGyu41pXvmfgoOlak8Kjx5dCnI2Sqva8tCFJWq+RUjK
I+ylLYsbpHdcorIloSHKznYa7T0GA14rdoXz7KRyN40DGgZYi+YjQhdrymNtsMtn5OMTFNUTAVON
+k2l2ZtgrlpBirvrPtUOIYLktqXhmj/NWBp8QDo/m/MvQojtkMrrgcUzO1cprJ9IPYiVVUp6EM4Z
YrjWvj8WYfSDvfTQk5wxLnvoGFVr/lOpCEXvr2urWnYaH3bfwwHlxuVJ7/s7wR4skUqQPzpjhyYo
XlLv0k+IWUibl6zOH6pS44SNED+j0PfTbD1341LV2h5JXUZVrXATLgLnxeHexoqQiKsaYiZlveii
HHvrHY1H3CBlojX2iPpGK8QxbX+o4iHCnztWw1vAwo+aoG33XcdhK95UHzA0byL8spJqOyPBEFG9
JHK4AUISo0kl8xQ9bM5S0Vv0aGixPbqkKxSWScH8ntUJI5p81UKqVPWG+nGkl9NRApeIMUajS7ZA
zzusTsMSRiSnjkI4cuvjcuG+9i06IFBCbIEJrFMnx3+/FN6+aiRBJddXbQXYgeFF5HgHq/ev49tA
E7Bsa1ZFbi+3CliinAcdBbCT0j5OgMFXGcuuGIYGokXlmpHAb2TAxoDF97gVPO9s/IH6gGUiWRCg
Q8wMMjdIU+m4ZPqtT1XiQ54t6BGY87bIYTlv+IRqmYN8bQ8aczuetSUGOnVkwZjbYt9HEAAI2uj9
XT/SaX9g7Meoqs1g36MXWagtEF+N/m4FbOasvj8hUFcYkij4sEmJzByKv/lbOAe/+o2sYpmY7s7U
0eazFrf17shXVyrRjK2vKP1RG4PrJDMRXTbfd4/70XFg1Yxr9VXwUkW2SUsxn0UwgfSpnWPRgy6i
jpTWScuvMcdxm91s7j275UJhYt9ENKISuATnVXNa+OGVxW2A+7I/jNbFsS4xUmC6zSe3mZauwXyT
FPALyoKFM8l1PhbERuMqUry7G2CZrnykVbEdplfdp16nPFEXuhqqqkOz8Yk+9aoP5mtM2eppz8iN
vxZC/YeJmVz739/iry3/T0fF70B+jqjp5dCfy/o+5Jx9jacfXaMFKo1ElIN1cJxTOHFe+4O7HiLS
ctQhIw+Sn8IpsTdimJz7Z4AsHK/onAVMkz7njlVi0zzBWpUazKmaEjV5fIwH7ydrXkqZA4CpTi0s
cTAWDF7kwRYNFy0bcxP/kj4hlopvUf2vMq41F1iH+GHGoYw2EsaR+qR1e68KtJKRFYLD2EN4EgGq
nGZ9VQvnGLYpWG8sEzHRPBNFHPJcv1b4wrcMan/QVoybDPkMOuep89atwOQiOqJR3Z3E5e2ME3sW
OrjhjnmIBeBT4A8vNCKr4T91U4TyqWWSN5w6rOqMfOFP9jqDJX8xhPgaThGIHYuZBCaOCVUASvVR
uht/VHUQVSGykB6j1MgEVXIz5ZlxLL7UjN4rJzagUOTMixume/0+zfuw/AlbFvZMy9iRNyRhpepy
5h0bEGuOGL2wKIkAPxOC/ZJ71dQtQFbKwY5WKsDUnfGqYV+KdYpVhGX+uRLDpvBh4drZNRudlxza
42CXr/awAKqlasZAXb7se0si/iKvIvJjV7v5Sve1LZuRYm1Oexuxp2jjL0anvhNw/1y7YRPkJWyb
c+dC1Bb8aH7WvLt99hEP3bvRyWOSFrcYLBU8JfFfIdCExW6c671M/F0tIv6ENWoWc35LUHmzJUIJ
XQzYlxLccO6uUBW/1tZng4hkSYyEyqoSOEZKaW1BUXcJ+XdV+KaEJW4D9zuq3ksD9BdUsN5orRWK
rgRlYDfexj7b5rCW5VAeSAs9wujAdM94DwuF+9UBw7H/XHSzxWfIbsJq82Vg6CsJ1q9rxVZU/o/u
3nt2cLyU6CJMchm/1HOqEaFBdBE/eym+VaswFwR4EQvRLkHjrQpc30ngbQgK9LVPV/uLdOc5/9Mh
VejMkgvrG8ZWjvIi/zeo4GBUJGTONt/GRLqleCkH92wOHlQel+80PQHrRAz2Dc5sLcYjTozwn5lP
S0eSLXbOGbaga1jFKqMJK8dfz64kYUFp02Jzrs/srLoup0akPbOrnVbLTx0nlXPiJhrmoCFYtGOM
y3RhSGjK/emSklCYdMAwnOHUjzypEETESu3fXTKxJXVsFRcHVby0RGRyEFqUYNkCqufSzMsNRkfU
2E3LXvS/aOx6AVt8ZzeDiqDQu0tQa7jwpLHLcuvh1riQExemCahGQG6egsQYM0AOBg3TTu/KHdlW
KK1TcNKheSrJH20Jzcn4CVFdu53x1sCWs9xykYls0WBdL5GMhR0vv1vw2YYZoez8fhHPZatBo8z5
m8irS2Nk1syuvw+4fAkV4PDjisi5FwrjnieM3l1DzaNdCdAWcxGgMEQ2LGtN4ZPm8Dt2j5IznTX+
GXXStrazi/p5kyncDsVPHZbXShtOVS02Ux3/lOV4s/NiKxm2CAq2cnjNq2+47jFlR7cuh88p/5lj
xg5J/zskz8J3nmGvPw3sDSazJQQ8uTSTwsxMGViC6pI1yGyd4TOvafFavpsO3B74NPx+rTi5bKM4
idntFd551qtTAnorK/iiu0gsmbKQZUM1nCDtRqWnJb6HgPzNrEnrdrThI2ARb2m4unTCZUi7QJPE
EzaIfRn6/8zMOISJBasKBV6mv4M8OPPUsAxfdHm7rnJmhzbLhsjbxYl+EHh7uuaSJQGLmAlnAy6e
MBqOKXVHy/IgYMbY4tss42NGqDS8rXvvbsa6pMZRE5L4Vqa7lraBZXxu1i/utFETq5HfvRWeMo0V
2zKeXzoWyXAU3qep58nA0owXAE6bFbM9cPtjMvBfh/ahxEUVz+zSK2uTMHnSODUoYN7Vv94wHnMr
d6ua6SpzcWMV0JKrjQzKvVmId91rrl5A/mPB5Ycr3fb3oYdgvibca7g73NLMeiouQp3JkNcMr6aR
HpXafDa3ZJyh/NpOEa2erNFyDWgI5i556sBYiB1FzqIT4CsEDZWPh89HqNDpfyWDeRVYpqrWJJvB
3/kwIS3O/+ThCJUEU2q0sN38MWntZiqctdTlAXHGLYGO9lSPBluJPztVkn+zx0zzMCLxZyhxcGuz
Uo4YAFs7gsGxZV5r7Pnq7dG5+Zkn6h7Z1H9VvWpHlN8pUTAGTxQykeeQtJ2mm1AfsODny23t/7F0
XsuNI8sW/SJEwJtXEgQNaEWJovSCUMvAe4+vv6vm3OmZnjYyJAhWVWbuvbZKlkjzGmqOshql5mZx
u4UcaWoSp4vK8YPUPMs1+rLOC4lstfPu1Cy9P1Ybm9clhd/KpVrRzexCE5sGOV/Ci5L7ecSrzeiH
GdrOwk2A0R7aDVo2o38uc3dWa41Q5/gjCP/mRESacNLv4lddJcEnN1mwJF1nDhWimlXeSmTfmTb8
SFlwbRuN5dl5Ulkh1eub8ip2nZYRLEd3JENBzZg3QNRe0XZ0pP4BCRh9Q5Qw65AXqBgSsuyAatQT
DcLchv9Kx5vFCV12RWqE6IGLpmrPM+bkXE4qfhJQEiHmqsQD0bOSOBQS0eZM8imN/8Ta2wABGnmL
60jkstGjuI+ESktWxk1elWdDWDyUxDws9ovdo9+EHJfDIDDgTkRlJ+aJ6b2UUwCSoA9fwpwYrG0e
/1VoArqSVFJYLnp+F00nIbrism7Srt2ksuEr7anvUldG9VeY+6iCEjarGVdWv3VITkuF0sZuO5bY
BFtV2BquXWr7TqNoHzA+9cSHhFL8navZjnntzDI7RvgrtN3ICUqrpgdCp1Mf0mgshIeRUDjaqaFq
HnmH/TG5p06m/7bcQrX+67Nqrwbi1bHOgWmCooPgLncs4tlhGuE068nn0t5EUYe40yE/oZ43TQs4
iuc5c7cGVksGbOVlFuOIxnDxpqP2/LOotAZ8OBpto77J2K9KxjtNEFxhZq41TgdS6gyHgPdeFCJr
w9VYlrTdur4gswdAnsaIvS1BgpCya9N3oCKxZvIa+E+0KvoEKz48hYzXVjdJMhLjCaYAw3AruGNr
5ZbPyk6ZVW/RyPFrXAsvdcjUkD74M+rAVYFA5ZCf4mtWSs/oLjYt90GXeGc9FLnZYQpEOjvfM2JT
Al3zhNSv4XUVfQ9Njdm22PTtP4FLV4wbI5yTWIZqA/ntKvx0bO1kkTslkd4u1D1yA6Rbdu2tPH5Z
FEI1es1Yhecev5V9yLjcUVeakxpMtEsa/KQHF+q3Iy1AHBt36PWWwnu4lmQj6slpkjT/v24SbTZL
GmRXK5trZXfEQVR+ocX01UeD2JxDBEV3tH52E/lslT5+mEaOavhP9EWSkJRFzGyiuhU3Ixi99SjR
VhpSsmhutfpRLWfUiuLAk7GPsB3U9P07W92hxwtKSCFS89LK3VtJ0z3rHC8UyjfyxDj/x0ylZyf+
RsJP8PVNdJ5mou01YkKGXjnFgoxE6pAiLzs1epgxMjSUg5OKFBpuwBc9kGBP/OjB8aWLflNPcYbT
lXHTdEaeTA9nPzh/JG6bufxVyOp94XYpz6hr/bpT/RJiWsa5IimaQ0ht3dIfC7gpxbNMChqWk7Tz
YrSsBe5lLRaJSvI6GN+qJdpHg71mPWgQoupUGLSYyXmA+5qAAGj9HSBrEKr77HUxq+1SDMQVCMtN
czA5a0rGPsEZL+i9RsW52cgOshl+DazuNM3qhEMqxkeFYYoBDL+HE9HN0bGXqR6nFbzNhIZ0kTX7
kYE4t837sJSfwQDouGwqV9WZFFGdFb81MTqNzeD1NwtQ7bNfdgWdt/FGVuV6bMfzBNjapvCpISpr
7Jc6RAwNFTKy/ngJXxrYtmpqb1KugMr7gPYj022aKIVUcwpBXqU+kjy6SGPzrdDm1HPmpmb5zNr4
zSS2pFS7N33An22Ox6FqfoJwOcS9COtYknMx3/WDaVuv3VTd1ZjXbKwXJuSUxi1jD8tLNPuclZ/Z
KJQzGycZnFVnsoIQgLcvy454LYoPWVCkihsj0YvTyKdFIYMbUK3U4v2rcWY5TIQ7+9xSUOF3AxMZ
Y+kkxTCZ2xUju0pyvIZ4XVF6WFO0l8vlJZDhFSTTOXfkYxU7X05M1XJL5ddAP1TT2c730ZtJK2FN
IOl6Xt2j1dn9kXZgutePH3oo/DBW/m192LkPN125nue9bFf7i/f62q68z5P/9H/8n2xNqOZ+XP3c
/3a7n59HuXncbrt5dbiHLprztVevLqfT0789/J985dNyWKUr3/VvNyahW99/+LsbI/qVtTo9n+K7
Pjmur55PPrZcfX5e9q8vr6/eHlrbOlrd74fDYe0+8tXN9zGNrcgZ3fzcTr68hlzHj6cvHnayf2gr
8VFAbl2aP0/G6Cs4fCuffAzX3zEzXf3dd4dmtd7t1s9Hv0616aVNdn2KfE4bHu6p4zP952le81Ws
ldtunk+esLF6zuvONbfus3OfJzdfefy5yz87nw88+TyLcvV0Tzxjfn6e+AQ+4+T+99hcvpzL37tP
8bni13yMWxz5RL421yjbi0fPZ/KAsXmsHlwFPp4/8sWH8ghO/PokHh1flX/F75CWrnkgfAjR3+Lv
3ae4eifxW/7Hx7kuXx7E6YZn9P9fmw8Ql5mvw6soHiCfc+LLPnjc4hHzuE49z1m8KgOP9r+v+Pm/
Z8w3K/khHiR/Q4W8PQ2u+BjxfJ6f/kl8z09+KrnqXA0eIT9//vfF2LrXPKPJ+++J8aTLFa8dvxHX
hpePh+ms+MJPrqS40jwujcvg+g4vW+mu+efm/vBj9/h5+L77c+MGEhfZ95/92t3xhE7iQYtL89+F
E1fuJF4C8SDEY+Wbu5NLF5UH9smci9eBBpm4uOKh8p/D6w0eZU8Jtj6RsLP6FBeBXyMxWfEH4sN4
jPwB/4mfT/99VMkVL/Z8EL+Ahgw6bGo3cfdP0X/6UjogQn2hbW0qJzMzoVNMa1fA+0WQajVGxzrQ
zoZq7HoYOBanOLKQbnXGwbL1apGZQ6dbLpDGZt0HIB+aJJPsVxDRlvfKelGl96YgXaP6GZdNVZxo
IK+mI9hrAFh+eDctDbDyW1dflbZbBYCXLdNPQ2k17mvdPGZICExivmyNlYATjIQiXGLzle12J3em
tzD3tH7iut51htnRzS9SVFwdzpOLnGW7JEPMN787edQgK6VXFBi4rjtOntpjaaTY7U0JHsXA4/8x
gPTnLS2rfngzxnqfOuVvxMA/Qq850x5rUvInA8xsAuMsjuvIMWLC5xs+tu9gWLFz1VN+DxJzP+bz
Nks4gE8EwyRTdRoV3251X58GLpmMPcJflM4VJrkFzNCMnmyQXg1jPzw56cUPYcLAEr8Ru/tsa1tK
Ch2nl0qiREFsWEWpk/m97tzsCNuhhhImbALhnSToKdd1um8wvPr5rZbkvWg3GzEEbfsjBKzdR6+A
pER/X9gSG0HgshHmGM6TAkXMqLHWIM55s5zPIjHOyjgxbskPE1UT5Pu8hCstKtxG3euF7ZnF8k0M
jerMbtFBZInZ2zKoy2ITUzjn9V9RY32L34kaQez4dZSS9M3QA9wEI+BOfpXr6l9Sk2o7SgiI2o+2
mCi2lR1dKtwGABqjU46kLK8Cr4x387IdAC4VXmy+VnjJrJrhPkeahPQIGoJiwG2LSUZM+78ck48q
82ZQb9FV7xfMdwwMEl7/cOZDLDboOAnfSjHi5KDB4AqFLIh9FNeT/QU2EyeQ0CvHh2m4lSnbHlN6
mDn0J/hUmdb0WNKDrFq/RGyQq58DA3txmJBsDRujBcC09do5e5W6YluY6i6u/0IEYikRQ39Z3EM7
5IQJVC7PJlqk6CvX5DPYovud0m23YZ8p23Z+ixNGF+ULXfhqebfs4oVv5fS0iKvZV/87cOf40MP6
O2nNK4rwJbsLmWhPyE7bk9W8FDIhktpet/Vrhj1QzpcNR6eZmxPjFwqm2oDa2t/q5VOXty26FUdY
TlH1afYxg31pLm/gqFy5w+PH0ys4p47LIVVzr8A2VtuI+uzlI8eBps/bGoVmKJd70V6oEEDAot10
ConhHGJIWaICaX/Rd/wr40ODBg39tpvr1rqF5CLeDGrK9Cp8TCbI8EG1Lsk0HZoxmqm+5lWuGodc
3YG7Af3BWzFAtazdqCNFwSkZPKdF2Ql9zDJXxACJBgrpfK9BPZzSXtrOcb5pKohV5UL+LR34Ht4I
MzYxMeti9d9CyJGZLVSnSrWZKX0NQIqDjYYbAA1JfPB1kVEBJhiznZNwJivLQ6qD58qs/MYLcRLZ
IhPtmSKkOWQCcZjvC/n0444Ic4ckLAohRi2D8RMvHEx/p/7AEgO4JoGJ8NnipAWd5mjUs/KOvHHq
mKYo7jrNzbzfS1W5I8IZEHP4pU4Vc7sIbSxejqE6FS19ov4Spt9tTfLKjqS0yPRnxSSLtiDK+xqO
HPmMj6JDd82pd+BNXmoM2PvrIHXbsAivJGFE8fLSJRrLB+tvKaNaIPcKQ6yUGl5LXdUR+FWpzsZm
Y7CTcROZXj3ToyeFCOuEDQqGebeX8v+eN0ID/0hwgDg2ukRBoqy0QTo5BEauaeUBfHNuGd0eSFZP
OY6Jofx0snvb0r2FZhviQBOcgnk/zIoviLDt3sy061cTWbtaK14YUYkhJ6Od7t6pw65n/UuN94io
rYEbr6eVEVe3ie+L3Dpv9ix1U7aNo09cJO5Iv9RgqLfUobcUhKkOy77NPsdxfjZJ/aqq5iZWqTaN
kbTcDqD2xjEZQMuhaxOdqI2YP2oqQBIUihi3Twstnrq5K1DuZYlray9L33jtiIqECq7VJ2jY5qGT
geZZGzVtSb19q1hOkIEkzaOcnVWLTbmkE2PO82nR2Ljs6laVOq8XtJRdlaDo54RPaRgO2r0kdSp1
dhr7ny2Vh4g1ZHGkH1wzbzPooBga9NRSO6k9bQyYIc5mGKFum75jIkWuidJg4O1Q3o9bJH/3IoVk
nWhwz834MjK3lMrAp4O1K9nUmx4XPObXRN0DrvZEA6RM+yuaQnKoF7CWw5vYrBJyq6ISpK/ZemJc
xNZIW7cnLSEQ47PJwTjPWwzsumq2roIGBGUAt3dIg9WCNyiqjGAvQtet8pAtkPZZpNVmxrmEiYKJ
rQNy0yAsIKBb0gmttTL7TGZI8dL9XlGEieNgwWMrgbFjiAa+AfI41YyTUWJoIe0QHNwGJKNfDOZG
as11i6cRkZaQWJgxEMGDScYQiZtrdjrWSGZ/oePlgKdls/GjGSXscFY5rJPPUBDFUmkQ29Gm1gir
mCg4LeSR7pw6P3lNLaBVxOuJ7K1yr+aBp5n2OWWJMaDvKOFnDZKgrY6UkvCBqVmz6mgHCFdstEkq
dFySfeYxXhtiBRSrQSV/zxmW3pwmcJlDF0ZUjy9P5rXGSOXGanQK8r9Y/lQgUJryLpkZHmn22qlO
iPmQ3G9nE6znJG+ZNG9QM29tLqRc0LyvkKTBCFNOS9q6hqwCGKTt0D9ILHahnbBpUSw7IIGRLyMT
wM2wMsHGs33FAQM6sqGkOTzVqE2GGmwC4oOwYNeyGb8jyGPrEtp8qVk8mZbkaFugvN97crIV3tga
36NLFYQzzNCYRiaXSe0OGo9HFVlJKGcWHb8skCQ8fmztUIfp+iMf/6ctjgsAdL2QByDS78T2Ueoo
Ctk3kmVwuf0cePfiJdfs+ljogytwdyHpJ4XF+dpEACicSng3kP5LnbZWsc0aKeoPjpDZYwDLz7SW
qdDnXA0nIeQRO3tUvOGnTRiPiuZl3bwVKiYox5Wlnkx4C+7K539WBG6kTK/3HZcV5c6DsDI0Y9ov
SUzSJH/USBkywCpL4OXDW6DcJjK5Ax2bO1bwVnCQKK3HEZWTjFRAcQNRrHMVYxkF0PyLSgIDHsHJ
mrwttWxtEtBGtprWRq7BzSPCvAr0nZDSVmpd7sr8pgHexTxbtJ9EksQVvKK91YJ4zmrGW86w0iWy
kPlGUdtv0sAXR04OBnoPoHUqPB61gSawQPVqdhHx3tGlVSHCcV4KR0haXGMhoWiA/2AjpLRBqZNW
GHyvJkjCTmFSZmkXWdfYv9AMjFS6s7bXSmcTs0JLHNyxGxHewliA22JQfJ2jaZm9hCyK2lvKnMtU
tW2HXoQdUo1tb4BhJ0+YIKBfVl+NmvrirSUkNxXjW5zDGoQL2iLxzVSRM0iYi9hN/nt3E3CZhNQi
Fj2LRb0Psro19K8W2ZkUfjag+DW6Csq5m8e13nyX0IQHZphGdQUjKJef2JiZI7IyEOLH5imYlkny
Xg8MdHoSkgLlhYhOUHgyg50NfaBZ/cW3oyjk3KbxNsyMo3pxUuxPFF86Xak0oXksSccAEliAkHFm
ykpc80FTF1+N/7eQt4SE0O9jHGDqKBbJm+XdbwYbFg7aLAmT/7cE4X2eyVf4+YaBHDG8yyE05c4h
juODKmAb62fCEfZlIm9KdcHDQI9d+Vus6FYUYDnj1zF9oINft1jUw8i4TNobL6JN5ZNvQS2sJYRV
ndnTsv+dwpExyLHJTgZpEXZpcA8Ls6O+kaUIytCM2GPZGg7hJ6nmyfL8MvfsiH2a+2OtXI3x2uVH
Jfxq1QRyZXGeq/GJiAqigHnQEuU1sUkbirA3ESEL8EtSN7qwCSeueogbJDbByZy/lEXfsMdvApWC
trqPauwVhbTrmA/0JDaFzbFOmN1B88FEO6J87ztnl6p40UsTho26stQKYx3+YIPeIipqYFchzlA1
f8s4pC/AhWaymFJyWWx2UHEWokYrNHiT87ZMALHn3Usq2dQ0KPkM0KsBx9EEtgmKgMwZV1kS+woX
EjUvJxQ69wS4Yj3HJwAJjw55uMnnn4QT66xfMAJvFviyUrxWqWZW0XZgNk7oSNB/OsZPPWW0Jkd8
nNgC2a4Gg01AdjxH+ldqqNu54Pn0zslgOzg5vcBtOpNWvE7l7hFM+wgSRP5fosryryAeMr7ySeoC
OUypPWZ4uBAAexixF7ah1351S8F74K4unAeIftICDNvozJiANwxT+nyvDIzhIp83iM9b9eQUJRoT
iWk1wN7hGfb/kvgBJJlZj82MuDtK8TGVRHa15lsxoxODfpU4QJUpUYoHkuqguPq8c6MuQwmLPofb
EcJcQphByOF9GO+DdjYTihN9OGrZtEcQc+vS8NAO9RVZLaFXbVWSvCBTDnYYdC8Wyp8BMY+pV4zb
mlOkodAzsaLP3KLs4jJDbG2nkBLeLAddjrfcH3g5Q7dt1Z1kXkGJs4JGI6QY6WNCk4CXhBla1GDX
ueR1vtbZw8fY4STUeCHmF4EmRPBCzqodYcQXsDpolw3iVAN/yljvJNjOwYjuML4pxvcwndGO6/mz
SJRd2hjvGB5QTVYnq98vJkF9aF1YT7cLjImokHcNR9EWtqWK6jBAuB5W7ORMPcz6OrbVW0OqeQF6
tuQIZ41/PelXWVTu9Sq5p4gDJbSb+Sf0NNr96oFT9zO3SW8wNoRlUx7Snxjy81g4z5y3W3Goc8Lc
pPKVrQMBn6OhIaP76Gwm0qUGxlLw+cc8uYwzOntQ74ytxvU0Ke/BySn7g23jsaJSZeaZWERBJGRf
/7OzU1nkJ1KUvZ79Xk1FxNeAPlNZKflFrgrevupLOO+0RWUneijTd61cCnxSGQSvTmO+zp2fhuUm
yseVjqo+qRGzMdLMR2XT29q+BFljdr4xw1Vu+ktvYRmZ3kqwzUs5XmZrQliBG39KPgZwCCWCLaXf
mtX8EcMHXvST3en3mK8ztKqnLePa5owE4mM9msVZjYyNOh1q3hBZS0k2XMJpF49f5JoyBUCy0Y+f
RLBvloQWjJnRgCq6p23cdLhRFhmiTfU6T/+Ig6wb1lpW0p7WlZSvY65kaWLJmTTdHaTsH+fq/aLR
2Ec7SYvF4rEE1SMJTS8n0qbM8RERay1N4D8lirdbOX8Hw7cGcENHmUFGDtq0/27XQqIMxm2EmyKe
TgU1TsSyY7VofTiip3B/Ogv8S5FSk3R04Yoo85pyPFYFyktSvpB3NTXbZJfjm2EkGZt48BSuFyrh
gabWaBxM8wCS1VIFeBGRqOF1BnI+NHA2kFIpwqNsjW67XDNCdZpKdXV02QZSEWzMYP2hYgx7An0Z
DRNGlcT3QSE3qmkZkcACMyZMz7tCJvI4/Fy4OHWbsDiz/i/OWm6I5JhL3atHsqzmYqvvEJDw/mSi
USIbkNgOser3NvYlMyU4Frdss2zbXj716L3k8Xti8QkBHCdoH25OeYvT0VMU5D54MJs4vYV8YdYF
pzoH43fPaWIAxxt9tSCEiB9P9GgfztKKsfRmrpy1HhVkVcBuM+AiwHssBya+4Y/J+6pT/lUF6/GI
9p4bVJNYfFNGYq2xrph9JpZxZ6QETWOklSlk4JdZ+JtsOo3i3IZ2qM5u+LqvS+2cWzl9U+wevOvy
L4gBAJfSekqupobgKyzXTga/7k1OTkwUVyFlD1T/VpytW8KuwRwraC4U6Bw2zZKRwUomPxcFLgR4
rz7DH1DrG7MZPYLHduyb1kpHeN2lD30O97pJoUh5lDxnfGhxRqNuIFIFAFs+xS578CVJ6m1oGBfN
fFGzd/Tx3IWW26iEN8OsjKJwUzJKFGBebnPEL9fKotkXb0vpCQCaamFVqLwVZjeVfxxiq7sFTm32
D9gwkNYrGUiR1ryx9sxBzcS0I4FRI+HMfFY4Wk27xtenuWnDXLxN/kpTdfNWzOOnK1ant4iqMjQy
soooxfL7DCY54TLkuyYM3QlEiSb8yGzC8mbCDtXkaI0pDyLqaydmDsY1JBByFSnFNhIQWtyYCJnE
IJZIzOGX23amles0B1WOiIqxIEmm74grEm1nMgydb0Pz2tFwNNp+N2TknC0kzhKUDethXbGktlIB
uJM+gwkSFJ5UXfu13W7miUo5UwkioZwNa2pqxnTcSGSXVFR3RFeb9USNQ8MBalpCPd3nPxZURSfU
tksGNHGBUWQfwoj3hfWpUzraCG24nS+1LcPwcrZ21+0kyyIAeX5o+kNuv0x74boGB7VV7vhY3A65
DyqZ2v4kdxN8X8f2Aj+bv2Fg1+akn+yrkp72sB5foUIzLx9QutDLV7faQQvONgcLcrWp28Mthe42
YjEYSDZOuaBD+tuHlEugGWKl37etLlo7rogpYNTgyUCnVdPeGqNfWTspwuib+jzEFJVBJf3muGu6
zLo7y7QNnHbdG/q1on0KSu42csJnaIl9wbKqMyB9hz5band8XX2NlHQtR87LQhCRgoi6mG2ogagb
HHXXRyHd6ducvzqxfdXQLjDGD8FjxQ8Ks0B96EvMsYciSTf24gF2S46fMIEqFXGP4YEntLQ/jkhP
RjbGCoX4EuS3qb4UaM+DWQIINl1safCE8maklY3NAwqBREGC+4nTr8xkXEfQFOQoD4I635sILQcO
Q0h90sGBHDA+FEk+4rBKZlbP6J6m7cFIFNq9Qoei71Hn53hg0/wrTOGYD6o7pLana8YenG3qFW19
0Aby2ao1WWQrnEaEP16D+F2TFldzEDaiIUaxylCC11vQ/3vgo14X4YKBYTRZRwTz9WyJxWJbyyP/
Nw5Knnt6d9Rg8Ilk+qBNjjq9HVYd7ZiS1T3a6lsJ85tB/ArK5/dEJ3rGktMzhaZGXo/MNGdj9rsJ
0E1vkxLBgYbYbm8eup1lOL6jjACjOPeQOUxvFr9pARahbuWNUSYHiDn7jNTvIVYOmna24flkKIn0
ZdoonLgL5zQMr3p3z/XLiPOZrkFwatNDw3GPQ6DiWdGVeYuCi7Q9Evk6gKt2/qpMYsbjLdO+hj5h
Zs9qwpz7L81/7IoRQHxGni8WTxuNT0aaivUfERaSNH1s5I5qDl87tV/MNrpE6oXcNMVNQ5lWrXla
RAZMDPB3a6LOqVP4RYhzdFfuuw1hHyvTOKEa4hddNRA4VR0bM0TU2rP+wNFnQa5NnPjtednk3W4w
8WvgV2zB+05GvwmK15QMqlIH0A/oGo0rij3brYPmz9kvWHlmJg1zEe8hxEY0H/nWMpc0etXR4tqv
HQJe4Ap0tZp9lONxi4ZPg9MOMD4t3Zb3UJqJ9SSSi95tNgde3EUuEBR8pvgtQYXOMTeW/WIk2rcI
IrQqjo6izWrQnIuzZ2vyilNwZUekuDSg2DqhY0XRDSk3zjxGVfnLQqOlWHBFUDuCJV5NX2McgNRS
NsBZSf60QMUYOye9SrN9KaRZ3A8oRQgwG/V1bVqMBzCplasI1xYdPHQMa9lhjhS7xvwEel+9LOmf
Q3dtGH0tq15LmmvKSCQIywZAVAYRen/AiwOdRF9TJbF9X5oQ13+OLgnpW5r0d7kzcMHOftoSRo4M
ozOfBTK4UomQmGAFkqfuzqTwvenRMSX2oRxeHciKg5xvc+XZ05alCRuHNKuzYpsn6SnLstOIfl8K
5WOigqgxPK03OMtqOyRfMz7JucSBxilBYgQzjZeEmWdjTzuVNXSspW+igE+hZL1M52hw0NCbnrSg
62viL5XEkoINp+XgX9NYrIFDYAeRWay6CqlRRv4SDo8cQZ/dTm7T5PfaDjbK3IMTYzyu4ElEuk3i
1SbhJg+l6hQ/g9zAM/nWyTYt0X9ySjxM+2sbDRirIwiSVRVeExWt3Chdmeim83FU2JKzZ9mea2wi
i9VtBlmTmdCMr/Lw5dDgBdQpFOPjuighBQ7ZlV6XV1NDaTWFdZrdhoU2oMJhECkksVGoLTn/0+gM
g0NLD4cEJYSOLwbla9txeNUead3uofzygpL6kHFUjUvttTD7XUBWM+00ghlN+7eHSBU6LZah6NWg
E57QJenM9Lg8zQJeHg3CC9i/j0JPEYcDB2NuaI4bdc63tY1me6RbLUcsVcekSI/hCCdjDBC8SpyI
MdYPFYnbRyX60+K/Mn0h4A/4dsmUscb4xR4xw5yom00aFVve+5uuRgimdDwABJnbINqRpyrZe0gH
dCCUDLkMVgvLSLY46V0c+wfFriE6/VM5tsrjoSOJ3qZ8CBjmDsvTKeDC/LRLt7VGPGsYIlPwdqPf
Q8Zr8b0RBEB6JTa15B1Uil5cA0U6ZIV07fS/sk6O5DJvwhi7Wij7Q4+uE7KaM08bkr7ulL3eoAV7
RZNuklxf0/Ie2VhDkpTg6uwll8ZjhHUuKwlD4hgQVyWuP3pl9Msyx1xF5E4ZO8X2GnSTusOMbT9F
nmxVu8xEccUNqbHuVlDa4+mfbm/y4lgs6X2pyVyb5c9UVzDL6aCqEOkz7802UcMLPTOssGj7OHm+
kyT5FJfXAsqtYqBLGH2zp1ERSNjk0V6BeI4Ueb3wfmcgkWGrEBXMiLeAIc88fANbcQ28rTbJUT0W
EvhWjnzpzF06IPxoXwYcGFKJdHhEwWjpsEX0T7gYfpyc4HxsVD16UUl16DNi4NLuMHTRbiE1w+la
VlJEApipJ3k+doN105bfIrgY9eD1vBXsR0x4DZiC7cQAOS0gwoYL2TogcycNikflQ/J1jUD77DoK
frN6oCEiQCcn8m3I8FWflEA5ZnHwKKQUSoiC5e6CdDiPjwEcCql874JgHRoAoBChWsW+bp+0/4Kq
h6/KeZ5ZPDt93XFjKuQ6Lf86UEFq8CsHBxnb9dhNvIjQRA2FzDZppSqeHiGOC7mztT70u159xtzJ
hRyyDJS8/1t2KbVem1lKByxya9L4iLvjTLgaODlCiESwbY3LyUAHqoIxsWs6yiBsokLwPHAycjos
x1smv1qs5T1nQtZyeLgrafwmFpUZqX0tCovKgFdDY86SktC0+AN7R1t8S+uC8e1/RoH3RkvuHJZc
2SmPEcr6sQm29IDxtKqrNv5o7XOVXW1khsYpR5IiA3WRhnHNSgq+BEHOuIdvt3F02mXWF6oRbiwv
GlXSdoJDT0K4hXDEZM6hjuduejOg/XUEaJfkExaDvR/ZgnVYC/1RwYPQxz4kjEPHUhWDp8Begj4U
wWdzwG5Chnr6XcidawBJcfppkzZE0FiWm9GAHJlGEGmYwvFP0d/q8KBasWcSRwPEbWMB/C+q5jFn
+V7rwT1BWK5Dwr6K1yGZN0gbhWS0sWC467j3yR7Y1nF6jMKd3EzHqe4uetJ6ofalTDmBhmc9fk30
lxzsYg3oUZ1oUsFdoXUYiIT38czUlt/xN0dRKyf6dZZvcUGUy4yLW3NWFWqTtaSZvqlS85ZfXfaY
DEAmbLfR9E+cDJLs0XFrR2/MFPPy2Vj7ntY+XWlFf3Hs30khhOkDruZqiAb65qja8ZA419h8dv2T
Ey2M+Ryiz9swHW1NoXnIKIXwI1sND2WwgEBhZ5OJkyIXK/qXTZivg18rg3xG9p6c7dWJVdCJvag/
K2xg5ikkiXXg9qzZNnJELWl1Ddrrog5eUHcbcwYCsDEolVQkzMl17KFBaNDUjgZyqVyjdmMeD1UV
SQTDm8nYmBhkubF9wVuTbkpfeQGIWS1rPAvJhR54c9kC/e7XATVFzpveiWx6Hb92QyMRcafBElm0
L1V1rxAYhFiWiai35ZPRxEjSR9BzotDkZkt5Agxam0+Wchb0vKR5FvG98RKp9EcKA7Xmh50FTFz1
jePYbKv4JatXJaRS51BZhi6plKuyvk7ZR0x3zmbs1LyN5j5GoGAn5F5p0SqY3ycG2VDue6wlw1eN
wtoC5AkJRu+eqrOTp5GpnMwkiIMo8V8Gz1LTZHecWCKWwzRBSEcO3bCa1NSzEgboSdYupEqAliGv
xIHc/G6lj7n/tTlrFjJenEuwIFmZF44NdFKn71zZTiRx0IGgQ8Wexg7RQqona1qTO4gMh7J4HdEO
DL9V/95HP13zQdjfKqMFVLD65D2hu8kjtvb0pYYez/pELTAfl9xysZWA63qRoBhU40UmzQ7sv7E3
TGqMVn+KnF6r3qX9sZ15fj0BHSww6AfK5jynuxYOJfZu2EI4d5j119CBiJUqPqLhEGfnWPpm0OIM
kR/SEtawKo/0K8sqWyeo3HCJ+xNtgwU6WKw7e0uhL61+D3MBdY+4CwsIrkrKpmldnQLDMS4S9rLJ
4liYYjIgAkO2fok2Xzg7T9xfo/1Tylew7VDVk4LxNm+iGAm7aiJhekVEpmi68Ilxm9Kf0dPPOI3c
Bte8huXVhgmEhhu7JLbklLN6x/QkWVB1g/8p/QK1AuxmmM/2Poh5f6knuzhHWeiSorgzAIU3EmcV
oghKtjicBQDimnovj2Dg1SV0qb/07AYxIxJOYVpOqv78P47Oa7lxJAuiX4QI+AJe6UAvil56QbAp
Cd57fP0czMtubMxsSy0RqFt5M092HvrJtPBHC+q44nXiWQ6BAzJiEdvxKt80Q7Dq1R965pnZQDFe
W545sxscCLnIFcHCH349hXOERpAGfnxHVsaGOdHtGS85VL2ZGgbLJBLsRzHsWjvP/m09Ev5quBIB
9dV43zAzA3eviaHGVnA0e9QSYzGa+lHNKDUpxT6nKyySpiQt1gjV3Rj6Pv1w2a2NnOnAASqC1y7+
IJX8XdNvZXVP8myWGY/Jtie1lUOlq5U8GcCRUWBEpogqkt9gi74n/luOvxW8APVSB+tqZ3xWyHZ5
7VZ4vqMbP0yrPfeF7m5JBL8s7Ok033Az5uoHJIjgGVMw8EsTcQYGj8Yyc3pm1UDjtP3zJAwomDfk
cRHXu7pD/EHi5aPMJ9O1edNOREr2j5hJUu4cCjp5iccTK8RkLqEb+DfC1zSOe1n/9IqbGp9M76fO
Nwl3/d7YTb2alv4mVrdIrHaf5KwLKRgoTHx+2HkJuqnp1WhvGZ4g/hwZi7xt0rIRbHVsWgqjWaXc
zerT0/aD91awtiAB7ruB3aGlLnOqzRsdVXVbUIBW6i3Fx/8S8g2VTGVjdSgS12lb5XcQBr5Lgfqc
/+Vadqmn62LsLzPW66kGrz9Wj4b2J8jBSB5BAxbYKUJxrWBYauaJbzMj8CqD0ZUOp0nmGfKjoB/d
Ytoq26PVf7pEgUVOphSjaQJ3M9a/6qRcqf8GhoCyAsOVBk5bMdgisJgkVzJ0YTQ+D6iIN9lcSg+G
VCqtTGLbTc3tlqKyTBlXOg6vMTmIon9OsFBZ3K2iYYrainKl415TITpRQEdmSkWpzJfk1aih2BQB
u128dcjjanyWoD3KEyHMgRza9VNG4FsFOTMEJz6YBQlCClKUmtlk2Ab5prbiTwlc13QZrLO3xFuT
LyW31VofnnGOxdE8VnxuIhPXyE3vYkfx++kgoBf+ruTFrvWsD0bUnSdpxyImrol2pBg1HV6wIChQ
ItXHak43eFubX0kbLOQWVzMbberjMIH9jDkmEq1YKRagNTjlOYTTBLQYjYZbnvpT6Vr0IPQ3WyNj
tyiDdE5WE18A6FimBi2FnQPft6JYDHMpMlCoQ3Rlh0r1bCopi9IhM9PJ5sFg85OuYGaRF8S3zANq
X5qpXCcFOxuGAJ9zbyn70b5lEyUyF38vRXH4DgMw6EhfGumfcK711gR1Wan+NdPEssWgYYBDZrtk
sZty+el1fbtk489HNaF/oKC1OjR4Qytds5ETe2VwzfAj76mooNeAM/0fFz1bLm9nRp6BubAwP212
BDYAIj19u1Z/qviURxOKWL3Z5oVSwFkyzBuVTvU0pB6dr5v+qXSrBjIMeTGDmDwr/LcBtbBM/jz7
L5oS18giGoS1knpOmzWxHPWfY89WVaU0D5RgmD7N6nvSAZMRvLfy7uTiYoN8Mzk4pt9NjhlQLqIF
ZO5PH3dlLP2Lp8CicuHJnttmSXZu2DU02k6Dj4uADV/eMSXKXeVHl/ebRNuqinZkRpUMlt28wxPt
uxxWih5wQF7lqdesV1kvAp7kTqY3TiYOIfG+FDFMe/XG1eff9rDuKXTzlCS0g+jZ81QaQbQa0vuo
n3yzWFjYRXqYoqoJVIgJqb3IBjn3oxiftWj55ryljqofNfci4205OKKvFmaT/v/zL+ioiOMW1Wfh
8626a7vhz4cdA7JXkzHMcqRxay69fiEQ4KDf0gWRYJmfBwgQnuqurdheuW6ysMjxGsqVN3iGQ2F8
UA/Fxn9cS12+ElhxBv8VtvsuwrvFOTLVf+YgVy0SRlv0UoVVi+BQNPiIB+3OmmKReDxmOuzVgjGo
tB5VA22iTxwpQYY0D4V0YDZ2cXAO1UmJslWd+qtcvDwd5atlxAWST6JU41Au+fHZ2iM3JJgw8lrW
1gkypC87NnFZ/louMM48O+cx+JL+tzGBnOOnsSHgcaeb4qYEn+ZiIPGbr4d0WMnEbqUkeXXVy/t/
ZdjPKpTtgCrfCsITYKMr9aIpLk/tC8GCdvgBnwE/o2l3HLHAqdz8MdbWAY/Lhi4GXrzdWuWb7JGR
ECZjs93gEdC7JbVElxYnpmoQJVa4/SbeUwo2onU3vvSIsQ5gIMpRaBverMqEXNAYm9Rhk4yeYycs
uV4KtISWnyJOuoU8alc9SHaygVLd7qN43BaehRXXKULjx8K403UAcjS3secx6unMqKWPFLlVKtjE
+qCcFW0m/HGTli8O616eUS6PhUPCIsW5VqQfbQXkgXTbjdW+UgxO1N1jXk4GXYJ+bCxb9V7hySjD
Y15jxpThpbEMyY30rPhgDqtNR6uPIVO9ozO+Kz9dCzMRm6xcI+dnCxefmw4pq672sM3mlv6/NAFL
B6kOkQlCNzubyDuE/bOvLZ7gr9H9TdSvsN+pA+06yjcDAw3edAnL8TLL7xxCPMkMoNI/PPqUzVQ4
VZ4Jz1jYkRrj85e+Ega/NP5reKfl1lGzT7YFl8a2Vjw7TuHWs3bialBNGTZ/5Ps7N1u5+INETSiu
cR+9/a5CdvH5XzJ8pynEDMyBuO+k6uixu7SNDaTomcfERFWUV31Tkf01DiU4ApPcdLXrUScmsWEA
ggqfNXIUiT17QxTBS7eYHk2WsdN82IT9QqXaoaGh8l01JesNJpqG+TWYmvSioNi7PZdXsFAk3qVT
EZYWV7cPbCE5dl2P7mdeJF1QOoaCH8mylO3I8kDHgBnkoAzzS4QvDIoUac292v66abbIMWi0PW9v
woC49dO1NBBrfXrWsWvbhcZAFyXakuGJ1omZzzZf42t2yd3tiO5oh7h8Fxj02G+zZ0oOpb4mi8GP
FjctXI1+ASx6nqB3yRJXNxdYx5geBULF/1s52GaFvQ2NlpLWvUpbtv+XWvq6r+OjZFcnqa8/ElvM
I9yKFTWDRvkPfPCKJvBIjB8NTjSlgFtRljvdj5ZQV3ZDNKwnzmpFNFgkidPVOMPmFRdnT/I+2pr1
PKZNoIySxtzdVpccGA7NsWNTbwMKMLuEEa/byRQbhvlvUHRfIlOvNBl0JGWxle2oj2M9fwtx1HlX
f2oYn1WdwnXBX+LnkVR5bid4lbjQBJuhRXYKh7UX4XjsPlPe49Kxa+QFZAbH7iD8oBR7BCp9jM8B
8YQCKlinmZg6P1mnOw03ocaRlBvWAcwTYfVnsD9VRMDaKGcFz4cCpSXT8RspjpqfKJbCv3+WYZaz
nfJzaqmnDpgGbgs2Zz74/odQ+KgSSyKeUQd4eqvPNhWXagLiKaieCp5UNR7OmT6ABFEcQ+KcNdwr
khZA3ORQyJ8usiWWfME6pvHw4rBgmNzNkUECewC8duD7zUQDxHarWnC14rJ7tJnNWIN/paXnIx0+
KNflTtQih4eE9rVkO2WQ4SK6qr0Jr2UTXuOg3MWhvBoU1DrGr6gYgRVKR9UbrxGFJKOMWW088uDx
wKV+C1yA9Wz5DlvIaFw3JpxGmm6z3loPUOR0rE6pTd0BBhKTUylz4LtI9RFW7fhlascxjhw1Vhdh
uDLHW1JGiwjtWpIOmUXLqHXU8S6in2ruX0uSwGKCGAeHpVvEW4OLEdWntbG0pW3q/vLAUosxwyVW
QnbD6pXX2V5vX030LOunoV54LbulwfIR/6n8VE1xDJI3JLplV/By9296eLfhc9lVNJ8uJdYwLvBL
aUyIIsP7Ik0XcYIxPmjMY9CUm8lBZaJWhD5WFGFvJAyGrMi2YwYOKLlxD59WuPMw6nEgoZeE1JEh
M2oqYyZIZLo/c+Oec/WF3z6vknKZSfu4VWZ8z636q8s3YVCj1kUv7AUIdr9Z9kd4npArJ1q+q1AB
qvhQ6YDBE/m3VpR/GBlSXtZ2BwY2OkWmtyhwaxjFhPOxttU06fNpkce2W2k5S85g6Rf8bjwFgFm2
a21qEG3OfGAZI1QKK23PGp/1Ev9eMY8N/Z+BpTo2zWPeR6esdi/StOe3yA0bSUBZRMBJX0M0oeqU
ulM5OyhMl52frWhZPmoeYm67dvP/72QdSwu0zA4vIseg7naUwbDfCQ6u7v4FknD0YESAG6JbVOEm
9uN1qpN3NH6TJpoLjqmxZQuPECZseg0oT21oCE8GOibwoidPXcqWxVgfU9z3qKwDAIfEuEHCctGt
lPg0uP8imMmCDZnHywOLwJjfSw4QBm5Ay2i1lv8KwpVRffhQ7A2UgARVo9sbArEOl2ms9yuT9QkJ
IPQ9F109JWamOINkwoehH68i9Senw42yAf+zJ2yNd8C8eETDjJCepv4WsZ4gCK/m1pYd/0Hmcy6z
9bD4dcqsJxNjPHDpDQx3FaKe4v3yAEkqBg0opknDgMqOgGx8KpAGc3UTiTJwRp8JEZq1NlnNme74
uC67MfwqZfXFtUSZFSb1I7i0V3qpngmPT3ou6x/uHVbuM7XiA2oQWI104wfDMbln/wDpxvq5X0HA
XwTSSS67S5Vph6Tng5dXHMN5tk/C4UMHAAoKgD7HqyY96O+Vkq/W+8FX20BBr9d5wmo9dCzpS7M+
+PAOYMfpolGtXSlDA0OEZrIwvT1zj18QJcdPJuoQH/9WsW95crabgt8AV2F3K4XHprfXIU+SavOQ
x/uYGwERK7oOSPWPJGiQBUEbUf9MGBHsUwRptLGZ+YGAWW9CAKn+pyWv0F8H7rdqfUaQ3gkMsO5i
y0RCDOx0B2sm7B8DcJzy1OMykWkWm5iACkE5y8VdK1hNCZtNIVQkTUYww9Hlu9TWoW/GGpw3vilV
p/STHygYQWv8dkfe20Rh8TuCuJ411dHwTzToFsTfTVQJBWiftQr152Bvm6Tay63CEzDOgwH/ONwh
LFCmTRShxE3J8pmMpoXsLHDuxyzO6Zz10wvAgIvFE+cR2YMg4ujMAW60z+O1zG9Aa25G79WTiDs9
qdMAjLA1fbard4HNH1gnXCv+QgFYpoR2F4V2Lex43ljt2asoKqgQu14a5YlUQTW6rGp/0KvS/s6Q
3eO117CKd820HF9W7TZB3bIK6WFzZJcub/yW/Miw6hGa9YrmH/c2LUeMeHRilhgezOyhUe6epm5A
TV0IpeneXevf3kh9DnNuKlEZR3asIfzkdjjBpB5rpxatSmJ1ltZc3RpjApu+DHCkT42ELQBihguf
doX06iXmN1sHlXQSesehq98D4OixgLGBBofnB84U8B9rEQ0lj5y+jFu6PXHX6Nmuw/rrvmzzjUk4
eVTFuVCfWX1vGSCSqFkVVQz8nDuxC8rSjxYC0bk2fZ5WHqz6lHe4ZEZCC3/CyOFy2vMAQLb48BK8
TkSJJEIyoCEqDUYRlu+ceA+4C/BXyPj50jaYFZ2BO3Ix3Mzw0VJcnanUAOAViD9gCDs9h3DAbwhc
qE89QvrqORu96pbTejFu8+SqD3haUfq74dTpj4ZaEn6w9Rg4EgRhak1oR6XrJ5N2ZUdBrs/XTYpV
Orn+nyE8ankVo4NhnRlYxNjNJajPmn7LrH0XgNL0sbAwYATtFa1Iiv4qqwc71sxNILxd+OPzJOvU
HHvNUs++emmZKA8DC7T8KFCrc0IjCGlaew6a1kmgAsdacha+sdZY0dnN1pXXsCm84UuL9wZmLKuK
17rasWOOvvlnuOYdG/jQegoGTcCMGIG3Ce9m8FtyTlesRvXmnmLUavZ6eaOdUGaplheX2FNnJnRx
q1xyb5yfmtXp7bSzc7mk6GT2frAIPPFHL0/WguN1cf5l/TiL5vHsDE1jcYZ9PfP5r9lqw6acf3Td
PGi+nPfz1ceJfOnCSWfOOD9/zXE83PvlnnKhpb5wgo1+sk5wSvm/9AALZ3Dw5nhsN/3cnD3g0c2m
72a/vFyG2WzT82fwh56KxePxVc9++9nJ0Wev42t7nA+z43m2CWab0/l9OuGTn83m27lzcmbHdLa8
bja/+/l2xreRz0BMvLZ/22G2/rzM/7bTF7X4KvaBUOWS03jGHzp94V9O1iUG5HXgRI60nP6G/LU3
Dv/x3i/nxvzozo6vcLa9KQD7HuGDRUgPJTVcAnbuyRR199z/4uMrjENtfYbJwRPyUuJdFWA4FP10
X8p409nrUbVuU0ohGgnHoYon2OAQt8w4WBqhyr9G2R7Zv9iUeHCeZfrTmTaFTuzKCgXRjWVkOBYZ
qyt0HQtAKrXgusUMAGWCIBwwWgCr9jyULmF6DPA3KTTQaRCzbIW/qf8kYcxrG7gooBDWcXF6rITE
nlC/iqLblQpKgUqDpewPXIe5t8JmW3JpHZX4Rm5+l+GOZLk7YNiLZXXb9fAFPG9eUnthA7OPS4sI
GIUZekkGjNrLTu/fQb0NTXkhcyg0xpsZEsgYAQqOhvbYA9uTc5YpzcajoKv1seTWjppxYtJcZcXy
OUZ3VPopNGRjpyjth2R3C3nVcAS5I0MKkilu5K7FQAEqYVQ+yvpcDy6yerLgrrZ3yRoVyt2Wr/Ff
238X4XcVflOe5wf6vCmfVjPbD+F3Yb+i9EvGw5hXp5osNPB97j6XIqM96VNJ1kbwOSgXS7n44gq/
RZXesn+30puQb4F1N9WH731xEeInG1pfRfHdoy80B9reYu9LKK+s+aLAumSpbny6eJ8r7zdi3aP/
sECmjlIJ2BUz6v6mxclzndz/7f3fpjuZ9UZi466pLHEqDwIT92/3Jvmfbb0aMdQnozENkAx4QJ0s
BwRtFW66jCnyfwKo7Vjgf1LllDIwiPESg8xPCRomlB8glQzaku42LNbiVl368YC8xEdwYxdL8T3c
xm2zKpe4uz+v0OTUT6qGNaCkMUuNqyKcOL3mDV7WLxUqm+E01Lz2c+bU5sJbr8H/mq2wPy2U5XLw
F3MWMIQdQKcudzuznONqlC5QVV3IkRhOtm15AcFeFT82rjo15Qr8trJ3dsW3pJGZ3xgpQS0njJZe
9KX3P77/24Z4ioEcbP3wh2ojUNhxeM4I8pdn2+et96u2f3n05nuR+k9q62xWyeGX+39MB6F+bnzk
++TVbnC/BcwTfEc2jJFzu89eyStg8f3BnsV15G3DdX/D/nlT/6JxPYyNdUN9g2NxUzbiB8GfER69
fvcpfpA1a4ajDS5tTNi4nWiGZc5nv/YwOXnd8pAejT94DubOffEAuAmlbzOyLIjnh/bA9QP7clfP
SdmPv/wv0kjt1JDIMD2rTq2j4jJILjEVHxt6NdOlSa/kyv8dlH8qnq/gJ/4erG3SnZCwIWURJ/mR
zW8BHxvjyThLrQ8t+YjGA0Mg5kHhnlkdTuw166vNXtm48C5t8cJEyabehx1mLNRiS96ldThfxvLO
pNZhues+4uLoqos+oWL+K5G2A4MUMBTsi1gj/Geof+bJQzbfdflWzXdXXBv+skx63ivywQziWmLi
XkYPqd01zYtTmD2A4UjaWd4qvCtwFP0G6qsOF73NoImsNKfusFf/sfQtWWRUgDLuqX0zzedItN14
IkH31bUzrixuggpdBMEKvtwS2wGLHaneog+FxH6yyU3YtnPJfzXFW/5rimNOLWD48LIji2qlfDLR
eh81pSzruDkA9zRZD3wMkwB8TstnLDbljcTvKqvmqdPfKNNa8GDwWvcov/yTvzFUoGDP8FOUC2VT
sWUk7j7LnxmmPIpJ67nKxYzEp0xfzzw4ei/lLfDXc6C7tPXscO2O9po7+GgsE7Ze9SRy/CytZFXg
hTkCibXWCfexDR+ICIRZBYRkrzCrAiup14xc2c945wZl/GU0c2aO8qrkY13NgorCUVgUwLUW8ER+
uLFFPyLbgTrONwbdPkWNcV1sK7Edh20jtq3+MFR5xRKgSInjlcRQeMtGxrPmnSvBAiy4jKg4F3Ya
rj9f2svSAaw6w+y/UlePncAfm9xGn9c1r30TGmmDVSJnaMvwL5hgLcqOe2DeSEdp6+vg+9tkhmng
avcmWsLBa46RxegPUIPbCUNBVSJ5vmK9W+XY7OIAVfEqI73m1DpIBDzyiE1M0y1IbnzUtQeuIlkW
kB/ZT+GFlWNpAw8hxsjoj06NjaLN67U8gD33QpZ8W0F4QrVv7cSGxFcJibZN2eT2/HNAkCynIY4x
FP+YlGX5BLJUuwfTngLrdRcBnZrdCFJ3WNjaTWp+i/46CpumnAHzrTfjAHwL9A8RrfOBlVwLM5c4
ftKxiM6vtVxc6674zcvQeUfSi2jxuhIfwEAq7uqxdCICbBDJGdyDhl3c7E6S/s3El8Lw0xlxRYE4
RjZPQ1s3UuhnDxHyWrG3fXhtqaQvydgb3YhOSYNrBLiMy0Mun1hOagFXw2KXGSDtMuLHvZJdSHH9
w2TZF8AkCBfpDVZ+kMWEuRKEQK3Ywk9ZiBJwGXo3q2zMT4uabUgoY7Yiy6+yilK6mW+SKKCeCOFd
sVkk5pZCqIWrurs3DCBqXwjFqxp4strq25I25CKqTprnXmDW+gFMhCRi2cgqIfd5MrBUDtlast8G
e33CEDnZESmlujYCfqucRPZsrRHzAHfIMNv0ybUhRQGK91ncWr0+qnm00nOKakJvKpHHNA82HMIJ
yGOCq/4rV46Cv6uFlCBcpwRg4ZFVq10nddtN7FvrHhf1WLI6JGqv/2T2hT0EhsKg3veURlLLM3d5
ebhUyxm67mhhxwpuyQ+ZFZLpnRFqyDXMSAfU3/FCDCtxLUQKr2Q1DExmN1bzoB5M4BQFGjWZGYZC
jkfEtJuK+jTtYbme6HJC8wDm/7tgdA/0vySCqM+4lJgYVK5YrLk8zRSisBg9ehduwjvjRarjEAyo
rbSQnSo0sVbwjqZCF8sCHqt7QdGjXTX7gRLFcPiJO7ZwkVLtAY5munn3G6hzHT1CTXIcpl7TVlpl
GYZi+tD8fG1nIUHx5uRy4KE5KZsxo8s1mQJ87ndt4XPCW+aFf1KrgTRFx7dc4pMd0vQzZSoOeSuV
GZ/2fovtHBJCzQtGXFKwASp7ApktXGKfkzFcSQy6anLO+36J7oRHJEa24I8xWQvzcsYYnKxz9FK/
9lYaDoy0IsXeaDjZzV1uzogRLMi2oHe4jbuUeGwzmjT6f339DgAgDuE+Y/9iwugX1DG1y8nIIYZv
YSZU2thzy4PJ8jTwuoTTSEhYIGt/KDBF/vinm4uQW67qVRivvs1J7CiTxQAxHSiBe/BgQCqUr36E
+SuYHAOYS2RrFRs55jqex/RqDQC5VAz6o6P+FDa9IfepPN7wViLCZd39loo675vJWM/e2t5inMOv
7YSECQSWUxDvabdus5OpNJPgsRg8uut6jAuVPivouhLkpCplL/EEZ/E+17+TmqjG8IzEv9wacEqu
fQ+M06BSGkxtnfoE57lQ2BAAi3AG9mh1JkP29ZY9X6vowptd1ccwP1XxywKoElPCVic8/tVMUdpN
RV2ch/ezjs4BbxSDKz37mCYh8IeoFEkU0CIdVXE5F7w0Ih2PLEnp6D5mXMLTzunH6VaIIP4rol0d
3DE4pYSS1AHuBiKj32xT7J1q9ZTad6ttNYK9CosQ1EuM7xZdMCcXS4WM570xtn4Jqja4kvXZtPW1
0zlKTJyXYnLgkuuO8RhdelDY+HOXFcsmxCRTe4QypABIIMEIfRxJiB+7eitJ2jb+wdYv1SRvrZOR
TiAqaux7Lmy0HdB2yhPv/MGmZRypX4PsUdtfnbaj6qwX6Rb7zMYQPI8DMygKEUGenSbMkw39TdjD
XFYDGNskxSr80QacIvK/SbsqMa62VHsN9UeAX960Gk5BuLz1QsbwUsk35qVwP/iftfnXjZ+YWJdT
7wwjbWxPsN2N7Oc8ohLPP8hxYKz03+oUPaNY204US04sDrBKcLh/lChJs6TDAWDo2EQ+LG6SlcQb
o1PXwkIXFuxqU/VHyvgMd8lCGNjTEXqMDO8F3sKS3rQ0h+RDFndob93UPpKbZzc9tZm/TwTO0qKZ
C5s6nMQmeljNUhwbA6ON4gV3ITAm247PWreCkVdSDmuknDyNRAI0R2nsXafJbafqXng8Z5giymZe
l/ItDdg31NzYzWKp2i6j1HRgN0sL/3TFR9klpjlFCxTPwCePgridPOYuxCs3XKWGsSiMi2LzDLIz
Gd18ZWFgGIgzmyFlSEm6qbtn1le7EkPfmK8NzcU+w87HRGkSoM38bDu94nNaQSkBK1lyEBiy9aPU
Yvvf2OpWD85atXfT/cjixTpTkIkzay+RWp0Jft9qssFA2DZY0T4Gb98mW73HdwGuJHuBaV4KpIAa
j1mAO3oyK3DsAHShvxzTLlb7zmYxoAZLszH2BpGaqWpFs1rOytjJE3UHielz0CSaQ+YWk61aPiW5
vjVReespHWCImYUZQaWJL5gyg6q3ps6XAa0YkUW/dXghoD/18kIo0bcKdvmkZwDn6e2Vg2Zox05j
AaF+NYFxqEgj4s1cpIdy+lSDiuw+yRkQeccmZTtmW95CK/uU2U65/rFC7aDU0u1sbobTRuhtBrib
7FVAFNOOv1hRRHwz1F1WMt0AfcdoU69hIKG35WsSvOjbnFTJdEIAsMOc3jTFxkIY0WRqV2pEYntR
puZHiwOgYj42KC8xsLCTY6dHF5OqNJNhCul8lgUXaqqGbE6xMPlJg+QoeykFNOjCdVisJlL1qGGP
kylEb95YWhaVfwvdZSWnm2j6aOM7VhN1ZfhPD9oHjhyNGWmSmdugnRXBKkmfmXljSPBJTZjElDaN
LBHn+1BZrbSWsqvZVw8mZs8BgBRQshDmy35grU81FTkixuGao5rcXtn+o4NWCvR1xc4j4MHz6o2F
czWLcKBmLfcq8uOo9UGMiyU5mURwplerZucEXw8xkF6DUvl4vNnGtmIcQQBvYVWU1R712pTlHe2/
/Eyb4Mb7mZaaZ2TwK/AcKVDPsj6NiMOq1p/TSxzvXT/CNxu3rBKm57aHvxvK9ucUe5Bx5wW87oym
2rlNeBqF8jdN3G5kAcVAzd4GFKNQ7stCAQE0aaR5h5sjVCVSFXeFSB1lFl56zhh69QLxaY4FFl43
i38fNSY/WqAxNFwhdbQj4crti7VlegIysrAhtokdvcldd0dqo6yBV/Wvgi9FEReVULXHB26qX8ak
PfOSs2Z9K/q3wce3Bc41TECxCu9meJ3aat1OJ+fcz7kHxdXH5INS8PWk7EIUnhlhsAM/pnDtjC/O
JM/97JnQG5XR3wTthv+bHBnJSGvMnYI+1LyGkC/NDIskcXW042tITTgb+YXV0uNtfPQU6fzvignw
LFqoa/oWJwtgAeZEgcU3gisplmk8faqnqSfuA3qB7ojn3F1gyF2lYh+lpLElf5G6xiGK6fOFI2kx
3UaYNC1fXpa1Br3pFSuYGi+et/PaI3abYGCdTfd6Zm3tgStWc5aiS9eAO0TSy3ZKV22ZZkblm9Mz
5FUkFd4/PPYJY5s2sIj03p5798zHKDCQxxgzJyh5sEjiOzp/SfM06wTwedNgFVWfSNMQDS8KjI3R
W8m6xLIdphXFVxbnsrRsY5zvSrSqQsJKsMOrbuKNWHyi6Bf7rHA6hNo/vs9t4/8xAJptz3gOSom1
ZTeQ0gxqXg/o7ZK9hZQA8o4HovyOzPLXaMPfzh0dgbbU1siNVIaIq2qQYwueGqXq01Inq/GP896y
FeqO7EjdFr784bcKwhPTMEvPWEjf0P+nErNInigcOOuw/BK3MGFyVjX4kY9Wz7HWMe/EYqXU7l7j
pzAU6T2Iyi1eNhqFZ0k7HAV4hpQUcUfIyxA4c4t9MrnYfWZpEHEpwCttg08Bc/xHHF1DYxdGXOel
eGlqVDOm6T+6C5e13nDiY1rLOJ7ER0bXoHST/X8ebhNSgAypitnvJo9lBofNh1AAqYRrFFoaZ8lu
aiVNuSxYyAJDd5wiF1GF7KsFcw1pGo8YNmXMtguqWQuJiw4hWumbbZsYIcscObQqSnmEFc7pWxzJ
IGuzqS+TKnoIVOmtIDOXmL9xS/SFyL7XMVxNPYH1qzTVrcEtMDDVTQgwKGfzxPvJTzCckh8JE8Cl
hb4XrbHE/Il7KF/IrrnTFKgawy3j3irxQHMT+sLTskwmxAyYNq5TOkNrifM38pmEub7X9T7uv9U3
fn09/0yCF/iv4qNP3gKfFydzkZzdpiN3tJC4W1J03wL1KFo8YtmzZ6vVsTz2igdXd4wFez99C/mQ
8jQL+VNU72D4y/tlS5uEaaT4OohHm/OwXfblulBfrB+9+mXipakiUrIjS3ZvGbaxQ84lbTwHY3Ju
QFboormKwVjwKg3JthZDTYQZI4D5/N+4y1a4S7q/CkGw0TZ+82zCP9vnAQH2++Q3HFdr1F2eSNQy
VkdUSAas4kLEeZUu6z2OTtV3H5of0od74IohQH0oRnYuaJDRRkqfcAJVtFj4NnPBOp0gGGSu1QxB
0vzW/Ssojnw80SpACBYhUyEcxwNHY5UtsbwY5zkXMk8Z3gE6BGv6edmV/EiYXuhZiFhry9iecGxE
9WvKplSYr6c5ECv5tHKPUpKHyAPtp8xSJbfoE0c8V6WYGSx2igrbTRfvk52VcpN2FeQz1/7KFU78
bYr312QYKBMO5pZclDQ6chQtDJxX6c/Ekkiqt+zKM5+3snwiAg24hcMY3JKrIlFj3vGCeQ7xf2LB
UefodK6Ym+O5EBdvHL980e88noIkXGcQZAxGmu4gZIFpsmbekyx6tgcoSTzAfYNwaorH2K1RcaYS
kTlgX3Ybjwj0YSgInFAt9QDBu0sk/97JJGEtA0xdnKzljouqpqsMUtmqADBTlTgNQSnjgJOIukVA
84w424mCaoXCxwEbnP30Lrs3rsqR+y2yU+LZe0v+0VFBonFXG1Q1RNUVOWKuYdpMgM35UPXtDuIL
a3oSlVOQWZG9bYHK1k9X5pEEFXZyt+aqFFZ48vEaAiZlTEkAy6OyleJJGa0X3LiB53DNlOI31VpK
c1zoLqBWMbD73a4zE8iLa1pS6UA/JfAySDhmvG5FPRdMJhgJnbBiqE/6/0g6j+XGkS2IflFFwJut
6D0pQ1HaIFoO3hU8vv6dmrea6IkONUWYuibzJGsZ+VVZzkYL2VvH8iOBlqNR3lc1pdR0GOZ3MDmr
kCqQnVkckiTGpilVqb9IDFQ4or2v4erxLlgC3ki4TsQ4tAWYmxoNo/lo6ExFjXVnYC0ZnQt3zY22
6ARsIf86k1Q7XT3FOukhCZWcl7ybEcfMOikcQDPGgP10yjysrM6Z6R3mynge4rnCkoPyh6wsIdKb
1P2LUHufaH4vVIhoyV9qkHx3mvccto8inC7BZK1Fly3QXi/n0j4MwPm8btjpjctXtesyljgOAPCM
PTgGo8FkiNCdZma9eoCHOjZpOlAof0YuGia0Gq3t7YduvkXEGzfxPsnyTViy7YXZd83YPPbC/GRF
SFoIujP13RicJGXPdDk+5/QUJZqy0iH21XfxdIW7bEJKgIUispYEY50zYKpPbfOXt8MS19uGlIpd
ar6k+EsJgrLopTT1fSWbcEIAnj8YzdrqpU05LZkdNH0BA4rdZ5xu7NzdeFRUpcFetHjSm5Brzsz6
PmZkWBObHgJsjcd0XQVED2T5wfZgtZrYRK0GtZSBFjpijqJ/SDKmSYsdx2MoH7p+KsSLxdNdeMNK
yOEosC1PDPgUsaxGTmoY9SHVfx1a1Nqlci3OI0vDkLeEhfmjJTalM+qzPQHdre9z+zX1rxXhlfkv
v3Y0w6NezOnNiv4YJmMrt0inIMe26q4aUuVhPIPaIlWPBYXpAg5NQPFi1BV8aYO5shi4BYKvIea8
hADbzy5VpIabmgR44gWNPLxa+gtsRPQTRkhNSEGU4Zkh0vEmWcz1/YNoXAPYinQuar9qpAVV3bvP
iVxodw9/muDdRShlZqK+AbsQFVeN+aPb3ynPU2JttOLT5doY9pvNW6qJuYdVBhKGhmoR8SIyg3cp
Xgo2a0zWVRuEM+Y83iPf+qmh3w4lVM0wyTYmGR8IQxrX3iZ4Lmv9H+Iit/Eo2bKXKGAbBa0936M1
lIsdNm4ayhYUb/s9iJOsho3OBoXd9lloLzP0GVkxxywwchvW1o930pyQ4b6JQNuB2LvkAYVQiq6C
faTNcInt5kCRZCd/QymIyZS88jwiYes9RP4Nd6DHLDPy9V0KWsrrs1vAPqFQV4UXUc+ysifT3iEg
2zwLi9xukJKTi70MU1hCfBjzYo1aRo2Um+aTCvLYYtyIZ+sQwVDVMFX3ychuazhNd83NidvK1DfK
3wjW6qjxc8Dr9DCBt3InyDoY2ppI7DvcZA5WYw3NSsi1AajFFHQnk8+oA8tK+coaYGWnYBHUqIXr
MrNIS8MtDU9PXm37R/HPDsJa2jq1deA+hgGYHBvGQXq4ZNwlAoFlognWIu8ynug+UTJMuAPZPg3A
jCRv5nQuDlU9XdJ+ejHqaMsyYe0X463g5ZA1SOK3OWP1yLtE3q0PtSUr/pZyG28+fjZ3LxFuPzn1
PQd7DmYA02y1rIV/9meJ+yHmePAOSH0IGCOgJQAEVY0HoQv2de3KMz/iQfySBU8sWfOaoxbtHKAn
aNRdXjvp8GYOh9mXiyLArQ/6JxAugA2gjTyMo+/yUiEulPc2fETBC5uYMnhP2r3Tg2VvaUCTKA0Z
1jWiARscPdXoSzFfq+xv3yjp0LDMlX/uMK4H7MTY1Bt59F8m+03146Zxd7zhqUPgNXgmEuVHxrDd
y++eydNAsTA1dHss0ujBHKLEIq24sNuhLUCJvFSSe4QAA3N0ZBvdmWKywvLmkVKpXG4xq2Y5Mk0K
ufIYVsPsvWA0Vu0CNnVJDDCccpw4vp3BvEt5H/zBe0rbHVFfnU7s7Ku0x22iKs9zjwyzqk9ue4O/
3vaQaRaxt3LCbYfu20FCRQvuJHcLGXbK5SRMQSEoMyozJtjkaYGe5b4xpnUQ7TIoVtVfO/2iOyYS
OaPksP1qY6PGiuu/RPtVqlzwgqvKiFAgJqt+cDhR+SLGM/PoWWuWvWestcxaj+ErMuql33b72tUW
MUNCJ5HMDIezhcSerrv7Zw1v1n4IPQKWg1csyU8hR4JDaz6NO+wRAuWaGvrkGQc0NqycU6Fq/B0t
EZkBzJHZZykfT857T6nbYvPZ5m09ASbiTwadBimF69Cf13UFrELUG5Oi1xBAQ8tVPyb7whWMhFrF
Yr0WIOH8e1/NTKCyDZPmigKSowgfcBvdJpbQGqQ8oj/1sr2Ocp2VP+COFyn9A8fzM6xICAf2UTKE
qEpMgPlVMCaPKUCZyq1NeE9dcNI15CnQpxAdBBVGeYf0i/51xIrD2bkFCbLLmYwl1rSxMMjl5nfp
A7uNN4VzmvKP1oS0Ss+nNdOK6/hUM99rv2bxMJv4qtmQ+hl64LNrZPiYkTDEoVwOmwEaR9LvrfDk
ZhpSXLnRsIik5CGlKapm7WTWYGibgOlZxUZEal8WAY+sgW61Xf7jrsQiUXZoZ7wHFNocfEk80qVq
9Wkicwx1N9PA4tnOxTWTpOhyialeyM9ViJJ1B4wZBdkpmpS7nMYWrJKhX5oBQqyFwJOBFOVlweQa
aOJB2bIZmy9NSqESFE0crkcd4YsgWt6A2ZHs/fFaIcGgR0JKiEwSeVbU/EerlL15q8xkXcfDGsMN
MjbEtBn2a3LnNOQ++jmadcZjH9Ov2kGYHYJ61obxsDLz8KSnzfOADXu2QK0MESNZLJdPItGe4ybm
5pu3MZ2PV7TLARBljT+32PgNdGqLAaD9O7KkYguHzWqJpHARsjZ2URSxnxCcBQwf0XaW9BFO+oeL
c+2h7dTxnocoYCy+TMtWzOR2Zxb8Ppn+WuMeT1HxDHV8MtgANcC0qwmNlPelJOjkoJo0ee7gny33
HYW0mqRj4wHvtOZm0XBaOZwHfdMza3+kxU+GKhsZ12pA1vQTEImghGYPKyNaw2JXxUbKZCbbMJ0Y
qqsiK9gcHxPaL5FrJ2JJl1ka7IfqZ4rCY4hGaHASYP9/vnlLEJuw/ke7/mxTzwiCvjkn2/qZpfNC
QZgKOSzUcrkU5qJOsQSCsiJYLfAhq8o1s8TZwaXaPhcd+UsjJz7nvO7wjmIxpqa3eqKvZ77kvrur
Qa4LtlrVNoG+tDezM20TzC4SLoQFnqiEO5bAvwqUTIF1affMtFYD2QMvAD8FKc9Q4GS4wNaKXXiG
RVgdS7p4SSQJMRr1cIdkxSitCW4RxwRWcRcYKEMBkyyCIH7rRgQ3hrNnApQZyMzKpRYzNIEV2OA0
b5yLnTjktOJ2117iYd757JokE2dw5bMbX7rpxTF/I1Q4NhgPGbRrfe+L7JOQikVfogphYlr+jCiQ
S/KAgkRQFVOSCnpxolm0yVz0lKLRPVOIjJz4S4r7KVgxaBuxMKGwKJwP2U8rXfxCcVla2sT0hENX
vMg52ZQY0XxQ3uk7DVMpWjY3O24WJKBJd+/IG9lgB48jRrkbvECsM2FjJNi5yMeNWpifXbnuCFHW
ekY+9PjZvbMQtXNTNtVzRU+g0EjBRCoi+WYdLW6ExpBCEy0XjUeLjPVcMXNSA73cyKEOkKVLe1UV
t5bzvaPAxIjuBgzQ1eyHa9qdOQSmsl2ijFcEESVv6l0qGB4ovGaecgRo3xzhfADgVfgOB8VUSPlM
GbtNQs05VvFuhgPyB8eB7ZmeWK4E1bEpY9ZG/SbCmwjHTNyqjgF+tVJebiKOnnSKyrbfp5QdePXL
gCUW00sSCLj49kby7g/jaiv0DcabJZ05kpiKaqR+IgjbD6onJokU3CPgLcBJ2PZ0PK1hwpE7xYsO
DahXXvAIMj6wEO8Fc7S2RgRa65n55aBRjUI6yQwlmXoXjrX0xmIDNIXnn58wf4bGkUoR0ZR2yjqO
bqZsVLpsJr/mGuqvRdgVEvdiPpYwnj3a8yb803KecPncd38aEoPSEPuYYnOkUdcrXoGesRcYG9Lk
ALt4Rr5ZojRVxr7E/9TDA1nna0FTWpO2iNyHyku5k2OkxXpO25EfFaojMFwG8aogKlbMBrB6wPeh
u19aPjM27S9IhucPoLkLmwGPcNGOIwRsXAwnaBEDJ2KJOhIDe4xYGZlwKxCTpVxLj0/TlJ/l9K6u
ppmdafEXiobQ6N12NM0dsw82nzULFscm54HXHJsLLbtjxRqgJHjNd0uCCbQND3Q1RwN5DoREXn0O
/lp7DxJo8hzzs79SRwmrACP/ZGxX8Nvwyy1Vh9gG1UI3sHz7NWqKslm5xY8Zfmi8OviGG0ie1s32
1xBPQwfLVYgePeo3SIhSnxkB4qrY//SL34b71tDVfs3fNrSWvAl4cEOAFNwVrIz48YzjsWC32rcL
ezl8Nuid2b17XCb1crMpLDrzV3Ar4IKDjahv+tkEj7lgtrvLiGLk0aJDYiU48roveNgsTV80jrfS
WFhORJIhBehypt0+QJTxz/VXqlgB1vU0ggQOaRNrMjL8dmNG41W3b3A/eXqZPszRcWTZwxJhPVjf
LbJQ9m85WjzfPwtTbLhVQr5ai7lkg4FQ1T1eG62gzb+DBVuMrIpFUF2aJn2paoOb88OkMtFBupWK
BIVIuEnMa+9NJzUH12JmS9N0Z8CBSw5Nhm4s6yI6oIXVTcbsoMhDhmtgdo495oORFwBzn8B5MYnQ
sjEe1nA6hd0cYli5hkd95pb5Lp3WRc7jzFL8STPKS25ob7XRI8BxOUTKzThMH2FGAKoa5dc6sfFA
ISPqqAldVt1qQD1oejQefDPMl0NQnEWO/NOa1n2zbPyH7qUbB/d5ijxnsHDJVgxk4N2idy4RDCkt
JpBZHu/auvkxuWseU9GYljO9aZTjSJ82iKgzaAbGTQ503w78Wh/PgsyxV1LM6dRkc0+2G1EUsc5z
RwGH5xjnU5YppgkSAAoXtptqNskLTXpIfXRWqNV+coL9qOm7riF+uqgQrskd6eC07wYzR4KE0yzf
uyXySIJTW5Vt07Ou6m59hK/bZYHX5v+HfcTAPng0CnYXIkguyfCQYNAm/XPsja3Xe2tR+a8NZjrx
jmMf0g7vHY+fPG5t8dZ57K204p1Mc4eCvbLfRnSXOYlfNMuXBsBct9GBCXZBxwTjVwGqeHkyEJ/b
fO0M5HkNTE+suj3aVfwGGVGaxj9DRy2bUypBZGSrnGKdYFPtfkVg+xuXXBhqDAkQoqFccpMTDLOL
3bNsTgr8cMFH2XZPdf03jcvG5StgvmwN4Z6B6GswyLVC8xDgDs7IpjgRasBu8OiR/3aM3feE+Ta3
66jVyzq2Nv8BDkR7ikIsVSZ21d+By6HV025mxelp8mH1z+jixzRY2LieEvi8zbEjFdgw2LkW3VkA
2KuZKE/5wZD0UsdKVOsa2Ew9XHpKD/x5j46DwUGJ7RFEUODuYU25dSQgONs7+kbxX4Scmi7QCBQ9
s8fkY+5pGcV77PAF0hoqKyP7v6bWyQj+dpPnCPLCAIg7PE3iXREqalSHiprTuwg0ESw5y4h7u3MR
ChElA3sE2EnDcrLNYfPQgLDubqo/kw26/2VSS+q0tVI+ErrfsItgoM2wDuEdesEise4iFIzRwsXJ
HhP8pTwkwgQnh7NKvE+kuDvRqfLwRRNCVVCLRxXjO/xY5FOgyWRaMlI589b+TxEC2HvWUMCm6HXX
cUSeItbYCMfIcNTtTxd1/Wi8oekAtcuP7NlZgft12bLI2H4bWFDPo6l+OebW+r6xOvaBExN19bYB
bNahAxAHO/h2QuemjWKjMUBOH4aSV/N3s1yiSdI3Uvwz2V+nHkFvEVvfDgNY8Qi0d8uiRoWoV3n2
CrdkhqoiyRkwsbGxeICLJlpHWvAhNHcjNYscPXJ56aT5qDCiWdhZWytvDmbTqAY9viQtieNddvZ5
KECYQrv8jFE6DKhJ0ujRNdRV1Vmm/soCfzmDt7M4BSYkN53xJ9Jt7TzHA98Vvg6FPdN0jpAZHn6H
dLiGHBUNPbFU+rZux9+a/jIczC3L2paJDoXoaLL8YlLAapdSYKH771E6rwra6BiVQz8E6+K9Eqi5
iisiL8yRCHJyB0yCLV/DjKPVNtNsAfN0ZmgNK489bKO3qylrvtrcv4zMutPcekacVa9ih8Bmm488
KMSV9ECytacuLs65ZV5KFhKNpi8rPnuCmSxNeiI3rnoXHA2lAHZALnk9/YgGVX10wU18OYC72xZo
SiK2Mfa2HhmNg+GkNo31EH96ssEJscpdAZufL0aQUsNSCNPrqooRZxW9QY4hknFNPgNdZvzF9xo1
56Z6Vd9K1hEMIdgNhZqzh8MBYgzzk5NzPtq7khUEQWA7V9OuGFb+jWZHN29tHd/fF0SRe2W5jnuS
+qLgS5j1CrnFgP7E122YEYzVgvqmShSfNCmnDjYp6iS16vjvIubDeewJowyrgxbam42eTh9JgEq4
uLqtvhVzvjIL87WhzRQBKwFwBS2iDofUAISkt9x9g/rOzu1vDpC1l2zimUR5zjXW6w+tfbi+Rt6L
fR6i8GQEWCqLcp9rtNdayHA4WrXYJfR2RF02vImGLUt6LtjLGtRE7H/pB3Pq3LcCLmoROnDpVWO+
b9Kd+6gEByxEFi17LnA9+/kD0iDkr1linTZn6qtHaeK15SfNHNg1CMa8NTdyAA4I2WEUjKhcaBCf
tkSGaFI1+axFGnvbhHsbmYPLEZLeO/pbehPywsgTSAAOZX1Eka8vzX5StzFCEamoDyFErGvFsnmg
W4bYjh23WM9iQM6NiM0GiwPDOjAXjkbdO71VeIVqnbCgjk01M2ybb4cjMA2DRZ6+BSaeTNVboxPW
LOCW7IzkFDy3OVxOCjKD4WBdJDA6ISc1A0syWFhj+m+ilnJ8b4UlL4IiLhyP3oawSpQYIbedGGjf
6IdTrF5IN1GQRiBKKkg6Ecodwc1q6qewwTQd/MoQkFCBSfHkWmAAMRvYLk7nMQMzEvZ/vVRbobdC
BVsVM+17slKLHzVMIdyM0fG3CkBLIRoEFNyEK+T2IatuumFSMrqwtSD63FpoUIlHHsTIhCATix19
xrrP5lMLG4JmajdCfCu5MnOmg1EZt4zq+S7XNh2OZV+sAG0iha5NwIDHWXLse7G30/LD9MsrMs+F
UlxaYfsapldb0RpBdcTxpgHHVkYI6O2zOd6NpoGF+DL4b65kRn/Tn5ulr78q9X/lYWvArcaibtki
o9dINCqwz7acQq53aNwOIQA6LUzdhYLQ5Po667HdtwjVveBEEWbk8ksrdEoIi4hHJN1miZckN1Zw
xf6VGL7dynzNJH0RRWrm94t0EDR0kMx9qlzQjtatIQVvIm0NBVEjt6VkVTt321meW/iCVkE65lbP
UjT58oDejqyMD4O2MwnujbzEKjHY1peY6AMgGkVmHFTGmI0OVTiHPm3p5vJdjjPNBL2WaHh4SRHE
dtyOOv+bZKeYqx1dQwcidJ79hUwr2hjn0/DPmd4V3M2tdzUvlrnxlq7P6RqKbcQF1f8ziySnvPKh
V6DZ96N9ibjYSbpVMkanojiDtd+7qXp184qXfaw+zrUgWIHA2rM2Fftu4LllzMNzRAyRu2ptFygf
Jj6f4LbEhEpJk5+xnJwGIMcWPZDhvdp9Co+mY4YyXsJKsjYCiIvMzgpu2Wxs2QmYwdagLHUBIwxa
91EWyTp80V1j3WD+cNN7qmDlDvt2M7skGpE7xpZ1J2UwqxeX3beU5o/PpAbopZe81k24tVgKz9Z8
s/wQelC56UHCFPmH5eiHYED5DKcOKCM1AfMhsTTZoURRx4QE/VH+V/TlJcnzryZD48ztmmbNc5G7
W0MR7siT7I0dXsg1aCkW3E55q1LgoW57IppviR/GjEnenNgOPqwGWYEJ0KnTrbeqNUFkPBDMwd7B
IactuzhfvGuxsfZjtF2N8B4dq+dq9l7dGvnKNYIr5CS/CvyrO2SUNUX563aI/f1OXvSKrBRkGbFm
PytSGRkz9NBMqsRaRh/tMCImjgjweJuM95ruho/jJq+uQO/ZPjrnq0KExYgaJEaEHtyG7P0D3QjX
8NP0oWYwiUCsUT9CdfAmmB5CuDs8zfD5ct1hrWqyAi5pfNjNhT+xcUcCW6TNwf+EIIk0pD7EBBNo
+IEMB7k+WXey/61Mul4vfo2SF29+BEz/dXDxw7gDIvfEkhWJUUN2mI4AekaWws8uCgaS6NZCdOyF
fvNDwg6yI50w2bTLzgzuFp3Uf5ucmKURAXERTjFB5CRm0kRw7WskB6XcoQcG/ANRxX5vdKTaFGAQ
/8n7eM/irQXr1uKt6CP/hyHMe19dvSNvlkbeNUUZBdk8UCRrESIK2dxlhuOFnV350rNrC1RLvw9o
wmd2hdW4BUYmqk8Z/gXQQNs2fc34TW2NaYGWb30HskVqH0PxFrqfA8kQOJuWOmwmtgNs/s0Xx0Ey
961+Mp9Jku8VRw9t2nrjHSQLWIqzqf33RNi4MTBJyLE5Dp1zs2DHoA4nUg7XeeSRXAmjI0G7lOoY
Ph9csaceKjrpDm9xK99D5o5PucZEEQFTEjDPiItjWt9K1FyuxzlHdSN/UbXYHl8AKZYzd/ukl6+k
NdzscUQVoVWkNHbM7An1dOOHTZgv00uTIBLb407AlDm4X3HOtkZOrGlT6gnwoVP8NbNha3MNrSxE
eZKtfZpcm94Xt1CZrZne2w518PibIdnLvWNgfHrQttit5Mmxr0ltAqlofhjZnl7VI0+68BYDxIwX
jVdQlT37NIZhvlY1o1VvG1CwmFBjOexqHGtlB5wWn/KU72v/zkvF7N+08aEPBEU5cOialW+w/dV/
Q47DBgAPa0YTiWrpzay/kIXS3kUtw8VynYxy46Kr9Zht5YxbA6/a6KO504MYFDTeWopC23vXiHuQ
Bmkd4fI71G2GElR9PusOZvB5mBIbKW8T4UB2Z/0MfGbje7LMAxxg5llP0b+e2L2Eu3G8N+2jKT6N
wtvE9b8QodTcZAgSnJ8iZFjnpMMN6ufCzPpLHpWnuY0AW126NHyVMTJ5YYR/c5scKhVIacThq9Hj
evCBwBmR9Y90nlM6exsY+7zYJh6cqyAlSQwU06CdETNgb2tJKIwcasMEkBuCPEYIvU6SL8wOaxGL
XzUPz+J1Y3nkfR+myfvPLlYh0DOEj12hXzU2C/g5c4hoi+LX0h3fHYkI+H2aPspoj/1NEb+cTzNg
2lfa5bFicIWG8qxzMxk4ygbNeAop/Ym9XGT6Le329IgS/TIlKYmZANXzL+oiVDQvJB9syRqIaFE9
qzgHfF+Ve2MVcZA6b9jQeIxVugnaj7adl3qbs5kAZMfQSCNPynY/KnFVmve0gevOKH16qVHGFD4b
/JFrLoutUykS/kdef0KBrCTD2ZzgXmHtTHfG6fGPOU47b9K45KX2BUeVaS/jG6O9lJ08MB9nkyJX
oUWY3Tzte+M51jLMy9ilGvcR5izNDIUKKphCzy8pcXIOCfGlr7HHZdkzeWsjsJ+TtHwopF/vfzIL
LWKMV5l+oK5/DvV7jmJLI6JFx2eWus2Fr6zAUhwKKC0d0rjc4Q9U25GHoU3f+PMFyqXmYRcxuDNG
LJSpEmeAQA3zavnqct6xN5neS/wzAWDerFNpJMvZeAt6bek6+asaAKi80HFmfLcIdggcZgYlM/87
N19atm0GikSPrUuC2tWmwMmkBIphL+r6YST4KG5q3wve4Kl12d34a/XZc/69cQCch6R9wIuJOIHD
j1oAnyXWez7o1qblBRar8OVLQ7dYU8Kp1elTU2eDqZG4G+W+/gcnfOFlX3WBfro4sRElzihR5Kdd
rEs22/aeyn3NhirgQdKLBJ8Zw72ASEDDY1CsqgSmSGHPDvqfx63SM+MIj/YQYr2V69jzz/pMyL2G
UUksQ8aV3pytBrYb7a/PW1FB54GlGDytvlYjJwPAghg7pKprxIaJ+smmwcQEuWGiTWdEmIR4M3t0
om78EiAhaoLuNpCEkQyw9CgcmA5idele5qRQyaLqNO1sfsX4V2U7ptgIMGZ17O1DZR5xktPAZEmi
5anyCsxJfdE713tCELk3MAIhIrIxBXcPYfkAGNuMA2+SS6EUIcOQ/1Y5+Xdtb676GoQXjD8zaZdV
1N4skzYjaaIrVBnqgZqOikEGb2/2jz1ENyafjHYAlGINdr1sg1emdMH/tIxAcdZG7i0q8YI1w55E
oRC9hMT6YvVbZ+bQytEJxcafbfHVt930SvItow0BUstEWIzu8CnskRrozTqaCohivU0zxLzfYwi4
aB4D9VBzVRN9FtgjGjXnRrAUiV/WYqRrxCg7oQOlEQzH/SWIrhWwB7Sr8HKszXSUxqW3t1b1NnSs
y/wNJoAwZAGpWiprNwluhJi6jCAqCg+tYaTkkaFobm3OcKC0ZiJf8rjiMCN7mPBJ7MrUvN3zZI3L
mOVJqolrF7Dmi+NrXJ0GvNDmUB+jfDzGJciPqgC1xb604sXs3LihuZr2KWYeHFo9JzzJvZj9/Jmv
uDVoSTjwcv25NcZrHyn4UJJCj6NTQiJWUCXoYNXhBcEcwO7a5Vc9mT/cUTzycKsPAyNiY1gYbU1M
un+KHP/dtu5TskmZuuVxsByike7ain5yjlnvY0yRhUA1XkqLJEkm/xZc3NKaH/0EJYGSRj46Rgj3
nJTiyuPuY8U9xlcdv1I9oi7OvtX3H7KecfW3JoxRPZibDlcmtoaCN00VNafOdr5HdgwGrtcpWWsy
+x4SAiW8FGf3OtTA4pjls0s0Qw+hOx8JQWB9lo2EV69Cm+/vravqm43zlwMqi+OzT6zEZH83CKqz
/nnUwkdvEoPAAhnqkrdPOU0qoPDGcpvsK5jmbh4szUz+5XBWkhlM4KtPLSh4Eq3fEQ0Sc1DUfAkq
IPRuzFsUszMqtppFLYbzuanLC2LwTciihmXrMi/NF814byboMDoBp+WfUW1R33WIdxRUs2dt4GG1
NnYdZYYZv6h2d0ytLRJ+t/kjXv4J6Ets7GO0+np/BNgbSP41aIfelycxt3+FOcUpA2W/J08DrP4Y
ZrdRM89OZbwEzsw4IX4tKmyILazNNv9xCDqH3ofxJiLHGoJDT5xNzo7C3ejKGJThXhlJiQmQ1zJd
u+Vdsk39fpdkzAdRYLSDc8aLthxndmAd0EE62TgE8onhiqp6OpXizoo3KnZs7oxyM4R8FvFbR7uc
JaOXvxaBAda/PLX+zZUSYw/UZ+oqAchxYv9hFqvCdV6CCqpfME8fMkFe4pr7yFYGYfIykHq/DZJJ
QC1ZbsulZ4cb23AJ+pxQQbo/eg+s1X+ptYsNbhvWqBKuFQRMuEtH/giGZooqxcbF7a2VEqzYfIJR
O0fRgX+LZFxr3TEcYfTj8+tOmnsQifjuUdX0LseH9p7Xb2ZJYAxuSIPegDm8oe+Iki0pnhsQk14a
oHlC74yWrGm7S8+iyJ0kxtSPqb8YI4RPMBIzgsYDsC0yyeUmQg/c/GREJdCUEwaBghYp34uWUsMQ
qmGDEYDSfW0jPE/ZuWPJptydhtYDBeQKjp8u9UykJBVehQyfJAHSFJ5y111nuAIyX/yLwmKT1PZb
GKCX77ih0CNGjKVat186CB+6Ov1o8mjns9G1RjKHoKQXtKCIX9rIXLjt1teTdeJLejzodc2DjFCc
8JK1Bxl69MgR3nNUImQc65q+nsZsg3HFdnlKeSbjj0EA2HXr41zm19yu4FcX2lVGxsNKflIjJP6B
a68BNK4ENMHqM+v+3PzgCAy1OJAzCwxP4G98yXNTHy1U3WGMvHIekB5mAN5QFrYUYlTd0fg94DaV
tX+QTsY2D5pss/C4lFb34kfoh4aGegXTiv7pC7ii5AQR6bqo+I5nbaON5ItNxhIhCAKEdpfRYfUz
3TnGMkSFF5rfWScot6F1eGDbKQYoRjErQg+NnlqRu2rJKe5Bku1m2jduccbQ0GeTXUyinwGypMM1
VOM7ZS7yE9bdqmMZYNYKgYcHFTe6E3xZDA+BpeBPSRcLBEVPvbQPJoy+Ahdw8B51xQO3XUD7jh+t
Q2zN4nhYBWJnY9EnExaB6yXXrIMuTnX63WjIx+pjxrGRePqSy+bXODmZETcDzHqmEmLkNZwcNU3f
Wg7ySoahvfmVYd6OB1Z+xHH54ATPnccNQ0ZKDKu0x4+b9NESUSLDXxddC7kHnMP2WD8HNfWkaVrn
asoRksN53zoFybmmxW4TyR9sFJJoNEeeoEGtkiCm9hrPY8dfDn5Hlv6WejsznidDRozPCRBe4IjJ
OZrqf5lPJmJoXROMkdQLR6Vh0GaOuA5LOyIaANdUEqUuV7YWPbdMYELT/yvdfNnb60lbB82jcEDq
MCDVGT3nqMz00Ua8hMvMblZ8YkAA7tFRWL7qZAWnAlsssxaHYQFjBHqD6KAj8WI133OJSuduEvLi
exTB7nGOsltS/B27FxZK/d1VDr5+ryy6cSJ25JedRi/+cRrGH10qth1I2nrj9Whu224bIqWZCG1I
+azzVJ76Ol6WNuAtthg+PWRW/Nh4GcasPVYc02Nh/8PvJbEkcbogAFB3PhAP5sYGOjsNpbmxnSBv
MVjmkQJLWLyrfIVSYsEYoNVF2GvoBPpHj/CV/8wIfnycuDElUQo6HBYCFhFeey+JsJYzc3Lnu5oX
QkKXlitq9QoDFrQp46UM9rnKdsa3IDF/YLvOlyKHXzT/I8vBlpgXrW1vccaDPvLg2/EUtfblP+gs
Bhzvom5bNK1D9jABSrk0g5ZStnvLcuS1SudkX1oECQBvQVRE0Ufu/7UdGleyruV3ERPH/crSAAni
WZLE50DiIZFoaqO1D1uUSQDorO+YkrgjhMAzsPZLAgg8xcUKEryH3H/5pBJknwRugykl+az6l3o3
Rx6roNnFDT1cPG3CpP60HfHM5BMZjLvvwnJThdG615AWIwBBNExc2qIMUkxCJA3Z1H9NR6TxO1MA
5bbRgmih939gs1VtgETYcr82BR7XvsAQCH7gSzoFeRe0S2uMyQQzwX8jilFOK7AA/xl5Z5PG2iWP
M8b0YIwDxFRiCtPf8k33b/2A1HiBLpg6AQVKXb5UzgrJpN4QCz0SS2fcO3J3rT8y7Afjouy7NsO9
uZpQdPMyKQ9py0KLLOA8XeZ4lntXksr+KaaXxiKUl10TWZztQYT4Q0FCbMvqL0uyZSxD5prWxg/G
VZfohEOD0GaynaL+rdxt4W5bfllChp9Dc2C/t2PC54Y/iXcRcfOm6fnGjptF7xyrjoTe/L2NDz6L
Asc8Jbwv27J8J7N5CEjM4E1riBedplLpCQIt2czG/N9oF99vFB4MhddADd3x8IX/4+i8eiJHwij6
iyzZLsdXms4BGmjo4cViWHBOZbscfv2eGmkeVrsSy3TbVV+499ytKUhF/cKy3xFn1n27/nfU49K1
dqZMUC9CNSYqMZhjsm4INojCPdxiBCb+NwNRwlfBjmEhqSnJJAR102q+Sp6uhocdrIJ1EfwyXC19
9VScqlYrW/VvtRDeu1wFuQsVEPKc98nBKd6mpD1fNGdXDocl+E4XdbT1+pt1WQdeQ5jAh9E0B6x0
DAN7HSyXAM2TmPJDNS2YeMd9NfF+OuWvFXafHvswvRxYtOkSuhc4dzSRicCBD9IdRA7SaweVc23v
Z+8lk+9pBy+cjBkcafqZLPPuEZHfBiXTI0hjqkFKyrrfRNM9CM5zwsyMsXkSip0IWKd52GNhhDgj
RrKK6S4+/sK/DgjWgxJLq5NkB8TWm47zVaAVMxaYaX3+GszwHqaMjY3Nsg1FU33SjVzB6xgfZSk/
6VV2fWS/BQHEqKAGPppBAfmK1PAZOe4+bp2DETvvOELhovx24VahTTT1UPav5ihlICIaE4yHF70K
7whwLDHVccbiu7T9n4B7sJHFcSBBMIrEzcWOlv+HMo8Jdrhua5PiM8m+ZRhfASCyHDDJ4J4Uzrp0
p8L0m+ntOwr+33awTnVv7kZUo1UIUyGqyk0tpw3ZnSpgbOoiHlDxj5rwH6UxdoRh2OTptyewDYx1
ierssSL8LEdj2XZQPat1x8BDb7f65DyDE3Z4O0qsDaGTbkEkUW+j+8rAF3khiTdfEEEMxBl19mIN
JcUmsCCIIDzaxWONQDnDliOQcwkNjowApTVovjhVmxOn/9UsiHgwT479d1ruZtys3YAdDhptA21v
XoNlIZGltNV6huzngTyYgz2IfV+f1ilMJB/JGU7ekIyxkV/TB0KSVD8Zzor04rftQc4g7OoPuM3B
SMPubioBParxxUWWztaSgCsHhFJM1iZ0nWChVq34r1N8bAyJsvFmKWPbwsIblnhFM4VZahWVnwr/
SRJxrjer8MDzmbGVLpLhasJLNTPI9SxNZ5bg+S2QAr4D249p3BSNwdgcIDFRWNNsrIpujzAIbAjW
ah2m2rPEpzY38zcNyxyKL8+ARMqMzCxPEzoRtA5gerJQrAsTL3ybsxAoyQfTA4nkWGBrMwtFo4Md
GNkCM+OlQK2T/rrI/jz4fy5ZGJM9PDjamt/iY8CfZCNuat7L2ju4BOq06KI8ylMmoitvYKlPXEOh
jSZMGBmDE3ivqssCCQUUroK+UZCQ7KK+dtj8g/JclXCKCvNTzTerCh4bcjkPecCSCBldSQRF+jXV
/Z+C/22sMnS0+VMdYagphhfTm86FIKljOPhG/R7Xw8Ftm01N6ijqw31BnsIC+sdOsHK21PCwCAuY
fDifBZBHE52u+OnbgSFouU9oIXs/h1e48F1paLfY1/rk5FFmcaG/BWJ0KurLtvyo1V+Hhu+QcF/S
IeZkojSHlmsd6/RyXNQ2srfKW4dym8JCsgi4hLhiIzb5o9QlY7Vr0EP44qYv3RjWhMvLDVMVTxuF
01+Zl5smOQXIqwH6NcfI+JDedwT5tzqGiH9R3cNOo9fcOoeAeaENmsxDhzwzcCib37R8DpkEVKyG
gAyR49j5j5gU0ORgFa7e0UivbNBtM7sicGydvZlYxOIlKPJrr26Te3a7j6g13ifb29QMMo2AoWyx
GRl0lJxNhhmNDyYrXc1ISL/YfxvR2WR2lpTDUQTt0cBnTmeSkukT9h8Z8xPD8E9GH+3liP0+Urxz
CoLIQ0hplbO5nGAG6j172naIl2kXUXAvUqzLoXmN8LnBlfLHNfsKZ5q2E7oBsl2ZXeEXgAlVMjln
jtjPKze6eD1OR2wrY+ISq5izfx9Wo1+hg6b6s069xHCuBcwhWDcVf7iVtydbdl25qI6HrqOrRd9P
KIFH+0DMF9IO58H4dAFYIql6zbxXizaW+yL97ARoUtRxyjoQ3JmXgAeOyl6wbVjVJvBT9qO3nvh2
03sdTR9jFKEsfNkRT5RToaBjnuTh0HDQGtXYkMHhlIyf0EoPKUQZm7CRr3boP735VXCjms01JU7Q
jsajOxa7tAbATcAvMzyHafshD3/JPGe1ae0qMivcGn+4Ex2yaHmofQYFMnR2BWS6KaO1aYPnkBIN
iwYViVV5O56JOsD/FOJ0ag2YVajrwA36SD4E4x+SeKYMMQJYNbRIPlGYFZYerqEOpR+v3a5NFP3b
ngen8kHiksGgo8gZoyHQSRl445It2ZarcrlFvCxV4h1C92yMgAeufnPp43uRWPQrYqMS+8G6CipO
5sEHx5VM9Oq1sJrnhMcCyvXG6XxFh+Y96mennNGvEYduk5KExk+BEJckkMFVz4df0WtChEHzZcFc
IbGWfLzWSg4O4i+FjAzlwwjZqPblC+2UGRym1tqHBJemXA4eenSHuAeD5mvT6JWK5Ryd0P2nvA8E
ioflVLCSdN2tXnYA4huyCzIlUf5YLM+lBbFoZ4/wdbPNlN8FIyGffXtM5Mms9mp6KjRKCq11+921
1EDMVIoXLZGwkxdF5cAwtw7VOu3ac9mxvSRPoiv+oiCl3dSbRq0NyZ/7kdByh92f9vLoYwCiqYTs
5Tp/es6qRVZ7En3WJvrw8csmf96D2JWQ72PuXPun9PGsJNxCvBBZtOdtjpFBExsIS/mcTzp9G2dX
RW0Y3GLqJUkX6+JOtyVijg1nNyMYUgwY2zjcLWL0NyWqexPmQb2Mv5ZHUQ1ZiBq3NrEQswKveaVz
hnGW2i0a5kMQZN2sbL0wavuXMDN5jtdlYG5l3l4yQyBFkI9NZ55zGES9PMUqJlynwLw+7cG/PJjx
S27aO2NAFmErGlokMC6TCX+2fs1APaU+75CR3MBOR96tHp8MmnA0KFh6fKCmJqkZwYuJ2FEEpNF8
T9w7YRccghYvmLiY8CgSoeO2YeCzO6jK4nky+k1oxVdFC2Aloz6YXPYxzVPjNCffK442J1gaGafO
9zZeJy8li0Uxf7qcrhbas3gAyFxjSLR7Mawsf+RBmml7Fg7zbsAN176GUmJ59Ja9j5h/hI0yWf0u
QLRDQGtwHdPsq8yN+SFhpViLAN1fAuPIoW+38+zd9wLk8dj782ZNC8H40ze+iJZ9N4ZhO0t27hwS
AgCwfbKYDxJtb5nNWUrnLeGatOJLmfqsadFlyPTNBvcQdt5akMbt4bEpJtDOP0mFtBV3uxn9FKI/
IMI7KWYiBgpXbe5OKZadNn8ek/mvfkGqkRYQ+lIVfhHcUbJwnfesis8Zd1GLRDcIiTesjOPerP+O
4tr28+M40uVO27Tst5P3LtFb5wqedU0WJ8KWTu49Mzz5zM0SWlGhFYNFee3IAbRYf9CphvU9yN9L
RPHCeUqh0JroA/Axb6QjMKBJpLu8b0M5vcw4B7ek6qC/T3l8hHhNa3/VqAhHOz5O/6fzGGrNXA1I
bYf6eXSDbZ/Na9K7Uvb4vXMaGawoHK9jLbdeDXMAaF0zAr8gG7tC0qe9oR2lkOcyJVOvLV1/GUJb
eZ4HfszcMt//G8IO6LJnUd2l/Zcb6boE4jYNvz2X1GTdzOU+ZQ2OAHPNRsxN7K2Xi/00Pk+IG0Kb
cSJxmGxd99jFGEuvpTkAiAOdJmwmhJiPSgaALUGIXFqmLjUqGjEWzx1fUvMCIGHVhNqthfsRnn3S
8wuyveetjtvw3AA7StPfCEUYHNGVzx6K3K6Om51NaOIg6F43TrGqMG6XsI27hW52womIEAQnlEFA
VekEWFXpqE7+8tOyL56NdhPjqnRtdK8/RvmGf+4hSN9/vCx+ROa/RhPMk+xyGLA15+V/btk0yvCj
Tb8NgB7Jqy5VPRwiAOF9Q2xKGMRzcAKX3dSMNwHVFhT/2ryKL5akNJUx8OveYiAbLsghVOZZsPDq
D6/WwELFLrnuW8aiGGraZUse3S7pgCYpro/qxBxw/sAghsMXP7UNiS4JH+t8Asr0pqU/mX/1PHNX
d/VFOaScs9ntQgdZJaOQlhJJUuGEv6b74RrTY19dDa/YmT52IHtnojGfsW5Psf/ocxdMAkrB+Cfx
0ktbsQmw/XrbEvUkccrp7zhLZthMF8anbJrDlCzxeVqjHlwpdIjJ60DWIzNVB25cz4rWRkqN1nFs
EERg00BBliUJuqVlEwZq6zfey9AF2y5FjJj8cRgWZXwWDkTyktceYameLy29fESSSNDKu8e2rPwX
fHPSKyGJgipiAV6od5M7wQG+Z8YIoRC+FBG/NmNUPfQbcOfnbJFsFCh5sW/eW2TkNq7nKaPxMv6q
Bo8UgvMAn4IzHNtCrlOXVGXWz7J4acnHpGV4Cjz+86CN2uFaUBo1uBBSdhVticpaLg/RX5/4iBl4
5nBnZTZ766Zv3uTo7ZZEboKUhG30VbMVk8UBuRb2ZInCh2BdysN6Y6I0inqaXv8UBa+lBVP1taat
x7E449DkZAXcZlHeTlQeufkz5qeI5xprLfNdHSbq3sj8uRFuNqvfNL4ZzXstCO6G9MZ1aPP9VHW9
RjC1KUHgxNayp7jQL+aaCRU7Se8UjMeew+BMLRTE9n9lehoVAxSGR1Yin3z2lVXCWICEA3TED93K
BJDXN5zZ47LziKiufDRNGPpJb3rs83saQxxI3rSPccxeBDTZ4g1pA3qt7Eui8moDBOk4aWdWZIoA
XxfxPMybjnYVSQHOAYakdOMV5X4AJSO1Ax3oZde3zPzumuuExRsV1UqM3j6XzDX5Z7u1PrSYN6Ke
UdEIai1bwwAMsJsF84eb7Irqq+4+winY5BoIzoGZPEXZXTA8KNLfViTsEFhrICswmEIvHXyy7lpY
xRtbce46dVRt82PF834sOg4rU57MfmIX4x4jQSSBz9LTJx3GMX/iUWcEYuCfuRcu/CFBYUaAHNV/
ZgRbo6DtjFl5Fs27u/SbpKf2zXZVexmrgL76XoUmGqZvxhKImAcNGW188GeW96qZt+nMzu9iWz17
QPVcN/LQCHX2fW/nfjpxfdC7rboJ9lUJVCTWaOYnw9gxDodAjLMSmzzOFwvxgcPgPwMRIg3Uoq29
rimXZrnLKIpcpgRIhL5pvx6FBo4rJluF1DFC/z50Iwb+nWV/SOHcYZDfTREWTMvjinAYdLDlJyWG
omKyCVPGRXHiBYWYISn5IMRV8FMQ1DSh2raL/9x6BPmiEgJFXi3MeWx5cSfaqVL3Fm7T0i+i1u6A
rbltvzaN+NLavM9NN4DYQd7WkfJhzhPAif7JpylfQptcqOIFr1sGg80qGJ+/JSAvu/IA43MHAetp
iMR/adneM6PcNhGf07RvrwOSTdOEuqpA3kYvTjAT+BCSp2CzqXZs7NJBEcRE/8prJORBh2DAriJX
lvDq5Vohfc+Vu1qyN006EQZRYUzX0sL9NHuyEQK8li6+H7J2ClJXgzG8639fMT4qwt+gKI5m6bMS
JJkG0X1okEAFYT5EFj7stcrfB+Nt0ialVN0Pg9jM5bcxvkfGzgC9EuZ8ftjRKCqM8TJrRa8VPZnS
+01zugSr+FCNsy3D/DgILP6tXnPCZkuZogzF2g/zneFu5CfipDbcDiAZRQ1rrTqp7IqC1WJlS9mB
xgQhCHoMr4T90s6PnfuBYyirq/3iThtd5uQ2CGqj+lZtvOunT65mkx1O1bKWVfazLMDxt/VBYiby
IXgGnFTWKca5aM77EFSDAaFdoRNu7V1BYKq9pkF+6MJ3lhw+ukpj4Wf1/rnDOrEEIXJ1XCg4usvU
IkukhIecIUTtt6PEgmmeneTspK91oc42feE4npvk4gTRC8+foXSEx7pqfgrYxklPIpHDX/2G0yVi
kxN2rxOFoxV9tOC9pjS5ipmoeab6TsF4IHCf++KHKRaFjPW25PMF7M/gguvxceqRHUblJqKfGkKt
/1F0+XaCbkYGIvFCOM5wN7Xm9n00rx5ZwJJ80g7QHUtS8M0W7g63lmsv8Vao1vEtZU+YMx+wfcuP
wrUPfcV+fDmNPJEYNXe+CfoSkGrR3RXlXg2DTnFTzQAyhZvuxlRsyyTaROyAXbKYevKfkslDX4PO
A9e5wEjVAlhwL7WHyA4dSjOR4VAfE3QMgkmVQONDZdsQvEXpsxQJtz8VxQzNI33P+AlFwrEMFq/b
dlr3uzA3TRHNc8Cw84pHrOv+eYAD5S6IDiicbOtZbxKU+4up15z957xhPW3YR33UJ+rCPZe74SM5
fgt8cC+UuynlHEFx7zN6zRhi4DVOs1eBFrN/tgzUXC5yFtMGjPSc5L8C1x8PFBMavjfrE7LepsN3
XOJC1F1ix3vl9RgNR3/fJuGGDPidT6EByRDelIOKtm4cBj2MaEq8F07yUnTlvnGMbRWOz7pv4wdB
LoeXN+yRYpJJ8FnR8moS4HBiDolBZh0oYtXFT4jyDUfPI94y0mdgJOnbDfKczINnNKlaIL2GprUN
oW5HuOCGMLpmI1Ez7N3HZcOfQPzMWH7TrKSqpW0QxBBXuwH+cEiaCkQnjfN8tpu/dZNzSNlHg9xH
D1ttlb4h0OKTHZaG0QWhVW331GNUdtER9fcs9E6FOwAfiPYGRwZ7+47rhglu0NpEdKhdSkB4TMTB
L1O+ZPku5S3nko9R5QsLDuJbO35XmngzCwZn9aqbx3XY7yqoERFe4eKrF9mR20Xr4Lk1cnFg1+m0
Af5hJOfdQWI0bYNokygegJIAn83CozN40SmviQitVfXK3qjoxj9yQJRshUfuSlao2qoOW5WtbREh
ZiJFLad7ZcUZ959TQX7OFB6TmLl+qg5hrp4WdBF5dwPJiKqGQSJEncZJYY0h5ZwwYATXvu6Pg1Xv
7Q6j3tiTEBcc5t5iXTcxUv/2zPO0XKS68yReuro+5/TpqErn6WnJvyZCWfxoeRMOejYvuaoP39JK
bvdDNgStBejamUTGiFEeJAWw3UpC3RE9sa1nbY50gqJvYI3/CXSEEUxpi+cClq3i1wowHg7/wZ6d
M4KBPsRXvrT4FLMVC5y2f+7bGzdz8S8w8rKYdy22z2awlVcL7ktXm2ikufA9PFXvafbEWj5atMva
+GL7j//v3yOb/SBb2qXGsgtG52xZyQV30uOC+MGcsQxtsURRTfOLUC8IY+9chnVCkQSeNUOEXJwL
GRNi+rfu01vsMvpJq3Ocp79DTUOmJ4Cxx6iF/CLCRQZ6Q68OmAVf4oCqqPXows8eFvS8/0zlyQu5
XOOf0S13IBF2kHl6gpNosNm2mkhqfMaOCecEYxr96742ZQcwm6DkmUjg7JLSQiD6qdBihmiDdF28
DAz+5p95Jgsj+/LNp7BFAOx9MfnQTnhELxtn/BlZVfpsBmveAoc3woaf5xGs45EOXtvBqcLNaXnJ
mSVOGyA7+TFgzXc2O8yU0ZNux0AetCDKHaKwkSnkCWpiC4BPyMx3OQ3opwPmnQZymLQBmelfovKN
RU+Kl71tKc1Id6fxkHxE08TGU+eKV5j+WJrjtiUbouEUu0dIPJvYghQD1oF7rkk2DSG96KOsaDqm
FTue8U5P2CN7K8RZGOkWhnTfw2iJ243j8sLY7sl2qzdfmNygaIKtg5XsG1oPWbCMJavgYuodG3PJ
mt9trJkKNKThMm8Nsbakhc5YIxytR/3k9s+SyAxrzh+DbFixxd3oZalQ0c6P232RMhHq5u0yQBUb
dtnMTKmitUM8i8q44vwMAZK4eDumdd7fUiPcST5ASWynBBLL1+iXPxl1biP2yn0CS/xQlDHO9wYN
FPRtnLaEX3n8hun8tcRa7NVxHlu+2KbSXcmquzcUjUs/nKKiwCxMpi57Hi+8C+U/5sjHWqdcl8nv
lFH52FBwPTDp8RvwHjhhjxFlSNS/aY+Gqd688qmm86+79jEA3Z7H0A6cXZAxPC/UbmBoZEN19hjK
UlnCJfFh3t9AB6UNcaT4u2Fkhiuc8NRTYO7oG3mSBWwKIgUe3JE5V8BmWLJ9cA8xuJ2URqJZ2KDX
xB6g2UcK6/BlaqS4NSDEtDJWHROqvV/gY25VEnCGeCYtjGPo9jT9J79F0hLw+CvkfIWbfCAi0hWJ
ouOZByjbfYxpQL55k2LVYh4Q7zLO/uyl3EV/2kGeC6TsKbmrpjUxax42tnI2UW19DLNYhctN0Rkv
YXfsE++45MOWIMcvp+B9x1emsfw8qIxs1gaTdXZvU7GTS3MuLJZn24SOcZIzWIYYqB4irRQsA162
DOi3m5KjiKwbAJC5FqZ5dforprDmYWAphUpYdQg37RYp1rsfPWUMgCg79fvcXdBc4dxk3PAq/G5r
es1lGDVQhuhGJXb0+vh0YBl5/r8hWudum+pvLSnJBIHqs44ajkzg3uHJ8TmGsMtVb8F0ipav3GX9
4jxL0jgKlpk9XgZlcUppU2Kg9qObgrWa92TKZcJ9AG+PipaRAXgiRCRD8WMnf6ageOKHTcmt6akA
MGPBmGZZ/MoiEB04632uLmNAI2VkH0aPuF51G6/KX7PM4IX5aumSLAtl3LMHx8dBIihJpQI5yg5H
BqjibtNE0sZ/fvVe2qyI8UIHzKG1oYUyZHB3gcVBWDWPrFQ2w8QodtgrZ3pgmZN1mKiIOjQxFQz8
PFmfhHV3ce5pnRFVCdbThHqlC/tHF/z5SFU5zTy0ijyN6bsHimaW/dEEtugQ4l4Afx0XVnw6QDrl
PNgE8fhICApvgUJRYSgMi/26HoN1HfIh9/S5Y3TSm60UtUkACmgkKQWPIke8aWBnIP3pZoYWuIce
rKz4ExFYMTrvTQGUyuyeOMkrSlYsmCuzik5Z7W7TuD/Ezry1V2XZMu33wr0vCAGohzco5JvIr/fm
Ur5MXJoNS/MMQ4L+DjxGnLIZ1gVvTi1fSjZ2RalrU+AiRUYYyoj56pptx4UDpvCOhj2w/4Velf86
FONZbHMKk/z7Dz2v64tjOO2X4SntcB7F64FHPRY3h2AoGSWsf4t/98bY7GMfS5FLwhLXI/QJC9rs
MrNFYmbl+cj5GaTNhBgvS/OMVART6xtPQzc+CwVWoRps+gXrktm8yFh13Vi9wHyhmLWws0ji6W4u
pIHGFbcg+S9BuGOBwaRgrLP/VPQG/QjF9cyUAkifB+0RHD8CMppOJml6r+FP2bYfPkcbHt3RUrS2
c7Fu5nqLvBS/nne1zQsU9nn4mKH/TXbMEcAVGm2D8p6DkBB8bClxUileche2JXSgooFfj9pRm/yc
PWkXASk8TcfF9YPacGb/aroM70nP8xXhtoSlCbFOe0y5fXEtmvatyZ5T5TOKefdBJrbscSum/RNH
xjz8euHf0YCQjey4TbMPp38ldELfp5xAkLXWjSYAuuVPvbT7TLAup0rJmPtJ406bgqwJP3ebsaAw
0WepjUcjG+MPgxx6MdrXnAdkqgCLm4h6OVcqp3oqaxI/3dOMkzlNtvCLaju9gNw8xN/WgI6IhVjL
vgU4Wmtzw3CttyTKz0Z/zJrkeZDsbElH2WczCyzf3ATTnSWRigT8LfFgJpLbGDJuW+LuOEnhHTrw
Mt5LMHxLifaPbPKKur1G2GJCWiJ+qsg3wtkrDIZKNtuFI7JJ+70HoSJ07CfWEbVOcmomTmKm79Cr
tXAo+a8LAs5AZEc1LyORVwYzGJobdr/+DAgfd5ZXwosLnkvamoyvs5F/Crc6djS5XqeO6UIsHnYL
3q1tWoErB6cXoYJbylU4uFvipphn1xsjibdNcO7FAvGV5hthsOwbaCUvaNHX7EHphtqS3OP4UnAp
23NBeY5wwF0lKLkqwr3nfroW4NkQn7sQAgq4LpP34vOwLdAgGwRlbA2gOEwoluhIY/6CmLcjLTEg
8R6h9ADFr/c0WxVJKXOsod6V0bvgHUwYpkrbu/pOvpqYLdU5cYls2/WqwP6kyX/UMg7J64O2ECYJ
I0UGz2S6bvTOPzQ+8h6LIwDagAe804YDlvz6hR7j7gNrbC55wjh/++hiB3/jBh/HzPgE8yRlHRAq
Tmgsap0LQM5saNLmf+ecjQGgKehquwOLYxomVGqoVV2OSLn09H0nqxiIVVx2yXLC/7ge4IKAc4bb
gHPCcKkjGq7KHifrtO8sxTOhLUossFpzbyrGLT7Kx18LejFrYhWlO3jP61jd0+qlca9txCdnXZ3k
U/OFK7QC3U3vZfzhlZK79TepRHcTclQlj2ZzY1dGij0jMRIE3OF1ZKwa+t8mlmTGeH73V2PMECtB
bKcsvbnmS48rLISgwwqnaLqVo4OGQu7IzN4EwMw7hgdzDbalOpQS/5GPnjncAjrySepY4L6OqKcL
49tpms2g2OxcRlusG6o10p1Y9rMCbn4B4GwSwhaJRcKnCqoF82uC3pKfEO7a9F47r+zEBdlKDqo3
w/ahkiYP/kFUC+s1Zq1LtvOxfPJyBiyAsd0wvzknkGwW+8VLPksKGhH6Z1tWG9d/SfRYkzRN2F+k
iDUxDKH7lDd4/fAPqi8YCXH3Lvi5HkbpJTqP6nO0mF7yAJiAJIxkW4/ALQKBQgAN3XCPJuPBd396
VOssVM56TdgyuY2QM2CT/tbG0Km5LzycBjtRqEVMDHEIUTo3Q/Y44NYdWi57tjaldfWWbeq7e33K
0DJQOI486hiByJLQsxE9FbeaU4lInh7RlcmLozs2FKeFvIxsAMIkwTgSbqqk2I0ZIiyCMaPxvzx7
wt2D+YH6JCGkREGJ41iwf8bZQPtGpzAiF2gQl0zm1g3t41KVF8j+mGFfRTWvDJ7K0WS1TLMkfegN
zXvK9nbKy+uEZiFndhUg1538H0lyYTSxnSWYG6lnXT9nwa1BkORYB2zmaXLOq37bcVuN1Lzckf/q
XXzGDyiF/fZYIZtpSWptptPcM4kTn4xpcu6zCB+BcCD3UcY243JjUGiJk+SJnbyfqHkf5fMwfXpc
GwWqdgN7n43YUZCkV0zkfb16MRLq4m1hpSP7S0E4o12bJFgROSAvlPwpY+oB7pRs/saENTT1315c
wrEhFx5msfri9bMqlgLMzaZduYdOMLcG0fYfc3kHH9oJctm3MzOiom+fUrFAGqQC3OVA0zrrJfJf
aw5t3flSmkXlva9wOATJNrQ+RzM4LSPZU8nGWzDWmvci91aJIjiVeMHoDCUgdv4jR4YwjHvP7KVl
IjEE3TZkI2gh2LJcqLBzR9bOtG29jcsuCVCnss5Wd/FYjMwJqT/UcSGJTzNmnWKjhy/S6tEwesBt
mMaWcmMdOXw5PDUbsSTiJKRhZDarEVIV2F/KqoqZuF/FT2Zgn4TODcuSCzeCv3Hbnav+6ZWmCFt/
Q4akZ6esbhnEuTuDD6aMQAcYvLZA2Sb0AFooYAQpJ8lT755YCVlw6dxTh0WNbcQAHp/Dmz8z0+ZQ
hwlz17M8hQVWPk/4JCXqphldlDv1LKe+J63vBkXb+8eAGuGRCg+jhhYlZhZPGLmzMZlErjESwrhD
uOG2w4toaVgmY08pmPmMVRgU4MdW5XwqcZY2rv2R9kxO3M/cpl4h1qxN47+yiHax8TfqAWyiTOos
TpEajn978uJg21CTlj8ImwSN+jxZWyCSK0UP6ebHxN8rjggiUhbGP/B4uJ9wzJAWGYLek9UxNSZQ
5HybxW/KTm8U1kmBbhvxOeZQhvPuC4gDiG38KNEfmf7FX70qh+LRo8DCu/2g6D5D+2kY8dExf2hH
fOMfNeOIjmVTgWvPpKOPyJ6sGc+n7SN/aRejdVNinMA5FGz5H6bFPVb1ziQeESUgblsOPITBaKHX
KcPfEYNA5H7aFmNMOOZJZD5lxXuHrJH+8zHDlp4js0zLhEV192DKN9asTgEMCVxJYd0pPVuUlLK1
rgZYdiQsq6LP3+GCvlgzEcWAqvGh0BYOyH6sl8zD5cnnZCn4OwuWZ676ktcm6XgoOdoCvgMksl7x
lnhsCsUtIsTIynsEKgsbsfA0R93GIZ2bmj40dywYHh2nfkzg8Ml+vQT8dJ5CSRMRLsA3UDeoYHgc
cQORo0Czo0WS7qpgTNSon+4+BAoCFGkeebmGvLNKBQno6HK2lbZZ0hHAVUMXniRgDeNhg3Cf08da
O6IninE5a9yHUjiAQUjiV+6BqYdhhxVIs15fw4nG7E3UEd8HQJlJrAc73OuvtoFRgCJ/43HXquk5
4XCPpn2iArg21xBxHNwE4sWG+mtx/J10nuAUZsbyWC5MvU/2aK3wzTAuIQqQDXZRvOkLu2A8k9p7
RisPJuMzwOuo4Ri6VV+e1nXF0SF1U+zhNKkZIKQ0fyJBEDUSQY7l0aLn7P29j1A1ZNE8zzcccR3X
Z29okcHeI4q6Bd8eGy3Hpab6wrafENxpnT/KhG4+mCTptEBeXKzz1aeE6S3ZWg/G2gf/sqBZkjwJ
Hfi3KVUv48wJQ0yWEXOuA+rqsLX1HmjYiiAWmnNSXPRS0vNO2HJYPUrnx8LHiG3HYZ7HGDuujwsO
ZLa5xg+v4Yi6hcXNyl7kSWNSCvIMugmdYK/sQ4XC09QF8FzgU+HBCVs8sTVVNlgpMkQm9RjDEFFz
82AAOk8NhhbmhwwwYrcRECT0/1pdq/WELOrUpYzrPXHcolweND9z5jguBgRA2IdFehgWnIvucAzK
N9G6R7yAyOCHdZvSC88Mh9E/igHJB5jNzMkPako+KjVRHUePNcVQ0hJyNr/W2KvCFNYybT/MmR8M
Ug9j+W6hMY9Ndl/kXWkXRlbik4XROwRUGsSHcxqPnzawrins/pHZZIXPbmJc2MJigCLXIN1G1apB
YeGtIwbSwljUGCYDbDpYMF41CzTVbk3/Hb4STw/GOCDZHatHAdEXVyurli8HqCoomMLjG2W5atgF
aOT+sGCVmFhsdbxnTUKocfWuwA2buHY5uzZT620BMRBEe2ytHOn2RCIwuTEm1RRmRFQXFeF5wqJx
GV5kDqQAFABrYzblCajne4NcMINM7CtqroyS3OqWU+K+lljDFOpSaHfgz279OPwGTfrceB8GOzwX
6oRLmNBSiA0HVuNgGoMYyWuSsWWu8/DAP/N6v7Jfosu+Z3F1EFSjov9S5rkMcQvjCAKXyTgH6j2Y
x8xoQMuc85hh6027++7+9D4P7XbgME/nezL8yASDdvDuDLpcz849ksoUhn2C0chpDBQvtww/PuEk
+wBrfqYNUqyXW+aQ6Ym/P2cVAblgrGfGNCDn0gAtIg0XEegzs+s4eW/H9uhIe5uk+XsxCEY8SDg4
9mCzw+PdZLwPy8j3Vfi0G3yCqLiguG5EjTCBf5+b9atQ+cYawufO958uWcBrZZXv9Qi1Jd8YHAkI
rnJCWqUk0aOOV0614TgNLTSL2B279jNJC3LArlX2P0nntdy4tUTRL0IVcngFCIIEg0RSlIZ6QVEJ
OWd8/V3wrbI9tmasgHDO6e69196p7R7FhA7YVr9ELxl0qPXsg6JoDcpulc6R8MdCYLcLMd5OfcXO
/C6xenVzvI+6T+KD52Y+l3mPHpHh7gKYoWX6mKd7IK56YXmd/F7S3i/w9a0Z1IO6EiSoCHt1I78W
KOxn4TNTmk0vyecigRbNNrzCt8Et/IxS7df6ZxG/miKNW84sTL8MFZsoeF6URcYhQwrea89g/Qog
oUA3OQHoi9zK3g2GbOuJTNDeDemnAqVQagHh18OqkaMcBZrS8i4BD+bKHPUiItla2rQS5ifE65Fg
/VWZsCNHwzXexn70i8g89XD1Bonh/fwfbQdsnANa3xE73YM8JFnqPjfTD2nB9U3cRsWNjc3yFIoj
U2ID9DjvxFhvZEU5T3jd5CreSYhcquQoFLRzQneWKTc57kpKuSW3asJpEZHCISAviCsagprkJdMl
Vzkc6aec5hP0Sx78lMlzQyEHOxXBV4IubuLhE/r4oWvVyVjifaZ22IlM2xAZ+RReNFykAlqiug/h
wPAKGcQHB/T6ZQkmm/IS1JLTATowBjrT4XsYQU/U603aoIDA7zYyDxHw1wqLzjkPlyaMoprbjx6d
anlyBqHjbbuj27BaDz7bw0rStz77F+UU2fVMTgRZoK4y+yPmFHqclYxpoD8bQ7YTAGjFzSWBmSKr
qdfp0A5jZrD0HjmKf8jheeys89I0nlg/urSx5Sh/iOFZXw/Dy0XmgFoZirvQLIGWReVd0BJctRGg
XsbfuhxeVDwcOgTXqT8IOWfDkAlE/iDWITXOlREeZZA2AHry+miIt5l6UBVwIKCOIuKj1wTPAire
jwqSKE4oIPuKxMvLf6mON3kgpfBTX+qrZrzIyUexoK/iHCpxXkvqHbsshap0MjnWRHHsEzJLYwLz
5wzDAlhCkTP6YI2WEEb2wrGPKZRRZg4gZACmzqvcwKw2upptSY+ziwrzN7sle4CJQgphJCwbPK8A
lqriO5zow15nyO1cgGD6EwPZ76FcWaN6CGvTbQdpG+PoYrrhSdJ7FiEht7IrSPiZCEulXk6tSObD
AFaS8Lk5MbHxb2ezOIfE/soTEw7z3hvZI2FQJmLnm6P2rVW7AzF+NsC57YhDNgZitZImG/ElFn91
gDcqZABw15xKgKWgpOKAsgyXHrptViZPEXxAa6IdyrBZ0e7nbL5W8eaiegUjBcZam1E79YGGaLE9
LAYRfn33vSj1w8StXiwE6DRbAQPzwmOpBMYetEFsYSGYWBpZXuP3lOZiTuu+7pJ15Avan9M2KE1O
LyLfaEuzEVEDbwBkMpyWBOMxKkWuy6w0GU+mjIOUw5bKdUTBsDWjyjOr6mrm5y5Hq6C9ZOGPnmKC
i/S3wzi050lZG4PEguILw7a5rzmEjvi32eIgTG0VRD2Fmu6Zu0MD1DxdItM+eg9pVcgT/iH5MZOo
APCJnZhIynqEIun1P+rEQQvZ5bLm9IIE6gErUJTQ0hZXd4UEJ58Yq69+nWfhfS8NHCQZfSCFcTAN
IBh2lJM06I3B4MFihcz2KauzMFecsB9isrzmLFyB/mxoqmxLuXhraX+iqJQW/arnz6H9S+hDtvIv
YcFZD+k7QV/bbkthPsfme8TkQGuvqx1EmTDnoqHohuCchMCmZNVhjW5f9XKkO48ImtUnqqi1R7fA
WUTggpPmDJeLfPCT/KlDtDYh5yioGsLikdUd+QrQbwba56cEUgh9s0o66KFyCJr0iIGBmgiBDpM0
rQa6sjOFdq/DK4/3rbW1mhm1EC8t7bhRhvA4oitdNIl8QtVf6sHLFjrvEkx7aD3oYZ2SYL3su2dT
ihC2dwlnkR95+tKSs4X9gPL1RStDOKTUwZxu0vAiKhUXljWQYXlb7ZZ8S98cgq3sD4RSVdq1G7yW
Az6ac5pSqU2/HbfYKKt+BLQRsI8Xow9bG2cCh2MksgZ0z2ITw2IcJjRqCi/pfuFNVEYiQvDqjIjV
F1SnqgxXC3zNgvsBY+/CsUyhPNOXAT1Y7UnlpZ6+ZYy4Cu4YI362bKoSlCESJA0s02HgqsueUQ2n
dtx1KbjT5tSTTWKWf8j1ZDTYaNiKfmeJ/S6e+31Dk3ksPDDSMjj61XwYHOD8BJLizQHspBGzRZT5
Gf0xJJoLawSohSKj/qFZxcBr1QLX8iWJcWKySqAUhE6C0lr/ypZ/ZXqLUCYbw8kc/goQaKkCy1xD
ICX9gvhIeMNjETiI6CccUwS8GaL0TMN/GpbQYvDr8G+CK262y5eowuZgQm5243bFRlnYzP1prm6a
/FUDn2osL1GQV9CKR0QWXtcOuBWcKuU1op7Bl2JReiVL6uDPeZUATHTSb55zR+lFJumZUVkRP4uB
OAlueqv/i/Qv1hGHlqaGMrClG/gTqQ0YuJWHYE0f1jw8xPyU0kMEZNCsdXB7DWl80yfbyOAB1ilN
E9DnH1w1RPXIg29IR6SiHD13AxkRua5+mNi6cr6gsUKjM6xBBaUJEbxIQFm5JbgBqF8Z16mcTiT6
TNyEkLsUrd1kXso4w67NcVDX3+hmocnpZV9jqCE5CVu7ougPtQVgaWEpKD1adImkPQICsng0mAzx
4RL+YiueFIT8sqp4Ys/AUkSxeTeTxQ36N/63gpU9ncnB/QfHAmAbdoscNENmK4YGtzSMqXnj3xp9
RI9lPTTHrab8TsYfOZecfHjhuubJJDFHIq1S6SqldZwkwPwJI2NpvKlwG+zRN8XLPF2PcslJHJTc
RpUY7e6SlB9MC977ZNlG5pMMbVvtsNPPGLbqNeLCXXRtk2Hx0mcoWLN+nHr1ZS5RHTO3JnR+IqwX
3B8CDzryKGMCvxBFt5YkrxP7T8b8ryIzxqn4jaGlhmB1iwitd5nfhqp2pWA4ki7WmK8GFYU68M3L
AzvIvBNxCqMaWGkKtWOqsTs2ulfL6yi7R+FneRXBORrnNKnC42sqnqCPYD/emYK4U6+Tw6TuVtX7
oHx3E/0CCDsBU1+J81fGrS0U9ihAI/D+kxkhjz7s8Ufag4AFc/qG6wZUP/uu1IqeK2N62q8dpyAa
PUFKAI8u0l0Xrb0ETJ/ePm2XcR8ifl45xqMx7rSSecJthOJhRDiSGfdZ8F6NMDqv8R4h5/GkVjyF
llOb05qZX+puwio7GreaY62lJW5bLrwM7yMcvkEJ7m05kNBFX4dftf6zqf9MXlHeQpQ5er+DAmEB
jg/Fc06engrHrUV3nGYTokXaf+iPUwY1KoPAViR/UeJGiUBdytprIkRBynFgWeAomRgL2kq4rC1w
7LlFq5C5eFcdEin3OSO8uCdkUguyg5nQqdQReo04UK9xbfmliIY3j5H1iKMtkABBQ0GUMSFUXof2
qpuYgECLMTDvJJLpqUXjdvRR6FQnUegu0ynViV5ilZMJ2WCfMHCh6SP1ExZzUNBTo3gjtLJcqDZy
nz6E0PrHzkW1Va0lFxODQ6oZnIKE4nLpC1kHba15bYE0IGGVkFdDbUMK/IosyJgFWJ18X9lzoaW6
kYgnRStOtAHAeXMCVl2xOwXCOzPSLcSuw5QaHtpIM3bb6GZQAw5LsNOi6C8s5JNM4RlpXj32JCCg
dQgB4gUy4nUijLQ1RTEU9jD1A6V+7ZBII4ihbzgHTmdtLPj0aZ84qZVgIfwuWwalibkNjZUfBDiO
7o9CWH1rgUvHnvcMUTIxvlHg01qj4iGk8wYJ9TXd30ZcucDLoQ1A/UGso+bOzOHQhBdspjQFreov
6tZxMMmyyZsmiW4cGHcFN1ytVJeSSZxikRIW5265HKc5eS7/acUXtGdkauDBaIXwOWvLozWJ+lmb
vcozIQJxXV2NaDhNEjuauTWR7jT/IfACj/XiQ82MT+VtLLN3QWhfdCgqm7lIfTM1ToJe/gnR+EUk
6amly9w1e4OcQ7mIN10HYrzRN3mlHDtBRicY7gQjZSqYbjrAhhWA2FTP8QEtpbHrWQA0WJCC0V1l
DnAMynVNhjRfh+R9TL9j0oJdNpE5/wzRPwHcwpT1yL4qv9DZ1FhW1JRfwRoqUuLjde2K6+rf1plk
d6CgeGpWjtMYhLsshZzEWDpnJtG0R1oDQgvuNXCKGTQFq2bv55yK1rGlMtxXWoCMUARxl62dQl6X
VcMRwphUiF9hBKZALjI58qzrVE2E9NwX/qLIH0oDRA+7CHk1WMffU97bJS3px2PwFuPKw7xMa4io
19V016CYK1pvzIyTZRW+RkPAal66lHeN1qMMLVRDBWkJOyN5L4N40zI8itt1UrfRFFoc/R7CAZlt
8VusQi1FjZmryK1DxJyN09AdNrrvIeLjgRK/JhOQT6ph5ugDK1tZfEqa5Zohqk0m+7UVn5SpOeTq
rq55ltfJNcOeJeBRJQR0rnDXNJuUYeK8iB9zt+yG9N0QRS8xmcYp9lQHZzV9Geh3a4N+msf6pI4f
a1JDxsAvmpavIEw+YtaqhBBSFahK5idqQII0QlC1P7PQUf528q4wD1Y+4PYlj0Q1LmQ2rRO4g1DQ
iFPTJ0W4PdRkUS+caipxbfRFh7kyEKQ1X6pSHKJypOXW7eJuOsj5vdPNw4oVFAJWvUXejyGVtoWM
hE7ilHe+iY8grIEKzh7EbXLZOLD2+EjsAZ5c/J3JEit3Uhx6PDlKCxZ4fFBSnYpocAetuNFl2vZ4
M5slv03F8ptcEuBpQc89ErFEj6b+onacQgpNu0phxfnZklwigz8TQ/gXzP9EQQdW1uLQNlM/ht9t
4RQpYmqGcisZ2qGovjM2LxPF0ClLfxOkVflIg2PapfRKVXZ8Vhr8Fi9MrefgNz7K1E4LRrpJekhC
95OkM9l9vLkVZ0/cN2loHJSyO8qD/ByWmB5bTa+kIfhCMIAyWTkTMYNXlQz1nB4N02rkWpIZvsVG
/0rRAsNTGt5TOb/oJa8I/UQK4OKQaPOuO+fJ4Fl4ZksyuCSilgMQpT1tSSPUnbY5iSPzyxQgzJoY
Ou8lhdQojVKHwwdTR0VA8pfs8iLaddOpaDjup7T9Rk8p0k2v0VmOM5Ksh43SppupkLaDyTSA8oGZ
t1NH+lkd9C9IC28wW9QEWLZoDcoZjo07kqsd0QDFh4CGaGoiR8gvml7/ZrjuS2EvjOmj0yvUuJgb
JMMPay7kRPKDIX9EC2zhZN4ZscqszXqsuBwhXX4yIHcJQFq5ougtiQPzlNTcWlS9g1AedIqWBTCp
3gWPCvgA2xga1HQ3jzC8exqBTOz0Dssa118YaAiOX7lsbXIFjEyKjXUgNCUpTob+W6au0P4xXH0j
IXUTVbwMyRk1JrQoSRj2JVd5CYhQXWGzmIjawrfy+keAYjUN8SWbAAM1OxWFWDfR98oAKeTTvcSV
hLILc45f4ZOMdNOnlUmE5K1ODeofV1A59Jg4aW8xsn6QZYdAR2BZqUDVkDKvmA0VySiz8QTZaF7c
khoKu85G+EnWGwpxKs6K0lV8kVLTbablZCER0KpflY4PTH9LBaRmRKdVKVSA/Asy5dKYyzND5xXn
8+yZSXXjNz4nnovPARELsT2bOL5XwrSH6eZO+vIhx9mmklFmJc2ZrnxSeEZ6WUFCSUciHW4ABnA6
Khyl6/Elnsso84a2+pV5tBj/vOijtRm6hJYEh3DZ7I/rc5a1FJx46SuZVyPsx+8cR5QxkEW8hHS/
GROF0Vum9L9Vknt5iG27zdyMonJVwJV0uvuRNhc1sllWN6UzD/0s0NRkUlY1AiOP5aXflEvxRrvE
n4QKjrdpYGCJD0GWXntTdQmlEGP6sply9bTqpjYUOhrDN4qNoQIzFVocEq49pz8j0H/HBqSFWu0t
JbowITzQSxYIt8rVizigb9z3wx7eXSwwOUbN9LtGVCg71H+410V1+ijC+M1cK4QJrrO42p4ZXM+W
AmLC5NjhdGSN+fz03wGYHyijoqeGouxjzAet6oljiOsuBwCAMfdNQTA4YMuFmexosWtioLbYHpUC
rXYbOV3Nk0skRpYmOwnV9hqTMSCjjoPoQAbCHaeJswI6JQHWepOsvkE7pjReE9vHx8DEOWH8lJvI
6brydQ4E3MvNniAwdAo9ikXCU5oDNoZbWM5HcTmnqsr3MjDOjozKEQnJczqkmhN8lIblggdVEWhE
yM2uzWpEPjo4bCV4lROSxrOs/8Drsk1Nus3Jm+ASZMaE9jzGEyIh4rnTu956Cu+TiOQnVrOHMabu
pOK6El+MkFeY2XGQaPsWZfjQy0idykMHplMazUNZWHcZ30qifY6l6ONBzFZOFi15YUExw5unhTJn
Iea/oniE7Rc6SoTnVxYOg5Ydml4/JUxx9Qgdi6VvA7lnTAAvP+/+xURxwQIaaPPP0+8AZyN6QQ2b
ScNm3/QYlLyINqpU/GqpAlm/2DdK96on8t4k8RQlmC3rWE9UgD4Fve9T2rMVrj+6UU+uXl1ST3C6
1VTXsmJxLAqZ2hO3oks7K/0zWmzIeY2KT2HpWOOoECsTmmO1Zzk13GlkIqhiOKkeKJxerF4noIgH
JQUXyhCqjYUXNgxwkMxB6bwn1d9ggNi5ShJjoAqJPGkoQ89MZWndeZa+LJgyBjYAjLQSf76G6UIj
IqHSk0RUjk6LUEXBOGwP8BCFvvsaqGp6siNjml8p7BkB/G0GMMdgvRt0R2/wwSt8ENfDPqtpe8NS
TOfph2YgZ/C4tYdOZ0KhVeeZ2fSwzpPBVcxN5dRmAcJ38aTRIkHXGJxIrK9dFJnugKqDsSu8KOoC
9RUeVz6MrkELO0JHwXMi1tp1tCDPgHoRIsfssZEvE4IFnAaRzs5+nxRcU9hOxLhjSEyzReivMuOu
Qfwy6IvN2E573qDFeiObYOFoVZ0to/5QGLxtygSVgGJCiOCNRqCdNc/UEFaklIXrQA12BVsSYYf1
Z0bErarkFAT5AR87pn/68CitlkTcstQcw4yGl3WF/agzJak5G66vcdzlt3FRGcKIfotPpZtaehxc
T6rHAFuwCuu9HUtPnYjGk9FxdEwnC362VDGcJG4ONX4eRfSFgtjsDEWcWDN2094k+I9RcU+Hyulz
0+kqJwJcEEChZny4kTjIA+4HKreirgVmWXYPNQPv+aK/CJrwr0jV7ZAku7aH1zR8IoLZBJr5nSKA
UgXRWzOZssq4SG3hmfEpaTjiRAM8TzwBbBaJem/I1a04heWkQyk6ay50WLca78mi/KfTakuBnCzc
tQPRTAzuJ7PH8SO9AW74lSrpYqramSiMjZCkf/2CTKd5ygbNh0xjNDrtlRyJeaVvkBs6Q/NpJgXZ
IfSqGgRu5W+rTlzMEmKdBy3IXt/ldpkoFRNSTMH3KombkDtAJO3oiuF4rYdphx6yTrKbjEJU6iQ3
W/nW0rhXGCXj8GcFAoXA4VkaVTtjOZUHaV9phLfRFhqELX700QmEHChBMhEzSHVETVpzM/QYey5N
JKtH6lUuk6/96b1XNm9RU9wiBCk69zMl8HKUiG1qahaKe5MBaOWHNylRgoROuehNzPaQAzzT6RqW
wd7U2PloA+7yvESFdS7n3/U7S5OH3iSvaNUAplGVMzsQXzAaw14jBp7suYipm0W6XCyrW2jYG2Id
NvqIckEHGoHP+tfpLX5mT0CISDPc1krW+8VzNemCnnY3Iy8BVkpvcAN8YcsyWR1MxFJLyJWwSIaa
H8yBvJj7XyLaL3OOybQS60a8S+17u2An4IaZNfxTq/aGebrl8NyZjs52TFknsB6rHCe75BfdjD2i
sghm0c9ogUcT5xxt2yaVTfhnxBiCxTXp7+spHYu4k3NO6dTRlcnDmWQAH8haEtHL5c+p8qfxMxQV
v8zCE8cnziv0OHUCA0K0l6eOu9nlPTou/HjIeYwYxSbbEnttJ52XAfAgQq9AB5eMzAEsbtOcYt7z
Xm6ofT670ctYcua1z6Kv3zoQXTTuuMqCjc7wKyfHURwvwrM3WMgZzvStT3dp33DoYj/IhGNi9cjT
kQDdO45DXM0CKDzpA1FNSlL4XmtQVFpWR6ZksuiV81tfXTkcKGx0i1tjRCLhO0bM3nUil8M4aODz
miT5x2EL5ka37/LThOSdgVW1eEU4ucSV9Z3q4rbT+2t4yVOeFAZeMmuo/NDU09D9ijTT068Oxn4T
IzLiE6vEQ0kHntGpvoOLorESOxlbdBU+BeU3zP2i+JyVh/FPVluGCPgvJ3jeRqfZSKJ8qee4A+gS
OLNhfCOMnOoXk3OIPOyVkOptfU3H5jMRJ3fdC1tJP5MmvAvT6d5VPiD/b2b47wJkUXGdWbR9+953
0r2WZbSXxj5Bkq+P7VHQILbesnz4lhkrp3G8UyQOZKxzI0WX1f9E8xXcXqfus3YF//dHVdKIYkfb
zzk4N79zoMByHNIFoCGEeuKDWgldSV/sUv4gfCNWZ3HhIMpLRLXuLSUYCfq1mNdSPxFfY7p8kbk8
RsytI2PrIire9YWqn82fw3eXLJsiCmpXs7rXnjydHrt6YZk6bS/iE+GZqwmCk5jXaepocYzhvo2u
aX+RBBqSWkMkmyAg0FUPTY3LMlkOPRV5sVLxODEO3UmhQisbFTJy6s8CgApXKpsb3SYqao0yCfFA
g0SExbnMSPFBQlKby0vG0zP4+NCs+WU1mazLQcTvyTTIgLDVBLxPOj+MyIekylsfpa67rwYUjpDp
q7Zmv2aKK7WXpL/N6zihQtgTvtAscRpqfMr/fbhups34XWfZC0qytzRYJ8o5Yhd2ckgJVvNraPNJ
ElGi0XDB0C22wpHe9lYibZeFYcbGNg+TbVhEjxgJxrjJaSZ1jRy44Ckm64J+TkOwN1ueHlYwOEhe
o67Mw/4opGcWiG1lVbsg2EwliNIcHn2SpR+5uB6iMWDCd4qyj1qE3tHjrOoXRJ8dXnrsFijktbsp
nkel3PBpGRYn/pgV954+J6j56Wfo8j3YHpIPZJIhRUXkRcmRF+E/M34y7E/rUqY3D8oywO8czaiR
2baGxMWozJwa/b4p7YMWWvGvGp6yGKNktrhDKty08kXjYvQJ4lbhxLIsizqh3YTnol8f+LS1VlD7
hg44YpC6n3MkeSL9rER7W9fGTn2sDTYhK/nCCOtidwkvkfW6sF7JVFuwlOSMqrLFNtRTMsV/SfUb
jbkrVu2Wos6pKwXE24pcYmYipx+Q+Db5xP1FVTUfrLTV10wpUnOB1hmTt0R3DKAoJICXwWsZU3lf
m78kB7YONxz/FMGKA9bg6j4YubuqN2RKifC1s7DhGBEUcYCnSorOnAhBwfydFW1rhb6efQb5pV4o
syDSiUiApf3QBxhZ+MEtnNBJ7ja/IYjjkQUHgm+s7Xtq4iUhuwA+jVh5SYIIVt9HKiUuqxi2tCw8
dAQDQlmsQ0i3ePtAmwe/BZ7wiFPs2tdq+f5gNPhLJB+skIbQcC/3SvlL9TIi1DF+1n1qdWUPr+oa
JmQQBDb+ZlwQo1TpVyK4Y/+ujX1TselwnTkNWa8au3BX+CnNmuo0wf6fFiftR6SJWFMq+pbpxUjY
ZXHRQGWtngL747rBqTGsoWxGip9deHYEbA5GvHziK8dRGrhC9EcsGySoxh/1P2X5JtlE7LHBwU4O
w3g3ZZcg/lwvYsIZlfqJeprGP8CENnul6UtnZLmj8pk48fIYy6KyVcSfUcWXzzGwFjUGOBV20gPs
TR+E2QuxO3jOyRJyY/mkFmyT00nn9StbzGhNeQvE5jwUBQlz9EPuVNSQmE28nuT39oiikE4VgHra
eOZhfi7B2zxcgiLzJUWhZctKnQMHQpAsn/T+MitUmUxYCnpGS7uirQVIJ8xzaaaD2Fo7QNQVwOui
+CI0dyPlaYg9IfNlHns4EVrxzZ3RWmBnVC3txUBLzxdgzayCr7a4Sajd1yN7KJ9mFA6h9StbqpeM
qDLGzza8leHeWO75ci6G3knw3fIoDNbsLjE7b/CKptItLB0/t68nkhtkfhih0Zdf5npEkNBz35Bd
TSaPqfmJXIvAqSCYKEVylxXlpae71qPHLsGr95egOsnsA0u2+N1cv6SWvJtM3gMp9xlc7IWy+cSA
f5Ek460kttdGc3MKNe0cUSRE11oxryTtIk+Rd2K77+ueGvYypK+DCehxl4kPuFHGNT9xwmG4fFJ/
jh9Mno7xHnF6fIyPa5/ei73qK8IjYKee4SYfnuVMF3X9bYfu/TX3BDf8LD3y6r9I1PWIvzkBUy5e
YjfZTAfmLqLNZwbgaHd+RUvl12NUfmendPQ9FbCt8N+DfbXth+/Gr+gVnMG2j43tunz0SAy07Xb2
q2f5WPVRnNj1XvMN0yFM9x9ZEorfHyO24qPiz//GLbohvi9kq2dEqhtxC57Drtzvb/Uls9GQ22AZ
/cUx7e7dtM2XySEYybNcDxgH3+vv9/pbx8EXHMHFoYcr2348ji5XgJSZTbT9/W1cMLS2vP9+3O8s
wLvIPqfO7yu5vPaxPlIwOACVHH7iF2EDqty5+cE/w7M8BBLdu+GJm8d4RPmOH20/HsE6Fuf+yKqj
+QWpiHZ2nny+28finp/1kbfcXjwKVRvSAhcqPjInpE95+Wbsw0e4eB/LDvgeBD3667Z3Df1kA7Xh
J+NBZHoFnw/zsua8vS326XPYnD5r++U62d7RtA1vcf0bs33bd59nJ7H9O5fc816PNjgY53xOdndx
c85fGQ7bjX1/ihtkww5JO4ybn6jrN8EL5n17cSX3foem5oEm/QVVc7jfkELbpHxsKoel30eAuKm8
XeWpX2QWecFHvoWbnW8nOshu4kIl2FZedQ+34Ta644D4MDbhNqHtuDEe40e8jdzylm7BJvB5Mzc4
IARzzB1L8ZMsXad/oW63kwOt38S++fiN+KL+nTRgirofnDc24TMO4nVP/vib7ctf5phXDZiNXTij
be0xT+76r/YQndCjtbt+xxDWCT9gBjqwGrzATe5/f4VzORwOuD9sMD52vauZZNrRyTzTERkPRGJs
ER1W3ry7hDdik7b9BzJOh4Qh5/3UvVDI2d2GTqCtHnhi/Pkr8nmt6fbzUjril/zFcMkp/Hmf7VLU
6P5MlJbtI+DZJrv6JzoMljPu56PgC34QMz2xo4N8pDvA3Hv7HK4IL7f9W7RTt/Vr/Zo+9G1e2YpD
oNq2+uQ0LXCreeCQKFxnbmJ1Duz2LbuuDyrV61G2O6fi5Ro8ebe4417c0CzfhY5/p7u2GV+eTxJH
X8UNiP1XmqHb5hpw6l3s2bhyxMWixKYLtIQqmP+MH+BRAW8toMAT1v+ONF9T2c20XdbDR2hyDtJ3
SbEPaLXkQuGt+8nCCGHtHCkRJ6YSsOMLp2OG7hZBf/Q8iIBltC3yOiTFRrMy0vgAPpenKZVPOVrd
tT42si/4KKfZpDMoJYQbr7q72pHbjgt9UGEImNZFFEZPixjx3LI7/dh95lmbcLO7RDw6oXN+kp/r
QpT3cZvat1v6sv5u4PY2hmx7s7s5D+/4cNzbbZN4t79bC0/htbmYqF1IVrehE5xIDtpA9ZgP4yE7
BQ60Uvvn8HfbJTYP5WFnuj+jHSGaRZhuPNn5k0+efA+ZrngQD3CQxkOEFtSRTjzVNEdeh2tFzh65
l6X9cWSZ9Nzb7mI6O3gpwGGJZqKpYtdbWnq8051t27fdxtj83X2/ZFFAhISA8E17F/BX8mcwMBvX
OHYRg/FyJLt+T5cP9hxKzfW56fbz6tt0lvflPbEcJhH8tbxP75NbnKOd5Lr9j+TSsONJwPsivYcP
i3fx2T2BaZj/+N/MjfKsoe5t5IizOHvo+pdqMXm2UQCBTVI/pnvh+iGR8y0x3TzH6yMoEGrzjH/W
rk1WHaLqsARn9Dah8a2xoxbGIZ5BEtnlG8mBCLTfomtl+8/nrZ+3ALEYIzNgCHChhewzWAacxRt8
EUnjvjgUH7GXeuoGNYsdbK78iXvuDLvB3v7G3i9ilrUGdNd9iMV0R0aSjX2LpZYF3hzfjOxU72Nr
y6noyDZii9vHE+Pzt+LKrN+Gz88oH7HmbBe3eZIguOmPT2p2d11VEfLYHOPekrPmsz8R+uTp/xb2
h/4Il82R/PWLmfuPj55h5Adr/fHDONHeto3rYH+vW9X4D13pBkfNBrbvebpGH4hQvN8rmiybjd4Z
TxK/JhuPHPAtm1G6jWyWyLsvbtzH5PQbzXsM7uMx8fKvf0vume7mXvDpgDt3vtF1pQSRyarWHC37
S3S/ilc6vPtlg4h1W+3/cYR2DRYvotm8ZP/+3vM8q6dmW7rNFrrSqdpUm0vh4Jpjxxu89bXJds9k
9+Qq3W+JyxK2fo3EdR/95uzn60Jt8wixJ+f7IzkN/IvitZvO1V/atdVOfoEjfHYudMx3tOAOlmmb
QvOmud/6UXNJSDuHpwhk0qt5xFhAB91FFCZwkMAS6nDTuHzuNxwYLt/kLOz0iDaO//+nzkcM73kn
YdJ+okK2y1dojCyOazhdu+eDqJN2mMw3+eZ2YbLC6xt5axfPHrhuzg8TMPffO9SRDeIqr3arzfJC
+b5BtszGgUZgE2Gy27PIbYLraBdexoYwfq3bzLiLWUrEr+gzfmHlPxR+4g6f68LLCZpZP3BSa0ca
y3k9rgQ3RN7nzg1fMans+z13imgHu3HWrXT9XHghSJ864Cq2BW4fAuHte/wROP5TJTfluLjqFqIr
q/96udVd53VevhV3VO3I7//7DteNL3OA/jsIb14zr0eIhW/HIRDybrG6RffAEd7aQ/lhbXbrTs4l
57Czbq7VCWmMl/0GZ+O1t1HZ7iNP25gOZerhfyyd13LiyhaGn0hVyuEWJEQ0YBsHblQOWDlnPf35
evapqdrjme3BILW61/rXH9AOr52jeEd46dDEiX0T1HDN+9yKv5U2wVe6+sWaYoXT/Oabs8x7/JAe
vbqQtMP9ll86SkP1lb5nnR2KA6OUo40lL0EQJ+PZeOoOzlO+phI7hx567yuCRNfa5h5xH0+gKM/N
RbhYbn5DdzyciDtZwQM4N65yrtxhQ1O5wunNo3t2jdW811j4iGa9cQtVSeF/FEeYXv/uHae/LyqA
w0f0umzg0fAgfLxZ7mH7Rw0ReSj/3PgcurAluA1cTfePZ957E0/SB9rrlXTkOXGoFvoVPIhDdMSB
zh33jcv7UHhHjdvuBeq9co7i51i7dgvLdZ2e/0buxJ734+2fbtst99hFMfP1RfnVsANF2/1Xs365
9vwMgil31sbYdK/Y+Gzmt2anbAzWIhJerjsxoGsMqna917n6lXfWbXgHAF+r8KtzQVJ308Z64Qha
S9wxmyebQd2xc9E6X4Nr9IrDkWecxdO/bLBB+DB900/fuk3tjdf5qrykMER39QEAVfZxqL73q98r
C4Sn/TR8tnu0Z+Dpq/ZdHv9ACGqPmEPWL/WU4R7wquIhkfjFqvSTPY0trK01TeMW7YEXv2Cbu7Eu
AcspOiovxBKe+vfxO3vU30bnBk/OJT5HPKKsvovjRvt8Y2L5aMLPOlJdbVnH1G72MxR6A0AafGg9
HmbKL3nL9FTHvkrdDA/726xc8pIOYb9q/MavHtc/x7VZEAx+0Bn+4uPldxvZH6+lZ3rz83I2XtqD
pqS8CntiWKNwHXftHB/0Sv+2a8JARmhs/vgcQ0+nFpoS3uINlJUiRkUukG5IL+HrHkGmuqsw2RME
NpSjcEUoxLoNzNcSn83LnHAeVS99c2lxz7KGleqN+/CJm43u9RX1Y0tux2uX4ecF+00lSes5L3Oe
qBfbYjjFLeBpdil2uZuneyTOPeyF+YWhwhrnNhe50/rnUmw1nbYN683Ok1awhfhF0OGaKDCes/QU
fMan2EcLxc8X/V36iF7KW3gj9ad61y8hO3fua+53yyG001f+CnPj9UTDiNueK1qwZ/oqQMg1IRUu
tL3jN4xj3gW/EXvaKaAzPrPPAAElZYIHseTZXOtf0y7f4mtSP888qhOfefmEEuaZp8BzdsaF8O9V
vN1xlK8vvr66DCvTbbahb904LNeB2yPeXtXPylGgemAUjBrx5ohXBikqZGpLHsRxeEjCeNR4L1IV
ZxQsETA7RYw2twGyqhzWMRD411RfK5AOsmsPcf1ejSdrKJnGFe+iojVM222HmoRG/T0ykyv2SX5b
mRsHz6GgmY5ScgiIfbESb4TmwoT4W6uagwQ7MkLkj6Z0ZZGgUQK01p5kdnBVZL+nbythjOisiwzU
J2n/GgtXc7p2/mT3zYtA+bJuL6s3M9njsI1Y4FSPp7R+U+NrWuDEweiJUv9UBoo70riPt4xE0g6D
FKK3jRhsnCiugJoTDgHZGFUCmgfpyczg/kR4HAjf/bWMc9R6bpZtWXmmjJoBI9y3YGS7z9HTYuSm
8blhVapGt7Hymqq725QAU0Z21wDd2ngPjYeMHOFndF/KTyxxVoFSgzcC7cMCm5706LjwwrP6CIi3
G114SzKZ03K97Jhno1dF637XS2Mr8Gk+f89oHpisklJgfPD0/N68TU71avD5ndo8pva+Lq/6qHCQ
AYzV0MZ10LMetqyqVe9SpB8GNG5L7bi9pp61+GGrMMi/K9z9VDFckSkjFQFoT90tV3GTC5Oryfwu
YGbfQYVdkl06PnT1OlhMo7JrbNyBJA35D9bWRsx65/GnT3vmsXfVRlZQn5z4ZMTTKq1uy6TtTNJa
1Ei6lCp2Mndmp5FgYcHlGrLcr5UEGdTdsgFit61sE9uAV5aUuFJnvpU451VI+GMIcxlk0xYV05xk
W96/VqOq6uTjjC/phOJN/yy5+TFD2awn4EJApVxJhlBizpVbHf69uMJwijiXJIRO41y69ZhhDg8M
xz8W6DR4GeDwnHx2p7FiOuWP9Y+J3+q4TVpYDAuqB0CT+lbSnJUNiUsBVeuyPLdGSsAVx4NyCdQJ
4my6b/BoxxVcvxUKYUjAm13Rn5sWkIrgO7SePreLy8atjow7aOQ8pFB0hl0f+X3BkJoAHUeXgd90
X6L5s8RjqMTbooXPhQ2U0VdeSRrDtEgu5K/15IxE9OUHXPW38M7fWhwZyXzY7SrlJpG0jRorQVks
YxGmSRalXhjKrlYBpPePQkXG4jzQUKx6HGTK+F7kV+x3ILFCH6il9470CvF09vZFH8qnMUKyCSre
ZZlXa9OPgsn/YpHBQvmq3ofJeu1jeYvFxKpV35q2I8KMfjObcW9vsOGpAY+nc57MaMSubjIgpBKQ
o/lZ5W+DJV+yZKdiMBDFO4Ep41YBaL9vEb60+S0esSaN7swLQRUlIaaWc4zllVebMyRlFi5VzpuN
RyIm3F8xQxAQ5BAEsWgeUwG3N15exIBLh9Rr2HDAMjSyJxaEk4Ue09h/cG89sc9pMgTuwteaRfpH
RBp1ieQLOh6bc91W010L1xhKalIvNK6zuhXd+VzzgM5YSvW5tY5wdxfDKMgHLTEPDL+6BQs9yiAD
VgNkJBGvK2BgsY+aEYag5nOY3+cwc3m3YsYL7caJS3LnqrVOgxY3IikOcydOMPgcgQUUTfJ8h7nD
ZMnnXPqMY22faMyrRgs4J+cwhuWLWddubLHg6eS3orkyD5brtyZ8kYiFBtU0W4joe6u/5vl1wRSG
0kOjkBMJ3/zeQfNKgB/CLx5aMfMl8oDx3qGdMfkt9kPMbKYNj7JCqPdeajDCNmckql2ybifJU/VH
2b8rt2pQGKpNjRf2L9aEgRQMkQbtB3tKZd5MtMGBhnyC3gHcBPLMSra6y2SiYVRCj88Hz2vkc5iu
BGHAMfY2KzUlbLMulJUz6OcAGwvVtP+ikalbna0shiGxyjGWUVE00XQL8CaFCqPOi29dlAYffN1a
yzjPS+OrOAvKdmG9Uq4DMMYRZGX0UekQrQ3sEibG1Rb7V1JKXp4FIMf3WL5bdYSPTICKga3KSdZj
376C2BvgjRCVMMg5Kdrnki4eW5BiMhphMFeTH4iVQsqUPJHhjHcs37rdJIyAgAwC88xESokrevpk
P1uaO6S/WfguY9XgwOjSFUyG1OnYCUsSh5li+6c3M9vQlbkSbp5uDgTAg1HImtci3dZatp2JpyI9
2JaFZPfK8TBHeLbIP0FcnmKOQw0G6IT7tIqEcUznrZh25A1G5hg5FhYkGGgAaQpHliC7d1IJz03P
khnSyVPSzBMs2K4n0SSEkWT7nZJeOeU5u+v1EEcfWYKcMn4TS30hDilaqLgI/o6WrZrcdWZRJlPz
Tr+H1o0h1n+TyxsCt3VGos+isehQ9sX7hanKohGfw9YtplyTmkKHRxKEl5sZ25tmvoqZbA0GMpcp
2tVoLaqRoLsVITkDX1X0GPs3SX8KXe4F9yiE39GfBr5vF4+7MfGygi0XIvpvFxXrCWPKIfrDSqAG
f1ZIZwC+VPDN+Mzau/lUVe2x1uKTLGdbB5b+WptOeCC2JY4AHLnBREeA6WBy61rsKfpTHVf/KHRi
Yx2xD4fAJ0gjQ0CdlN7E0aN1HY7RDJIh3fbSJ4YoVCaC/wKVRa4yb8Y9QipIJYmfFVYV8W08soFg
70QpM17Bl/El7ahQ1mjMWPGc4h4RVgfPoL+z1tYV4cdzgSp76f7a7m0iPgWd4eofdWRJzo1yS6m6
0pDqCKYlPAVVz3xGsAgSMQ8mPjzn7mNGaMPpiw3gExhuGbSzNoUr0o6Hf498sRfbmPg8qkJpZP40
jKRShlZBA8qZMV7nlBdQJYyRp3jmlg7VU24xZ+yuBSQqmNwTELr1I2q8ODnFlKGyvG5GcHA4AzJu
orCIAjCfAEP0hZK4U3xReSi9P3XkIJhCL80/ZVVPGFSWcveIDcKzjfaMdj3rXqZriFw4zLBDNsu3
XDc+STfwC+XGNJBl1hNjo6i3khE/5YutPMS6lZrvAK85SCAWi9qm8FOI/gnYuiLMmdTnDjpKjcLM
eUoAyxtEDvBTG1p/qpUxhSdBNRbJcE67v2Je0Maam4GFMEXfoUVxHrwU+G4VGs0L0RGx0j6VC5tc
vS8nqPvMOWsKVJm1P6m5r1jxB5SEPqlcTf1RZ8cbqOVyeFA5ZLaFerXT2Z1akHCkgJJxxtz9aM6o
LmJsX5LhZtQEk6jRrmPfydi8Jb1jCsHRG5vqNcbMxHy0M5M4zo9moMwxnGM2hR/zyOSDydeiuyb/
0pyRpNmMDI3h2PXZDvm1ZEkXs1lu1M8tVnAqm8qA+4uaXMxJFaJObLhgPJ7EIirHq0j+TMmo+sdE
cVwsCEkb+o8nSfmQSZdajdYmzIsame1sPiUWJAxUxeMyehUbdI/FI9YNbB+cUQcLTlw4QiFiq650
mOH3KjQIHbuymPsefiIq06r3Ib/TI+gWNR77N7mV7Xytuq3Ti8Ao9AHhaVCBBeJpXyJViGTKxxnr
ShjwumGh4EXE/WyZBcQC/FYS2RdMkiVZfhhX1ubkzhAl7AwAIBSU2HGrtkNK+Q/NtAIL6zIImde+
YQjoRMOLOUqQD1NfFKiU9MQivAg6WpixS4oXwaJvkPBZe4nYGhw6oy4ofNEKCfJCjI/SZNKkwnSY
I5/xbN0TqJSCxM9k4kLJRzoVJCB5uyQiY2cvm5d+pMil2s2kwtXtXRA/pYn4m0JlU9LBQw4k4a7m
VKgIMcC024cGASREJ0m6DCU8dCxJP+WzesH/RQbyD3kSqtoXXVqLVWOppV4V+ctSvBdWBTP2LC4e
23c1YCnKBgthQPAGe/bbRYGbxpijmz/jxht5vguiNAbpVR5pvVAxjndtwURGPUTLA9MgBF0nNjK7
uglaMyoNN0TwrjUSZGT2W4og3EA9vqmxfvJphAghuXQ3J6dNGZixHLUcAKfmjGspTzl64b0m5qNL
TPItc59KCdtiMvEWbUda8acUqCdNhaacGlCOC+I20DvVM8hhm7Y4hynaOXHAR6LewghpO0jVpWFa
IyiEkc0qDNIf4TJC2XYhvwdStYoY4ra08BpiwnooIKdrr0rEaOjIaD8FYw5MZRVx8KY4VBGsUtOD
wGCJeplE64eKBnwmQ36SrmO6d+C8d/jSFBF+UaTdVshso2Ezzqar5/1zv4CE9cUL2js4yNDO4bcn
BDRXKOU4OA6GvDyrmIrLTBmkotrGza9s9a7YzE1ZP3SYz2ThPVnkmz7cO8xK0Zhv7MKkm2IirM2b
pm7p6fma3lvO6Okc/UMx0Iw5xobHy8lYa6dy9jGutBC+DyPRLE3vLzkTl3FZTrWa79uGg2a5tg5o
qhBhEZoYYG2SFcYKGezG7o5JA3bRX2t2Z1gLpDWYjYIhyW02GOyCMsvZDfEYUQpu2W4T7k+oP9RG
PPQNTNYYCzSOsx5X75vgXS1K8wLpzLII6uiu06xt1AhVWYz1Sp5lR6NnCGBoBxP+iNmLKVRd+ImS
UjpEjG3by7+WY/BHlhHOL3p5boUUi7ld24E4RLJPe+VEOz0mISNTCcAFtFevSXaPUxxFIZRB21go
ZZ2KyAKIOHzJuqIOGpBNaRud6GuNTbjN5a++il4d9WKj9KzrR5jNO9GdLz0VX0tEQ6qqt7jrjoYO
/TbwEyeGkGhhQ3tVoAYMJAaaIuJBxe7km6UzA1MsDKzHjYlM18So6E/0JIII2JeE9eT+bCN6ey2d
j4ycYyobFzMfnKvYSA1KBjg1pbIqA1E0cSSMFwIXZrA5HZYo8iXuXTYuPPSAl0QRGHbqhadlW3WI
D9BStWmEhsyKzm2GVowAAtEcCR6uFoRrs0guVuDVeK40xrISB+sQ5zul6J7MCKreYJ6dKP/rss4T
N13INpSCHY5NkjgZx87WFmFpJQLD0hclp53lW1QHiSHcG5kQmwFwe1ZvnSX4Fud4D28+rG/1pMBM
SizfGH9F/FxU7kiL8AtyWMh9xyRJP0tavmtVeauLmh3ZRBy+5/F/rKEOZz4YhbhNeNpSuFYz4cru
Wma+WzKsW/ldUJakHqdzkSsEJ5qmeoHCM2g4UkCowMOd7RvpLYNfBf+taaSY0h9x5osLIK6NIGgX
OYnVY7mxK5zbGPXWYXGNLAKcoBqbCuFeRDdjOAueQGlMtc0QXpReWj8ebSvdcU5ccPoI+mMPqxiv
Nmyy3m1FfmW/Z3+Eob9sCyTCtq2dUg4bhaFyg+EJl1illAaKjjgD2sYXBbVOLyTiJur8tgwnUeCC
+Uzqw1IwbINoFQAuLCKRApx+3Ks2w2zp3tCqF+FeNPgxlSonS07jPA44D1GXa7jqheg9E9SJUfOl
DP3OospwUPgsMTJ7vOVpvpBbur8LuA2RHJLm8DG5vGVHpLGJfRO1Z85Kt765D4KSh0JuX4YUQTX7
SfgmHkpxKFJ+N/gtLDYnZVe8C3qVovTELT8X9oxKhAXTQMWDbMmDhcc6r+vI+rk34YSVhivRJyoI
h1ACrnV4Cqb0vJjqbuZm9yJtO8ihYRgJPTEVX82KY1+KecBqbt4CTtYUhM5RDt6C9CtmIjC+VPHy
ZhBXoo4cAPiHUHOCml+j8JSq/Ds8GdX82ADThvdJF0drskmGN0qaUSNDVS7hwB+hpQvyZwrVq1Gg
5LcmidqEAsQn0fmgC9eXJ4FiKtMtfjXJLpyywe2QuYoSRTTevAAMwin8C8ObQMZk9m+BPgrNmU7q
S1mfk2TvINsHbOAG2ogqZAdz7Y0AhrI9CKvocKPgKOFLsTjGB4CMNLNhqtwNKx5PBkTOeLyMffkC
T0HcLqhnM/sEf8qYg4tiR2a7yll+otftiuwwhSQrvQtAQi6uzDMYUqjwITI616RKPTBHwdA0Uv15
bJUtJZs5cVwOCG7RPZBQBLl9GC9G7TUNN/w0UPnFPWoJ1qL0D52F7ThJpwT3+2Ga15JVP1nztCUU
CccBOBXYuinGIwvuah4x+tff8wmwNIzOQFnPol1c8r1oM4UglUTnlXinhvGp9iDI8hMI70B5wbaJ
G+xDQIAq26BT4HCjDyI0cTnl6Z8h06T3UGW65oBw3RWXhBL1lJYUXgUBV5y0YVI/qeSdYnUBNCKs
TWqit3WpvOXdsVIntxGMkSjfkwhJmSe52rziYdWGuyOPnol8vFDPIY25iYPuIvYhLUSECM3LclXp
s5jomgQoZZOpqVwdTGNZDzSUNIirsaVYN91/b727V0HCjU4PAryjRYoZHhUcKWITTg10pMtRbYG7
JE5YGC1w5U9AS51G5koUnZXB17nL5DWgijzN4V8Hv69J8IpPsG1CzSFkAsv0GGl6GyKe+SaLJJVB
/q1eohl8mE8Q4BsvjvWkwIdWXrf2N3Wo2CFFfyDwgwz9xtwwZQrIkNByX+7uxreOYJoL6il97xOw
yWb7GOEXClBC9OKx1u/HZjhOlur+Ezbr6onyoaHHdfiWFBWRYZeMbWCFN8RB6nCRxNeZEr5rSI0r
cGkHhCQu9M2iy1hPDViXxAfRwbNIC0qQiYzwDmzbXq5smh0HSU83vyBBboAcRdXgLKdyZyaETiTA
eZknURtPzTsKCqFaklsCPfYCbxXqIpupi6x+jIB+w9HWrwk9swGPzNwx+ehir5NfjPScWqgSbChc
OkCJ9aS2t6D+U1Nk4xhbFPuY0lX8Q5EVyDy9YVDO3wzs4lZgYXi557CfOpgP4R+C33/nsdH+jYX8
lvflR4ym0EzH7xbnsIUmQWyztmjg5PYHbzcBi0bUsEIX7KCUpsMYJ8a75VUKoSeV4EdcAwNefzFm
F1WxvVyuXTguN8GXdux+k/d/ThgyXGCBpvKummU8M+0bcx7wYL8xQDbhElMYdOF7jQm/QkBRYwwH
AdmXYHpjwPbZJd0zibDbhZQnxv5jc4qanoMCD3oTbi1HvQh/Kve6fF8muod1zOLMFLgkE0OqBcIN
/FTFpjmX16IGStreVRGdCezN4dzPK+JAUtGRvkY4/tW6/FtCaR7mYqf2Ch4XlE0LRtfTA6h36ogw
ZM6EeII9pbNvolEhPH4jGq1YzbbidAzZI7A3wdyyDyExh1tVRlRTM+BReEvVXgM5SAaOB0BIEFVs
0zCV1BD4U6TyvDBOQXQAWrpQV6AW2tYmOgy+TpgNSC0W9DyqnMfiADcxAekr7AnrCxvUWGWnOYm3
4g1MPOYCXhMHjthxQXwZrlVYvFgYCNvVAWtpECbEbUFC8YhhcQ4tPKWCdY5w1TE4fSQxkzjrYBKU
Ng4ZDp+cwpX2YUdftXGU4bEw2ZF1FA5Jexlihu5IknEK2Re28ab0xetI1kfPRD0JEO+P8SakTj8h
GfMYwLSUx4pkirpC0NgD5mwyHOI25q6DHrPcZ+69Rb1uciIOWoxxtG8wXRrqmKGy4woijDj6gv82
bFEyWTxWKmGLotIfNNB4y1gJDCotUywHKxKIuR4641IZ1fWrzEFtOKW86ipWQpHkcJzg/Dm4btrg
Pi02B63mhq0YodKf2FgjEXQ6kOKxmOU2cQoPcsjynS4/FUQ2EMMgLVyth/9b4Q0I04xkzB4g1yTj
M65t3kz170QX/y9U3RJP99aaL3FOKibg3Bj4wWDvDFNmOrc1sCGWKbYLBrtMD5vWPCG8QvnX9/vE
3IjSZYKDyIeTZO0I8xkDnglBBRVXRtutoTcxKg1uRYnCEH8Qvcd5kB8SVYgE/6JSfYkxNyDIHLoi
m/+CjMskgr4klmmAG2iRbxmk8yYvOAW4RGof0O+AY01YudgkLFQtSDwm96gVpby+6TZaKxTJKG27
91CCv1VsA3TvSFfQWMTnGenSpNqvU1Z9KpwWMzEG8IN77FQtg7RfOq3kLDDPQWU2ENCYqjKRhw9w
I1H/ZTKTSCM/OUHp9V26ZR+f0nkthzAB29MEdNeEM8HT4tlJQOnyIxqSlXgDsQEZabrp2bHKOX9v
fbzJ5+IjnIKrCvkoh6UdKCe5LreLxFR2OkT69FNMPNPpww40fB5Q4mdEZSv6UVxAo7rOyB1bse8C
BqsZ/Y9jM9gXnSmkeMwjQVZRrDCGdl5GZJLzAGCLEUc9NL+Z8TlLUE1rMkS3fLa5+7CXJ9E41YSS
CKGQrCEAgzyvqC8NpOci+4nKnhWKCI6Tc1SpcDR2CwqVGJrkj9AgUyHxaKjkPDIqy0s4bFSJmvGH
SGLBTnloTgaY29SjKzV/HZWhh0muJG+Kwx402IwvUQsT4N5QFgbqXaddUQmQnqAasluGffIicXgt
6g/DY9KnHY/+45OYkGc6txpsI5AZCJ3lctqnQfyVlzTqTTW5PAViBM98D4nGvBZ1VRxgIvRZ8zSB
lIv2W1cvKvOGvhsP6NLcgF7N4ehA9SiUtaKpFdJEUWgwcFEWbP1IySmIByC+hIS0MScYorzzIZji
u3nAwYgHLhRxZ0rO4vWLysKpbmAUglQ7oXhtqpdhBqhjS8HYRhzTZuj39m89sznCm2KznQhmo0iW
hcF343fqCY8vaOissTF6M6C4mviBtlqyFSFGvUKg7nByCIsBqUssTFAq9mvdwZgTsnG0Lw0c5JZH
jRbXjt6ZCI3zqals+o47AzclWEhv+cqB0QRsIBCUBBJ5lTMq5A7VTogHoS/2RVCdtZCE36cOKjWW
5B1eeByyCHdr9spB+pzMu9AXlvt2JMxo+KevWYCq7WpDWKQvZKMc/REngdqei+AgJpRCsizw/LmY
GJP9u1dChcOoPIQcGAGz2/1+YVmKi9lAx4/28nAmJkVEC0HXmbB6A41iyKIzZFvYsHPnEEJ7weFk
1ZgA6OnDgSQRoTqms8CQvj+b9X1WXtrmo8GbM7JIx8GMq2ClGTXiUop/WWOeOKB94UgIutqVdIgs
4d2J/lKi0LgsSnwGbJMCgutfOJWLal+2Z/kiaX6TvgyYMIIR1E8lO5Qo3tJSZpT51HEvR7zSJADi
G4sG1TzzJiZncfKja++ZfuZl2/hHUqhNrl3/aEmDULtzzByw7e2VkzsgLo9i+eEiONm119+ZKhTZ
Vco+gv5kTUfy0dpJ5Eg+F5g+SVl2ioBiskY9VFJMgk39Ow352si+FZOlPh5lEbK9EG/VrSoKXYcZ
rTRQaYH1CPWSE3XE9uQ+DSBjladlLt8l7FwETyALiGpdkicZzQ7WIvmmHiHfFsNPhs1G3qBuQ3pv
tpsqic4VJjt6/DBaaiLiQZq4Olhd9iXJJ3nDSk8rXKgx+ZLt/BAkI67Dy043pn0x3XKH2R2h9jqs
YwgWxSmpLc+Rog3LQ7M+Cit2RYVv4DQXl88K+7Fk7KTlrzVf+0kH3LwF00nXKrdvlKtOGE7KeVEy
5scEXWYOMuGHFDNVtsAbxCA9J6Qll2F4iPirfCYqQIwTIsIZIoT29sEg0YHOWynKvXj+e2prDRu8
YV6Y9QEF6fZhaoBQTZ20wGbl/GRafShjirzA+NTwDppDKNSki6wKogpfi6DDczZof3OkvVrjHAJj
5hidYdgUFO8bsCM4LIkJSdZibTN9LqV9yYazQNKMDQ8gUl3wigmkda0gnKDCQwxltj2T14nsKEfg
GvIfaBl2AMOmNhjNyTliZBpb2QbEYMCTLSDMCAmFPDXBGgNXtp1ugsFRdScvGQ6tUH7hcWUmTRlY
YhG+ykcxxxFVupY1zxCG5nI7as0h9USpnlbXEQVyPL9b43hs4sCzlRHzsfiq7JU496ecBNc2PysR
1Gn6PwYHftLpV6EUF/OFKbzGdY2yxZCeZspSrVJ8GDcE1Zigw0kQXjlhQSCcxGSnFinSnD4MZMQw
MOC1hkxjFu0twqKluKaQ7GgH22zmbumE2b7gVWl7FWCxY+g4RLLHQ+XQWZuiHxAldAaoQHuQUVmK
wsC2p5NUgzFL5JkT/rFE+hfFY05emGbuTDzbwvAgyECkYok5MnPWkdF2qSqujD2CxYlYWZDsAlJc
CrdwoMVFn9aENsaio4ceky9zytkE/hgr5xJN80SU4EhlMhonizOoGR8Kd1JM5TRmdSqCRuzN8TcI
YOdb7F6Errth9MgmZG7WQ+DlFL325AtJsUzqWaN+5iMqARLLJwCgGlt+LLtC6SQnaBOcj6TG5RWD
XATWAl0UG22vuaVhMN9wLhVuMT2fKwifAjC+iFCxlAPCNJGmU+bFxuQnRf2VzZ8mk3NgAapOYt7T
R69pH7VivuNmpGLq2wvZ/2j7BkwaMb0yR7RyQu2Y7yMmv2IqnVJh6iPTn/JN3BwrXV5rat643kXF
ezMh4xZgDweKo2UEs0Bd4a0ujJ+JQNlRJnaLuW2KyetQrHMyihWFs4WUD3jlpZ4+LTuVakhe7K02
PMNqgwQTMTaBsCKDd/ca7O4q2VtOtB0KzQ8DxU/FAQeiCXGNzC6Ewl1j7YJepXLMacGqBe+lZrh0
8fgC+u/VyNEJ74T0n//bNevu0BjvTqDuZJguuGZiEIKlnPozcFFxSYDEosIg6kxjM9KrzxQpwtoF
hp544O1F3yhwORpG7dcaR9FWI+YRqlqHHYagcSGKsbAwjq1b02GelqTdpSrnW6uw0UR3Xlw0KoIq
l8/N0Sqf6oFAj02OnY04lbTwpFFoCYQvGFWk3s2mAC5d223xrqfl3tbI+T6U83Si6RPcOr04NYtN
7I7dHQbPIBnyn/iZeAfgGAGFcyUXL0QGIl1suo5aNHpiro17YUsuBftgLakr0/TU0XZN6VGAZ7dL
cUpj+7So+c4vHOcXiMSjyZgo/81xqwdYhuKOchL8AU4oqm/AaSsh9JQa0XnM4C85u7mYy2Bplo9M
ftKPzsHHA3haiz61anFT8GDMMFca2drAH/+VKRzbfKH8iUHjIr0SltRAB5vs6zDALPI5YnuG7q3A
pyg7AEQMvF2i4mOYKia++kZWLTrKaacrPHb1PsWuTki6rbjDuo5SAic2qyZleSRX2OkfaUpTFTpe
Md1nxjSWhU6gfgp/F6l/LMQH5ixlCzlPDKy6lDNsQvlz1H8CrbhWWJBrOCY7dbwVGFVOMFynZe4c
oRCGARg7Bp2X2b0leQC+mDgvWf9NFLQXIwaO8GWwMUiYSpjDC5FbFbz2GHCL61dwmI+5ecgY/YGT
BOOmxF8wODo4JJZ1cJGn4mRu29bH44X/8v9lDZP2xrGFqh/AEgKsXf7OHU8vMqK2KckS4je/TV7R
E4k8KLoQ/tzEODbfMGmuKa8lzrdJAtKuOJcYMXpFJayLHNbiNFUbVnU3KhczPBiV+jdbyaHr9Pf+
t+Tc5oMSzWRTcHSnCeEUeL88/NWUADN6JXzl17GMSg8RPLE2JAgzt7WIsJqdDGDZKl47OfU00NCF
lKDWNl5Fw61wJWvCniV4da380OkAixCv+tJ8MLpt6AwLvEEI/oYEgzs0aG6GDl4TJmvVzTK54W9w
zRLpARkhgdbmJBR0U4w/DOO1EhIskv64+Ku7ZSXpCHX6GrfCcGPWG2Ee7ywFaWPTJoWp0JkUSKEN
j2vxTIlWgD5kbK1TSYebczZpzlpcT3i+0N0s3B2LbGVCVo2dVxOYl31WXHoGrUtkY0zFCYmmi+KG
NyXBwhkrB37oDx9DDGQgAglGSbsXPJK83ofBp27ce2gUAvax9S+yYOQYlJzvzbDTDYaNU02w2SgT
OPn5sNhc+0xacWEYMZ2gMzTvbKjs/9Psi5dmHwXnQceaeQIaY9zTRKXnEPAoSX/BsgFMA6L9Iijd
Aw5KyOlOXyD/kjI7LgjwHDFVJyXVOC3w6ni3fBoIeSvx0g0xxfw4Hb5CZZBIXZyYOZhpf5HLxFuS
N3z0/vVS5L31dy5KUO/nGcUHuzlj+xXVo/2DDehGg7JmgYzDq3RlJ/ejEuKqtNWqDaTulSHT18H4
MnfiZ6dYC/H9awYY4prgHAte4jCTtXMGlGiZpKoot1UswCzZeFFV09y0dY6Stg3NFyJUe7+zPvKg
I4WMib8Fzi+RAGWku4E1hzsGtSNpXHsN+LzOBLincr5PUoKkOkcX1eTbwNHuFX6zAetIx1zIBNIx
dYQHdrtxuuPY2PiF4Q/NmFiQvwcPrnqAG1d3m4mBoGYa7H8U+LU1Ylco2xu6tYWiOTGsu7NQ1kEk
XFSkAahGG2wDrVJ6WqL5zB61s0WvZFS/kJ0R0zMfCWeArAir2qiv/5mbyLLmSvbwsgR0Agb04giP
krTdyVH68VSiTMxEsQWQSzSFgamQIbsx9xPgQJBpK/vBiaBqEQEXw6GPAUmN6j1hekbIr7vsm6XZ
kBe5Nu3JdXhP6mwfE7v7XtpGWMmv8pHSBRCf5Bqc+TBax155LFeUjf8/pPCrIqR4P5HjpQ9MAlNq
XgYSOrYIxbuG7gDWHm/tN0guTfi0GJBDSZ2FhMiGty3m51p9hMzhY/NZGUeipzZ1B/zzP5LOY7lt
ZAvDT4Qq5Aa2Yo4SKZEKG5Rki8ixkZ9+vvYsbt0pT7BMAt3n/NH/ziNsYgf1mROo4CK458MvBN3Y
W3YPwu74CvszfclbW7M3fSXuYESspA5cJvY5C9OFgRDhm6kLY6jxUhQf8te1X5HGxDCP4J0z0YfN
sw6TVNETh4hkUWkmCvenoeKPOZKxXH+FDrY6jhBddzbekD1zW7o8q8QjGd6XRrAG5Nm690tgT/1P
FKHvBl9KGkruAmvZmGeJwtt5RsfpOc25GGnTJsx+m47gXKa/KtFKp3D1oCD/tHvRtm5enJYAOW/r
zaeeRxDtuV0vSuKlnA3EjoQzIABwUXQtbmMQep6sFhVGTupSwHbZsyO3+i/im/g2gptxw+bySy1w
BQQXIDcE38ImWCYxoYBN9E0LdONzXGDTJ6btpCge3TKe9KkCF8N3ItuVncIoUNeUo5PrCSgJv3WL
wP91eE0ZFVm5oe8Qkig9auHCwoR7O/tSDwcCensGXs03AWaoz8w+IXw18OSU1ptBuUyOgqtBhEP4
LkFbtKSRKJd9tVm+a4dypYgCweykYnJKmPikTY5tWJ0G6gsSL6JG0FnGdYbqNsRUHpnDsvcFOxEH
NpyPEs/nubl9FQZe58ikebF+8UJnmaP8p3PQmiixM8nnwXPjtw8/uEja19h44KK9ps2RDrt85nLv
+eMrNWnfaYGIsXE1XqzUXCHZvNZFuTMZhhof7LE3kS2e1BruMuJadAglRrUeyg6z0F6xc3F6cfm7
quyhTsxtYMtXaU07JbH3i5Sdzn7xTLWNphZXX7zVPPsjZguBvTlQ6fmpxk0eXCVPLg1/WRcUlRUZ
+TR2sJsG/ep1FoB79a4Dko8i6BeG/ZaE66wTNxP1CGdDN7/2GW90lc/70YHHhPtmenpW0mCZkuwZ
rVx92KFwI05FgeQYdyCyCqS9Uw90wNdDpG7artPaXnd28iLTscU3T2jUEJxKV7mZLfOvFuXXsAGn
HhgfI5YSdWHnSOIzfEYT2wYJTdGuaB5zRQPFpFkee351Y3QFhOftmcC/ZyxGdaLv/SHdVjlGYjan
hDiC+ZrSuldGpIeiqArjAR0EH6o30hxbv0qT8A5esRmRZGNP9dYSEY189cqWJ4qERlqqEG5SVCYs
mmESLT1wkFWOVbPGQAA7aJyDu1+Du8bY9+PM++jpi7fm/Niz+CXV9FwCbi9gxKPEW3JvWOTMFhlm
SQpHdUwdM4immiSIHl3bhJeV5oBsGWAHcW9RatcObDRnJBIsLlGLIZPtGMbRMoyjeSqUUsInnrp9
8GEz6fdrr4SrKolUHWmQt7J7ZUx7tAlNMR9dmyIlPtgECqsclJCcqcBLBCk24TYqMRMecHx7aQR4
+evLrz4T6oCAdSDIjVlIcmgwK9QTy31ikq65T9AcJE3yqnvJG/beQqyzJkbNqhBxdA2QxFXiEU49
n4wswvoy79rWR0RBvp+SOtBBpZn5Cjt8QHe5bxIAJqsXFWbDBs4s17WnFE+vex3QpeWJfJ+tau9F
GM1DR26yfiYhkpCwY2gpfsva+CrQiQaP1AtfA/eW9DAj4d3mZtbTSDzBtDwPCLEe4/TVCPQ6XCzv
Ofb/2CgRf880YMnubGr0BQEouBmFkyTZk01AcFOolx+h/5xMz05bpOvW2AeUjljire7Gv25ICQLt
cznD2Ijhq62Dre3fHW/dTWibAwwdDEoBEtFwMAgI3TT0Glik06aMg+GIJdnKwAfmeFy4jnfQMPcT
VVNAHSqZ95Qn7H+o5orH4BLQOCl93TnvDZhiCC2ec6Wp9+F+iKLcphTp9O0xdYwjY/4MDqV5YPzQ
cdBHDKgM+w00CU+Mz7um0o7jnPrpMHySXoZMrKht7J10t5QRWKZS41avgc8QPDboPDGFZMwarYku
l6BbjAX8as9u2vxKRzACH+suPIccph6Cxs4/GvZN6BxwMFqCPdwxQYjpsTg1uofqXu7JeVMEN9Fn
YCLUkLEA2ubAv11emSwoMViV9I/ZfC8DjEWjUt7fk37+GRLydzpSewAoE04cL2h+qjagOsb/lUP+
dwhaspuPCj8guG/bcbR3vvw2DPnZGe4fqyJN0ihygFz0USZx+W06L8Oj6yKCmr1Ng2nTpOadR2dk
Q2zeii5SwmKFuzMoL6LuAmKsHIzMPCQdLVTycD4ZVBPkByX/I6+wLYZ7Hzs3brspeEWSijCaT8s4
pZU4dmRSgI/7QXe3wUkL/62M4ue8mf+XSVT6thfWvm6cPULDpcYPCjD0ZgjriqspbTdFZG7Y4cwZ
m6gLkkh8oeesmheSSDte9SClnaEUq1TKBWgBAZctTp/APlVTtTK7R7dlBZ/hew053f1yps49W6l3
trHzvc16nMEpW7QsuxUHsJIvYOfsVQCk++za8aHFBOyOF64Moq2xQGHEivy9X9rntaJqEC7TkMwb
pxM62DAg29E20LwdqcU/BQikkti5N7D1BFkFDUBk1mGHYOIgS33XgIBOnr808m0s2Io68dyyac/Q
HjloNy4udyjolGHqgJRJ2n048f0bexXEUnKS9WxL1GW+zDe3Ey+DPizcMf/bok9o25vMT5V/ElQL
93I3UbMT6ZAgYkHy9KrSqKDkzQzTE6yr0sRXqL6auj/NjakvR59aD4Jg5uJzgpoPrF+Mgs100yBO
qucU30KSo5DFRSXQ7WHMspy/mKAnCHc9peuF8p8wwXrWA/v3llANbAcHsYNwTGp5nD9kI16U8Qn7
3hyv+SsqljF4om6yaWJz5noTyh0RanS0eX8SceHrZ8DOmwtHLmKtgeo7+d4y+QxpfyT8mPXLT0u0
DOYyLoYXL7g3JLSRvDawCQf1WxFXF92tD7pnHfyBYzks7C8a/3YiRWoftKvGDLKFm0efbhHvTD2m
eLBnulP3NiYxECQUIOaAUiB1+LqNERxDQP8hOy2IGdA/gLax3f6Me53olAL6JnGognFYc5ynZ6Hz
TfFhBESHpzu4b5hIry1erFoQhTTpNwvZRjGTLAAIE/IfFQFNQBSsyQBd8TACZ1h7fUg71Knpt5ly
q9BABxEqWizDKzenKGo+acNXxvOoicuo31hoSPfDn8Xxw2BqJpM6XChMYhNtfjWJ8N5hC2CVwokw
GX0Iy4/cH6lLBw0dje6RLTk3N5bam9wMXzndrjPC9f67T7IrXPXKwtYF6/JEHOAqkdNxRnjcw+qA
+MJ4YWHgPM+n54EL3rGQLMBfA3UAKQYc5Qqbt4sSBGwF7U8BK7FLYAAs10ZEtkz83FuvOVMtFbo6
A61V7gPMMRqNsKiR7DI+di3xBziO7Mj8kU77GN18L1IqJB0v6ZkwFrQ4I+qXs1KhuicdujElmiNz
1gl3cG2Z5N7W7ZH6qZPzyHBBGx6LxkhtsH+rIB8zjKjBvxPwa+YFpS92KZ3wmGQJZusPGSRvbgId
iXQuKL74M77kLIltxfWOiDjwLhWpRtNMyFPG5h2nirRZZBQdgA8R14OVwcER1Wev9miRkk78t5Ik
T9sZ6Uo6MsQ5XI4IR/YppGdd+V+z/C3xEevOaUCy53DWuZq7UdS2kTU7Fxalx8nSl+VRX6Tu+Cnb
b/I1l0nnL3UzeZ1b0vNJoW7QcXUYU6qEoFfC5c+6TpZqSZyQT7wVmVdp+JoqbSqog6wnpZ6qNHTp
gAEjX+4jxAhTUkGXIE8L90ApOqpWc34t3bvBAywNuI5BANMQH5WZdKnF4ysHek6otRrHHORZ4CTK
lzigFFYCnSa7DtlHHK+9idTEolpZunsGM5hwp5Kdi3rbQU/bFLz4zm+Kp0jd1GgSFlUcLBHLKpAn
tMJtlxUrmpkgur2b4/VH3ItP+EafU/6zw0iAr8P9FmBXQQqSNGgHJ1opTjN0ViLt5VBfnPkWRv9g
Hi7Lpxk9VF58hRSc8xsoZb3j3PUYVudLAU8G8n6+eABb1UQxosAJuT/7iXokqL7hFBT3EOWTeiiq
nOYesnTKfIfmGA1UjV1cJw5aaT8BR4kKaDqLgCu4QTCf0gHGQhwyGKxQGBV5fnZGQqJIU+4nZsKO
oIGMussSC2XFRlgNW5+4w344TwgatqIuwApHVCinPIDLEO2S1dUnzw/FqWce4/qYRIQ4EWgJ1/aj
rJn9PdB/o+IrYR+0YEsKbdENHtmhYbUfLMqfVIr8Qq9IjaJbxcCzgLMqcR81loNmyaQw0W2R7UVD
bkjCdDpPuJMWWvLXYmbQx+ZP3XJ84+MdnfKtoCF6QnEmlgmta8mEoDp4DSN6HiZAhqRHhN+dddgl
aX7GJEWp93CeZIvu/8sgSa7PFmaUsNnad4+waB76ZznVfzu/XSbiNSGKNNWHQ1uEOyVfputgZfBT
a7DEGno5PvfMICRsuGjujT4d1EifdWYZWzExdeHMYBRoRy7jqeF6IPui4EYADkBeuC5e+Dwj9zuV
zrqOCM/oCTxLxw8MycDSxkr3tLVfIxiK9hmw6DC+kfdLtD3KHh4yOqGRGQPz+dNZr4AR/OEzCsAd
qMPU4mRBh9yqrOpt0XOJ984PMfs0KNNgj3nSQZnG5s/htRvBDZBouGAuvcDmw0tZh/IlFExb0UpB
PA5FpKA3eQbcTaotuQx5+FPxYiCKpQyin8ja3pQxBvWKDH3kTJ67y712lbZ7da9VdrU3ED3TW4L3
Zasz+NO22xrZVZr/QEy1HRktRx0ie/SWzZcCKQ0LXQdjoP2Jod0bfv3wikHVk6/e4HMInxhkajSv
GvOt5H3hJWAHYk8ohssw9++cajMPHJJOipcebs4Z9zUJsjpoyOHUAN51QTNy86b3/JSMn8L5NBqE
o3rkP/WJdqgJe7DJhxm9ZwVCKzU5P0VK92eAYqu3HlOAxGG6CnzJVNe30b11rIvCUkfnh6qmt7nR
F65xK6jz5MeyQPRFdwrm75gDvibCr/SI06F41WSTUde+Ogf7DAxcoBNUw1hFfMvo/XWK5hBl9oc+
6MuhvxXajbdESzHLhXv1pXHa5faJ4RRBd8Bvb0fhAdJICEbr1jZX1GqSHCGyc66ryPsWujZ3AZ/5
4Pg3urnZqJ/0309SkYyTvEHBZP3OplGcxxySoND8NU+559tQ/OORorW03KpfwHcSk4Q1D2x7wZYA
EIY0ihfvypGq7dy+P+lG+9Mkx16uDPNIFO9C3xuRWDdJwCvHe91Fq6R/Cs9a2q/jeZHl3q4pP1s7
/Ez7G8VgNSJvTVtXGdy9+CsckvOTXTK+qxuvPIek647TYTLkqppfZuNRyVUct58Wik8UQwv+zhto
NVfIZ06dIalAHIi2pBaxZJG1NvamQoWlfJcrL0OVtLaafZ2858jJHZ+W7M7ZRuTEiKGCf5KnaT/g
pUvLF9d7bWfsDbpcjREit9a+zuTrhum2JQaqzE6uKfcUWXwF0Jcmd5U+YUVyprWLako3kVaqB0Xb
jSYesHNdUsLp76rgNW7MV3T9Kccy3WEDLGjPlIBpZd77/rEJSH4LnIOJpntU2HC6i8tq6zrEVGpE
BPJUe3O/lqLbaxO/P/slgLSmk3+MH4Ke0M54uOJHr0ldLhDycs/FdJWOo9JiBE8kJzCJYpOA6vQ5
IXQkVFMHGbjp0/AGGVazL9bOSrDc87enID0W6FYc6ObGehNMCx2SMm024YW26jeve5K3xq8WYUjR
Ycwl2dyPwIf/RsFCCqyNtHwThsLPSNIHhKjlUkQJAmZ7j9o/4VWpjVeRFCR7AQGnZb9xY33pdeYf
LcY6bjwCpJ60Pz6l/m9JI8mj8x9tTAQqfaGkmUwttUCbsSHrh/pJ+Djr5DXbjEaS0Huo/5LaugJg
A/BaQD6jvAuJCajbOO19wkSEQoiLKV9aTbUc5cJk8EF9rGwoND/Rg7cX3ETmEOydpt30XbqaoULS
olu6KTlCScPjuGtUvsJLhlsXYFUJ3Cy89rV+T1DH1wrOCMXKysOdbs7EpbRrbcemRx3NktiQlxCO
1s6twwCKnJU/ToUQKv6sKq9faNPeG5k6ZPGp2LI4rnkkP9Mu2LY4aHKnvbhRrTjD44jHORosrI6k
TSk/HMqLINV+1NteuOWbbcrXZmKSJG6NlAgl13dxnRct6eTIwSMKgqsZgGUOUA8y4X23iYBmj5nt
sRqjVMaWiksrkD9hHpH58DAQ+PJRZ5RP4RfO8Ivv8JCrSAG1gELl5+gvCvsfNtJE9FJ0a+A1BalJ
skTA3q0dJze3QKh5QOuXPKIxZ/6a3mr3rvTxzRjcFloZvkxwPqa+Ii7hXrTsdm27D6TVLacpPBah
vewTkBqbyDK+bcYiEMTKJDca2ozK9OWkVZfaoe6wJJwD0Cv6M1Leh0+LIZRDYDRftSZH8UWwIsFQ
Q1r+kb7+UrV8RALxEK70zrB2WbZO+/IztK33vIBS9Qhl4eIK5UqYRA66RE93ZMMyWKOfb4Kb0bkM
CQxS87zr0+LSdPnW7LKrbls7qoAhrB7UWV3jsXsHtF5asVhT4Iqg1F40hIUXEPF21a4kSnXb+HHn
JZNTWBqb2vK3bYSfYGagRc7ksdsj2/xX1kyWFkFPBb0TtxJSrc1mJGKbTu40c9+yPHnprUGFUTAB
9DprBfoovr8WbDFUNA6hO/q9/DP6/lYLzlOBlYMnjkeVr99H4mQD/qdjsrY2OVJ6KWt0FV8yTT98
vLwFxklffGiuiYqL676068+RRlrNYTizCytCf9cfABef3dF5m+gQ/xvjPFJybBIZnpDa3DCI70ef
sJQcx3//ebGQuHHVsXck/q2B//TjdcM9rz8CzTlU5Tq1KAk2bg65xh5p8eMQ74qC2obyLnMC02S1
yPoVdtA6zz9q2b2jG+jNe2TNDP6wsdUbCLcp5tdhlDsvN8Cv4FfK/NSGEgkFiYeIlbjOPVtH2jYj
TGzXQ/LRD+nzTLevphtHm/Wnwfya8rV76P+JMDPnpRhei98i/O41TpAT30Bx5i8lmfaQqcNGLfU2
3CFSEf0x4OgB9MXwHgdkt2Xk/4Id6ZOHg08A3XdnXhD2tY0OetQq1pR+5IH3RaNsVhfPU05V9qYN
iYB0KAjWIq7MQ8XOm9razfKfsXy3Pgs16PKTOaLmNL2vIoCsys9qwZ5JOR7WXfpIm249TvTj6jhk
NlGLu8jPTo6CvavNYArktRfhjtS87KQQp06iqrkCGVsOvA37cuoFlN++U8PBzWpsE+9gqdxWBFg9
ElOrSpYRGl/yqxCr5dvOx7nnOTsDXZlZHtEEx1VH+MUPBnQIvnhBoJcJ2BD1X3Xn3IZ4qaACRh8d
tZiJAhN6puymN8PI1hY17pFGzzZkgs4AXRuYEpC/gLBl83JsHy6/A+OpaO8F0tIaLVHTZteub1l4
VhUKFR6YtHzuw+plDPVXl7h4KA0Nhn72XvDOt9OwTOWI5bvY2joMSGJ7r7GXrGLedhl/BYw1dmmu
gpykcrPYdrOL2oFrnCT5mj8DBmKugrAgWMpDnax/8Np0bX2yQO9KjFuOvjEcQmrwQOACm+dlGVLt
x/UWBsrSWmsMSxZkIWUnNdRp5W00Lzhp/AIFz54JFkSgxR7StCFoYNgMgFnVyu5PUIW4e4lYfgwR
LI338FRSy/wBGgaZVgPh5WyxSfYrkWdNCSM9Ixbta4JNtD3hJAzBlUBn+SwLnm/n0vQxj8q0kt6t
/OOWJ8AappQXa6pXx4SsL5OgZemKD+wawvdXWl/jqrh4VFD7MQ2TL9IxUc6SdmH9+3s2yTzwzz0d
ROoP35O6qccHBdVyGjVbPf/m96y6kqhIYiaM7q/Mvuk8KIabRqFcQH4qF7UeQK7qwyYKvXNrjZd4
hubVk6XNDK726tHZZ9ZuyCEifjTbeWHeSoD6/tmLDe2q6fNC18VaNpDheoiWIFnbxHmE2sYVnLFF
mq2r/DFwvafycxqHK1DOvSxg7WmXQ+CXoLbteeeoXxnCl3IgMZXVuWYQC/dxWF6A39zkkDfGnuGj
k+E1cp0fx8TdUWMMqnismtwBz3NqgYE0OQqnghIvIUm0Fe/kl1Vm9NKpatErHliFHWgAAuApPZ3G
KbanlMGDji2WkR+rrvjD+bsxn9YqL84XB5X/M6UVw1aJ7hbeg9dI/b+ALURPdOrQFWTO2RrfPDqJ
ECINgmbqmzv/iM5fke9T8gGZcbWqy+IjJsDAT+59bv1R2ho3/kT1BKHT5n+8ybyMpw4yzeZtU76s
SZRcX1G47IhuVvRLzZnHgTZteJA5+urip4/qnelwcMv3eCacjf9YHD9bGgoPvaRSQfzySxKwh//j
X0qq/qo4BCTNZ9ncgFtRUxnnuOYoVZEz1Xh1ETwxhw6sVFN2yJ0eD3+600VurTz73IykPpbasUyd
9Vy/qpIhfeaLAZwbim8wABO6phqgecbnXtDUgO3agpoaiWZPMMdLG27iUXQPhshGDguTcnRu3p06
yXq9WOvcriiNMfFk81XTatTzyBd46S2CA7sKxqspzyYC1diK9sHkfndactR45cqChCHSWMG0tKJY
uh3ddKgIXQPpVF/vLaJ0UqfZGGgAorhEkIM6EWlRZW3MgkLyZMIs/BhE/u/CBlVTS6iqPxtinhz2
Qw9+LFdkgkaVC9Smjb5KN+v9GIU7Z2DCKar+2wXcEhyiMXOiVunLlGtKxp9MqSFBkmpN5/wd0PjZ
JETTH2w/YLjZytEqKVZNQZBDWwNGs602AFU0I5Qj9lr0rkzTU0zb8M3/DWBjjIFgofHCGo/qmDIy
qtQ5OGpcSr/q0K869Bte1eFFGGEbjGMu+p3vRsCBIZnCQGrljPSqaG5eYWD4SSKJUVg8pRgfbEwQ
UDRwRWXbr/JqXishG4CND6jObwijoSTuo/gdzfo2iBdzSEkAAEHagaThnURE1YX2ibtRfbylCw9M
Q53T8EZOYPhRsfQzexlWW4s8FuBxvfxSRjmQNxYoyCPlHfaeguBCYNg/oa9sLxzrTiG2qt9uDJ9F
XO99y1q18Z4/QplnG7vCVsXiS5AMGU/aEvxYojVmfV3YWOuDElZfBDPuMr1fDQRYCPrHHRHv7Klb
x9zNfPyh8QnxusJCQjxXf/MczJJu8mGqvH14HwDIyhwWAw4yn+53N0CfYeBXNUmfGD+nLjikub5K
Q+KEANotVBsM0mxZvEz/w0HOze2JP6hbNZwONwkm1w7T3g07KmvR171xZarnl5q3PPxSDsTZit7S
2H4OzfPYsCYBf5H7ElTWUi/pKytPMkSDLUKCTOxsB/yFfSaMvv2+P7v82MRdxuRLEV0X45MGMBtx
OUQx4sIQkDFWf3Jx8XN32wFcTwbcwT9oiWrvzok2vJkFL0GVAzPxh6FFFvqSUVnYOy1/jOTjFNPK
6x195ZidXF/hY/ZE46HrTfDQW/26Z5XFveasHEd/IfcuCru3RIbo7jKi+X4lsZZ++RWZSmulLAGg
HNrokkkUndQ/VmLVUoffrOVfbn5Nu5O5SyftxL7gc/h5XX8EKqMpIUcs1a+ZTWQfcU/e4lEsGX4k
YlmW/jw8GGG3tkChxhklJokoXKIb6tJvpDihokiw95mCllKMcNEjA64VLSV7eC78WRBW8yVnTJ/Z
Bl6Kmf/dJ/BK64NDw98cXMqhBuIm0FULnyY9YNWsJOmNogu9WvVaM/O4aviVzRLxb//RI+zOhvhd
d0Guuo5wkkH85EGzDgNEFzyWFoYWVy3QLnlR9FQ1rIIDZ5VOac6c9dckE0s4kv1Q+KfAOFQdrkf/
6KOZlHy/uU42APknoEXeUuNYrU3tEfJ9xtL6ITPgybfnVVunr7OthNM1pXvi5AYFJvvmQBUVsHd4
VL1J2gbl7FNHc0E//8qMFHr+g/PEtMUDuum09KuUoJFaG1zmObv5gbVKa/fMKVIgMfO9aulVJoID
rmfm6Lh6JJMC/X8L79fkgEnyxkbARl5IMV4nHkqJp76gwMnGFKpVe32i1GhvG8RxuBYG9/iE8osG
IzTaIouWvnxnpkIcxRtMYr3R/nJSE3mHEL5BowgozSuyQeKYDrWa5RB8I7xdZFmx4w4UmvnsUQFp
4zFB5Aeai5o5b245UQejyY3Cz5BH5IpmSAHMdaB21JaINXTGPj3GzIHd1K+N4GMODr69TyFUB+Fw
rp0H85dO4owQ+8Bmiltg2ZLs1B6mkSl6USh1ETWwP/amAFkTdoyM8mwCHKs71815rtFSVwWJNYYC
cUaE2ka5kn7ErEWS403BRMRFLD0jOths86WGzxQucizCrQfpa4lPU3p/1QTK2DeDWkbNcY6T3TSa
6MZvOoJYl63JCjY2NgTQmdI2fxhkfbimsQJ/soyViY+6jaOl+jh9fswEfLWFDpOWiVsczcnQIflC
YQ+KoBUrCYE6GezOKhXIce8qLlXFBI6cdoztVftqqdQTFQMqlo0XrvlLZRayEnw/Shi1lI9MfvB9
pjNR3yUroGH07+P0J8sujmse/k10QXNihFQEYUKhF+M42UK7INoP1cAg9AkIpX7ciP+V4a/h7jUE
Q0EGCFiBpN54BDgddOelHcUpDHwSKPb8cj9erdiA6wy2ca4WMQbNKdHhgeGBxC0faYsp/bXr3oZ2
o8gl9XN3EZWzkm8M1/YcLjlwMUxjdsElhP4Ho0qfExpMw6WGMWuy7gXqr7BAniJrLHUN1scxO3Uw
OSEh6ebeL/R3sw3Aw5tVSSCVYVAa0zggef5ihuXhqVKmgQxd+kwPYMYNIEf+MZcQb7RCsdesh8x8
qqpnFTWYklPIH8RdivI9N1R8T444c4eXwXdYVbQrQ/OBD3LqVuUvf8RJjBSJGBQtszVBCLky2+sz
fG22GbRDZrj0mY/7AD5EwWsKZosZe6yp3Mnio6WvhqtbXfVK9kBR/EJNKh5GJGKv+waVCwFdvY5b
luAnABNG4Q6lEWMXuXVgzpMSs6S/SNDj7uLOyO7IEyc1ZHRJ3cqcJSF8y5okkDytL1bTb3EIWrzG
Yzkf7co44Vvbqq9CjflWZt2cUFwJeECMUB/RHpH/Vdx03cArwnvX/E7onZR5rPnl93RS0rjouB9/
iRdUd24VXSaWQDXXTxPiP3DP8IacnU+C6Q3l90iQaY2uVf3QQz98IxxXoTJDrx0ZN1RdX2+RT22t
I83A0vClDG6oJRSKKFQG3cwZMIxbFcqhPTCs22W5L5H9J8pNDIY8lpuwuLkFQlVOquS3tu1PlaRQ
dg/cAhASeOGTO0QoenOGMB7inGB1cAZ+yVWXKjxCuZpzaxN46mW99R2LUoSqPDrn3GcZJ2JThqQ9
eYtuJCkzuS8RshLCeEPUYhaPqbGOIemZ37XjrHUNWigFHZb7MUP0gCDMJsJ/nmhvb+RLwQokOasY
H5THYBzSc+o8K7k9p17p7LBmlP2d70AJeS0NjWD1PKohqjCNo8GJZaEUm+G6GCSGkl2ZkZgJj1Bd
7s6InP5/ep4cc6pLVI9bzce4KZ56DZ8h2G/Htj+TL+s4oDv2rnUv6jgtwAkIwCteGy/B/+fsDT6P
SEnrHP2zMevHYJqbsgzeugoafbZWtoH9UI1i0UVmVFj48E/ETfGTcVGVOaCPQ8oC4FIzbAoRLaZa
khvtrjvr1BQQMuUv3FJhi+ckvQoJrBveG+0t4KMxEPzGwMATIbnxHY8PYgsMDXaJBjRYubxKmP2e
2KFJ3uDqQb0QMPPDxfHVdBtbbGNDu1T5ywgJmzF0j5N7Mhz/J/R5yE8ZErsnFLOLjLjhlrJN4Szb
vIUkoxc41bmVh0vRMt8t5TQsHFhmuDxXXLIWaVfkqKBXsZm6jQwrmgmvPKT0F/GEY0MPyRIO3Y1T
Od8aZpPar88UtmolKrVoEUZQfOqRTFTLOI4SPqlG4qyNs12rXGUNP1fpN8sHSuCl+nnJifnViOXh
lqwBaNs4+Gk6FffiyVXW+YC7PJNImrhh+7jbTQpIiD6jlsW7ienSod5+/mMoOFNPFCUBe2Em4d/K
aM9jSpFL+Z3BlMcz1zgxNHVzYzxUz1X12UH+tIhFHI5R0s404hmBdWivPwn7w/PbRRDfkax7cf02
dvVyJLMjcEiCqYEp1fgvL+F40US5GxGlEYGAIsyhpM7miY3Q4p0iE+jHLyfqHbJgj89j3XniOQrr
98pqdpM5Yq4hRiVdC8tc9ODG2mDjjd8M+Pz8/MUEgkUNgNiOpZQPLWZHD+QSlIjJKwPpgy/oVlrc
fGiTebWF8ZqmiLtNmyBQG66810bEyvXSNYG4eV0lBB0+qD9DY6zaLHhrHJ8oJ39REa3B/X1vCXah
HDCsN36K0SNziCDsQXm3tG2wHsNkIb+R+9xEVc6MYebVzleimW/kDjhk6f3qtZX36JPr4PZPJeSK
Y2DuCZDywYOsyjjgmlnH9T00T4KApTnU9017MENumueKCz+HOBr4uG1UZY8I5rYN6atF5dJ6V/OU
NRcUQ/wDk0QKgwIxqNr3mj5vf9eYG3+c9zoiR91QuCbnCy2LcjglbPakfqydcdgnctjSBnrMOQcy
8rNbdgO9dY89p3M+xz++xpvQjQ06alpe0vIn1UgGSCwKscLho9XH09THKy6EAqsY8+GWpZVtwMLn
OOCsycPj1IYA7fJQ12d3JjYg/2PW88rE+ak13oc6CMRXBzTgOAb5jdzAI8XrPKhbjxYBDndBf3kA
+evnRPNU90hFxk7ffbZLO0Te+tn7N+tjTSN+ZwCpnVatw9Go4O6hSjZEkCjnQhdm67n7IFpJPT1B
gePRfwIUs6iJzYS3ruLpRXNOZqQdrE6cAjI2erk1ooyurrp8Dc1DYDubcjg0kn+/4i4FUCFHsBMU
e2LzUDLctsGPOOFtT/xpM0TdoZPWBbhVwZBl9KyRY8+mw6wDw0tmPl45WNfwdjNzylxxuA0m1rVu
00hC1jVj71r9mdESa6/74/nH7uoP9Jo7UEORxPxMKGWILe+558VVctcECUuN3LfN9HUWnvUpgyDy
nnPcFvzmRu1jezA3Y8YyBzwd/bl+6LpJuAAO4GgfV5jax6Py87eJvp+66uH3lD9L+VFq2IuVrIpB
0JYRUb8kA6pZs9+Mg7ueWnm0vJ6uil3MzqtiFVSLLBz+l8zHRTuZh9CE3bSnJRmOn5IID4FQpfR+
vW0HC9jjQW6KPW5Hh8dXafyq1Fp35l2MKKz/o+m8dltHsij6RQSYw6tEicrBlmTLL4R9bTPnzK/v
VQYaGEzo8b2WGKpOnbP32vVLkGqvjpVthWWo4GmpJYpbujCjc8saNGJ0H0Fy7YWkThTQc+dfI+XH
0Gj4hjhCpR8FIWP766M8yNEs2Oqb2XKizh35VbeSfWvuSjBr1knqHmaHGX/VFu54rQ4B009gmktj
lZ8DejZ7udl1ngmsbBEfHOSOiKgf2ibijnfXGGq1dcuTd2s1kAPfbxIy00kr6l1Afx0tHgCqTDdc
Rqoc+lukSs1CdzmwFslaw93TuGR85BcirXGVQjPW+9dGeZ2e1ira2tGLke4Yk01EBtCVc4EQMQ/C
peDAzNghN9ZL6BU8gQt/K9zPaE4a5OVbR70quAy3qNL29q/8WwE57LxO2ca+N98Szz5LHu+xttPd
BvilvAiORr0XMyBpYwe7EOmB65DUSkscgCLw4fCR/4YnmDbo7JFCzi918xJtOW4xAis3U+viNi14
BIi2IpOnwAKxCk99eAWXGxDwSTAPRzLoHO50ya1dbePZXlTVvoKbrtxKelhoOroFWJQG0S3TDN8r
tQsyGplsScPlNtBXPDeY8xBfyxu73c3qE00BkaW0XHT6BsvSWdX36JwMa+WHAay5DoMzUZzSiAkJ
q5kpeUGPc+YJBw2aLp8VtCd6vI9aOekPUoCwpsC6zWkenokP1pIbiAkCTXGKZNeBgOJFcgpOdKyI
qcrX+keuLdFEJxuUE3y2ojzwvbnbmMMTaTdzXe0tpBItYUBI5blg/q4t+o1G33amgX+V8BfpawEk
ZY3Hc4p1wCK0DzVWCN+ZTGuKPBdxUn5C4oQkhsNVtdXSN7IzM+A4ZNPxXFnlm37TKzcxlrobfsE1
IgGOh855QY8Sjwe/feaVBwJEhB8Jrwr157oZqMc8ukZmhFiGRhD8SmrzjdlfHVQKPccyl3dOKVch
U9pNSTeFkTnFWOBW79o+fXYeWLpBQji+GNC3u8m1fdPxem6QVGCq5IC6DjnF087iMf+ot/GTap4i
KGUussdwpj5biN7n7h8qAcCNH/p34gU7+cn8BVcZZgUK1Uhdc/UY/vDrB/qxAF7czN409dGRkOEg
plib/rL4GruF8tRgSzK0H6ilVrRPZXWTs2p9sXn0IsZmeFXXJW8yTyh5UfwWf/AK+2FuefnbfIM4
QOJI2N8QiPQ2xjHmIzcJBSluB7z73EgmMpyXQ9Icu39x5iqAA9fKS7YLNmPtivP7er7xadECNbSc
Ph1F/EP0Z3t/GwPIpywhspEddMcxTtsIyUC2hI13E+8LKhVd/AgXk6cdzWz+xJHKA1iBdvjkQktU
H9qWz6CRKSDUIusZcgjf1YuKtaGs4GnU2tnP1360Mlal/Zr/MoTJk42h7MB1oZYxydpis3TpC83m
Qtvxxvrf+dlhfMrVy9b+TuXqTE/49sNTMxBsL6fhqjDB3Mc+YMY1703UPXm+xSRX3Wv7/LunuaLs
bPxitOopf8BTmi7J6l5wjRvMRfuMxOUIcSe+pdfqoPs7feo9EE2JWG9M4xIkp7FAwwf+eB0Fm7g/
5dHa+qJlxbBgr0XUE3Bo36fw0ZevmfYCBcpiJuETr5U2pwoR5HhBXZhPrvGhWKcaw0FBU/YSTBdK
ymYtj6eZMTF5snRh+WY8bSmKbZcztY4KhXn3CkQp48J0ZVsenUe94LT8QoPdOaJ8CPRVLV+z6ZKO
Z1+6KuLADBdMewmGt0F7kaxXuX/l30vSemDqdPfBPnMeRHAQHQrr7vdvZfGIlRv9StySxD8y/IJQ
gsisu/MhsAgPbjfDa2G3x3FwTyQOjzC0u56MjwehbhBzWKhmi31vie+GrYT3fOKVXw36JVFfk+xl
ZuqkuRr+evNq84RNK4gZ5Df7EPZjSsDdSDVLqPQc7/pfbcem1hzYR6xVdsxeemqbwPO9KnGd7hEV
tH/fq/E9tJ6oL0ouB/f3Fe0Uw89c92xzFahvKiuyvOaKpdKBvahf2a+8m0az58TIIFq8zbGKIXKh
7YtwZxdrWtSWcgc/FDFGmb4iz1K3xE7gvVVj8dOUYv6WFxMIw7e2bmRYla5wXe2j4+xVLIa6a62N
962XsQAq3oITDoUJOBvfP9efzP21XbOuv3ix+ZsSEBshCERPhoDAhsv5BKzr+adS13WxbXnGfVfN
l5a+a0svir1x3zDtOCrOmsmgimJbInbFja4Z8R/kGG9Ru8EzDZIvNZFdFtOJ/NaKigiKd3A2tI+0
+ykkscoG9qNVPr1m3DUxq/48fEMjSmYPphb2QvYU9Sd31v2G38n73ED182B0M+ul78uK65S78I2z
YfFOiVdvYBy0HOuxJ7/NjMRJpugw0i7KVckKWCzMmy1tWfq1fGPm6+AIXXJy/xmAUe/89uGSvXf1
tv8l9p7YixCsDx4Tf2OjKCaDa2FsUFE+OPJDyrtlhCmXR+oOWow5oQaQ9zbKbrA2FBmK10NhAEE3
u2WyxN3+BWQnPyu3AUoOxlqQSutgQ9kRbYw9a5dJ93PTt/uyZxa/nnA6KSDBd1H+6d/C5Jq/YQLk
A4HhkyBDnZSX9E1C+eXT4kQjtKmAeyMuePCkB90z8gz9o883hfMbmsjbF22xm4newv5WLW7atQKP
FP5w8u+bJcT9IFqo32h97e8JZT8KzE34xnfj1UwU1znSuMUHC7NLWQfSljkDF3bacClh68jv2E3Y
cwEgIds5GissqRgRQWLemxz+01LuVl261G+ovBeBuqCTntprBrSduIv4HY8az6QGkUTBPI3Ea3lm
BWHa5TBjIqGIEAhYzgy5V+3OkHcJUdjSAc8HcyAklTQJqOgKyaIVzbnmMOLBELskmx8cKWQpqeGN
xWbcV/G/kdh4ZWn3G2Ro0IgcZcV6nMQPUgmMC3Jt3wBlswHCG68Hhu28hhQiV9aP9JeNLHbWwUcG
c85exE+KmaO/tXUXknLkxu+IpvOndR6w9t5aDn6LmQgzZMnsZbRNhw3VYc40bDTOzLr5rfbFljYy
78y0i2lpMnT4yr/rrXWuR17UNZE7rXEidnqpntpt3q1kPF4IFgHxiTlClOxTHS8dEwLX8JekTzB1
h2Sf21c0/RNC/c5lV7SVfQfNadEzoio22bSjNgXOSmnaXdoN+1IGKTtxeSZG+usYONb5l28/eriT
X6OGHYUWDiphspBAarnI6DjKxlziN5vMcuq+be9Bv8aEgfDvhcGB/lfmll9tBy98wRJidWs2b2M8
RIBBViXLiu4WR6PkmModMfMXgvBkolhKl30/NYmcc8N1N0ABXbLxf1MCc9KjMo8WJa3+T/nZrCny
JhITFdf+Zv1rujMzD39H1Ja04Y0yio3Ot1v228jjI9A/qaCWeTzsjDj4o9aOfC86RIWnNleVlq98
ohisP5/hKf+aFxW+3I1V3yCHuC2vOYZSBCzMYasFTb+MXuqT4NaalhH9jaWvQv7mdfRQwxMuN902
8c5cMbyzQHQzCyJ0bcm27ZyzwGPPGIxVht8kPIYNYkT82hcqoL0sHyXeI054tb0BbaC0u8p21SVg
nuqJtoajd/nKVSsWRESIe4RgcsMJAaHRQKubF9/tD8Fpql6Nb9Ef5siGXFA9KN9FdNZBEf+mT2a7
wP95jE5mcZ/3nRftAtpLi/yNy+hln43l2r/5k5Sg7/GFL5YdWAHmHYcfVsyv7pNpl82RlIxNELue
pa9ZxWNPHT3q22Bjndlf9vpTtjneGNo5xF9KoFIDA2ZTkHYE/oGe0j7UNtqH+gx2JTDwHQwUmW77
Bj0SJwAGdQC51FVmr1r/xtNVYhGlpukJWHsW03tnP/gvxMwnpPEUdwUtP1659qwk74byaXEy7rA3
4A7VkF7uShLG3xGWOlDILMyvu/zNPEffyg6eb6x7VFXsIr65kn4olfXNLDPR2iClkFd55pU8JExm
C7FFcwZgzasQXJ26/N4puNEI9INSQo2N6JLlFiyvtR54UGAyEmD32Q8H7cMP7szAcFaEBYigx5Tf
840U8hN7zjb510QvDnm9T53E4qZ2R4IHJ8A1e23iBh/L5Op/N9FjiB5oOty52HGh9eQrVT/n4BmW
mDtPjvJZW9de/WQDnOI9uoK42fMPB+2tDZ4+B/mXBEIQwXVYdrfsjOGe9xWrbEYTg5BsvFbUNH54
qceXnjtGWAa67ZutvAm3uImSjRMT46UNtJGw/YSKrWFYWIWf6YOzWRkutfpQtp96eZTSVU1f2V8T
TJI2uH1Xtn/GaoO/vrwN1jaricRcaA/QFOOhlwhKWfjIvoxdTwVf3Pt1ywXARwJcqEbIlUDnLbXu
3ZcsBaVTux6UfTv/A6gipJwmusai/BjbExOzDo8xeUEWSmbpQkcoZ4AuutP2Fk26GOzyhxCJY5aE
ekmDNsSRJUGIj44N/VRJvokRCWjFbCT49q1OdsWER6XkofxAjbak18KZFPtIvRRTsARHjQPKOaMT
D5qUIeTEC8R/Y7KA36XjJC6sctGpwC2bPxL8TJh2BPOgt+PdQIUvJqhMDzEIiWGERBNA/MddB0MX
IFAXxvfIcZbMeOH+YQ4CV4q6jrxZWyTBCmgtsNOJDoCOYlKQr5jKWjDwdc5rfbKpu+iFiZ0woaEh
5rvRpuN3QTXRZAvFC7OLnjTgdMf2m3foKIQJYfI6g62W3z56DBqFfZVuhIGfhNQq5DBZstR9t8cR
J1ydDK9AqyAHvpV4dYDT2+rHHD+p5QiDlh8MkvlKNY7n6CF1JyV6ZnTXc/YFB+kYn1aWL/8s+633
b1xmJ/up0hf2MmTiiB8xSYr+WEznGFEzDbYZACtjM5u/teMAIPyNDqg/euNW+dqlnMPlNemPuM/a
wXIVNNmqeuUW1OY1TojvY2ZaqKXXJGQx0QjL8W1UpBrI/ZguK4e4GkqfuPzN09Okb/sCXbWtHFGr
eV1rUNlaCw3DDBdUYzo2YiaRibdDigVZKP7QMyTjEWlGd6f7HRksG72DsonMPkyTir9/GVgqBfAm
mEsifZ1tyIEc1ZnKyyM3zj2NdSwpHCLryAOSZgp8HH7FPjunRQB2ggWRQVWp3IEksGL92e+V7Eju
Mt2yoAExO8LHtH+FHZm9xUEOA4LSHuDh3aWAOCRqEx4OnIsD9pQfGqWMCxk4Yv/SJZridPECWh/S
qh8+TEO9JGwAU6quxORXThkOctjlXKgTZ5g72t/XL2rnPhO7ozinv//L3ubcXIugQS1zuYs6qUWx
scta14YlPijIAv1ligpJq/BsIa6hHBNC8ejKc1NR6KpnwV02u6vN0U7+xGpqUf9a1jXk6eMZFcJB
zP5+h00Pz1eQPiaGVjMyx2il+ke0KSjXuAMSJqEpNh418YSzlTF+4+0ZzS3f+280xwyLayFUBDgd
ei41j1dXNRscD/jIuBuuMBKTeFhJA9p9RHXhUsWO1//CehHCVlLOlmU1nIRsryHwlD+FLd8TyZpi
IiUk7cjDybIa0UFnxT4QIml01ICPcB3SIZJrthxnVw36NkQ50Tq/ff4S4rEv6ldnHP8N4fwSIIgq
1Z5qTGEkY+4yM1grqDMkKtW20K85iS3mKPxFVDB2fgyM1g3jaM1IOaZpOyIGY/Bw6q3utQQLI3Sg
CuKiapb/JTR480CFqo+OJjS7V+GL1VUmJcgZkTZzIRjCiW8nEkwt6r7yR+T92uDoUegtSjk6CIWg
GIcX0LoFncPCTC8lXpLerTF7t0jpKomHCxC92R3BxbKJ4DyK3DxTlx0feGTEiaF3TuBilzE8K9LW
3+c6/hxiJjaB3ZFRwGh54iiE+YDTbUYwbHo32+rSRPUbjt23JtT2AQKkQcr2ema9B+GBG1j5oAsB
bNL0lvaSBEJXJGyN9TIl18Bs0f0A/sl5npgRChlBXWueQCJF1MH+TwGaMlELCMLIf3nTNDHgZWBm
27KnGcrasfCdS9QCpIO29lYI6MAgDROMDJZ1FYqR8WGhWhJxw0L+YMMgN+BvwIf/KAlqI4jGxYmz
CfPuMuOULiakNqoPSvo6BPNJnUt8e3WGYi3Z1cnwaYKdmxjkcKpgpGPm8lb/24BGTOAJ2tyUNiOZ
FGerYzPIapx6Da2Z3r86IeLP4sdGexfH0TUXeWO2GMcOvoXNO+FBQNeAzsUpgrOKlCJlm82DD5kx
6oSbJkQ23Zv2Wiw3Au8id1Q48jUu8rOar4VKCHmRkMvH1LtIJNltTV5mQRBQ6MRBvslai/ygys3v
qv9MTCGfI0tZ7Mci0aAgGy516hOrUEQcjLgbJcRUSAjrBC6Lz4TaB+3NGx9wVEsMkJrCxEq2cnOP
2G0Gsl1X9Zi9CvfRH2BVLpe43tFvdETJMBSHZ9Vmx9SQN0IkEVjTVvCMpOpg8xMzF4abQyE0KzRq
+eSFnP9xp9oo34QDbnjEI5E+7KLXvPjEH4rRiVG1eOKFj0CVmGhHI4MGWCB4aoSXva3970oKvmr+
d8bhztRx+iY3jYerZe7EiwxKJzF/Lbl8qjQNi2E1EoIh9GS9omwNLkNtkohi0wxuCjevgp8BuUqN
QEw8WRmmlZQ1oHIaj7CeMuo8rXkt83c9/ldLex3LeNn/2shRJNSu6FDJBZYxf7Dph1Q44rlB3HiO
eopucNJKVdEF0TxBHqmiX0EIkB6GmLjzg4KnjmNARWChWTUuSBVjvLbj5eWccY1Li6EQsyKjX8vM
wwXlg+3PJujgT7VmXw0BakJnBkPA0M89qjbxM9roeMhPxwxZF7RZ5C/4rsT94/kpMfFrqrZGKZkT
/hyM7T4cj44TfwpdMf316R4hBGGTdLaIdVqiNAREoa9+BjoLOq+YXfAgODVNh41j+gcd4IRaRUy/
QWuOV9lBmudvB4SqGPL5Y2JlQmshFjk+RWHeBURIZTTIuk+9R+lDsSZpyoemXjG9u4GRM0EmHe3q
j7ngERjt2q6ttZAgCTLngPBIEIcMjdk0aztOWWTWAS5cSVCZEXJcOsMzQLWrGJ6rztomTq8usOaD
MyrwRQGOrdDBTrxexpjwD5EfzXFxJyZyxiOSXTr9S9GmlWFcqoH1S3sb6FeVkXAOPVLmKA7tcCmd
1k0qbcb+MzTtWzT33tzjwszIB2taZCZZhvuIlK/EXPZWQJ3sM04YjnqfQUdzFno3HSGqIeFCsjYF
7pCsgUeAQ8fAwzwM1QK1jxwRASigQkxHA3J2JN//1JiS1rJEkFcEvVDOLs4kX7GPMGwmskZBwYqf
oIjJPcnuIUPJSCzkIfEhb9E07DMuwOgU6zR9GDzAWferZ4qFzVJbMrPTYcgzZM4646MCH0/92uAV
FK4Wgo/8GkbgIB9EULudmja2y3qdscpE2PLHHszwDDOfrGdjPhgjX6zfxW27rKlLK5450G2umdMP
pf0WZAEKOH0VvrcxvnWO7JDgDb861N0+RdBPSW3LzYF5MgMG3tyEAAizzV5bWPeI1OoXMebVgTla
KQ3l+WdkY+pRc1lDgEmpvIhqRYuSjcn2rJYvo0QDJQfUmJPGiRnN2CY2Ye5IzYKUgQQT4hGRU9km
3xJt7rmG7oHzF9rKpjSGgwXuJbXkywjgbqYpVgJlFlSX3BipZ3w3CP71Y/zK6xIwu0HdTLQLR4Yf
pbn3Gna8uduS98DMXBlgKUjNCvEcqypI0lh2VkoF2HQS+chIDqeI3SZWL6VVnzh0MBP1553q33SF
bQjLipcx/E2L4mfOSmFLXJjFwNbZNCujucvzT4ny0tTHjwyiMw3W7iLYUcZUvLa02+L5gPgRlzwA
SBUbAeAIYYE0rRb2iNXcqXVz5go180Bx3Qw1/1D7/LsI7f1EVmOucjxKthD1rkrIEDMZbxXUNbuB
HwvMXSCZQS0FFronrlvMNcOKo8QK7UPAbhYxNOj1YqrbNunOHOzEmStlahBw7kLVsxTnn7hKj8Gt
55aVylWupgNUHJG6iU9hyZ7ARaV1jm51nDnSiWGXtM/VZ8nZfS6jtTC/KSQQdolEZEDlxQnVOF2G
aD7BZ10FN1+Jj4Gp7WqF7mJGYARU08gc/glYcSd/jkN7kOOZFvUcwjWFQ9iO8CkUBhhG5TCixpUX
vNcDznm9fhVRiVb9HU+fWZwH/DzuvbnCYx6jYMHjOgzSm5BtiqWMlTz6jgLz8qckZJvSLflQsSrU
gvYxyC/RwBSsqdMfe7KOdta/ZI2519suW4CMiORD2Uh7Q+vOgw56Ig2UjebQibXljdwHRHZQHDnj
RonMo0gUkxSq9BZFUzB+ZWXz0qnJvmztS5iLDs206ghcUUcWPa3xTxm4x0RNmO+0cNoqEAqPOor+
FfCtRyciVap6qBl7FdtwkwA3T4DiN7nyWTZwl2Y1PaPOIsXJLk9ys7cwbw3yjK3Ovpf2KmhCdC4U
E9RoDXkUxGIE5zCVMW/K/jkMhwOV2dZg+WgDwaVMT+b07bR4ktR0m9NzDZvy1HUJMqXhro3T2Z8l
ZH/sQKP0lrXbQe9OAgkhDCrKkL0nkdsrwBUZ0EWRecJId0DDv9P6Eb29vlgOXAgDIzo6i3EpLqfQ
bWasvxJWQjt3KyQ7GgQEtVRXyXdDk5JdKo0nGCUAFxMk95OO/x7RBD6eiqQRgaeVemXDIQ+Ypi4D
llJLTD/tNVIN2k8f82B8mi01XBqck64nTEvyKOAGAw8t5UKqreVK3WRa/i7HLU8XB/GyJZOIJs7k
7PvOP4W4uwSspwSekVFYk8Y1g/gxo3g9A4jtdQAxugSVoMbo5vx2ovuv3uvOpyEMeNgciduMv/tD
Us8PqfxpKn+vZM7SjiiLCn8vQ6KWmmQnDs0pI442NlzTlzYBXqk50v9INrH8mpIxZLAwiJK8IcGj
r4K9JTwfHOZ6qjByW3cc8zo3G8d1UYEf0sYf/tWPw1Jp5OM0MsvhBKEK0wV5FBoXNlBwNjr63iTb
Ii4xCpnyo83kzZjQ1StnkonIiXUYERUMqlnri0h4r18qLT1bqgKftDrZhMWMLZZRDbzVkL3KcbQi
+BrzRSnfqukZxEi+UgYkcGtavK+qXK7r4FGppEbzQFgZEUMDmZ4mz2eGzGq6lyPnFs38yPR4q/XA
lsuerWM+G77xT24Z8qj7cWMjpvLD5mnU5ncal6uWF0MqHEy2xotoX5nojdA+toJoqad/uxDkCMd8
UFv1BI2WyCMhfBc85eKP/nSB9o+mlmXl3DEcnRUXjLNmOc97hVF/3aA7MD869VTN3SqmbGlpJaoS
HMMQdrfyIuUzdODxJY+IEZSox4uguZrB9FZrnFRLu6RHqK4nq18PVftmTaTiqU3NJIkphr6J0FbL
moXmFVgFsT2OlzgE7RoizbPWNqaDKTGH+9HBz2F00DFWkYTPXFShFpLMhPe4xZoiNNnYm8Ii+xAx
JoTYShe5ob0u2BxFMdyFCFxSpxWtLAuYoqqCgMzdkPW9iA18VR+IZkf5mhDkGZIPyc9sRTEp9lmD
2lUorERmhPjr0t64hgDSEjTXZAiDMU8SuD8/BRY5AU9HeLfkVOMEzmvTSbBYYbNa6sWnKUVy9F9b
QZZfR4KxV3UmfBuxlzKsYhpI0N94TN66lEg4dD+hpYEib/5Yvn1Bm54zgliw1Hn27Da71CHcoG5l
pRrSjG1bjY+RWmUu4EwPPxMo00nBRZMANtBb/1K03UdiDxtppJsXXWutJoqpDE8JG06pBS6D75Q3
rIZWZNovmu4f+qp7MaERFxlnhVnZO015yDCuG+V8yyTrR7E6dyiibRwB5CRnRXBxY4qbEuxQTK8p
Uymm8+alTfWTk79JfXntgRthLaeJWZCvY9r2IUtj+tkJgq6MVk05McIhktshtLfBtQQcMsCoXF4E
Nzgro21kV/s49VdhLcKuMYwT2oY8taX7gavY15TDEEyvTcyBrR93cvhZELZkzccGQ+5CzQU3otn1
xaMV3bK+cIcWlUz3ZTDmTc38X2Y4i8LSVyacHqdbNw2j5658kX3lD+83mvW2sEhkkKJzyyEuR4Kh
+vo9DNrlxHVU8t+uQXCe4Y4WQuUGgb61UBmTYhTe67L6JiHqFmipQs3dGqVJG69infEG4U0EZMLP
ba+iXUbdGopeIzLYSWerQqGl04S2MDA2zKAI0xKSV0X/oX3eYfPt5F2mlIc5p83kK8tU/Q3hDRPb
XcvirAO3Njk39hIqyNHJ7U0x0N9Mx8+xc9Z1VSDDHmFSpG9KGm0BNqJLwdWW2pQpcQTPsdVaZHG8
aRKAyiD9hHbsaPlqcKjBddh9xYfWpzvYYosQ8pb4ZAPNNIjyK0kVF7C+DHN7wEPiGXb9jSPAY1kk
asE0zVNZdtMC/eFVLdL3QbRpsOvnDRU9fd+G0jOYk5ujSKE7wlPtyR4KyfeyybvXkotP4yUsiF+e
lGOk+G7RfBukxQi3sd3R/o/3U669+pHoLxKOoXUEjNT7UnWekAc4AtGobckvbQJviC5paPxaA+Qj
hdEr/YHMghXfvGZ1CNotOUYWkmX0riGziIhcFaVst/LUfSJlXgNyfXVsHczqsPEHKiTiMMS9mPvi
TLzRRZolSG67mvYzla/DDU47hD91cu6YTSLArdEu+bshoPKZ7xzrIxUYKSi7um7eQzG3xAYd6Kg8
WXcM319Y01ubkrHUpy8zHT5GSPK3QI3XHVy+MriIoxwnKGGFwEuxSwbsGRZvJu0AccLL2cxVjq4+
NjxH7Q/pHL4RN7hOjV+lvs1wg1JDP45GfDSn+Gv2ATjT5jMN3nfZ9ESAruCfmuarGZRv4H0f4i/P
6dILwXA+OKwg9TqNAgqoUjhdUegxN2iIQEE/yo+kKCotuKvY6xI2OXEB1JXEhiE58mEarR0CiFDq
/hlO+hlW5j6J26+B5TliyD0HjwLwKj5gV6RhTTBrnJKkVTwCg7/PaOGJDTtJgI1hn0ZnzAlFyWCG
aFj89fVY+m8G4EAk3Gce7lemzL5qHtPCRtzmKla+TUmhnR2Qs2NueH1bnNWOn0l3FQHPVXRNQK+w
vNhBdYtKaZdG8rKiZx5SkvYEro7dTrxzJbKaJvTXwU6ExNDVC4DpNoRoG+mKo2Dd+2cB1PVxUYeU
iy1bP61a2j7aW4QnNntESKNZDDgYhc5t1JmD8aMRZ6OYg16Sbos0eAAKe41C5UeUGUHfIvC4+ERi
xo4PLsrcYFJASSr804j4QE8bOMGE/pg1A/wKTaNKITKANsVwbKhKJDxpeFxpg+znrD4xQ6KfqaGi
x0DZCKP1QFuqwQkOcyY/yvGDWaec7nXQ7C1aNp5aevkkL56FfDhCbG7QeOVtERZxWiKERqDtx5CG
B4L+vt7cxfokPpdThE/MmKg/m5ITMMKQCvKCjjMG9ucsZjyPHv1YMds7MCxmYK4rGkNt9NkGzId4
SLURkT3L1uirG12VPuRxerA2ihoqHqcDziGeB6YV1ROV+lIYyZm/tUygucCo+hmWKHIpGPeESAij
n90rB7sxNl30Uyigl7IywLIW7fPiaY7ZWZeco5yHLzbhSeG0ZmXkee/xNXTeDPFHrb7VTN/gcKrT
dWsH/FJ9o0E/DJvK7SzY7UN8HdpfPO0iN3uMv3R2FMa0QHNgzxFJ6uVD+zFitKzYKAXrZfoYfZ2Q
tvzEEAFDCREkeKkwYrFPkJFAE+/vWuaMv1RI06h7jkwilvNXle+aWqQKsrFPiLkmWkNgV5Du+4PY
dhd/9kXk9UPymP0nPUUxbhVdQIsRTsEqwobrOjMMW0qLiMIc1MoOkK1YYrsRzhoTStq3dSHfxKPE
g6FyvgFt4BoZwdxVf2iNH5oePbxn8fbjqY1VeOzcxDAnS9jehxNQZFCkkwqglwaQWM+EV7EmDrmJ
GRVl0iGcTs18zhvkBybRYdQuC9A9UzKccuuTnF/sFuo4HmKKIzFAEVE1feKNaHJFS8vEPcC3hdux
6XUdQT8rgYiH5Rt28IIB4g39nSFiUv72zJaFoYPryqMmZPFcTXZb/l8Ao2KQKp6egYnbyGyYTzuQ
hW199Ka+ivSTGCGFJrSZ8IQV6zp2BIu9G3nGRNj7u+4BDjnWTf5acL4rXT0KkmvYXVsG+QXeDo2O
ATZATPYRiVj4Y1LSkiMW8U671p2I+oMPZgKTIrmAuwolS6wIeBaiXoSCigFxYIdrWi3CEjZCliia
D25qC1dJOA01hF0s/XC/GFhXTHZ7ogX1S1m+qcNNp5NA688aRQAY5TDTs8xPnwVGwZYwBBHwRVFj
Kj+zU1ATfJtJveMnoQ2EBrIuhwVLmek5arSjyK0omw1DUqLvbkKbKZ4zMVmvsTMGNI8MLBvt8Jug
1G93PMhYDsX3VJor10rsXjU2exkOIS1aSKZGFHnioFy1n+IWxfFnjfpatKXjuT0FmXNkYmtM9Xpl
aB6kD95llRRi0Ymx6keEclHMGvi7IGb9b17RQ23LLWASt2uZFnXFr49hSSyYLahw9xFZN/mXzzTQ
9FTbDxEqMhWah7Fb1C7CXhRnwZlrLaYmcVNgyvjryg/Sv5EYlywsrqhXowrVpvMrB4XX2PeUvB7t
h/MWNyWWytO8h0xiJb9DdTUrtxypCOkC2vGJhRhvkgTtgOtTpy8t3WVm9WNpMtPTXLGJB0EkLUVj
X0xb/15pLhttMO4hv6O0dMqlo2i8a7p5EnBqM7GPYjSqR0KmIqZkgge4b5WSyFPhrUZ/Ks94rYYr
f8cIPx7pJ4NbVAhWTBdAZHZdTZsxgPaOR4hVRwznuYSVZBBIYvy9tk31U8HjE8gr9hn4JmxXfAUT
T9zkVsmDipYJPzgyn8PFfBf7hECrStI9LgZg2uyDzCGE3AE1gQDrh1DmBOi0MdmNB6Dj6auNhj0E
NIi2jIEc1YMYe4gHQuLEKyKvcVByvgvWjqOehQHH4eM3COOTqNyRmktSpwOFXXmJmTiJWQotBOok
hRNLv+RmMROg44eghHcKetzeHur90MTiICwiC2gKrHWUfv1wUfrfv2puHg8gn+qAuhNbUA1uD75X
INhB/F3M47lWyE0YUersSTaHz2S1HNJrMOyc9hCwyy3kjIQFLsYMXWXw+v7vqVIZHDo+R05s+/z9
znDH99sXv7y9Qflp01MzyHpUkCBsWsgeDIM8kVTHB+AXFtkv90Ys8ozpY3iV0UPiiDrQxdMAK86y
aAOH6jUKWNQzwfvhvdpNPfpixqomHeq4/2Aa6/zAa83Sw6cA0gu8MZ+6ML+hGo9Y53guRQusj2m1
hYPbmteaWpyoD7GUwHiUPuivAVyiQqL1o5NkA/OK6UJ1FAKCAopFQ4iGMDviEZ8JKbKIgzjzADND
EtcLQbGP5yeQEvK8WY4BASAXwbblqUA5INRiQC9W4luyUnONeEkYXjWZsjVzT5TA4clH9YepmKdw
0I6s5D0oSv2hCO+45EqCscPZ374C4hgkSnq8YDvkedQFJbMNWiXTTtyDHyV4IvBpUQFqsnD4o0dQ
EMfxU0ZyNfRPo+7PBK1SjXozis++k48K0/aAV9UQwhrky2JHoECj082vyUOP+tFGhDDb3Aqck80K
VYsC3U4Z+LV4JmjY6xx8e5ZgSRL253NPnSrq0QrdiNn85kj6ylc1O4m9YLIw+//H0nltp64lUfSL
GEMBpVcFQGRs48CLhu1jKyMJoYC+vmf5dtPXx4GgsHfFVWutFQp2BJslaRUlHwp9mBoCM06KfWwM
8jWfn/jGHiHxZawGn9JHZ87+fidnh4cCSsgyGK+fRFhs4TnBgjR8c0pt/AZfPsHaMDK5zx+FDFc0
6hAW5mMFvNSaJykZwnbNJVcUDvq6hsyNiK+ho6oikqlSNOOwpOi01xh0U5mhhP7iCmUo7LergroA
7WgwTxm0C5YyBiOwAMijgpS4Xs6zj5m8qtUn0RyYqMI4QE4ha2fh3A6AShIQKfIK+CylXEQyBYcK
y1NG7tlBAseCjowDkriSJ0pbNrZDni9in2wBB+hLXn4ON+oxw3Udx1SnkS+69rCBZ+s5OsM3lRbH
Hdwz14/s1xnZc9xAk4S3fL86YjRrarJ9HCHQRBcv8kFMcRMExyaEDrCpwdMxo0Ut0XxpP9gYspMo
/8CLKvb8yoojAm+Ydr2nezGgGOH4ckd8EDryKd4TbjNAz4dn3ND6SsUXoAW8oCndXK43W4c+gHQ7
HwyxxNoRRBw7sskvczwgcDiV4BXHU1UPn1gEhB2yWFqLctqnpS615sVmwlq4sB7K0TBAOW+uLFxI
N6AagXyOk+IENHtXNznxzGcRCyaM1WtddziJ1jhqYMcKMBIxqAM7uy/nsF1Bdyfnm4J8G+w0ZCDd
Y8iU07TxUnepNNa+VGftnNmvN1wZe6uGWTQBdsdCJRNYj6sJvY/HD/xPdADAttxtNEeDlNACxo3Z
9NmB2pG7LYdoIY8zllgKTpCAxuHyGExTARaLeT72kMxHaEgkmFXG2+YBbiMzf7qxQ19qi/GUSE0C
PdS91B4ASf8sr7cYt43hyhHIx6NgpAmRjjj9bdGVkYQCaaUW2ksJJPp4/LZm2YpTlNuOr78DLcCa
vGVYhorhXGIVcEmYexNBYbwy4luoLovznmfME7PCWZqYMcwWNKkoQnJUyfRz1xEyg8FMyqf3y8M4
taQpdr7pZ50bsfNJA+QIs7JbEQEm7Z//xzb/36ISKPoFrUWx3OwYHRpDBiURd7B/IZ9wWDtIoha/
Es9i5UAm4mP5SPjkRb4G+ypGRqIYAIaM4BEpIu8K1zW2fc4MByN9WntGshz/h1UnxZqR9nbqhdgp
606S+HJzMQx4RvjLGW8HckWRznJ8uUSY3/YE2bgDj4FNv40BP/Ys1saqhTcCVjk17s86dXW5E393
hFlL4mDuryOkW7f7W269SdIjeR6RCDGleAqCFqL4O6EDGQzxvVTaFKasdDXeQnrDNQA1gNuv0kbG
NM1ydrKc+6JC9WQQ8BK0GTKBO7RMjhDyGHA/J+ArZcBeLcsQIqA/ljJ9eHjM3yM7vpY+dL3WNVrJ
5usN6g3KAzmNOdhAzfkpGs70zx+3b6isWHc3yGS1IiJTW9wbnMrjvdYOFh/aHu5JqFSv12lPfTIm
uawA87KbOCG4NPKUQJM+PitxRkmB268148H4GyLBugCkvDHqlqBv6RT3jeO8aDcLAfrbUvmVwOgG
1d4Ya3A3V8saxP9shIwUfleJ6BpVyDekYoFgeyRq7EzAowngmaQaUud89CfJEmWhGljAK2MUoMzU
27OM1FeZxJrW8CMQ3JI4LI9nL5Vx23P3WZPx/WJ9c5/hXIdklXnqK3oRULzdGN58qRP4/oKOFiX7
AyAGlovQigiMlIGlKGE+PeT4Ql+WyIoyyZgAJQBzpBu0gLtfLfbNZ2TIQgyISVUf64DJnPWoQqDr
cCFMwCNSxMAoQkB9s3a4PUsDU7rkaURPV4reYqxwpWoxHcQlyY3DTep6uWTgXTK5Cd08CT3Ex3Vr
clteyxsS6EPE7pUCiIRPZG5flxwvO8OgUPNQ0Yk20WZoFoILuJsiNkywk0bmgshG8LB/Uhy5tspI
OdieIprORbjHTG8x2IYokYlmBXzYmNLHi2GtMYBqGxrmUzs8WYsHHEyYCzhaBCEIwx2wMFf6H4Y+
witwIisQHpVOefgEduQWWDfDOXfolMlJNxaAxL1E0QpIhivb2zB/MOvCgsIHgbbieks2a0QfYsEN
Cq747JmZ7ogoMBQDSiMEzlSNbo/fqdGOHPR4cuy35sbAT+5y3ybA9GCAxAfpawYjcH3wr3COYjrU
ZpkP1EIHX/Ry4VvqHiwF+HQ4lEaFfoQNDQY4uR3MLkO5Bz3XHRARzBHO6K/wro9AH3CgMek08V8X
/VCqoZA+I2xj6kUhhEdGWYs7GGVPkuRjVJuyWLEiCgFN4irhYIYU1NXgkMVc8DQNUlV5qog8TNCz
AvWhiAuijCuR0xQVJ55pn3dmCeGaJtCTBJYwFpcUdbsqN8+cXk4NXtfOENdyDSNeYaEpK8u3UlfU
nSRJLrM/rDNZSPFbQNKq6rRjC6YcfXIm9rtZ0+q2JPnX3AcwmfurxGBRDK/CFd0Ckt8l4R0YOYH9
Sa9A0OS0sOv5b4mKxr1cUH+zqMyhXeRZTrFPyWRqyZsY/FZOFuBliVYlS+DoMd28zZiSa9+hX5Na
AovvpmEAIEPDbQImlGSLuMiYHVn6EG/gKW+E9B1ubb4c8zXQXpYDC4N8DRcEhEL88VUgDq0G9Ymw
CY33pZB+NtRsUVM0PhKIzQBkFma5JLQgf7krXyktUKv9i6Huc2qOBuVwwN6x1LFFW07ZkVUJwGqM
Tz3oqwE4H9jg+yBwlR23GM0B+KBgwb7g8JyaybTbu5DR/K2dEfLFivZQxjBgAhqeYhYLnPOF2cEt
wCSRD+DRKdZMgAz0mNiXznXyOqfewiXCMxPvmobMM4hx7tlvA8wKkiFLVglZUrVmLWjWeZZDBdPt
CAcrPFQ1rKr5M9GZGYWyH2C9yAnCwediJCXyhScZQOF3Q1da3CCFaJwah9EllCy1Hff1/zGNZHkq
yQWrDYvM0An1Dd3Y6e2OcqBcV849iT7EpIaVLkjXE4UgnK8OWUtxRGqIpumDqqNKfjagiwVJUqLT
gGrOdwcfCrtkfRcwFgsZO8ye5+Ov8Gf8pRpgstuLxjA+V39CicYxwMROf7TxAHYSBBBQWIEoBs6X
/GJBgR6ldGPpQUrqV3H/WD8zLpwBXzY1JnWdJCOZJgsP7LwgtTlc3aRCOJSefj01DtUmsiROTWYS
iAmo3hkGjOyE57V131yRmbozc2j9kBSb+imaUSKgbj83dej0tNCEH7ADA0jFjogEawpOV2IElkpK
1tyc2tTxiLClx8AzqAGyoAlp8CD4DkkigOlLNlLPd/A/gjUkBGIDUDwR0yCZaBbcDMijz6I0h8FE
4clC0p0eADFfIQkC60YZz7yvFIFIam1W9KQtBcw4UBhsGyalCMFmmLVHe7gZK/b/Y7B9wiP2koD3
7t3oM1NBjMjgB1deAv6KPgzIHQRmOZeOxh7XQOhvxPbJrWLuAn91M5/m9TGBj+VBjSm6zDkwlUZl
OWdi1D7PmMzqsh9ZvlwmGgXwoqMeYmIaSO3+H1Y9ytWkM5B8FpNCJXq+s9Btx/dqJ9I3iXjhwiNa
xHxSkuCSQB3Nymfj6CTO0AJgUa5wNXHNyLfkYmKtxa3n55oR5oqCRJ4IBDipf6As5s4jx9dcnxKm
WIARsflxKWi5SgYCiZ/nsvYHIAjo81Kc8Tvz7cF09HUeotQnZSJcJ2EAGRZ3i0+nYchUFfNgjMf2
19Ae1/1s09rbGir5cqfZhN/xhcDekaZ+g04fc0K3+F27U/dEtz2LoM17GAvVidd5Wy9RuzHuFa2u
jwnaGoBJjL0EJUPmScE07J0Zt3NpHS0zRTh2Fyvk2pbtRTdieXwekiKcALjMuLl5SgpX7Hx1v3V+
napfd6iyIAtDwKKtvNqkPcu6BjXeLmOaHEyYWKBtREXbSD9U5SlDskIDuYNDHDXrpU7fJpby7Q4t
vLHoY6hCmSBMybiNZL67tnZgWesZjmlQ2VLtCf1jou5GPd2oOujTzwwW5TxPwANXsmBlfCgfoddi
up1e0oBAeJk+AKzv6o6a/g3QMEbT0dTNQ/hA9d63nDO4BxtKuhE2phu8Zt2pFv2UASwssWzE0GDa
qWBO/wvgZmD24gQvWG/h6lXpz1ogNbJFdxYxUcv8KQcnGE0qYkRgQ2UsakQOKLbNBZ4UKxI23u/W
yWCsw9HmcN1cEsyiDp/wn3Aj814srJpaVtfydqD8BvBSeZweSIcbEE1adknK0ErI3YtL/Li6d+Fd
FM+NYrABU2HJqWvnh8OIr06HCU4CfR9dtxNAwrif/9RSYgXRjwxrUTO1y+gJsBc3opyfg4BLMCg6
Uh1D3P+wDxVhviWP0hlImaDho51JckA9Hz8pF9hm0HYokW2cwxjRXtKr8TRDvUA4FTrjR0FnXkTY
4x62XLDsUQ4HuLbs5t9m7Lfif6Z+0z2eu+sD4dVu1V5nkHVkaPKeqMVqbc+QA6MI0LmAkL6MoMRy
kMwgPZc1RUipohSg6XJED2NGOGbKU1mkz/fb6Mf3cpVQeSjU+coa7vvChlrCqF9YB7Q/KZQvSebU
yibv3akqAEilA+MVDjd7PSVsBQX8MHkeoM7G4eQbry3ARGGDqB6UFgKF1IQnIvk+LXcWdJZXm/pX
PQfGq8C0Q7SKGPUMm2rTg7IZEZo/M/2DroiN1gm1zhsCcpYM2JvtS1xBO98ch6ZfPJhUkCaJM16U
2n63seJO/ovWB0zIzIxyA/MZ89LQ9VfaHKzNb36nZlUEqo7oWXdSFCpFqGpEGIRWbV9EUhsS/mUJ
otsBUAVSHBAPxTGDEiqA3Xn78qcrVT6gD7HghiLjtpKVYl/Aj7vYC0F6TwbMA1i2xKBNjH5ZmFG9
sADHXskJiovgK/OCgX685A0PCEQkHVFhzLYCTk3QnZp/dBkKyCX6Zyn9xo6CEQ5nRBhiaO1DZg3w
o0Rejf6mKdMOqKwzdHAooPCNG+EMO4HQthI7KEAP9qSf9wY4a36SBmAH5F0jZzMNJ9AomQj1Opy/
gCvBgwPkg4I+Nu+bTEbquHczKQ2h7GnEYPeVn664LWdq9OFwvcd1bdy+SjVf6XjtBm4LEwgXeI9V
QeyZtb/sKGIj7r4Dx34Lg21CJH47zJz5fm51z9lCZSyvK2FLqIv584gZa1C2ZIxMjrMxgOcTcVWU
GFlWWJw7CkYOnufa7u5YTmQKMIVVam3m7DMKSnn+kt/eqsePfkXweDrdWv1FbYgdNQZ5+8tDEuqb
+mFH1PyAcsLlmTsMD9iLmfahPaaVqn+kFKRaBQJoPncgt50t78Ww58oNdPzFJqUM8kBbHPYEPSrU
1RUx2H0OoPAee+ZYbadfpOIAhqbLdl5BRAOFmAjf6GQTWUyZO4OEB+BS9DEVv9KwKS76uNPoxRYP
zbPGw61kbpVBNdzn1M6fEumckXISqRbxdWNQOS1R3K1ufUjIupzYcRiEcdAW5txa6FkR8I5Tb4Aq
AFTCHS7ngKdu9AXBHI/64jb16w6zUKGiF2OfyQCsxnEbHQ4nZuBs8odIc4BY886aPgQCaxoBTMXl
FEAVfRTowKKDscRiE+nwkDrIhWIYcvh8i7xYVglh5i1bS/wGkaDEmTXsC7SBPZ1JbCDwyzvhB6lF
0mcfDuWqFAsf3ZBS0KIFohh+1G+cpAC70ayJGq4tWWaTvJA1Y0n7xYTYQ0/xPc0AvUB4Mw4fDHLG
TCiYsNiWswMhf+P0xw7ZmAwym94wfjQEQyl8IQ3ki9XJM1SKNWsPOgterQveCuBTtUxhdFHZDgnQ
8FYC/ChEl315m6E51DKUZbosaAUSGiZycg3lEVRWoVOYvdQRLB62wv041XEdiOGkRXgFzX0FDj6r
TWw26Jjp41qzBh4qJWRzwazj2HozioxJ8vAk06p/BIs4K9akjjbZV409osEYkFL0ehYoZutjxlAF
XV2VrwnkE5Tv7gT0GzLyAKpzXO+J8FAwwimtQzRLlXY6SaoWQeuyfqAr4mAyBApQNbQkiwMJnPg6
llYO69wEBPkKEtJoOAQ7oi093zHfBMqF1U9tPEwJ5NMbBVfyGbwBiil/zvoxC68A8+0+Eirk+Q0k
VOkrzNK3/ZsIuhgzdRlTHG6scm1SEhaZ6aYpkSsmm8MAtkDEEsotg/SdFAxsehWiGUXJdtpdWyiA
6eAEYaaezMewFhVdQZXw6YGyAJ2AW1QuE5Xx7I5uGzMWjHtFGFwTfr2CAlFL3CBddYwH8lIiKV4B
PpAZQOCjfUc9dSd48pxDNov3mfqsIVGk39OXeQ9V/Jf6FttaWE5E/AC1Bf6T4Ck0JH3/UF99tMCt
5wakXmwlY5itBI6c59D4QH7aaQhi6ub6QdFDOyAS/FJOStBujWnu10wG22iAX1lWFRU4KAw/08h4
m2QkpCISi+hWEKvAnChS9ANtPDO2NqUGP9y0x7MBqIS0jDgtNrlsFFGuqGYqVAsLKjeSUtbZX2n0
Th9kBh8rWtONQaWIhGkEtcKe97V7sZ+yK923EZZ4eHkp48zAZ9Rt9JpCFJuiU2BRU5YVQ+t9jgUj
NFVqZ6FT+DKcbFUBNiDUKJLcNyrJx42COe162dBVuIFmH5tT1yxbpFzMJH+NMvTJNA7tkVLSpWkJ
arlSo20pjDJsjQm97nYqwvjWhCWf2UL2Q5znTHU4TajUR5/1fXsn+Z/j+/vMXjT0GQmXxocOWgIl
DAAHRKY9qafO0IY5a843UwFCCwJ17P2CrdLW8UuMuKVCj5piUW1qsKtny8UXoUVgfF8zBryRtSX2
t6d01TOKPrFBIh2ZxvnPnEZuNaOpAJi516Mw0ensPQ76rAoFdZFibHMD4gtQ6XEMDeFIaH5JlV+z
g3eABW4RQsaMCZ9ido5ztKZ3ASGXJpNklbEEhAwRCUMhhP6UC0TxVCwRGx1I6eCn/+6RErZzXBJ/
YLyuNhYFUWRk0oiIz43+M5QfFVUfMEw7MR+UaaoC2V1Kn5hDpWk3+hXQEzk6l735bOwHwlvsxOSk
gPp3kGZNia3x1uNIMXik2MF1HJgizwmyTrcAhXHiKeb1MNegRq4EvnK4c2YSxVFHDdOfyERW8Faz
Mu6JL9DnYdECVCqpdhsW8SzUGNVhGlF1xK7ajBfDrYTv4ErJmFEvGh2E1GS7cnMEcCd2gxw0J9Ie
NBrwowM/BQTc0L0S/6RLaUpGFPPtcm/LCV9fsznEEoSZXHoOm+VDETmDL0qP8euzBK6lhZ6gMmVD
3RXcsmcokCLnScLHTOAE3UXPIY9nKQmevrBuPZHifCERo5X/6Oro0UqskBhkXH2cM65VDTDynqW+
O7BaAJ1FyizQiDkwDJS2Z6B/u5bbnf/OCm7wcH17oG4d04H+u8bUXiKIIueQPDHjRZF0WFDlEsWs
gcptT5sLzVA/Ud+QP30YqBE+FqSTwwAHYecqEEdJW1Gst+4kLDcHWV8av1jVNHqJHYpA1KihSoP0
7X7nZlSUPKJgMBj+p+pdnXpkkww1lNPTDeOrfFgLGxB/hFWKEFyijiH314D9beAQFchTk/l10woy
qc3UQ5Rmm5RR6ZIuYeQAl19XSQ91x5zhByTuueXknTdYCJW287Q56Ntpp5ALzbKPIjoVBF55fdat
5/ld960GMKmFsJxAsW6Xtl4kGe+TXxR7p0zYfQKWB4MeElSIYJRY9RLeQZsgl7o5eVkvBc3UWJLn
aWYgSJjEeDG5q53y05Aiaca3dXuqbvfFHArIKnkd+tMs0tYyLB6h0tVpNIotOkMKNxuM+sTcJWHx
qJzTmfmtU8bLHccDJb4lbovRw8sZeWCypRc9w3FD+VYmcJ4rONLrgZDuZ8Q/1UgIOeMieqzuyiuV
+bSnrmVQs2FSGqwIoq1XmCsZKY4ImCL8czv80yLW5y4hWuQ1zN4Y4NogQu/Nldr4TdSvOoC20WUC
RyKgjrpKaLXkDMjmodIwFlMmviz8/ETJTTa2ibYXnbnisyP11HR4vfF72COC+6tOZMykVEyiNoeU
ibYopt7MqAHOd2IB5FixEsRYTmsubuVZGygAEDmNjLgIgEifwX4KTauBiqgWrZypf75VtMzKdxWc
gGwKastAln3VSbcclmQcMhojgaX8249kHwirDbvJuLqNb41wHvVo08ANVJ9NEWM9mVx3akOScOeg
dgq8tSQxxH9uCdCvraGi7uhn1uUKlgF/chBXPZMzgnOZz4BP0XurbkFZcNRwxr0PGhVPWlEpTbS+
7rb3rls0c/DNfEx0fWybLDkYjw/RHHqoQ8jYZUcbSkZfHbM5TIqxs+g5D9B4ku00E6GgwYchFhcw
hL0s2ESJjWh58QIvMV1bbpHIA48NAccdhmEUOL6uGVxDXF5qfD9k3Z5MFRA06vZ7HsHmeEmuvy21
gkQrVjBJu7wupqIne8CY1GNtpgfNeYLxB/qGUV/n2jwYeuXc1iAGxnyj3yAjYmRGWC0sIKaz7DnH
uj5ULeBqXisYT3EpBaM2PYRhKfgFM+0kegN5AHGGL+BXQW+SnvvATerDY4CzDNV6dQVJ0Wv3af92
n7eX2Xv5VL9Un/HeOvSOO6xBXG+TsF23a4rUIdpFQbRMV/Y6Wt7CeGV6yE24jRcu+c53FtYqX0Hi
v60BXLn6Vu7+ut0Vh+tzeerO1+f8UjxXwE6/eLz1h1nuXeHheJ69KWfnbfZGanmmhHvO3kFG98f6
w37lm+llfGE45TjsZ5By7QceEUXPPWyLi/4IjSijTB4R8HJaxQCCJh7Fc7NTN9lhXPWb5MClOtHB
3UEBV52yQ3SM1wxNbRix21Hdgm/8YG2gYlmDI1tALhqoSyhV1tEqWkAmDllTsbmulFBdpmG7iJf5
8ofW2o7S4TFmvghQgleh27C3AiSTQsQeF3lIWLB12Qw+7xUvb6v7BsJkXmRDSRVQJvXgetpkfhx8
G0vSpB2v8iE8/ry+Qqngzbx4lywqL3XfMV+es+o8SJr8+foR6AstMOAkLP59+eGi8JF9XORLK5g4
YBpNcTgtrxu4oWYurvhoh84eyP4XBVDGZ+5f0cf4Nb4lz+MbnILVuTlPb+kle1bfcJon5Ea5HYd8
zbgm0gILBt9XzqZczVEjcRY5dzZeDQH0gqt0BVPU9r5lFKra2+vKfQQKR0V0FfbhGHb7MZSnz4Ny
VfIWj52+yddEUawV2Dm45rSPDsOu25Wncm2s5j/yvCmcQvtH4bf1gZGQzfUw2i6t8PIEpQfLdVfC
O+GWK2UnN4uaPCxpEL3DzLkiXFnSLlqDkeUuZgc7BBqwnDbNLuVGswqYZnZRw96YITdiA04jzLkp
KbdGCDtCHj5jap66hOMqYCdxD/UlHGtrdZ3tiz11l+veWQ9b0uJtG173KaNObrHX1/oaCuG18j3B
Qlpu0czcEuOHTD+lrrpENPA9d9xpyWakYrJqedNhQTTAEEAYhzqrbCBnc6H9hIQLkVPeqgz5uuSD
uZ/Fb8rT4IHjJ3m3moMb14hcbzu45hZVWIXOsgr1NZImW4Njkd80ocIYGUJPobNGmBkNj2D61APc
8ke2mi0RBFwgbOhpvubrHuUu77GAB+HvoS9bpm/D+y99yuRzeIeEyOWM/fLF4K1L3lxf14X7WExr
aHn/DkwOevhOQyaJoMf5HXgvCoWMaQLxvHBeeYiRFKK6dc75/l2VfJtvRy4XPKILKNmmJSPRF+0Z
RU1/fIpp9sNHbgTqE4SY6tPjqBxvm3n4TXk2dt3sy/Yd73vm5csnBnX28+OPGeK7vKdxNa7s48wr
l+Uu/GrdwyN49xfvZF0uCqg8Ztgptr1berlHqSEkk2KfwVfkztlnEC76ie/s4UHyCIDD6wZqNpfk
aMdPbr5lyIcNJQ1fl36fh8zoZvhwPnv+2PnIxPNUxAX412TPU/91r3wnv8HicAlM/h18sPk+ZFb+
dQ81scscEQ+G0j11TfIXkvsuavfDdoO1t4cPlQufHxHK9jLXXA0hjWzeBP1tPz5CeOHp3ES6unsU
enkbCihynfGFcMC+joGzBI0nj1eybZ9n8mDGI5jxn7wTC4D/lL8lQCeSz6F3vqfF5JNCeCrvDfxv
9wih43LltZSz+Ddmatm3QpQFvDNzny6qzl7qD2/5gfd27QUlPy9ZQ/HMgx6kS4lrO3qt/03X4+nN
dDmtj0+4GVwQJF63iX0qkWHsF/yEHopLw42v589zyTv9dm7u/uODULbgo+Hc5U3hi/BiH3oST9k8
Ng/X8QeOSF7LB/89g+4Vhyvvw2iLXy9znxIf7/4rf5bLXoWqp/7ePiMXnlF2CeV4rpV8v99eOWJj
zbSaKxvmU+4i+frf54Pm4zMoAvCU22e2H72r+/2GECEPOSptpXE8/x2F9sfKzqcx5eHpgbyBXFNi
3dSVj2LPcZHhJOF2jQGMRv7AIzpEh87vfPtgs6ZwCidG5Pk0ua2ylgB3LuccEdWW8Lt8N7e0vcK3
N3Q+OBPVa8OIj0Utlc+68YkEGQEk0EjNL86IpW0mVi/1Ata7ujosvjbAz7zTCS7v1WZ3ETLLL8p5
zgJ17H+Q/MFvv2jd6NV+nV4S7/ASPoXLt2257QNqC4voMDvpazEP8K3xkMU8X3xq289PNeDK1u52
+zSt4C93mVXFR1WXwkeSBipWOmS+fN96HZYeDm3+hX4kyBbZQb4WfAVlw28arz4Ui2xxfZZ3KBb8
9sAwvI+KnC8egjZtQAGVr6iD8d+04hPkWX6zlE8BJc/r5FVMji8SfC2+ElMBTorN4rCLmcf2GPmg
QBfk7HoG8XyYegPQMkt5EE0EFKIW4xveFI5S6OVnvAqiAYwERF1/Pzl/ZuLOW+Cwl1ze1QSbfuNd
F0gXe8MTk2rulaOQt2vOKQzkqvvfGXBWvAK7xT7i05JFsugVN3mGctx3nogEOZj0LPZufjSxN8px
+DChvg/aj8c/2O+OWMDIdzFLP4RaTz3aBnf3jYbTCeu9lxUUsdoANvnZfsDKyANmgC30K6yywReX
YbuMaPBI3HPp71fL6/7z7p3P1/X57hXBpxgxseByp9kf3NzEHdx/hUcOwSP22VWfVcgCOPy3ENay
tf8N7vP6E34r1mWzZS7crbadj8HHRJrP+Mbw+DS5L7Sx6GiFF1Ry3B8jOELPy+OD/78dj0fO58iv
PpTF583FZpirhB0tdmL47xCGP3OxvolRubpvhfsNOH3F8CnrvPTIls4lMSGX5m25dMPw5zj3v7FD
3+REbCaEh7EEsuflJyBqnCOMD8s7P+HiwNl50cp0k1ftEGxbX+y67MFvsbO9y/uIrcczszNLTJy8
6Ww32+EmPPEJo+fsIDGhnPJnncW6UO55uQej1/goY3mAxNaN3/rWDmfoVVwlUIs8OMDeNcO3/Rhw
3iBqn62fa9Av+yWalpv/bpUYwvk22xjexFX+nOM1jDX6zX8u1n4mEElx3xU+i84FBzitJbYk+3+G
oJ2pqa0c5z0Y3pm6J7Xh6vXB27Zwl5ydvAbENAtDWThLcVHpvyn4lFBCDbgRzpIvYvMQSuKFYgRy
PNd/Vwc48oHS4dz9bhfm1gjMxMVVE8HB1jzC3Etn+IedwQ5fHHb+aXOa+b/PM//kRQFYam5tFBDN
hf+03evGOry/vp743yvNeNfctcH4ft0yQw91L7xIv/rCXtLi4Pvk+AhYS5Ov8E/ELy8zdwehBX+8
6IvDHNPGqLhLCOYC43JRsDjE+96nPvnbBZLm6N+0vvk7YOI2GDwgof6dBzMLfNUP4zdo/7X8pKyj
nbyF4jnujLcfw3T15SxSt3W/AA6sv1Q3XasuJMWYLsmKGDN0r4ty3Z2JfDf8luemroT9skaRz4Sl
/mfuH9/eth/iL8XZfH4QAnCzcEtiSOsnjLkfbT7+lp8Sfjc+KwTUzpMsdPkoLAtXuGfpJ6gpyG9Z
/Et6n8eflJUITxKyOwRMJcAeV4UtVmOxOOUG5vb5BmEBK9v1DNx7s+C+Kj3X2d82pfdtBKwG2QYt
/oWaGMuar6zZkpXS+s5OlrnsnetKe77zHY2elxkfPX5JlCWeJlssvsIdU+lHSH1x290mwumjF8dP
1cpwzQuFvjPa6gHMaz7XnwQH+vQVl1HO4s827yS8A/3BdoasKsgvdAW48uYyRqWEurBPv8JHSoH/
0HDi4axq3zy369kGyVRfARHmZUuqp4EdzLYg0P1qNR3BAnh2APnJ3vBtr9y0a2dVrfidBx/9LtoX
f+GDrEiY/bndEj9+0UHmIbfbWKnu7cBP/7lTAktjczhcHhzCbHX3bywdFK78ZJtsa35KtuZu8Gqf
7o4Pzm5hn1h7Qe9HJ7TJt/LeON8vrAW3UdYEkenZ2rXvRwonOKUncTdPrunHbrXLFum6IbMZN0w9
b/AAvft0d90PxgXdz/16f3WNpUmUOK7nmKLUG5/mL0zpwwnNvd/Lwolx9O7oM0XMiIqbvMgeALIS
XLf1FlUkzoGJlkAMvL0vzkg9ut2q+cLwLiWoSv1k/VihK/HhHPmL+1oF7br2GVZi30Cm4JtL2R23
kM03c7+sBc2Rv+umIqLC2Na6kYXhi69O2UMzXqF48VO+t5fkkN7I5ZD/1AUKCUHBzp74lwu0/+9f
ZnZZJorX/e1NCiif7M2/XdtyQR9evcVOfNu7+zux47/T72q9Pn/sz+fY+/0HoTR+iz6Cazzr7mwF
l6jvrGYr3XVW6jMcHF6+T/4VR2qifCqUYSDpyH7p9yJ9vkJazVO3Y8hX337NN/AivOjbKRyexhD1
zdD+HP+ZHtUWVyISQPv4fWfTcpb6qtuJzZPfSbwicZBENKD9/n4n8Y5ck3bXeCrXpVt+6f5jfzi8
4L6efo44GwAX+Ik0nF2s09v+HrgWQDmCR8tYSCQJPTHh/CNMNvTsqg+JOP+L7csPKBYCeWbxpHsA
bo7yVMOrjopPYYvvSA6D+kllptdFknHB8Ogie2J8xE+PkjhIrqIt+kAhPVD8YTu+SlQhGSRvV7n5
URjl/8LP8pjt8xd0ng40Rohq05c+INqv3X1wrf+pQLI/S8Ad386pDzQF3MRSB/XRVB+J9pG1X629
tJ/FoKTb5BfS9eXjEIfz+ZNGBVYpPPs5eZ1dWoz9K86tezcPMBh1ND8tZhfBKbsOKw+zwewjfUFh
dXGh1USynGcj6JMxUtkxpunzpwR2fdNrztYX/Qk4v1617+xVP42/+YvyPv72r+nRIHmgpoFaK/1o
zU1gCmKOKw0erd8sGsSvCi82vPx9NncrPvTcznwIkbq32oRVBcpeEEoKdYXiWkPNQRuFqnsdX1e1
YYQjaLfSaVG8QvS+WBbUkO1pwaygPZ26rCBKiqfjA0hhlpWbotzfbfP1Ud1eTHOEIIFieO1YG4Pm
UwKP92juc8fYK3kDbU+6s6icOwocdQPiInMAuR3bpUfO5kZlnEq0DsrhzkTHEOk7ZoS2bS+N3J8c
LL90bB5Qq7f3T4ZLBHeUz3p/Br9LlOdh3E+vVk05shBu7tsdgnAak1Oxr0d6Jj2lZAenQylVAC9y
Wno0bvIRXzdn+KN8qqZfq4SM2bokGbSl2avKfJhJT/MO0Nsuu4vtaNwheFhb1HhGKKymnRm/W1m8
z5vXtBcNqYSB+VMK/scEJADas23IbMo5nJlL3tdGWfRG8wCwkc9ANvKRPjLy5Uprvqqezixk1AXt
mVFaQpTgaRujiGrSZpnlJsw4O+teH83bx6PHXVLaFUACbYuaMUawwtJ+EmQEhDSCeQhN6u5Ul2c0
HfKEFuvj6WZqga6g4sPkxQpi+E79bYuHj2wskGbzVn9EVn0qaOABvIzTE8hFY665rUaUlRQyz0Z1
mBsLODt7BfQClbCWWUurV88FI7tQnMKMyIDuwMRoagPPNZ64bwm92yvHQDOIqbnHW8ZgOaO8PRPh
8BcV7321UI3WL8wIjilukgPjlbym1cmX88bv77ZP++pxK1cwZAGCg/BPqaDkJ02osjCJEQPXqQOw
tQqgvg9E0tKkc9t2V823pfqsz1+BSMJaBErpMOOjpbHy11emwVekrP+69B4mvGgRGz+HTZFx1vpG
a4NJkUz1Mj4f9AUjmZb6ZaIEOSaedOML/b92eSYaTB0iAjodhXs6f07KGvb5cWXVhNlAJpjNqzMI
05guOJnG6NvR5Q4zh6A6VCYL/0fSeS0nri1h+IlUpRxuMck44oThRgUYlHPW0++vZ1edmuM9Y2OQ
ltbq/vsPM7EaaQwX26jXMgNpjHk5j/EmGettn2grPvtcQ25t0AuaJFY8OPIpyWmG/MMyzxi0MmFB
C8LTiSPfWjQawt4jaB2TpZfOI3CewXcOfp80BFUHMy6JaOUzMbRXquNo/VRELQodooSgGRQ/hm1B
uGCPxf8F6puLko+hoPB8DKhrPpyvrEOY8kJ65ivj4lDeXUX8F0idTgAxlQgn7a/vbhj75MyAhK5U
Vc17hwRAdxBe1y/5lG5c50O1y60oz7n0DSaLeDc/8IisdUcnQutHd1lxwcmc0zeoPKl9E6V+qN7H
wdrCC9aCT7hLZDSfQljdVgbmS0i30VDCZ/3WT6lky+BDLaZnu43XTPPw4p0hteAguNCdP92tXhPl
JmNeXH8QQXnQ7JBV1Uz/07NwL2Wyqhm0W9HH7KKuKy2IYIgyEYgMuFMWS3IWWyyyyz2Ok8RyUXMj
4PL7cWvAJ7IJhtOhmmuV+ed08atGzhJvflZwQ2A4pZ6sot+n73ozrLW1TdiExxnC0M1i7bdcKYXp
HXVhokvY4g8GTMPKby/wehVYJJrhv3R5/A1P2Zv34joGE2EdDcoymhh/szHDVn0nnB2P9jvmF2Qu
3XTEILECT/nZsn5l4IiKVIwRLPO7wUpOBmqj9S1OzpCt1jILC/t3VDgPjONwWlwiTPS0vWLVjw3z
EDc0lylUa2ECGZP7lJI9PQwLH1kt9JB3O2LYnV/VATv7mGJ+fHEgM+Xs1IyaGhQDZQkZC52JRg1t
ARPCFZS1ZCA1quMVDphQy1+icDsRvtYEJA9JEA7siAW2cvkhP5AnM3+EP94p/gnPCdDb2b3GZ/0a
/sR3jtjqt7zrV2L5fut7hTDjs73jg9CezevIL72ibPmLjvMPocqH4ZdlSjt9pxOOrJV+TbhxxWK+
p2fShDBesK/tnWWbnyEp6lf9t0bG85vyq6frdCWD7KYey0N6CG7tpTwM77xW+sNGZn+6XyNo1SI+
lBfQm5DvgfNq/ik/2NarR6Fw8firsNAgNy60S/zbfCiH4bs4YU7bnZxDxSNZLqub+K8sqtPI1Cv+
q04RUglU1puEUR0cmAfv0JzGT/1unrtbdMu4w4v2Yl36P/17/ur2zYlfU303jBIS6jcDbzm6FpC4
EVbtwzBhkLWyhy3cyhwnkHKtElevQ97c1vWGn6xJvrU32fiol+sU29QOvv4OFyaSuupyqydE3vNY
rEeovOEOeQ8/pfUovrCnXyvz0p92sqHxP9aUvirS6/jUl+gilzYZjMsI23gA5J6h8rJxngm7Q+6i
w1J/SH+SfttceapIj6l6CG2soqV7NYjYnpm34oa2cJBfXGUJT8SW4HTxgFaZXTe46tThIPWvU7FU
wceL3w7REQfmN39gZ9Zz6ZUNSjpoNZxUVf80j8uyhXi+crCdUx8GmhKbueYDYWMJDb8OBeNRK14t
RmbkK5w5DgPiLXgieMCLJ96hGYrhXfJu/lJwCkdZqATLbwPa3mK8Ve8WJ9qzAaCb/BV/wbEcl/MP
x1JwJE1S+0lYjeTMT18Bi5K/tu7ePfuDI0B+8KU8dV/aR3mxv7LT9Bae1V/z6l5ZzixEJixD9+Bf
KW+Ja7mCCcFcUo/De/c7/AZ/+am7hDd8uFb+tYog/C7Ds32lZORNGvdZ8GWMRkkcl0TL4A/gl2sc
/RXtilLqp/rrQW6UPT/mX42f5jM/pb/GZ7mkK7mgXx3fuN7TZ38bb96X8eNem6/yNr5pn/EpO8xX
4xr8zKRd4Rr+XX+48jlAFX66r+7NP/TfwydO2WB6LPJTe0oBRTKezOnqX7Wf8mYcp317C3gHnE/8
qmtP58mHvdM3YYy1L8/t3fgZLu21ultfEBxvEPDjW7ufPkuE6Ef+S/nj5RVn5R0VwsCAt7NFeFPx
frz3b96hgKRDFpzeLdH8ndpffko51jeII1Ba7MN8y28qbznHHvySn9xLwuUN/tQ3rtIXJXmzn7+s
g/8HdXiPYzbchZ/ug/yrHN7pW36YGbNDr1xMR/srPLMxYbxwNbirXOL8QGoP+sPpykZF/ObF/+N+
XcPzdNWP2mV6H77yE3UdAhxwvHPCNOMA1/o0fLm/xj06tmdWzSE54CiW33RSLaBZc7X8k/ZCjHC7
n7/tg3OcjwY43I1QTm7IeAXB+A1+uHTtr3acvsZz96Vf2YBZFQ373h+/pbs4f8klOfBzAXMgvoL0
c7TiRUr+zZ977e/DW3qKb/Gt+zSvxCXShyjfokB9i9lYuSP77nP6oux8ty8p5w1qm4V+QbNFLMxB
P/BKzXaGyHbA7236RGaXnrj78am88b6SwwzEpQQrbvT45v3J773xEZNLiq36Q/M+87HrcyvL/4vk
VR6C+oPfd1HIZ2IZ3fiRI98/grhi5vsZHFA/zZ885LOxGI/Gl4symQfux+eM46mqLtjKju/JIbo0
5ktxYMF0lzhZxSwjvuSUYXlcIJ80l2FvfI7vxcU4cl3KW3mb5O9TLoRMmvgOFdIlPx3eqrv9o37r
Z+OqfYbDQ/qLoiS5+2fnyFLkBQnESB78S/OeMYfKFsaxHRbl7wSUwQGkL2Iepw9WMlAO3R4D0vHG
DhXeOhUexSK7GJ9ptMCK8a/hab07X6xo1jWUcuQTC+cr5dpO8qgcnS9+LnEX+B7IB04Ozld28Eou
cnIY38yT8cd90I6Z3GFA62Bh8Zz/seaoAondOXTvsicZd5uNxv/V2Auia3nLkfYcsaWD+vyLSjVz
lvbJ+MQZPsVmmgMPCCR+bKm1z3wQ2DfWlf+A8YFfJI8uX3Nr+Vq5utQM/NfvgDnIZfqo7tyY6R5g
bMFH5syF980eiCTgdzpDulQKhAMr+nDvOpybu2s/1f1CSFeUZgvKMY8vcBmaF/oPqYruPY6W4lEK
4Qik7Kr8hlf1zGuqZ+1QYODQUpguwqPDGW+thjMvox3jW3LgC8VE0btQf8pwA59x6d8RykQMmO6N
FOvy/vmTGwUT3bki5+U98ZviP5LN/r1nnMgizh/42iiq3s102YbL6YzZPZeLP7u74S2Cc3DO+byw
OUG5uQoB2ZmEXa2C83hFARvdQ7ZhH1+hVSMkU0xesA7Gg2CDJYN5sqDtfaNq4GReFj/O1bl6Vy5f
XC+1q3+KznwdElIB1Ytfyfv95LbP8XN1z5vVzGbpn/pr2KwcJie/2qfz1R9ZqPVSfdXCq+XzQi+6
efL9pwn7IhefrXCHqelw19UPC8AoearI/PSJAVaeAgAvbQ2AUVtENgDWpvuQ32AdsC9HRjQaj5P3
MQx4Fb333HxqVG9Zb/NLcMsv9YUCrrzkF/04HOMDm+V4YEu0P2tniRfXndk8O5N55XxzGY3LTkV3
TvnPfQA6mXDEwAgXViHOFOTRPFB0YalKHchmxs8044GTmULOJLVlftBZIC9DuWSd8gDxp0fASPdg
dAuH/4GLIuznqvIc8s/oEnGqwzl5XzjQxOQJA6z496j8aWzcl4oBYQhlWO5ocTc+s0N1aS76Rft2
D4r90O6zY/c+fdKg1zuFlMd9vx9PlbYwbp2yxMu+Y8Y7HnVgfKlqFlShYMXZQwvHGNSD3qxTsVcU
I6x3iYYgf6LnOmcxxAkbTbnprwyKXk1/ttMXTWyc2RsKnFXZvMAIWnPaBtVKoZsQJ7o2b95zhc/1
FKKTaTtMbOQO3xr1VlZw0UL9K0BCDJEVDLZEmaRPS6/y9iLaGBzKdkqKNl1lhY39/LwsqNdzgKnE
IgmcZGWCf/RntTaBy4toOek3k16sFA1JvYc+CFEf3xyYvPJOrq5WPoceKgZ60Whs1pX96KlsCFk6
7/X5tcakRCVwJXuPGrLXnE1NlYKUps0//aBb9JByVDJUzfTYYpvUw5UoN6RKfXvAa3VFqDabnzEt
TIbJpDm8WzUzDUu7glsoZOuho8YeY1QeTdyOgFXwyUf3AMMTOajqtVtYcUl37kGksZmNPqdqXocq
WHLs0NbiekUs4KOHwHJ23tvppUCJMM3pSh/fofRONYRzbjWkTJMbbeE9sdHieVln97ivNyKsGiPj
pTLax4rJWzKKVmsMXpA/LYAeMKPSllH3pVDQiYRMpGtwfS2aIG/aDnmwaolnRSuMJkQ8QwImacon
cAJ2pstYnbcKJHyTYTUGHuShDd81+kbMNeWCIOKeQRUsrHdz63nqnzHSB8/YaEAcwsxH4lkrD1MU
bHEgW7WYPAvDEp42aRQ0xN9mCecKX82obhe+8ozy1hvttcZKyVrLfBCBlGGKQyJBBC+VOWLUr/2Z
Wr+qeJlRR5KFihwsC0enqHn5p/Kr8LMy60feWcGhO5bgyfk+tXDgrDc1ZxMpMJjGr6S7VBBlOCp9
MZQqyLCh+O/UpMzTseD9LB4j+cEsPquqxvsi3uKe1qu7NISjrblrn/wqxQjWBnHpphK+6Z9DdFIq
QokxBbNgfE8M1aDBjyO+3RwPuv1GLSGMewR1U6kxC9LXA4U8aEFOia9bhJwCL1hY8ndxCXD0kSpg
brD27RGjKsEVpvACAVc1ToJ8QU8mdq+ZTyZytBAJCFD2LnwTHWqz82t8kpg0oW+19JeEizpq4mwP
6lTWWEZ4G1YlDkfDykG+qKIf61Bg5Hq5Q9ii1OZ29N4tQBpYYqhIUmxjJrywppQzomfJphtJ5hLP
f7zDHtF5zfH0qHa3rOWbUaC/miWxxczn5+DGExLWV9t/aeZXsQu0QHRAk7q5W/eZumwOiZ1gmZdu
R6zAFUfsZ5F4g3UEKpVXTXdLL6R+DRpl8aTjQ3FDZ9h6E4Zn/hMc7xwwOHQ5OcO2PJsGCvnmzyH6
t8CjdKYxIh4KpJqmEUxF6PBgCAaGzQEZZ3Y5fjQ69GeiPNP2g5xrUcMGVrOZGnMn+goXyDPAElON
P/r5WIafrsJ4relf/YNn9PhmztiTBU8+LwDctAkm65lbWbE46+6rwm3Accwnr8SYClCPkMRgfGjJ
ee4VJm485EOIyjf7jODxp0W28g3vAXXUeTCXbcVYS0uOXIRVb6A5HJNLn1Xbot5OE1xP29sJuuEa
r6GB0X7HHA3BfAhV1VJWojiYkvk5igB2Exdwd1XYpPUmW705K/zYbBQIws2PQieeOtzVHVSrMj2I
SiFsQbv2HrCKUs7f9RR9+b36EGLB4U5ne1zm+Ex0IDokyfHw9dG5YtfXkQXn2k4Z/wrr1XBfbf23
SAgaiHdYgabc3wg/kokzN66n124qlyXUO5XbbdqoPY3FIAcnOpFsAo6lxq4dJnHKvm0qImjUvzB5
6EidwkNqIwhajug/bZiJ+KzBHFxZFMzx8gOnB5XdKEEgXXU83rBdR6rbHYz1yAPNboNfEEe9+Iin
P206ifKpjhu8ONmV2f2cjc/RUVjt02BDRHH9ZyvtsW4HgJzzVSHGqOT/yBbq+uOrjqS4THZatjGD
qxflDxVmuk6pLozAfYBxXEQb3MnALLP5vcQXzQle/MZ94FPTU5M1EDEial+w2UAL2PiwwfGixYjC
Z3pl4ephmtXWBNQ2Rwu33EUbzm9Vggs68d1exkN40lK8Ps5CnNZGspgU9LP5WfQxNnaTkemQlrdT
6s04/+mdA3gJnDN8iExNFoeFWjWymufOHFA0VB+4+mMPU18FFHV0ZqcVFAM0XTyKyDlQaGDcUrf5
JsAxvjBWo1NJdEamQ0aj+QdEjllp6PB1OPRTI2sBqJ31Hcjr5S8xLjS1OW5shmsTRztbTsL4xnac
J6UGx2Z9G8W2LBN8hqh9Sl8U3wXqyrRlcp0Cx13TBqC7w4aK4USE3IdFoiH1aIkq79yPsLmGAUVd
+qhp2RbXhEJ50cr3umbl/eF/uuvVEnJOReuDjiLpPSzLlxUGkKqp7rBkwWgAwRTzlQJcNC+ALs0M
gSMfni1IwaYJRa0PFj7r+NvkLw6krcbe6DqiaZTFVDdYNrLwsAqEQ5+2u8KCguRsB/sJAY+ibCcX
ofCt4ghFSxmu3fxD7eAwESTTDIvcdhAfPYrcP9emZVd867P2o6fWh2hPdVoFvcAH76ukZo7cx4iZ
kT+Ld9/K815TincSCxBd0wuSZuChUcH2SL05BneG8xMTyZzQupo0ZJzNwyuhAr27D/O/hN5SxgRY
47TZPvA/I89dhBUrP11znrJF69XGCM9DMq4w1WhM5tDmoxcAsyOnGves3mj8Lg4IdiucAJiLMXbJ
EIFyWCAGfdArPDBMDkCCU4G+MeVghwuSXYzcGWmYVw6PHoZoOubP9Dqxpj375V+sjTdbObDO5vol
njlquDk5OZb5xEFoMLfsplOk7/qgXxdJuTEIZekHjOnMP64XlH7wZhBKE/6PeajU8s3r0VDhyhF4
pKA3yx7VB0kBIve3OUDH7OQ75p8Mt0QgLAMVEY3LbtdgV0KGTtfB4kA5oM2oO5r0pdUyxnlQ1NR7
4rs7Y4INx9CKT1+wkmPtx4Jd1OP5JEo5Xl48PbEA804t+DXe9ir+rPZTmjzr7bOJmarz5EFjSBE/
TxG3dZvqSxuLEM3Uln35pkZUgAkRKlRdBkYJWB7aVvtjmYC32cQZ61n2rgvjtxC0c+wV1GAIYVlE
NoVhwM4ViKi9ir/cnApgqreG+6i2J5zSczKxC6yWxz3JuboTItJYKMuhI5voXDRkgrnnUHXQJr42
/mfdRF+1eHqgTWEYycQgyaG1zb445lrWMWXoymHA/U/ZHeNx02QvtAAzc1arPgXkueVojjhssqRc
OhZ2DYy53LQSaQg7n0MDNM2Mj08Z3hW4x6+lEagTBjsBjo7xS5e5yBbad1HFOdX7QGtLfZfVN/ZZ
asO8JN/lyIaYMExqK/qrzr10JlRejwMDxpmWIn3FcIQQm6Yi+GdfzCSplJi/vKhIqCN00/ksEvKT
G7DKUeHFmIRUbGCGRjGIVLSKlPfGm5GXHLpwFb+qmv3ZKMSUaMUyCOO9FRtf7TytHXPAPLPZiPxY
lOLjYK/7fFiJhYAo2mTw0YdfZkT01DeMep4y0bbkmk17kzPiuQ32yUYxVjWf0dtYfIjkDe8xgNMw
Ytwa7mU0y7iO7oJvnsFjdeuRGavTt88RmCNeMTIolfmcOvT4OKXlq5FkG1HCFRP2NxYnFCrXRgNJ
GPdjoeEm523i7rulGYwgDWJFVzCjcHiUUAhJlY4KTabxWfrca9E6Cp66btcx6VMbbcnz1BiMJjNr
V2JfHYEc6K6x3BDXreL7GVTdqp7La9idNc0UG4qHeUJWRHCu+UpwTya7SkktAo0ZYxApQCRKIEjc
Fb6RWe+/iqjHDyHlaVjPAHOjd5N4T5aXHJz4IzafTvyGFxRXyXeq15xdLP/A12KR2DeL0UYHVoSJ
HFea+8suB7TM14T8TQws1JULGANvLV/H6tdIQFbAGbCuEBZgieBiDJxhZ4YTN1vtnGF2iEF7SeX1
TRGOS7tf/naYqnr5uOQdiILPrE6xSmQNh0LXbH0/XWt3pmR6sU85U3ujfEQ4K5NX+Y6qLz897S0v
wB26Ccs02NnpRq61ix09SeEep0qJhY1JtcCIW5r2gTG1yMcxg0gZ6krKZOD+VX/y/HEs2xi1cvj4
5arx6WpMuEzAaP2pRn8/xa5oOi3kcWp01qj3AExMGOsz35nsOIbB8L/Fk6Ql25NmjwIjw+dPAaSS
keWEWVFq8be0IpQxITbSHO54gvYBx/18tlTzryxeZd0HNOqhA5W4JRgYcykGHM50nI2vYUpeUuNR
x1ZGNUZOnk1S4I09/yYUuqJ5w7Ufe8CzzizVX/OiA3ilFtL5NeGzHME8AtLhi5WMHDlUpBHKL/rW
2pfq8JtUcS5Fr90D6jA2qz7BpQaAB9cF7Mwd89XRiD11d/EAW/A1899Ih8Oxx3WxbEXyERELKWVD
E4FntN8ueWy021LAcIV46HLyXCI+XD2/hOMJHAJJtabdsqLaDiSd0IiFoBJir2LR12K7OZj2zmji
hUAeku2LO4rIHmtdEfmm5pnLxFlxV6inyAB3kcuJslNLeUIxAB7Zwr17wi1pPJC6hFmzpwY/jeIg
zYY92BGf9qzVFz1C+jMwlIqnlUYZKf4mvH2fDCYlwyYLMEllB5wGqNl9u20dDFsK1lYP7xZwVczY
XB3vDMxK9W9lsFv2GO87kCK1nLYSjzTaixJowac2dRPixdl5kaf7Ns7qE6tUQfe/yspi3fGWSzGh
o8O3aM1BHzaGBiNhFtU4Wx7VeG8QFloaKY6O6MRJrdSrbsnjpDfGawCAUnjWWtTS+jc4jA9xyeKK
69GeYf2S/xOsyT2ZmfNKnZCwXXREoKfz2noUYT+zXoAqZML2iBuKdYR/M+FGwa8VaXfdXtKG4n4V
sBuDfKv5/p9dRvBQg0V19kkHvsV20jDowWz+Fm+XhGYIaXE1jyvXml99HkgwLlaZFAJytcUmwp9u
XvfiVcqyMIoXD3SgAF6go8aagIgrsT0u9zN1EUskew8NEJPwzr7U4+cxzLms2O6pMpiZNv4SNg+F
dVNDWaKVxPE+yqGhFgA9uFShEt+2oG7s+vJa0npCuWNcOCOb9ilaYzKjBmaoE65MOBKjyKBQ0gHB
bqnyzgYzKIiNN8L0GG13EybJpjLDT/HQmHeTarzNsbbOffipWNa02QTJQF7zLrJOytcZnXNnIDBh
I3bxaaMG5LSOYSQRaebqPNPTt046s/S5jfEdsb8GwU6oGQrQJ4UAUvUedyrML+mGPezfOGtkv/Zr
QBfq0b+G782sciO/sBzarVOjOkyci2QJqspTm7HcFQzZ8s0ACzso3qYQLiPIwUDGmMWGGid34Z0p
ob/sa+8tL801fvnLwCQv/htiSgelnfhd0mEwG8DbXZ5LB9dTkk/EnwfnagW6mjXkv2Q6LSKsEaJE
e5NeKyH9AnqNhhkGVlz/yGYzOn8MBrI2/nKIHVK0xxCZvqduTQvbWushLJ76vN64MCcY/86V9xCi
1dNjBDpNt8YExUMxzaygdOyVaqJaLLLHBmROeifXi5ey9rWx27RvXeKvpIANcg739pSU/ZIPE2bO
IwQdOQj+hUpT5Ghwaxw72AU9ue/vOgY+lfPIkk1oHSIMt+RvhKHSuX9S9+i6DhnIX0W0uWMAaEac
q4E3XOBcLB1t1/g4W2f/qzdquUpi3mnjQRPv2H1yGCypxR6TLsVXoO6ww8O6Gi8oBMM1lY2c7FRa
ougvfePHKxy4GvlybKI1O6EcsCG2AWUI+0zblwk0E66lH/7hkLyuHHULiabtxbeBva1Tv1MOYD5I
TIVktPojlgFS2NHqsG1NLednViMWqvaV8Y1PbKW7T7B/5mTfTfBMI/chJb1MHOwwsnNcWCDh9p/N
yHTDqzANXDGJh0NjuJRbhC3Q4qhqsRHjqb5O6Vz4HO+waCSl0ybsIcbhrelBbi3wd3F06FdmFQLk
grROFRGM+A5hZTERey8FYfHdlh25Rg55JjyhzrIjGCjP9lKbcS3bGHfVf6iltNFC2MHasX2zVdR6
tX+ubXMt/Tlv6n8rjR4LQzIJXLpvbcAdKyRl+TyDKAu7iccLDqDThc94BGsZ8YqsMtNXnnpvIgYn
3SbJLUheW6KW2RwARbvRWStmvFPC+LmmZmyfaUlh1VjtXe/YotplHvnUJYz5sJwB9ITzxPYC7MpT
96D3m2ZiqGDVIJeuC59eFsOz0nMlIJnOHc5llGIWIUE86b14a3LAKrWz92S2NwQrL13TK/0DJwC0
/0XWV0+QiFqQb41EI6fP3nCNBGvEu82t9xDrlkIew3cMPXljlrtgW4AypTyXyO7JRxHrF6m5LTwP
mOPNXNCSx7madjzgYATAiJKkUanEBxC/xclbhPvak6m1Kw96DWkMeThFXV1jsMRm5DM2zSQw60G6
RLxNE7PDUQrfiSdpcTlBdvzqBvMadm+s/yJaYXpAk6XhlveyYCgwv0I1M0Aphe2WB82X+PvI/ZYe
VHxL2naPZSWngRDkpJmhqYWC50OFYcMBwXBZpiz4AvQijfHwg9LJBlppKtF6zlo+MOAJrCopSIM7
NinitiKG0BGvzjKLFXUdhEsZG7jQbfJmmVc7x31MLDL+jJ5ThC5LUHeuhhbV30l6qM48L/TtlorZ
B3MxxtEMh5XiZPVEe5UoIynDsjNBZfJuG9AuAUD0AD/ACqIHnkgzvafk0Yt5j/gG1MYHfuW0DB48
V9z37BuVp7z3CIJaN9RbLJxEpF97YQZFDMtFriFG+a+APxBmniYfL+pBzHEnJduyDjPcSjXjhDkG
4Tbk7rrvJJg/BDjWSQqR6/fPeHn4MEU1r2HT5dwqMNrWH1z/UHAseUBzXaUDhjCDy+ExVC98krif
t9iVDW6Lf4NS7Xp2dN2A12ZueQozAdswojIfS0r74lpJ4k/QP89R+eiYzb4YnQ0t2D9DPC1khrPB
wUxRLXqYtRxpI2CSyehFEEY1Iw4B2qVUuOaEuwcjQrEykTaH4sKeqjWeDwmi6cR67rnANcgKe7uC
EZcLl9U1Qlbvcu4o/VnnhFas8YcRq12xJ6yi8MEjIxYqnB0RDVsF4ufLRxCLNZZxnekr2ehM86gb
u3FGj5edemk0sl0DvCuOXTx/W6A7hfB1Zr8TTbqbarj+qit/fnG5h1KI1XiO9soex8ORUUFh5Nue
vMa2Rj9IQgF81CCoJeaE+8ZK7GNUx1l7d+E9ir8J21els+Xr3R6zmidxGIpWtgRYDLiYDTtxiqhY
QAQZrcWXTKxGohJc1f6WKqgkFQ4bXvBISjSx/ZpXFItFGL1g7x+wGXgA0aYPpoQZw6T+RDip90b+
2IergQ/vJOobQdxL+iWMMQK2xCxot76Niz7pUuPJn921/LsJ2Jdr+sZMiMvhAU/Dft3Rn8ccrE5C
Z1KngBW4QxvbGCj13+7ItjPiI5PQ/Xc5H3ZKboqSvWgOLaiy8Oix8kzFHU8BaNwrbPTewsxRIumn
LMs2Atz14/TwL14DrM/Uiw2fTGztyh5PTmyOQmvcaIyy2JvIMNhLZTGDwxYFFH6LrWgX6WvZhmSa
mTAY0cuvsgXjLelRWP4Wn1bKGzO6yZOPM/EqgVnVBh5eazj9f9h8I8eqAocXixzSXfbAUKNrrSvv
RK2JM+o3x7LTeCn1a4h1MX5tQPEdRp7C0Pw3ZLLpP3Rn3fi3qOFAMYjcg59fpPnl3xK36p0Obtaa
wU4s8hrsTv1U3bKpXWoaftODKVcyQFj7kCgSj7jzdU0Mow1wK/7AL2J8YlentHkA38x73OHOAxBw
T3nH7FF80zSGiD1hWToGbTlBiIng0DP8P+2lttpVDGiNkaw+tpTubPZ0vQP0Z2B9HJ+geYbgbZmp
f+dMCCYMEicy1QvyyYpieIVMH3ftmiM3YfZneKiarY+0A87w3srZEqjfFOfidudBG2lt3FMtdh0D
f2I/W1VshfQAy07dCQPeHYj7Gemf0e4SE54PHTIAbMQUKgt6IXzBmdqu7ehmJTL5tq2lRZZEV33r
Ns1Kbi9VQnorOnkwdjroxmrWSf2YkNCAEd9Gzu6cCBbOtvigjBi30DJMBfJIioshdfaVzjNBEUoz
HeI1ovpfRfs1k+uqme5Swz/N6r6bCn/qHB0wNqPVi8fjFlA8YkskiIsG2znW8i38AsYeEh/Dcyz0
eZ9GQaecNcBoEEu7j1jsYYTu4MsfE1/OU1NBUPC7YWHAUaclJFNHWrjAx04ijb7/jacBpir3WOjV
sdJ+GLps3cJ75WJSkI4mXUTobILAWRW+u6xY2r3GNWEEmJjFw8Tlm/FoR0FRzx/d/DuI9G/Kl0FG
MqtMNKFU82G1qVhBvKbY9djjK+1dJgcd9Q1ngF3exLmqojhg3c39vajvWAlyRAOzpwZbecsB+ZZT
2TZFv+R5jgZPHutxoEwqX0sUOJlFHCAnmOyg/mg9SdOWMrWq3UfDVQhQtB8NnrQE0aT2aHiPjRFv
8M7rVXYY+K6jwWFi+IuMy26h1okAJ8L2SaoKlbzglipwphujMFQ0fduyc4iBYGArjFegUkD2nmzq
SyR2w/ClmNCbKXrY9pB5yLuSUyPUmRcwYuMj2lTyCXMjcaEKcZGiy2Nl9CFxaubjYGTLwcn3EJEU
FALZ+OHAZBD+d6viIrSTu13TMOVp+uIyKGW2LkdtEGIZ9qgyAWw7jicc7EuouHwumMcwxP3x0bEb
VCrpY0YzjYJgjWvYRj81rYUf4w+bHzWSIpNcZkE8WyGljdlaZytRVwO7kl627651NBknZgxdta1c
Op+zskLqQhzZv45nOE39/ChNpozJCQgyTBoqhj0S/yLBiYqPnQf+kKJckH+LzejFVEzJYCRZPka4
rbib3PqdfKRzjfnoG6TbzS9cGoP1ZEL2xH41Aw6vGJ25JQsd75jipVewopiZYliw3gE285dBccG+
xk0fIMjkGREjt5RAuEG2S+zkGoKGA3rcLkDdObsPWHZtkwCbF6yXdQarLHuDeA2nbd6I2GaaCZaf
uETP6K8OIN1ovDiOsTHV8tP/7YO3aLAwX2zfO0pX2Q0ohL36NsTfKZhkD1c2pMLLHevBzdSNR19d
wp3h+gQFLlN6vZF0Xa2fnjkUZcLR/qgQ2JQSUCvwTg49UQ/mVVBzvBlZuGoAwQw/2ztQe9LPrmie
5HQuGRq2PSjgwICt4PQxbhJWw9YiJ7RdoTkkdAChmAdjQrQSLRijpCRRuFg4G+CdR7Voqxsq08g6
dW68NPHWE2+xEfxUTaxLCFNdR98iI+HI/2s8zHfYpDrzqNX9wetV5lc9pn54+AnNNHXeTaN6sloX
GQuIvaOJrRwtT948pFX6UjjuKlGxrVCifcqpHATfPfut7QwXjxJ4miyI6MWLgCFUCIiZisl7EENl
F8DbqBbiW8tpGVALpD0mUB7UDxOVn7UHFq2d8cGFkgI6E5i3KUUJGBVrCLoKxDySfgfATcn1c0vY
qyiEJ4+YcIIdYGBwY2Sq0EH37cOSUTEUrtpsP6G9qBppUvpBbY9dzi5NXzZnqBIZOomwovaIPJ2l
egrpDyt0fhqDgTqeCXILMbh70aw3SHPRSnz+JNNAaQhY1KGCXMYpe3CZ5Ab0JB40G/KpkVQyoSNV
iXqStzTm5ECop5IhrgTazsZdntFadR9lgQhjy8R8j2lFJv7/TFkA4tog2QfecexXVj2CJgHrIpvh
bkqPlEn3zoxOaqoA9hP/jKE1RJEbIBqjZ8kQQQcnnLa6OwX5d+c9dtQQmOlTR1Bdj3DmI94B5rcY
G4c/Hb2Vod55nVo0idU/5DjdGyw/4B12ucFfqiqqSuUEO2GA7TSNvB2etTBpNh6tN2OADNEiUVh8
bJMNwKLLIilsIKwDCtBGqgglg9dIs1iR94iYSHZdkSEO+Fzkz452Uxr1HxPE4cCtOKJkeOMxsCzZ
qMRF05GVA5hrVz8qSGNo3nqvWBowH0aX5pKWwfDfygFpvWA61Q8my0BMeEZT8Ut1AUqDVJHQWcBE
zLUXzB6bkzM4O451AhXH3qBt/VHNGIAX9h6NaECJFU0bTvax/54aJM9QnVXiwbMGaIGozpJcz39W
y+wrHP6RhlmHfU8CHNjvHSxfJbwHkAZrzOmbHHP8+QYPRB4EPMkBLBlE9Pjb1bW1jofHto2eR/Po
1dc5RL5e7dsSpCi7CzKNa+KWZO+lmZabGkZrTmX4H09nttQ4tqzhJ1KEpKXxFjwPgAFD4RsFRYHm
edbTny/pHedm9+4uytjyGjL/KWnqXBpgsG3xnAFpCqxlfAtUWdflppqQXHDR1/Doo2wlvaWppcjk
QnLc45hDAIHl1+TE58x+EcEF3wZkDg03M6buAHUhVnh1kLIM2bSEYMfhV0zAXIjTFjBHvqCAcwvI
tiWeFZxDPGsecyLmHVaxLSB3Q/ByNWCLUS8iBsk8dY4csnMnr9uIeEHRkMe1jWHrfu72S/tPcQAM
n+w02cjEBK/T7q37N+kQ6egZrWwHF6YkupNW1lGghRxpPhcUPazI0DrysvuJGSQ01lMNMcM/0wEI
XwueGYlgZvDJ47SL2S4+bTL6PMshYB/CBaxOgqORxiXIGni5MtqnxDcQLIZ2yXBZ1e5aBkkp9G+O
IO0QBxn+NLhuGf/CgBap0yVJ1EEWutXgFBw6+IT2tgrGJ703Dh0yqgmFx9yZJyHZLYRXAiOyOWJm
dQy1sFquY/3hqcvsEaZu9IRs6smWyRvMcJsH8C/c5fOtMmIqmmsPky4XuN7oeJzzHVu1Yia07EOh
Thq9v5sYnbMAE00kFXXtLhQ3tBe+J7jm4qhg4sqnobmUczFXAlmJOuS+nBEeXWQAgi1rwoCA6rro
i0076UzTY2rPISJCrtISFDfcS06/Mr2dRxgIomzp1cc/M/J1M6GKnii/ehnrK/2WoM3JTcKS256k
WYScVbRztHQrAhMplUQVJ2ianHLuXiGLmr8YERMvFEvWjzx2BxpjAnCAryhPln4uB/cHvypadgAj
Oz5r0gbGR8N9naP8YAHfI4DOpPFCvcdG8Bam76XXTCQPUC5mUD2M9nUI2OYYn3P+VEjuEm+GqtRf
MP/neYAvDO40c95l6TfbXGJMZWoU3Jx85WKLTqrxIAbWUMPs6PzzgS9C0DMqORGELPGbwYeTF0W0
WODCGgnQq2um9ITrmBPANH7AbqUFdXxONnbKiJyGD/47qAr9tYMWHJNiO/8mOzIXa4HHAfjOgL8E
HEqIcqccoiSQZUe281peTB/OdZbfGOSdzCQf0lLiHb+P6nNZvYEKyoQc5DGFHR2EgwAHHHF7Oc5K
Gl/ZOXxAZq7IxJO2GxDPEp6/R6aFpKTAx1yR+BNgHKymazb4H+gqmE6Sr3ND30YMTDCreWUBBCh3
XAkPSsOQEVIvsxdJ6gatB/agM0M+hweN6TAEYe/97uBp713A0LrVzZl27XTuh0dHHVFoDkgJpkvu
H+3inHkIOXcZVrYCN9rO0M8c0Np8q+szelVG11rOLmzOrQMLuLE5U0VYeNAZi9UztCY9eQqS4k+j
PlR1HE/knFFQVek6mrcBWKzHPSyXjYf6aQ4y8q35/3N69Nz82OT6XvcVrO+DZRvce+qPrOPMxz5i
pk8tnn2DD9wra6MzdSTBE5Nxy8cWrughv/P1ca1n53HSnut5WCkwrwCBsNn/ABtIw0gJLNIOA7sU
Dw6xd/cU/ks4+UedxYMglJy3CtX0Ep56NT8riffbUwMP8IxNXx79IiEyYECMYDz2HQLf0Hx1A0Yb
aw7+mZD5q9wgxoyM0Oz6TSYyMO9Bm5/C0lgjhngMOud5okNI4uilvEssh8CKzt5J78FwoUDZj3L9
TFb62FI32Ym918CaFAZ+kejqCTYOrb5p0BWTHe2msWSCsNr6KdGGy4po6y03X1emx8pnTlct00QK
dDvevHcgCvtjVBAbyazDpE3R+hXkudLQKUpvx3rskNw0ZIf3jIXXM+LS+vatMOf1FMR7GyVfYyMY
mL7L5LFq+rVisMF/5A73Shw/5kl+dmg/RxTOcshBOYJU+Kihyy6GCyUSK5p3ucVFN9afwkYiNxGB
OF7+GftLHoy7fCy2kpow+dSamMSrUO2Rt8vVnpV4jSwiNTjLQ/PSu94qTuh5/e2Cmh85H21Ocei8
p7ZhMOa+c5hUgj+ChGcZCIPJOyWoL3gbwDLzrt6r9AxUHzhvMqCi6e2jaC2BPbUKfH3+J1LBhOcM
EigTNwQ6dcKtfN9w/mx5xnzdj0XzKXe2VBiLNp+FBuCwiKq7cYqfESiJKm0xy9cJkY/E61I+CDMv
YBWoX84vxPXMXoKcQi4g2JUQi358NloC5sMfnZHFvbYTepK/amTJ3cFxbUK653veBZJSOE+WRDqu
U7CAieEov1OZAJnYhDbamrYlNaQVzwg3tY5CSp9LKE1xTRRzJbIO1/5IwSLjSFErUQ1itKPXQ5fl
GGv872K/j8gGno+iy5C6kQtGVNpduRzE2ZFg90YXHbPmqXF4ytIfUlzIKN22/G3ghWQb2J6GYgU5
R5gJUhGKQ9VtkMgHFnn7bFGGc8CsiI4NR/pCKgRR1CIxKhBS2wABwkLBBw/l/DZTcvrNxm3/cr4t
9p/OTDeZtJygvz7zf1zja2Se6kyDE9DijuaONk6OQun6OZ37ZV43zgWvsK2uMzIWsCHHR0swIWe9
2AjzSd6/UxvfeoPWE0HxDOhItdhQJjJuK3T+DmoA+/nsAIBZsSC/GUVwgnXnIFccUove1A9CpSfs
h2ZuD85Y7absgpQWMWCk3wjx90vzLnbzFY2F6KEP0sQty6EgqweMFbZUh6Ir4h+ZXIDZ3QUNZknZ
wqRk8SWhMqOKKrtuW2qYjLkvUfH0OoOd0GTjrNnKGZX3Py1ZEA3ZAHD9DPvzrgwVpS6mjIldMsZR
zdbQhTefKYT5azO+G4xe+K8vlBZSpBsOZaIC1Azm74H0EESaNEAWGO5Eq2hV9ymHLp84Tvsnxz0P
rkOSgr/urN9sD6mxhB4UHQbSzj4FOPB/mW3egdwCGkKMuqISYnmloBAalgPWMw1EQeJBcREnjbzZ
eFuAb4pGpEdeEiBtgKyta3/DONYNORRyoyNF1M33gBjwUN95zh9UzgUef3QI8fDAOQkcUiB+HGaX
h8XIwXzg2HgLm/rwy2Da00Eb413R25uZsjhnxmBPGOJ4MQqGLq4CihCBRME9VwLYszlz/lWGSkhM
TBEy4EiXGYeVzfSr6O9i7LQq2Ewo6xTXEUs5O7AxZu4eDhVSDBAzyErh5MucB1RiOttJ9kqhXgsC
ZjrOPMujforLLcmrHmmKlD8KFMLlu6fRyekKM9078t1Bv/GaRWfs+AerXaS2MsQS9KlOt+wGWYfS
tgwoTEdkpKTY3MGL2DV1z75wsy2bT0d5IWPEQgY8jw3NJX2zls7PaWYw1cvvvgJr3ej2GuXvqmUu
BZ8HvopfLWn5Imt0qxm4hxaS98ApYGEuER+Q1DmSyUEuPzWEE1BoKQWxWeygqKKKWXwRtyd8wWij
B37J43+hDewIz5OcfQxazvK8KNz+xHHLHKDK50f7Qt1b+YfImGXiSQD6IljMJrBQWYnNhRtUnel7
kPIdZYwijSQntTS53vxSK75XSHntifM3wvFvbw2mh7vaB/Vc6P2gVaQXQoPlkMkjryXlGv8R8T5w
0Aw5T+kpvEQJaBf6yVG0ECm9TUubL6uMUzwDZ/ZB3NDuaja1cRUeWGzpzBsmjgyXlUs1F4dEi2kv
eYtKo6zBAeVjHjy+Pf6ahziowP4vYAMHEbuO/0WcK4yCfFf8m8sovZLmz+13RocUsfmW1pc1WDsD
EfodWhvG4vnnMRpwFF5KP7iPLfVOb+uO9SOhs/QYXJsST//bDc3er+BIwtcB0X6lNumIh6qqTkME
TAfaYuavPEvHvwoEHqq1ln719bpW60z9sZirJP1mgP9EOvwGwQgN2q8NzVCHZLn2sKoVqCc2omg6
y0WokKvBxaEfAuiVi9IBakvsD/5Y9hKkiUWoY+5xh43lk7HE98WMx9O8CjbDB+kIGU/ekMGLBaxk
ixU75NbtVpGQX6Ba40eYk4F2i6tZcJGMBlq2b0AflDqQovpNjAcD3YC8dcqbEaM855Vq+7VFwJbd
rhsqqXlSv0eXz98vLVS0E2BGfkB59iDfK4ekyeUlbb0AR82cygSv54Dh9UwCS4vXCDqcWLP0KmQF
jPaXQI/MNl0StRH7HX0p13Fp0IZDhpmEBk9XYVhl6hGWbK+YMDlN5xjQuQTjQrSlMUbe9sMzD0vj
g0o1FQZ/g3lipEl7TNJLh7+UBc0wIZpbrnymaAgw4yxPC10k32LV+4/w2L5THTsTr+h/csyOs2PY
TeoRqCO38N1y+IkEocau4Pjpja1huOEpTP5VHc4OMgZkl1cT4m/+Kdo88TeWFe4B/jZo5n2C7FvK
K99sT1ZOldgedcO94dfykNIXnPyiyErBQQh2ZiOXIFy1xI3tE15dtIMcl6LaZgF6i/8xjGcKnXoo
nmgcg44v4dCZh8o89N2h7Q7kLS6kn3cHVRzfm4SMQOuR9jioimekHiOXeZPy7EmEJI0Fe55IZgZv
2KNzY5ghmwsPvwl8gcSyLY1HJpWmSMUt/y2fX2aQ3KL5aeiBKUdGdDALgk5FStb8YGlfkJ8eyBIe
XqJq1iLtR9QFf9N/yaze4MqYwmHMhdCXwJ74ohbYKzQa4LTGbG44krGUIM+yXo2ajIdp7/xFg4qi
NFYnqBfYYSzo30ZNpiIVtiTcZEiD5OtsbCRCjKlGRZOhLnF1wic9TKeIcWYMpWwsD5accVSMoQPc
H+4XxruA8jBzAsiZ8hHhtYzFDJiRsPOB/s19xbVmtQSSJjFjjXZkp7iIOOz66FLCAUd8cGlVssWo
lYp10f0dgQYd51vwiS47VBA/AqSDvzBpu4lx55OJHu/zeacH902IOJTh3nfwoW+8Xu/u3w2UmP6e
hC5EO2qtJ86JXliCpkQT0JEIVbbIBv12rTUwfRCKymdIUIM4w9q2OXnbIwGl3IaKCSuElXjhU0vB
IcKz8dpby8ZpE0ydb5LeZCe4PHl/aXUUhIHCX/BUxn6h8026cHvvBw+5+21Wf2ramSY4aXxCZxMV
WH9XmX3svXo1OSsmD09C9htMKj6NM1oXaAUqEi56iTISBRml8T0o5VBpTOXYcmoK8J9A3FIG4p0V
mnFa/C9K55LTPAjO2lsc7Gpckmm0hRQQ6LHvzuhR7upqPXJnDZ+BuzxQzqWR+xXYe79VOzQRSDru
Rgg2Bdc7XkGQMpKAmRZjUH5ypvrZuElQrqNdEuwHocfYUC2ONY/tW0ox+UXMm+a0dJrn3vgQyeaA
FW1Tt/u6XiU3B32pM52qDHal9J6mErgpJq9hAMK1tnrPMPv4W/NbQshc89aBXJSsKytXR0xmz0nk
/GFO+WVK6kMtHMA7LeCMiykkgqDKaL59fAul11J1cqF390WK9YbALSF7A9UyXg5xNnVMcdcwp86f
Du6w7cK3xDpp4SeWxx1f2+gnyAN+muzZwn/U78fx3MLrOMufBS6B4KZN3OsbSgOY4EwzHmmUpaHr
sDRTjjECijOHU+je9jnlWXSKQJb5Nj72ZfZo1uUjgOvU/XCotnq/txNmhTzYf8YHs3nwMtR/r4SB
MVNtJ6p1aWKWUT/PjIpnUDbSLkCMeNq4CD0j/QDiYaevomO0qCpGmqozVrQeAF9DI7W2wd3J+wH8
FoAqJmZENru8Dm0ESGrLRdNjwo85JzuOTWluOqKBoLroZidM6why9ma4S5JXeGduze7s35nTlbnm
SEJeW6qxQj0xww7K5N6GAF3yU5sQMbKkqyJ5bADVJFIL7h6PEOmHybjJrBic/z+GbGEOTa0hSEm7
XYNxLo3yTas/NCTHBKS0dqDLd5ZD7X1EFshkuAsMUxNvXOdWA2mHO/YOdB1KFk7wXkPyukrQ2INl
DVuH40SnnrsLiRv19tRjHFL8q2rvPQyf9aEqz8rDNsghQxikuW5M0pJuNrZCVocYyDvu+iWe7tPs
AVb2boI8a/cTUxEHyvAMRESf0FIzNNPLxr95P67HmzN/1P1pcJZNh689mD56UP2oe9CMAd/QmaEQ
GpOZ4x1xSdr06bCnOYKqDl3DyqQxAYufk23RHvHnAL1f0MV2LTPgPpISejd66oM/tBQBPbdAgvZc
vQjna0EisiXubGttTdaKsMEQJnwhi/VDA21q0xenM+8Lgl+qljYIyT6DdZAY5qsh9deBkz4AULpj
8ceDYzG95iDSmsDzV4wT9oMPUyMAuYqfqVwFfayYgQQG2jhbrudKP80ekkky8Xg/MQ0X8HBmHnhy
hf/5y65RtRrhtz0QnfmY40FvjhXad6PjCIbeKtAXT5561IaagAMxR+YPUo4bipwfyEOh59NxV4Dr
6lyHHeKjGo0hk3Iy4GKafBHZWQBwhT6sDKvfyRofm2lftrfAY5uEXKVZgWsXfXBPtDAwkBG+CQ7g
wRq0jXWMiFZJixcrqY42KJO0OfyK1P5IUusmUEInpIc1U/Jo94uHUo2EmJECLbhp/2Lc2nOH9Fbo
Xu9qmvPGdxmtda8HWCznh6X/6LAtVXlzQGjTqJMKnV0pc8XR0Iv9DowEMZo9YolD1GCTWtqec0vI
cGK9mhTFnc8OAqcgXXEAUHO51mTGmM2UZixspBrAoV9AabmKKtoqyzDgGdNPr4B3bH9qQECAiYUZ
fH2KMyrZC9KASOlOK6gPVbSRLERdkAeQjtJAr7uM7xGmBClWKkRsU/rOzcqja8VqNN3sKFhXTAvj
xU0FXPkUGiuEob8eXZQ7uo/twTw7wPaC9mPbMzzYUmKS8BUl9V5WSGreHPwkDl4ghHUii9CuHgVf
0Wv7v+LF9SL95EL7CGvP5eSQCGlShWhIX2PcWfI7UEtxftYlaeL2+KJp9XrKibn3HYl7KBSoDEij
cKHo+SFcxbmO0PJOc7gGiRDQyAzIbMLAs1dLv6u7S1vbe7MYJIfCs5nqhyP5N5w0ZzYU373rx+vG
xj9mMAeN0tgIxGxE1kBtd6CptyVJTzm9u4xdR1IU03TKwNEYl7yGVERHSOMbPQwi37yDK9h7QEMK
+mOS6OwgRO0S7PfZWdjfli1QRzxj7MCkKCKTp/6zTHR/JOCkxG0QQKYxfTkr6l1Pgw2iCWOBvKam
NKoulWLG5Inqy/Z3S3dMfUp6kjKxLrRfbPK7NhgkcdMJnkut4EpB9QEorMc/RXhbpm9Ywal/0ypi
OvUr8RB5HTBBjbl50VpTKI+mHsJn52v6yrLWnfvHskh/5V2nxKxbD7WUkvZMO7LDAAWH+6Ql9LLk
BvOJHNQj6Dbo61mRennzUGm17maULvqKlmdpv7MakAVSuCUrZcK8Q3xNuNUu0q7A5zj42kxEI/ys
ckgCGhMp5Rsd529xy61PHYGcX77MRXE/EDmabsL5nT9BWB9xKvyColA0gV6TpJAQ3fONkIHzl5H3
sX8VZYmAVSGkpcXZOIWAanSVVKKCGSj0Q9SGBkLS39llekxJlK6ot1R84WeoS+5kiGgJCYkKjkwK
IQUIEKZsZdajUcyPHE93PgCVSFRK7lQNzxZ1pGGW4AYwseSCsbFlyUxh+OZgxWNLWimqNeuVYZlM
sr84JToz+zUE31naT4PQXMo0bzI3LohUIGpFfqDPNxqQopuYXH8MVx+fvbq9z83i2MC9BbAg8hnl
NWil4bksAn0m5DOxc0IKZHCXJ+l3gr5EftQT/5qGwgr1UwCrWWtP8p+DzrsvdLUR7wXlbk4v2U70
Wh6PB6CYC2WI3JUUHSLvFA2mSAG0/FJ436KzzYLumGOZ8tDVhPbHYL9FfO4AtIO/KiwUWg6Uh3UJ
mM9DaWd3jXc2xgRAoMdOhOcpAREjo7Z0gtBZwAaFmc+vwy2jRoIzOBoDVjK3uEdkS/ieu38ShSK5
/Rat2Gxj+4bpeQRrc9AQ5sZ5goqvJ2LK6aLDtP/S1XbKIS0yNG9cbsjrZoKWJ/d76Q8O7xop4Zpb
UStuFP/u8u7hT5ivUcUxNb8vub7rSBExsH3h5qiKGX3Ixake8JUIowY/yrGXhQ8icfabS85RJICM
o3en0SEKCfQWJi699sq9d1kvOYWo7R4ydjbm+hAMXiFgsoK3iZT5cl/AWvZHO/R3Q7EJoWLsHyyD
YvNoLmJQZTB8WyxrY9iKC177yDhcc+uSRxcI9IJBQ/HaO3VoyIMnE99yc7QHuhgq90ZAYyhX9HjQ
CtkvjW819OaTQTn2N1dbVO+o2jFKdw2eBBIsmN2DwMBXW26ykYwfynFPHfPlIwgQsZ3H4ktU9sLK
z8AyqCmxX5L8Zu3jkl61uA6k75QApieG6jJeKzEfBs5cKn1GJtTLWibkdhWzDY9tMG+0fMPzrGNq
bZ0ZQQPYrTNB+sqL/3D5JOjemFZYa0hsmheefoMQO0CNsZA53hc/IgovwWJymQTYGVs/Hvft5Jxq
A9oWAD3ngI7qaWWGWGjLeZVo6s1IIKjSe8d6eraA5vRyerQrqGg+cpjseo/oBfIuAPxbnWuWMXWG
hLhGz5V1ljaeFl6WBcgW5N3WGElQog/mrnSH+yx5jbI/aBswf6C/jEQr1VzoYHDeRAhosrzFsynA
FPs2sDh7rm6i37FTlmZe++i4QKvZjIiwPjzE++PBsPItsno3/TFZNCEq8UtQnvICOlECkuEjADOs
cY+xOaTdKFBfV68CgnFH3Ysd30h0rAnMvf0GbpAOn84BC2yF8Tz7G9ETXcv0yRyfeZ8emg6LDwGp
DBbHz6HNLpp3p2FSrCIfpCtJNN74PS4YO90A9FmHqF5ZQBQzqjQTlr9k7ZrgZ5r5pJGezEBkhRCf
Mc+cCgg3wCrrFBeCsteEHOwinQE6TDiEJE00Pu2zTint0DRX5E6WLLDJ+y7C41j1mCB1UWdVNP3q
Owqxp6Dk6s4BjIfLMiXKN8W3Vnb/bNS/HBJYnCTGmNro/78M9HuNf84zAW/1WAigcMUmBkkneh0F
KaCYyZ5szJPbeLLrTSQXvTqDJkKg8BUZ/bvVIYHlyvKLjc7EPHDetPpJgQwMKhX8MoqLx5XkEQ5N
Ip5FPBhH0SNeW1EaVlwYDWQls2xZ9MlA5QdgRwWIfo19PPUHkdjjbu3OiFbn2rsbGtZTedew/EeU
6OClpCnwnuRQNM9hi+Pbbw4jJmKB+3PSbZXGHA6YlNZYU8Rzhnq0+GVLcgu+q7x5LtA9aI19H1gR
WqVN4L1AaufNFgMkjirmgjUwU6ipWEcew2vdV4ewQg+Dk0nZXcHldgzTWMZ74Upm/dKbFCbJGjm7
phdPPRMDJ/tbHk3CGGzG7SzzYSYmkkOo0d8ECEZ2J55nIeT5PltGE6PG5WuV/8i3ARgmHUFPEc9w
RtCA0Ead0hKoS7V6sRn2DDRVGEyDQBs63aselA3KcTxaWr4PGJVdIUFuTdx+8K68xQyu24j/mn28
EZVBRIyTcw5Jrq5ciaSgsW6zZ/bcBAbNY+c7m1IGTWnfaELEGhVCvaBTgav4tiXy+QmXk8yfJuwA
PNpGJ7ugve9xOV+D5ZMtDypLRN1B8gICmOul9C+Jh9k8I4qMBBskkYhcwAQEkpIyFyYRH2FLC+zk
bNa+JxcuHeEeCWdkbKbXp7tM/OGIGHQeahsxtnP8x7sz3Cve552VEFRU/kjbxDHBEqLxuE9zOl/i
DBp9NeEkBc4R7h2CL6IQE+U3q21gTaEgH3rcvYTXVNuYi4k6v2yqVZn/pMW8R/hEh3HvaYQ+UAQ0
khHw1sOoe8unmVysKboLrOTeBd32zZUdHCoNn8VbxeRqqCxgbgKW478WWq7WQzhHiFN+Cgt6gfAa
zye9LF5YFB1fI7ABeZEsr5sFLSh9aCRa0a+ZnmJGxFORHG4zEobtwh/mZXJNSmNHs57QgXuKobns
rrJjbDd5WBOWSQ5c50MwAIfhsXhvag0XFmrFcvx0qJRGY956JA8DwS0WdjwgL07RQnvyOKCcYt+C
+bJOGusE3ERbH16kFfZwG/AZQn1dwWyAvtQL/DrpGyr4CGwqn+Stgkx0BPpNsV5uHFxS6N0hjjkR
QxFTXK0IjIf/vHTL36rMydRAUclFnY/JuUYSj4AARy71Qkycm45OnWsiY4OHCAFz+UVpnq85qv34
oai4OKiYOnUF0EO7JqLABQHf2Ca/WmeSx1aCTscMU13aU4M3vNZH/F3HXE8fHQnvJzGk2kYQihFI
jEMuvZW2W0+BRuk35ndDMzn5g8UxN0tHlpq77MtdQKx5KwJZNzpDfdsTq0m+Ht0Y1+L8tL5Fd1uM
2ontRFsbgPaK4hegGVlIbu4TGkeTUXcc0kQNrcOw32BkEGGxwCFsw8nNt6PVPMgPybaR5RfiTczT
7/9ZhkKKIo0JHnpLbQ6NxnjjLmQOlo9RFMqHqRz+yO0E+DozHcQiXTsjYnEinRR3aElyd4voX9Vb
w2tOI9kC+IyRLSIilqQKypB7/qzM/HezrU7zROPN6J6eqd9uvvFThgFR+dju1mbXxdHe7DMwkhoh
yk8+2ivpVdHYoB96sCNUssZnHHREm23DdE0k1DL/U1jt0Pq5DUmwH+0AentuS6yJkUy971cVUaYz
TMt4Hph3YdgZI+AZ/GsShTgzDayYn1G7kNlFaGdTvmsmFQGlFoAWTKo0yb/9NcUQKDP9Wk3iCMhb
TtFkArqToLVrmI+DJDL0ua3DdOODd6Af151zF4kymsHldfWVU+tMoJa9zkBDR4r2fmX05jEJLx1Z
CiF0sEjqNLav6lYa566LcRoZ5QDl6r5F1JsIBxnUgdqrbrbW+2S/wGLY1M2usRZ9fZ4+VYUvCPxj
gpQZCxZsbsPNCttDD29IOAiSR62OXyWmQ7jJriPmfOHbgMkQeRhX3yp1kp3uQSx6MVEyMdpmlHOv
RcUlroBro41nFE9MAUEKj+eBsNP8ySsZdvJUbBfoiNHuaaqG41T5Gw/n70SytfOBHGNRivPW3JbG
SEqOgsHA2z4nZKXmF8sSxxaqe7XtkMGWTrCz7XmnchPx867U/uLLmNU/AWa8iPiv8DYwFqKI1SZg
Z9tkUhWIDJoc4wWDKYbSPlhEDgJ5UCqk+WfCMainJJNkN2qkgGKdfrswfUa71ai4uSjw43N1yDfH
Ws+Qsor+OcU8yq06p4Aj6bca4dD8jZPuemggWIOZtLTAvBNrBaKRiWlY6rJY6CXtkZQmmGYYfRBv
ztWmOVfV+a1AROIl41oMBELD4ilp0I5Ae9JAiU4bOhJ/H+C8VAMT5WMRPsLyIP90g+oIRg7lMrGi
M7QBASO5qa/ktIMcx1dtDJ959FksGJcYO7NFArqfs2Q3EAUg8oCydC/SqvLJZUvXYFQRzw2z2bFO
SXFL1g25LQCPOJ2uzO7Wou9y8I9T3t9pCvVNuhptcqao3VMdUhKAEnybCLob7i4ldgmWkzCORkqZ
UdGBTO2MsUithDwPZJRLe6yiAigM9h9CAeE77hsfT9zPlC5ru6Pzo9+lDh+1fYAJN/8IujU68oIw
7/kFHps17JovUurwuGNSCcLcXTsKg/45oH6d04l0qquhXhxiMwka6jipu+Rbo6g1teUogTaS1spb
Tl0mB5JZ2l+ykrk4V4CS0NwjJM10eFtIrGBtvsi5DZVsw/1JMgD2liUga2I4Sywe51nrXWNCMqQo
nmA/U8TLEacA7T/akZyAQxctpqS5OMENptVCECanyZT9CJGhWWdgH63/AXTgB7xMf3ahuJFziRXB
dUDjKZe9fxOLT0P7IoyWICTyErMJDiOEPsCoaIYSdOBw67KJXbFMg0eDioAFCY4mMTww1cKBd+hU
8LxQNU3OTXwjec2JcEb1EhPxgjaAv5IOaid9VsIt1dk3FZ5NjuJ+2AwoQhz7K9LW1BvyZcsBljJs
KLtom8l9k/k9CyY1SdKQNweFNhjbQXQjvBwPHVQoZCZpcfNhVA31AWs2oOQ8R9D1GKcG+Ee4ov6Q
cgnP/cFPL3V/E8IBaZ3cyF6xyTR6byoIqgxs3IjfqQ1aqpkCyQ3lQofZefgB/j661IsFUJsHr4Gf
Je0exuXDBblHhdVQzuLX0cAAqRbistwItutibZ6gXJRYZlp+4bfL5TnZTzEznQo8hG0dbwzTuF82
Gr0/V+gvYC8mwrz7snSkrMaPACw9x+xIE4IdJSLiRQT89mvGckCSrBE9RHbGdsbYrGveQYztwvU2
1N2kY1p0tT4Z1i50bsNfW5mluXcYyBHiDMr8lQEmz6pLYNTrGHgO23JB9Sn6m9lXWL2xCwLoCgil
iC7CZy4C1wkRhuVfK0VQU/ADOOsk/hpwUcSEMZXtuIjinqEtdHrqhbMGb8IFA65eqrt0Yfz5qD9R
A119J1i5gXmGuOlTfacoMzJsLhJtNmKARSCvNx8Ab+RI4U0kXDkqQExCyJn4qys3Ouht3IKjJv7Z
sRUAEMol+txhuEjZGfefWIb/1zdCRySxjm2TG6t4o7EHSKn+0IMUHDCLB+4W7Oky+QP0fbLb0mvu
KIK1GH5XQWu1xo52f/ByQqBghs21UEuSSyCb1YhNPHywmlH36HJO1Ul6TgdQ1zT45wpG7551AIks
hVThXB6pbChe55rgJ6C3nF7Br2lhU/jIT0HkpV1cArEaMCIwz79l5JiboRp2xqP8XvFdVd288eKT
Qx1OSYfiSYy9+K+hr/X5JtVwA2/XX5oRFgqkUBwYWfXukpyIosbivM4BVNsReQpNw3Kfy2lAuUxx
NxIyJcCGeS3ZVzhDkNbIQhiBLRkS2p+XHG+Oz/Amjj9yPgot2RiNv9Gb7jB0aMNabZcV9MYIdOwF
dSMCOFMbTgVNagz+NsGZ51r8mPT+yqQc8NWXq77iLn9G/jPpWOjPFtUu/bMQsERM0N03MSM5uf50
so5Ci0xB0hUiayPeGDSx+y7xNk0PR0NxGPiM1CIFQKPZlLtbm0jzVt+CE8kQrlFHdlW9CgWFRPze
D7c6SSJawVGdGKel3Lsdyvq0OC2ZfZBcIwH06COFmqPSr3S8tmzKiGasrd4m29pIpEsWPgdRsTeq
jxsDCLTg9+lBVyzFt8Vll5YbsdeI8EZicX9PNTbLw9I8ESTA2qun6oXAVQm8Ekc/kd8IgZSGaAMj
C4Jf0cbhjxXRpJb/LFCQ1O16FhN4j+oGeSfTaCz7OcZhbHGFSDVG62z7VzMjVZqpcKwT3CcJ+tIl
QwO1VLsEj7Mw1HALaCYPs3NDtverkZSBUFMDHU6/M4HJapw1Faf97xnI/x/q+ZEKATwnJ6wYiABQ
ETnCYj8EuoXpEQeAfpuNcIekbUrKNcqZ39PNO4c6RT0qRpqKXwUclepCIiiONWTUdHJrUDexSIqA
2+cgQj8Wu869B+4mDzyH1fbTdQiZ7k87K3ukwpKwRl+HdSDQFKFMzJ6ZZAgPviXaS8TOgCC8qhRi
slhBCDiQpKMSU61UFehemmqdoKkbPWhO1N05nyzinfbyxUYfQ3u0qu8z1YkioEzSh78nSCnFUNeX
MP0yvWhjlm+UdQ71Ku0dTyOftnLzcfQCmXjmTQKJSImhYRByHqhKVhPNEuCUvD3Qey0hr2j4CR1q
Hm4KTo0pR1PolSuEDdRfwio15G5V9nj6LerYvVyB6NFnhhqK1DuY9atstbE7lhVhuAyjpH1sigNh
Z/xGhmZE0Lg8Z2BzYdEUTSIXpMVF3dO+BUlP3rC0JLU57lL/D6aDyBw2YtDDwOLA8+KMRBojYWz8
w/+WmwJMDh9h0LnnAM61SLYKEVRhx9jsmW87Tac+wBLAsw/9aSO8M5+moViJAASV6J64gPoAGRM8
GzJict/AQznkux+PjzK9Z+S20JqCEdrcTelnAP9uolkIi5NCbi4/LwUKZbgLZSoVuSPVU/8mbJMz
FIiDUMtLp5l5T1H9OfP94M8UA7NsNxZGEdeE5Ej+AC4kEKT0h/o4QsybkzCzTO4hio86lgacXtSY
oTqBMtc2g3YCu3lwjGpHZOFvK2CH8DGpRovy3fjJqSVsMtewIiOQIB5dage/0+6QcSZ+vCe76iOE
yE6ZHFNh3SCSfkKTwn2CyYJHExK0ex8PCOf0NTdSHBQbuqVB/eKgSblqbazvJPwgpjDmbD8siCPs
qw6CIqrx7AA2rNxVWCZrDyhBLmbhBJAEiqpapLLIWR7wl5HDkDEwT9Gtc0YiXCxEI8jqy5tzoGdr
OV7wKm/q4oxqa+OjDdI/9SgmGeELhnzIbuFMn6igf1A5LzwZcChqEB+smE8ceoxoJupH5uyJFlZg
fBuWkpNTakoYe4EC68WRZJ2eYIdEuuP8YMD4a6W+FcGdcn7MT5/6T7SGI9L2X5WOAVuv1Fb6EB64
XlmrGNZEXr9RV4NswTpDU9VEp1Q9uCFMAIqgAR7QvGZut4oJDWR9O2nzGBICAqd4VMuDMcitGJ+D
4bkyn/IIiRlhJDNmiy5f90n8mNL/ScADxlcPIwgjQv+PpfNabhw7wvAToQo53DKTIilSo3yDUiJy
znh6f831hcv27oxEAid0/6nrd8OaDtCcrFD8zBUlnUWWga1fwcFy9cksJxQf4aasDj4kX1M1CE4O
udN8DkFDvDkZf9knkj6X4gSOVN5nQJaHi7ZUlBBWczJZl9zBSmxt84whs1xhJVuN6FO04DU2Prfa
ecFTGK3FZ0YhwIUZmgxe9V4cEr2FYrvHJyIGxn8kF39EPAAeNOEMfZREhb7hpswdfG0MSIqKP7V9
wllmjO2u0liWa4D24EDfoqLucVfCHWLv4BJgQc+c6L9iupdQUqKHpI0ku3OtmRWvpj5mfr+vsUDh
SKAUoITnICP1lJEkgfVYaVdUbkPuP7jBJ1Wo9JIo1dEqVPWLB9NQqx++fdEgpIsGe9ACt9xM/6mp
X1EZkcCmAuEf3AoyOjx1FFU90Qh57t+vFrmrxPA9YL4FMmG+o/jtFMhjfrhDvTvPlJhxuhWnRifh
zf5DIeWlDcT9lNuf3CWjumYGBeMA0PRDEnMvt0wVUk1jFeMptdul177wgaUJGlXzG2VDBvUiopMm
1ndZSgiZg9f8i85MVP7ABnI4qQ35a7ibKPZixkW44bOE/LLl0vqvr4nBwIYdH6Scg8hnK+vqLw+f
De1SLObBl+b9CZo6s59hPmRNTLX1FRbqzqLrg0zIcDoOnrH8jrRyA0G9lqQOIWWlBnRJpEmkJUfe
TIvPR4NfhLUCmFadZq3OPkI+3mfEkTW8IKXILPORf5lGr8Ws7RPKxKTAZTIQUBp89aQ2VtkrO5LW
LkOwxB8HH5q6tY+KmT3Bl6SNKm3CPKoDxw/rE0xDLgIyhEOqclnPMbKzQduCgktgodzgAcYxvEHu
qS71vdm8AHtXjHvlvBBmL3cRvJWYEbif/UR58DViqkj1irOvAi2ITVCAQMuNM5KoAgMTdvQKJnbH
tVwqbFYBADGRQ4byyz06lfQJv93BQaNrqcmmrI1FyyFrltdAY1SVdMdTR13AXcJNI6Cne9/kJjOb
ZI5ydUZoL7Wn9FMVFoW2JG/B6FYmM0IT1krWRnQD63p6Ed8/96hBkTYQckqZ0lh/LrwvMIi4ol2q
1xBOg/pqjpGN2HshXgLOf/YO3JLRcwiyFuYThaNoB2KuP2tkcCEXHpe3/HykJOn4GaraftQIoQBK
cMXOxKjZIsk/DDK0hdyoUOYhbOPCE5OSyWxnNG8SAsovIpxyowbre3CcelISk4x3FJGyCqfqVPKQ
71NqCOsRb2C2hlZkcAj3acV1gYI6uHozA9HQ1fQaABmxMCc1dy+CZ7d4MrI43/kko4FUUMFBOVFX
6cCb6o71iIJMwh8WwgaL2naSUOeYf8i/ExS7tmE6UdYIw6gH5DWW6FC4v4DZyyA+Ywn2ue97kyP/
g3PbpQiDhPXxAiC5uPJcfdBjbbwO7Q3NKbuO7HJidjIqCZ6dhsdX/FNRby9LmBog8bXI9ZoGNj96
lTpcZE2YTiRHThDRlB6EhyhbWm2uBp2rkmjEkzBfCak1ZfLYL5LHghKJA4KdXGNwcYOf4SO3SSHj
zBY6AJfKSrJYBIzx6UVkhfK1WZisrJScAK01thZS3x4ZnvSc7NqRdehtBDZGw0SdNyCxTPsT/Mcq
zvdD+R2YsDz+baTs5fe23toDcqsx8BCFO4R7xRmYVHOJiAzl0BmYTJgFq2yrWhc66uVH73poyfHz
l5imiUPictDDLzmkFXgz9gEwHSttZokFiCVlVjBTWShKZF33CswLGKnZnMT0MNhb6urKIwt8YUEd
IyUkwF7dMOYjG/aq/wrjCohmLCj3mPTDuyf69KhKnv/VS58inKzKTi3WRhlcxC6sDP1iQFsm/N1a
SnYH1H3n/vBoGd6zHsVjQc1j07pXWndLuJa6YR8dBj/CqniZ4ktbEyPPJCsitYH6zaWRkDW1Qkkx
cjTRqmkgrhVZwa63CItgjaBY1rZhM9sb3JCbdKynL9maRfqE9Vm6GY4fCAzEsidREugId6l8ogrT
7YPM5c5+wbcWE0rpgvFxuIv8EQ5wC3ihoeoDDiuCldUZu74/GSTWiD0tAOdimwtcLPFhWlrfk1I8
asqYgWIKukk40mAcVnLecYor8YvpPDT2s65hSSFJFFUBZZow3hn+DUh+D7QseEJa/uJQcozollpM
Bmn2XNQZdbMISyt0yePU7eUyH0HbxLif8BN01z/VKGwLh8kLtM3aWqRTMlaxZe7SKtdX1LfMe2+q
nR+cm1onRwfai6ErdBkBKoxerEIVGVzCudkYX8JXqR2UaKsmBukSJJrAFAj+TMkverjwyh7gKJO6
npleWPxzoISf4UIKhd+tKn1jMkej5JalfJgpGHqdg/qO1jMXZi81t9S6Qwn4AvAi/gv/PGICp1nk
eKOAQ19egriI8QC0Qnp0Lt0uGJeiWZFMMAPhM6dXuHLwb40qr34bMq2z9O4XiJBnYCQCm2vZLbaR
zoEDVdSRAgaKlbKYuH8BGG3VX/NlpJrjv+QmqSdUWskf8LQLrMuxmnHnpuCrqnVyCF2Sz6WjkGGE
C3chL9LkXtZ64Jz2VGoQnvs+/pN1J31TfaUTo90O0y0ck9wcGcInaaqjgGghDIjT+p4ADAQdMOPc
VFeBv4nCRT0dynE6TUr5EJUHk5cjrLzp3lpGvKgR8UShsh8qi1ihljyAZmtTA086UeQIG8EWIM6o
MhmCBqrgxuuccSCxTguR3RA8DCC8PryORRlto3djNHEeAoMoLyCw8spimGQLaSvXPqOUBANu2vIo
185zizQFpdL9EgfYd4FagUQA4by0P3qNvQxpICxWYFFS1ro3DXNJRfCJhA4EAWUby6hGV2MLip4y
8iEUUCvT9C3ayr1QKUTiCoDLC+h1+C66yp9wVD5jIKugyB4Mil9h7blXpDtVDNI7SSvNsCG0yOC7
l5wf2ZJYM6tMbiBQvUO1XhI6YiGJksgDm2995zBoOCT4S6BT0LOMtlksFcg7eNI5hHSFuyAety0a
JF6hbInQNYBpj3FKVE9BjMHMwQmdC74QEiDG0qQuAKWkk2cxgSogspSbiegE/ikBSh2fXUFbWZJj
C+e+rMN2/eKvamhB1SBsxL2UQM7gDQhSJ3aMOV7lq9bUWGh3RBVjuQSGUM1OCJSVz5kKSFDJKCLy
Go0X52zV/yOOCtuxw+DjleKlTKZgagICcKBWgGk+ZMzVW4iRHqUY95owivyH2OSlwIJstDqa1wIQ
cJnMKOAcsuCpJHWMJgq7qiZ5FMmSKMupHFWVcBxk07TfvBEwFpAEj4cnWW0jMB3llQlEXfXRhmdQ
Iy8TuANoTbggh90PVHqS2iweDpJNoHFn9cBMYHpSMw0tPVVx3/raxESZkpQ+DnEYHiuedgi5BI4S
WKCpmRPAFxPqhNIN/yXIT8TRFDokqJX1Sb45Oio3LtcGWrjJU97YnirfLwZ5JathnVdPTvtKu2Rz
quIZasySgVGv0+y9+x8GAzoMNpZtRGujYniEkl9pdN3oDnshA9g7rKugq7bS0SeonkZnLa4jly0u
S1Ba8NyPjrROnjvshOvgfZI9vbTTCQE3wQvFTkrauyzKukot6BmPafoukmBzyo81gjE7kBMyQVSg
v4jJRAfDUOAleXkCIjL9omI0ZdwEgPHlpquu0mYNOLaaHj4XHp7+JZ+Yo7WK2jV/CYBDb59Bz5Aw
4UcQP4jvPIJRuhRY4pmxSGTqtrq95wqlNC+5BbV3e/hlQXDmqfYfpbLQUhp/Fg6uUjHmIA2L1eaY
TADRfKFR3cMGswl4kQIXQeoFyGPQqwOKjPiLSLFkitNJ7gWWkVQtDo12mIQnco1d7UBJKLc343ax
F9JAW7V2lo65NTlqqF3VgbuL2SMoDNuIN8w6rR8Tugs+ofDrsrVRD4LESEakpJMFOOKFk7BTC/fE
X6YUG0GPJea/+RtQUYg/o7K0+5uTTaLO6otRpw+U8ipZEgmPm4OpGkmfpgTWdQiLD8JjHJcJKGj5
ajoXEhFNurn26Hbajn8gSUVtdKj1cSkFCtvSCM99FW27kEh68NuQ2F7DrR44hXR15DIyDqZ6HPSz
wmt1mt+8fVBgMAzSppB6Mmc8r567dp+ov8oAxxyhZfsapouP0TEsv5380QsfJuYL58lj5R1ZQSSy
fpYhI931s0nyZfZb2jfHe+zqI5inzyHaZoQDsL4yiyzROttPlXXQGC1Ex1d0lL0syQQ5NbjMFqUx
wc82tpTlQMeSFcEjegRaCFJkGS6Dh3s7DRFeh2tMAUxzmZDUOJ7DiWBWsoDuRCr1shzdHQYs0GcF
mI2pHUL5qtv7aTsi9SR4cT7JzTN2zUJEV4P3WjDXuMz2gfMqy58HKYWLGLFdOmRM1rDLnL/iv+K7
SHYCBUCIXhpQoEZ/PtkvAz+QXwnqzPmicD1hXOOk4hfnyAhhyPODxmiV9ACL6pMg37U4UgjaECTP
g2gE+5NsNyUDg+7RiNRXOOUODQe/wom/HJzc3KMCgXK5tehNkCdIV8uJKnoc4cFkm5MpwKSf7EIL
RzdmY65B+aMRaOq95Ag4BJbK5lOcoG3lzJdDuklBeZVLhuQ94VBRvKPcVoZH9On0J7MRZR9qIFsB
sJtAHnDMyKdgOVnmVfslej0RXJvdlzjrJE6XtzajHKnBrZpU5SDdImMDSeYC5iwUHkJrPwPonzl+
BbpR0JXRd9IFis5PHgqrQ0CxmWqQ6oMcKgw0cCOiXxSGUGwccgAKRg1+oHygMb4Hi0u/pEObB5g7
epVr1EHsg/ilIUgTy9l4T2Skdwkp42AulD7+p0b5Xr5V4IPVQHEBaYLka1JMFlC5GLZYCcjAGtw2
ovDzsbtw7xrRn6wi6hjd/O48giLVVa5A7M8i79CpLt13UbeOaDSejOeWrHVrm4KNDQ+lweGrPbrh
1SSCf8Aou2Z/EgNSzQelQECFCwL8BjlwH32QGzSQjsJ+gOILaIySslsqExqEiHGXW35FSSoJDJro
+jRUqOW89RleJMoS/Dp8h4arHnFf7dG8jluVyU1Kss+CTxMpIt8F8nBs/3nJIx91iP9UFwwBaMkk
dTr1C8oUOKRIf2xw30EySdoRFAPQaMeF4Nf6k5RtrDSSihB7ngZs3pw7GKuRxvIHhQZqMoZZ9uZB
87nclD9pyqUOtmNSdUtI/Xgtilzh/dkjoRKebO5YJAAR1SVbtwJSkpeNYWoytXWp+pvQ2siT19Cn
y7HL1RgkYHz8QSAJYQogljkXHUpgJuNQ8stGKWGb9Pq599ylqHta75aSus1mAKY+Sf8VZsANQPux
v52HYdH73qZySQXjXfhUCKKNg9/iq5cIIYXWyTn2UegQqSvXxcSKt8klSKBXvPjZLMi9RS3k9wRJ
0qMB5aATpS0avG4xULr4zNkzV2SCqunzffhEhRyZ+3LiApWzStyuEhZJ/gR66dbSF8ET77lUYS9Q
7M8fd6GscuWtEL5xsnhoXGSS5TBAYkr+AeYe7k/ODxa/gYoq0bW9X8RMEFEXXEo+RB9XaNeyHAUx
Jeoe0UV7qimdRnJrhCw2/WnHayTVXe1vWTddO/UQ9hqScH0Vy2GLnDkx79rBiLLfJA/BxQZAUnF9
pcFMRFYI5XYPtDBB8oWpw0iI/eAAOi4bTqAYA39Jf71XKsx0ENBphqmF/wvRoMm8JEnKzZ1wU7Ms
iAurWMQuu6z+xxbIhpfTyDeWxyGWvr7W93eNKBwFGxkGnzMnHhHjcynj3XFWzAF3yE5DX9VoFyZM
7G0aG7pUDXCYRkr2PlxdXq9cohIGZIp1e0V/OQ/12qTAoqx0dGZ6vc4gSC12ESnuSAMNmnMDJya/
OzAxzjgm5n9ECArJpY8iZHTyB1iL8cn1ge1Umkc2JHrs1zahHzY18qfRX1FSRvNuIkgThY35GzCZ
JNlrL5P6XXIqFzfKOo2cGtgiNoRTvmVaiRyWwc8H2kFZ56x9ugXOXCv7YjwVtxHKJHci/JSnUd3c
ol3oNFTcVRRrNAa6d5r7bP0xe/3OdvCe6tR+yXOCBjoan3HvayWnHpH904dZXvTuG00/uifkR0Du
sg1ZQ7JmNUnbJ0mIrIbpH79esV8B/UUCxQNjkgObZ2mjINUBUlHYcT3KKhfXV7rlthPvxPig1T8j
aon7Ho5FkSDcBWsSE4a0lRUFu4UAsiMx527C4N5RrD3clswzsmm/tLn+13M0qaa1qNgLImP6fxsu
5i6p7RrXp4s5cv6LbJECLcSx4Sbk8/1WFpFNEcMXqaaQ26KiBJlwawBD/RQ+EPHBB6XRaB2G9wIX
m0jzuToDQBxpHCVbwYhPQJ6aIQm3pOWAAw3ak8TbgcPhNsgJE6aB47S7ViORCYhzGP3IZG4oVC5Z
qm30BHtqRvgJ5S113AU+2rBaBz3zox+76AwcKfNkhUGz9XYTdsCM5a7DctNtM//HRudp4Hk+TBqN
9JXRNRoHuB8uG6b4JpiZoPhJ9mVQfPSQWqjTMm5TCX+UBAaHuFuy0pL5EvffXQzgop+RYjDkCcZl
xJkxn72XCC8I6lehVSVWfFjyO7zR2pUSv0AOAdZHwLqKi8paMfSVNUbpHyjcpjKySnr1/0574voW
AdAVFZBUaJzPw4b7HeD+0rTuoiYyIxJSep5JRf+Oh5FJJvWZWdnQOkhBegbw/TlQ7JVwqrQIBg2c
8G8Q7cKp1STL3NcAu3C6C66WSvVORsHI+R/Aw8wcrQ68I9kb+vDT1I9u/J3yaYmt2KMJ8ilI6xxm
T9/riLuf25ABI8uB84+YH+C1xXhJGZkmb2KFkr+Leli5WYwUEqQvdoKaGW8lJlXZFCCJ1Es57FvP
JY98UCVWuvKyB5F1NmwKakxEaqd5avbz0IkRS5O1yVAorUSRy8ckTVpQI8KRiDfJkHhzeSHqQJAn
DHFrfurUTqIkD7alxURL1OoVMdzVutROsl5FpqrE3WVgf3JhikyEy5hUaWxR9Ae/YITetK2w08zt
J2VDqpxpL5XsyU3IlQdVBRrDPtGAcHnQ+lXBGKNF+K35z3GorNCdx+Yu78/h+IrNiFMerDGy+JXa
afqFj5lVbOYUS8MuDrmK8Wdvsm6nhms/xHv+ylBAo7txyrDXzeyfYUUL3DcRcZo2bt+1OvwjQybI
lp2DEoyQOa77cGLkb7XSn5VRSmPGg+7ZKOgxIlPf0QnmWcz7Iagr/ul6WiHyGbLmbAL+JdWzX+8y
KgPSSaK3lJFZGH/pwwpoDi41R+i35OJzPI3Zdzx9FAFTHr0HnqQESDGDhohAqS0Zay8yT/k0nGhs
Ta4n/j8P9UEDDRUPd3/KaN7yHn0XFahQ8sGLBSeNqpXbmuUCbh4AdvC/OEep0tGH83sEmiMUg4KZ
Q1bWc2yd2gAdChlNSII4MgEkE0S3qPXZXyk8lq10tMwMarbR7i9NRNtE92nbIFq0M3bQJcsDo4xK
vztDkcnZG9molnHd2fuGKErKbw5KuhMYE5QeIj3j4hTtJ7+NT8H46w08GYOLANxpoCH6OF+bZt8d
g6tDqoBoSAfSORzR4kgiAce/eIwN0BkuJR0Tm0mxZS+4mLiZAcBmbDSm9ekbn0681bwnpOAaMuT8
0yfhPC+x32vtipSZKv6XY7l3APvD7KFiPGXUd/C4+amvrkzTEslS47+Vdb5wzBfhHEG+B2bj5oSv
8L0BstAfyyQ3cG/J8wKxaZKDoVOtUQoi/cyYaEQRLiLkds6gcsn83Bb+GxsBMWYJWR/p72p6HrnA
VeT8yXpAj8AXpC6oq25hO+9cSdqPja/b3bchEN+W7KC02ZrYN7K1HlD/o6k+FEGLlx5HJDLUsVeQ
yl3CMBCnhjQ8/3ec0WYOSkUi1jZB/BYeyp++objDwX20eOeRz0gSjBrdlu9igLVRm0nRQvMvSWUm
tiBKTcBiVgsfUZ6A1OAbh7Ut9yl9Qdh/Jr2/GRDJUE3IORo4wQN4CPL4PEQoCc7GBgmDliQxqkns
JRGWbM6XuLSYEkZQN7QmNQXTHVjBOeC0aG+Fvcwdd2niPNfwaxAgzAhfXg51EfEMEZZvjPPwv0Rr
/ZD/LSUiFke8cVQLYeKy5o8drFCUXohDocESPZjePmroMNqOYdPbcP7nD1IscOIIJsxxnyLB9sKj
lj8LV8p9iaHVJuiSRVoITKCWzUmFu4rudqOtD2cHdiK9D5vOon6nAhXlFN1CY1/78UBCmap+SU2e
QJwpv3TvKb2Fz12FERc1SXRr8jPxIVRCvFt4G7X/sYGKbaanAe+aOcl7RwNtFYOVztqvFdJAfkb4
s/AqkET44L2ioSGfTwMVdfiQbHuOBXJVhgCCJ8Q1AN4U3uqS+5T5AnS8ctdSKkFvahFYZ6yvUiQZ
nnmAc++HT2FQI3h/lfhpiHhBMG2EyXfyd0jQ89PMRa8d6lDVYewRKjwaK99+wlwr6ghAT6BfEAgf
jEUE60KpjU22FXUer1eqprb8bph9HhHIrryN5muAIewSMxNZsrB4sjLZSOgq3mVT3GgY0KzRUqix
sgr1dw0WXDK/w3lYicqJ4XTMcCicY0lLX7dvdFX0MdJmyYecpptNTl5uFeSDoTH5oFIZXahZdr4J
VdNGKuRwfqLzEn+wZoxbwdoKO9tU8w9ehE07GDR7ITlQ4MYk++gS0Te+0GjwyQD/OGZEfyulBJbB
jqqkZXa2y3OjD+cgyKOz0jOqYj/6j23wgwCtsG5SXVvhu1Y93HFk6wVXMloKwA4Cc5pLHmhYu4dF
SXK8fNe+v6pqeZyV6VIG7qLwsz3zAPeCipVkIlcW6k8NAeC3PXbL1t1lCCd6ZVvdphr1F4stKabH
YLYeYvfQmA+JAUiOqMSxTi7K5P6ppuIaXeIWbWbVHJNGR/e59VTJh6WcnLeuFsKRkk45uAvPCfa0
mvobE6FXeR4BYdCSDq9lTBvN0SFvuG+n7yLWt1bbXDg8bBIcBsIwuBd1IziWGNSRxG5sLqvCe/Pp
8i1CP/EA++SVmZa6dDRn61AGvjfFH4RfYxWnEhUO+wWzrCS6uOVboxkbwh52IfbRiA4DmX6h9Rt8
gbmK1BZ7IMJJj1dPyY81qi6uJVWDRyq7S+YyEukjUmtMPQRxldDCFi8EChP9BR61hQwk5bTuxiem
g24KBYvvLPFhXVGvGDpLvFOxtRvGBHBvYfWIXwCX7etgNnTxKrEH6rMol7LGPVgl9Bf7NaFR59rd
Vy1JAZ0DesP94O/jtjjMgcsQELyH1trSoguxg2tEMXgKa4aFzPsm+edIex8DUcJwpNX4qI/fJRkT
IBZng69PbmsO1Vl0+rLFTnia0ltYdgunweRTvHooW3M93vTd+0SwQtsiFriUEyf5vK/obPlwgopJ
QZHwMvGTeczkoNbG/04OjLkGwwQmWxiBpEuhuvVeE4Ag2/xMauh9fz671QW559ICsgi6cdOBxArl
n3A0aTpahf6KyDyu7IXjMEenkNwwBA8s3pEChNBhBkF6NAM5OrfiYU5vZkmCK5GsLgjaXF7QIFOb
eioPztup+kumHYCffJKvUT5b2ryRfG2GcBdj9AaVxrHZJEyEH6ioTEiJMX/id4BixhzD9LPoO+Re
111yBpD0zKfi3omlk/lAovaOggw8VIFohU1GZYwORwplmB7qDVaBldH1BhZl6DWEoQcOo7+ARIZ8
Z8KbxTAd84UwwRhvvXj+y/qHxh59L/l4OFNFzV3oq1k/0EowPng+FxJfdVZNJkshcnRwUZI+SzpK
xWoVnkslvUNaUtLTSOH6i+PfgIrfBfYvdGc7mz5m6S+FxjLlRLCqctvRcfKtErdF+P85OfTAEeIj
d0flZTFXjKdgMYQ3nD40hE51+1U5w7KIfNG3sNkE9E4BKi22gCQLIWRIGpohigMH3Ksp8o9cS5l3
yKhXPjcHJo+LOKEXk1FP5MxtbQ5Kh7nV9wrIw1c77qvhppN46mUqMV6MAjXpMBk+Vv5WUyOXHv00
YfTINl3G341bgqsFwxtG9Wz77jaNnQ0Qj+Tnjv1JiWICWA8dk3P6o4htho1+qFwDmaa+xf0yteTM
xMfM1mUHkyw1TsYGLscbkP5y74VEQzP0t7wK4KBwC6THoUU1sQJf9zkuRbInQyCz+Elv9jxxniN3
sBzDMyamohsZ1xC96TXtQfOujsyAAf7xADpdknCItmaACejqSslfzcl5rEBrZFCTzMTVLS5JMgXE
zJFV+cIcs6U6MkXyriuXH8FSxG2F0jOi8J67HsXtBnKIMPdF9sz0SMR5ALA8BZmTmn5NDoFAOZPc
SBFjiJ+M29GjYK0V77ZpbWvzs8xf67J6HPXhqGXDZjY+AUvk2sgJ/BzkqCDYsDOdtRWlD3esh5xT
tDcxf91XMapshqxZyIRCMSzIlmLnpUQvda5/8TWUHFfkL0jaSEcTApjCZyarDLUbwMScfINzoDno
rD+IDld7ieEnbSCu0VX2avyvDICrPZnAo0LfeqZHm4D6onh1SNZXO+NIuSTBrfN4RVGeuf5SpotY
OVclQgOLS1F7cflMA8dINCvPpaZvmrxfWzFQEYPlAr6YTe9Wz8OTio5jIKpqAPhFRApkzebg41Ux
tk4/es3Jg9fLYywq/AockzLCpRQtmh830I7YnxaojjeN9q3pN3eQ9MVgO2c+Ne2LlSCDmRwZtszk
JGRShxGcK/aePdO6lGTu2SMFveVuMhpHFWABhXWsm7sqVF8r4g2H8KsDJZ5NLtYQpzeUQxFSV5Rr
3tcwAfSYqNUMZXPPt2fooqvfMB6rUbZ0pnYh2repP5Uuw++0DxkA6k7Gquyi9Ux2ctJoBIxSyZLh
6lQ6hdyn1eaPDa5EgtJlNIxBbRgjbbAUe5u5x54q2kb6p4Gx6qN+FNmqjgJFA+lrW7IJKrG7BMfU
Pvi1BUj3KMndID8yGGBJ0qs+5NcpQ3k8n0QAyT+RXN0h/FZjay1jZSKY8AEY2BCqs1kGUnmQN47N
dJVn6EautvJHSToc2+qCqMcnMRZxYz3cSlAPkpkDQuLg5WgTwQpb6FmO9xxBOp0I9kj+sh6e5cgK
0Q9N8D6cTw3pDjI7UlrsSMfKwfLkjjtbznvIyAfr0Ve/Ga2+nziGsUiDUVlPU4z8qCSn1Cg4apNH
3eiPT735GHvkYThQFmr+3ScGKXRU+5SR/31qbHZzmT63A5eFKeHd9xBxTq++2Cfsqkw7+tQbSRJg
AcVcBrlSEgtpJME/Ah4WGVGRSESUkpEQnE8o43w4YjRYLp/e5Q+4HaDbtfcylC31DnULQFNXf8ol
FNbKUbXBwsASgmCNAMBMOAXg1Vx7FdQdw2T71ZBdvGl+kR+X9tHBSIubO3ZvqW2spuynct6YFU03
ee1z+PGAihpIryRVwtIR/0Gv0qhMk7xbpP+aeuJi17GbViBTulc8q/TqEuk18jdlXLAGO5bKncgg
RZlpENOd8zrkEAQhSPOfpD8MLvk8aP0z21mZ7uuf3bmMINAWCpFgvR5tzYr5EcqZfP0W2V1Po1eO
R+d8v0k5xcA2KnqN1mm3HTmwzBCh02F0R3LllpM/5EucJvSATlo3QV9yHg7VLuv2MSud1SaseXWi
SMEJi5khpH4Vm8/A4pJp8iyLdWRjnIy3yG8ihVuwZdqOs/FISNZbqFIG6dyIOCH4gAg38mIc6h6Y
N8AUcqjUAHW3xstGh6e4F5ebhX9hTOxIzHEZaeVu8wkCg+45THBQdh+SPK8w8XZCdSljqnjBUjPJ
WFzQB9Y6oSwrFtacY2C1AnkASGtsezsxYaVP8p1U3HTX1MmTGVzC9DEo0ak7X3xL2rMWoWplmjvy
xWxgQL60O178+YEqq82IMwCZo9S8pw7AgOk3LgxzUn55XegZZdyGrH2ZUkked8Ak5KvMCQbmpHpw
okvNtWZXbDailZeeuvGoJBqgSzRMzL4Q3Q0tkZVku0Q1F3IRMUygGHPApMeJ7KU+fPNre+eI0iq8
yXA5y9YuHKqyY1nsNkwzInFZVgXXlEYv6yGQ4WkIBeXovLqMpfsV2fClXGMGlRc4CyuWmWKSVckH
p9oM9As3lxxLgrThrfcQ86C/tGMdPcbJ8ptd4vevfbKT/HuyiywTRnMNibymymIexCf2TLwyZWtv
hwiD6lTuKAYLYKHB6NcqWEvV7ZqPO7kOysErVLHwUYMGFXbl4JPxxyTQESJDna2L+Yxa4mSi5TKo
PrwkWrmNvu8x+LMy5LdaXnP1kPsGzq8Me8oDcoNmGkS71hn0fgvk9EXe7M1PChJLW6RGiCoHz2Lc
43Dkh2TYiOv2ZezNvTLOO8NJdxUkq8Hi7qKoB9W5mNVTqDZvBFCgfz0pDBuswIpIJ0FIlXvXCndA
aZJRkc8rY7jZnr4xiOfBhn5sx9+S9p4/J2tDQ6GP2goRmMzpAL2yuPHFSpDhAcAJOwJJsJT4UIbi
rZsBdSyDilO1uricam761tsx4Z8sdxP7row1lQARYDgw0jVEJBtOIKMJJSw8XcQmZslg9IHqp/gv
uwvqLGo5bDB96NJKYg4oLia7OinzDzWxXz2WSm2mXznOwLbvV0X8oDHORweVTOFhUyA9m2ptEo0r
RbA8c9Uh4fYgpwirWJRggnMwH1SWhy6nanWd4lcJ+9F7HVKHUEkGcyYMSbU35UQPTv3AhpH1KtYg
qiFvIs1Y+xXYLLnLnD87w8d8e0vi/ng/tkDltXm8uLq3kMmNFn1aE0qVWe6QsanEPoCEFPRZrVHu
TZJuq7HdyhjUtgW/ToY9kz1ujED9L124zGipniq/Zeb08GPQYVECReB7dX3CTHzf1BxoXLZW90I5
IcYpsmxhOLNlSEdYxvjYy5N0IxL/b0NNslKYKFMiHCuvUfNZV/4+DPE9d+2y6X5qmwThvt8ExZuF
/0Ay3QBqYK1thA0quVWSOChzr22zOSiPqeKuvTgmSSSH0XQe8XbJxcpfkenfU+MQTjetepwOPs88
5plPGmK3HgGig0k+XxcIa3xUmiI7SHqbwHoPSK+lOD5lYOayhsTTIjFzxs5uSbx8DoudkBcC3M7k
9TU1Z1x8aKhBazStyO1ElwgQzp0bhzT//l/RaztDyKPBk0QjIAb+gpAxuEEReAEmkqZIsLmBV5SU
/nm8OzxEVMj8BkPSEMdP6I/I27pwQ2mwNAg2iml1OcRbgnTEZ83FCmVEafQ1cr4DoCPnJZUjBLHJ
22+FSUGV8iyT42ygVIezYtDFTHDCZ+FUKPtunhYLj0vS7qq2UUCZI7rhPzBkiFZ4EWYAinsCoISL
qAfjF78eJxQ3EEGKjIczHQxq4MZMbhnfYZZFsuZzmDpXyieeSp+8qS2apefebM58WoS0AthrcBd1
4uN8wDSoXERELdIjZp0F25xhLQtylD7814CDELTxLo5CVtdsJvXSFw/opUimmrlfoHiI6ctThCKI
0ZoPsSxwRksv3GIt4rYxHCbBqkSrvYohx2hhuONX0RAABopMZGLWJnn6cB3SRmr0KXHLDV8emE4r
ovQgfiZsPgI56cjvmOLhqW84EmrUgOeJNOOZ1mdWd5Ih4ToE61KQAc3V5qFVwezpeJkKIQl/UiKw
lfFNnfivvNYfBPbQgEGnHDVhoz+V51F99JFfCApeIu2vofLsRPmmBXHm8DhUf1KCi/Gps4tzs24z
5kz2yBp9wQtkot2LjK+oNQk8qIEz1BpKFPBGboMGONIpZ9QpkOCIsUucAEGEnfnUJI9h/5iC/ifu
wCSCcg2wehCSoVV28n3oMut6eoX834a4Jny6WoFLx1wGaUGrMflXJIFx9DryKXLCZmewkSyHeCet
m4qd6ZvYW7N+M0BD+wQCoI6b6O+jtKPeeet141zhBZWknjubQyysTN++jwaMUMWymtGJLapnW/UI
//2wETunjr2nV8ENJQPd/KonyNNekS2K4FZZt2KtGEeicfJlZLxBKMCurpxQg8mYLhnbvwgLoErU
ZmHJUcs+5N4B463K45DS5g6UFyS1sX/GZhOTWScDyibCB3zqJyn5zMonia4i0gkVb3yJCsaDaNbS
dIg8p6NUNHU9IvKT5yemy6wlKpQaomvilYPmmmstcEmXuSpofabAf8qq5prdGZhrbhj7Trt5tCky
QmFGYROTLg1NX6DX0q5ecfTmYZMgR/MFcJ4Yl+qF27JCk50e60g7crvWhHvbKRKtC8QqCM8PO8wZ
nl39OObOOSV+iEhDSicPHNJUGWRcGFu9nQ6dA/2ai3ID4a267hVYlns2q0v4YzWOGxdKrAV27C1j
lcI2eN0tYnqZGHDDVTe9iblMlqEQ0hPjYmfbujphvHIx0RmzVNG/Dbun4fc27jt0CW2M4ChStclC
hRe86wNhjKQLACoGa8w3kirtBbe5uJFWsYa+wx0k1U5Cj+shGfJRIDaTuh7Gg96Q9EvP2++7PiDS
EQm/hXEz+NEqJERqtmnG6l9XdXskWhbbwUKSoWZMpLTQ+oebKDrMPEq/6fLFPQESjKwrF7Z19ILq
Su3PhFfYkohruu8ITcYAmxrN2WGuehwHDxpRFmAom4kkCSnAcebZxmuc7CfkowmmTjnoZo3I9uko
o9aUNt4r5DYOQMXo2j3mjbL0aqt9NBmARyVJdRAC1dHeFbG9g+juABVDZwPyRZULGn6Q2pgiw5ds
opIoedYZyHKuMN+JO3bkNo0R9JQAsVw6XEKO0GzGpSN5E14viV9Ujs35fyyd11bj6rKFn0hjKIdb
bMvZYMA07RsNrwaUc9bT768452qPvbobbOkPVbNm6LznWsXDy5hWfcqINS9/aK+uc2mvubvgzA0W
NjTqbw51aeQFxC60OCW2ax7MFboK5dsO4dIYf5HgQgGqcZueS/VPUyzUPfAw9CdoFEShbowY81CS
L35hTTZ3q+DNB40LGHyaiGYA7o5m/b0n19diNemYHQ8K2YZceMNwInTmQuWIJmitTco6jZutGBHn
dXUJmbeIaNMD1cfJeOfBPSXK9cn65xqks0QunVm1M7LhxUiSFVGdPkYWqwnYRLfvwQL1CSj+DYne
OqeiKvHsrw5OcrFmXHQDeGOExXTkp33hdspiuyEm0jPSxWUg+dPr5RORDxbcHMwxVL4PyKNIWYXq
CECOSsthrYLtcx3+WDMecsgJhCMgxY2MajhyBc+C7OJcNcPZjlaCuU/mO8L/ZVXlLYzAV6inI742
VvmWdm/V8Dqar5kXr3mZC0UP0PqUfyFZ2uoUR+rMcNS0EWh7v22tI3ky34nwAJczmFaH+jz5MBYE
YcjNK9OXYrLtgxWd3hT9WQrU4ioNl0cXq/mpEmAEc1GTHP+EHsr5XUSNRYURXXWbQTryzvoTT9yo
TMQT3Z8K5szdU6w9OiILuG8xjoHuG4wnILmV0ZGky2StQ4hjopMeBsOnsZkpzOl9uhrpLWiGYBVO
MHymWCbCDsQmYqs5lzRb2TBHGByb5s0a7qEKEtd8N9chaQh9K0+ZQ6Qmzss6DMOaDr/DeWPBEb7B
ekbqdJA4yv6ZGFBSL3QmnWEJda5U9kIUmDA5IfoPkmR5gxIsN2I6u+vCgK0xlPBiUgYnlGP6Naus
rwbXZSUe+S7luifsqFc7GNizUMxAVEU1Y3RodljHo2QgNH9NU99QHRcaKw3GVJSulw4mtdOvC5Yx
G0z+TUcu8Xh16Tpwkl3FNDgobFTkNTqRxEgWMLhU62/dyFZdFDDax9suCACPr7hvcRx5a0X/YuLJ
LonYTS2eSs8uY/DSTlbit2rqV+aE/CnOoVV8shCwgVQkqHRY3MiLChWdJEswaL5S9+IhajLZmHoB
nSF/COG7ZoZiYaJj4VzWFfF6QHVJQADlZsctzynvZcdQ1Vc96oZphGbVbxNT3QDYh8m8dxgPlYBu
RE9gx9+H5RoGb+S+FhFKq3nbTqhyCqg9t0IGDMmjCMZdNrB0wIHYDEZr+d3ynnB09KXph9gLQ6CU
8h/n7Xo8iueDB5LT5tmuUcKjyoae0DLWY7tPmV0VygMGOV7xO6FvMcewSlgScbijoG2gRSW8fLxe
iH8uN6F6ZPSXWK8IIv8twA40qaRYDaQit9/RhJUGbXEUjATFsm16OfIpjgOWFBOMg8vF47jPS31b
iHZrWmhR84E5+lbNyjVzCh1OZYwCHzpc/6BfdRk5JrBQetOTF4dHiOtXSkXeA7zCpTvkuKbGeN06
ePy6gC/dQw4aQ1vWYO3iwlGNUNibQ1+6fiR56Ll3iPKzS8FjQv/JQ2rmsHZ4Eufe2ULix0zXLb1f
YKFsbg7AXb4k+wj+TIPNgmDrwuAe6ueKUcpYwE76lgFqxXsRU/UcaDDHuV56s0mHOKLCe6flTaB2
YFlewJEosxB/zO8RrtBUKtt0mtYmhvm9KhO5qWTjVFtpuHIg/+QgqM9EE+JSVcSbQeSu+plNLnYL
WvyjZmePz9O07or9S3EiLyEQ7zOw2xKAq0av23IqVTGeu/OqCSbUSQf4yNJ91yZuTSi18gnJYXat
QuxKHci5jAWoGZTm2jlbWtwcv1oVa/wwA6+8Dh3l9A94AraSMWfgKavvyHBPHQhDxKOQHwxrIrKQ
P+PV4E1rTjo5RlSIKo4xUxAcmkxfRw2TcuBMMD59TPyEpNI5v9dOuU5tBq58b3hGin7Mh/lUUBcE
3C6i0pZacY6aP0Gbv3ZRehQQg31e9ng8OzS/0izP5dE1ybsfnWscaWD+PcY5jEu5XCTbTrx/q2y+
ANeafOLMKD49BKKFcx/s96lMVwjPuRCAb1jxhJYgWT1MMLbiiEl9+4SnSasRZvhQuBRxPcswMNSh
ttETNfGrhj1WW30AuZpyn0XFyq4/OFmk4Qn5KzYRLyXzEZC1aSM9lqqeu4HfybLjDwqEBDh9VQjX
OIBkjghnALiLDZ3TWGc97BMeBnRPB+5f08GebH8pRYLw6NBkbeIg41fZDTGZGj0WG7aFIcyI3zK2
zl5hnYaJqT8Yhhf7HIkygZidr2m+GfQWRkgVgf8DiovGQ6gHWsPy7bPmnmJcGs/dXjB54hQkMZTj
Wh3iFy/6XtDYsNWMWvhkUf6oiIT95bYRnV2fFQIMuFc5/gmpP3XAXZ2YO1YffC+uhV5Q1fGtr86L
N4F2gdVglEOSA/hCyVmpg7h6UC0hxbK2IyTly/w+3UDqtqb11Y3EvpiPyP3UNOVpYKOn3K6542F4
aiFAhx2bY11a5WeaGHDHrg59NFVCR7aWa0kRqLUEWoG9xhGeeAZ5QxHCN8DMjGyRHFm9eq/IvxgH
GEXnmjJcd757dOzi6TSJd/u5dP+L+AdsNYPESCvIt5F1F7TC/TLafq+XPUlteA33tT9qLdE99i4q
oxdx0uIhSB9eFupOZY6lBAOOfvk1ZdBCd2P1dGCKAjEC9joRSK6FrT1+2I710nWwk5lymfnRwqJg
qTr4VOa9TjEHIZFtH9qSZFru8a2hFJJS0WCMPsLEbIimIupkRBqYI0UyZsBV+5u0YKykZ5DMuzbP
x4BKUUXQJI0Ds66xvioU4gIgNEhcm6L7C7ZtcITyP26jkD5LWNlo/quSai9Ad1ta72aMPy6j69r1
8Ow9V/0mIzZZ7e45w8GGalh1PxZjr7L7+2Rci3fGaHYbgAuQEFzXhMXjIqhy0u/evrPH+wXRCegb
N5SpYVYof26TQUBVEALYDMEM3R3RHqNiMduUAYBG1zVaN043xXksYgU3kp0elxj2L6fYhGPQbhad
TYjpF6B4gUfXkI2rLPvWbfM3nrnkoLdH93XuYcZ4LxkKcdXjFiJyTOoTSLxL4KAWwLKa+hj3DPaU
LTBozuyDLppDnIVhYnZrYZNLOwYkXuv13kE8OKh7LooW57f0xSYDoOR+7hlZWbkf30vrEgKeMcwG
UuTmjdioZeP6cnklzjmhsATWA7d+VDgd8Z4TfhsLD/6CrLYKY6Wqv7uorga3xcgPRga1UKFqh5TI
yDSl7wta0NfvwsPrw6bBx9dexmhs+q786Rjk2vzFJklOevAI2WnBSx8/ou5rnH8qOB6RTstfRXt3
Brawv1jH6wH6mZhZyDhXwNoGmrcD28C13Isk1DeUQ3X3XlbS43Tmc5r8Sw1iouZnF/S4d5PLjLSd
EUNMTWVykVl/f7cHPKqaQsTCzDImNwraAyFe/HSKBogDaaz5I0wbEarNpJ41CpUdF6QLZ9wzKUHg
lKU3A/RFWxImXUjsIFwLabJhStKq+hbvIOaieAta7SvzGN7ZiIlHCqjbOP1baHO18YGWZjlp2cMi
jQCyw6yKE3nn3eMmgIYIf6e6SGpW3/yXOqQMjE9Qv5nLR3nCVDY6QzROkossWsd+cUzn0SUMf5ry
MJImVBIfKanHmAKqH57+I1TLEYpMUPlJ5Ox0sITcaDbAJfJYPO8kPa7K2kgpA+2SkqYl63dGJUbj
q+cd5y0WuuNhcMOTbHyl+W7pSevs2ZnsnWf1bzEMjVjrLoTsrroEP/WZMyf04BFp+PyxsArNedFm
xDQ3J4M2gt6CB+fACLIJrSkTRPvgMo73TeUSEjinJS+OQu5Hcwziaxh5yDJeXPuYz9nFdqyVzmU0
0YoKJ6Kv/iVqQnxnu12q9jlYDCyMIJ3amzG5tnwpLEPphQXVQPKnj4R1OCGt1xJtnTk6cuKvpV9U
gNmz5WLRvmIAb+HD54yMPmHWl62xwQHKF3ID54atzsfK1neDFp30rDqKNceiYl0R4XyotDv5XfLn
UsHJDc6lSq2kopyWSj+J/luU/DwTzDGmsOt5GELoaCx9mzlfS3+wNDJU5WB8WxYix1wktpXJvBF+
Ta+sephdjeb9blvZXvgwiXlIDdtqik59etTDN3rgxoN2LIAxJkmxv8QuYnYIa+29T4cPloVDznmQ
jHe4bwj+8s3gGJgqKM9AHiCqUt0TES6G+RNtjYr4UlCDHI4MGlEUo7l9wxQaPf2mQmiKTBDRfkCq
pokLxZ9Jg0DGJE9D8MFPUMhrNdBNY7EwLfPZyfWV0w4XM87hHaAspzXHrLJmnKgadyrCJqhXn5ad
QIoE24HXpuog4LznwBu22KbYLRIyt9oybHOASKgTmKZR3E/oBuS//+aj1IeChQhPGDK1RWcU0Yk0
e910j91kXBmtyDkA7hDgczi2uMg0V2d60d4sEhZUXOsniD6sLmrGYvhgkFzN1UbpCuq8V4uTEmBc
6n+GSOvQ/g/MZ2A0gJ1ATLpcqQZckI8EGnDOMFMBlFOWcm1gb0tMxZMBA6QLmFfHVxedSFnrgIPL
dtR6v/U4W9fiDGZiZSUmz7mO0Ks7CDWBuIAGpHPG/8Gjnkcrk1YqdC4Ze0iDxPRvBUYkYzOnPTbp
++9cKKX+5RFSM4YTOge8OF/wXuDaIAkaYUXCLFCnhxTfSiGryciclUEOUkIpqQhOxx2NusglwbM3
r5BXt0pN8+oy54CobxONwyI3bimqUhkSxTxT+pDVED76Fl+J8EHdt+CSRDOR5Eg4YKRlNVUT303p
V0tKxg9Dhl7Hjw3KBMI1WJJYcWIJUHmfHVPTCF2KcBgK7GpTFon44irTWfYM15b4+BMs4HCKJwZT
B5hrtnonzFr0vrMBTcm+aQEW0vxtDFyOAQVgT3LO+IDcSM3G0SwMO4frt2R24y4eI43mTQhzHisk
6xPszdKXgih0T3q2316KzyjtfQSp4ENStwsiThuk9dY6KD+4EH8Rqp6YUaToySy+pycsQCWaWQgQ
/NbFyPaJ9lExuhLbeG42GSULM0bGgMPQHErJ/ijuMlMU9HZBPid8gphFF3NE/3KTNf4JOA5Ttj/y
Fphj2NbfGWWjYKOwbufiIscCjaeFJ6HWHNrpvYx2HDGcscyVU+y7CNEdrBtHjrCwwcamiaFEA1pL
sWPkD+kwo/LmJR9FY24ck6XM8ICcLRUaGtfiEDIE6A6V8/Dq4qXAW6BNzKfeTrHih1lDMUOfQIUs
7T7jKdWgl3vO9AF3flExi7m1x28SK1LaBDUleHDZivgBAjnTi5pdR0UfhGSaIBtKczIgPGxVC2ct
RsosFHGEtgBGluXTyE0EPhp6MZiL1l8Buw3FgYFXwBLEpUH1B6yyHIYSbs4kAbMQqS5s44AsVDG6
t7jEhSW+6MEWGgHso3eZDjiYYMmAYUk9ki/h3GCnofKOU5/7t52voBNICsUja4E/lRuBPyEccfNj
oGCiPWCjyKpE2y/osMDAUv2P5yK4JAwQQEG3Iw5NMnSXs5xFIrwy+U+62FVxGE9q9iKlorMEpwm3
YaTCI1FA1Y7My2dBOEE5eAxp/cFBJ7khSbsfyyP5K/SdKgtLWkJx0WhMbzOMNpZd3wmDGBYhfFmQ
wMlGq2Z9h+gDYrwFpwTzAbprjP4ceK1h/KOULDFq6s4y9tRy1J40FglR28YgijJdBRzvmD5rmH+P
mEzMR0X/wO3lOWQCi2yK4pzlJTeKkL45323GIm33gPEIL0Ah6cUsfjjBpUesksHnzFYgUAohElsO
pz8r7SGP+2dub4gHFXddjhEy5xa2NE54Zz7COoZiJNFbLPqOKWoEYtUP9GRonOT7p9ohZnLaOdBU
lnjdmDO5tS3Rg6iEyg83KqEEwUbqXXDqWrpT7C1D8t0oFIA05HXwoVglfXXAWwyJLu575p2ZW8M9
IO8DJ0XKAtHB8Ln4f9kC08iaVnaLzaKH2C36UTBWhHubAIh4TFii6OGVj0A8aiEi5M4/b4CIzkBm
RHK6FN2LsObKsNp4TodbgusX2IP8CE2/yW90fjuKQXGNoXRtEutETB/X4aL3W3BzhyexwE/i6cx8
pipHcMIC1dhWBnrBYP6mJJESY3Bgk/PsrC0SeKZ0vz4u7ZnxNI80QytZaf+U+QNO98qFrUKgFket
He6s/oV1zz6gD7JuIWcB7E2BkJZ+wvWWe7f7YWl5yJYgJYG784s84F1xkc6Qp+nmewHtgmYY0xax
0+CfcByKOoK6kGHtLsg5KXBEZIStvzk1POUxI/fEQvWJMIMLkl5YJ0SoP8VMNRphTr4s9A/4Nz2Z
zFG69CaEr+gM53JTGQPDiYfZBOLPzcoPTHQ/GK3rNwAAyFJDYx0x/YCeURMYRLiBGXP0YGlnkdPA
Xul/hHJRdbQCMnags4W2DFEo01JwGGyAcJPm4VI4MV1jnS50sDp2uSyN38AiGnU3wYEJWT+pB9Kf
4haArxGWq4xk6huXvpAx+WQF7DJNoViUPDGMC9Jrw6LlJZvY+C+2ui8tgzqcqdsNKy1YJZs4jnwN
0UujeyteocZ2lNEJ8xhL8zA6u8IzNzDdJG+tGb7r5FgFz6PyJ4RhPfwFoZNqRsYS0uFKBUA7Kd+Q
HhFScxk+5EAY4UXBFmKxyzneLdXjl5UHcmMjhbPugFbch9QYJV0Em7TViGxvNzIeapszs6rfwlBu
tobWiSENzDs6FKHGT4j5zBSOFnP0AaCaEZ20NKwnFEpl7GvLp1yUmLnxoSLIz5A6BTRJSJFZ8Dvs
sheF/yF2ItMOHdaCjC84Yw03ZFDR7tTsYlVX8LaAweaYrxq8/hDe2grhNh9wMVcueHczk/ogvJkz
XGtC0S6J+xnbf4qOWTM9MA9hgVORo1hdpvec6QVvkXm6XDtYYgTj+6TxTo5KvPf+aybcY8XLlgPO
epe3oQ8K5aqBqSGTlyX0M3H+jjM++VN7qyjoDXlFSB00jLmxPheghsGRBg0bkwfByOPxrSi+Kiz3
RSyBVU3ZhByQg9wksAKCCqAju0Kehc/X4sK3JMQPCsw2S8ydhUHy3MkgSkLzRAehYcMgXG6AR9m0
4v0r0C1qTnZ+b1Nf9tgbGZCNmKr03UbLNB8SyqAm/wSRdXp1L2P6WSWBp3sZe1jN+QPPxK1hDL8I
S7Zk7wZEJWZGEV7BBebGsa+Ef+QsjvAsbfNb2durlMOyLhG1aAkJAN9LiHvpXSaU4HjxkGAzeMui
d6P5UQ24Q7wCHhIkDNlS8sf9RHCo3SNEuMnhyjG9GUPlrzAxRC4yHcqGGC8hx6b13wFBAuSUycHO
oWEyjDduzrcJNrPB3+3wToGJBhC0BBHKCTKvKgtiQf/LvqeCLUMKfWaZkd7dJyWC3cL9aU9vJVwa
vTok6ZY7hoUO5PV71k6D4/cTEOu+wlbMnoD048toxOcsNDaZ8M57MCt2/wgOzPgcEgb8O/H/qe4q
dfPQxKiuqj2nvO05sI15fzaJtXBf8elYBjqYCtEGtO9XwHnuFWvaqdYuYydNC7SzsULtYFNU0BXb
t4oyq+mtVTK6T04GvwAxpnzfxf6v1DnbnfcZ7Tu6Owi9LSt+Di4MBtfmAMe7x69fLJ4xNzJhHTGJ
GwdtxfBPhByp+2p3O2lU6vIapOm+G2PUDacGUj7JHl5a/G3gByYG9QHXe1B0aA7Gp7LRGKOiFIY5
5ZT2hw7jO3bQIlGTda+Kpfjm8q/NVaaVDC/bnwzgUUNHiV6gbQpo8PFaZWeB/DvdXcWjN+nvXaLe
KQy6+ZxOw9qKmG+X+2EYxGfUvoKg5+a5rLuNHtcvS6kPSLwpTHgw1Jce+UaVx9qdzwG+wSmQuUu+
WLjcPdKlq5eqHDicwbWNa4Oa2VWfsx4KiQIJjPN5OZTtRDHxqqAmcgN9hdFWE30ONdydeFqraD6w
EfKYKsbZaQ5ARpYLdftGi82r6Zm7aLoGHTWHESvvivFCGYJjsfc3nIrPsDvWVf/sBsahSretTu4p
WqYwJmsAy4K0QP2G/xlduMlbKzJj1anf3MwhaSoePEkZa81D/BrBfRiNXRZmx2zMfZ5E04KxQhqw
OvLqMIUSDF8qjdBMyJy6NNV/YASpqT5y/M3UZfEHtC1AjH5v4UFm47DF9TbIRIVBEJcAo8atAym/
twpUELS1hB+kzODM9piSxyHLJQ6t9YJLccucovS0/Rgaz+RdLh08EF4uh/9W1IhxW3xqw550k4NN
oJ6QMmkdHciFYfjpFPjE0wLVS+93zXBpMi3HqjPAktnxKyatKt++HJxzDGLaYOIS0/uK5Y6BfQdH
pac89a15iqlAZ2a6izYAyxM/VdnjX7Hz4EDw68DcJeFX2sLwqnvzNJlvGVWvB6FLRThSZ82zygTB
jdqcUU/2DFimF7TMpYf3mU3uHiQFWoDcrvZ9rZ7VoPryZudATXvserQ0a2Lt8InLVuFpTgi8OnrJ
+BS7sAL14Obiu1ugy9QWj4ni4HeuetJ1/Q8bxo3o9pPlLe+GS+iG57CEjD8P9qXP0MpYlEfayuAn
6jgbqfjjqOH0kQ8MRNT1kCj/TEtHnKp9LM3wPnGkZP2PdF2il+Vq71Ljx+xVn9cfej8BAI5mKq92
Nr5YHbJittHSuhvgG4yMwpfRXIx1Uyt+DNRBUfed40fg6A/QYhQ3Q/fa2J/asiOuOGh+MLh/Ej6v
26evAl60gfpcgklZ0w90Z5KMzOe6GHZ9l+0dWg2PkSwFjooYabHw/wFyy6m3bWVXDio/ZPkc+g/d
4hkztmJWY086iAQrDWVJ8iPD0Ym7SiqF1iW1xbi0y7AqSw0Laol5uTf2eeHszOz7qP0wpG0mFjMa
RS7DSUb9OejjhyEZWiwdXSkPUdVxAiLLwnKmeXOgxGp3L/+NZO7+dLxkJTjaYjIFoqva423gIDEL
puwceiO+wL841Ij1NogCFr0qLSPNuD5txyz2E/4rl+cEXmq7MJJORa78ZwX1K9RGmR5sUnzCtKTc
i1C6jA46S2cChdbrU2Y+3Ao6qfHoDX/R/g3mWWGVjIB+0V8b7A8jGWsONuPinSzcdOfyQXnOeZri
6BpNyTHEfJtKRoYwtZGdau8LKjrwckiT2qygRfWezk5DKwNPV0oCZl6Q72O20v/z3GuwP4NzPp2D
VZmGm8Kc2Q4EzDT8ntmyCFEkfRuiItIhqS11hkjQkg/liLEFAw4VEhyW1Dj0aq9LbayZGwUedfnU
nrJquniAOSNKJMcjVn0fs829qsVi00kowYAalhYNGSZt6Dsxf1lzPYfaeAgHbe+531PyQWZYCcfF
KsyTVJsj4XBx+Ieir3D+RSByCaqtINWRss7wqmH2kB3A5unjau2xq4WbrjXBc8F9MrOWRYElLXKe
OVQXXCzDFf0CgKiLkaJmvhtcVgmdDMUW46mAQfgwjqQ2hxKaDT0rwiaZsS4i+fyida8ZbG5Mxm1c
Wywh+E6xH17r4dRMx5xbNrJ+SHFQce3OyZKgFzPmidxUjnlSZJQJqktXb0fFQA3IE2BobVH4asfa
86PsiDTPgyVL12/srOmfMIuzEi++fV3D6Oo9nIEe3PAoUXmCHK1WS5NJy6s4P3y4CvFyzMVABQ62
CJmUQaBk6eDvtsrCaz6/hAqkLEN5USgfm0h/LlBbiNBvAUxAMivq3hFkSITxi3oWvMHqwuek7k8G
lI6eqx7PKuK/JpD8iB/Vttmb6iH4qVJco3+QJ04efNowBk0h7YGR1o/+A3ZfDzRS0FS4n42XrPcp
44CpJ+XHnLS9wMQmH71k8IB4iJKYNhR95lJu8dHibQF5erEQZRKoJ+POTuBki9JoKmFsgM90NPqY
a/BGZSgkQy/wTZdAjGfh5rZ9wuxWHKLR+GxBkHOQJLRGHBw9Tt1CviLqm0JU2u8MoLLjY9rq9C4k
do5FUy/2tBgZh1lkZXskYdEynSb7r0zM7b4/NGN1kzr8F//9UxSUmY2hbmx4t7RWPaNgh+KdEhlc
DiAfbwehlhRKdxZ8FUBNx+nMgfeAPIK4RhF2sYlrmhM+op0/QGllOUFwwxUxdxiIEZcDgTGLPX9i
wtBAC1LJCagGTToSrDjceP5TmDaSxH4tOA5wTpe/U02Kfywsj7VGxg9sEvhIack9DEep/hocIFTw
WcgRYpLUGjcXrTJIDPoexTCJnwRh4g63JIRHoBQst6aYujW8qu5H9d8ASAXmznuRi3uEV5SBGQt9
VSAywEYXvxlaNe5wEQCJpw7dX6RdI8LiESNFIfZNQFcIwCjtBH5rp4j+hYqvPnj0WAbeapP6bdMe
WwqI3HJ9m9wTDIY2PybMT4VQAA8vMN6iJPFz+rBZiQVR/MWjjFes3+kwZSwLyYNf4eCaB6MTc0Ns
yiMGdt5PkZLERsB1eDYUeFHDX8B+dbQYG/L54mQTVm+yZrIOT6QvuZhgPc08SE+7ZTguySVa/vDB
4LIC6UfjbwcvloNCwxGLk/AiLzsgiBVECJsZaSX+j3QHDstZ0/oqY644IX1J48zVrzS9jfkDiWXh
dJudT2g3BUEMkPZ2vaUwgLwZACkACEY1HjHmXZmchII+W6+w69Pl6tivPQUHozS2VIpmhDhQBam2
yZhktsi/xm6iupXNq1WjAvUqv2YBCAgnQ81xi34I94oOHKk76XDEQp2+tsQkTUY4fBiIuHWJ1QCj
Z13vd5X2n4RqzjR99QKUuTxpYrUHwZPuTSAG8AaRpwj1TGmSHWjhl6t8ziVDK2YlirdLUh8Cjt2p
T9hbbezE/JUwxfRncJpimFIuxEgHUjHmAwxRRL+UdKIDOou0sZYbqTNeS1SNVCNy+mnZWUoCrFj9
0QDzb24oAfQQc1aAI61GTWQ0Z1NB7ZTSvVqiB5XKnEkZR6DLAFAkv7SkDP1DhlEoZHPGK8BkPQTe
efabdOfhoSgMfScdd/T2oPSib6K1Ahlaxq/Y+pcTjDeDXBK14LZ/TMwwhBrjME5YzHWify3Gq1Ck
VFADuIDAJgVMOVTreOjMSQMDvWWzgOfWxEzwLFNIeFTlLqHLtrtGaJCFf8aC5yuqLWEYyZScNpMf
REsN4lTizKvtO5AwlXjivC/+TWa3rnGUSjfCecX6y+peKUpD42Fm99Fk9k8DKAmK2a1i9tRA07D3
ek6mXrzu7PccEZ5uDTyEf2nioIuj5MtrHJkO+J2sxyrx62gzJ9iXLL4zxPAjEak306U3ir2QORac
b3KHT6gQOQTiGYlGk8OZLmqVSymjfKNzEqCcieSvYRGNC+lJnCO0Qabjku71TxyMUpHKMPWxOu1s
3uwKuRVGd3Vaw4LCnjDF8vLQwztf6vMMTWcpdFT/4GRBsFMRVohiUvgbhUFkCUG8nBo40/DEUIJ9
NuBhi45JJLIcA7oaUWx4gCPMETg2czBTea8brsrmRaLJS8iEwnS8BI5xat6jTtkzuxu5qt3R2sme
tKubzm2y5AZJAvtyPowXG0+nHF9IGH3d4qAQYCrCi9XAN35zP5FY2NP3VH/DiYhbjG2YRVEbyU81
GgIsEUMU1Dvj8Mjqvy2B2JCAoLjYFBY6NmouAzV8RIGFW0dc+Q4yqwogEbK2VBI+RQlMMZgQqmen
w7pIGBpjGhDlrw5uFrnQnpUXbfrjthWLzGF6d5DaAw3XmjHIFK1b+11Gmd1Hx6DRxb/G9Dy8xqmh
OtyALBHD4SAm5BQ3W9s4Awhdiq0kwKx4Lcgb5ilFk7KtID1RcMLWe5K6J0bfeqLGnevyNBF81XIk
sJ8cqJVzcKNSa5mMjI6KnRW8X6wJvLR9XUKKIo4jpviQVgX/tEGN9N4iJucQsojnmBROgFqFb1DS
6skQqN/2Vn/kcIrQzVbR91gitu0OHns2BcGhGinn7MiySFAdyRTOzh6G+zDZlPLgOMZlrtRltH2t
e2LsKwijNmpPk/6Ei9aAMQ0p0g1uUIv1Sq0M02/iY2BbmvTnui3/atErlJAoGG7p/JzhmRXO3QkK
cplurT44GgEba53rBXUFZ4DHyt4rnnqgukjJgmE1i4IMlb26MkYWpif6gmtMpnDQdH4wth9D09AL
EZ5SHVREDgyJTGe+JH13mIrxKLNh/bYE2Q6dEHcLm19ojgigcyxxhNIUEpekxPeUwYuYgS7GcNBz
MrpGeKrV/D1bA27jJF8nhu8pIVF8mD/QxUddsLFVv4c+FFkapq4od3AEsAMCUdOMWqy9zJm6h/HF
8B+3OTi70OhqzI35QnqHDkxFsHU3ZnPrAXdLYF9ktafWcGGuITMAJ4BQi0puVZe1n7s4swBq2top
jwEejX2FHsdLSR9QmVvABfJQZNj3ZZlXwvfk6CuZTTMO0czyfZoANUOG5aPN+LFbQUgjgYkkDAX2
vuVcraHZciyYFCKjSkS8e+yjT2HExEl+jMKPKXgvjWqXioVk8G1xQYmfA56WRYfHu/SyEQcc8qdy
yk6L9sz8c3BXHpCoo5FoGnKahisRS9YTnMvxI63+s7VxbcA50hG8yF4xw3qzQJZfrGibegFhkYzI
2I05liE5DczECNkDQNErX8m5JHq/sFEqrXUchGOf8xUIeuRGrK3X8DTNe25Grb8seJRkvu4Cb7jE
j5KBgagcELWUMrT3ByQ6XtZvU25CZASbMBlfZFad4xsjUQ3F1Pvs2jJh4Ay3rfuYcU2TqKYMZ5FS
34S8vIWgPUnDwWZGa2AltugJGOEy4Cg/LFoRLws25JAUM00giiKuBw2zDOAlbTz20qJY6aqOYG/Q
rk+mDsueZtm5Uh5RnnLQEFXjgDgnwIjtvx4H+pFHDz7fkHZCEBonuN6mIDwMoBdO0fIoIlMucUT6
5xAxR2JR3hnGQXF23uz/sjSY6PWYD5OTl5E94Uwr7HFWafqRJPW6jY39vDi+juVhwJqSt5ZB83Ob
b13Z9GXwJDVQn8Yb8nRxzsLgVVGwP0NezKmHK0o9vg9kNXDxOoCalnqC0PbIm+AoQtV2KX60jGBo
TGKD8DVMoWNl3ZFvCuNLL/HoVNcClxjU4mH18CC3OTgeofYLpUdzr4rJmBbnJPyMEO7DQ5NB8s3Q
+s9+NOGFYBcI0zaz38e+XS16edFq5BAcZo6hbfLPqf5vyrVNhq3Q0Dmv1KriZrUUg6+FN1EbLM43
LUnnkt/negDtO2G1tzbDd6u9iB8SIwuXLhqGk5RIGKmt1bg/sOtXeUIcKn7UuA8C2OgxZBm+iUbH
k5EgIc9ypn+oFOuQAGWIm4+V/izjTcV3uey/msF9abiusPnrWgXwlGCr4s0JvZO8M4/LYsCOSvwh
rKb/EnGLSQhLv1eInHMuQ0LNmR0i5127cJEkKZwVzlCmnkFL3M6N8fiERBp2m/DLf+mBzXpK/tjz
J1anTNh3LeAOJZUU7bSvDZGwchpyZOm4QzAxdYgvgdCYqfa5MMZTrZf3JuQ+Pv/ad4b1a4FbbJsi
pRaCr17G1y5hhM7J1mhbqg9cFrncQX6eu+mjBRZNbdIO0EW7UEgiKCPylrxs9EVZztiK2r3g+cmN
gf480rQNU2h85GE0RydrPHDg4lcW+N5g+uqS/Dc1EwxAA58VJrYxQUjo0IujGVir1HivEETZ1rzL
6LhHfPrFC8oIP7jdub1jLNhwNhzrmy1W9DRnGnxQhUo618Gb1J1NZQtR2sTP6KeFC+mBoES7xCWK
Wb8ZCjQLtlzJa91m4bmoPoqIuQSdE5Q3A6cniUDmAqbVMfQXB4SfFSYx3+4Uvqp6fwShhLMjdQU9
+IOrHcxHNoiAdOhhRvYdg8EO+W2vmgfZkFGY+AbGWx1VUgKbivloDsbWWxqOfN86/OsCdNzdEUuZ
ph2Zsf+m4cVWfK+0OVtGHGBWReQr7bun9z7THtSuiLmH5OaPoJ+/VkCUDpA9xKUAK1FDCU9mUuJy
nu2FRN3hocjRFtnou1lOeK5stTE7RhjVNun8p+zOM3FkJkcU1OmMla52+e7XHw18pwQWF7/sgAFK
x5A17zdyFavKj+T1iB7WwbFI8NV+wI6G8TvGzGIVkWItFU0vDg2PxGOguoHmfRRSiP2dkClNlBSm
ctWPnO4uaI9gHFivOFEF4ANjr8bjc1w13MBdFj+TqwH85qRb0nHuO9d7hz1RdV8ZmXcVDen/SDqv
5daxJYl+ESLgzSu9p0i5I70gZOG9x9f3KnXE3Lk9004igb3LZK6kn4lyPhNbgGO+RyJJs5e+XUeU
pirBZ+MjnNt4bw6B9BW7Wp4qjh6UvFyRdbey+CiGyHuvZxYynbE2je8w2XGDkGB6iKsXcZAMAIJV
NdzTVTU2pmBmDlWDTbe8illSupyepS2r7LbSvsRmbdBcovgQN8icoD4iXfJbQzAHUS6KDYwZ3UZw
brKtZAQwse/qd5GrrBUcTPm8HtWJbTQRH4hQXHAbR2Vyr1RSfwz7OTEeh/RsgHoTgR0BiW27alSP
Wk9HyNCDDAjT1cxTnbYhk2ANspL8Nu/iT2esSq1Hf67+5iIWFHE8U8EZfcZUoFVlciHUn3DkpUTE
GCd3Xi4zd89NOW5E0q01FZtlvnIu8ikcP/XZ3dvec80MnOssBJpPllmiKadgVSZfjEVKas9uPXOh
tghHiv1kpTur9D5yskDVg/iXFP+z6r6khVaBPudwG4xn0vQs/TjBUm90ip8MxUVJqQ8nL2ccxM62
Soe1No7XSE8OVsqsffrWB/9ae+cuN3e12Z3xXMfNEq4pbGFrO9T+N1aQINYeA95Hz3HxXTpP6clA
86nZ1bG1PIIkP4nxjWzlqA+M/n3kKPjibcBJKcoKSWVpo/DW08Ax4f0DyIWs/jq6MtRlEC9D6bA0
ZjH5Kun7o6zElF3Lbn5gms/QqNc65MbMugbOYjIsSYXIeb8mXAr1Rxp9m0a3DwEZzNa6Va6e8tP4
jK8t+khKVyoiIfnG5rr9yvgQFFi56FZrG9kqI8mgujZl9SZataFHSd+33OzIZ703EXwg4eoH64h2
aRcyjIyoSIdneZnD0DjDgFBNlvpUXiGFZcfwA22FSHYNhhGqtgR017/i9GFe9BzWQosa8VVqbblx
fO+jp1cUJUCVT+vWZK1PADnlEPfoS+k/SrpD2xK0IvLFZ21i9dY5Lx27LJd9NHPHBBmbNSbP7PnP
EcAlhA9lMoB2uOtwpRl01Ep+br0EI3m0ov7gRplz8FtUHBbzdNXStkqprsyq2lbpXae/QfmoZfkO
Xl2rKEcY2/CjWpE7UkDBnxAxJbMkOwsIg4FDunWpHIL8XFY1GcdsN9rPrmZFHC4UEJsBNoWAf2Af
7RroWZNOEns1vgRG8Siz74E/3eraQWWmWBKaVvf7ljUgfNT0CYv4K8WyxwliciDIoSTdAv2vGCqp
uxmmjiiJck1nUkmSiDS72Nus/JQh8WGIQrZHjJZxyL2dEk6IPxhhlP+cwocCwQpBeLj9Pe4I1hue
Pf2fCTuH+DObwM4m39eetepiEGdCWhrWOTI7TcvxmtiHmCqIw5RnoJ5xtzLLLqHYOH1yzueAj/K9
Cun4kQPU1ddQ9pTcvKaMHF101Qg9tNBeqgXIOMrNkBko+9AiOrg+7Y5O6+5KiJa4jwNJMPO4fFlx
VNHMMvvOon078mTN5Vtbw9ae17llLAYrfRBjYKVYG7oclAqoVLDWxMyq/klzUTfDRcVrNQ6kPgIJ
MKz90HzLDctdw30BOZOjS1Q+1PNTAuVxYlVBRcLYePAQ7YYcXZwmOmTMUVkYJQb1ApA+uZqOHWw8
Y29HX51zqqKP+sP2b5n/6XY6yK1qofYdUMVw46EV3tSpKFK5SI3y3AcEwlSkBn6HYQ7nGQFY8+NQ
msZhvJYfrUyfPT6TxkA0GHToE8hNYXvSsa7jmGF+Ll6zgh8OIpmMQcbZulg4JzR8DyR7UvMgQxGE
AnFNIllkEGrw5k7DB/MCvRIdJB8+15rF8SrKM/b3agso3TlgQqoU4oKBFhF1Fn4k8YV7l1i5APzQ
s2rrm/7TRIhJ+VPtTmjaMyRJvFwRNUpVbzV+mgndxsjFx48Rdh9emm8GRdnEdb+m1MxQ9vbTc5k/
auVD6BwpP0gIlF0+892ggFzF3R+ytGvJIZuHEvO1sksQDjLXlJm7DEsncSqB9s2OgccHyei8A/tE
9kKA4Ix/h7inaAx2rv3osoDrGLOq5+YpRhnhaox9TbIUwpvNsD4j2m7kF0mQV/A+URYUuoJm8Jvh
HYkxZpdvBVfyJzZVVjCXgESprdg8b6773IVfUqzTB2F2Q2UI0VbcEqALER32yXCdhu/c1xiJvZr9
0ie5kUbI9A3OaJT/sKDYHOVMnhEVokCfItxiL2ldIlTPSJFCkqpqQg8IEq7pzONCE9gHyF0SNbk1
YYtjseODa51+oYBkr4sfgW8PrrspoXIgFAxhKqMtRI1k2NyCDqsyHvH1mEEH5cpmbpFM3k5EHJKf
xaTS6ZyVBnqLqSk4QmZpVGusICdKkST4dCOAybjLzPMsW3CiwxsLM0JzF3sawHGglHPIEmMj4nT0
jTJFRgzOoMgvtzK7N8J8UbjlUW1vQoXgH/Q3naETVLjNRJEtm4cQ/6P1BAFjL+Udn64EsLb2jWUB
g8AJ8VSNoowVMi+uCW6At1jstxzeOlEWWvOTj/YmwDyNYa0D+OZxhDb1SQgM6XZCpoSWDj34C0pq
6KJK4u4TVEwo7gN9xzOLQJ85E6uefuouZI7SDlbeeUKmIYM3UH3UWvLsWDEXICiewWYBH6zZCRLm
0jDEl2/WukUIj3qqdu3uAYJsLfUikCRtOv5dj6RjePg60/JX5HoDmaue+PnJMoKwrrGvbniBJpjP
pLTwihRUiT6fmNALS5B9tt2jCPkfLzxzmZANVn6k/pPC8rCpQs7Lc+086YYmjYhwcSz1U0tZo0r0
MRNtsu4q+0lMDElrbXqiAHkLNozs5KzyKdIIA0EfgHLRANSCS2ojrZvlqKc6A9PNM2rXKo7BbtVi
ZpTdhIt3W5k/BhrYIEPAbDGQQ86PCIOfwNbSbWvwnnI1Fs+JgvzbgIuU/6ZZ+ApLQnWcVdRMa1pc
FhwUDfpvWaJ36Zq/tQoLzhFUShYe+JkIrQ7ZlnkMZ82sEraErsdshv7y9Dw7X7RevGmshIiDCeEK
PoNM4+O3Hkl841G+848QqEbtrkyawoxME0p2qUJEhwiOK7I42vIznXbAB04B0jIEw3uZthYImuIh
H0IcdoiqwhRkGqFF/rBJ0VNyeVWIgAEZpgi7A4rDVtSSibIZu/wqy9/Q0Y6KM19mAPFZ0SyL+TEO
x7U1gfrdOKPPT6pcJntciVdzVv37hEk0b4u3eWRNgwOV7apgXISP4+QDH7fyLv+d8XxFY/eTGCo8
KP9DK9rfGlp4xfXbuyXlACsZ+BecHmiM7WkflNRcAMjEueRG5YMJiLGavb0FB8juk+epKTem3xOq
pd5t3foncyUTR7jAWRFXoDJule7m9i9VGt+y+mr3fwJEx+j+xRC3OhvObAtE3VmkZr9uSwJJyubo
Re5RR6tg1qeKeTgqP8JC/GXdwhsfo21ok0VpvvXmwD35qwaXSmGsMq05klht7uv4NzCf9ekrCKub
kXc4NQhhZ089eMZah9fKIco3mGashapwi7OJ7fNA55SVrJobYj86dA8tLHuzIwPWZ9iDF9NHrUKC
JXFvBx4yh+15bu2UMd3kMwuOxtrBC2gQ3HU00ELDzWNvVXbjyqYyiLQXy0heW2s6ch2vkobpj38u
+Lp0ZiDZ+zBOD03BMhgifL9gM+HMK6tkIupjeAFiw10Tb2t8ycnrpJ+K+YLGb5HF78n4CLSTmwpt
9ElvdmPzTcPFRIOWXDdDwq75T/XW6WzxapFiXQqLtOZMn3caB1TZmHRlsBOIrGUMh42b7Z93zNm0
s8qfsicxj6If8ZYqaLB2Y0MVWM1dsJM3XFpzl82oZryN7bBxZzYANkln1Ga+sq6zZ4EBaPaWOw2O
zLhOdPuxQS4dAFAtuXRd3KfejnNZda+NR1AmwxRktC6Qxd85uqLhV5D4UHUy8DMYGy6ThqAgIKY9
QifAR/V+gkOlMXQIYsihHFxhhORFDd8D1o9wOY4G4UKtHi3AejjmoUo3rVRCmFR1vqQddLo83mnz
nqDxREEwT4Gh7Rz/kgRHTgqfQ0reyirgllt6LbCtpcvHhVMip42KubTFyP3iopTxPT6JfUSNqRV3
dGpEkrDV7jcqE22znDdqsavjvU7fj8JNpSupfOipKwtZ4TzEz7ltnSmeFzz1K2VCW1yma7gvTLeU
3TA+1gVaab3DHJA+jgZow1GNwJEEeysLTi2mg6bGupijbKi/ardnql2taxgqJTNK8ZIJ5ECygSc+
12pXQwSzNmX55jAgU3HgIve5K8gWVJVbjdvQcte6jSppExGB5/briSOI7PRKXZv9GdUDlcZzqnpH
dzAPg/auU3dVjOT6ztxASOqUU0WOgdS8Jt4kgwk5BcbKsXL4Zg/uCDRaSW4KrrI5VYn+8xbBBxk1
yOjqQj8K5y2eG5xsiCMIvBr2NTpFlJsoN65lurcZus3BP+dQNuAPekzhLptJ0qnYwgRezyBPaDcK
0DSmW6hCAPYxXzi7wVPU3UOTYqU9meZTBVzps81O/OZ9cdJajhFll6XYiVE1EDvvv3rRvWPgR5Xh
h9DQkueUYCg9gy7HkHnJ9M8Pfl0gOrgUUPKpm8rml9+2OntmJBusOSYXXpa1vXTcMHP+qrHuDX78
lCBTW1t1/pObceUPOwOqb8fzZumkzbMUD9YVs1BvvqUYdoucsSKlas4yyFaq9WQH4rDxE+s4j96a
5XAIBlN40AnlKiUK21BVjd4zsyLL6GOIQJOJpWvXlxjtUADQ+MM599Sj3jyAvSXlTVKQENPSI5q+
cjRahYha6sDQhMz2auAzQiS2qsxlFLAOoqm01rGiiuBk6zENZ2zjAn4NUlSyrCxgBI8DCY8d1Jpi
AAMGfUxZBqqJgGpiPlbsVBN/6950zzXFu3MqIx5EypZokTfgQPyXHv6WaFSGmHF4322y4kP6nKHM
AIS8VckxbV51RBETQpXyEUnnhg1ohvRVYFEFIyd10JalhgacDjvB+RLzaEQ7C+6HSRsvm4sxfIuN
J71j4IBWRGLhOuAZKaMGH6lihMlaTKkJauAEUlTpHfUCfQbXIxc17MABw/82eqABpL/EIjGR+JCS
ML1Di1QW+g4Iipi78+m1Nk5YL0K2PDjUNGub2MvseWSm4rdPbXnCjNkaG9R1lIfMHiFZPVb9a5er
y4xkGQpypXuFTpxRDUjjLdMNDPUIO/PqQdXzUxS9ceRew9y+453j7YXnS6bthtAMsGYmWzJnPwwz
W556paXpTiU7y0ETJVW0ESH6b4xtKkPpDTPJ1vjyHHA83tUrpg0ZGAfVfoe+YzdsPfLfrKpeZsKb
zSB+tMsvq7pDCKObZNo9XTSTdcooQZcb20E0qT5wvrbRT+dkDFQPDX3EsK38HnURp2TEvyRajZZ9
Uig3/khz7ndTxjsT42XKBQRL6IyzKspOl9F6s5tVFK4SEgzHRyNmXIsaDsUKj9MU/mp8MQ/W3byy
o0Mi2xgPZrc0bAob9u2PGX1uhSQRScM5ZGLAkyKkR/nDXuFSWhvdvJCRudkjPVdBjdDm0Or08g1i
szXPRu8yrbUAm78EwOuw4Fn8HAfNuDrVzAgBEx91orP2/97PH42lRAbGJjVf/myEPBQel4g+lxub
I7jGvTqWLmguZmnuOtJ2IlpNVXOL8KkhFKIo+dFxBLSPM05/qzoKbgza0ojIZVIcGnAIS7RkQcg7
1xvVtlcxu9fB1aYWsXt8ZjhO5Ou1M2o009+y4gYPSWw7M4n6MhveGqSOi107pjJEg/3ateGxyVjn
CwBWS7uHQDtm3r5hB0Rgo4UzVeAypiziEBll5fwTeA4owF1db2t7q863yrh1ls4xA7rMee+qdk8L
pPJvwhfUzuyG7Js/vdVAAjzVxSfL1rVbOfi/FfNMl+6YyY7fWrH4ecyfLu3wE3HlcpggtnKUB/mu
g+I1oziRt/xPAcsnQKskzbSI+2VPJXwk1xECC/y98N2q2PWX3ZOsUOLUBdiMEbDKGeKdxQY3VP0T
uKwNqpP9QDqguLS15paZ6soAMdcSl1J7nPW43y7M19IbhjyPWOjK4QBYdPNLxZLboh6Cw5xQnDHi
kt6fQaD4VVC4wQqvEST0NBzpm4VXmEwx9yFP9wAuKP4yi4Clgcmww59hs4HALJYjDe0GBgD0S2RO
zV9i6CR3iraNHysljGbjpO2KUURuMuseXZyw9K84Y5SLDmIHyXdDjCCaPsRcY/c5KjR97O+C8Tqa
qxZBkWGI/QpSZYkj0EjeMzadKqNeCxNrvp244JHZi2ICn2ZbWC+N+o7dIU0JTcHvRfXLz8QKm7Ox
FIK/rgIR+DG7S9yAOyT3IbqXzb7OvwadGmbNxKOe960XQBc90+Fm9t1NM9oQYLhbFyQBapw62BFZ
X45vk3rv/Ze6fgZqOBU7NjKTdxn71xQFMUtANtvA9DoKMb8/KTyhEuxLolJVrjQ+A9AVSBNQz9cs
XGt8H46OiWJDGrB419XEOP9Jq6gGfBZJxwR5rUfgKEcVm6c5fGFv18r0c9HegqfaX2fNejAehsJi
rK+vBsoP1uZW9wEqTSqxlAU+/XteXkrlwa739GPzhFgJ8ETBqtJV4HrWyLDai8WkU4WMRNmRfCPC
cOPgZsT/vPauB/UqgjNCoGOAFh3cxG4kfFNxR/xPeD8GGKxbudIkqkWecNn+yJvt1Bd72DRsHNIj
cCKH0aO38lFwUXGwfKna4YmeYVnHEiuO8YBgXu8BLJPVtwdZP9tO8zJNBv82Qb1od1oB9R/DTSR+
xdCs/IrDRLuPWvLgZPNP5d1QuN3+rOhNshdFbEC6ddhEtLD1wQxPM77dnmlHkZwT/b0kcJNXl0mk
Hp5Vr0etcXZi+EfRjpMu9LYDAH8D0s5yYms4RcY1+TcTJ4JXY91OxH8AK9gScGTF8MoO+DaYurP+
QZYCc0qDOCPnW21sZZws803x1he3qCVgrDrG2PSYvHISMvMYad5m3kGZirO8EgpSyBFs+9qmASku
i7t6S05MPj3FRrMrKzCVNRtY1uLMVgxUhuzB8KfybmbUfcnGe0+eQKfEjcDc1jPzKZ3wqVBzmHCT
cGRfImuEP+Rf9VSygLp1mzEdyrUrl8zSdst164beog2Zk3kbDfxen+58QroNzifLgjOJizjZ5mzn
VNNnB6VM+2aAI6eyK4d/BE1MNt/UGKL+jwKf0TvObnVN+td7aL/YyT6gBEzQY9SuuiYDWUGJQlzI
P7ezuH3ivQ2+Ug+ye2z+Ju1Pw9VkZDspAMtA+egs+5ozjswmJIHFP95EX+G5N5AzqqQXbhPWPva+
KpJ9fm7ia9tedWb8mcy3q2sLlhisnGJ0x4rB8YAPsGR+IDseBsNVv7D7fic1UZL8GvRZNbdmXNKM
xwDhdbve6DVMS3oOSj+HjKYMgD/OqI6bs52+TM5EAs2tnNFTcWJACd8iQv1FW7U0E/9TnZpzWTsb
iHR2hADvMSM5eJ/mH8lkg7d/FRnSRBT1313Ktd46GEyHDzfkIm6YEwE4p5cdCn1PeEsLwSPY/oFo
+3cNueNgYedT3gjLRcgngMKDAkQPWizatnuF8EPDWD709cpPKnjxUFNo9kNmKO4UfxLzcI2oxEZI
g6BMSegELCT+EsEllgWlqGx9YgDzdnn0sBwHjyQYpCfrwY+hTCHoQLoJtepJATDg//jTZ2Lf3PDk
cF/RDYPeqt3qqtQqCbba9gBh3RnxUrQq8AiVTW97FBxYyhJRUcqrRSqSri/QZDZ4k4M3dgZFekt6
0iDQJJTvZXbNra+pOfWQ+YzsnjRHozjNVN7IKSBb8VB+Zr9FAQ7s0foqbHdhMxGmRVuM6xDfvA4x
5A3tS2KtMwVe49ruFhaRLB6cjh1DwVhlHR387OfmOPVPKYs1AaVpzYeYAErF2CihyYDh4qJGjHjy
XO6sdLCQjuOx4MU+fZ8DdFIBe6366vALdx525BvNBrpHFgmkFYPftaN7ZptrM+Pli5d6b60D7rk0
Wece6sRKpFIhyumzFr2WnCqsjufO27DpQE/M97fWe5seQBRISvIS9aTXHQqy2OvoElpMChoeWw4r
TGqkjt35uyv7XPct3+iJP3KqXejsI+7Kd03EPxkBzaANgMQvovbIHxixQkTZVd8AlBw2vewH/fJJ
0xY6OkSk6ZL4Z9uHKtiO7d30qRFab+1wSUu1kydbn6qEOb6wpuUDpP1isUhZI2qAyDZ3HMq6QITi
3z+WewJZLhlWtXOHuzPchpZUpGatghRgcEKhYmfvGCpWkY+hDsdzyTSF4byCnjjD5daianb6XfEd
dGQJMa4PwOZUOKmwN8AJ7gN6fsXfNc24HmxCFJhklj2Boymuadn4AEy31gPjoHG6OuaxYtyxaSKS
DNadOxxDs9kNLZvVamcpr2GNUW840NbtAgdwfzCBSVcPfkhQMwzv0lq71ufEuKQWKRYjgYFNojet
CR9x5i1DXa7zW9Lux/a7nXseko1i9MtqPingTdqogzPdbazUw2WTHzKFhCYjP8LVEbcKAE2oSTvJ
HxI6fqlTL7XPaIe2RqldTbA0THv2HLdNC7Gm29r0JKx72+ajAMi5qJrg6tMrhB8yIpfCn9E4Xt6c
brRKpj0g6tMcHI2mXw6JvnBcROsXOy9vxjDutOocF9zjqHV8ivYWY/uf8IqZA8/sn5eg30wJp3Rm
XBL/iASb9hr877bIFyGRLezmKuCf2lqRB6Hn8/k0qYvqEeZu98+tTiaJndWD0f6LPov6mqgvbl6t
ivydB0duxEiWm6x2K/ufERWYKLI1Mx0DLQwqGoTeCb4WfjtixY+YJPSEvokkraHykJy8jjqIKbQ+
7TLwtWtvZfRqJWXre1wmm2l+wCiIZJS8eE99M6ZuKWwyFdeoF+gMvqldJCnymefRnR91BuhoraAn
3kCRNhOuHEKyWK6wmJGlH4sSkhiL4iNp36dAliYNZwOYeFzjHwAm97MSbiqGsMqtbL6IwqH1J7m7
Anjk4efI8H5fAn46vXxUVfwC17YMqbkDcqfalaWRv4GgTZTaAf2hIMGkrNGa58lSD3F4E5uQNj73
GjgWFBpUVaJ/Q4QGUIHKknLKGug9LoabwQARM4K45qnd+/6KpmvOP10OWwzhQHo7NJrGU68vsuDf
AAL9E7uWp6Pkegma3d1X7GXFi+FbeLnMo65dWMjT4hA1TOU5sJZCdRWr1jGHLRYXFN4vahPz+IoM
auBWdVZOj57U4YC7Ghqfgn/w3WTDeDZGwefbaPy76V/kkQQ5eVcWxAy/dRRGspsCx4DSumSFxbxQ
PGss9mKfhE3oE4zmyhqR60CmCXMiQZhVbXNjdZln8IoAnGC5bJqDeFtR/mBi9fWtAPQkcw+whA1y
CwqAAGFpQ/vgV6mfWVGKeSurYnzeRDrwFhUqxw+swYDpsVrW/yx6AZjrNLTHTD9E9Mkd05ja0sip
RPVraSfFM65I88gRiAlvkrBQgw+6Lm6hD766+g6bveLU93zCTJRN4R3+o9mg4kVfTozyYKGSKtY2
uyqQeh2oPAL1+qbf6BNhEnZ/Nnj0cHSQcR1EALhBPjZUZgGCRI93uuq7vWHGcMuyZalXq0+9v/PX
LbOSfBQLGf3Nyo9a8SAqcyaH4oXKjgnLzODDsup12PIFOWgP7O6rrREyONB4CheCTo5ZipkxixFK
49x+aPAphZRPCvtSJbhH8PlppVo5Xw36IeIJAILt3MrdKNSVWEWuPfWhSmvnc9irOmE4JKBCCTAJ
Ah+r4R4TlR0WGsg6BRIUiCYCXmtX31kmtpEw3UTVBgzD/BBBFdccFlmBteSeWI5uD1/qUqsWNwdY
dlB7ebN2vTdK32e1lETm7iUfrd3kk5KtYzyLUJfxvWVkPkR0umWFgXKRar9UWByGm6iNwdehyGt+
ehCOlvbiyUTPOM4z1+dkHtLijtBz5L9CPCsZxRhgvpXmMRmtb7osqCoSs2kVM4A4ItWAKYWCT2x/
VEIH5lQiDOJOx3ALgSxi5uVZwU7LmmtSoRMnCClDihVZ6CCDcmlWLxkb3pGmQVHnlVYhYIo5i/jZ
qMcdLEP8Dc1I5A+qCRVFRtF+spzcGd2a3plR57qh2Gb80rqH2FBfAt4coWNPJSgcmgpRWfjFBwic
YVxnTBFK7wCFgW4CzDuS4qFeAX5YFcBU+GtYiYrHAg1xkxXryiRnyXwGFe4F3jcYJ/4KDknBEmGR
VxCo4+YIpKJt8MHKLp3/my1uXTSrEfFbMo/LpgtAGoOjBp0i88+hMteqiyAMPKtHTasyp5D1f9x/
tMFZy4JnC45oDnG0NZgIeERSgH9huCM6jjn6jVNA8MheLX6ITPYNarHOgWWXGiDydWtxr5Xjeqrj
FTVSHtz1yiXpvFwVbNPT6JwDpuhZsmOx7ph3McnHPT+DnVT5giUBUGwwJJjEmPYGw920Eb0dPyKr
KWHuoQKPEFAPArTkynVd2l9zZMOLODJ8TY0ZKQwLTZhxcuh66LHZJzLmUGfix55G9ksoQHrcfRrI
dobYO5VPTyhlwqtGPsuFVLMAqzqMeiCKEPKXzL2/AohUWkVCzZAtBEiKFUYAdzwAOR4Y9AVjc22M
q2hb8AVNBJCiH+iibm36b0X06pE909fvhBaS8IW3Q30HfmSCIECMpVQZ6UzsTOjZU0xSKXVu+ypT
LLtCDxE0CwM4uzQONoMtoho6ah+Ds8N+FH/UFNyscdvyJnPA5tj1KFON4LcMrlGEWiL+05DGvLU9
rW7QN4j18ab1wRdFrjSZnEymcxb4DhbtmMk0bbafv9AtXZ0GCQNM8wbTdIx3iYluBIgf+25rZCx2
WGkkB9f52437boPNuNrg1wxo7YAKDK63amI4l3wDEaMSUY1kfnvsDHPDEyVsITXcctQV7RMDDIWN
VmcGO5Vxj8Jsysj4nnpJciFWL+A+H0+lEj7GrEBm/CSYXUPvRS4sUd9zXujNxQDHoJQaiCSeJpfr
xx8YvRF5wGjNQq8fOh3qArKgGCwjRhJCEb9DgibbpArgGBPkvcXaP9BRYgGiVRHlFNl4QZWfFJ4I
izyXYrLjboVimE6Hj9CudkgCpj5YOMhoyv6J772nLxv4x3BxaTNRFZc06JkykF9f3nrQPB1jfhhP
ZH3n2i3ljJ2UD02/kSKQqo+hgkoMtWu31f1zFR5Dfe/0v/2MnXpcJE73GNrGukuagxZDarv/DZVH
pjB8EiUfY1ZMxL4h9cEglg05gMkDHf0cdxsJrJJxB1sGtlAFgJCMnYbNbw/VlDcONz4xbUAMOpOU
F5E26hq24PmaBnfQK7CQ2EvYFURJxQPngz4vfsGMnwX5LeXKlzPXJCOCFw4sIZab9sUTRWn74a3n
2eMgWYWMtIZqYDD6xo9VYjOMHWQzk/oicjwivA+qMgspqWZErdEQat4/z6TBUUi3sBjaUWr4yFym
0YKlnb52NSOf6Sm3oB+Ax4h6yA7M5DHn/0UKM6RuNY7s9qFyI27rQryMB8STIOYxpEdSgHD8lO20
Epx1Zd9qIPDOvPDEhkg4XErDa9eo9Fgtpdk3v34+oxFFikS+smIfomraakfL3GfdufCe0/ldIWvQ
f5tCm1whe1V3r543bCKq29T5SZ33cnxgKgdzsWM+nSTf1nFcZT4UprMCHDVhm8Ht1oBXs0gx8Uwc
tSHjVRxKL1b9T8ivCYtkddgRPYgqkYuAA0vtzzry6bou4HDBGLatB9QAPTuSMsjxBwxwqhpy1V8l
Up0/E5JKGY7azrTvnhqiWXm2nDP7McoX7PREfJo/HrUS6cCroWleW3JVIuJ4pqbZBiDQc1BXFlUN
IepP8lZ3ub+tPA4ZE5sf6Gv/U9E2OjQ+XEn6aVLtpQP50USDK7KuAeU0MQcUIeeysbedf5e/F10e
ArUpz9ceL7zHM9qyh+DXK+ofXgp+qE5AuiGVpHpjcZCCsu3QFi8ZqN4K7w0qxMxmliAuBuY1xv2I
h1qbZGpI5EUOP21mUEsZIser9sK0Q2CxMuHBJu4zTSDpgK7HbpaDmcJ3oMCvbjTernSfR47L2nqz
2g88cjxbJTK2kEAYgb+i5d0Uuslr+S49hDeRI0UoaXyhO1m2yjmTQTbuQbz2ofdp+8GpbrAN8UXw
W4AUE11Bxt7M7dIDghTmDijQ2HLaVBpyIgPzF4Qs0YIIGhTeHv4em3ICDRd+Uwa1W7xRVVaASRe5
Du3zeJw8xEdMN5nV62geiSivKAwVJqNoL0rKWJH21vk2iaAxwQxv0MXDHUI2gzxgcO5utZoYHLl2
tPIe+Pd5H7b5yQ8iRETwVlP0aUF4AmXIN2NTJ4lnBMO6AD35rxaAqcuoSp2yHbWCwsgWe0RaOyv2
uqqkG23scj2gQxsYyitj/jjr9WPE1rRJqw2sEurXJ0/B3Nqxzu9eJEdIskJc5h90jiwePVwcGaE2
IoinLurQOOuts/S9+l537xQYsudj+VdmvxKPYqlbefA1/g7exOyD00XufV3fZeWIE5WWladZJqMW
+ctzzpI/velewm5BrY/SL3Of6ve4TinkuKHG51p/NO1bZGf4+DZIhradXeIgp1nJ2NGngDpRraUE
1B1Y3jNCpPuRKbFA4GSyLWN1vAHINiiUmE4SG1z7r8ggMraoTNVG/dAx25UBgoGcZ7LgPyn6eUDl
A+qyNaBisDMYRkQRmoMERzlrsY4e6JUegLIFBxS0ZDknUJzkTrnS6/Iq3XT8M9Km0bdd5UaV3I3i
BKIGtebAExcQdODXBROgcF/AC5YHBc9WgS1WsNQo3Lsq22IxFRwCVRHfP/8/1rMusyaFWoUzXTWw
VjsrETVEDfMTVjNcmng6PO5fWTfJpLVTaaR4GAvYeD4fA63/Oqju1G9bsD/gJkBxzUDdb7yCtnkK
2hvhCNJcE2a8zJnk8vWL8yBJoWcw7vtuP7on7aWIVoCkPuYP4yV4C777j+zb+50/UHdrL87L9DQ9
9bf5GRfj5/wT/Rse/Vf/1X2dn4dH/ct9Kj/1N+YU52X/8tFdx2c+f/uTjl/9pHeIwgXpeJ/+q/Fc
snxk+sccm+SSd1oBdPQup/mncCve+jf3jn7qiZCbr+F3fsx/yvcWTM3Kfw2+xmdqxGd2TvFCfkQF
/fyNWox/E5+kv7I/9VV9Bm+6HXZMy87OPuU/3a7bWfzv6Wh+EpQULOp364MIho37OTPXDuV/3IfG
WCmew4bwX5UwiKjufKzIJA7K2lnT162jLekj2/axO6cbUG8/4xHNytk5K+9SfIMMo6P68k8IKpfJ
OlvHKwxGSzBOO3u/iLbencLrlO6Zi5zGjXkwdsW53NGKL4YNQXRXYucuxUl/tB/AdG6KrbOdTsQV
XvCoHa2ds+n3yT25YJK8RJtmh/Nli7plSfz8MTsHB+denOodjdA7RszlW7N6uD+cOn6CV3tBGAqo
PK6iZbOKLwBqL+kFbM+22FsHZYv9Bnvqwts6B6CY2+4UHtXVtK+X+qJ4qLcI4jbVqV9bB0QPq2kF
dmCvntAs3aOHah8voCWTrIfwNL9MK32VrIqNTrO7a5dKs7FYwswU3gnwBgw+jFx19lJp2tJSIhzm
TW7UVzX8HMWfM66cSkV25C8qOXnCo8tLQJaoBRbAMLO17j/59tkwmcsoyqKiJZ98vkt3idEGTc/M
VVSVa0YjM+m5TjTt+onBJ3vaAVPbHOXr1uNJpGiA+ewqPx1qCT9i9MfDOHPLwzz0gzcn+mJIxR9z
F0K56FRyR7k4vH01/TD65XZLOeVD3H/iMp3/4+m8mlpHkzD8i1SlHG5xtrGxAZtwo+IAVs5Zv36f
Zqr2ZmZnZw7G0he639SIDZUOItdZSQAFJZGSERvMbGJiPsnWu1cG6ibOzAcXtqow8/NYOeGyCNIf
xmtWObBkm6FeGDUq9+gfSMRDSsyQIXIu2z7lGj0xdC9eqgexExR++1Q6ww6tPPoDYDwgX9/DOI2C
epyPOByBZQ4qJwU57au+VTlHYdrUH2lu+Zk22RM4+1DP5x3EO5E/qGN0DvQIJwWjiqqI8mSV6u+e
PdD320L9x5gixm7vaxcqlQcbeZVFhnSqnxvzUjDGosa2w4ychvsqZFZlY34K4sJdTyrYUga9Z88e
dW5BVjooAErHXgW+rDPsC1Q2I36xdmNgq4KY63oFQh1fTEeAh/13whk4FbhuOdQalyRei4guzAm9
GbyytPZ2unDB5gok+vOv9WsYDKtK9/V0FVslUKdF+Advs0qBxXG7dws1vplsakZ38YwCILigsd9q
3X0xs5xpn89ujxCDSWGAdQ+qgfCovphkjLdF/hSpOha0dBXgQC6c7wY2rkpOmvHVApqpHmxlePUb
ppqGKO2zO6yyGBaacXzlHMdIu1RoU5jW/BCERHl8Jx1Y9LCHYCZI8S/uJEU9WqD/pTmyzbvjuoAO
LznD8+z1BFBPQFffXwH7SRUzqWqBSnPKy5IQY/ktm2OjVpIS/hKDJOEJoaM0AE8sAAldhEVUYAwt
UZDEzgbx6ojYQ7K1J3NZFgeW93X03zUqJYEGpP3xrZ1HbwVGnTPkt2teimA7awTHK8zm9O7UjyrK
6YAk6xIbV2TmOzRSVJqK+o9LTHEtYgi+sNWzGZyF0yogcwRcdac+HZ87wh+lOc4uOYMFWyIf4mAv
xhPcEbpOEmsCrJzHj3wLbsiKiV5lgoIknLZMrgIA2zviCXNuPFi+eiB1QPuJMSCEazd/4+ZcRgoF
HUo6yqmQP0kQeW4SjQiVq95N4Ig8UI6kdMm44L4ZF0ZRnOCttOImjljxDWvMa542Dkaaxj3PUFdY
JFr7aGrluqMLkctX0QzMwYycBuYkCZfJTUp2kQmBND1OkHyCjWjW0QMRM4m2YAQl6c/jsnQBbB8Q
ZuEJxdWdgO4oo8EIwmbt1dbebRYKHbHRPIuHzKVPwLC3ckxyQy6J+c/vNjXIsnl1uCixyFifY27g
VIi3hXpqW2LE8k1NYg/pWpLXTCrWgHuEdsLRNqaGjim9sJVUzqIS9GQkRZEHWCSwjN02x49tSWtM
kKNrguEGd6+n7u2Yt41tKiVj1l5ZmHJKDvG9VqLt5s246Kb95jbjisqCauFyPpgmZaeb7XE7sVx9
PFNkgx5QawNRMwhPJrkwNYDzogJrmaBch3bPas3qbaCsG1Z6cOvSd0HdzBTgpWQQHqKTGbkccx9K
HpScJcL7or+A4+OVIoqSpWezzKnhOaNjmWFAPS1MDOlJhFmtdGU7T6fSCXHKMr2IwHDdVK54kMlp
UnYTcgo9O4e0igrSNzqUsNd3DEl9DEbSuYsVTyMl7b0tMXt2lyRLLnUAY+BokJpMTO1MDthdSV2W
I92bSK3Yzun4nvvdQ+XNVOBpchnd/BOlAGAo5khV/c7r+om+mmhMvEGViaSD8bdAQ2S7B6Q+STBC
qJQ39DPl3JF3i5ARQgu5bO7UzHlLWQe4sr+0/j6mytpnfyGiQZ+2byhEdP3ikPmhAg715MPOTQ1V
67LDPCJ47F9nZNbDmxaXKPG1xRxjDGU2t51hGEJU02rJvjc569JxKdaXkWKyYX7OYJ9zNEiDmzNK
lgcYNhcvv8kRLIbCQh9XbUw9RgZRAh5ENzpjuLJxK3b0ktZQHnrs1j10GQE1zVgtjDH/5FFCuTVv
uILS4Sr7gP/VTQ6av71QpinDAdv23GuQUZrUKeU/GLdNGdrPIarkcko/XVo7ifvtVCAaxIgcLxk4
EuKuwCJ1C8JV6xDKuTvNqBmthTwIpMviv/SnnATsFe1RTALlwJxkYop1yAKOJp13SfDzNP7SYuI8
3chezyzIWgQ64axtsqBMELOxPSs8RWkFMYDQMZRM8QLNXuoQf9ds9CRd9QLo04ZBnKqAAvMXv4oJ
aCIt++Aw8gqav2QvSUxegTCc7BllWSe/fUNODuqcJDdJAU1fiwhlcQz0n8v1ZUNRm/yEaihOsZNu
3RzYjJN7yEq552Y0rIgB+ZkVTi7uUOKg16P7IaAiAmmyHZgEWq04GNQ1ydiEHBxr7UsiyhIUv0NL
WRWvOPws70oukkFsfqb8sBFmqG5MZak4R1F36qr+yEaUb5uLQpIN2eIW1NKfcb54yGBKXGeZzbHC
A6iyRz/5CjjiY4YdphZ413Ue4K0mwuj84mHorAc9QMkb3SZDWduAWVxsEWl+kf0rtzhXuzw0GXlQ
Kvjf2qdECpKoWRlg/TSIoaqsjPNf/ZRmextmecR8ZfC+xYM10sX1nLDahXafwWUqfhL+V5rUdGT4
qwVgNdEhXpN62FnTkzk3y2AT8qfH9LtPlmpziTx31TQUSXiJJHDdXfbIcRQGURPmmu09OoG8ZsRx
i5LM8bfyMrnxHKLDxDfmMBqFcclNdJhjDCwGEeYFGgoSC2HpWuYjxpvMr+9MFjQjwqcsyEti6yvb
WtZz+5iShiA9NyWVqr5aMdP1pmtmYyaODPrgdAexvm5a95jR2020eqq9Cw0s7RNnqdH7qPZACaNJ
Dv1Q7VayWtSkW9VluaFr8w4l41xiasRAZjVj1RXFKoRIhwKX5+LcvJGRiWw2eVgzf1D+nrCQHSyu
kYd+8sZPrnM6dYkauY2zwH/7CMJM7XhsrYKXgudTfDmjByCOdmVi1xI8hH1xWVAuYuUB9vWt78Dd
akZ0qGkKhgFnP5ioRlMA3C3rCPkgHqwe6RtWSeYaV7AifvAFaAUUbeoEYfr52uM6asZpIfsWLnIr
O2lGNpWhog1QV+akDQZG/Joq/Ytj+4+SX5cHXwAB10pHXUZuApAcr0uzH4vpL0xnFXNYacin/fQp
Q5vLhg485P0FMrhbCKhPRgsE53JWgQUpjeT4WbgWS5fokuEqlUqMRQVwSlaBwsCbK7e1wwwr/BYK
rJpf7wpoFSjqivte5o6aV86c80hggObcSnhkZjitQziMOSXdFK49N0aoR0490AWtvoCTJECj3fxc
EoYmFI6iP/rYKLqAmWlV/ZQFIt9TLrXFoBlw5ffUzJYKyBbhFDgjmcEI8M91gaXzi/g5udQVg6Ho
u54BpxlDBU2oONd6dfwNk9nWDEeZ02Rdd8XBqdsnbGvOJt1NOnMh9Scs855+QuYVBSi30vEJNazH
b0Xfx7kqzSGyYxR2K3I3ydiq/fbYEXSbhnyPgRKOlsqJu0PTYTt+ZjbeLWPqZ9P96NMTE/mK/MUb
SRLimOObMNpom81bfd5J5N/fWFyAIQKeK3pLVHADfgAcb6bM/+iiBz6xoCxEVgAnEVU3W1JmAFbH
bjU5dLkGOKkUeemzWvJFicUHSqxQvU8Kob9D/lyTxVi681MwvA/em582R9RQaUB3GTyZ6YbpJwwd
x5IPnJDhCvbAEb+wmsQ91x6KERl1hQVKRBB0XjkaegsMsAKJsuEACJKThDWpwDQgMX+BMEZuN+Ah
mJWQxgL/iRHxGeaxhaAQuQBUn80UNZbwnxQDvYSbvhnI5kTioGZEC0cONhy/+pfiu8pzdT0adw92
pfdb+eWkr7WR2RgVDn7P3bJzK+2Lv/LBOmJ7lzxg3hE3ObOTmYfiQK6gUyb8SjzdfPnOcEi0wAnI
D4rVlOgfzC/0bzMWWe1jRInPsJOY8dgyjDBowWeq6L040GMS//1jOwT3OI8RYUhjqBBQBtzFw0FT
4bM2QPPL5pgTSsuTUNUv+ldYysx7U4xo02FC0VAfeTcBpqVtSbjoq3nZRxaDkbgmcQB43riJgumC
h2CHR6EJPzqiyuwaXwyDx3C+JfOP/NEZmYtJUghAUI3urQ6GxwnVOWiqE0wM6bIOlXat44OXGy/Z
pGxa754xciBBfW5Q8RO96cT5wR1XhtavfQilodZ2vh7BwSLhJZQc4hEkVOH0zNYDcWbjo1Z3D+lV
N7Y8WFQjgOgtht0GFZA99Ggpg5UeKI9G1txoaML4JjmwflziYzCo2NUSKdNLXV9Vilcvmk+Fp/5E
U4KqHVUZelRGoB8qxXth2WCE/ZB7NOiZoxWfnOHCGVgqjzHlWlajzPzMW+Cek4bZiij1RcwIcK15
76biyHosqeuRzViWD8/HXHti02npzflfbWPPIzjf6I2tCQY33Ifxu2qIBCUWJY8PxpMs7rp+V0tm
Q7f6wvXeUsTjRXKXBdKUwapFPVmOCAfzr067EgGxbmbe9d52/WP9jZEsMS8G5+c0QvgRB6qFXzEc
tdlPKNZJpcy/SttbBp7y4DFakvz8c4KPFZwosbxN2/Qbm8EJFYfPjBwsgWDQxATpK+tcb3eN2R8c
NT9hGpGfrXaEPXmM7e253kyyITARxF8FfEVp3t0+wm0MeIB0kNwsy9dx51Xo9rp1AWkV2uGh9X6G
v5thKfmPWWFuNI2XLFAykggkvKmkbUO2J7GH0GZPpkMZ7OX+ib1g11iMJ2uag1PeJepOTSqi+wWy
DVCoOEyoOM+Dy2oCXPTgpFofkYjLeJto4aI4Kp6htdKnv6odrhGNKJYjgYMWbg2kTUa4WnvrdnrK
YDnM5NFNUGKpGLxxAyrkKODgVHW0uJRCKcZuG/9ox/J3bQ8vEtL/8NRbH72H/KXXMfCEWBOKFQWV
6/scaKcOAbk6qPCktIDNuNYyDj533piESDvzzihOA9fIBEDXRcZFjzia9YZeg+YyntHXdSvPoL1u
QkIWMQOgCVL0jdNhdiaigPQpu8L+1Q2LfGTYArWmVZGgl+j4iLWH2AXoBGwuUs77eFEz/0v4Twpb
V+rAgkk+dAL61UJVQUhwql7TNNlHxrM9oJ5X0ZT+Zo3LaPdqFZrW2aterJgyJVWXjFZy+9fJ0dce
7U8Spu9p1xH8c6toSBRuE/mVEtTlhY7L/62t8a+HerYZPOwHZO1p9kerV6QOj9jV8BktEzM8RJyk
aki8ymw+mf6vBEBlSbNKkGt4GbALeWiJsRzn9mGylR0J5T3GviH8GflbCwfeMEs3RyCPKjOlJkJB
Bt0daowTC5lP8x7oPw6Ptba4zHqyp8aOFprcxpqS1pgWBF0wkNzgonNQHEsna6MVBKPIMNEF+MYG
5vwRxgJ9oTruStNfSROI539ReEXpiXCvWE9dtQuwQGf4nOaSRs+Yt+FbXzEp3k62U/40dTD/kw0u
6h0TYgx74q/mfplllNp+8D6VIar1+DTkV59bDYHbcsxvc0cYXc3BmxSAA+LXqZ9F8Zx6DRMmyzX0
t43UrzPHZe1rB8NlcnSfrOahvTY52pEmhgO+k+pRmPDfDcAByyTXrcVMkpMe26ehFU6Qb4fLuX9t
gu/Zt1ZRikimJW6UJZaZ7xysWaU90N/0X/GoLJJybQXjKR5JCTHzy9j/zExYh8IrYZoYySKh6RJl
QJuVlqjJdBL+JjyfVrRVkWNOxnNOjnbZPdjerzH9E8iA9Af5LapQXxDI+W2Wl5C6BTCjJvZTbVBw
eSd0hnOjkVvwSXiSxHBMKEBt2rmxRjsagj2jW2lYRwbN6jwTV9Aj+VY2XYTrFHqD47dGRGbtqboj
w9mRP2h009NH6Lw7ACBZ9IMSJpcgrkEn5haKjvrWT4Ll7BdXID4iWNBxrphxqADxdol6oLntq+Yg
BW3IHeIZwdo8pzXXK2Imad/kt8+kRtE7nBDaMyFCzAHJ8avv+W5lb5wUXiKclMHJ3RvNivh5+0pN
vnOQcWlEvCYVVaLdLjQ3XwsG4kXmU97bK8mVFBw1gr9yJe6IdHL0iKJZ9CiRHerfHPYxGMj/2kjr
SGO8jJL8mNNGVW0PYw0XXvk7whdGBnJY5wj6lWEQDWBDMxPa5o/L1nC+gmbtg6y2ADpFvJzyR6uG
iETQR9n1F1ECoskrW1FVgDcxy5UnXXzJ8Tqj0KLDdwCxHGPPKwXUXwQ0Q/I+J/iJArAu4PXqRPCq
u7y6AZCZvEcrTJZJ/jQ+NzFBd8jwVArxBoJhqt1HnWT/OH1NmHeMNJYJeGGY/tRuzngSEFGjeQQB
IkZMy/lrtuVUmshmbfmYCvHgADNaUhiETzNBPoMujg/ag+jk0cAyOSADEPLgxAlJzKZDNRHBTV07
MkUAxrJWgRJoAAu5+NFzZE7xmZCbTKMrcK0bOhH0q5YuNFalubIItOzxjDhJzOP9lKr5x+l2ILOV
s81iAO2WGKSm3SiA1obSLHU0f1qAAIZH03gkw4T91mLMD9CsYCaN1u7w9Fb6yS/fPSIBET7b0KQ2
eIhFHGKIV63AlMFs0oV0ZlIH6nSJKcYXfsUIWj/vkfQBiICX8EOBTw1wIg1xqnq0gCxSV7LbF5jN
GQ/77LUwydFeJNXeSrXHrUQMV3B1oM60bxAieGK7XYxkhL4ssOmTAJBrwpV1UvUV+0YNyKyUgxLz
g2w7eolQSVae/qx3+Iip4oGZsRg/S18PibJq1JHMOhUoDMuHD+0/OFvXyfGdrrKO9IyEzUjqCVAp
Aoh6VTjVG5mYsEfhSpzKiZdtrHlYVzrQPFRG6jKMhScA5FBBizrRUaZfSIJBF4D6sUGleJfqnNwg
BYFHWYBOcppk9hNysrb+NfzhsUmtDZL0tdTCFiK1lPsI4RL316Ixaevd5qfL4nVau5uZJIN+cDfy
PkqONDPXgNewgVJx+LAdUaWt4sferW6Vd3L9sw8xNCEzINwNWmZXED1T+vPGDtBTubfcKhCiAtTO
+SoLvnUsMohCXKoeGlMJKe8CDZ/RkQy/yCHVt9/21kRIHFG+LfAkHxmsXMjssv0i5ZAGBcPUOtwM
DG0qFW3Zk3flJYRb9/cBxQOVeBs1F9Pzl5ER7vFsqwpDs3QfFehTqqBTA0vVdP0QREwPIVlF0w96
TXlCCNIcgGCia2DuY1pB6oTbnNc0uheAec+WSF0UCuz8Bkcm1VHWbaTXN0Gc7GvXkef31wGTtbDK
DIKhi5MsMFGyVchNFLB7YSDqY1xhqnRGBmQR2EAFM9cq3rejPn2Qp11FLvfe3faoFND46sz2sozl
gMvap4RpEGvQgfjMptGOdYgyqBAdGT8UA2TWt4tmnvlKZOzNyVZWh9BmcFNaQBWbFcs0+QXJEZdA
5KPq1j5lkSPObIxrpn0gzfnr8eK9gEx/pSIo1aATd1DE6yE2dtFcvJXmNiEkUaMXYDZHhhzy2gBk
0fjTBlL1tuOX/y5onk1/+reN6+glNY21705nS6WOU1kDkB4QPuX8iWcXpeSGr9D1Bn5uLkFNJ+xF
W+S4nF4i3/wMCOTToYxTBtjh77R4p/3RY6aGjqdLw/yc6Hcwqnq4C+iMlBhBlBq6WJihqECL0fbQ
KE0fHqHHA3y+nw8MDPSWETLIjJk700vdXsAKgI83zFmh4gqQY7X+SzaEqxFLtNKPXxUIajmEa4mK
FHJWoJW2oKY1So4Kkp94z6SR7KTOM8iPOtvkZhZD8RSAYLod+DJiqZzb26GIYPYFpBIf2Ujqf0TO
D+UnFk90G2CwCWnGRoS41lRAupif8Oa3+Erbo3CcJUAhUhdQdImLBJd2K2XFHSFrjcdph4wPQKeW
Mb3W2I129xDMhPoj1tc/0yldzX7wUhrhY1Pimy3uLt/fj9XHqp0XypSdxwzmAHWkXp51F/J3bxje
h1Rxk+4+Iaw/9jhKOdo3crSPXB0W5W0X/5J1y5DrTxt/et3na6lfgNAXHc5UmzhXrd7qqKAHIDt3
qDaj81sC0rDO25iI69LeInGOnFUQdOThfhINxTnEdRqAM9n6AtZkHflfXWQ+RHF8FpTfy+5ld600
WumSafHWh4sGihFjUbUllRVJI9HLFYGeuE0b67FFO+DsK7T2RDOhvp6XqPW2Lc1E2GbQi69N/E2J
N+fuugFx0Yj1sRCeAPCOJSZXKcobKQBE7WORPNQx2KSoimOHNYgKDbsluRiFO10qDiSH09IF+uMS
tll8fsL64V50+kq0plyjU5mdrfgbKM9xbwEMIApYZYXA54dPyYfmoAdXbkFJQHXIgL7k6JQ6jib9
XhGsMCifpNfzZkIv3+FWAc2fCdpnvqIzIG7KSKuEQ3P51IoJUaGFI4xa3k+6N9s1zy5nIZAbDRM/
YaSNJvZ+ckkF3bXaXVAudoJMFZBXw+wD4+Ti3e2baVuhxYF7KueQM4YoM/IRbHcbZOVudP2NjUEF
t4iTHwU7p6Wv6GhTysZ5PPTOrzbAHhZMBuTbi1YhpLYber7YXWejDTE0w/wg2KRfzSu6Xam55L9p
JfiRiQz8NvTrSLHc/5ORzXTlMVDvTEFwZCz9mbJWKlypIzgReVnxfLXZSHV7mCLnI2AlQNtK49hz
30g13wPAVEFH9fIuhEJazA8gWqT8/Lkuhn1a/7qItj391SS9swHajpIrt5CpNwBLyZIaT5I3DesW
MlxmQD/mXrxQPcbcPbrPzQx/JsU9VwU0qJeaW4fEMvVVgcPqMXxLwVv/G6k2qOCsbAPPiQ8TToei
chixf0GBzIwLTvjlGiD3xM+3aaVsfbUDLkEe3P+DLJeyr4WV+OvZb0FJhUKNLKW6/Fn6F01vsWG6
G6GAOhY5cxukmDdgazwkMr+PfXmWakH6KgIwaP/+cjR9/ZHRa98B9Yumk7CABmuIG/4V84M4asYu
WlP7044AwstJhl5/iKh4wX16Lp6/CGrjaFD8K/0e2wEAAOkU1dVwL2A8jHNBqpNYZ9d/llOtsxr8
F/VSxKCyhKhROEbLX9UeiF5/nCHKEPiMMKmceh4SOy0iPU0aGaH1yLVrOyxnvA2+sJAKcUKAXn1p
DfAlijeq7si0dwZF35ToPCGM6GxcSAnS5IBlkW0CDhfaJeGWoAOgkIxfDNGxgtN8aAwCge7HeTMP
SPSVTZwzFJZOKbgqXKpSx+t8JejpFifNcO3deIkgRmQM5AjL6+Bw4Vdp6G4yCryUIbfsT3son/38
NALTTmj7eYDy0OzynhPLk9N9eEz6QgpAzt4nalY+YiS+KFCLfcqXHRpvq6FfTaZoLaOogrvqXDPj
MKTfQg4Xai2SoHn8leWoFJTMJtJDzIIEq/LSkCVCGl8zmLyERc48PiZiSG91tDCNRQMPhtfA1ZTD
Tfj9gOuOgQ/ZRSOAhBuwoIZtK5mhvKlikhaVkGvq2WW/acOtISSW8WMD4itPuZYz8DmZLqsRJIPx
T7R3CeKNSi6MRympAN+y5Ddu99QPLKQZMm48en76Ffh0j9wvfL0UnSmnI0myXFpTTPFVwMEyBhw/
dZmRgSPj4rUDF6DDhLZipPOD5rawTc3VzukQBwQY4xoyIjlhEsj6qWOhRF9TjiOg+Wwilzx+QFwA
GiGTzfBkc6FMUfLwrAAmuXQX/I58NxuBBFDCVwk2WPLyyQTkUmIYuHqRdSyIDTKaEC7FGH6b4lk2
uWR89y2mL3hnmSqFP1uONIXS03Kts05oNQMDJclbdpPuLyUFMccoaqjJnkMXDJ5VwW4b4mBZwHx7
r4H6yRUUHJtgfPB4NlqHakaHPPI2ZMNWaPI5jFohOsol0zpMrEhUURQNUxATV5zfLOXceUjiHM7b
J+HMwUmXCsThzIvxg0NCEZy7v05iPsRnYdAxc83A2QFTKYixC24eRi2lvzErFeKL4YuYbaVwwk2i
tP0qoIFnTA8NQ6MzQRfAyPQJXNw0wwY+g3vQiAn44nnjMiFJLACRh7/iIfKvSiHw3Cdv+iZ9u7qn
4bPYgiCrhaGqcoJN3gIkvFMwrUUT5SLm0Z2btBgaI58t1dyNBvud9lvy18k/dZ1kYWfqyguSx1Hf
kSKE1iog+XHuEWhSqqCLjrHAdmG87tAsu/PANPsL57a8TghIjV5LtEAhzn/HeSf5jr6TWzYgfLSc
nWeLwYCDsyBRPj7Jc5kM/VQmKmkzFyKF+auEsbaDz3QcbYXZ2yUUQB3tc+uBuMHhjhaKTi4unaO5
YqF3n62nPXK88BLZYbmVb5tyElEUb7Bt84Uj7TNGb9S3/FeqR7fLN9LY8qDpdPBJpJ5h76WYsW1m
MBrxUrVga+qWY4TIJyh7cIzoVyPadIqhpqhumL5aIru9h81Jaswm2OXNG/arLkPnaV6k1OdHBqUo
mkmm+MwRGzh733hkvYuLYei5A5nujvkKd4Ejp052NyKczKjCvbtnpgtn5FXz4Vyg6UQJUjVro7l2
gXnsWtwFGxZQzdwehUQse2bJ5F9ER8i3M7lOVecsJ0qIKhZll8nuhCUtFQOhPl49UpBQrlskJYSc
cCRTG7mzUSbRMIhAhEeCMSequWj55Uquo5EWH3w7GTN0SptSWdqMtwPcRYu299T4WbZ7f2+saFNm
wNSMC0EBjkwKpb9PGTib/UllOKxujfL/WshVOaMZAoVM5hlFmZ+vBm6VAM4fcT6XWcQASqy8NR7H
CsBQrh+kP+hCeug1yhWpuvgUmkoVoVbPZc0/ceAycA9B4g09GHXCSJalqPF4LZB8lHB8EnpIqXOC
oGW2B3G63AlCxPpV9yitGc1yhmRCBByCvYzmbkc6T6HDMOz/BLUCL9rExECUmmOyNYkdqI78XpKu
zBd0w2bfofjhAffmRqBAHq6cZrO1n9AJ8M56dASpSZUBciK3DXWz2+9CONo8mdc8RXPHlI7tDKkv
IGEHCRZG9as0B82ULkuDzQEEAeaBNmU+KbB5oiegxW3tS6dEnHvmUtAbLKukpcl80hRtVcPRG/Jm
KYJni2Nc/5T6uM20Bc2pPWbUgeCy7WL2jXTBjiD0gHm+XLEGQB9xkQ7DLAtm1gbA42gXaoLqA1Nf
NMPd1vSNQEjIEkacio5vrlIk+bLiRZcJtz+QVzGHiD7VzxaL97RByKLjzxRVjIkBJWO34J3hskqg
fWmQOMY1XOIC4fE/HWTjj9DAqbgM2Ms9JvJy3jCZbUjvAwhkB9zRbH0muBOGnpECSG0i+ztHRZPr
N3SDKthlc/HpROTk4FyNK/ptQXUq8jWY0s1tanXusacoq7KUENwVCh9Rg+lkB8/GQix9igS1Y/ZA
VexyiwT5dUby0cbfPHsOTynkABG7BFJQxxzyLAcKfiGByAAP4gFFCkAZYhXnM4XUjeWs4dOTzqXb
+uoz2BoIGUBl4e5NJqsL9SuvQIhQw3yBCs0tHMYyboJDjrnwUpgsPOoDMZOBGBdnI1wrzNqVIzsF
LwebJQF35lBQeEIa1QTghaBYcrn66RuvQz7XYV93aE0RjogarGkvZX1NSzRGaFZjrKzyJzvlIysk
hfSzIIYXARk/qiakQITPokdRGGyBB5cMOheNS6Kqy9pGUAFoEe7Ji2wCvsyArR5/JbeIY1VLBwZw
1LxnM+eJO8UaApb+iwnAgPFSH+jdIybTZeSqJ0L2tGCXJDslEM8dY1mIM+NQzMy1yfMd7GLReOVB
jLXEvm1wToMN/EcJaPmAHfc3ULYaQZsyiSZm90bS/sEVpeiquiTb00mbyLJ5WrqHN1POdBAj7mHX
eJnIkOncf5ryxtVJA2xTwxkkNhTjulLHN6IdMpAwLdpOCkf8z8CJFbLyWXF8e2nhiRCnEpeO2fSu
DfWokoVH0DYhTJJbhwCGWDqWA7zcmDP/xUZq+o9pTwuw5j9BViLqBfNXwPeMrUZVPUyEupAEgBhD
0aqMEw2lDjQj5rWgXLPEEC2LUMVyrA1rDnGCLONyOEpByj/1CCaUfofhGQU0QhwzJ/k+w2y3oLbM
CebNoXMphEimIN5Udr3bhrsOhkiHHGCqYXZPKPoweWa02wCpIn/ignhGM50Lbk+XhVVUV7OtFsOu
5WIkgHnaO8rv7CZ/G6oBnk+ppCaC5FkkcL3QAA+W8twC0Q5k1WJ/wPMVkV+DEkjB199jYhBlPevW
4oYZ8lM+Mgsme7Y5sVPKcz7nLwwk+WW6/FIk9Qb9l898k7eKfLs5Jp8Cf1p8o1/tiHWBi1/x0UFz
LCibCmVp8YhFwylnHbwL0nR5tPLZwwwmiQRphvAajgURU/AqOyJM8IemEheGU4frugRvEgEcyv4H
Sh12oklbJsA91Yh7rmLKaXKRbMwT+YvteTKYnbsNwVjiHEssB2oLscevBgjPlUTVSD/EPWpGK5GF
xzJYB4mi232nbHyqHBFUoaGiu6MT4LqjfRagH0SAJgsAROAlJ34ts2Sj1P5OLnzf3dLraMP46J/b
ic48qL8cvdkVNFq595rE1kohLWjuHAbQOQ8lMC59KfWV1CxZ3xNtqELTm1son5D/oK2jc5QjMyAM
t5OlOvBfkubsbmsv+TdDOoMEULLPo8OYtwk2FeEuF+zaZxZon0A8eISgFGpP00TTg3dRRw/vWxkd
dLNuPbaDeZ2Gfh9gw+wVJt0wa2c5s41LaAjkU23T7RqjPgk91oHNQ+HqV2ny1YEDUjRwHBSJSx08
vBdxxUQ69RFd+DiQJjfn0N/Btk7stbvGl3bs7OxOXMqvrBy5mgJ1OMY27VflGtyPab4Y4/6fqoZb
L3E2BmATq5L8MEqbnO4YDjWTxtH2gQdCVdqsWsGcrH9xBjDWZAkOoWeE5M1HCwQ24EWJWk8tZrLf
YsKmT6Iu9ADFBAUx0ESnhDyZCsyG2xwEsJP9QwW5KZ2PeUi3QfhdlSgCqln6BmmLseEQ54SjkVfL
QW2zpqU4V0vTRMQGE5zuk+CzG0nrxlwegSehdX+yhvZrCBIgzZF5YVfuKFpV7gBKe/ShSjd+ZPTZ
eUtByRErl+fIBe21LuNNQKOAoZDVs45ZjEyjA/Ae07tWtKcePSBrFMnLOwcNF73DERajw6lYHB3F
0eBpa3kUrhhtI3Np9KuCCsScXAxpUAld0K7b0L4EFW6FxJS5ymvL6l9NhnNZeXcmcGRHTSwQUmO1
oJfIdOOUSaZnG+18a1IXcMpLY8m7kIIDdNBMozeq7xpZIp/iefEy0vqf2AqWnWsTjBA/tC4DylBJ
EN7h+wyopt/nwkufRaSc9eYjTtkDmw6jx2R1p3aAE+GnDIpzkFpboFjb8Pe5jfGlZTVMXLPdKckB
OGGFIDfA7SC/vhPtGbgdihosOty27bFIiO9A3K/xXPureAkGPBJ5ShRwnb53REsRWo0WmKFFo7sK
8+ns+R8ut4c9fQgi1HsdIKtBSCaz+LoQSB1lJfHuDTN0XqnwY/dFm7bagek4Wr8pfGMXdAoRbOq/
sYpXGQyZQ9M3DISv86+nPandWRE/5g67qT+aTGTyWEaMWCuwXWeXP4gCQx22HDANlWkHoHimuU+o
hhwX7UwA6VhvhGzIWDJZx3dRfaRqX0lwEb0c1AzptPUT4f9a/WlwMtC2Mh6XoA5Xw9RLgFoSP3QD
taWYZYovP7sjVudi4B+lMDEoFTIoshAKaqwPQcfllxS0MQgE4+5DmDNfqWJ0hV+ayngu814wWKMa
1kmAr6/9r6coKGSom1WGjnExdgVcR3gQrPHv8ONOG7UFVYygBDTXglyCUUm3R/+JDq+bUwy2FcUS
A89in3GaAcNymJwJACK4L5HbpJ3gaI/G4KFwznJ4Ctekl0zb4aWZfrMZqCcEbbKVeGsXw4MP95aK
2L1+pcmoKwhwptfbsBik5VaqhR6b2DK8yRQrJsKoBvSw0XG8Hf/OAOMyEj7j0CcAoSmQ14h5wZxb
DhDeVOl8RjwC8KOwg6uB+VZJBXMF/DHjnT+tDTthXunZDNuTBa0BvBHHX8mUHaIU1bBLal1zDB20
XrTUMbwl0Bg3MhINriBwlApHXTFcTOt7EKdydaWz6Uk+cPEYxGW4ZwNQMzfw6sBHAqw16bOQAdJ1
c2mhS7csF73SRnZLkrokchOXIqN/GEwGTl6sPSe/WISeIENWm00LTuzhMjdykcx/daJZ4qIvEBVj
5+hvDhYdNBbS8LRUGJROOfgNF+U0BPwTLv/smVZJjQGw9R4pKGOT4wvWjeceoKPgmCyL/p/8nT0v
Pa3ATybuAykWEu7OhjuQzQphVofXToIcyJXhSspG61lIkS5JtsJVcfbacbpsS4PoDp5DYN6olW6e
5q9aZ88j+x9L57WduJaE4SfSWsrh1mQwYGyDw42W20E5Zz39fMWZyznT7cZia1fVn4rrU52Qc8IJ
zuZ+0tnVCwIx/QolKbPxyAqDkYRf1+oWuvZVRB8icg4bXEpQyimObu1JL7G0ganwXUQVsAsGW/z+
TJ/SSPLShq235ixwcJXwmx4/jJ+l3S3YmNR4ZHepP72JIT8jX5EllGziyJcB9+Ydf/CWjHQBMhEZ
DsRXTXXhMxMnBs1OwDTDqAmk43JJycm03GQ1mclaQHyHjpHGQ1jBXropkCfDms4yl/GFMIEsAu1J
Jt+maJcuUYiDeyuQtQNDLCEhFqJxCGmCgBsGNjvI39di9oJzr5TFm8ZS+B4Kaqa1GlOPimo89Cpc
ejMsdTyB/DoNIJn1WVZ7X8XZD5y9MPzgZgLgdiSQ2kp+VVwd5phwKJx3fExNA6Aq1B3tT1+RxqXu
mt4hWEtHDUXmKyvRyUR/ljsQrbMNriFN6ESvZqfdppnDjS5yMucmOKCRqrgIgII5vxEjj4pKQybd
4DbxdcL8dKBkY3VEjs3UGeSyR9lfT/zeEdLHBiKux9pJvyvYM+ifNV8VXoMYkQOl17myY9LrPwR0
kJ6ijU4W0cZCxbv6JytgF/kEYsKjkqOlNu5aENmhOXcE/TMgwiQJy0pqBsQvN7+LPQnkpAdjKIir
8qk/Iyl5fjddjDZ6FPRTAGD627gtZKYVUTabiUVpR+eOjopii4a/xEUovQKvYabMjyLJ8ZvPHA5F
ApeYMTN6Z66mgNkd0ZE2S72LPhB/M6PeGXZalXTcAI5LD6MN/dkgJcijV1DZ9gp2qvNsg+Yv5b/U
gw4X9l2H1VpefwZznS+QNlrGyVjLkSuyQBQh3YQvlgHBRuYY0ebJbyOlRE+6bcJMrSBl0ANvZ4w/
NoUL6y/wOe1bZrPopPxJ4l4aaEHY5DO1yFAFdu+Jn1adPbs6zyyFoinwk61RgBBEBJsnj1PdvE8O
03lPDkvpjodBvQDnTwSb87zbbHwveKPMYVgV1iniEFtc94CJqbLpaXdLC1wX/hzwUiyiHU6PP5kU
eRvFPOGYF8Y6DCfRyJ4+Tje/I8/iNCNkBTzp0nObk18OgOrBVQggZlxF9DE2ExWIdAXakXj8E56O
ltEfLk5wkic7IBDn64k527lyFXl/DPAIqIPOSOYcOeBkEPnaxUKXZoGrh5T8gJJ/z61S+yXRJYJz
yJnyaEb9U9sPWBoIQGcFYqWHKF5q40XITZ6whl2X8yFAIB0ku543tvFj4ywuOYRyh7A+RwCs1qHh
I59H+iOyQ4QB79nGzKXGuwNFBR5oDuyQDD4d3Jq5tWMg4E1Lh1+EzgC9+Pt7kv3x2TLnDhpZ+E60
u3MNFExrak96kC7KNLpQtxruV3RsXKZqUqCX1s8ll/7IgXUS70H6R8q0nLB6ik45fn2ZeKANBCTj
tYr4f1LawTz4xN604DDJcGZIv6+yOwycko+Y0DnJ28AvIGRukOrs33Veac0rPBa+azyIFm3GV6PZ
I2IE9ymhu6xcBdrtpGOzKejNAwAmEfE4RDCDpPzencmMO7XHZMN33PtXrs6G+DBMGK2KetUg59OM
3/LewEjInAi+QIPmc55yGkEO4VWcoEaU72akYivhCfyYkTj8zUNWaEFNRL8CMYjHSP7B7sutUN3A
t9Mq4/dh7K15errhYxvCAkLnX8f/BHpi6hacgCSRsK+PI3nRRMbynYg8RKBd41cG17K/FeZfPPEn
9X7NJF4G1ipk/Mh4pyEUeg+7q1U8W5y5xPzyJQf/0obHdptm81pqbX4cp0/xSpNK/RnTYbA8rEQT
OEdEUlCPsZAbXfElCCJvhAzfyLZtUDly9pSrQMvRwBoxHCBevXZ4C3xvBJKdne1cz88cKcyN4MOz
vev5/YhIkeOlqs6SWcfqUQIllwGEJE18tgf6/PCboKIGEovMGzYcarSlJS5aoZUYhelHiGfrga//
o6aJUDXZptOdBIyR6uEiuhRgrVC0J5Qsomui9xb+ETRpMPwHoa5hsa3qzyFarKSVTg9DfWNPBOhk
AAIvqUKABPG/HKYEpEVMswznKpI55B+sfiCxegWmUpPly7/g21dl/tQjBkNqj1BEBfhQjQxTrPWN
Gx25Xym/YQQ2rklO3V76HQQHEUUHLq5gYtR1TODjQ8ydFFPMhElsITRkOrD4b5zNHJsY/I9jZxtQ
BYsKy8O8/3jBmUpj44ab+L/wGAY8aKpDCjZQkTTREehFm+T6+pLXnemA6NA87cpFpR3xczRR8mgU
9cGfiCMfjgnWWyXbOfouFYNDs51ocdxfuUcykGI24i59/EBCU3o4eyr0QZyLkHR9eiH2dbKkR1mK
+tHAWaU02U7wx6wErSdnNANy8GhYwRtrrjxODQVegLc2c7dSSfAd3PlFflO6ZnEksDabTRB8ZTEb
kRR/Q66OUGH8JvoYvNDuDnQ59jjvHf6QoJceyEz4H/xaUYDxcE15vWcWSit13XT6p2rAtHATTCOZ
T4As0qDpqnZSOkksKHXoFYbHnuhqncDBIjhQZVeCddMXcf2L/qYd/pz2qUySTUGwE4VGiBI5Dy6f
lpVvpR/IRTOSFRB9RoRjtH6LQjgCckSUCNgR79u+2vBu0XPSMKvIGXsDv2y0Yy3SThhze9LXjDUE
Q4spGRYEGE3wUD6awGYiXZ7qLZsEkLm9snIAJwX+tQ7RaAPheC94uLozMlkAVwEadV775iyIHzDY
hExAjJ0QcDILiS47ZiEIDwUdLkybOTbLNrTeOu9SoVJwuwPtkjxgktxAmGnYEvYAJtwWvMUCLjvY
ges8/yH2mAX3G5PyBtDZjOg9aRfYpYWgkMmPgYfUX97gDNZuDinA/JP8p6gLnuhUKrKRMl5EP94E
JIY0N5t/EjiIcR2nbScrVSWT1VeHlRNpRMNcJkzn4MheOG9N0A9KYkkAiXxFtaVuVCIxeIZ8aYOB
NIoFdfJUPd5U0mxS2orrB6ZcJpus56kmf9LUp1yFRm1+iCYFSLaw0N67xq/QNXx56R+G2pA/z7oB
nqT9C/UtQ5TBeb5CCohM5g7J+B94oPnHr+7Y3VOMa3kW0GrSdVPAPbnkmqvF9kT6VAsRbO0/JdGt
Cv8yMBAwTeBEE+iZNs0qiF+L/lziHcf6Nrb1UaEH9fRPoU6S8UmA82ky2S1+izX2YYD7seok5KR0
dxksC9BhA37hnd36V7QmyXx01WBrtvGhAp/hO+dkKQz25G+sXd5R8lDG5MlvlLUS2I/49FgKz0qH
az+X35n/5/h0i5BmMGpWvpmb3wE8VvEeC3GIhn+CwSGYavGVNrXL8s0Pf7a2wkdo7EGNUV4SeWkR
1wj/JC+9ho+yBwwQ/fIyExEv4Hg9htt7UdD+nPg00aUlDV/oVcrlfdQz9/wvHvIicFAMYyUSbypZ
sgcVgViFIlBMsgOQ4/xhO5BdC1GkpH/yMxtcCf2IroyAOU3oSSkunKaEDm1jWBd5oL2lL7LO2hKk
d2FtIVGWR1qdCdRaOroxVhc4UUkXJPuSZVzEiZV47fg7Lue3CrOFjzc0NR7j8Z5oAfCoWd0qSQm0
pGz3xIPI/F6xU4mcWY92a3RwCKwmVsFKGZFmWylZgOJd5V3lBrCEtjHTM9V23dQbQ/0sgHecm8SP
qMVNn0jpBWCge0JjrlN+ud1r5TW0lC/mvhpCQIGiNIi4JdH1AYFzjo/INDZKsyqpV3wdeFz1lLRQ
7lPqrdo8C+/gDfUWVbIwvqkWLTVFg0h8SWP1RRRCoOvBVSb9//JkoDXsM7xohTQqnltx7kNEKmaI
igh1vIbgod0DcHq0OQoYCQ25oLJSleU/eV3AYWIO0jdhmy67ioQ/9DvWZwcllPU3GdsyGsXUPxNA
iTibiHz8v18yf4n2W2z+9G+9DltEhRVSxqDftkH+bUSlkVRroR3kbe+dQLiHwGOT80QOJYAwaH5J
7ZJrjkgQm3sAKccYYqVjniOoeSOlSKh24Xbik6YcSraJNFXx1pe+pIHYSBUtCniiYrHK17WeHcp+
L98ffRuLzMB0TLgewbJmdWTbzgWtqcAsvO21O6xjDXM5UIsYQcwB21WCh5JjlaGG7jQwTJ38Kwen
W7vuySMR9m3Mg4MP8tjDxXT9l9wLMhPWCOidtqNZfWBKDH+siD3HJuD4Y+WveaDS9VFYuurFdV7T
UN2xAIq4SoY6/gaTAFOV5GHVybyRDk/IOdJASzptZI9ZVJ7lOyd1SwwVNc9MWFh+pltfeMoyQysl
m3uG8FkhfNipueqoOROK8OSX9pbjG7TmMyGRmCrqNZe2bnqvBXmxhJ8IECXjpQqIz9WPDkNznlC/
WRBwd3GSAkJgH42x33nJh8fii4JfGE2IqCZE6QgPqKiYcJolYFEG6lIxZlhsPaHXSVxelgCQifxJ
0HDPn9ElAmxx5NPgc+AhIpyOukvE5UY9llItAkCpjymcALyDzZVLay71F5QLhyk5Y3c5AfeoFrz1
pMO7pkZW00TGpL4EoFPj6YnuozcvJOYJ0+z2jwVF1QYUy0yk/Xr7JdBo0CBW+BIuWwJ5RYVezo88
VMksYNnCYFRvBgkO0njTJENf0jo2gsmSCsBNMdZE22Y8Dq9sf0nZ5kL4xrjlkiGXxzdDP8rbA48n
YoiAQ6yV5gFEs/Ffuf+UdHhCwgFKoAX9VZoE5ixBXQYisTAcrKWhoBHsbGM9/ygK+u4K0t/6ki9e
KEFBMDTSKorijVdchwwoaBaZcmQg5v+z/eg9ZA4SaqYrQF+UowJ3C5cqSllOyjZkJ3CDQL1rwY34
0CTqEN1t0DvlQbWp4bhqCEqbG9oGkBCiDWMRstR4JaQXJr+QBXIxkI1VwYL34VnUgJbqPHMj9rRF
gvfwyeL0k6qKWK+Y/LOMYBp3r3OPsfLg4/pUX1UGOxOOUTuvZix+YgkRjFRyr9y2eoJIEeIrupuj
tYNnjXdYrwKsxr/hgMSC2cpthDCV6/UuBI6z/Vhn6wg566C2F8Mk/ssbyO4Ac6w3HeRBVRPyf7E5
di4pEr3/LA9NgIJc6Kp0phPylz6we9Oy5dGD66RxCslGyLJhiQkN4zeKfcAb1FkIXJWlQSGU24z+
TEw9JBZIB29w9agF5SX/AzGVm2JAMCRGb/xkSwWQ3Cp6DMwB1skN8skgMOVVRQDBPSv4SeS80m8Q
kAY4ysxJCDZTbeUQC07zK7eOkXNHMx/UNP3muNXt4rGws4O8K9yz0pvLDJAmzUfF3OEN5Ihgx45Q
ElUxW0gp4fm1Q93Fzss1KIoAT5LGwk0QwaxwyQKyoDLj96brJ4TAU7OVKDEIolAqzkj6/n8Cj79s
scMgBkiEtKQTJoSJqwcBIYCAiJdcsz+PSrf0jjN4pFzKd+9eYLO9MT7IJTYDhNHtBBF7eQwLsAX9
ULAywBBFgABSHMDX11my5jFIs0NO+84LCnQsgDrE66l37FcplH2j5kfRBwcPFQtsPY0IA8XdZa15
CYBM+/w9DR5L1gXY5XM1bqvPqmF9ODx+pKlLsOiloaUoyC8aBTlvOIwqNbgr1bXAVQKHqGO9HQjZ
L+xXtQmeInrudvwnl5TGbVfG/+rhqFsEuLAbvdlIDFKgo50ST4/YWLj+YDB1tKqQ6hU7ONUgXhoj
YOuVxkGpzjYSr6a8uUG1Vrd6hQKy3RcaavYtJ4k6MGE5pUeJEFkwb9kBkUJNt2oVtoDXc3IsxPnE
bRIM5sl1I2ZDKg9bA5cqBz6umm9Ll4Gtyl6dsD/VxOuOenCy2dFk1yBVvxZG8zzFxDZp/NdEQtMR
rK+JeOidrWmhGNDDi7SaFOy6rV8SrCUVeWmm/pDDTrLUbLpKhTRp80abA56F67ra0TeMHHRyqvQL
NP3C1r0HB9jaKcvfQK8OfIAlMjtWgj27IGz3I1Gs+D3v5c68ljnyX4ZsUVQwk7Och/IIdzkjhsvJ
Vo/+MR3wRN3JPA2MstKQisK8DrhaWCUe5/k5ccZl8qFGaON8MiJ2OTRxSYcYNwPzOY3y+B22UDp1
sZAZVY6ooGdK27EZL90Kacs/4nvlTgp1iwsF5srkeYl+LoNjKLhAtBSsR7vwSrg1wYR06RNuGCpa
4f4OXX6YKUXR/K51efSg/qiJeVCNp4ql93Vur1TP3YkqXWMLgUBOmirWOZzJ916YZRnxp/S/cgsj
/2Gyp9ORqBL0RqC4X7hDo5Q2gm1NIo9qLAJAsX7wKKgBaEUQvcHJBcG9e5XrPWn7TefpKyPC8gQ1
kWXKgzoRS1WggiqBk7rt4F8ZPYTeIPuHTd9f/Rj9PzeRAMYWoINZJUjqLQ0ow59R0diEJ744AYh8
gDm1Z90TjVy5EeGaGhMXVywb+9gWv7j6HH5AZRH6Zo/5ldiRuyYAEJUlPZJMMhfpplQ7wCQYLlWE
33dKxrg4CilpzUVnt4XqKS9yPSkT0GfZey+V6fYPkRWvREeDKiiUER94zQEpYbgnvIHwdWhcvZbH
A3eqNfonKjbROAJ/ijXC8j9TOmjiyDlzvdsjINLdH7kIm8Z7FDBGkCputxHcPdAJgaentrFYkN7P
jGmX9ZkrjFNZsKarDYiH4InqKA9o70SwYsQerha2dOd4b1HQ3PiICREKwd92NEkJt/onBnA4sQH7
Rh5e5I2a8WKnaAOZPCLQeJf7XaJpLO0n8FdRYr7GgC5jy2YPHVZZWzg2WkCELtOnaqZ7OE2xfpk8
lkpoEIK+4hvJCbdY/9M0fd1nyWvp6KvkDcQZGNzwXoAvfeIVGEnk7rPItn7wOFZR1q1S4G4wHANd
kwRKU5Dl7UBGQhNmI0gkjGqXVg0LbN4tO9o45IIlr9RfaRgHZr67NmcTOyGHVHn2QKVC4FwvnY4S
fWoyojcgCDWLRDl0g1vuKuIuqa+ZjcfjPcWLkTPU56MsJmBTPUWnyJ1VJ2sdivgNyvGgKckpLjSU
Tb1P/+c8dUOfi00XrS9HAmXpBNmUR4+SWiHCOMqeDCvwszn2DZkk5LanjplBSZCRsRDFMC05RTHw
o72qbEOuOBmW69BmSTdFA+bMv8JKsXbjly3DQkwGNYkT0xX3RWeVW07fnd4JPCST87XG8ClGTgeG
Sn6QRi/nWrgY1M0wVVugAxRWc/5cgJMhZ9PBggVjrYgOF/ixcTQa8oLgGPciYFgeZi8G369JJKho
Gknqp90jb59mq1KwWElfgwZEJq7yjxu9IswQAGNwrQ2dGzCrEHuJ7T1J4VKeCgJCVJyNvKyanFlu
HQZBRfDP5kSH+WiUxlZaa2m4ZJIWwhERmjxGwbc6E5wZMCiZe0gn2W7QftGpZZa/YKU7wwxjF33s
HB2CAb+PtrfsX2H8JD5wRrciJ9xBd0rkkPRVEddHM7DXhBs2m6q9CN1MWMkOK6YYDWh/5fMz9EjU
JniffLMh3b5DQNDdr8mFzhmSQUrQbaJXF5A/RFFBup5TYohmvzuOyq8aE73C5VZ32g31zVo83+6Y
rAO6XClHkGBsvnxLEpukDsDjEetW7xEyUb1CcwpSJWQzrZgoD1ZBRwjwn23a70j6BO/mI4AlEAvl
QTIPPXES07vajQh9PoXYFmZT9V9DtoTQ60Qg0iLxH0mI8KA/aUhYTX7yKr5KnjaQKBs5gxUTUSiI
RLHRmXpRLHDPCNbadTT79nm0WUtiHWGOGwfil91KcISUlQQABVW4QHqoaxRQG/hZaZ4Yn7HoqYYG
Bu+LvN9lD6CTvTBHqwXGQlHuq0ebib8jP1ScC4r5h0NhtvYdpK+op4D1hZCU8Q+fEjJRFhMj3rfZ
sATC7GNX6tl5dxQ723/yeZe9d/C0vEkdT9SDW2AJRG6dM+tNhH3cWExW0kfBhYy00sNQy3jIstkD
5AqjpdH4O+HHNByrUV/tOjxGfBmdhmYOsBymkuXyM5D7zD0CpcKvi8RAQuNUvfyQN6NzzCW2V24L
CmvIb6egQcX3UVrpt2VPF0zsgj6b6g9bUMknQT9DleY8wGHWAZHZPHLfwjq/aaZ+J7CLHPYqDXfV
nKxV3SEyc9goXLNiWxlZsBMytLNGYxsF6SrJuq3Cq26AztbHwMwJzli1oYZ8irevh63F1LlTukQ6
vX9WrX+6TXquGlsDq2CWxrvF72YcxSdJr8gb4KJ6UoxxW48D5CDTFW+kKeoVe94QhWBobAOX+b8t
z26PC55IrjK23iY7XAq8Ld99h0vUsstrnM9rcsIPctezRFv4hMa4SKrApOp7rg/ppFp+6yAJntFQ
KVjclwqSBgH7sIiIzDHE/ITkrxoR2qnUACkrqISFBPaJjwEMERo7xrlo0qlAMvmURPleIt9Ymajo
QX0klFVckeVkEE5KyKmtfWhMok5JYAn6absE87Vv0qHhwJFOSdyNdTyzhkl5oRhi1JDWxzGx9UEi
KN4JijbCyhzT7ZaaR7C1sZS/J5iJ54Obz5ApxcLPnxsksb1dL6f4qW4vkCbO6L52OLdVtLioaG81
AIae6C89z7lxiO1KtgRnYxqdIKnQV7IzpddPun9CTyJSZHkbRWKaQA5mBOEUWytPVol3YavgAwfL
tZd0/w3aOpvCZVB4646y5RcntmmpHZo4AnjRLkxOSzAkOnRrYjU4V2XMYkRmczT5+wI+dTRfggiq
lsleOF7pnImJyhCOXHkcMRepGNLl8so8ep1M55aaBlAndy0kmwfvOoXxU+C66IZWDtuNFIc87Mb0
D7bG4CEQFfXTyC7Wv9yoEUM/5yhkaWqkLWijGIUrG0rBGyMPww7wjX7t+ElCMHVVTQbEUfj9sEbh
hzgs+dOTf0rf7ntC6WrF+uE6wjODuiUwZsKnab6CB+Pb85H5VndbsMJrJXmrOZ9UwHUnYWEXxUAI
aXdXEeEgKK+JGEKdICVY4AkzChbfavpjCeuAsutOr9Cl2Xiqe9CaKdKY8psVnoTYwKfq4o/CKwOs
I/XQqH81iJsizT8nsLwBcFkG/hbzlQPNqYOyEllDdsQh9l6C8hhkI7FiR9HwSokLatFGC/iY0Ca6
jAIelHjByvkQeQ27oPVrUZAhDNeO0hoZCsoH9KtnS+JUzfGtNJRt7LGO1as2Nt+QQT1tknjNp0vM
acesYYeilQzO1J6cDEBWG4LDWg9EKhKp4OCQASntsgPmBc3igxIAlmkb0Cs3uUxkyVUeS5YWID4y
sHcpu6sJFmUWLa1tbX46sMg55bhOvb0HJ6OBRJBlxFJljHaa/1gxY0mD1uDT0PXdEJjHyW2XDuPG
FFlvhT5BAzpwFImxE6mGi06AvbzM8hXygMa+sIsZHj1cBGlB0vfvsBFNQmvgeXTWwu64g/48Z8Qn
O9+W6ZJaRYM+JGs33TK6+6AlnWj+uOthyZc0A2H81eo+YR8NYBk+A2Z4W8VhwjOi2ZCiLvFzKeiX
adqneni3u2/RSAFxA4CiDhQn/IA9OAW95igK/G00oA/uOWraNzsab9G0Lxat22wTQTu59mXPrNE8
xZNOR2ScQvU59D+A6TxqttAxNUcUiydfuNwLPoSMFIzSJO3A7qNj5TZHy/1VM/FA4osyxiv5VNuo
wynBQ/GaM71U0Yw7B8XeOm8pwwB4OoKA3nq0m++MPS5GACTEYoMyBsHhH2hRFky8vdYuVUwXfwwU
kUvPb7o3gYSATs7EgYgAYnL+EsRvCRQ0N/XSrKwdk6g8qGD6G6dXEFuBzARkLXEZGUAQBPOzIX3D
WDBnbBfj1Wkq41Pw3Fr9l8W0CBGhidzijCKlhVV+furH+k9kfVrxzMBcg8IU8yEOzsJfmWX+6EDP
STMnbNXMEFMT4DL0hOvlW78iS4UoQ5tXU915+oeprMvuvWS3b792LGNtIngQfs3EFk1DJGCDEWC/
NqtdydBIfPocMtwDegmOJhB4hIpFev6cQNoxRfNindlIWbT2qVcxc0LJVNwaWfDcdRMyKfhFnZ0R
029nYTFDWMBpAuG4O0HIP+OeFbJeu0HnSash/4IUvBhNK+amglQcZB9iixPcEsh0DgbI6ZLr31jO
oE+YO+1qYoRCgUpmBxZgUoD0QL1MLmB4dLHRtuMtoi+KEUCgpngwsAE6iFqnBulHLdY2DUc5fYBM
TvWzyKssSHU6dRnFmZjgPJD7oGlwQEmDsw6qjUc0bnGy/+G+Omq2uvBd8lpAXcDe4Rvd+NUpkqWY
Qdk0DwkscQcQqvTggBVMz34KFcJJAFRnhFARfyzgakcbgUJ9gvgu8xOdKHaOh1hll2r/r1WEbJME
Tf4h2hbbwYGsLmJiN+Ja2UcsRvXJpfe6/qCV2SPAydrC8RkV17weFgIniXCDLn423yxBlSDpHEqB
+NrUMNnwuzdB/VgDlE7msJit8ORWr/cfxwCe2UyH1TImpZZcbSALHppUM9+WjX9/kqLU+tOjVn32
tDK+uAN5IWVCkHHcl9NDm6jnOkkoqmxnsIgOYUpy/L8yndBZUKgYG6qh2vqw5Vn3J1oA6dPRJmH/
AbhYZdkPQmmpbhw+X0K7AStSy30mlmyP+/vexMQ+q7/1ZcBo3OKXok1wIFgCZAHx1G561l9WyquB
fCnSkZbj32WdIjedzR8S47GAGkAXC2VtKXcvZoipL8suMCECMYxgVDUJRhJeLBxvR3+tkkgXu8mj
X+oYro8exKycY0HWOJN8qS6mH89St//5JbEtFuV3NCxVsj4Bm1Du3MMWYvIHHIjw+B65C47Nby0x
yCZ6MjpxOvgq9BDH0h/FjBXTIUF+7KV7d3hvJBivLw49BJymswTWuJfDhc/5SJkmso5oTbGSIcSy
FZpe9VdrQDGBFRI7XrT5vwhZOcv8OBbCLch+y0ZRH6XZERBeAEdUFjoafOEUYrvcIgu+EGl6cgvt
xTa/RqdZ2rSVycxmRLtbZpN/GZShg9TNlrHZHUzS0SbsClb4U1W0awExtbr0UEiJnm2pc+3xvkID
j58IUf3eahe14RwAvq/eWK/g2fYEclJ8+ohGhShYDoFe9aRq/Ml7XONpgeC3iB4onWbrBp9CYDnC
88xY4nENiYvO75D7JhQL/6Vns4H0DdU4b6O4OhERslee4kbbx9ymrAtAindsOBK+m7GvQTs75RfR
fa/D6DNqnfX4XFQp6zNa+8fJaQJF9tGyMaxQzY3XHw2sFsoTzPjegc2R0VgkpDqGGrlr5Aul0RLp
WuiRmMUkYifuptfbV4UNPJwbIdwGlioMtX2YWKtaMudG808PBjEorHI34I5quqfhAjMFCyKfFEWv
wytBQC7YWk9/FU2S9nVo/vFnBAPjOSp38XmH7OIir/Gc/ctJ9LsbMgOWKHGd91OyRZrPAj9nE3cS
K+SuzOCjU7ONMIH1aH8LjR3jcEpL66STXFraPijIMq1CMWise7ViI2JL8FK6tSY0S7gppr4/uDEl
NcVnwgvh1O+9HfwKCZ9W6NfofyWRuUQXPbKeN8hfqrl8br9hIxVW1nR9yWqV/An3wDkJSbPCBUk3
D0hJGJIbbNTpDGa19vXymdZBb8hX6hf9yAb1FgcnlwEYzv8DfJL5VEUE2nksueSQy5QJFVXUfyIH
lWiCTlk56IfwWhyaMXqdqO8anPzkJ0/td9Z7u7Z4vSdrZ7Ns4iM2xEq4N2HZVFKaEyKSXxoe/BgH
qxlrDLqGu/jcPIdXooWgxrpjz8itBu+RvQ65ht0x3JSjthRwii+PbOI5zoCujL00bJ1hL2XWw7JE
zazXEjvGejvVplOg5oNZcDBg/XwG1FglUWJor4ID6cHRsuL3iRy5vkXiaxabdrafRd1gkVU0sx+M
9gGfY0yVwM/HJhFSMhkDYCYUVM0aHU/oiNfAW9oFpNJHwitishUZYkaOpGFMK7EQDHiL6RScfFfa
eFb1zwQpJTPzxtHSU0pgtFsgVEho9z/iyl3lU8lWNw+qhNpJ3wBrIp0FA5zGNOnRkI6iVMCcBd6B
OcUidKbw+EVVth8QQE5qDelRbkrWtv+Vq9o2BCGpAvQ67Afip3hABY16g2Ag/B8JDq9axaYRppTq
n1OzoYfiC4PUtpso+TfStlvFKUfGr6XptprzQ06Cikn0P4h+PFzVeTw2GEAtstT8XEVDvtMZSTJf
gCKBO2fdAMG0D2o8Xxy4MYyZKCSYWyIsRXmP/9taSLvSO8rVjcrtSBTgaKvvvgIobJAOZJg5b3fI
6tAQW5xPy9W8uu+hgvlsdm7yo0AGsgBvFZnEPjw3QTlIXMxp+FaModmGEvpJVW7dJZQg0jy4W1Iu
KGTI/eSR+mCfAhu3Oq4dsi54++7uxQFcK9ylwFh2yeJk5cVsww83xTBQHpMRdffOY+qJtZVqhTur
yx5d3z01Qf5ErPZSuiFVA2yOiGr2ep9cTkJ3eswTZB/PvxOL1Rqqv23OB7WrrnOVf5DD15LqOdD1
inXQ8MOfbmreq2pfd9kLoWAZTlKtA5IvI3tBAoc+lFyFrqg6egyOtR1h8TPyH4l31BCi6/defhvM
yqNUBJsvTWwXiVa8eDmG3VbrlmnKxRHvrUG778MIuQpcVznqwFM8xARJewwz1YbRVvqjPmmQdSfL
VNaveFsdy5cThBin4q18AofpUM/IxmMUDsHCuXTPCf4FmuadY+SIylFEGdNeAiXD0EDe++QLPWUz
iUGHgRNgVTe38tvLyrRpzJ6qCRu+KHQk8gCCZPCDZQCMo2UjwW3LjMIB4xBM/gPFZ0UvSXIkhkEX
v0zefZN8DbsBfDhN30WeI1dyH3Dx8m8Sd7rwnC830NZJfLcbSaPXoAaLjI+AhC1gbC9h1eLad4jq
DPDd1GztCJ4JTVs34RG1nk9cJ0VKdi/6DGiS0UcLA9jq+2yrh1ibWjJGtYa2zdlaKmlsthq/93X5
FhBoBxB2cG3EA/KO8PqtXeZ5EdqmFEiNI6kgobBJ1Sl1BCJvQcd2Bpekv9DZa/mlmoPnCTlQIZI7
hDtu0G8L0ZEDMtXsBNMuPj+u99XTVD5HofviTKRMYHKUe0OuxVKIp8rVv+VvCHLQmeFWoWhAC4c8
3yJSbil2fXafxtLi0winw4Ppqlv5PDbLi8LoQ6lfRG3t4OnigpxYM9d7eHDvgVRlpP0UtDqh4r4S
RzJa6T1NUwj6YaRppT9tzHSn2cEjnt6mV5YJpkEx8HXGMbKdtasZJhnVw0Nlw8Ao/IjIgMGeVrVD
z/CLCOSt1JxjPP+kLssLM/NLVbtlnQAi20BucCQZ3WjgH1P9e4i2Wquy3ypaeSPbTMt80SuHUWMv
ULNS8l3Kdj6IBJ+tSAEZHcEm0ZyXBG2bE5jrukv2c+aXjC4Bjyo8NHhE4uFX7ZstQDWy1zKsLpLB
1uUfuqB9s7mzGVS1SlmDHKma+1xlhExiUHLKX9nvI0tGSJIixq++yrqMcPBe0nI+2L21ToppG+fV
2oDGm5T7RloJXVMBb7O4XMqCcQcO3uJL0i1lxzmLaV1EP0uo4cJkmZVukKyimgkGcGfZB+LXzraG
Q35+yJ7VwtXX6JSuEzN3HlZPARofv8du7AvFxORiPGcalgwyvosSXblzY0XXvi3b22gB/BN9WQXT
qSpopVGc4daqvvWGmHa7HH8FrKE8xlyudkqyMkgW1VHSR2P92FYkhA7vqjsuRyhUPfoSH7ZpXSHh
S3L5uhndLw9H69OFmrXs8kIojf+HK2lUJ29BkPgicqgtFtFNbeU+6Sp7na30AJN4DwJxSFOpquBM
q/jcl5JJY6w7TLs28cwK/oJaCbcxiYhsFqhuytSTr4WSAmZroDdld8Cu5QRKNXBye5kKmNNbn4GG
tQ6guTCv3K9rhelmUtuWBGqMkWGuv45+/puG9k7NjsZk3/ywhBeajS1pdDvMa0F7wDS86Ia1y0cp
knOoJqfK/MoV9lXZT7L3Z4pZ/2voXOQZK9JnnUw1sGOpIhFnZOr8g5EyfFiHinvFVPMv4Twk9pMb
uh+1jaj1BIgUU3nZ6mR3PfRlvIlTUIZ2ggqqpu2Ayji1P2ZjE9uvYf1rr9OWagEaVZpncM1hzDd5
Oe0cxz30hrEeveGxHLufsLn1Gpu6pwtGmMnXuG0CIYYUptDSnYBE0q10A13uPJXb5tt9iV7D5+DH
gzriCn5jM291aLgdxIfbWua3bLOrde/SOT8NDbbc1DohgWi05Ink+a0xIeCQNLIIzK9YquIcOoa5
GJ2fbj36trme0K9a6hoX3nKsh7VXP/mESVjdo+qoN5m7SZQtXbQL3m7Iol150kj4U9e2/teUpIo9
9NWj4FH98DrMMXvvzXXbndhW3sZn4rkMOHHxD4tpqGT2GXWPrAlCqYq3urM3kP1jgbtbMkhpAhEz
QGgajyClFOjC+tPL8/9IOq+dSLIkDD9RSunNLZR3UEAVNDcpehrSe3cyn36/YKWRemZXXRSZx0T8
8ZvQfRHGQFRbzwUhTZpr/cl4WXD2uEpxKTh55odZNxdI2L90H86q+kdIaSpln2BTKF5DngWGmPIa
vIs9Eh7FKx3or51ZfEhBdrEOezKKeReAwswGwVGJ8VpqO8clF1DW1NTW29dweCZNhXnhEAMqLNpF
d05Lmh1EcI0nAM4PMSTGAFIfy6VslzcqUqy1T3riHQadx4B2B+5hY4ZPU8BFWD1WTkkIC7IA1eDm
6JhbcXCj6RYqXDkNhENSYLfq0k3fGQQx2G9IxBkzYU+OY2BrHqeuPBWK1Qd3UK7Y6SrjbaY3Ujy3
2Vo31SktybxgwhfSJbj9Kw4tawST8pNkpVOBY/ntA3Z14N5lh1vZp8rTJ/iimzoJ//Kc67I4TOEb
tv6b2Ed6i0ZAIXPretJAOMaLq1gfKI3N7yb44itiXYpdjdUNeEFlUep3eGPzfcm0LVTK8BsKB0qb
HKsXKANGkj5lSAtDNVwXfAaEH7T01X/6+Fp7y/dS3eX5JlZ2zPJ0a/j0H4AkdXtuSzHo4YnTSNH0
ijFwN9eYvFAmsE04Wdw8wGom/oOlpo4sQ2xkgwBb0rY4E8uhiBlJgSEjK8BJG6OhvN9zuSCWTT89
BrwtcdA7P50OKbcNySYLWoqAmhHG7iVT3DoKf61wo+L0o+/e4EeAo09u9NiE6NNc98MFuJC736Q8
kWg1imYZgRX9uiLTRvV9wpD6r521h7ntV5Y7bBGAVFJy8cNFpCDBkWHAQRthBmhbb8ohKS3hAdA2
ThArZsiwgT/tZNDL0Z+Cv3FbYNaxtpSDU6B/4T8XrWLU++yVNvRoxngNXQuFD4SKnvPC6i4jc2fd
HC46whDx3LBgPRUDYZL7BUeet76HAERvgMsA9s8oYWD1XN32Xqtn8c2wqShybN6CNvkClqdvTf6F
wb/io763X23z3JgIn+fNjI8WTzY6jvA0CGxEd2wT+LTEL2Jj9QsPEb+psgj+zW8SgciPh0Co0xMq
WF4SRS13M0dl29iyPSoOMy1nN6mrl32k5XvPfSZZAJBb7X8I1/BR+Pan+Z4iX6p8ql/c/XsqPk2H
UIerjfGL3qLekEVYlJ8B4dYxV6EYdirnJjZ8eHVSXqYu0yvSRik1Ny2mljmECwOaLmolOFOWaH9A
seXUpVhFCL8ZnLtys0PN5F2mFRUg9AgOnJA6t/jHsAFD6L5FjLyo5U8CBAVPoLPtYzLt7PQ5o3B2
XUzCs+cyM1ZDGDyglKIMvYp3jdUlzyrKXkMLpBaSj5/Qa88vTtyu/a5ifeIowQC75g4SYXfbYHfV
Qe33nonQA3nFxqBsjz71WFhnCIIgold/sajGjoy35K+HyedtQ6LGygxSi58PjyEU/o7JtBmsDYyK
hhhl1zKtZ8xE2H12ggIdrHZB2KhN/SrTsuNS4dWKe7CFros16nrrsTjPhB8+eFP2n06pbCOrxqRa
OT0Sy4naR51aSCTii9LBHgaUxuLBZEdjDLGbsk+bYKQw7m4j+FLMwhF7SsBgQD3WbbrFvFEcIuzi
RfzCIRtoFJoqbL5cckLxmhBTQOwRT2ywkQB1syoZuPhbJHR+iF4PLmxlYBs+fiSFdUZ0cAjpyqMU
4hkZ3nnzDmJ984zmZk72NaSpxFvnSXkoXBPSv6Ubzcabbnw0k4EfXVS/lYN96uJvE0xDd5oHS6v3
nYePvVBfm34Nu/9v1/fvAVfAnCdPiUJ04GScpSbxWBEE7OyOJycxeMNVdSybQaFJ7u5T3OxUwMGA
IzmdbpG2G01Dd+C8l0PxbKIvJLW0PoU9RhJEr5LBdLIwbiIg/MFUUB3ZnTxVHmXdHGDHrxiZtfUO
+3aVu0eVgi/qJYz9xrzyQsoHiwEY4w4HN+qGSaZICoVcpafmoaifBTFWw8Eg6wIh38TqqhCvCaye
RPZzVITfEzRAt7eh+AlLSut5bAQPzLcgcgh4gEvZbm3iPBmdYA/iIdjNNkMCT6Xss9cORrf4m4uP
YhbaRAnu++lPiFVrdBM8qQBLFS8+3yGGiAj1HMiqqKFApdaDO+O0MOAgC9ap1dUq8jvY3R1REWP4
aga19WgZy9GKmyMK6Zs9PFVztWevW+pu+J9+ffPUxIXuI0M4OH+T/FJQjw5t919N9JyZrsyiWWfT
WWzkcuxxJ+pRbTQYewYxskSsx609hjQUVtamDHhXbhvsfgXWgOmGYwP1MBjKo5Xd+Ok6Zlgbb8yE
cDROL281LOo/q2ufDI3cx4Y7IrCXQ6wwYLc94NUk2wqvjiFI1HxoSbJ3APIZhsI/vIWYa9Wk5YYR
VChneYMt9TQn1VHlbGSnPUCj7tHR0nM82sZ71TuXYVQvoid0nH/4xh6Xen7t8vKXUws1aKGOr7Vi
tczOnryiv7mGU0WiM4oyF+1xaPvnoKROGcg9HGEHY2bBBJFpCliAMuYvato1w8VrpKPAdT9moLZa
AYpj/WEP1D41oN+yiup5F0nx7kQ4a3aP7IUdP9vTZwPHjO5Y0KDh+2jVAQcc8n1sb0ScShOwCWFM
ijqwwpBzMZ+L9uIhbYPQBFwTfLcJCs6suBaz9d8Q0ftQ9ywhsVSwQRJCA4R72qV/oUhfRDhpW8GL
sGswzX/04UJ1SACWHGLdWg+XvR2oo8OI1sr620JK3S84JuNDprBhtJQPRnWRk7yt3kUf5QO5oJVT
8KBnuGWhGR2WTWcFT1Pzw0dsEPrHDBS4tKEgz2FBue0fFvo6zyR/1XvyDcrWkJLJAs+eCuajWrdF
y4bBjt5/dhg5941Fs+CsJp3YIv2/uib1SV3aOmVtU4zZNJ/JSyge2sICqpLi1ONBUXnZpmzPv44b
CJI0h0pHj0/TZJ16+iMcnNCXYM0zXCiIrjPO9BR7jw3qOFyVUvFm0YxTBlEjTuHqQKfIIwP3TKEo
RNuawvbBcyLsDYN9g39hXyiSwOZHpwjfZ9PblCreQ88ZW+tEpFo4GWAQDCyrL6KkFuNBxHYVZAMI
IG1Z70kczmjMTXc75sl6jDgsNlX6knIYqMnHvd78ZSo1hnj/aU9+qpuoK0sAVxdoe3wWuZRKaau6
ELvfHPGF/zbSb2Aiq/Dox9ZJzB0G5IB5EpNyLXgar45rvQd0htu2KoLg2o0pkBc0B+NXZ0ObHqAW
ZgCNv7iNBZ2vtx8GulKACRfn0YTySrhophEeBclnMpIyzza9f6Xjb7vJp2pmOu1oV9wd1i6htGE1
HITP9Ov4ypoooElAhLcAnTnptewawIFuyBCz8aLPXWTxSUKGA9xgWUFcaNieSJVB2SNbxQMvZNeM
kHC6XyeqS4gbR+qUG3z9gpOo84o+vIinuREu9wg0UuZ2BXZiaNxnF54b16o3ERIIliumGdjSbRiv
CIDuwKif6+riltEhMZDlFGBp9GaObjw2kGlli4U4zvQx8r0UMgq6PIORZ2Mip+cjJ0ZIWcsByGoW
IczkwLsJ8nMA08FBSeIb9cNICeYpk9iS6hURFwRb0QvDcE+wnJYH5oCwSTmd986xjD7EZqCEEs4Q
K4TbmQrKkUU4u3jlqiLkNzXMlxJiV9TgkkzIST/+a99tpsaF8V0G7q5ymqNVAo4bYHIt54+OhQGD
48qrdzXnccQkrKWnGyCAkvOIcWa0n9H2aJRpUxGeIlxmg4Lgei6/trj5DJ8y/yjcgQJwiDZUzp4M
7CB21FqCugZvmwBh9QCjC+u4nJIXi/mlNr9qeQGdFnSgumZ47ZBe00VrBdOpm0HkX2ImnjMh9LlE
oxqrKP6C0m8NIN6obrzGfBwc3JqGGb1d9uySaj5ahNCt9Th5SNvzMJ91Hylyf0YWOzq/jQYL/Be9
nImg7+zHrn1PJgh67meGeqvR+s1HDoA0so5iiuuezEeGgFtt+omIwuJ1aNpTr6N9DPZ2Yj75IG8K
kYPTcorwAbZr71ysADLY6oVx0FlPVh09arO1yqoAUSJeRlP8qIrPLPJ2M8YeXbptQfLHAZdNBEmc
wl6T7JrSupd43tM+B4zx8X9b+V59MLJp3VGYPTiDvVZz9eRYEIJNipuJMCDvqQ5BWz6ZJxuq2PT+
XVh9mPPRp+j2fFZ9twILJ3qAEwlwsx5Qv0DdsqNVDaYKaTxY8qNrgpdqRG5KbdpbK0ernmfb28ir
6HsqHoyahvrsfRblE8Tdxcg2Fvui0bYtGcJeccG9h/lak9QE31DLVz8NzIKGwrpFguJBcppAnY0R
8zsXERajCADyrvhM41VhvhktpT9WBtkbn9EmL8VuJN6KHZwtt2oJnvKUNFrQxva79G3c0FhYCTkN
5EGl9FfVmLOwkdE22zkI10Yd7R0UvTaZzzo8EU3f0rcxmnlvOPUl3j7B0eHgdMgCDinkROLAFAdh
114WnO2XTRqTy7eALn77FDwifmcle3NC/N9/rox/DHQjAGyZcBqYSjnlE79vr3+XyVdDVpUDukDh
o0FpJp/VZ6Iqf2sM9wlVKCZqi4GsGfPFrZtfJ/UDrW/vgf5O3REtYjag1WVsTRpGzZAr+ly6azU1
TzNsiAVExueFpQzyuUzyUUbA9l5Xy9aAvphF9w5Fdg20BFNGhKKzfq5gFuJkJTocEz6iCXMOsd+0
vE3uR+JB0YIGamj/DGs8FbibI0Id8Q0TyAYPYDmRhbQZTYQ40+QLQUzR57YqOMAIBTTVTyl04Kh5
TicRgnLLmWm/q61vPWzIRkTgG7Mz42a+cCPo5h8tofmMxuFNS3vg1BmY2WAfYdfZc4cwupDmWw+a
1eDfxZ+6ArkW1YIGckMnNBREYLvfYjQRMv+omNpFjJBFSR3X2JXSUcE/c98S5HAqJSo5rQ94s32p
5cWsb8SKjjDZrQcPCmioblWUPXax8WxhwC3qCX/kQnCX/6rgpbdu5K4L2dcn9MFBYz/EjBjR5C49
UanhZsThaliCv3qd/iMI4xAVa/4RtpxPj9zUE1zIi2zGSL1KdZJ+NRNPGi8n8VJTOqnGuJ+HCg4s
vgDweiCBgG9tW7iGDKI5kx6l4iuxpcJKo3cRctLHiHmBB3cqgsv8R4RVFjdyEX2p/DqDHRR4vsPK
S6BlsfuTnmOUw5z3bZKw3Fh4gXLnul66SjXKNDiuJtNbjnPxIwroC0Dn1rAUWv1ZKz32ASFUXJuL
A4UYH0KsOeVnY7v55Tq8gdI9Ekl20odsXI20vMkYr7xhoSelTFQT5hmGs8Zm4uJA4+rJ4HFseMjL
58RZ2Fo4fi72tqmuEfVPiD9LBu0t9o+pxqKgci0qH9lVu/Pxpm9hjhZVs6km7crfgMftJZhqJX/x
YfLwnjLVyzCvcvZkC+Cp4ZltcYwrn9FVD72bmZh77tpbCt7cQoqQ7RiJeOZTMYueSS1tB/SXxZqK
CtUN5reishh+4hn6d3RoufgBa1LT3WvQHZYFGWoWbJ0Boi715OyRmrvMOJFDe35IquHi1d3Fd4JL
kGB8B6vOgKQz8HpaGX9aT+SN0Uu27jmKqbAamnomKKPx10udFZSrDSIHE4fbbs62euiuE1fnmEKG
Og/5a2TGp8RMX2AkoMMrxlM+EBqI1SsvMCMiApmWT/tJbGmpR495+eLLb5/dg+gAA6JwgId2Sdht
ZpiACQHaCBdcZCHw/BmkoJUIxns7UMuQaRreTLzDOLmVnDzrqbmWXn8v7BRIzXorJsyA8hLcHwy/
7l6qP7aNXeCQ7sp4+K8kbS802J8eJQUZa87DPA04qSH9NcvD5Ad/qN7mAteUMbmnjn+026XACN0/
xl13TBNjY1junoARE5AXYKB/KFWCOSLGe+g4J61aBQx2PIypgy4/LOOPBZba6R8G5ji6sY8oKb1P
bc4gWhQk/zwxIm9zLqAYaQYUJocQVHKz9uEEowPmGvOIIZVQAAoO7Mtho21iYThhTwOZtp7Qslxy
SogA1bWvIH7iMt6SNqKh7AjLW45XdBsfhiVEh7qjZHQBbnAFGG20YSgHnZC5vgeXjvE11r+Y2AMR
Eygms2pGXXHDKUBS2S3CXL0AFiVxMdW3sgkYDEhfLTdwxgHJio+g2VTRwQda8iesaRb70UCXBXnl
MZs7bBy/tB4dmPsZqM/Yu/rsbgNrojRYZXmEz87VrWO4gtbbONUE0MGEaJFVe3l8rTxvC5TdF/Zj
TpC1z4XbDv2N6wxwUgX7IUoOXJu9eY/c7Ghg1QcJcEmyze+bZgZKTBGuViQralftuPQw+oLDSM8N
O0ql9xQIrQOKTDGTGzGwxQqC0keqgg6APrDPv4+aj6nC3Wy8+tBwYGysKgtdZyFh27+O/7JdZrxc
UyJkOQmGNrkVTLAy1TOLPVh1/+zM3dp14BlWh37axlr2SiOZsnLwwIUDsR45xjK8PeGs22cn3+Bo
hgsksIy3rbGV86LPIM5PhBFp7m4ZvVECxyT9SxZmBN+kwwUrpfalB/fzF73lrNMK84ATyOsCyzRP
AQjCPLgQQ2zDSu1mngZbVFnzWwePdBqs65wb9oNNuauXTBToeyeGuvO2pnGIwzMiU2oAlubi7hJ8
WvCynOMtfNomecfv3wWVla1uHApq+IJRd0sE7prNXLElKxoKWDFYC3pH6xjPa+cTC+4+i+2HKJTa
nmj5tP0dlMO4d3EDMPz+Pg6ngkCeVdszPk0zbsiyLLaFiIHMpR+w3LFghGK148IEtqmtdLZvGnNr
UzJMzm2Z0+ChZUVjoF9UCdAmsboQN+6uhdmwZ3BTM6W0qVEU1MQMp4HJ/dNV2tGlvdFJ0MrVO8qZ
x1jDV6wK8am+FNMXr69tt0B3UQ2LFQaBlW8RrBZoShRpX8GI2uaTAaMwP6uLnP5zhU/MWe9e2K9J
8z6DxBWmSHyQPtQF4Zg32932W7gJqHx+LLALE9/qZ56qp0e8VTxY1TlWt9rlBva/8X4m0CDC/myJ
3zEaHvVD22JZ4S6rqf4jWeqCrbvJPU4JHFUcuFTpL9VSPsPkB8gj7I7rjqET35rvOVEyBNxqSmF3
ElAKg4Qhg+Gpl2/ZUv9HN75BJwE+b8Iy5z3CzKwOCU+NL5gnZ9iINjZz9lQ+OPaNnhlTAe6AF4l+
x/8EbkOPxStFzkOr363pOjJCH5bNVOOHBZQa31lGMo8KdSZqosWAi436BqydP3xMaXhQARUbqyuo
+jdqV8qkkRJI9+jMCmw86VOC+Kdxr3KDsnt96MXSBJlGt54w7vKsZdX36Vvs71Qdr/kgct4PGK48
mh2JVJqFlnM+FHA1SrIF56U98UpgwOo+y2pxbtBhINHOD9h/dSx8RvoAYHN70mMosMMPD9NJo41h
f/TwET06L+4vQ8NNKHJ/l2ITfOLoMfCaQOcCQDwbe4mS8psOPNdPE2d80CNn++DoaJsInv4fUW+6
LWPE7nGBzGpHBLHnDFZB8uO3BUyeo3SgLyzCa4r+YqAmYyycTyfidfcN1UbKEx3rHqc2byPPIjI4
9+imu+m8KAIXEcuiS8/hG1HHZT0h9mLLi/Tg0EU2rs6PLi1MDnA4/62nI5jeo7xtQDbq2sD+8GKF
xHovm05LOo5folEG59Ir7NR5+jGlVTV/64grO3sz5NpmbCmoDdzmopvMyaNa22QDETELEyeEuTVE
Y36litHdyNU0cxWlxLs76aE1twHuvvZTxLyUZ1sE3ZbWuwfKb6fdiJkSW8DVvmU918DMXIG0sPxS
E4ZiLKlpgie5VrCaAp9b0D7345c1UrwJjgpLiz0UVl8c9L6GxAt9nJ6vyTKIpG2jM+UnUhJRr2H8
4ehbNp5Tv6R0qbxjBijYAgVAN036T8HxbPhXg14npWakC8ZWOGHYfu7Vj2JUqn8EaMPhKGSy0T1c
0iQVpo6vgwu/Nj6bhbM33QvYKCXMbum6rev8ITPnAKGVSvfslOe0cLjceCG5MPs4HGa73pnQ0zBe
WZXtt82u8SU7aoD8NalVM/3MmBg00tSX/VsLkSZfkt0ClRMQgklTE+Evg+qbSiqo0XsgmgycT1YG
SyLCsimxH/lF5acVdD/6wiDA2La0Cg5TDIFgWoX7BAARL6FLLjAQNlLYDsxoOIDoPyVnr0GAXndH
pIrHDGBGeYj34azZouXlDVn6sIaOLfsBehVMg8I6+MKgjn6SMV0FDBrl14ydcO1S/siXaXF7g2YF
bUvu70rZF+HqFRVxtK67N3T0TNk9pDSSLUBz27nWmvjAivQoSKXrlMfD7zgBT5mZcxrgPBkTUecO
Bv88rJuO0aqRXiL7liZXhXZl2g/qjX9C2JP4eqxT6JrlcOo0hMRcQAXILNLzVZHPaxhYYohQUzJA
JJPKzgidTd09K9Alm26U9h4lxMweViGW9DE8L4La+wnCZ4UZzrhLc3UMfQaoy9V26i/N+hc53jqG
wl8IqVf/RuVoYrZjjIhpxwlnVsaSbndJR2hIUeQZq3SY70N0dBNOGFKdWi18cYrlXRAUyTRs6KkG
3fhb1vihLSalkjWeVRm/OBQAXkbEVI0ioBwYJLknFwsHx+0vRRJ8IR+cISmYKUzoXEOi5dDvoFRS
0LW1ud8FUQ7BBC+9dNG2GbqrGotNOyVIri3uXducQ4G5Sq34tBAF5M2r1pqfKTSkBlNmqzZ3qZAn
FNZasKzK6xi+mYt7L5iImN2thcxPjyJRsDbBHSFzvam41wwBgIIFHcQrbyOoiQdCPKQEOybIpD6s
nnG11p/Z59AnrxpHbxbtYzrGuelfZ7K5CxzNMlfcAddw4CBb+hs4t/h0bkgfxNitpzxTnUcEhYPX
969gUVYbGBiZqHT6WrFFLyRlhKBu2HCvscz1SkQ1/DoP8nYa+GRWbK1yEwPwZNxndklsX/xpfowN
76cqwMSAEAb/Xw9AKWfa1F11OOE0fG4Fm6kmMIakBXRepffFqZqq8TLo34u6JlwUZvLeJuPBwKM5
Q4C9wBMxl28Lg7h0288YpXC5/p6Hsk5t85ekRY1H05qBtOCmiQk4fTqKr58mf2mG5MQ2XXtQAmkm
JG0q/SFUUoSOhKMAwOAmTxqp8EnplXBTDHcxXargrCVUHYLL4l8qyFWgslI7lYjzkWlVWOodrPnC
4sc7g6uF672IiKOSvPryYn/UnJ6WoAhYNLbQD5drp0E31/4Fzeti4VROh90+yk0BpvYwMh+Cd1WP
7t1J7k0S0JwgKhi8PQdWy9SE8jxpyPTlzi4qdzeQ+GwFKLAQ0S948jPBKLj5FcQAjmVzogL1cWN+
6MzwT60JmYMdlq/R7BO3noQ0cPOyy/mgskJlMxyRHD3qrfcxYFMFGmEwe2PubXFtEH0FEfPg6yVM
O5oe7NujuvivJy+D/BzdIjU3m3aKMXXC/WM5ObnW2rqHuUJA97EmMiUJru1sSzLJn7Y9L92uzm7S
rkhXwkjMhYvKPY/1mFr7nI7LgBBV0/cqaPAfSPeeNHHVp2uVH7VFBhN3X2SPqxAjvzkdtkH1hRp7
mzPFsv3u0cFdgRreN+bNMlcY+3Mj+2CPnPUYvnIgGhlslGpfe88SIs2cuR6ynRbtLKGxYDwLuYeR
FZvYPWtTJhwoaeMDqF2RsYVYrMOcMjivhuFemFeS5uSmyaVKoPF0IUJzklcjFVWY73r2cQw7ANEh
1P8LV4B0pyz6GX/iTidlM3z2ZuvxaOgbx9g0jvvRRC8VDli5gAz1Vi8ZLHI6teGHg1TeBSjwAaRS
rquZAX8WMNsD1lbdp1Pjw007mJH7onMhRsxpTPgURXqoeVK/LWByUTimDdHLQuPh8K/BfNJajO8Y
/sVPaQ3nrCYpC5zKifuTzrw9Hr4UaseRoCBGKCTEdlvNqY4lpP0iIIpmC4CjYGlHCSbIyRFWSZTf
zR7WElQ+DeGGaQ4/PVhHybf2vf7BbNUm97tnig1BwWuyjjkF8YA5cC69ZshZmEJgt7VXdKhV1zBt
R3jAYMkkHAB7XqQhFfd0Tzp05FsHxh6PGjJ4sCo6E5d9Ts45lRfGr3N2oXg2FVMv5sFW8YWWQSgD
DxNiQFwAO7TYmcet73DYW8LTvxbk7Pq+tWecAIkTe4UriF4ZhGeaW63IV/wR4lIPEK8zOFF5DkC5
HMfIfK7gpIFmT1WwbQtOuuEqU3nPnF8yY+PWDp5/ISPqYoOb2NaCEAEoK+6HFGBEsdWJek1hpYUG
0VbOdzXEXAbQsPWu/JNUau0VIUTWh467XjD/6awTLlcBTEubjLYugNLXbrEr4eK130NxZzH75LFs
visQmwKinM5sMiIhQn5u4Y3vdtGw2vqL48xrbaz3U7Iy2z/B4mHNxK7OExvO+bzspR4hhcaedyEO
tjTTciPFGBQxJdArirbsG9Y9HWLhhcwk3BescR84rePOkVgml0KaP2RBtAZh10yj23+8R2H5dTn+
QAgfcnte16lPNf6VFuOGphIcY4JfJlV3Dkc9l1FYabFKwdxISG+hfOC3i8o5nz08+XmxZ9mD8u1p
czgPEiwvQh4CGRE5HozQS+L1SEdQzYZUwTaTnXHmYdHQWNxzlvNGnMz2lYM3qi/wnEkCFXnQSK1Q
FHjstVshqsgWyoSw+M1DoOUAwKs+9fqroJ+idMPZhZ+WVgcpCrn1vXl+tNHpyl8NuVtAY6B7lsmw
D/myMTNWc0hfe9j38hcETHFx1XjQocU32ChKw8I9I9XeyIYH8WG6YFK/+dcWCCiXYodT8yFO2X0k
DOU5iW0PckDIoWMhB8HpM/T4DlBYADAW/av06auwwvCDfCNiSgrURGOB05T63vRbRBjqp8fp11qw
MKKnIH0keKjaG2P6EVltXpbEFKSrso9XvCS8qbE2YfadXOOGoZy5lTp3ibDFYbPk09VEHl2Z4caA
JK2gqkovJLdLlxxUrKFBosYoLgQ8wo1m1n2nuRYoLTBuk4fiQOc11Yclz440mwZFkjSbv/8JbNmi
Tmrgdnd7S5i1VFoQrG6Thg4aOCkO/jZoEOeKSLHe2vKiLGRd/TSf5DrTpmZFFevYGL50IoWCxzS4
0Sv+zZeRUbarly9DVu9gdn56pn+M/OAeTxBNl8WH4lrDCB2PsvUxXkJsaazLmniPPll5Ltosq+KC
UTYVh3vOfew8AubCpjneMGW7dTmgJ9MLQIVCxCdumC+PNDDHcmb+VzwGCIdrzh+6VqKYJxP15gR+
YeEqFazN0lhRWl+w6hFLslQVe6u2UZ1V7dqN02tIQb4OTEDwGTxrzLHjj4uWgl69zgHkybn9o/+n
Dd6b1IA60mZr7G9Jlr4Zi4WrKMDo3OOZlvGBNHxfg8zQNJOKrNdfqjr5KZqnmhmgFfC/LcgNUqvd
nIq44uR1jIvVeLcizPArDh9qwr2rmWeUP5tT9w0Pdo1m7a1q8CBKNiYnUWpPL1FbnkRWlDX3BNQj
6m5RYABEpScPCgDkkE0ieJX31/RgCTD7bXg60oVG3rAXFxmKswGiQE6AVVzioNlco4vWWkTiMkGp
2hUH+gN1O0mhefQMgRtCO2u+hEPFYqOhgyCqTf4BlX5QbJOaQBKuXd/dq3GgKouefSB+AaMW4ogt
L3uWg8wj0MLNodRXJNVtRYgwBO8OghIIbbCFzkOFhUD5rdNzVO8RbHeWeIBxKEc9hM6BzGj94NAT
jVBZ7Jn5MO2LY3FwwuOFt6FQwKvrJPZX2E+MQbRb0v9LwOVMHAsg1T7d4jsHhqQLwWT+gTMJt2hN
WR26Osbmw5lZhM9EZ7C1R09M8vmECv0EhT0MeglR8vl1eIctuQvzXSvvBmcLNRVJ6w8zW2/hukAJ
cS06DIdIH4Z6VXkRxCrzylOH4+0Ze4NzpaF4Fg+rEOARM6BsiPFKms4yIcGIyWAETLJCsjW7i7UX
NGEyTWip5oqznt26m2hMFy5EH1tk+lTaFKzakQ6cQ1rgsCPzSI2vcm3LMIv/t4pMLtOrxBHVQCsW
QIJhmhfQfb05d+YlyKMjTj0r2gPUAI/SNCv1lpCImTAjMO+C5+ehgTzzh/oDA9aEkkKnOws19cCh
9z2oVeoaq8U5eyA2LaeVY67JA6EMmmHplRbsQeypEyKHNRDwFvVcDSC6sKM5rDj+Nb7Wb5Bx9eXZ
LyOoFWqAwb6HBZYqHriBLGCiJgrqzm6eYMWQ79JrK+DfAP3wSJTm9MmNaXByJhR5TfJiF7y86T33
4HQuvL8WBRW0cWSBXfLF1ZV4ELCgYJDpFr1O9OAT1Kta3ynrLS6/7TDHdmW9BU9qDe6kg5tMGHg8
9XG4GuoEZshecEHlHIQq/pSX4WuNBiuxiIY2b3Xy3iOr6Bmpc5bV5usycPKzdlX+C/H7c7RHqdv2
PI+Bk+pbn9KNHrO6nBFbu/Ir4ohPfIBRaQiZKc+pzwZqPn37zHlPxZTon7hnsCsI1VyCctdj2o82
DkIis6mzRxQwH4NIEFBzFEexPy2VaDjSjTKH6e1XAy3awAxPeqjcOJiKwD5BvGje6FwjHCN7H4I4
5Y4Q2UIOm4amJQjemowLvvoBS28bd9fY6hcK9Vi5rbp7NsL56oHLXSoYubY0SGuZYZFQBJdvghWC
iMwJN84Sn6KYO+ijZiyJRxaOSIliaHrEx5RBHQA1W8rRrHdGLP85id5vuujod4hLQn6XOjDBer2T
Y2Twj8t90u+GTtvnS2k+NAwQje7GPTuW015olQGl/hhT1nLnatWTET4xfHusXjQThVX8NZcXj0oi
bL1nLLHPpfU2uOG6hahePaMl5HhtD4r0sorJLcc8tva+aKY9aBuh6wBam3ugmJ4OfMwK8iKwBeqe
AcLqZlUPu5x0JivbNFDi58ldmxhiNBQWDNc0Ss2cqjkfXeIbtWs6e6wnj4p6tJh40IkGCbuTzsU+
G7lzKvAbgA5JkN+ZqQnkqEcPHagZbUvYOLykkW9N5eOAfhPNAB8F5HaE2Fs0RGHal3Gpn7mM9hFl
roVex6jnp8moEwGfYcV7NtbD6blxiudoTg71MIMlt/8G7tNZXVvlXJtoODqQDghSwhUQA7MU6lRP
9EBlbseibVdZg+9Kq7+NtLbonII0+skswgQqZ0uqAmYO39i/P83am5+qgw84mllIQTJrgVNJDolD
rPCM1mBonzI9wcjR2WVh/B5MyWs4a6faRWWLdL62yKLE6wJZGmSN54I0orCKn/JgImuqeR2bkSCN
ZjP39P/alOBh6K9U/s93xn9WWn9Nbnlw9PJPmTS7wVWHiadmL8m976p7HugI1EyJS5KniOLdy1zo
2do58rV/Wo0fEUNgFym1DEdzjhIE8SmVV0W+ixQbIUDXEk40lxKqYW2blovE/qtPrEVGwPDypKmQ
d/ozm+4TTvHH+NPKTPzQFjKTsa9AQ7fAZ+dvYUZEJxwWGib2ev9mjQuaoc7ZFvTEVOhWeJabsPxT
WblM5Rx6Ph3alQ0jSDu141VV4zZtadNxhrKopYuSkKtnaJCyeKV874b+UrkHjUhggFCY9y+oAkE7
TMiTFrwkbRnWaY+c2/f1g1uqTeNp/y2Vka1iK1lrSueYrWjLsZ3cFO1hgePFWDnH0AIlEJcvCJsZ
s0BZMcoqnnia0jdG+dOsQ8tv41daT6ahNZdREREmS/maZhVmm9Hqfyyd13LryHaGnwhVyOGWBJhJ
MSjfoKQtCTnHxtP76zmucvnYM2f2SCTQvdYfNS/II+uJLM93vSOqyTO57IhawYsN7ezp287O0NjQ
vaA4B74WoY8ws1gXjZ5OyAnio8q+lkSbCbP6nlqKOkqWJbf4NEMNk6yb0hPFrmp9qOZ//1GiSsqo
PUPVzAx3FVNy0AZxJ6b5vEzWV62iBmwdqAXiQBzNeSbfBLDh6CYLhaHVtpsfIGZWSowHB6z6hV0e
a/czf6IS/2UE1bZZd0sRC42W9ZJy1pSWQ7qBlM2fVZzvbY8yf862wkR6PH+QMDaJHzczfDXGq9rY
z1pqn1jsf70Ye/ps/SfwmvUyiGAtWDtHLcFrUrJyGLVvipeZ/PgkYpdDFFmW40YX5mOpjPeQAg6q
Wp4KGovWM5lAP2HzT9y6hCpJ6zuks7LUIRMo7zziIY24jlbNCtMXV/mqgyU9tijdPTvzGze8o9hg
pKPHXUqGgMtAUuED9HKvoQlj9mCVM+PCVzMCq03wQuEShGFehLHXjPqzZ2ksTBvzumwcttEKmwNZ
pnqwEGpmkM862hlHb11/RKxIHcYRTYFTTJ/pdQa1xloNCpOTMkE8teJYe0SbYCQkaZD9lgxAESb1
2QzqyMh1SKZqsoLF4tsiYQ8AamxRpRZtEKGGK9iVtJJornbX5fwWmvsVlWMgE8HsGeE/4Ah2Ot4O
eyBKe/4xgHlyO9wKSbl84a2TQ7PsAYbZlUAEwxLq+c9RI/N7xHKuIV4v/hgUu4Lv3vQV5bXD4UPg
O9ocJECWdA0GLudCyF/uFYrYkBwwndB9Y1L4tJ7FdmIJrMRrlJpEmAM6JdxqjppdUWFAGJ4Szixz
xtDCG0AUC4Zr9DhJ43s8G4TI0rhyaaZ4o9kYVUCsudNqJcVvA4vO84+Vc+1af2F7w3NI/kXbTRsH
TIDm9XwB9hkIKHU+Xf7MeVk3y3yAsF8bLqsxNsGUxT5hamiU29yTviT/Vm9dzW5Emdnjv+cA1LYq
zimOawicXHLFJkqmTA+PIUaDgvBNNf7SyKwTQPvUCMsCelSpXNlcYml5EWl85Ge6jC1xVPpY7Dqj
eLX5RTJ6ME3rXjbqr4PScYrQjmTLt2q1pDlHDx2JIil+uyyjRI5OCgVpsRYxgHs0ju1THqCILlZL
NRBDjkGDnFtBqxKTZEZuEyKB+WsMA4+oGSXWttK33Lr93Z3Q6mfyu0WFX7V433wjj68YGO9UG2Mx
oHeSLyyt0T1MbN+IzIz+2+Nfz0OFJAe2XsMqk71FpIK0Zn1fTLFtSQthZJSUVs/mRTimP47/XDTx
jJ9ZhJtlm7LbKlTDCo2mOj5JCdxIbtGepVb34Wkx2gQPg9CwrTprL9Pi0oTD5CQn59ZpN0iKv01H
o9cXKAC7mUXfA9RggjgxZ7rTSrDT/EKSHSPGLkOLhma/qsiJgj34D7Zki+K13pkmKa/JNsMfMtFv
E0MFdDOIWgofzpazYGcyw4OlNVSGyJVX3eTqlz6nhD/p2BPvpD4iTABT4AvMYYWnBUO/y1ZEgHve
77J+eYvLl0Ic+NVDk+R16niLyjrJfO5YZysKdLV/GfXXlmKVvp1W7XtveIxs0drMppvl3LQSN3NN
4pWdY6Xs+KWAphamYqTHhzgsqOqNT05DOJulp9vFrt+S/K6HbTDZRE9kEwyCHVD5wUOfOcomqogJ
jI2HCF/U0MXKXEmuS615kWDsK9tdi9gGK/8EkGy86rMbOoILbADEyZq+S8U+WcPCluvUePypLSkB
YRZwDkARlGOMQbB9ZblZFsA3pZd/uLdPu+XHXLA3IxXddqMZVDIOmkebEOvKo7mEHDkvDC/yP+ce
wJdFwvXKvywsnx1+MIMuX6/ob14K+qG0Htd7Ou+01GOlZFguvk2dF6bmu0VX0nX+EOWnsXcPNWkf
BqO8Uv3LSj1IpGBxmZWD3iV/y2AQ9GBvs8kMjIVXW++D9jgjgSeC+WkyiO0pkleNE8mGgfHi9GHp
9sDpZYmdZqUxtjvne4RcHawF6Ry6naz2+ZKtTKD6BYfyQsaDikQkIS6yzDI1CXZMwcDNgsW5nD6d
svoIk5dYsGBiwCXAJA5/JNHKHUcCbXY3cxcEwPoMFYhmwk+jMbtofGeUFeAUAxF5qomDlphbwwWc
DcoWdubb4WSTMHumAFfSBViCltWj7mu4vHhE43cOD4JPGTx0OFEWzCmyzg3x1BQpvheLlFG2CaZc
fL+YC8Mmp5Wqlk07c95xLP8tIXpDQkHymqDi8Ld1wVZJ7Imz9ABWVoLU4oc5yhXEZJpCLKTx7IBR
XYUBligeaAzbgENpqlbooQlNJjOlOroYmsaZNHxMFhXKWs9afBM1dzVHAZ28jgV3jfWqsrrvEgeq
yuEMEMpWZBZTINWsgzGRUpnvO4vQye+l/mKlVSq0TJ3zkifLM/ofnTNjYX410vkW8X9r48Q8qUES
X9oGO0O3Ynuf9Q6LIF5yZu2CQcHkq1QAyXCnqgdRT/tc/sDKNskJGuNB5KZ0Jezx39mPBVWa1g0D
ZztpLji2e8B29R/41a5GAkTF524U3BAjH1gM7/KImp8hFEANBBhiqPnXQTUoekoeIQZkUl3GKtt6
DUhiHDIkmAju1YfLTgg/gs6mH9G3GOGGbJr/Ebn9cpuVSyUz05QJ1UhXi0ul2NelEx+LYl7xhEOE
ND1sF1qXkgsyQXLKPjnXG5dCWcdSnmu3fICSpGr5CK1wXyx3GZWGDYRRlRwiC1tMmY+XiLNQHeET
qJ1JWVAT/dlDzdPntGEYOC+i+CWf40dn4s6KfUNnR02tEFiP9Cxy91jANHKvt1B/PqNEyec4I30q
shcyLJfxLNLdola+7LcAFkvyavffCswBUbzxIa9HuGtAFzytMEUZ2DuvGdIvQGkFdQA1NEDgCkzJ
An3FK0rvo/Mtk4dMBBclZmn8GDtb7t2LdsxnLK3ozLv+IsNaBdtnoVtvfR0GUyHQnRAXg410sg56
tGx7bv0GmBZCRG5pmg7Hqs8bqVEddetdXnsjSKyYir2LS4tVlzXWdb7ClPhvIGfT0N6Gyt3XAw7Y
ef5dwuhmREBTdm6sI2jpkY8aB8xWt7VvClKo2A0sHYTQzKx1VMXftU3MJZ+S3D+84W0mfCzXBzJj
/n3J7aTHkrLgmXa0g3Q0LQL34nx1lKtVZ0FURr4t6KfiRh2zLwuUn/DxlZM/F4JgJ2bMNKt5noqT
52ZvMXc9ViKE5KqfhGBgRJ9UY3tiMUAUT3MnVAwglALG0oQaVqDoMsAQdhfz36JtpaBMZx4mBxGz
GwOBABIHsmSk9C1j5HGKjro6fUO5S/qcYL0qeeP/0QwC9hnfwBgM7zdrH3A5SPoYq9oisJrs4GX2
TV7HE6+jyelsDir5D6+U4oJPwbs6TBPS/zhkmEvgIbhl5+HiTZA2cyhl6pbFeI8r2mJTlPYV0U2B
HaI5HsuTKZyjO3qv/SxzXohylzdZlDv/CWB4goOIO0ElI7NC2mATeKruyS/6j9NoG98h58ma73a0
bYfo2a3aHZ7kdYdUicavkn/E+3VH6j0JcNLPqGh7c8twUOvfw0tFc2bcxD5zULGuUUTGk8EU/htb
UlAYEjnb750KDVnENNnVH7NJrELLUtiTwAWCuGIkezELzEWoNmN1RMl/0rrq7tZsHtoASsuBk62t
Qd3OzsmF/6yTipdFaWjEI40qpM4KwY49mQDr0aaayf1DvbXqh/EcOtxlScNs/5Wq/ToR3xDibaxh
Sfa28inTxxAgTXnMakOQmyl7gwdfCgX0xaJjhphCRnMtSvcy8yBS0ELBodtzSGNF0sM2vi1h6gsW
UYu9vkqIyMSnwhU2ZBWRwROyqZ5q9elBE/S5E06QESDmccxAFiDD/s+R0xFYHu4toLfM+JOJ3JPZ
HsB4bTFdtIlaHfGghKZlgNRj7QxqHMgfXJ2tk2IMz3ZVfMjEkUImebGXqhDpPQwZPyakv1PVJDGj
OAaMx7JEa1x2T4fkaki1Y8HqFE6MGrAdtaV9FpFzEOV4VZUvmD/iSNNpy5rJz4z2dUBiCOYewmR2
mrUrMaqp9r6k+haQwFW3ZhPVaN7nq4iynaGmp8FA/DLOTyHyA5drYilge8NEv4Q6lOrYbQtCxkGt
wx+1nKFzi+Vq5M1zM7/Gxr0IQ1zkpJ1hiyOK4uR21hE6PsrJg2sfDfh63BakBRTbqduU+JzDdmZb
vxfpQ9GPAzWbEHholZFOhJnLUfGnxvomcilfmu1g6jrSBdzxxQGx7Mm7MyOD248DN5vZtoeQ4CvI
FGZzwzbfEu+uk6KS47euVBwjPF5zm1GIWvMIO6THielWoXKKY/HPHG3cqMMoc43lh2Ea0U+rkZUf
2RsSKzeCiooZLXNl9O/R4m2SusRgW/gly578PjIsOWUHtdUzAsTEOGYJKpigTIEBS34AfPdPHctc
Ot+ZwvWJ0lRdYs8WXKaqSjHZfMrYJQbjKyYrxaDyO4Yv0mpdVpQwUfXsfRYnfjZUdCMMF5y9XCkc
iU5KvDFQyYJaLXbh02qdCkjFvY56EyhNekodby/VGllEkEqyqyb3HC7KUwKYifxW+gcJkKrH6VKo
l05n5bVFSGehuavn6l9Td88d6RvacIot7yllESv78qEY1rvmadFG4Z4Q9piTjgXBOo8FM/fS7yOn
+oyEeB+z+eaVJmt0zoKh9N+Nl22zBm1mT9GGKwRNSQlGrbnDGDSkdbkJxwL0y2G9jxpCIayW7Vdl
9rQdUnnkMFLzr3YUiFuxaG/a38CsTlZWFW5au3iyaptLUalPrO3PaOcVaXHK8DuyaESkWHbaJzP5
bxg7VyOpqW0Am/a6bwVHV9qmpzDyPhGOJ/tFZ1qZU/UkaouSR/fcpCIIQ6yNbow3p2v1R0+gytac
j14PfxnaHMCph7VkbsvwhOuWjTNpScTGzzpV01Xhd6+nF8WkAnhs8kvXaKRgqaAZHPa0cgFnOcCi
unuKDRBYCM6UfiLcyH43U/frgoFxgapL+hlGzr90cMCHrAt6ugsk69Tuue5bk+k7M/pAFzyY7ZIe
qp5AE87rzqTCnn/ZPBM3T9FaYvw6nfKpJDUDWJLvMlVDiLMOe48YYQq/SBQaWC917bV069OAMp6r
LCDoMnC8+tmBSzVnMlvQbo9acchFsrH5E1y1uXRuyC07M07o4rmnF1eGCvTwJbhvqfobCcNrD1W+
IDxI4mPljJpfLpQT9cKN/YpARIvsEvEuP5kZ2blmzXviQa5Npx6V0rvJ346u+e1ofGWc5pROYqZg
B5L9rVk8BaHmbdKaUktn4HE44+q3FCfkeMXkvGjfQEQLTbNpVW8ypbn2ItPOA/oHnXlVwXGgmskt
N8FaiAIIR8gNYTHTldYxWdpgZLeP4J3kAE6tausxnrIDk6i3ncgUYNEXcCzq2sADWaXO9zxF+zCu
mA3CU0vsJPW0uj9GxSdQjS/4L5pJ+6NkPcXECsEmvePjz76oU/msVd4tNgta9TyiU4xh28+R30UF
nCvqJh2BeFcSchxV0T9RpwSHIlpWc/dIcufXwkib99I1mfQfRLGR+ZXpG8uuYFsN5LV19SPiRTr6
x0fRYuVtWK0tkuC9UewaRdzauijuQnCnpqxfhEbc7TrJoWy5Al4a45579C4RfxRbzgfxPLx7+JYz
Y53HnL7u2D+qwXkiorLyQ7cnF4YzrzN+p3rZOzFi86Z1x0CTsp4pp4uJwWIRNrpnbevyWYVOvqnM
4rbYpLKIJEUMBGwRLug+ZN5LW9qbqY2DvlAzgoxD/g4GryFHNqrlqNKEexrieqI0BvbBEAS3JzuA
zQKjxq6tmj9r7Ag0zBS/Cz8nU4JhJhEQzeCXdbq3Uus2qoydVsMsWTMd18TtFh8EseL4j4N8LE60
Tv4kCy44rdFBhquPZLm6KWvmgtLRgwwz17BMb6Obf2bhHESZsmvAsuNeul5UYtexDJUftWg31F/t
rCmpcbZKHPfYZ/B+ypRma4MfeuJ3czve++nQGG4pE8luJAuOGL3Z0PLf2iX+x+XDch0kWHwBDoR+
0lXv9tjhH0Hk7M9D/Yzpyje5bhtTIDq0d7Ety67E14S1qaIVDaQ5reyNYcIKGOQ6WQQNo2tycVKr
PWUb7mgfFlU5jjQgzMVvj8B5Vats8UaL/VXQ5uY0lNXVadBa4BE4gWR9NKtRMzh+UlWcoK8GIrTl
ERLDhrrXTgEu6bhxyx76N96XFfgxCsfxUb2bKQkpHnmBmbtRzXttQBPWwvpt0vS5LYyNzENOJnOj
TzUztPuWhdkhrXEA0Rn4qDSMuADOTBzIwS9cd7exLVSWheLZ05CM10t/9/oi0CZC/1Ral2A0Tghz
EWWPDRlq7LNDZ+3G2EJRzdQfVs82a/DKUztynl9se7jpGDTEk+HS06rl4JCotfupeArNDOkZ5kKZ
litQPGS42TjAaESh4ZpwSgR2MWkMCWE9nFgpM2SskXoW0hOIpVA7E1juA0OqYQ//s8aj6XBZzzNH
FLfPRQfDubjRXWeyuXgYSLhwHVfQleolq9aFm6mX6hLWhIcXwve64tjmvl5RG1TCh4/o2QnC0ZRz
x4Fe0cq8zIzpvonEoEakP0d7vFg4gWIEWCRMTULfOdTN1BBvqS6Q0EIzgfNM8AANRrQULVzTfcq/
heayYu0x2eX7cwdPOr9aDDCO0dK6crK8aEu2smlt618PxC1GHppYhIo5y9FCUp38WVTREjRBTobE
UDUy0AoYBanTlteRq2Ar4pA8MZLvO/dE0BZaASA5eyFoDjXUaD71w1WzLL/JfMN6akNwG8aqBZkO
b4yA3eFrdKuvWNjHkt2t8ugBig+q9iZPalLyA1MDe69I+h1X9KmShHqasxifNjehd56UPwfYomSe
XYb6jk5urVpfSfRZM1Z1hreSdxR7z6hrq0XTfHb1GrxU5UI2MPQN4Q49VlBNf2FzkLHPufTJWROq
HFwL0+ucVGiv71q3t4uH0InK/VC04ziR3rQOEYq2fr/4KUwSAjXnux1fYiZoF4Sc8qJIQbih4n4z
Xu0c4Y31TPIaMYvceInl4br8Q3qSx89G+5dq8mFAhlxN63Kro7Il0dcfKT+ty32Bd4AkJ7/r5gDM
ndjXFVuvdLl0OiSodqOFh5ZQTHDRvS4gExSf/1pndPuQxyBOLwMRQh0yhzIP2u4l5TmhHniNy85s
38S36hGf1jyG+i1sKTZnQB9Kzub4Lt94UjSm5Kjzq94HugspYxvdW8FnlDUkQe5MgDokKq5qnBac
QF4d6Oj+BJZwYPuat9kKlNjCHpIS2kQQB0+LpxEaeVBKCjS0N5gYm0sjHqNA3tGpu7fxAfXlaSr3
w/TDLim3AQL08Col0IrbiiSn9Ju1LmjLC7iUTApj/zdRdSMm4xP4lBIbtdkeJwSVbvZrDDRRtXRZ
DltcP1FZBSUqHtANT5Da3H3W9iFMAUMAClNFDhRq/oJYNurOcqWTt4JcJ4w+fza9ryb6Z2Nu8ICP
MzpS0ILL+EgIrHo6Zzj7a5mZ0J9ln0yBqDjhARgmFf/zTbVtLHP8CjaUIGMXenxkJAVJqfQx5Dk6
4+kstZmcleOr4OeVofB1fVQVBjVOcuAsV9f9c66CGZ+Isqw/GgoCPjPrSPKSSxAnx/LEcz3tkFvm
NqghAsC9Ac/pIExsyNGdf8zi3aZBmKkjhVIEJuVEKDx90yjdYXQZhRvmA0852bmfTV8FM1tOTCIE
J8EJZfixHCdENfZyMH+LesOjlY5r+WvCY7h7C9Mj52r+YoZQMgbr37AtsTuF0dszXtQWj+bA5t69
9g4FY/mBvrWGTQMZH8/NspyI+OrIDuQoGz9heta2aaCCuhdQDuauwTzMaDU9lSUoHB+89ZhphmbE
cfVuDaACdwuOz6uXaocPGd0zTNzG9U2C+IoOw9IFoLjEp9ulu9bmJ43bQRBMcir7L6ylqxpLnLnS
7X+mah8antOnkNd+5ZCyvEQJxmCU6eqPLZEEvrPJ+JPEIcpqtPvNDg5MECaf1I/C+vTIPy7AqJF6
UG/xnGqY01HqAipIOquUuTlGIPp1WR8XDKtKvouB2WxsxAYCfnCKcTl0yjNR/haVcCmcJ8GUW31A
lTUk/K/+fWZc11eZ1BOlL1xaHQbjtmnpZze1p0VuHM7LRDBc03ovsxPd1B4pnEB9Z6tIZE1EPdz6
VlHsdaM/IpeLzfgssnmXpwUh7ta7nD2VNgH0pPpm6u85X7bF7xjyRDr1H7+8qi0bKRs246OC53d6
MfkxSpI1BYNUjFZN3gqVS6LW9JUrtDG4X1I3ExkNvC9zIiJ7kLcWMVEK5O2MGymGl+80fRZQ7Bcd
bbM+buUhwhmUklhLZo063yz9a+ZXN4D/tUlZLQZkeH+slWTnWPkbx2omM1mwiPBPcR9BXzHQr/Jv
wRNf4CkbMaYdnZSLwCRcdQIxY3yHGCepZN6N0+9IcEH2EivhuUWQUOfNi2dU/zkmYsJhk8AW7y3p
QqFzKvMbND13j5mIbZ6PT7LGIXsVE96j8SPeKCzMfRQRUmKTPQP4CcbVnet62IZzuJZYj6F/SWgb
kEHq6WrpnJFZSQhlponw7N+u+ZLuoM5Ax9JgYHB/0CD9ZzxEFScFjAXcHby0kvgTiW2duAF0Ivzl
tZO6a1nSk4CVdC4QEA87LEQml9PubjNuZIPxOXrGrudGKas3yJOVTpL3HBBNYBayZ0JnWU6mfeZY
BM+SvWP+C/WLuKZvbr3if3q6RwqOS1rvHAPtqoE7qODouhAjPnLT1JLhQNWHoqq/4SVlBarJFYqN
/QQ23SHp7+ZU6uOnmiLRZtmow1nHcdU7h4r4mNDhuUA5m80fYK18lZ65AQXg6aoMQqVAbOLmNS5g
nWjlgsfk16WLBcje9C2eZm35ROcN/qqZy6lzX0MyVvUomMSl1Keb7ZRB6TLzKRWZtiuR38fkTRiv
SALw91itR+ZLe82tHb2otnNt3SHo4ABVM+ijM8MN/lmOxP992qb3QnTdFpUgKlByBOdpQnqdwkIb
Ad9n7GC0n760UBKgO0reuTDhMN6K+qcpUHvcJCcnX4V9LCfs9podm3vSHGvCI3tjzVE4ZRTDq99O
jqcjyJFsFWfpEJXXZ+fGAZGJQ12SnnSUz7hXeUeTaSYjdK+dv6Px2ex1k84iWFJEouijVVJn8EQn
bbNxpG1cfLNaZSTFyw1ehjb+79+3taDhTc7FKr6OzZM56msVYWPckFwc7zoKZppmQsgV3hAkNxVp
ivZv5XjEkpnGdXZdx59Gak/xMhf9XvnGati3CdG/y7GmjEuwt8wOk7k6bWu7+So07VU352/irVaD
2vlt/eq2Nwlzyit9qs6keZIzSEpOcpcGCwPmTU/fquLYSW++kqpXveyfOI2s5nUGLv4PjMWNxHwQ
zx6DDpm8GHOrqQWw/DdbXylsSCx7B2JBviU4t6iILGu6nzKrP5yI6s8MplWlDw1TsFRKmJxIaLVJ
pTsKsvBae8J/vOm1+R6F7fOksy6JB874sXdhH2Q19nuY/ADruw6qmtaNBr/BqZqQr9gs4xNE6t7p
o01n71NcbFn2VOXPOteXV7DGAEaThaIlynPJiZ8uH/34mTuA879avLOat0J/ZBO8cUteV/mMtcqh
H6bkiZAsDEOVxIT6qTr2xK2EfgN2Pv8CpJWCOiIuGMnAOtHPQPwhBs7XpI9Z4Sm6M97cFGl2zPhZ
+LdevGfedElxd12w7/f46zmk07NFuqv85AUK+K3b3geScflb1onIoFN1tD3Shzlby8skICTo4SVb
uDTuqo6Xcdxl/KQGQZMAdB4+B1oTzhnR0zkotFyAB97/xCK4gVCU+TXMq6M18o9XbxJQkvdQDeGf
2/rBa52dDGjRDrzeS0Vta0Wp21YyIvy1fBZ7Oc31I0o59FZThxc56YlpQHlKsrgw90X2D9OGjqug
DZ9Hr9ubAyEeWP94iTlbGOIwEG2cXsg6ZZp/9xpbl1srR/L/7e5zcL2Tya6MMqepiTV7taFr0XTm
RhAV137B/LQ8GkXZc3kdgEUk5LBRhmXXI6JSXewls/7mThE1JJgcxS2B9BETrxy3dkaCFh4fFyFT
1LyKKH311OKYlNkO0z3anQ6oK1s7NDrOtPhqA1pc5BsLhtsQHLHtSFHSUS1VFBfHBFJRj8PQKHVX
rvNJW4/XBmH0RRYPlE3nmtLHSNQoqdrHsiLdDvUe+wObDxVCNLaGKh4/SFX8KJrd4+N214G987B9
sR2a5gvEnJTXx18U/rb2QaNJ0LhUXHMkodJ4NXTHyNtbB3Nfy0UIiKx/4eOdiEdiF5Juzo58XNc4
hcqBPy2fvlKWuQEjGXRfSTr/cLdclSNy2ETpHV/ODoDgNeI1KuDCWw8/JwRMCkJOIxGwonmOySaR
DZ/zRMZSXz+ijvQVCUMvbGl1fi7MiwkTtngVkpAIqGdbkujC643uIxjbVwQCZs1SXb0tlP8Zu7Yb
eeIG7muCsxHNyGWzoaYDeYA9jOt0KYkJ/VYLjmZKFdzkpS0eVnOalm9CjqN+G7IL5jj0OQxJosDT
RQYjWq5YTtic/AiYW+XN4kodNGp1JnobyOzSu/nQOhvHjm60p6GAN7Y9en62WYSubHm69iZRHDdB
qAyxQtEVfqKsGjeFSpTftOxtj1ry6NjnuykvPiL1jTjKlDYpfuqKGDvCbmvS3qdFGtieBPh8hQyW
0YXdN7sTr7GFan5rHUqBEnPrFIe5Lba6V+4jm44G2i2cu+y/IKeMdETRW3trLdr4aCLlX0MLbWoU
O5MfR5TOhbSPcBnHnngu+fq0lAg/VZ03Rk7G8LYi86Hw5v+e3LGYiSktHwbNkWQBets8LoHpCfUg
l9JOonMWB5BY+yrjVPTMcefE1kE0fvcvremZ544lnk5vgxzxRuadrdGnSw7ZkE7RZfY0BjSDqdmX
RjqeCqbGnDxr4cYmAsRu2ms1vPfM24TK6A3WdLuO5JD0nmoFAoDZH0PaEdpoYxjPSFybHGyVR1Ij
fSHRrkXYXBy13+owH4k4psO9Q9QsLN8tlttSqSfnrxsHTD1sisT19wEk2DpqLaig+sV4lUw4Tx3v
OiQOkDWZ3MN7PLKWaTqTB1miNb51DHtTSCRtpZNdCVXIIe79d4gbxt0ivpNpmwzjTZteSBa2cTqc
df4K1rX4E/+5UScnnba7GU58YqeBSWVhwWXEFcUMM3f4IcbEFz7FK174IEc2Qr+W2Ftj7tZ1SCUi
HjpAQsIORm5oRhgk0Hp3aVN9rSO6GMq7oO9TAhHow7dJRErhOh8uKercbmbGAkQePxayBogckO6L
wcCZua0ZquTM7qjeBrehAAZIyJsosc70N6xpO6lKSHhdXZ95d/SSIPRQUbipt0Pwbva+DJGtuc5A
ppKRbQ6Nj1D+JBZCOM8mdbfDfEJszB9oQRuMQRhbQc6ezSRDHAji9WUgtJ6qUAAb/OFMPAaYX7ug
hWBabqzfjLKBlHdggvFM8MkiFaDNAsmc1xg7lxxHnP1ErGBA8SenXKtsBZnOUithMrd4jdAqAuqv
iqvqfgKskssThGZ+6yuVEYlMoeVXAjMQGvAoGvp9Yip1sXE6xM4jEVPgiH1PZKcnfBnXpaeYKwkc
zrxXEDOEMZN3LHCbsDOpSHqRyq0dmCAVUEI+Vdwd0NmvUfbJ58yprsDF1EHBaRYPyPGqPoim4j44
zkk0I5IBUtrwHZXxrsWjRTSyvP5kL7j8SVumcMq5As+lCsihypAqBWdXCpNovPjscRp35lZiaBE/
FpqtEsgnYqutEOTyOE2Yejn4IzQCxUxpp0ac/Egbe7yCge9QCcqtIQRMsFCt/QdbsitVqI7VkhOv
nQKOvMx4Jdod/GlGiWBilnbVjdwgO1AX4gZ8pb+S5E/1n5V5O1IppZtvXX+19XGCU1XBuVuaKRTM
cZTI4yM09pHxFHbiZMk7h7WDCXtE8UqVCfFyZ63HpJ8DWjLE9/15Ms4mLyH+Wj4Jg5x4w8o2uoYj
V/vrgYu0uIaUJudI+aRouddvJd0I4DD8PFyxCdIarEwhS4W1tjXFl38CH4jeACav0AGxbGjWX6Pu
HXJR5DYHUAW3w/Q+38FBWrofmnncxjG0Cq8KZN+q6LxVlkNXIDdzUM4UvzorLZO+hyi0p7MT8Vl4
IrfYxZvbtaQ3DuYmGYgLBM74/8+01qp1AWmUsEobsiljdYq777q6dnrx6sGlrvrun6md3Bmro6lE
EN8euNQrnAipD0+lx8WFI0Npw1OH1xF1/p9WHokpJZjHIprhamsrqDtHF0hjtqjVQaU24scjSkrn
leM5aeN33WNmHnaKN7Gju7jHosMQOnvdEle9p10RdLyiCQksHE4nj5QLFppc37Z/CvozULWnzgPz
ukSOvpMXACKOjIXUBs1lMVPI/5puHZDdkPS+5yyEhH/ah2z+Sry32sMNCKvXPhKn3Rahvh/LS5rz
EHjVTUDHsn0MMZndpLzXqNzZEck/Q63gE5bBzoAqU8PUyD5ew9oR4C8E3nrWHRxx3TWjcgU7VUhV
XLsLoWc5gCpevincLpAe1MABGoU/cEokK3IlhwSixWuwSZ1whtiojxozNECHx5FKUMa6L+GjvRcv
eZMsm45ss4aZgvfjbUiIVu7ZCxAuRv96Qo8B2uXSafWHTtuFxoHwhlV1bsLXxj05cXOV0C1iMDXC
LstzDc5o4OoI++eMYhyn3niM6tFMftQmEgeEJSxTVTOwnTSIjbm7gVGowaEfbsq/wTjloc5XHqjJ
T4LjU4WwyBkPgnGPOuzS7onS9cHuAjQTfsMPA88UKKvoyBe4Am4Mlj0w4B5T5sHwjR1Z/b6yYtLF
luFyrKzGJ/2F/IJ5XG/GZ569qDgMX/ofD1BHhNKFO0RstWt+1n6Q4m6iO2LGXb4Pz3wxW0Lot/0m
3Mbr5a0544i4Ee96tHbdudhi5v9tCQ/kLQKV3c9769R9Km/NJ7Q/YQurbj+eMW6s4T2f3Q/rLp7s
h/4Y3pHFJx4vBKK/LaUVwrxSd1AKqiiR1fgGwN4vGIiZkF6CF87HINLXa6U4ptq2m45hcqoWm/yY
kAud8bl80qeHDHO0I+BplhAuIoXp1GHLUm3GYPfCxsM1+eEAaInqOZoe/Hlh/oFvgCatLPaphs6L
30b7M9q7yVqZwq6skCQU/0fSeS03bi1R9ItQhRxeSTCLlCiNqPCCEmck5Jzx9V4tV12X545tDQmc
0L17h3ccy/t3+ynd1T4zHHxCV8bVfERX5MMR9rFV95kQ+O07DJN/zsY+RFvIEhvmuj6UlxXcsA3B
t2f3qXpbBJS/1miZjegjHPGd3JYRVjNbMj2sygdMZ3r+J6lQ9q0grCzD2rxlH+2lejJfB3ujYbM+
n8oc+vU+IqCqgCPug4xZOuQJH4EoqqxxZxECfguDB23c4sYNoaiAHOGXq3u9jvzCR86+wtp+hanb
KiSUkGaUrmvFL6YW72+/x5WLZwdrDfB+y0qxYm60XfnMAjt2T/VlvmV/kifvL2F3IVaI+qr/gsZp
HOwLszjGIfmjfhp2VD/VJ18U2rqjoHWh84W1kbyq9+JYXa3v6lO/5z47+x5d7Qu7Dh6dAJ/4rmFr
JcRBKGHY1LAnfK88WOXBK/cONqCkT4XM36mm1sbF9MODsWsfGAXUOPhsw/BUhVfYqgvpLTmOsjCp
Dom9bfNtUe5iA90FLZWP+1GbPbThZahOg/oYKOfafFBbiMEHTd9VJOtmDy71M9Um6WPRrtAObbef
5eQTGByvmB9KVdvbzfkameZWOwNqo6NRKHC6NU76DDwBJWvITwuZXqv4H5wWWmXzXX0oQ7+7YgH+
3b/ZF29P/bQ8qp/qs/Pg/BNk/9G8x8s2WrAMgeBNo9UwPANWjZrDCBkHSrtBGqSV8eJXw6l/de7x
J/0QA8p3xJAU9KRXYQ3zSZrSk/6EhN+fTxRW4372YTu3W9iLm9YnuBGVzgGJ6IAPMOczlqZf9XQi
5PlAkMbmdd6+fVGk++84RQKhbNBYqycHgAre7Q6LyHjlrqCyGGssWS8sTPVm/zSv0AKfbeUreK8P
xTPEXsg2yD02xrW+Vuh6W7zGHmCZ3MZzeKs/Bhr1LaJG5G9PDpVRsor26c75gZroG6A+b/2uOlgE
xGzKfXvEM+xnwQacUtUIzM/yEp0Db2N+BpsUdGtDidUPP4y+1+4mIlklSp7sCDqFRkmOyg62muTp
iQar4BQmRHULCpMx3rGYwvbIDdIJtR8zNhQKq4LzA7ipDaMDMt2ZGyobMQNcifJjRLXq3aAH43Ao
kJPcQvXwN4upajBLr+tQKn3HonqY6T5fxvngWc/BsjMjRm3WS7G8tMnjMP3JyCtvcTMLMkqw8TK3
+4bRYLUduieabGxZaVQRKAtQ3Z7EvL18Gjn5WQzwGimpipPhfEgH1IJLjz9pax6DyXtICfimHjOS
9lB0zw7ySsBjQXKKL9BAqthowsT0z6xuXKd+jihJ1KL0uafxw9CtaDcPEDvvQfzW6G+6/tUhsYYl
AzywisCSMMPfqqj2xLLPs0msYvALxD6ZMUbQ36owW0lLo8xUvWPc7eyowv4d4wN3x8Acsa4ObYsi
XOlTHxYPYDt/alurZymRxeWZ8rKnkh0MYimI22mZJNOPtfUb/x51J6jJiXYs7q8iaeeokIu78r56
6IndA2Rn78nh+1tPZNHiw4M5LING1DGrBniqZ0P2uIVVybVGBFyBgxi+TvxT/k+aBKdhWvYUJH9l
mCC1Yp7+6xlRIbBWgLsNQvKCl46LCLOK9uDF8Tl/mpDrCq0xqsB3on+asmfuApy5GVqd9KafDAEF
OLYGZI5/5XrAQ8oI1zMppTwlpqFKzzwLgILjckI7F6Y4n/LC8C2Ze4gu2c6lk5HWBBYlRVs9Y3oP
ZzczfTabS2wTGT2MCdA0JCfT7YkVYe9nqLjwIsQMk8JWheYV1wqrF8o+5gAevCkwnSmi0Imf7U54
sGfG0pGcuArhGEhBGUNApdZr9YmMON3FndI+ykzDJ4OpYfbgWBLvkB6InHA6PIbPXvhuwq0O9XO1
XGxUG+lEwLDyqqnaQQLIALlJB7Z9x062Otz2oLzopNib614/AHcsw8KzBa19cxAhD7a397pfxWSN
+p1gEL7K2EItSL8B8MbWxwVlBUynV19Lx3wTH7XksT7LowrNt+5ONwcxwGAW2lXMZ/CpsTHYUX4C
xjR0hDSYDWkVr8DUHg5X6cAo3F7bAwkAdMssDljENBRED3J6dLS/zx1dihUwOMPdKYF4xM5gfwBA
JYj2bbzsimcZAU3z89SGe5DXwfnhFh11BLoD/6n5N+EV9jnpIOqqa/5UQ7wrLyVohZV86do7Ok+8
r5HkksmtWI89j9g2ry32m6J9Ii5kRtbieZgj0txRPxP0vted9iVkmAGFfP4bgtvmybsn00BYx5vc
uI5Q2cOXECYvMH1zG7l+qqwnCvtSWTs3+/sr5wmLjYkzNzJWqBmgaWGYoGsFmc7uLTkaY3Qw58c4
/6f90RqIaweDsN70rABQq7O7w76mtZ+y/iUD54awLAZvFsEUFK3GGjcZ3ekZ4a7KZ5v3hNnDKgX2
HEqW+jAxbjolI32nDvRL4h/HU8JuphsdKIRnaAb5dMAfIqPVkv0o1bTB0jR3Jbwrq2SY2EBTwgw6
Lo9N37yQanaaEfw6i3KCwemLDjDvk438f0PMXT+nZjuzA7zBenSh6zflD44uWVJQPIFlo0W6oQ0D
07uT+rCKACJqilRGhgupX8lpLmImyjgAFh9t8IagKAgfSxM7l/o+aih5q26tKcoTrD5M0FSocMvD
bIGRwZ2NNziJ9DWsAgQt4E5RyoEZ4aOQPw/oJKYT20vgUYT9zEtwYoGMYUPxbo7xzJxQhbwyXeGO
83E5BhrA/cL6LFhcGbkQ6WFOHgbv0uFR3Rs/McPeQCXD3bynIBCaEu+wkB76bUerZWACbWK0YVR4
DCbOtjGtNXA/pw7Be4yIwwukl42EC7kIecqSwBVehiAL2E4RBWpGl66goWBEtqQ0W9VLm6p8ZIV1
eoESwPgR+9ziNHGtEmMFuLSkvDaAf7bmwooM+LtuY38SPtPyMfG0G6b92fQAF4PDQ6UfkIPJwi1P
0uR+ExT1L8WFK2RHB5cfO86wxPCDaRfDX7AjrBu+q7VsdRUApa5WfFwvvKodWbiHsVdQlgJ/a9WX
bjPA53XFTGDjfRQD8puvVa9uCT/cwVeR4bycsxG4+YCam5vJpgEDmJ/dL6YZOpC5Fl9jEr2iL3mB
DKlcgCoLYiZRtjO+wXr02Dnt88L7pmBqYVwX7eIX8bN4ChFO7v5NFy6ec0J+FZGgveFI9igpx8qx
TSDcdSP+rGTH/ZDymbb4H7fuyerLTTvQ7s6fOf77nk5Ii75xx95303ZnGyQHhL8uucZ8b/gW0r4W
0TZsmWpbBi8YXI4bXoDyYLyEFGoZZJKxKU6iHbKWYj+6TCe0ncVcMGPeEnoOryY5LfGPGDRaf/HH
w1yVXhKAyIlwvdIp/aiiql7D7CHc1Xg6XB3DWo8EoOfaxLDxY+z+aUuBSx8sZQ+oCWSW+guLrFXL
9NqgJFEIhGn0ep8vyhmH9aTGNI5jujuCp/zSg/rpqBGRxzXCZ9dccOa9Pb0vjf1o62RpsdtIHglX
IeVj6Uz7Br2XoHijy+i12rZFTkDEl8lZkzFJxnp64lXHNlbFHVkoRIIjyIB896hcxuoVyzLuV3w8
jKMF4U8nozMorXWRmL/2dRXFtfBRq/RN/uyer5AAXKrDm74QlGKsdeSZsMjUOiVfhXzn3t1XFV0i
uM6o08qUEeTulw41KMZsJrVj5MGHTF+sjZuH/tKbvgPPK3WRQcD5zpJxa7Qped35xiuiP/FTV2P8
ixEHxuCVe3N4ouV0G/uIcCFM5iAnQQcEyhcrEjHSylJkFqqJQuPL07Y6rON6ZKESqmXOYAzwXa1Y
X/FD+YTxaoEY7UAHzk1CtCJ4vPMrf/I5mXuEJ19B8w2G0Yf2q2KTxlEWuI6Fuyr8VPWI+QFBjug5
8qnBx7c66hqVOq4xY0jtf+nU78z5rN3baN3JLEEi0vm291rh0qTY0QXSl0fyqcd76ZmekrWBJfAW
J5uAMUynqhzE0dYO7nX+d6HkMfMXXYywmu95wnCLrxhzkhaAKKjsdiHDSSILUJpSNc3VU2YCTkU8
Uhx5X2XV1ylA8HxWJnzbKlK+kvRbmxnJ4loazBR2PDZCEVcwRlO83mHetehTEOv2FU4TYEQaUL20
uiB00WJuQvPqqp/D/EPw/FbtCoIx6JrwnpM1DhIJldUgwd6oMlT+zx0us7byt9GU14TWtsKMCFHF
caFFJC9nrP6xbTB91GFahRyTN9Ott6C0XMmeBXaBI/9Y64jQmZuX15zgO8s564V7HbhDrFx/iild
tOLsRpSy9qsuUbyi2EFVlerlwYauy7pjr+LgEFB7Wt5WxYYB+zNfcdp9HdHEwtZxASAm53FEDms3
387YILfDYTUo/jYbYkdQ7sNzNuw9VPyLTP7q+Lm3Ut8hxtYsGUzZ2SZ2R/YaGZghHgkC7aS7KW7I
MhJaDyYEXdLhj0hhPh3M2qCDgXOvYZL3Kf5MjHA8Twf5w+0IiXRfHVOqbrifhANwYa3rXV49Z8hm
eQALaHgNAUZIG5RbGonlCtno0GVC7zlejKOKnivrek67YL+Q/5QEnwVK7Ald4SCOYnCmUmTWqta/
NAxWNfM9QXvAsyd3jaNnGpjohvYjHhk5Fzq9Bo4pkM+PSI3Zew5vkaktt7qdgHiCAuqGDfNPwxyK
CiGElgEBAavwAscjyDkSZlJG1wnKPpVvoJGqqh/bfnxqc4WcGMLQrXPOq24ZbuRfNhhCDG8oWcaH
jsMsClTIUB6DkIHDjioQloaMr8g9R7ce45HBb8iJ5B0zct3kq6stgaR03l9p+uUivcTEbjQshubc
RGyVwYGJMOz5Wmr0DENjMbotHyENOSqnCdU4jlXJnVRvaheMihzDhxBmUS/TScpBZJKNt0wV7z48
MmhbO8Mt4ZRGXe+W9k4zOBzxq7WjvWeCKbrbCm9+W03fWzq6prm3ICpw9VoyRpYfh/t5GL4Ctdq1
3hfzVSqmMSzQxt8JKM3hHsbO52z9i5UI3Auqz0yaF6DQVBA8RQVkrtV5XMXAZX3v+VVX4R7I7zMc
dhLw8p8BT/oW9tbM+KLn5EcJqExCP+33RpHtnXreF/oEqT/bpTAqnCr6xv1mcK6O+xn3z2kHC3rw
LaM+yzXBBuTVqTXic76lhqQigOUJo2yuviwV70OLUSPYeT20OFyXa7moSjZOQdDzNGcnBZCBh+gJ
NZYweeYz7oBx7C3BJwro2yvfELLVZISV1BZycLEkNXN8mvPez5N7zHUH+bfRcJiCDNi2H2HHCei1
j1MO+JMc55Z8qfQWxlchlso2UUNm5/w6ZATGyeSwTnhXvakiCD0b4BcUHKnF+Dp4JRR8h1HThqy6
FGmT1TpY+NP0Zc1Rr8hAKwr43pgX0OvaCJF0xEDJrD9gsMbZx++1O9FxMcOSM6Do7Rcu/hEG2qPT
oOBQm4ttWLvG3RpNdNED5cAcqIGpLZx7yWsfby6Dsbn+CUA2uxiHkUY7BJAAHUb1ib7Vlp4UJVp5
SLSMuDdaeterizk9S1wjRoiqYe44ceHW3SBJpc26iWe/GtqtQaiwnnBXWvpBqD7kTJKARmw1ZkPv
GDVcdLhRqvJdkDvexM8APGK1Be+bVx3yA2Vf9CZuuiRrm8HPSDfY5dFnpmJOysQQcvyUR9uBw43r
y2WgpOJvNyCPwh8Mw1zmepMzoB3SgViwFWgRaPDPKNXgMBJ6tRlc7THiCAMKr5iXOSCD3JcBako8
/ekNgsqllt1g7ok1GDMZM3qYaRXSPt1UDCkahmTWxMACrKuw76CUSb6eOBmLHHOd4rmz38y3hNNO
p5gPQXnVlLjQMTiUSFJZ8/eMIU6rW2tMtumxfr+yOWLGYNOuVQnGIFSxKVkJVnGMmIpmxs0I8CUj
BERiVohbHKJjgZlKhAQWLYiqUwsju2ExLzUzcTDdRnVPcW7hE6bEjxF4foAjHmRx/bUvnSudX056
G1I+nMinhTNlsR69RME3Kvk7ZOHbQ9klz3EBPjxO6odKEz0FBQQvKPBlerJz9Yg/WcU2+71kwpCJ
AciGH1L5In3lXGDiZoiiAJ/gvn8ucKQkJO13W8gWiQBLKGATdn+kHxsInMLSk3pFGKaNepTmoMsi
6gs3O43NO8IEuKj/9BYz14YOES+Rh8AhSE5DU93atJL5MRyVTVZDnbA3hDpjQVDSOrdnOLWTTsad
ga8KPBrMQlxsluHD4HC9aytm/cpgA2k1AEuRNbwQQnDqcyCoqtDZLmb1J7X+jgpD5azpqLeTxVfm
AyXKh9nU5zAkzR2vbSMBrAixSqUw0K9SZ/GI5cIwAgXh9VvkuIegvtruT04n3BMWwqR6nFFR6U+p
85lTVrHxEGuRIFRXu4nwhM78U0NWsMvyiTu2BZZm9Wpet0effhAK7rR81CmhLwVutSnr65EJa4LG
FbL/A4W92+xK5wz8WCFA5BLgpB/MAaiL9kxBDoQ7GzVXMHUCcLi9vhM/Un7s4vQkJ5OZ4jCAxE82
H03UmMxubALLCdAus2tuv4aMhgywOeo0bJseAowQYug2ckhWaryVZD4Dy6Ghmp6s+CzfCz+KQ1qZ
B3Mc92Fewga9ZCH3HtzqHB4XmRWbibLZDonoZCQSQuVlYkyysEweDVDR9JbTnVCQtk5E/ArwdkPv
gAcWrPqxcdZouMBeyA50aSOo6FLIVoWpkGpOT8OhBUhQ5aeckq/1kneL4ZxwjiOxusPcYGKDu3ny
pFKU4kClZTc12ZNqGKPK6YQpwp6t8keFa6LyCGPHDYauHM9ayBQJs3KyyfeD9ilMTiKzMGxg9jcx
T1TQ3EEvhO+lfYbYKkFNPcizT0RgiBqm9r5iHThY69ZQ6ixWDfqSI2qfnlCRcHoE927N6hR36t8s
H+CO3kxclTkrOQR8vY9J/MB1/Tf0k5hEUlKZ8nkjpqwlhNvi2HYuQ4Fh7RWPji7B7vrv8cVhgvvN
usiDU9UeSnU/OEfTfhqqBguh77QafPxVQJZtvIC32cxUrQv3GY4Y4iNFo6e0T/zPGwJ/7ItTA4rE
eSnk1xDZOw6xKTowVn9Mi2BjHkMjBVK+Gm5yCCfAqtgXtfS0Qc0JjC6A8Ak15nIzOGASylZUmBP0
KLv6m+LdpiCcQ1/Rv9gQ+2bOj9BhW6Olrr7q8spSl05kgY2PtdEBvUpFHPFAcKgzP0jiBLSEgYFe
bflaEq2rXNtVzYBSsOUMvuQcwdQH4o0zl6gMGCrkGIIHJMUQhM5/4VDy/AzLHeIY4Iy3DUcDzhQZ
2+CMLP6ML1rYTElwJBkckm9oGCr36jEInGrobBLWgrdOBFIcMRbadQq5pqa3sodbloHRMegesCN+
0JqEZ0wSGPwSODV6/DOpNOY8LluaIxM6OVERCmNZWagsmlQ4LQiWQA11xgQwJ+XslFKWMYkKoMEH
U5AVxe3hI4NLEAV/skc8OMbmpthHUSVAyJHbzXKZfsE/LZfd4GDXii1hNd3QAWwpnQUj5KN6E2xs
bDEgPbABFZbfs27DtYOJlC2sN93ESRFiQkJ0IgMdLuYiYXzhxv6CCxDYbjBsCEqi3AsWKo7o2cuv
eFixNVeJ1WBABfkDprehl9euOYU7yhmTjC7QxJ7J3vietMi1DNK7SdCJeXoBR4K363Oo1+xVHXm5
KOG6Ot8lAQyeAuP6+Feahg8FEbo4D1bLTsxiErsjA492gN3hxYEvDVKLvMkTb0ay90Ciq07ZjkOx
NjA9y0AkuvIHUaE8TkY359LmKADwaaisXdDLYh2n3UnFsm4BggK44+AQVMU+9j0e5zO+io2JBzLj
SmA4tWsf5XaUYzKjRsym14KyJQFzdShueJ+6vWy66V6NP6IBg9njAPaJjVSUayLw8nUk7otubiZw
M5pv9AyL+6njaONRMQa9u2uW4QA66b5xTuyj+U6V2yk0FRbMGKirYphhnhf3rkyo8goSYKyME20L
aNAZX2L6xGXrO6EuYQ/bktMywRNi+mEf8d5Cw31oQPXaqjmmNLEFR1fHFwpaY4vecwQqMPVzTCUX
PXOBv7LoWzYzmKd8R3kMUsD1sGmpZwVmSSs4ZvBUZFtTvQkDPrPazTDXj6FmcoBATwAPa5ptwWJ2
OB4jcAZyQThXqIjnAFt0WvoBTL351k12EOx+xJFgjtI39OE20cCMeOVx+V0uCi5dCvZ5TIyHkurf
gp5sSXQdmBr4ElIh2XY6xpk8wLo5RwOqengHEzknpwEEKPXeSFCCvrJsu8ndKQM8N0X+NI8ylL+5
dK9LzVg6wEJ7uiDO9lOd/IHJO6Voe2u9uWQUoy43n0SC0jbxiNSxRaZ1pxyNCpR8LBRN7ZlHzydw
DXloIYopmnhf6vU6Gp+TqDqb4T0K4hMWYDx968EiGP0XXaH1DbQn3YEdK2O1FiMaAuiYowZ8NCv4
Et5PGP/pY3VLry96owE4iKpl5EG39X7GqS6Q1NWPMEBY5iU7xRkxRQpXSvwmGbo472bRyEGs4NyK
0pDrlWGmsOLLLPm9yOjT5cuJtHVSlpdcchx6plCYTxq0/tNhQTA9wwDWupFgmHw1LwiF8xe5m6Uj
877gm6JCeonBE3UuAg5a8Y+gu0SSdV7IZ7ERKMiDQuk7Qr7OqfrCvCA7F1Ryql7Ezkol8szBxUHd
ufQz/NCBc6j7rKwv6fPkzkosY8fkdGHq78JmyqtvB8uJrrfQU097tTm6YqETn6OZmWDubr3Mvsyi
JeYwMNAsJfQ0yHPn3HmtkhHOhHiN4txPK8Qgd9T3wLhZVx+sGlcUF1vjjoXWhg+Z/rHUmAdBvpso
2PMO5nSNTb7Qq7RkDxiJmKggkMdbgW9u7RI+FNF+y9XwJDX7te4/5eNLLxdQOE85+lBarDEm5bQ0
UMM+Ox5FXDxu50ndyc61kNa7p44CHnfAF/gWSA/hFBflg26MmzK7dPTNI3anai7GokgBswkvn7Z7
nbOC1g7PFNK9JsReGA0ly2uifxYaXHZwmax0UacOSB6pzyDoRE9xJFKsD2nDf6td8xm7i10OHGT3
xrqqgM3VmStO8TkpY+8mx78HeBZV3kqb+au4YhzNOfBlLMbBUInAbXyjrveqEr/qmXu2xuw0zxOH
MJiKfpvnxbchP9mg5WIxgus8o8DUL0vaDoBnqyThHOaCoa9n5vV4a2NY9NBAmhMoLqm9q2hkOSo7
E+MK/cZ011b0o+7SX1OBOwDlw8iZaMtY3WCS25Ns3LLv5xVYrZ4/B7xATESkjG2CD7Mvfy8Rpzb/
8PyJDb+NkcflT+QwsxaKMs5HGx2+Vfxdkj9dcdCz6THu5o2wL938tUFoI/Y/6mDdStg06dZitJrg
2jrS55ZcU8RmTCDWbFpRTOBHFXFuS7eZONnDjMC7ZZBrsczkimptqbJzP0l/2KeVjtfjQLF+o6uQ
+oKrqgbesEwiSxE/Ww6Ta0Ia0SZSBeplcImpzOQZKI5UT2Qp4MKneKBkK7O7T4O+IfxWqiELZsCo
cM86/S5sYKDBGbfgTKifOk4XlaF8d2F3DKIRtDy+LzHWzQxbHfVR9k1f1FsmbomOcYxN+igTeflw
crULSVgufRbLAHVaHPcFg1tmDwFvCjD7GOjMOkeJZcPlCeh18UhcBP4EqbTB9TSLmVkP0um+tXi5
1LV7Bkyke9mSXyykRBHqlzsHc79eRyxNRhWnUGP3GweJdBio9HXM/Iki92Yp4lp2A+cY6qqOfz2C
M2yrext5wMQqiaz0wJx/4VNWI+0wmULD8NTDkfGSc8UjLDz866fygNpV9FhIP/mEzrA3DTJg2WrC
RugeCkR6Z0xITgasWA9/cjEkwAZ8B2qDY3LwbopUu1W5unmOSHCTrMMt9CtPeyJ7+O+pv7hcRrNm
CvONz3EGiqthsJQmqKeAn1puJuYvtOI9ct+lHKlu4YXWfzEQuaQ407nk0Brg8xnt1DjqIPjB0Q21
pwF+g+pBwHTceGsAmSoJFwpHsbc2NQl75B7sPtNsOobdR0RP5lXjWk7vof4WvjqoldwVcU3lnTXx
3k7YFNgOvoQKKTHaNgsADiNhUKY/og+KjQLnA9JNzilkedxDKHAJSYt+2i4BBOfoRKAqd1usPHjl
WUoEpUkZHd9A+ih+pMY1jP2AogSjF9PZqzBGWN5V0iKEYavOTPy7L+4sfPAVpTx7VvocuiSZESdp
idBBqgcuBV+GAj3lmssXYnwSqKTXpVBsKdQipTyoUOWlfsmHds8+ZPjDgZeFvrdJw3/2ANyjVleS
2U1Uek2I57BG0CmlJwSJsZhwSPssSw2AD7/gs6klvtl/CN1cbgGoVlG1t/FFKun65FO7QIcR3gIt
fjYRpzDrhbv2OaoK3xow2MK4FWUBi1AQGg9bLE2uXv5KiASLE4u3R9xdV7zlxSftFEIGrq6LDZoq
M/Zx+ZB5vMbp1y+eb3aQukYaAixRVQPWhK8YkK+6AK4w3G+62BJavYX5PHTjPlgeuXIkOtCYCKJC
KdHaNJBzgKY32us9kiYsDkxlOuhUO2pUw4Eudwy0gcCdajnhKHnt8hzzhBF+iRO8larx2Qbej+N0
lV++xxzzVALSFlkclMt7g5gUZT+m9vswUABieKqjq2ybFLR5ODUlHRZkmvx5OtVUWsIK8IC5tc65
KXxZC+zPQ622ahTzmKKFNaPxvuA7kzEGB8rs15qBv5R3DzWCm4ban0L1RZRc8twhMSbRzxARWko0
aqK1vlZSu4BgRBoKfNTkGOJlcKymp4ImivvQ58R5+Z0veclvxxAmNLYJfvWU0wBHUFLk1Ov7YOca
Hga4DqoY9BfNRlDMsmToy50mvxZpXuPy7jGkxHbATACuvH/RSz9mfuTgDtTekbNeeVBLqG7kZzsx
E1yCtUJQRT04sztcIMdmwu7APosOESBYBRdY6jvHHMRHrl8vRQTSQDVyQFluY9U9/H9s5C3uH0mP
XgdtP+YLFu7ZxevCQnJg0ElVxzXnGQQsTHsZcHhUmWNk+gscEEabbmH6Y9f5lrJsJyJ5HAZTKg68
Ff9sDIAlhr949UHnwM+YdM4MFe5MHbtUaCZduofPsXP3iJsjsGaPYAuJWE668NiUgR/BGZU3L9Bw
gFW2UWMnxWUpg1pXx3EJo9NB19dxdGnQpTpc/TG9FPP3kZDcpsMZgpsJSsax0Lf450It7o9m7yL9
SE5O82ISka0zhMzMaCfFV8g/6tE9y0xIDDgUOnEYjbCPPCwXZx98aTVY977FxEjtQaRc/cC4TW71
0PBOIJJt5Jww1Bjrbt2RRyk4nMyY6JlovRKgi1GJj0iMjFTZoMqlkf5dENzuUkQKeCTGkW7fHyN9
V1icW213HfVh02r020Z3FEt7mf2BAo4jZPa6OjCjmcz/r/UJ4oxi/nC36EihLex0QnR7EjiGUDEH
24xHZ7W4AfkoHAGtcTI1712a5d66c6zbLW+FCoSaBCnNjVzfWnhN2wnxZYBkJP4h2m/MIJC1rzic
LdMb0xl1AW7nxxYOS4bcvO0cRJuR5946DgFwYCb/QiJLh2jVMM0oxnedTBerfoxyG0UU9gS08KkF
CLJke4Ccmq+jgUkYUITzafq069J373kWrgvGz4tDCCMgaFm+joZNl1Fpnw6SuWVCGzdSGrHIja3Z
a9wk+NZwoo2QlOMxP5qhuaELmLsn6e67HPjL3ceQYNzKAVWHQ1G320iNL8ykXBY9DeJojL5JwEK7
haGjll9ugsQYl/qW85HNALmuKMgOLCeEneuOvh9PrHUU2Cd6hM3kfk5pf9IM1KI4EeBDjBka/PAf
C6p9GkElM7CDqO8WhQLcw8jQffmSNrzHWmEb0bTPzOc48BSAmnIZVi1uCuQPr8ohO0Wte+gBB4k7
KsjlK9z8D6TXotf2I5LwgnGf1xK45FstzOhgl8OEwT0XTQXxGaygDr8Jp5xOkQXNpX11uMeD+cgu
nBhdhvBheRGlqj1QXWJbWSYZcCujWcZDAtzqyA8Yj8MprhXbN4AndKYEZfJC/BqG49PvPcFpuNBg
h0hSIxaEamObMV/SZD5AT93mDmnIHFecRBXTl9ZTn7IFQ0UTdrwFNaTbVSgGs20cZtBAablhFGCn
wczOYS9hZwoExPhZAfZpwF8gJQ7zcyXyV5cSi3veUXTfNoaHJYOiZ+FtiWquhxvrEp0YBta6H5xt
xehmQIs2ef1jy4gvVpXNRO5nx+DJ0fQ/g/YhCEJfJVubqUjvaaiEPuXGYJlzXiKmvQa54bOKXtly
ffqmVO+gFa0N9beu/rXG1aWmURJyvJyGeoSbE50i9TokKWnqkWFJ0SHLtOb8513LncbfMMhnIncy
MA4LB+QdqNt4JFFY+HF6KGYUQCBJTWWx4jRoZ+I5YmFcW1aU1CSP2IgSbGZfNBUJ7GiHu2GB3FBi
Ex0M9U7zGrxf+OM7wnXcYuvm86vLNJZ1moO3eQRAcPvmJvndX47xmOA8glozU3FB28bOX6VEHOM9
hfBef0N3+PQCWboM4X/HorwbOWNZQv2IPGRBGjE/KZa218KHgBJeyrAm/fQQfmG/Pr5N5oIkEYpz
7x0iusjyMsIqx+9/wSTEAqdr8dgPMMDNnOrUeR/4F+zbKqV1j8A36kV/KwWa09RLmOEzYBesv8/A
2HvVxQLJTgB83Q6TH1opdcQmSffxncX2KD2K7I8XJ1Jf7s05wMgoRoZq3ORcYv69jRTQfynEaRuq
N37VTN9pj42khzOy1V0miBaW6qLTGa5K/8+aMEzS4K5IZA28qMR8M2CPmMU/NdpYWNpSE9jYB5kk
zFc/QJldVR5S8K+YyIoSn+Ys+FyYnaQktzt4ISpIpUX4SVbjua0OsWefSqbnAq9kiDHFcgc79c3A
kIWlqKAaqUjnkajNQKNJCT40Td8p9XE0hu04bprhMtXByQQpaAYqTvG7hnucvEjV3WjR6ncrp/vO
e4VjsY2Y9CeOgIDU+FsNQtZvmZu2J63mGAGnz+kq9bZ7bKLlkcGtTYFDFaLCPc4JGaiZkR0VzcBA
hBGNU5wrOOnz4nDO5ABuR4oNpq4yC2JKMuCBkmC2ZxkbMaITQAIKx0WFnoBd2EIzouRIVfXwKJ64
7Bt2PlzliKtXUREd20dYW/w+l28Zli+a3nJzdzsQRLpRk28TG18yquHQ9lJoatpXTy8ExR3WREk3
l//Og0a46DXhSAyxWcW6N21Mmyy1eBPTA+Ta/JKnIWnSN5gBw0SmC9Lr+JrIG41O8jY0QN0Ocn3Q
Qw3MH6TCZfg5KD2ZCLcOfFqWWuvRQD8lcubS3Knld/gM010cW8gIf6TnnEIcGIadxu4Z4gea+k0D
9tqN+Ksh3Ua1ar9OuBYC0mXZ67hgB0QqdzdvAy4Ilw2mnsydjtMrLkrUciMTmiuExQ1BnSs83cof
i48l5cvIBEKiCwSKDpLlLSeFlqNG135FlrXjbuLiISC6uTCGQ9TUR1WjNE64Sr1tOU7SUlmAuPTg
lPEUr1Jry8OoC1wLGncvPzuEe6ZVb1IJq0azkYGHQgW4g6ArtucGLWAUZZsOLez0HHbohHFw+r23
rdeUXShxOc2dI9HVzIO4YU9ABzyjJum28P+B0xLjMsKQXQZrK+D+xFHYbxTaKylK+Dex0A9OTvjY
hvdUBcND9G39aUr5KMnddHCMoepqBwvVGR9reRUtvAyJwL/tTtthGQPSI+MhKdUNiwSTsILWcjdR
53M9nIQjIhdoWlsn7Mp6bIxlcdogHf2uX3YcJ2LQYTCemRnzJSC37s1qbhYooTTQvfqv96BQJQHF
EYO38g+3g8cPZaFH5bdt/MX7KlfvzWSugL1kO8g1LGOHdln2NLCw0LlHg05hxfYnAQRYPQWzQznk
J8Paa0Ks4bLDu0aMzkx1uAQlAzFQWQ36eRR8ye4PAaaEvE5lNzN9iY15m6ughA7Tqfw/ls5rt3Fk
i6JfRIBZ5CszqeRsyy+CbLeYkygmff1dNbgYzPR0ty1LZLHqnH12qL/a3tgJJDgtz3hjLhET/3G2
diu9koP5olEcz+0zQVHtYuI228dV/jLd2h1cVu9B0zsaUijV7MewIMBaOUj7CQsdNoy1zBMsbtAa
6uzmZ8em5x5lLZ5Qp4pBxGDQEnQtnTUZ21B+0pGx0+Ti/wfqwhV/THBaU2xzKExlQG10zB7TaZD/
tzOz6gbnFhbnYtXuRsYEGlJxwRjS4NMqm1GQDrM0DTHLEUhTyXHJG0ThJPCHZUQFUG91A3qLzkQV
uFlRN0/mYxMtbfDov2SMhRlBIC6ocaWrueQ5NBkbSwRJm5H9VGCX8E0Q04iBjI08W1uYo5Fsn+Rf
ZkAmBhJDX0h9/AbdxGu7K2NyGp7QLU0OGxButD/SG6M70scY+2D/Jb2im3uzvmykZ5EePBfusGX3
rvYwtN71n+m93i7H+2nz2tsHan7ZcovTzfDrS3HePxBnB8irbCwA3COZ50QdZVCK4RzhgGNuxzLB
WQv8WEuYemg4zZOM1G6HRwRz81Fhd8dhiGjSMZCAsXLQ2TiPO0F1W/lDRrUB+f+DpKGhPWKJtVyq
A0X5/aisv1wbCAhVF1WQsyO4jvU3AznqBtvGYBw0FBEp+SaJ7kM/YJ4vZ/HmBwX3W78fn5Xovn3A
3YvU8kmhguJeQODXI4sZkP7ad7u++XmodBxPGg8piBzs3FeNWrtd9k2KluDAoqX7yDAetF318XzP
dryheTxWFLMfoH0iw815mbZaSOIae6YLAQNPFIKi6j30YjCDgD+pZ1ejkGbXdPsiRAfV4VNRBTS2
K6EGzrkjET6RSi9fAgWRuRzMGkYkOBz5EO7M29tm9duRkPrt5n01qBr87idHX1hs4IagJlQCmDkN
JqoEu+GWWXiGB4hNmw8Dzzz1TdxG+jftVoq2EgMbHFo/LDkagD8mhzzcfXXeGjLGLIf+TE4DngiH
QIP4wdSneOun2dvoR0sHvSX0wyMPtX2/P371NWnZRm7QJHMeL+Oov2evEv2X8N1xKVfX1IW/VBAr
7S9/smK9Dp8EQ7b4kXk6sUEJUT0fmDcMjY8XDoNvBmTomXuy5ph8edUR4OhUnOGg4B88Vd+4K2NV
o154O+YtNhWCS8Eo0BWNDDsYWJQLw+9bYAFfOYoWt9Oemyz+n/rsD1oQLfoKQvsBntPurRjJc4m2
0+l3Ch7Z7hgyNErDzfeIejWDlmR5aeZbwfmToL824EBvo/szxqk8eMJSEmpOpCS4PGhlWPV/zaEH
BRgCaeMpj6geuSuXvEZPHkJGvTGshVG82aaPT5VZA21VxssrB5iRhhri2DSfL6a1Mr0kE6ECrfts
J7r93xYlfhlTQsHOoGUDplTQ6XsY04w7XnQmieVwXrbWeU/DTwbsEOHWUtvsotsVZZRyZ0kbv2bq
3SDTj5Blx131MvyhoiXCAI0O7iaI7FyZh/WgEM9ASek2Pxm7eNzV0crz4aVf9LFUXeEQaW/j9vFW
H0gA/NN0r0gqfPOBhXFVbInc3OdSUkh+UUYM+cZweiqFxEVdQzQrYx1QOZtfPWbscNTu6qniwK3d
ks3KUSDfJ0x+7rwBpqNc0wf9SWIW79m1umIIZV+XsEhG6C9O/mpgpcoA2W9MiJVYIGAgEDPtfQw7
7PIIx2aKdWg+VoKsAvvgwumUcMgkNyqc36ijORVkwL4WL+hAfnCE7lrFodhxbTmaH5/Itdqg2TMK
JCUCdPvxb4FhzL2O5xfNg2ffeUrKF7IhUB8I1wazhVGJz+xYnyzyJiyyPToGKX07AtwviL8OgoUg
GflWTi0Bxt8+pp+MDtoU1J/mRTSENPICuEiRGODPIIOo8EuOz6jGChaQmKL/m8+HtSGswcQsH2y7
5AUYQbQMCG/gLdLtxbKTpUuxKmt95hY4VvioMxFqPqVwqVZLimG1/GD2EmIr18mfAjkaRnsvCm7U
g10pmE4L2QqiOdTH9ZiSZ7DMcV/hKobVrVxFUo41QIoGcIPKfJCEFY2otAWWLEoRYgnw4kPzTvUk
TEO7+8sCKa7qn/LipSv1EOxNVLHrpn/GiiHW6hl2+wJ5hdZKAT4xAMc1bKfTaTiSvuuLFxMlespx
CSqni9aw2csm/KNswuw0bGpcJstQVj6LKhGTMXXJAtFNikL5XmN2Xn6JL+NPELv6wIU2U4qaQ0BY
qcuycTCZtdlyvFDh31GJwTNr6ZqmXo1EFVblzbf4NNwmffoZ1uoNb4Xz3gy7zG/sd6S+uPQXnIFH
kCCuIz/n3GF0+5E99VSGwIwci3IECtSzWOM32opqwrzbKbcEI6dBB4/It9lnOwcyLn4jFfM5qvDu
2VI81rR22zW3lwfOLyiXnE1iv+OHDoB7JyEyULZ5mO+p3+EiLsLy1n0kls1XWT9DfPsoDkOsUIPP
hPDexotmHbB+HTdQY/zqTOP+WtN+lPhZ/VuFtCh93wyX5f5upu+6d4ZRbu5mQk1xp6Z3oqfk1N0T
Kxivv4w/jA+8X+8T/JBYCkv0+OUOhgYWdIYCc4cVS/hQsEC1rB+HZcOI9PMGRxCcbZsTNQW+6Uzb
sggNH3TnYNLllzGBczkegkQCvDKpIWQmi3gIyxPjw+Y6mNHt7OOXWrFy34TFzMPL6YwLrpCLe8o9
mjHPCPOE5F5x6D6SmgIegE7Fhcm731/mYoeD/UJoJjwtI1ANUlLC9EnDsQC/L1BWmFyHLOp3TFls
5MUEF91MGD7RGe6SHj6gCG2xFXnSABqvELSsuCWajybxFnBVMYsqzC0P+vxOYWUCH13PR+UWwGHm
g6AUU+vvvj+C02+wa17ZelCHPc8nFiwJGSVRgygtqJI9Ni3s8j/KE8w0sivTGN2e6ZC8lsdMVsx5
26gE15OeK12w4MeOjzGM+oZnq1jubYR86BMWKTgtMRboquRgLV7aMVEfQUdQGFAIQjyIUat7zjEA
g3F8d231tyz0aMW8DbtNnTsvWejCMOQzDpDwsQIh+Lzc1fbzVEWP7gPhDeqH5g7UTV7aND5nJI7I
txgck+qVtptPCUWhQg8JRzm8p0tgidyp1diiy99MEqFK1yK7eUw92PJs6g8bSxvqASa2A6JjS0JV
Jab5jPPoUenrsKu11qTT2PI5JGQM/8+UwY9npbx7gqdDe7fcGmx48Nyg4SjgaxgR4eF/Mm0BVgHu
cps+BIptzXh0me+mwQEy4XlK2VV+QO/GtjIpqCtNuKFwTHS8BzbmuMW3AR15MGNm1N+/yrkJhWii
5WcIFYNl4kWT4x13mLWM4FlCEpDPTOduZ9YLfARta2sVy6yI9RsmyU9yAT8KLHZAtboBQ7CgaWcv
ggqwZo0Lvz9np1tBc9JZiQv9dSYvECgG+gEUI+x4ZswyGJO3AuejsgHoHS2AoUtNEIQpJBDCo/y8
6yjjulvundk7BcEFnFHC2tkqdjYgmXDbLBesU2v1D/TtY2KkM8j/dDw1HkwyoJq/z5v7p7wOz1gp
nu/N93kFYC4ktO4MHO6JzQsYtR5Lm+oiCAIVXhCCOASCUawLxu1SzAA9FgosmjXByeHljVp50Wkf
bjeeGqW971v7nCDzNq2XqiteS0gQqbwhC5GjpZ6wThdaiQWfVWagL33dhHMN31ll7Krew0prvUe6
QnlTcabd7AQ1Xt/kW7K0vZpN5YGEKC9ptWQ94GZXDyUuy5Kq5NgDA0OuGub6wzDafaoqv1LTR6k+
BBsMmYggjYQt+7lvGaPD5cwJv8RaxEhvkYZ3p+Cq62gxOFzL9qJSuBJIJ+ebgPzZ/0gnYgo620IQ
sOH9K+B335rpLUV96E06jFqBS1JHwCQfTU5caDmwZY09dE4FTpIe3quvJrcTrUO9jHBHbqeDJiSb
PHFiniwVPerFQIC5uJfW5rXt7m+F0W1XNn0+TYsthgZdAoI4XgPjhmnK3zkLZ2QALUMfyDimtdlm
CC3xccQEs62LQCCT2OptgJ620qf5sQDHqKEG6Y8UxVek/U941bXvAwbVjs7G/V81klSvGomhxHT5
0mdpkL4HqHatUHXNsUbSYCP6pz0dkN4FfAs5c+PxPmzXk1pAMfLZ8fAjYYQYiM+PJ8ZMboE3UpPj
OINErAsIoNIZzaDEZFTMu5jp01W3r/wBIWtoQEw9PcgcD3A+Z6Y74Vm+xa2ImkseElF5ofZCORjB
cJekJI/usmdh2wG9FSzrG403WffpM2nwTbXvS38lKf63Oi07uzuyI1D5L32ia9vizpMSKfV+rn41
2AKB2e3uzRezHMrjYXGX19UUB3iHjSE0HHIdnEqN6PpUpEbldnOgfqjP0cLtIschniEYbqZLJhHS
R2S8scyeWtP4DxQpLcPqxscLhyHScep3j5pZ5hPQvWMqrwTfu7lwucrurnmDTojLZNd/5Y+XDbaw
yhhAkIL/0lbY/cDQHhqmrli6qHhQEI4M8uBOUuZ09n5kWRgbdkFwPgJsYxuh4ZPgiOsYfW+ktzu2
gxKlkS72BLz7bsSkzb9Z/6ygn1Prv7Zl6SyvCk2R0IwEd1z0wXBpOb3bJtQxgY7KNbrJHqOzx1tG
f4+w9Q3gXcNPySd6i9lKVb+P84vu3mycrMw0ACgw6BsiiZnm5ogi9DZ9sRviacX2JS8hdTZdMUXB
43hD2D7EtbwXwNn9B5LSUL2a7RPOiCDONe7ZDYrIDC1GoDKL5VC6LAaFmF6+5geckvKoTCAni+KC
qthnSyC3wiJXHjdD05mezAstfo4b35HJfX24oWl/2fjWkxLx6dI1iqmCuDqsS1uLH9M/SKNpEWY/
UA7Hdve4fxrzk9WisP7rjsYnxKJtE2jR5pNNLFI8wnoj9VJudX+cvDvJ5jYlsjOx7b6TQR7De0zG
aE66+Bxil3B+GiJrr3NOUpx4abRA2Mg8Kah/qhjmARFTu42G3aZv7Ql3qdPnbIjMs08MNZhv5i8a
IybHIuwTKBwJCzYJmTMnmuaipOTS8ulpPSJcfnfaG/nm+DcHMM7Jnkpk270VaCYglbnFn6FTxJMK
7RESD8ayx0mGLULGbMed73C3HNN+JS4TUiAXGAsgZhDCkbN4568AhVry9v4QRntkTVH6KulhTr9u
m18+OQZxcn8Z60OR4Xc8fqUoXp1Z2Vs0nmeMMcJCc6o/4W6xQAEE+mH++5N9ricJcvcVwOUWNY9o
3ml7Io1y25/fCaY6Q2XFytIxN+GoBHrv8Qji/YWZGZk2DLJ7p+asROqj7QhRzfTdoopPxk7OD7+d
eiBRCp5kw/Vp/PM+ZSLkVFLC/6V7APIKFw+K7ScuIdAnH/qBDHBrFD7m6E3rGhJGu/xNlOMEpsXD
vOO/D9FcOcY/E9FsdE6fKqQm/6qvgmENRh0JC8C2wlRFr4vxcUgzol8qFAnEagFaxpUd42eiViH5
bQiYsYFD1o7qLPPPoYkIGtsxYbyEHPxULgwsT6QJqo3gzZfgXWiqKcWjHJVMbCYDdxYE70/GExNb
aeCk3MVPDuvkrUqNCW8ICuryPtuQ88NM83V8qShUXK51v4ar5Z+5kPb+/DWFGPfhxgJEJTGygMLl
nFleoHsJmBY7FGVvG6sB4ErvND/nCOiqJqrMQUqYlJDJ6Rmw08InTDhGUjpbYOL48/AevOws+hh4
SkhKbAywoKI1HA8uweOJLMfcpmUHvRLWvc76Z6iS2AGc09/lugm1Z6abiFoBSWphhpL93eIMV6Bw
ipjfJ9WuasVNo8uVkzELesjdJ+7j2sRyiGTpFtm/UmQyidxLvzgkYPeE1WbIjzznxOf4eYIdfEEg
KmB4K862BRwUzBJIZCZrJObiAkolmn1kH8oRfMO3wewVkMERm9FVT4g5g8IgpZ4U4RREgcHvWXpg
MS3NqstDhRaCJLBml/2xHui/ux3zj+wE0EjHxoe671iYI4FKG6/B+xSBrTNrJ1YxSD3oln4daT/o
aTR6B69nNu48MLlPKQKo6n/G9Ku9fSgqkCUPH5mn71A0CzvkcmFApwUKkyebWsWhUF0hVtDORpSZ
BIXSOBKjnnCOWPahkfZgr93gNSfeYgqQfqXwYc95ZOgi2ZXwZDze/wx4lXXAGk27LW8B4ajMBCgE
Dm7brbA7ue/Yqsb7jgNlJv2RaNgLrysZPgQyePVyUj+gTWzb/s96fN+khFV/u8dInHIMJmH3XzSu
CGhRrHJvO5YSax4hyolnZKmD+XK/7atdZv202LxB3aleoZGwBKRAPL88XSjGT5rE4qYkBcl5troD
BPH0IHawzFeva/fBV7KjromO7Vvvmgk3DRbMeJEvLAv1wuoq/lLIgYCs3yVrx4cX0vylC9Wmi7E/
sJECVQYLx5nH6540uwLma33d0IStmw6N8N587vrnGe3Y3W+euBHdbc9nTrO9qibZW2pwE2Q8iffq
7Q/ntekL/LZBkKJjw+Hcxi9jiBf7Rx9/yh6KoA1EDFIbbR54tLxpeWCpW+nQQxKla9pZzKd8jckM
6Oo3xp7ZlZKFLrrY0NzWasDMw27gO0ZjoLJMiZ54a7KTAhgXKiRFuDCmSn0HNeYXYoZ0uZ0Ze8Xw
YHZjgHnO+Zi9DG8t7jAJTGV2nX2HU2hL5GVEz/IDqktJdbxvq0/zbcDe+qXZEtUBjk18Ik0bJvcm
0RucV48YCtbvtH2pQVmcOqJBZMCzB/KE0gHxRW8Y1FG1RSjc+vm1tcIG6rtfFDEyBUgHsFb8rEys
PoaOjcAs3aPlWyBcn1o45Qz8pgsSqkwP0n9yGaJoJ++HdR3PChIgt26wloE8jOHkxtWebVRoTH15
0vq9wTZW7gyeCbTZI76FkYndEvqKV2yLKa90Xy6D7EpqDcqxUWK+FFAvQ6UBvkOz4i8JGQ5JX3jA
Bf2+DKeVUQmNsQvLxGNLvLBvPq40nRQ0t62WCHeJiC3yfvbO0f0CDIqpopZIH+rggxblCo7pjhnI
J7gx2GXU/U6CsYbE3gbhcova5zKX4Rm6ZkQOFXv2+bf9Tf+kkBFF+XgCyeZjLoktNmNYurja8EuG
iZS5HajxBh8CLp8MgTvBmbwxYpgRGPcuQ8OfVLz78xjdCsL/fBZHwTG6IRouWYh2RVHqKt9w/Snq
WzTmrnoCDuKvVtUDl5CeZXFYKC+ixoeV42WfeVzG2Dt+qGm4ckpg9/urB9MVm5tY81VkgI33oIaf
dvlfPybAWp3spqcu0enzOLyQLzPUyF926xdYa37iZabqU2bWRXLVdw0XP2Fk1iXdvoenMzNd4nKU
uzy0bmC5h5rxEejq2xk/RbYzysI9KSaQutoiJuCXE4We3UYdcw/vpykwVxq0ECaQfB1prhgV/XS/
XcJe0kZsLOwffLf01/3rIwom/t4MSRtgR9grmO075U9V4L4L9dBTWK9ULEmuxBziFv0M3w5oxAqs
8OJzhUiaxMqHR9mAMy9sqQ+tSsyIaqP4p0I4L9wigXpsJemf8U9758sgeuOgCRv4s7pyw09Evum6
h8FAPL/pW0w+zECKq0SwWhghcozbH2aQ/qlvt0uPMBRlafSOY0msnfoji47jwwey2WIBt3E3IeMC
rirrnkumyfGNOV9yxuDqOw9JH/zggZ0iFvXAT5Df5DcAwTyevhmA08N8PugrnypIEoTXhOer9iTF
wB3d3o4VJN+QmCOuFY5gQN+sUmsKfW4ItL7HJf9Koa3T4MBziNbQOE2XR5J91nH6p2OX407Jf5uF
mSap6COdwQyaYZ/lHkfKv/NfgVlAWPIWQggQGAL6UvNaZM9M89ESKqGq7to3EAN0aPk/JjgZw2sX
WE3AP4AdnsgLeIU+IhmBHfblDq8bElZvjKziereItiKEjsKs5zRFj3C5DvEU0qnE6mkiAoKylKe3
Z4HDljtHqHbbX5at4KlG3T/mAOo2R5hPKyzjNuAKyA3ZFd0W5aySKFeAP1w/H6uvXNmp5wD8sLcB
idgmeMzUZfu4tlWAJm2m6p9fGRJPZQTxCLEM3p88wBiKK52vz5Gy5erk/3CyN7ZpIp9KjMUJriUo
MHmw15KK6bHnLFEeTlD5hb1wntwj6QwRGfIodku7CV+46HYpMWDnWBzFI2+qouo9/7JxMJ4a2yMu
W7pNQitCka87Q69/E3rUqEkW6grAE8yqHVxteI4pDihcF2/ccU3Ov3Yek0Vfxkv2H4ArtdfuApNb
8+0PohYNAnHdG/XdEM+nx80ZIXytAXtCHgM4P67TBeoSw8iMZF02DqYcjwQcmIEnxiBEFjH+RjcH
bI5SaYHbgckcjwobDpbZDCQB7tjpoNsk6tmzkJ/DFt74GubZqU8pVR+yky2EwiFFs/FKVjfDH6bq
4xmnNxYzxTrbQ/rT/1h7qhGsABF12o5xXDlPfYoOGdvla379Kqki/PteD8xI3s4R4QQq9Ab/Rl3H
axq4xTkYFr0pX8tpgY/xTeM33liRDiDu9M6PGcuYEjBlJCwTIu0BuFoN7g940GE5YgIpeIv1Y/+y
ZdHK5Jf8g0dqUa8UNovXI0FI8GZgWvOCG8svx+Oeze4GUwwgMeBt8gNmnhh6QbooBDRkktM+VPDv
H051yv5E//Nngsi/VayHKz/FZhFQLERwvRLjY/lmKIlBFSOPbc99RhHwnyNv/sfJPvNRrwt3hFPn
SrKNMXAVrDFgktXCmEoeWGZ0wb3cNphw9bSv7i1YCJKrqZcVMx5x4WY9Rww3vTnDgAtulCvEyiwB
KZTfyl31KX2kMSRGG04G4IYzvo2MhO7bmVWNJAXxW+qmg2cFN3Tvoco2hJP3H8sA9wDEG7CMk02Y
n4wrFYlxFcAnttPeEnH8RQR1UbnSrycbWgFB0E9sH1oL0ePcUyEsdDhOiY8FofqoT0sZPy64EG8k
VNgxYwMNFU53zE83iPqJgeAb7cPvO7OUvnYPUxNy7g+/66neWb/Ywg6Gb5OmBCf4pIFfk0OCmoDq
IQ+Hu4+SXJQKqKjRKHiUFfGSrOf3KQ165Ul+a/bEiWWcFow8xTr2wUoPS3JnjnOYHA1uual68F5W
VKxHWwshMLBxtu8LefE+lHbMt/+brTDdcXCn0ySatre9XnrdNiNA9uGt1Wf+Yj6rRGwytaD0Z0A7
uLD0pUU0c3d4uaf+i9cfgrHYhS/lXn8ycaZiBMbyVMIS/ssqUHv9V7/FnRqO6L9xycaf8A0Dr2/q
kTsIwdsB5kNBO3pki2rkSJzS2I9RqWGmLD8hp62mADyLC8VclIGG+3ghRKDLsKdyNgf7wuvc2JU8
JbGfNwAdko9KGRI0A7av9Q2mbhvDtINnb1HQ0ZcnDI9n8ufJmp3d2oNByWk9Cn9I/3z/Yvdf8IJB
5MBY0KVCnihKodaJ4R3pI2Uu5kjYkBkz4Y4YJLj615CKutl2uxUav9ugbODCM6NmbCrqJ/bLDZSe
q/ZBhYPNuG+hEowz//Gvx+Cg85HvmEQ8SsKulCyQG+9u9M/j5wPKuzH/ky3mBQC1lt56EiNgZX2X
fwzSSkYi6fZK+e/cQb79V2gn6l0bfrPkww/Iah0z2g6LEM67o7xumW8rjFifmktNJY+z9x4Od4Jr
N0v/wpDLbwPF52LZz0hcd/Oufhs8cHRH8s8eKXruHPTxGHR+DqbitByO9Q6r+cqVv4xQPZY7pokx
QlJIg8rP4zP1Y+dz4rPil3Tkyc+ecw9XU+/ui9c8vN+cTw5I/nl5OkEr8c4O8I+rOZS1/HpFG+OY
fBk+PvzhGI1bCW6GxCiveNEDVBNhHTz8Psa1OVz8IZaS+glmRrzuaCGdUNpD4T+egydqOa+OUufp
0+TBj3CDdNeA8iSEzu1TtUDlAfxwf0+Ka0VsdcGucp7uzn9vKUuWfxgQWNuZR1zwMz/m3LFRKH/B
U3JN5/I+xN3H79PnoXGTsw9JnH8RuW7pullCN5d5xjH/av+gXwDSLheF3m22fvXdGmvv1o/8g1fy
ZnbGx8uCMDd3YMk2ofY7++gyrpsvJRh9SizuADUjzdwZGvfuWScR2I7fXWwuTiRXuty699PCVrj4
ijvGdkilF57Qqq4BEluPyJQtLkJooQinLY5YpbqmCxfdeVuc399PxaWwZQSJb1gILyJaP5myNGBZ
+zXClgSOhJs8Ny77kyM7F44eKiPmn4fVs5zDznlpcnIPPeZeqc/I+3c9YIfikw3jLO6J1bS3Ilpn
vyFuC5ahgyKP/3JMs50x3DcU5vzEf2G8Ft+xYtGISXPQxCFgx+d03Jq+vVM0z8CTC8GDMwP2+nRv
5qsyoyUlwSjgbsi0IAkwobs65NFgnI2/gZ3tyi0pLreBAgIhtcvI7AFnionlxTh2X9qrHXUeTDW3
fb29Uw6QHkZ4EwTz7K38ZrCDC6GPJ/LWiE1f3UsRel38JijX/pnv64v5fiMqgtiLCT+I7eJNu2lH
6xAwMQ2ymHSErRRAH4GwF14Rr5ydH0YCHE1wB8kwcAmJfJ3hULaHaxps/iF9ZiDVXtWXlOg1ygPT
PuCo6/Aq+LjMjnGyPu/7HpAM0jQFIB/5m2GC/VduPDUkRuF3fcWGNL0W1LE70tfZphvKdwhbqvOV
oZCl1tiff0kamd2/m/p6na41o+VXddjig/iiIASngXea6wq3gXQStirk+oFR+/TcvYR40cGgv5y+
Nv+qIaB50IeYSbMaENxH0SqqWO65n0+fNKI9UNhLafmlLNAIQIWmD9t/uHveP2GXg53hJP1FHWsk
I3IBX5j+MbghkDWADGMR0wUDC8TS6RzYOG53XZGY68K8Siuj/uah/q2u+S6jOqJloLwCcR98ez/h
RjvwWj6DdPIB0AUzeaW7lZ4tK8zuu076nG7BOL3mzak4UMPjbFKyNewBQ56M/f3K1shZlbNwby4Q
5R2qATDy8qZuPOuDvI29UDd04r0IQ3+OCCyT37PhIIuZQUBADGk6CM3NTfUK0dQXbMTNJ9EO9SHd
tuHM1jWs2/zIWDuYwjwQ8dZUqIyhIEBxauBEnfqg17wnUFBQEpswFC59xDTA53f8221xt8EJ8QlS
WffTbM2YwT2CI3637bbmn3JQDuqb/NfupYP5ZMXy06/9eMnFHkn3tBuOauMY74QsPbVl9UuXZ3xr
oNvtUSAAf+lXV3pIAalzyhQVGx40Poon+xkMqIVCg0tGbNjeGJyPPL8mDiwh0yxOUfqBGhlG7WGI
wkTrhZRAQkHA+cxg/i0x7gHcgHBHCy7iPkj0pHy6cLG0M5hgUhwy/tJWn5E8iAQ0qj0ESSh+iOV5
oGojscJ2qssAogMLTgMQhkTtoGT3C/S77B6Mih1yp0dwB8yqdJCJEOU0pRpZfo2W4Ivf2zGMPShM
2aFsAk5Fm6DWMVStd5gbre4zcl3BV3DmVPgMLkMxbYQ+6uvsDmzApZ/bz5b9rd0OlvQz/HH4F20I
MVu3Qx17fRUf3deJ4FT7YpGwGc/gGgwrMfb6QvYPrIf61Aj82fTh35ELs0speelJqJuczHR++cQG
vraYK6Pz8zgnLB7Fj+Zjk0wv6043k3ULostzg63SRESfR1MG5ZehNPMLQKP0eXziPa1vUKRlIpu9
zf3YdZDeASAwSh9eqCjB+BhOiqJs9gTHBVWm4L1up4ImA6cz61Ul1AYqzdAwGlRoQG0ND+CcVTfb
61N+nslFVQLbLiOk2TZyIyEXRd+cjDj7CEWPcHgay8rrkBkrkxY0my8jS98lmwwKxgz2OY3tpRJM
hpnKUSUvtTVH3BtXUnDR0M4GSWlnhrCcOHAa0NJRd1PSLeV/ZH2d6WOGxItMAMp98nSLQGsHTIDx
tukxfIAif59363h6mHuFG12MO0EMM+vRKZl8YwSAlhqaNkUMJE1LblwV7L4fQA/1sISvr8Jc7KCO
G0yN8Uw5V0SWUjHeYmFWl/OHWvpABuT1XRY3uhp8KBKn6NkOsFTLYd/aRHwMuH0MeQ3SiPb4HtUF
AiNKbvsm+8Ncvrfdr7CxqXrtNVNI4YI6g1tJtmY4BkPAQ/GuFbEwEMV6MVYVbTsWAIFk5Z5jIeWV
QIyKB8gdBRslllQlQs2gLTEBB4YthL07w2bcbooE4KG49pSgwiy3L1jP6gUxmZDXWmv3quWcrQZE
0M1W0F8JZMR8Ewda6WAtpAqzGVQY4a7vBOit3eekfjxIQ0eBk2GtsGC5qUvbga3xDErOJx8QXhnF
D3ZpwdyxsmGwSOXHSPMxt79cSjxyJO4c3/yfjyjmy5EQYjb6Z6rHC1wGm5todgx/gOH0CUMZDMYe
rE3UFFAghH2gfSdbFTXP/QkF3kUwN1oiL6FXVxm0IwZMjAAkmN+QgMjds0uy5hYAXcp9PCvvg6/W
2LAAGeBPmFcEGxV+ihUXRi0uVwvakXCc2Rh21Jz7MJ20P4mPVNi5p6E/KjXBZvmZIBgAc+fzmzBv
WRCwSHjX25vxeKPhXclHyofbUUnnZ+wy5wV+mxzaOMhRtuPe2EBIYqdlbZY/LTOIMtNhuZjoxV6Q
4yuwv/F3Q3SBRjg1rg2naCur/gJ0JxcErdzK3XxTj4bdUs3jidA3eSgtuGCAN9eEbl4sFZ5oCvZi
Y4iNxHfNXoQz4R2zBvrHBiXDfCN+bTM5uvaC5xEOZ8KaFjuFIQ8RVd2pq3jfKscbDCwuOiYW1QCX
2OCdpPi2LxdBZBEuu9BqSM6IBnQgwpNQ2DI3THesagsZ/yY4lhxfGoCTWAGt9PSosRmFFV8iVC+R
oxUIaXkiHwCKJSStCnl7AaeM514d3jFIObP2qopjE7cIYXtSWdaHPCEEFM8h6+jGOY3Dj7ABw256
xWPGhnhSqtbLVEhQDMCo0w6yNEI1pkA4PMwSKJDyOTwN6JSwg03Xnx43Iun8b1P8ckZgEbiiQ5JJ
4pTuugu9tJ0tqIobbzTeBbkV80OWFLNuX+r3C5gAjijVa23s6HsLLc7WzT4FZCll92GGt14KJIIF
eUrhl2n6xn9Mlw1/gBdRR62EPnBOGZHivzqHLWZSaX32dVH86EjBUGSQgJzb3jQkOlkdcuYiJ0RO
7HALhZZlYJCDbntjl4iyn/EAF3qppjEDc9PDiWJRaz+zNuw0jPwaihxTesrY+Nr2vOPbVCQTd6ZQ
bWZidJNGEiccH/1GZhKNrk0rR+c6F0CgJs6tBhkrhKqmlExy6mCJlmO2/0jZc5hSQ4DD1yPVaenV
Dz5syVZ2v7+nyGBXary1/8J0DoGQiZdMCnWDOEi4AOwICJDueFOZDeaPLEvlGzNdE4mIMKjrIeCi
EMOXAIbgvcvfs3uBKe1rP1f7jvjx5TFGTfONG9KZ7pVvpuiFE6p2UIKBsWQbk7AUOs1ZbBwbjMa4
TURZAZX1m1g4Ro0wuCGrmUhl08lyy1F+xyyh4/a0k8wCvtRc465jJeB9h18Ce0PH9rphUj1gtJki
71+qO2Y1ez41/hKCm710SNPJIN1QpmsbDNhOOYg/dNp6mSC2FA6kFiFDNvT2JdV1txbqipUNf7qF
uEkK5f8G0K5WqX3WPFZ5KUHV4dpZaF9u7fOjpyFSi+N4fllugvSkCUO9jXjw8ALiTv1nGKbAdtIH
CqBAkeXk3jB8gnSqkH6rsTKbHlqKiYEMh+MNGryNWH5SNwTbY8TZ/vXmS1MDwaDmEg54ADar9d3o
3ZewoYZUD1pdoI8+354hct4lihhKCR3zhv8fLrIOTgzeiEMK7uFMiigGJBmLcRViqoHqzO6DFPbH
bSc0m0sBv6XOXowFUUxBzDByfcQzLbs5XjCornXU9EifuBdqgUW77dxnCM944HewMwiyGVpe8cFs
FISFw2BIX24LNC3gnm76H03n1RNJl2zRX3Sk9Oa1obyjCqimeUkBH6T3Pn/9XcHoSqOZ1qipLtKc
Eydi77VFORk+moz/uLgtRp4QFpHA5uTJ/f3f6dohisH/CQIuQdyWM9IsBRDjss1bHMdhPM0y+ITC
JaglLXsFgCnMSNa5rHoj7WqFpDMj04+EWeb6hDu0HLFySBIsUqIib5JwLVrJDvNnEWdsqhu5SSJj
FeST4WXrriXBDtK/QkeMTlaistjkmxIou0wNnYsuL2vqkmUiQz+EyPFWV/MT27HH8qiwkwmzokAZ
ZghUBXoKPzbTGjGCtYHxElWnkeUfhs7OCCL9UdSTNWBgG1teoV7HgAlJR2ttpm9uE9Xt8MiCNOhn
OCeqf/BD67VlMKAz32Qbxfo3NExFiQLbMIFeZz0hzP2jr5nHlgOpbjAcsndoQ39RGM03uB4cmRKY
0MR7t/A/srTE+keoBWIBFgha3RygQiaYGVGeBmAzm1pNiAseLnghiRIhaolV8K+GSHSojJ2ffMKU
xsK/9uGh1PxVoctOQOoLbIXJAviZODKla8fIjTb4/7oWAsaBDataWORI05OSMEeiHE48OP2FE0Gp
Tkwy2RWE8MZeKoYL8LwTdZPhf9jQEgV0BXDQG2mjnhdU1O575n+m6A4H4KSiI2aRkBoTCtCxbsod
k88ML1dI/7v2TbS+HBWyUzTF8oixJxB6gj0TRY7omZnBeldKM59tMfDRMDHq5iJ2Y34cwu4KgE82
OkhBAsD6VXum2b6nt+OxFZMPMHjq4CJUgPqxybrlNNqfoXFM0HaHCGmGQwWzyjRv0BxamuKC5POL
zwQJpunfVQXSKflIdax0N6AsFRArnKQ+h6F7e1D/ERRG9Uml1RI0gCp0JF2XUmrGqmIxamIVS59y
bBlJesiRyik8BgG3pJMc34grrfe4t7p9ObNb9/e5+uNSbicUXXUpY236nSx9Yxggx61+eRKyBfQ+
dSmWX7sgkcJndBvshrugZMFsli6xijFaO/MpJ7BCci7KYNl36KBTjYK8pKRjeDgw66XbM/zl6pLj
ICkW7Uw5AGqUlGR0yks9ktAF62xBPIoWp/K+PYA9sEcZk0XdE8h8QV0mpMyCihLXL/UzWJ4/ACNb
+1uoo8pyX7Kp2Y1Zu014BhS6mJ7ssRbiGLL40eSQywM6la+zeSnZUJDwpB5kPySN4qZu5KyHsoNJ
U0+Hj7inDOGCLJ38GwI6YS5Je5ticHGa9fi4uJjnKLkITYPDyAzidVm+YrCDPFBTGm20nO/LQbhK
DP68T6o3AN8d3yApdh6avN+KSmCN7seo9deZTUxRH5eARDSswtwxC7mwapliEd+7dB50Nz+5DlrD
+/GZsuC48TEmzMYc9X+t1YArV+gz0p1vnTPKjhkfbHsZ6wmeBKgDEpUbTFEh+SlvAVaZsmJg1ViI
qzndtPE2B34PfSqnpmxT52DH3UaiKAxn3EyWu3ZlL4knwJB6vKsoxrFgh9iiBeziKzRcNWGnFpt9
fKAEwFv9bCASHQZ0AwSBBJbJjh1eZrV1MQvj6LTy9nOs+y1tI/YVnkle8QwiS11MO0Gwm+N4kFqz
8ox9Gbn/kmniF3zIXRCIeM6FCfi/HUD06iMn5SzUhLWBPlxneMgglnfW23nY2ZCm5o/wJ9Zcn8Gr
N8R4//++xDioxvLfBfl6am8u01Sirj2c+t2MF2jGJJqcQ0t7Ad+Wkf1ltScHtY2WRKQWtrz0Di/G
exEHR4EYYmt/arKohKjRnmuzW9GVs4GtJMa8h8D1pEX+KcVebLfxjfUFRY9L4SOJCLJOZyzbRn11
DeRybHoaKQvKC/f1aPNGAAL26582ok1REpqtEcFjTEQic+gckDI1Q3ROUsF4fpSTu0k5+2sMjAW9
FPGAWE1FE40kZ0EhCh6mYFuHtyCI9HGg04NwhNVVqCZDT7eOOYuD0kEvt35pHqT6AU5pgZzQy/aS
N99QKVg3JYbGA1k+QnisI/pN1HdTvQkG5wxYgRSzgjZJdEtBT0tjYioJ1fRHjEEwLfFd9NM+yVkD
3ODgM37CQMKQbToHWfXI9RokudoAkjDTkYJTQOzRA8C7xyFPdlp/GELn0ZNVH8JocZ00jDpMAfuO
lnN3ZTuox3wN8QjnWABvA6DzFmai8NUoLdEykX3NpxH/g6bdN3humu8m+QnD12Ghc4roDtVMic2x
VAx+uLouwE8qHv6J7YrE9xZ8PJzQbTu/LmF/KK0TVQPFufdneAlEpcvZuExObs6+StmYlx9J/2pM
Z7FsFFSxNkx/ASqqGg1F1W4kv2iBcCvsTNx0VCa8D5iQTJeVJcLtB5I4OHXkl2ds+NGDfKiQ1HUV
X9vevQfklrEc+rD75c2UTWsOtyy1bRG8+SguWgiACzVQjPywQ3UTazWA05wrOz9xkE6m7Gq489VB
8t3SnDS3lnim/eKa1Jx3AwdbacAclQYRPK6tYQ1rg1R4g/aCuQSrhnhaK7Cp6NpHiywqR20kcMIu
qxWlqUCh2bM6mmgCKPTA5E/SbcOt2cAcdhL1T5voW/K3DWvbWLTvWZk0T3E18/GtoVsTKePUIez3
ZzT9O8MMLimfkpTmSacDJA8Bw5y6q5CQXeIZ9RgtkBkhGTBOYMYgOk3E3iEqQl7+AamFgXVwmgp2
jJ8smJ/oywNy/gM4Le5e0/kWaRXnJthL1JbOxW6ZtMnpkfqgiOjd0J7AKTpBBax6uFarRcMWT/C3
RG4CK62a/1wMigMO3uV/J3mH9gC/HeVabzk7NzVPIA3mBD0LR06/SRGK4/8G3Bkm3jbmIO8X9UUg
VVaEqy7L/8nw0dIN5CQMfWhgWDWvVPKcCB2OgJOwhz7Gidotw5dKBxDO/HK+x5Tts/PNt7Z5MKVT
lU0vc8e6jXwJDc9sHi0sEFlKNxXEUn4t0WbXDJpDKEZecuiQX6b18p5hCwjavbQaBb2QwFjPY+sS
V/l1hLdiV/U7Ao7A/+IwtbFRjwaEBhm5dmtxV/IcvEg5DoJoIjon5TthRT32I0qz5DA1CmcpAdfD
zWcoFPQ7h7e1tOtzPTP8UbSnXDVvJhN71qQu9WDdauTdjcM4eNjLizt0wbFXat2ijBPAYgekN0JW
vW4DRmAbfSGxXWhZzjYe4fD7ZMAwv4mpRWpM3BgS5720E2a0tyh8q/LQUZaC8GDzlU4PVVfTF48j
3pmlms4ZEQU14MppOSqPWo4KUzrYULRVEDxKN4uahZMH+bWODROcMl3D9T0adKfc71SRjmSc/N9+
zDa6RDSPf0uu4Usg3MIcYVegfaRWfoJphjE3siTv3JV3qXcaspD0wdmNqFqHkd6HvApEd8rGOImQ
yZlhD62CBXvZaSBT2w+KO+uIUFsj+G9B9NjZYPepmbC3skow2sDhBsJnzeKSwCoO6cLTlPbAhfnJ
fMhQ+bAzCBhjIbxDoXNLzeRdNqe0wQuEg5lSkw41EQlYYmfGYMvwr1aHUKy0Y/FvcizsSd2OzXOi
K+I0cI7BkDNer9lpzV5npZBK0yKHW62izt6BHLirGinRbN3sLrzUqU/39SoAnwBCCHP8566EPIBN
PS4m0kHMp4B2hYBdeJf18j123P089i9dTSYtJbEsWe3YM6Fitpfo4b5Kt4nKCLnlYW/pPniafu5G
ut5pMR+rmjwNQJTCc2QTKWh9b9kmOC8NHhyCmhML7WTxitNSJp6MmQ9ezUvgcv6FfzUH3S5Anmg3
eIrpwFScKwZ6/mCliqWjzTvcQxJrSkhQc+Zt5uYSRCTKpyCi84B3eez9tW5zAqBi3Bcjri8KMXQ0
WfHXp8Izc2KJcaSxFvneDP0YnUP7p8K02TEeAYq3VyboRdruhnkrtWqLL4Nne3SK46Lac29+gG8t
yOYggpjOUVTcyxh4YPsy0kQVZihl+MAETvzcgIByEX8Vp3LPqQ0CepeMmyN/izhIY4ILuvwDx0gj
8LkyxxfF2TUrNxPbOiNlj7whzibMOzxqf0kISgjxsUmy8u4DXU2fk7ONSgQGXprjV26GW9AWVHrf
ko0qP0POLOQdf9BfnIp3OUEOhdteOfGlDhbtIQNAF2k5swS8okk6QCChOUjZ6ZXMelE1NhGio0xZ
LWlr+jUnaKYdOMdYqBxNa0dTl+hhDOKvY/f5G64wLuKLZfVO+D6D1O5QpBy4w5PBzuFU20bE2rwt
rYJD/jkTrg7KSdONVR8bpz7eTzowaPd7rAj7mS7E72k0z3OS7+h70OEWAhHApJK3qrMxFjAGKDVS
BcvmydDmt9LQToZVvFuEHy7RtAOQhmiZGLCvFPGRh/pSmGyWzTGwx2BOvhG04HhmIQtgmCxc69xJ
QCF4b5mt6FIhF+FE3dU6WAfG7K4GZq7HS/Q2pTmv9285RgugD61TE3iPDiOVBZ2ilcq4CEWXf+/w
RWRYB2AGQDIi//MXJQDtK2dxJ5I58o8evkWBdHd7vWWGxb04W4R5VgTPcEBsmHDU8YfpXvuAjlln
k3aRbTl3HhKLxJwMrHlBI571iH6LzRcIiK+I9GptNPYRnnw93Wl+u7yhZoG5VSPKj8NYX51bSjQe
ZRuWccUoPTXvU09glZBn7e0ytUDWXp3mbxnfLP8WMbzTP2m7/+O0QocwIEK482GYk4SX9NeqEOmD
v2dntpAUhgTr2gPlFYy6qMXHDUXAoiSTE2c6ogEEb9Azo1OcxwWtqo3Zjm6Auho5ygCje2N4I69j
y6S0N9KDrqiHuAEuXCLxeuYhzsA4Rzjf0NJtKohrW8YyBnPzquKfdjBfCp7WeZ7p88erFNF5QfNM
8GY1Unm5IaZD8wS7PCAYy2sLRsDVg1QkNKTkRVuWvepbEs58oGXkvbPe+Zs46cXm/F7y6zpxugp1
wTIMnJuyq+blh07aS5Nx7ANnE3jtduRMn0zDuiJSLgLykqE/pL/bUlP7Fi8zjk4eM5d3tSOiA7I7
oFUXPxXXtFrzsxGJP3CjWptBHOqYqzt+4F2W3bL3QHUbD1NCYfUbT9ETTRjtO9pcLZ3nxdC2CX3n
0aBModNCJ1eLna2irQguZi5tNGn4KaJl5ypmNxX24HyJLqpB58A6IX3HrksfTTSldQ5/YsHFLoM7
m/2Do/Mqp5te0hWcqd0cDhWZiwG3dB9kkbG1/EWQgr0yP8Z4eGYzmbRzUH3LhllxKB4q7yeleutf
Aq18BJj6/LsoUNjJ9XPo0huU6m712hAiwPCKEU6Sf/rIUdheY29TtcF2SP5LEh/IL0AlhJhe9hbx
1YSKFgXYHvNRTv3sdiQRcxXQUCYwESqcaxfSMXgXobuZ9Z0mP5MiXmD+H5/Sv4JJZbOaDCtVbpfh
qS3jE4jsh7j/KvtuS32yVr/o+QdTGE7zp4+ZxQOQwLlG2m/ynAdcuzhwL66XveiTt+9rMMt4vTsP
XwrdgoSEpsRj9h8NTx66lDhzBaJP1xQLHm3IHrwI+QoxBRcM4rmsXyrte57dldBKBChrEHcVAy/k
QHcQsOYIgDtx9NUAkDUIvLNkfePMpTX6JN9Lru1sgBlhMbONeBfF7Kshx/ulB6+Dm9G/xWX1lGEM
AbMSjl/S2mm8J5Yj6ZZKZCNn6x7gPGY4Nmy2xCAM1tGwJob7z0LhytG0NDFu8XIReSWxfJVOjC/B
bikuh+WuCSKeUtCwp42cHAv6MpSLPU7PiJgc2SHsAh+C4rzcrhYDHV31MZMCpzHnmth0Ox85TnyN
HMCmPbhjAsyFoSC0GDBuTncg72gnBIK6YKbLt9dgL7J6djh4FulK87UjWKLQAFomDgxtIKgov4Nn
hQmVRzVBFMRsa2W09iEvx7PBWWBciFrSo12p1LvDiymXXdPCFfQ08eUz2v4cYjJZun4/WPOmYWag
KnXvfOtPmPQSjtS3xZOFA4xeQtyiHRBWMTkCxtUKjD8sqxQRclNcZ1qzDpNE9mdw01dLeqGZ9hS3
e51FV4rSsvkJhpXmLxvuRhXn52woVnOAXGImIcaBX6Q/ya8wdyicOVEJelgHog9sufebdcgElqm5
rSCpc8pCn5L+HuU/5K51WrbJ0oZXDzLAh+Ffqvnd5XQyRqz5ak29O7rfUDOq1CSvBlHKN988XkJS
p2jI8fzICsYS5OtXLqqDZTX0mC403o42PCkMrWFdDC4GpEv5P+kjkPd4DBAIdc5CwYg9N9sCJP3j
pt+zu/MZC8jjZoVbvP2Rz/n9xmyATYz3eWaOilSkDAmBq9kQXrPmm+4XD1PF0FIjrX6Q0PX3ZkJ/
x4SJdZIkqI5qvDMQNqFZsyhEB7ILKlBXaJLa72U2diVCXuCW1CFJN62ssH8cgOshE9hN/Qe58AQx
BK+tqm+EPyuMiEqSHbhEoRkzEJ6TfcBA2O6cW+PpF0XfdkYhNTlnyXGvmEw72VuFXV7xnYP82vO7
JglZXNVfg+Nm5IYrM3DWlUF+L9NBL+QRiskdiXYhUcKyokyusaeG5AX707rpkVeJblC0Nf18l9KX
Shuk5syqObXXtvp0TDx68KG18j3ETloPhLJbW1LAtk24la/jhh8RADcKIaaP1qrrkeVYPKU9Li2I
ARxf5CWNee4GXJbWuJecdD4tZW//oqNiD8gVk98Em3TyHsgRwZb2OJqYGlwP6RGDFqJGFI8Fb6ru
Hy3GGjp+WaKmMQgllySgpY5MgM2W/YyD2mRWu6E4Ow3gAqUd0kbfC/OZOJeVHbUJQ1MkhfQMI4pp
OjjNLTYPcxyzTWprSpOU5kJboxLo7iksLWnneJwUkIMyfyGmixpKXp1Fd1+8rkYk13DgfbGi9jvu
kpdgLG4KsA4QwGxkeofUxDYeWAKXIV+nBMi55swqTKIqz3oXNmv56jDJVqhdjgs09hhra2ORtuqS
EgByaokwFhlQOuIPRi6wSaSCTJjt69GXFBY6gsJ5rH+/nVTYpj9sw8V/dI1EtiENp4uxdYGY8MB7
tMx1mE65imiSdzQjcO/kVy24T+ifIgl6tMjz00/cj/Hcl/BoS2fvcQUK6322WLLRL2VWB4C8fKPl
Gi17i5GA6JMsPcNuqD0NKSsClbTuUYrF2tFU1RFgcgoDna8f7YUbPM71Huj7ztb3PCEcywfzY5BU
uqfpWX4FJoW8P9ThfwxQY1Y8cGx5TxfnHGvlzmYFRKZWsD16NYIzNaB8I7pCKdgXM4u0RdTootX5
n4EFqgivpftf7PzIyqjX46OUBJ7bbGY/32gBUHNALTrrCPrIemzgNYYsJD8ON2TWKcCRqJ9i/y+c
gJJ5VE42DU+68y0So9AmIlIrtnHSrJhXftc4Z2NWD7QRe1lF5FvRfWVnUgYi1IBt32svk7Efs2xj
aPSNXX7DibNr/Kw7FKYjVB+KDrNmUGG/5Qh8MuMdsy42yNl8AmaMI39hUH7q1GmqK37AQ+hOIvRL
Ab00AIk5uN9dsdWIJOklFyHfqxJ9K+IMGt0IASkLmcnb9LAwbCrnzaHTp+pmbXXcDsKZKF1LWOv6
dvCvI2LMIhjxyiOrhPyv75TXMJM8s2LbwZ0Z37XTvGPNsXsA3DVGdOipO5vpzp7C/ZSDZhO3nx4d
ASai2UAejm2sBczdccmbCmEO5qwuraD0RdqqLBZ0PyDQeK6bt6mPH/55mVo5uQ1Ia2s5QCY4WwZO
sK3QgYhQqBGfQHynAd+2ydHCcGSG8Q4uLQKaV528r4XQmn2Ym08mn0DiTj5TtVa/DRmpvRD/MHlw
/L8JLzwdO7AmGKxJDJYbbxjwbwv1hHgmSKJ/Vhqe9Hne8sxbwKEWd8DjzvtjhgdC0jlPktQ2bgUv
a1IXBBTfJSrL1HiXF4lUIk1sVbgQk5YXu+cSI+iJ4OY0DUwBDiJ0p1i7FCVCmOnHAW2i1UY7jw5Q
GzEV9mlvyd2xWMJSy1xn4Xsd4QaqyIoGdil3VnX1nold7CFC1Zk36A44zp4obY1gWjbIuL0oT5yJ
/3E3NUxjIcMw+iuEBdFQbu89EQMFzfecis+PiT9MeE+IGFklMBbrwFuV4XjvFfB699RB5+McUY8p
pTDVJoDaMLr2CFXYdGNufGW5v48/z4Gc5OThmEmmITtzMSFU5Qmnpz2zukcrnZml0ZsqL6p8mieB
1eMTneMJzmHF3KGm9PIB20oae/jFsRTNDzMPvLHGfM5Yzjpw7WopUObYfzql/ZMtyGa84zNjrB1M
Kuqn0QQ5MX0vvb5y/J1LbzeA0hfT/i4ZDtXslIXFqxTRh24eHaD+eQ1LJeRMIWdDfP0zk6iaiQjR
W3pY71hqHlv57FqWvD8NS5eBfCRibbDLeB/Q2GbDt4mF+SxnfLpAahHyTPN5JHydM3oJI7n6IR0j
m+19bv1MPuIPMsBm24E8jqEb5rWc8w268tLs7D0aJ9W81/BP6qj8XX+b1cBcPRdrM2I/uleatrKG
Sg7degjkvr6bBJKo5V0qKjlBtzDGGEJ0Q7Dy6XgJ+a+xbHo174ox4RKG+7g9xeZ5qNVRRqeilrPJ
Ig8OBgQqUSNZSbylpqsJ7lBkPmgnm7Fn0l2SEDRTu7Jc/4FfQSNPlfntLUVYH8NEsH5aiBGDkHJs
wjrl2QC5YZwt+iPS/psz4DJ4iSiWukQqR0S1/PMSACiaHVE50llZS5RqzMnL8paVqNUGBhomh3cC
U9cJmkM6lqbZIQuq8H9TPzoHJ927QLEYMtIPf0oaG27VCvJiSDkmRaP73iXJupp/QwOQ+oBanpki
bjwo/kjlWgah8K50taNpPd+G8hUvbjftBw4j8caEJOL3OwIN+uUz7p+MfDcDSlI7ul6evUcL4DpH
/mraHGrU+DGdgVuZAPwgGYwIl1cIcVmISfypHtbkkXKEtBjh5eQ74xB4ynC5d0+zBif/GOLrnc+U
+gRXte1pfkG4wQGc/gRlSBu+NoDSZ27FgYaPPW3rQuRWdcO2fKG5mzT3QraF4JmZIx8yAMrAElHv
xP4+b0Lcpzzw8woxg11jBDtV6iKQiurfkOE+3TsdBI9TFx51e8t/N+OGkyVzvNDa955ITgPnrFMR
PPr2xSW4pj/n1NnWBnyBzQPWcnI1/+YW3MADB4ZAWzco3Pt17hwbl1CAA7+gtktwdDLynMCWJKg8
bCL0AtWxDY/uazcDJTTdk9+2O+vosr4udMtDdByKSUuMWpsJtaoe+5g5QbOJ/XVaHog9eQi98VmW
hgarB1uCtMpYZgPEXW5zS5FmBaHNce1XVBy3nPqmU86eboRAkGQIJpGu9nKVaIzOvCqc9L2NQDI+
OcY9Tc8xr7QBvSAiwU1JIZf2RzO5jlmBZKk4+V6+mv6aRCWYGqzac5OPMr8ToShH3XpUDzrbT73k
W3nIE88FGFzv8unFGt7NArV25H4sTnxuGbc3JB9b9BB4Y/UyWgv52qVilsDyuUnXWlH8q1wWDGbu
se0fVMQ5FvJ+FGfbjD8yVXuyRL1nAGzpnlM+biYtKKYS9Ypwk8Gyz0mjzme2nMoGp5igsKNWCqma
nc7ZDqh68B0JbBt5iEgNbAxCY229pT0hiqyCKdZ4WS5S5ouslwLsb6LtUDIz5qi8wLeyOEm0GuEM
fI5nMn2VhrTJls+d5geFbwcyriOIz2fQHSW3mKCtiQaUjYZyhB0isUlhDnXWlJyPAfTgPWPilirE
WYxVJYvLPlGaGnQxaIlpiEAcbLE6mtzUfUpMtR5o0TIYvFTGX9I0GTgwiWN4Zeg5lh+02LwEol3y
jC8ht1q4gy0WX5E6t9kn3ygDOiarix9lR1+fNgFOY5ou8syIQGYoG+/P0XXnQ9CXayOd/nNbb1/p
MdTn6dX0tZXJRWh7Z49QDCm4cj4pgrd1d1s09aA1N5drIwrokPuiyvrYiB49Yd5n/JfO+wxbDanD
NCuo3wbm0yO8Up9QhMnmscf/6D3bAFQRiUhCthXTgcCd4PF5LfizrNz/fhxkwczqyWXRHmSeHdZv
ucR1GbcKjSyCXgjtOlwmQeGl6c/oJZuYSUwGEPIua3LJy+Pp2HnpDCCmagO6MMwLLNzqaWVekMCP
tKaYVFskQ0sUst5efcLgVch7Mt9pxbjE84wfLiGGS0Dh0d8C7BsM0xaaCcCozbDahBpEK8w2dLp1
x2O1g1AY2Sizqn09a/uAdy2zja8Y7QlDAbn5rum8+XbybBSIjfm1fnVf3n/y9TisNdU9olXQUOT4
bUJc14wKz/oPLbCa9S+0i1Hf4bNlXiSI7AyNteipPOJZzeFdZG4klTYewjMeq5KOSsw+b8O8sfig
lm7YmD6DiePkT8yEw6Bmuiry2+fPzJSWDNKnafzMcZPaNnCjsjgEAwQDnH3op8gfsPitbV4jOhJa
SpXIFlkwkCkn9ZvKKGp6R9jHU3bTVL0uEAIldnxgZjvMN6Sa64St3WyaQxA1hxhxQe3ivSg4aQQf
tHIUUpzFoUNNNUlcCN7TBOUWm9/CLs3Aqh7/mvMnGNGwgKhEn02EdS5TnvGXbGesy57k8vGvjEwH
xCG6At+kPXl+emz5msVya5hrsamj0U+wfF5sJobSZHIypoW0v0fStlogSaH1aCbPbYgqmEwhWuGV
0n9yBvx2Ua0RRxwr0g36cHzkZRHdNCtvlo7Pv9ffN3E9ooju/ReGr31NlwjjvbZYMDZLABrOhRCi
hwoBByW7M4FosBvvVePMWgNSq+tji36VwJXGn78ksEnphE0pMBh5DURHX0RzCnWENjbDxSPmCw+I
Aefq2bvPQb71wmVH++xLa8sXg0VboK0lnRep3p2XsA2we/003evYe2eUDX/c/K+Jxd9sCaRb5p1e
uTylrxLv51LyDHOyDkEEYfxDFiZiVc5yokSXS2Sx5I4jQ7RyeoMfKb1wXTtxxpCk+b+26r9lgB8A
8/cUo0905FIKxTiiEKNfbIn3BaVhZA0KFReNxMZr1C7APNOgXKLSKyGpBVXMPgPlzvU3HBo5ewey
8pRn2YgMJISyrlYUmKR29Et6X2ic2D6cNGgMscOf6SaGhr3KsOkwpxko/2Pe5xLknxE3O+UwYJ1P
volgYcD2O+9r3djagYds6Mv8VTscFlzTe1FkLT7balo6APGj99zzNyJwHQB/dgvThrT6idFyK+vc
F3gCh2/Z/Rwezqqz6MHoKw20A03lMQ9fWt5QM0EKOOyNsV3ryCb6aS+RXCYHLl3UMTHBHIoGlxhU
lP7WI4Rlhsy9o3QilDhmNW35NP6TBtO2NZuTOyzbPkazYhhkLGLLJOs5j8O3Lv+ul2Zl1MtuNmk9
20b3SpXFSRL2OX55VxrwbHtahjRr5DjKvkZ1JrKakBI9kl692z+4ME8W6YXcsKTIjdS4UNYXz2NW
Q+X16UzJpMgHMMxFZm+mi/ttsf/+oilVflx42hoaS24PqwlNSx8fSkZ28oC6mXaMPeTvemVfp9G9
12q+TgHZdNmHPNCKiAn8P3zqSU7VLHX6DDhoqLZzeK9qpGqsvoWo+B86v92Msv3ybPgmifITBmE4
1WN+092zDAS6n4S1S2QseYuFmHYQwTfuxI//8ChY/2Kj2vJX43li8A/bwkRe5CEURwRGs+W3+GLD
iGMH1XfyGBAK3fZfg/Yc3Lt80+APrFkn4AZMuUcGGUBvSvOUqWvEEUhLsR2T/DrtigQTJOvdWGqP
U1qtxmEXvICSRmMW3n6HeMETizaJs2jP3fo8m8LQK/euH50aF0HB7OIpdQ/z2P14hZ6tRy/gU3y1
tvSeARgpLJM3f9GsXPlT/8Ilm5FDZ2a+qlLYDlr8ZNN067z/GPYMXfYkV5xB/+yQrcOF1xePcSPK
UKpwn0M1223eku3QO86284bHqH6L+3OC/KU1w4uBCp/63oRVUxO5MVCdNBGZKyWDXH/VFx+L6/Hs
e2hiaW1ueOZP9W/OBeYdgLZRfNFH5E/FIXLgmHCP0E3LPCOnauVsupxDjAUO599e+/amv05jrML2
JNFjeg+kxXL/FNg3TeJWtga3A12pOf2UVrlqOkgb85XjGOBFeD+99sqL3SKaR+BpLA3wU4Jayuy5
hfhhtFfDDoi6+Gtk93R4znj/G+oCKZhEK0PU4L/eMIhb17htF51Onl6CUbD7E7M48Y/oNLltdEDu
ox7Yn2xQGsNFXzYqGKpWJCoQSRzlSCk5T369n1Gzeqgic0ofammdDVUF6QnNXcVsAp+bS+/Ja64y
HMksOO7zjSWAI5OLpoJH4dEP0nd6yxIoZ+aEpjPKl+VZzxku0wk1vualPpixQWLac7mUMEapAwro
H4Q24aXujq4xnRpMoqLAalHUDjeTqz7h2AhaANVomWh5GnRBmHv5QJzEQ1MbfymQ5FcYbznAEw7D
LMwNQWiUqH71XyWRM0if7ItTg1CN/qvdEqcIulBUOPO3zCUsTqQLPczUnx7hdJ9qbUEUlq/04j8S
kOmyU3jVzWdmzFepf20/3dVIRFSpoe/DikITuhrQUrGVjtSYlhODlHDCf0Q1fC3xT5VMvyrKdLjH
NImaMb0ZxUGDJUTrKVZ0NvIPfQBLEJCBVI8ruZdRXV/CBat3lbDXuObAAkz2ZQprcupqWDLYHBdn
p5WwCkyj2tlT/Nx51RNdZ/Yj0W1LwJNDT8LoKF1ShMN6Qh0nu5kZRpuyByrCiapzChSHy0M5TUS0
QF7r++JncDgi+t6zTyfErUZUVd7QHKeecEkAV0ax7ilxshnqSYDZUbv4nH/wa0gBaegYb+KeU7lx
yMfiUJnxgakfBEnDf0Fcuo8VeNYlXHtEs0mPzQmJ++mC9NokCWWULPcjnr8BT14L579RBI67/h1l
y3WEgqcpYEBN373KZCgek1vR6j+aVyILnb7U7O/SaCAaWRGPY+sH2t6f4N8JgKDTVJsjGmu+ca4Q
qjO/trDMkD1I5ZqLZ5tHLgOhs0z7vlJsxgM1l30cHI+Cnt0HT4tMtOO8g6/AUbIYPpMOYWRXrlM3
uQj5unenYyTkH9KnbYAEBY12+xqOwUF274VLXfY2qQzBhyhnUJZwchfNWVQbp/BNw7GlUTEQ8IUY
z4YKXxTf0XD28/7Rwk+J0karjEeNGeGY6Lt8zM4NLZBawsljX2RVpcPIZIRmI6sejnIjPEu1xQLS
D8STMEzigRjphTXUBh71mamjfvT/4pCHW86QWj/+aq0wZS9Le7ZC8Z0Whzalm6lhaQvpRtVtDEWk
BDZG8tvL4pWryoDsUw699Wfg3Fpz3J4GcxPP9X+5Zzz3lbZ1c1gauN9xNeFWHLa11a9NiJQtX1LC
qvQMxVE+nkslcFUEDYG0DCYLV+aLQxCWvJcRAh/VZTw7rxO6Yl5xt2+kVI+qZy+CQsOaOFVPrcYq
U2uPAcsRMb+us+zb4YAPtSFvr0iSr8zSdljhg2i4ziQRzraOHCpxt25h3gfq4tF4LfpxlyMp1jk1
2Jx1yTJjOjxAwpwdHMtgJOgs4GqZactX6IW16VI9duZzEML6ovxYRpoL2P6ma7iylX0dlPVYg6pl
wZWYRJFJSdk3QpDRobyxYkx9tetBlkq44oBP2XWR4Og+OtguvbUxtBAZALKRWSGZ3+OtAVEeewhp
Ma8SmjumgKGNMQNrCjkGb0IZRScLZYhdPc+B9c6az143cCaVWX3lLbQfHMBXzp6SGqZqdR0TOjbt
J3MhPAvExcREFogbhxKrxTWQzMBbR2BVDEyx8I8f9Fkd0ydNPsXjB0OYUQiJJVW2IZnBwmYuvqGE
MZCED5LLKQVS1Jx14Iv8SYy8VnBWrAo6fcdawnoivvt6qviV9jZQFbHAOOmdUT43MQFdMVbr2dFQ
31wxs0oRZ8Tgl9I/0lPJkjfRLYXYF6qASqx0f+NaohE3W3n26WrSEFUeXbasX4vqY2bv8S4litUK
QpsEhtZUXhJ1m3JSXboR+fJ3UO+lH9CB6bDdSxbhMNH/ZAMYUg32/71FQAt3ZJiPG+P/SDqv3eiR
Iwo/EYFmapK3mqwJ0oyybgiFX8ypmfn0/noNGPZ6oTAiO1SdOsFLN7nz5fGO2u7FThFaBzsfzKcE
kAkwNdcMrCZUT1Z7ZxjfxEPAap+HN81PXXrcdI8ToIOvxDGvLVRpfIYiNKDPBUc3rl4Fwkr0oiGY
fDttY21kBU+Opypp9rKe7rI5Tdl14s50Aoi9Ie7DmiaqaRpMn8q1Xi3/ianQIOhk2oK3LNCguH7J
MdpsHQUZKpfrwrOBHMHMXgbzU8EoJPlutUADNlvomowmLUl4LYOHZr7a1suMwHOemCN1wxepFPhM
/1OY6yTDZxiW+4BG3XVetGotiB4kPMfGoWp0USUFDRnZhUqpQiI42Qfi3E90tnoApGVJbBNGr/qt
LHDjLOA3lfnktaJFtSdIKq1OOji7PDIac4rtiFLD0OVNeQUmNBvG/TyKwCcogMaq4SrsjnyEWJR3
o/+i5isJ6p413sGgKrJqnaOVbc/Qc3FE/AEEXOsnR77xvRX/oAdcuxG+ivwwTc1rMUP1sOe2glvo
+xvrB3n8/WTASgMF/Y9IKZN3W3N6+DP/I/Mj57WreW9HeMqy44FWeR5wukx4Jwh5069qBGIGX0td
VAe4ElJPzPZLfRa63EWqjCm+5Eqf9oKtVNcttv+ERlA458GuB9Q3NPNDfRfKu9ZGuh4gxs9yYQSX
7nUskSYclWFNFyn2zLy5wUosBAgKyfFbTv4Wrc+juXW7TbHgrPEcN7vG25h0R/MA1q/2kZMdcJgw
Q13a8kry+RAj9G+n4bcLrZMDs95YklMtglPIXLEyJc5q54z3KOlyp7a/5ZhuUknE7VNSFCcBZ5fA
R10Ih03ybaMX7BkCak2UYMJsM7DT2h2XgbTvQKkmE7IMTG45xh0jHOJxPAeNfbIkr7lw1pkOcjy2
ow+olB61xMHw/e+uUdyjyEwU9Jwi2MtGgptTyXOG61Rj7e9BA88cCQabD1ArchQkC4Y3LkpzsODK
1yuyH6ZbWJDPGNQHCa2EPVe5y0e8eJuuLveZGN5G7oq4hqqbBnhGmkd6zA13Uym+9SIcOcvZ67b6
7uH9qn8zKAWgsn0wQMg5Q0OUU4SRgA+2Rb/tOWaLkLrdnKZLO4EGuXg5sck1haoCLD04sPtaYew7
JuuDQOXryc+64LfH13G6BsjQirQ+o/hQEdBy/usnZAxRUvVVt7XTEbOYhRR5HrPsN/WA2pYyKAev
qMRvg/EVqRlBibFoXpxZ/DR0Vx+Ohj5XB+QWHqmziPS1JqEziBrB9822nYfUA0ganjX+KnN5bCTh
lJh6DWG6sVK+DLkc6TnsaP5ejalpJWI2bM2E7F6YWxWKqJr0OVv7HEGZsgDIW2ysMli5A1RBp79p
sqm+8yMcKQmknMthNdrhcSpLRHaSCRitA8CLfochZ7ie2g7dDEEKfEegHRoo0+2HoEcLaB56Zf9F
vlrPYbL33YzcDUW6KNgkYwFcBQokwZWn1kqpc8+v11LuGP1VNf3T9IKYKWJlD2uXY21SODUPR6b0
AJFtc8BfpnS2JhgnGTNuc9R4YIqqHbQRTgbTTwX/eYIDuvSM0jO0EPnWs58LD/ilQt1G1SZGdkCC
Pc+Cn0Nx8yLr0aPImNInzCw2omyeYF3BSeBE4orRZYhe1TUZDFXSrIf5bJrl1gUI4tfrsZeuLbEt
x8pzPRurRsUvNfaRrs7DJT8jwYs/ctq1/qA9VfJM+6pJp3AZD0P/iAsh8URoXCCsIXkwS7Xrczzi
Q7h3c5Zu5uktxCaHZwepNJXl52TRt4DVQa1YpTALlh72g2+dBhVdB0rnUZhba4TUhbFNznIR+Kr4
fmetVeOuRoRNad0R/M2QH+yaPhIxEq69BKz4OmQIxGV0MUjXKBBhPEN2tuArorncxcrDCUkw3CdG
JaweHTykzXiL5hEYCXNoq4cMOg4nC9MWL8P5Cf5smZEa5LHzlTF+VPa4TVPmnJ9zD12lvygUAuAa
KHuhb/ZggdF00TgObWfZ1j+DDy0yzo2vzB8PetdEMFYGbJArv38JPGsbxBhu9+dkkA8zhMqwJHLD
3UIjvVgEKIvmfYGxQE1C9aHidG/U1T6DrQsCkmyD5K0Q/b4CiG6hQiQUoC78tiRwtEtaa+AxytnH
oQ1dwLKLo8CKlN5D9I+Y8aZHjrWxe7dILIyalV4hQfYz9WuykU8TdXERW/vQQF2UJM9h0O5hH907
PTo7DMXLjuAA29ra6MlsD1pFzqgqgu/OiBKjpMJFmq3FlEbJBkt/oOfo6osJa1dU5wCPJE1wniP4
pGzb6c+KXjB/UdauaLHCrCuGJRiL8ah1K8XV3cn8YMMPdnU4w/JPr5AYBKLmpK+cw9C5gB82pBt5
ypuTl/9wfqKN1L9DsxxY3ml/MRN3j6uHCi3dYVMoPA/jYwfHrWY/6BI2YXbt59NBl4yh66Kr9KxT
Z9XnaGie8rzjJivBOvGlNNP14yKuTU8oZXV12ERwoePhM8qec3P6kRWMFLyc1RvYUgSDVOT2EzFV
LLKhzV8a9mAJJ8DGbRZOBAaiGf6VgEf0K7KwHhfVb5QyX8ISTSCybQjyiJD82FkbzbKfx2ukWWUc
DK79Xi0S3p13nbGLxTCB2RdwzalNbz1haybGBpiyasRwmOxN4RA0Jj+c8jEk5nRmEu9458FmsbFu
GqByexkx5TPXPZkDVjs86zO5ABPtxTckOeRXf79B2L7XE0LUEPANYy/GYlToizW8IC258Oc6UIPq
utm36Yvdxe+NhLrIhMq6Tg4e+Ul073CCKCBcA0Zj5QaPQNKQnUCi6XaAZ7htl8b9hEOH+17cF496
W2qoVXbDR+rgW8WTRddq410iQOzpttQy7DIpLj24iGkKKIdbHNTstN4V8htd8B1tX0zjAPsB6Vw6
CbjgAF/3KFn+f9jKmsUO+ITHDA03pXFIr5446xIjmhYo1sNkgCMXcXd10wpPP4I314A0xZiQ6JOs
hiezdNo/1cfsfMLjJzmqsD/mEMf05Ub9KTjg6ibY1uGvbe7GGp0Tk1MhX0pxDX33gNLhWczDjq67
KCtmNe8g5AGgdRZ4DwB8aHHPFu5ubSjelkhSwRLQ2LyNvkPYsb/WcdqO8jde5RxjlwEJbMjxHKJW
v0uHp96Hfe3eoFWIVt+t+rrTmyLJcOr4zcgBsRF76DOSUdP/O8B0gWCHM6QxfGTOFyMQ/SDD9FUt
hJvS1pMFZ5awbzv0gtiGhkiFfdXsYNhQ+WLtQW05sUX0kEngVqKXl4b+YVHhl2PAPoRnYr/BPIJL
8BrSAAiveqb01lQcMxpI59jHKjjUeJyDWUcMO4tmq4uAeoG3Q/Pd4LiUC2Kzuc5HgYEqA92EHFpZ
4khZ3UYnWc+tqf1GaIjcoNmpCO9KH9wpbSVWN/ZZ174NK9jDZsThJ/PbtSKkhAuqy1Ksg3S1hsOD
ptX+Gt60X5Bkxmm10YzQAiC1bvdBaB3MxSAig9ogXG6u4+wbz3jTV2EGo0m35zkxRGo8hgq0LcaT
j4lxHazHfFpZJtTg/JsykgX/H8Zvfi693Gs9a9LnyIii15x8QC3S5NLjhQfUmODaVVesXYMJEuu6
4Jx1sS9QCZEN7amvfrIZOF4fkF43rfq2uHDSQ3uLUSXq4ll/RtLCT4raSZ8jChtNmpm2HWihDYaA
1P2AYLrBDSAt/Xf4FviDdGA6mUmDAHVUH8GVS7oBbw4RleD8FCVUA0BQmzuiEcSK5fQHBh7GrxOf
nbeNp99fPJDcwe9NbAiIcloRBIjkjEggyOGt4d5Lpmw5vKVA0pdF5mdkY20D/01vM09BopkuBgac
VURSpZ7dNF+OLy6R/JzL8ajv4XL2UDdrsQqD05nwi2JX62PGIi+i/OxoTTmlUoSdZjJtKAdBrmnw
dLnRvtgeUnVAEn0jDEThsSIaGMKakRIirtQguM9k+n6gold0G2hwd8y/3InB5AV6fUB8a+DBx6QI
z3Kiuf099Y6e1XWqO+LGAG2sacdXHEms+c2anqOwf3Jcciu64tHrgiMmdeHbqI1UABxSG4Ktz9ZQ
RKoB1bzoS7nJiColFBRXyZbOmLneM6B7A4NP25Dp6X4kjtyzeh+hvqvs9E553raVLpEj04ofszGs
8FqEzp0fEwYTY3TAN0aQoTM4wEEbkCQAu9L1T4CIXJvdSO8wyht/fcqFJus/Cy6hWAiN8Hd6sJSC
cpm5ok7FPB6Aqsc9KA9BmzxjpYXpNco8qqGF0jncy/Gi+1+UAhVB7NmzBWu644fM3VvXnPBGH/FU
m161pZsCZwkg2ITqx05uZIx5kNZb+NUFCS/40gW3MXwlR26dslE0YdMcjXM5kZqnW0emjCETg4p8
vRxbjIA55lB7uqvZLoAzSZW/O/zNpRVctCbHZnysj/5WVDfCD7ncnIPeFlEujnzEHPw8Rgw14mlg
ccWoiqERPaAMb27OxTXjACJ2JiOlO6u0nsws2vZFhVthfNFUcB9aGs0hwgPeX/us73szQMNaj9tJ
DucyVrvSNF5acOWRJCQrhhB31StWGIxO0aANA9Hv/F59quhSOZyme4uxLESnq65y0ALplc1lvpuz
iXT3t6wm41xHXJPYEdY3Y3KesoWsRCi4PqyHaFYv2jBn9GHb8Z3CJSsbQhQ6x3jJn13wuNGVGMOn
uPui+QeMNTGIo/ePFJOGNp4J+cuuubJPBEmIoDvb9uzf9bFYKwu8GhU2XGPdGcJBXZTcKlzN9Ztf
Mp7k8KnrEssutccRug6t/dFLOCu+2d9puwuWaYvrEzqYCBl3C6aj72d9OmuafTLlOvQD0isbDgYo
eUmUbAvUkKw6OX6JUNs5sR21MlBjeED7K5cpSF3/DeKzSd1zbtZU2R8QzDWqoVBqUiDQpYwrm+Yx
Hb9CqN3wdyMcWrpvu8Vy7U9q/ReUnVLzAPFFKWCcapvHjGwH1DRoEHrwfxe0ViVsruVAqDXIYzIw
4fCK5wE0Raj4YanfLAPuAYpc3Q+5In9iX8WmiSiYmpFeReOePk8kR7ZHHHsxWpumDDZ29K6Mp1Sr
nCjq87jYdcRz+E/d8makp9Q+iSSkRKAKZLaE58e61CqhxTybmEWQL2ygtPYr9vOuL8rfXkR4lyxQ
S22//plzJoqx995jTkjtzrb075qQfdmV49oIicnwYO6Myrh4s5bnYXGEWdXIpZlkj3BDH1uCiFXl
cA1bKLEcRHkDU5WYM6zBJpTaoLt5/rCJEtwj4Pw6DOQa7ylntGkuqPs4JmAfPo+JxP5qgT55bsEt
W/8RjciaGgLHi9tsig+HdKYQR6uE80WvLOb2+gt9+DpQV/hfXPF8utM8xdMIHwePUQ43pJw/9EDf
bOw7bbHphYeO8OiQTF+uqahlSsrLGaj+fIpTazAYmb7aM6pWRu0Zo16JixTvzKYZ8ZV5jWiow0mv
DkCYAL2zm24nFCUpf6ixHJ0exjhwZcGhMROT7BKQ24gDvOZNl4yvAVyussC4+w02KGqnFL8CxlWI
JORB9rjRQ8UF0dGkdpWlrH6RfORtTxAcvmeA/Kucs8xrxB7Lg5XWmzNYWdWG+xFzZiec3VZJcIs/
bmDGo7nL4SsQ8ER/W1knu6r2om5/ZToeLAhPiklmUP4VIFNN765TFZ9j376ANrN1W+tVxvHDjE7P
reNPjogDFCZ9HMWpuCSPyUC4GPOGYdMhN2RDmw55XJTqc/zVmN41jqp9Q7cFrxPP85puss98LtuK
KIj2/T/3guHdzeE0DOQPtII07l6ixXvXta0u5ANnYzfnoTUvI+1L6f+zOP1jVjcTqw06G3n5DyIJ
ppWZMAWH4wCmx0O1lEJSdwd84NmvNdhtDtcIZQty8BVeUn1gENgw3Y2lz6Q+fJfl20LxZaPrlRja
whhr8hBs3wHANQe4zMY2rDnQxmuLSW5S3RiMUmpEX6JlpmFXzdWNSZ5Vu3DGUujIgL4IpoPpk4fO
WZzQtqbICnpUP+Rq9bti3tkuC8gUO2tuX/1qcMh0ZgDRKDYMrSJWLoiEqmrcFwM8mwQq3rK8Fkhc
tfRLv2ENlsMnXYyPwk1fMh9iOWx8Xb0E0aOECNf8DdEFgjbWF2TDToSvOOggXFJgoxYeXX7TEJN1
A7pIhXxbZvj/Xn4brZGxOuiY2OtP3vXDY0Fcad8oskrs04hd0FguzzOlOpSVN2/ctsP80BiISn2c
/FCaRvm+bud3f5Fr02q2EnjTdf7F2Eu2rw2J8W71oPdrWaHr5Ag1cIWz5uJgymY7c4F6MB7ZnGMc
7tvmsZ8HIBdvp2uULrFOM05lIQnEHoMg5VNCws0IOh7QQp2Z33pMZbwQ/aTxFEGgnoLDQHolKet7
/tFoCXgnw8qHv3EyuUNqckR785NLpiQTuBQYPtccJMwJURRMGDNKjAJmMJ0ZGXFWvVXDT2vCeCXw
np0+N/Hn2PwZ7XiDoMogcQWfH74K1JiGUHaskfmhM6kgXJ5Rv4kHrAZkugupLemEfvNe/oTpn486
XnT1ZYkhSwYkv4Ten91h/9gGaBFtD7koYKqI38uS4OTJI+PoxcVDcYizi9YPpbzQhKHNAFJunR2O
/oAHOgF9h8y28mHa1UWNG/VD7Rk4OXUzzQ1QHv0Nwlo8pG5LETE89QKKNVZsyaXbL/7RztovNxof
gBN3nMT9AFIi0weYSByQGLExeZGnAPshikpKH4ii1PDKLN9j9yChzTiBeMCq9aTFqkarUDhSqPcd
hu5e+l518dYPwDTVr5jxxlvcgQPDKb4YesoBEKCp5nMcB/c91Ac0hsKdnpIamofy1m09v3civOFV
SqIRXQGpwtNDzHBkZn4QQi9emM7XS36e7Hmr6vhdWFz/6d+Utyiu4VOgFnyvMcRLmZinnGmyrE4n
Rvr39ZDfIil/UjQrlYmYIfT8Wz9XD/OobSUe4qQMV3HjPPWuRfUHMTu3nipGLG1BGV6ztFqCP0r5
T8vwMm46DzJsnTVvQtJdV8W8iYu3cC53mgwEng0fMSP0Xh1QCKFWUT9zh/8XkQsm0iEcqDM3fdbW
JbU97ypc5iPcVpp0vGn1imvNREnDfQM7rUf6rao4EJXFYtC6aVUSowtYoDzaS5yUmOuCJORw5Twb
7iptlyzCoxjcdRN9DdOPTmTPvXf+M0l5mwttmzDfSzXcKDhpZfx3E9amaeKEiks9ih4gzoSJ+4xK
3IYPDmBKwHy/GRafSoH4VIMA0kiupqE9pv6x7sJzbeMOhyGbzVhK4Eie4qI4FPlfw7PUZnI9k6QR
WgINZvjtFvRXWE/52bwRDS6dBTGGGXHtmfUgW0xeR9PflzjFNXR3LvWwIgvFjsqVGUWvZV4cLYcA
VTrFgUh7XOHjmUxjU24z0VKYZd8TYg6GFIQ8G6nAeDKKTk5t7BebmC2TYWaS06wbl2oMaNbX8YJF
mHZWyqdN5zn3alCfFDEQeeK1l1gPdm79OeRXoFPcKgpB/XX/+ePJ7qAj5L2MghHLh07BHyFzCj53
VVrMFOEbUWM7veSEsFBaSYeRXrDH0n7VSspVnsLYQbcq66vZL+ewmbbLjKkJgRUekzza7pY6gQym
1L1WH03pvnqzuffa5lnTNa0i+OcjzTWbR8GRYA6fcdbdhoHMLmFvAVbZu5IJNraiRGJZCbSW4RBJ
/HFR5K9zFGvtTA4ePHzFER6Fn7NAFiM4PeF+JEFz7MyQBKgeAm6YD6dVJKZtxKK2kvDeYz8yXJUg
6EldvuinUBjdZ+85Z3wG2u4xE2TvuN0qr03KP1ee5Bxsw9x+91zjbjTLC5xi5uJw21rv2vEX+1aM
N9S4Sur5s1HnJWYCmc6XkpI7HOCvOJjjQI6v+/wx8Oa9mCdUP+MKbtR9vBifsZUeHDzRYKA/B6QY
tENIw60QQeTBk35By5fCNWUZYLNGs0uxyk2GEhANDuGB5nAMRfpsxPUvbhA4v9pXqdkAArR3+i39
d0VOheWkn+GQP9VNd+qkPBWEVaYosjHwoqcmSg+L++pDMZfD5OXi9URpmP63pdo/Z0GN5PtvFWxj
iuif/pQzOhQEjCWTtUsq+db26B4DRDtqaf5CS92UAo1jTAbclwDDKwhfoyGPyXTMJ07vRTGXF84d
joNHSeFjNwBlnXpPq+laej71Sbcbmq1nNCC//HZJSi4QznZusdsrk9MkvUenugdhWfcD4rhoSY9Z
3O8jGoV1Kj8qS90HHe0bzIHOWWyo+dgsQQGOCeeASxth6qV9hjgQdoFB7ooxYhZ/tSBnDY8qi67M
hkGOU/uY9O22arydStJd14rHNi53qvLXNlFxY37viE7b1hpQ5vRKDXgDVuEhJYOYYphYyWkDlBbX
hDHyaJx4xJhd5z2Jq/G0NfGj4Qz/6xKcptKTFUafi+YlxVDcMg+rcAkRTTbJBY5panT13dw6hz2C
TDRFEYGhYO9ILrFXZMaRdQ+Bw8jNBxYa4QwM2S6giisSBAnu2MLb8z7o1HEqRUHsiQLrNWa2AHa8
g+nAxBJHJYzpGtwqya9PHXufQBofnO6NyeI6aptv8udCOZ3ysCBXda5wxc7zjYm+ZLeMOqOuO5YM
dPqCEepM/ldnwgfAej+fxdVuTqFR3PoAUyCDwfOcEKXSerA9Zbyz4pqcc2197s7+LrejXYf2OpsZ
UUXtTtTwoMgYjBp1Ka33JM0/agjfMNsf0oYF5vx/rzmlfCydChvl/oLR7LSs+pCLcaLlzqYTrCcI
69kDZiIe4YaJ9agPIECAhwbDequXV4s5Pk1Lt3PNBw+7UHsX5HsP1ZS558di3/sK8owKsV0PAboF
zNsNVW3STgDaKRBrkxm8sV0ww/AS5kbxYR7qZs2QG7RyYTrS3SmVredOHCfUDUHk/zletsvxmhMG
LpQ+LFt7xs42bA4LcshVpCjpathukGMuRqHIo7bwF8mDldfAn1/8cdtgVF6QR9gKDIJLVb/5lXVA
XT9kBOvIdYn/phm1VxIojtjgb4VCZIsirUQTnMNbpotm+LGjjTKYlY90PWXi7CwFGIdkUC3Xyaw+
EthrDjSaJcMkO98JfFe0HMoPrlWDS4jtrhPVvhlzvS1cMAmRrhyHzfZWRia1vBntyi7bRmzgSskN
9/4kT+6ANGekdvX3kkUX1UDQJNF63OvpvNYyME220gd0HV9Lsgthw7u0NhbIvAEIMvVw1ghdDPH6
VmV+1L+4m19mWFoe6wepG3wvGgqAstBlEMieGDC17N2XgHFBAWI+Ne2jflNMljQ/R0eUoOVDXFTS
vPqWd6ilc/RryMoBdvArH2dUZEMQhv+kvyBWEAczgHxTdAuG8SSouNFjFg2rgWxcvsnlXUE5AjSa
WGoGtCp96QyBOsaFcUtJSzQbccF/8oevGmfnOV5skgLK6wiCI3K8Vuoz5PKN5GNVyjylcfPPacXe
7eurMm2CbucThvwJkzVMRrSUPLnpf28U+f4ym1AdLPc1ZOeMrCn98NIe4iiT1IRpfmLp2O2ZBpdj
iRtW9+6MsOkwrU8WCF1wRMPMB5vhry8e9z73l21cauxJ+muUxQRkZRt9H2XNfWNcy9gmXSt9aMS/
nHxeXRza4qD/8GjI790uPhtcZjY8OzhZYO0RfYmurgZg3pDDbRSEU1WQdJet/qH5lHNAcT0GQIIC
z/O8yM9pdZgA1bQ7ugIydU2iDCHS6fIknnttYgQt5tUE+hMIRZuqpMKh3XMHB2NwmZ3SnndNxsRJ
mq8OBAA4lrVmG2BrUgACTBxb7qpc4BQCsGhOcex2LxYtQBDjaUxWTc5kaVnOpM+cyoFBuGIUMHN/
R5RfDqmUZg+kgdlgA8UeNYxRLD/xpOZN6xCAlgzbsvtu2Oxizn9GGw9L6f6AFh4CYuF68dpXKPKs
+TgjCObhvqFGX9fdcEzb/OaM1WeLxDiyzXXajLvGgQwsbHGvP+ZJa7Y1hC7YRlblvra1dYggceAx
uC0SY58pGkZUnynTp5D7QgL7Jc+FD7QVmJds8Bg++XBwh+3StbzN6KsKPgcUVpJkMMNjGeNY5ExU
qkXxPtbVgxgZZrjst7l5bkvjUPAGO+wvxdEbsdPsjaM5cVYkCH5qZjJSATlhTDX09aP2k4Wq1piX
Ni/pfwFX8RghtrTGl0M/KFGBcDiA4M1vjgue9qt2bZKMTCs8ka6E0/NZuyDoCwsb4KadL6kurd4D
C2tSXUZKBrF3YVV8UG/GBpzVuiwE8Jxx7sBBm86Ad99umeo+9cZ9GqO4roPdUtaPTV6dINQXBnac
F+1/KwcLLZ2567K30rN3bAru7LSpj4Udn4LYWPXYL9yJk4nVMqXgqczREFbLZ6yo4mW/9+Odsu1s
rQuQNEt40thGp415ZxftoXNT6MqJ9mDlPF8eM4DDGNzOsnwU9Ti8Ng2DFOpKTLHz5SDj5bF81QTP
QVsgst937XDsnXTb8NAKWsrcE/rUxwDjER1KSEMdp+f+t8TzRNdtUaajKzw8hYm9I3wKC/ZDHYcH
jBxU7W/7MljDvcAqG/yICOGp/LC6HieP/HtWai+6YZsvX/pQ1F+ZZu533IkrLYjmkcvQPrriIUzG
j4mr0iUauak2Bl5nmFbsUQHqD2BDIDJrcyuopqnzf2IbbvrOrXaO+oi9LQ+L/x5LyP0yeBGZ91SM
yyH3iocpjigHgC41Kp1XP+X0MHfVG+wp7tT6Fgfm0Ya8XmAxyTpw8Lc0u4q4LkTgcDbGCnxqyonr
04ZgLBW+DtgUqxM8lKbWIxaouUrX+zH6fKV3sc9E24wIFuG3WUl5ZuafWsnJrKt/LWPc0ZJfRbl4
K+G5T0ZCFNoUqMuUhO1dxdMxl06HMzxYsfpnK5I0OKHGhbzCUOwS50vPmAwkM4GK7tM8gVUVc24m
j2NFup9pIhQzHBjvFcCWl7i/rgJANwD65hw5pesy+g9xlpJkjWE17Nj3WYemACMqYwxPwipeq9jY
56n7NDAmFs6MpQhDvpSypsKVnJYhbtr7QIjriIbQDo2N6zDbnmtKSvibopD3XpPC2gasKGS4TaeP
2MGHqWtetMdC6iIsa1X9KRtk1mbI4A+gWmGB0fiEZtj4qNot1CTs33AdTlwIT4DQwZjv9HQVyw/9
18OJCvgecrSb6DMKvRlJjfsobE0UY9DPOKGpchBVOG+Ou8eyHnTCJu3M/B6mK8VweqcNxdCtrgv5
y9PvwoWDorsKoB50tL2F6gyiUpP9sbsegqIggBNa4Z6QqIaL2s0T4Ep+whANuDO2pxF5vB2b1FNt
f/Ac0sAJdI/Mv7ofLkwZVqURPzmFd15MY5NlwV9Skk7uPTT8+UuYHKrQf3ZM47S04H0KrlHSXs0A
QjR/jFmUP4nXa5cUgwgZiBVMgBOsZvq0eIusRieK1+9B5uLViK9H5/Dih/hN/8ui6s7h8FfOBk4h
fHdZY1dtZFBCPKz+0NBSdVF/X+Pc+8hLB/bkDLaRt3FNTUrH4sv2kJDoMZjQqMPChh1qfE2StOcs
+PL7Ze8PRFiZY3qIkc1w1WcewI34TkQu7vs4+BvHPKUOHk5svL/Kq7DXDLW70ORQvc3VV+tzAC/Z
IxbBv5Fcjn2+PCyOV6/yRR2cFBPRQuEPKOVXJc1xZdUKS7y/GP8R6NS5rg+RoBR8n89QwBkxVVfF
ZyDMvR1Hpz7uj3BeinlfGcOTjepkvgxXwrmyNL06kQfUDUQxnkbrR6TWhrePCaRPn9u8ufOrnHGB
nZp0zWp+CzEol+NXeWqxeYuGT4wo/9PzYIPEYyMl9QUVScIGwutFUgQ2afhicn7PLbNZaIaTeg3I
lVHVf6mZ8TVCw1ZXVBXZvyoXH/rL+JhGEmCBU1C6t4+hD8bGEDnf+A4a9S7ahTS4XULS1QCHE8Rl
p48hHEJ3cettHLNcl42L1jTf8ZLvbcTDJWOhTODH6ZM52AFKcllgo4On9hLzo6BTexYBhrRe7pjj
D9puMqyzk1B8liY8Cq+8DCNdDCHgS+IQfesgUPtIveDeTl4ycXUQ26wV2ZJatC86kH0Ty+HoMVwa
JoBEgNSgyQGDUdIuShr0EscXhOPVYjN2JymmA1nn6SLmFJaBnqFGtt7eAnhMxoBdEexuCiOGs9rA
tKUxiVt8jsfPCMNibFkjgb7f+LFy/+DgDWUbm7ru6NXx7Wb2jdCtofquGEd6v32EJ36b3+Gx3Hr3
ISxcwn61dz/RA91f4DFnQFQaXVxCrqHEEQQMTT86JuoZDJvZY8bYC/ERO66tIvhT5W7ChWVmmE/4
EmEqgzp4LaNUhCg5JGs/JijpqoUBc3ymOqasfKsdenT6cnc8Bo73BUMiYPZCmk2/DGczrvGHIqx7
epoXQdjZceb/wGmenihw1/jicg5OI7DHcDACugsj3JUDYj/EoVOOdXOITAkMIS0wp8QeRcXBwSzZ
x+Qw08uPzMpCain/BK9HeFpE/YemjUYPdrgfb5M8PlgMKENiDdZJ5T23HINgr31Z7AfR6mwrr2KN
xxQNwDCRWyCXaFd6A40JqMO4wdMae5bWeaM/l9OT06BdxSKD+wq+ytHMccDiWoKpGyJe5G1tlX0t
teEFAgo/IuaAk2PG9V5CMvaZnnHOV3G7sttvF8s4gzJqvp+qW47PUf0PNRTdF82MhCZYd3t/HK5u
b+xkhmCIDsulm48E2Rc0BC9gdjDfcWto6vdSEhaf1cT6dE8LE6VSPqPZw104Rj4X3ZvmezU+5lZ2
HocFy0UCNJbpxHwpR3RSO+1L5EcnOmf0EfWmt/sPe5SvaTTv42mgkzz6CW+jDPaNuxzha1aVDsvC
MnXgFCEPlznfVie6zN7DwjyFcSmW1pktv5IMqGBy34yWUSeBQHfYG3HDYlTeqOgYsUz6EJTAxuK5
llccb1dVbwqM1P0HZmpAnt5pLpN3wmHGePyyynyb20AF+bJtuuNUUw5n3XkIacr4UVqqlBtUJ8E1
l8As0oY3Xcht7z/PYQ3L76OKURq0NT/gPS6+0+IphTFC47aKY0UiHdy3Ltsru3oWEko37SB0Y8gA
0z94YhGFKbzUFv5E7/To+1EbxRcJ9xC6gquOIztEW60arwgaXUT0HC0dlqEyvgv+zPYlYapuGRYo
afdAgwj5MN+3Vrixpdg0UGOK1l5xoKfMYBpS5JMW93pCNxxJwE22iYm88Sc4MeVzep0Dc6NdbKUe
1P/GLrUZJoHn2nuaWNIt+RV4t65S8T+OzmM5chwKgl/ECNCTV7X3rW75C0OWBL13Xz+Jue1O7KxM
k8AzVVnoN+BY0EwoWYAuupVw5U2GFlwVRPj8O5P21LVvSsz3X+zuXyFMchoW81HxwxgwQGtqKfG0
TczRrdyGg3W2JE/OUhXsXHneaENXo+Gbj0L3VoL1kWegjrAJ1BggNoTwvzXvx2MaUEbOM6YnxALj
sQs7dsn09sLd8hDl2jlmeVS4K7zqTSw+4vLb0duzidmujE52ruLAOgZcRGkk93b8biI03EHkUhA+
j2mxHGp5bOq3Wv1xCpGNR6zsMF5mOowxQia2WRkzEzG7A2/Ob8B7WDGqG0braAxw2ebmaFchIiyw
4RFBKqMHVcU4mYNcabzH44BcA54LSGuBpi6p3mz76vFlI7hnI9Q7j/tbnVA++4soCBE0fqTnHh74
zGqCoGEvw/T6YLx29aYleUhlRrYV/kj/ZPqvJZvgrsywagggrsPGtt/7fFqbBmgy57c0AIHHqH+L
Rzm0+nKQjGRhakoeBpeA3IxFc3xpTbENh7VjX3BKL7W9x6nTVy+11q51l0Dz+Gbrb4J3PO0v7eBt
RE/9xyrNZlOADfxkOTrIdcQLKXK1dpn4p8zsj9iJ9Vy+Ozy2dk70n6vfs97dab3iJ1a3lEDm1vd2
fT96HOjBoz74wIv7fVhycSNoMxtID/77JKsvV4odjD3ucKxY87tLHg6/FzkcajbSiGnV0AILAid/
7iQnOKF7VdfyLmIrGFd6GK+1Zt62vH0mqzLWWjecuAwZKSiygQmd/kLewyIcX1u//OVqdGfuA0x2
MYzzP2O0dqbhH92Oq65rYSkkFxxwLzbZYZpSb09vPaRS0T+DHTVqcGDZc26796Tl8xwb6ntTR4kt
Of4RDLXKWSiIEC+zU1U6B4FV538RTp68OexEeqowTDK/e9GH5n0kvwtl1JpLf6G3dGgG33cCtdpi
/bFgirUbMx7jsHxXzc5IjLMEuOYXmDWH4VO9dkVZnDw+5r5+YYW4b3kjh+k88bfK1L2Ta4KpQGXP
xdajGvrVIMvVF7RcdPwq8Hv8tOrXqce43ldfcP7LM7NzifU+ugCGNfLHjrBiUThX4tSeWFZoprYX
YvzIiD9C88tq5G2ydoOO4Gs4sPhHEk70IKQdJsZssOFRTHz+SKNGysecvNx8C6nJZkOJq13ZKRti
IKNwR1ZFi1682A8l0JGHytkz00d9tcZ8cjbZoaJ+MXnPsBU6IY6SvebzdDDqblpWtr3aTTqPsc3l
P/QXLQe5SEETKwg+2/mHgcvPTw6Gux+nvRvuBxN3AEJ+92vAQqI0iR7v2uQPm1xDuxaPqwErQ/AK
5e7BJH4r5zfYYaMxhLgMWMhgliqMTuNZ7BLT42gHtOu199jgNZe33it3cXg2THKC/LPOepVtRboz
mDXl2ftoImVqtBcn7h4bOGDVNB9CG7JRngTLtDM3qbAOPs+6YRD2o5oqVop9EG2F5Xy6DmneSZzc
mQEBxC0HDjpuNae2wF13xBWssxkZOirBuODDrMkigk6kqhOWo0SIKNibRJBi89vlUQHQWbFj5ToB
Rq6Ku2XslmTyxAfmulQt1T4lqDnAisj/BvOdfDG898k0S7Bf6I0UQYCyyu1StOROybAK/VVbYI4b
eoyWsH1K/e6V3SbiE1Y4dXVsx76mIabNQeOnG0ZIffTkUzo++PwPsGqKgYkSEcpx7b8FVXVl0sfP
sw/xSNqUxdA8mVYHWw9cUZy724Ek7xbaK35BZqXxrYquGmGUwXzg8Y0RAE0EC6BrU/4Ui86PDebF
U9WI4W9wFHWUu3FknDhfVFEddcGOdsVVeYSjhaWA2X4PrmP+Vd1JG0qgpGT6OUubcYIfHVMO2slJ
SawMWP+YX2VK4oXFJIDpOB9P72tUWT45DAJx3KWU2qlw4WKSHJZTIXCsJsTr5ojsWFDK7MvyNpWH
NUO5+voXlH/czJou2PphYyxwhZX1zndmsJHOsK/GcCs5BtOaCtzF8T147sLk1OdbVG+GQ1VQSAdt
9H9SU6t9xrGxHmPz2xxYP7IvCPl9yNTCFpvBqv5ILBQJFZDoCKiotNZJUq8d50t9bgZnlmzQl+Nh
3YiW1rXiK0TzY4VLSMnz0mSN7Uc9KDoaTt2O7sWkAOLMLJwQJeCq1awPGOUz29DqkMTF3Ztv9vCp
y2LZTID/i5uRIoieGmi0ezVfwMv70DbJVfL/5PI5iQhtRh7z6fPcBu0TCQD8L1K6Amb/i5iqGYEV
LAsoiPJDMNIPp24d+g4kjmbtUZXPyaGNBtqffS9fzAjQMX+oa97OYNCi7lNVYKEyEh0bQcY9Oc8y
EbSEGligLqfq4LgEIFpvPULkDM0cqyrMSmL4jtT1aNNG8J324lejQS3kRUvg9hTexeczY5AFg5/9
uvc7hj9TgKPCLoGRV5s2bBaxdgOegKzFxNXxyhlb8zx7TrbjByVpYAX4ZOlQqUVIv7I+v9qRtQv8
+C1WgS8gv/v5nSFkj4nCLFRWLoJSMTzNVk3n33/abbkTGHR7uuXxvR+zlUF+ZmFh6G9wjJlIIX9C
6cBPYJXJcRSWBImJMzChXcbHoEMR4tiUanEFkKNKfVx5zVWZjxws5k0FE95oj0CAS69iusgZk6G/
UpMq9me8rLa/zyR8Pbu/jezXhP3np9a2kOaV1/ZJ+MiMJInYfXh3jBB9PHgGg5JHXYScIou2OWO9
PHWjeGpDjJT+QX1G6fQ9xadUSzYaYq6uM06eiG5KLaf4TaKalqMov7swAd1C44lSxRPg5RgR18nd
96qtPSSER7M8EXN0lEIglmVwOlvHtPWufrRPErKsjXmHeYLaPk8OJRgLm4+RncVRLlM/xNeHNpIS
wOQyXyRD9BqEHsHBEhNrd3Q869S12hG35noqG0yyUHp6BIWRTTdT4TSaV63ucvghkOt7LJvdXeOs
p6XaYnrB7biA2LFWqTktks6YsCsUTVbwn26xy9LqsbdeK6wq8yz5vk8eHZLLci9NfqMGJRwATeV0
bE8RsH0IduQn8sB/AdQhCikvN1wHk06aGXUbocqDEpdSv2vORGgku+WQamg5+9tOrJxxidBSsxc9
i7VNqXES2bjGXCwBY41hSyK3sB/SOlzb84eeE4+HDowRobclyvJoc2vQALJqaFa5ue/ATSLBKYaH
P39Obg5tzaSxU2xPg1NvPETJVunu7BDT/sEtP+ecJ36a1yC+ca7yh6gtv1Gx6fHCnZcmdWW4Dx3G
XVz/8s9tXHVhn8vuI8OYHadnDZszMQ8oh+4KKeBbyUnO0O8zgVgUi4k1HXofKZcVnfyI5VtEmA12
xRpXONoGVo4fEZ+b7wITcsiLHnWUTCyoq+Yt4fkH3X3zw48+NA9eN3HQN/uA/zQp/iJgN0aO8ozF
KH6TkEI20ZFxMccjyLbEtDRO9tIIqL+0e1cAPWGmHxvGjs+aq+tCcAvNJeOg0mPWsRsQdSiIhMcN
jzDWolCkywnJVmfHwfrUYg+UfRTEnDnasyPmXZLTWdDwctMeBGgug9VULwsElv7WM4YdsMql0dIf
98eGbSUrX7ChiFvi6TaXKAZD/9PmsCuFtsGVj0OTCziN/8B4mDmHqgNDL0YWrn45Qnd3jqaTQWet
RL0pNEShHfd7QYB53K2HmODYbD/X6PSlMtZi0GH3uFjo+Isjz7rUOApGHGr5nHLe0KejqOj1+jTh
9Q+7+tLbPIiSjLJ8TyeJ6JwhOPWkZR1H311pDPjm/qavrCCmxGFFl1sbDYmTSs9lZgvyM+E2xwpC
55yl8nGYMVNz3ncSLHztr9w4fBoCfeu7BCln/UW9aBYL8q6ivleDrIP1mhBhndTzZfK859Zlu5BC
cGfUYxK7SLm/AH2A7AXPXQcx6ZaPDP24jX0aN8PcdlxOlfdjMhHIsOMMo7Ea5mrtoUjNeH5EZzCt
YBv33E/9IU1zpGvxelZb8qw/kubK6K2BySuqnR89Zu5ImBadGYYe2iimr1cPea7LDHCOcfR3Y0iI
AT2YHt38MX7v0g8ZYb/JcI/hkGd96oU8aAwlbFzEw+RAGzwnYYjIOO+eqEeChxhlRN3JdZS+Zq5L
ziiI7yIOcHjnKgA5QazjMo+IMT9Ae0ztfJtXVbIykM/pVcgcFRdpN66DgPRhpfHWVkXQL137zfbc
FZy3ZUZ+TW6Fu8RyyZph6zn+VT4ZsyI/DFPSgcjV6DnwpSdQc8BdipyQEjo93Q7OaVUsahugAseC
dh3KqyFOodgm0Um0eOkfsi8mzoFP17c0ug3tjjkuGAMI/KVoNunWiOFa8hecZt3qd3ei1aAt71fU
Eio1IKYCDWqMCbewfbP4sjkfKn8bYSYX337qbmb1xO4zxhgDd+7H/eSJaznc5mdD51+Nj8RoDxyN
B7GzsuQU0EGa1McmyRuKLN9R5eWNs3IqcnsgIjBr0jdyOMZGQAbwUa+clZUemjpYI60udGQUnMDB
o/TBcrkKaoiAjhECYzaNtWWfHnKscvr4FKB3w8wOWAjNb/LSpeQvYZtFY1uvBb5gO/oFHW/zRvXI
ywM0NNAsxfReRb92d3bLVa0R2Ilb9SH4NcHo8UubYMbKM+IlpkwaOolhFV/0Qr+ntX8QdPaTRuKJ
338y6sTsDZ6HM0kUrC9G7WCYB5TFdCkx2URw2S0bUaiP+x9UlQNV8qpV5s0YxV9FmzVcNAYAdi1v
FL6pqa97mkevomesSAnQe7RVbjtvtQqsk/yQlnXRY2vlN9Yx4QRCBPURNR0xJBaaiX1UEvJG8rT6
h7Tc26yJgit2C47bfplCslZzEYmX1gr2nLG70SPAIG0Nf9EW8doryR+z0kVmWfve/ALZ+pyFc7/s
PWREXQnXftTONoeHEet/PUY0DsFUzeMhB5c3ltf8VVP+suF50CRRltCxHWROkXslMsrBTRwTlbZH
dF4HyTFEOh4peVOYLFwiHzA3YPrJ8VNqR3xtJITH+Ppx8yidNd+2ZUX30E7JioORpukW1ppYv4zJ
5wgKJkZKJNKW+A2qMQtDOkLEEO6STyhB8xtlw0uIpkBYoEOySKXexYwgCGbFQ+s+5bYJJFVCb3If
aw9jelds84whKsrtctbY0HVvA0ifgGUHQrJfP2kOJc9TNp7DPNmihHkNZbA2+mJXQT8m8/QJ0zhM
W6ck/rt5Q4+W8/1lLe9NQeQ3SBv+lWoXkmq3Q7xOzi0p6ExYF61OlBI6QKD4HQMVsP3+XSAAndqX
lNRhH/FNDRakRbC+mDX/ikr9Njst+qS7yRzAEAgmJGJBdA5MZ8uZLb751MzFe4J4xis2vEhav8nM
TW3/pGH2rXjDhJjMIEeiqHlFu5OU8r3ohmvB+kDGEq9jcG2h36JDRnoVsuaCUo0ClbtssvljzuYm
HZ7ctnzy5mKdReQ90G/EQ7Hthz/XPzid2DC02HrIrEdvbawS+82Razv8m9D44H9g20YGLEmmTVzs
A1luE2UBwxzSucXHJGHFZ/p5IgCpDqttiwWjgWLQzDNrCPrthtfKpoPB7AcCYX63OhJDqnGXygxy
ZEcCCdIZi4c/RNhUHls7ODLBcvwYonEwndpW/F+euDHxaNB7nOkvKIInwZh3DIKnnIvXE7ci5NvG
g0QmlQ5emkUw6TYsrquPcno0EDEP04F2bWV5cinjeDnWI1MGhOPSHnZKuB7OFiNGCswCMaJP0YcR
4pAkwESZLhTinTlDMAZI6AL0ijEGgsGqDiNS2zRxj4UTb/NcX1WsDShxH6OqWF9i5G22e0L1ivl8
lREdVvUA6Xq5cafpOam1bd7yC4oYCvDC/GiImprW2wWCDY00X3rU6LgE/yqlmiO9UffB8wf488iI
T7LvugTN6tiI2PTmGrkJ6DHMRIOJTfER0pOZ/RD+yw7srbPTE1AreGfs8BNKD64/XzisVMA7Qe71
0nvKKASpxNIHw1CDN07bYGm7qHGjnj3mQFph/6wjEOtyymhHUyvKCpjIBL5q7WfxxZiCTSpzg42s
ay2sQWOQ+mnTH7Q9sVwywUEyxV9BFDx5pLqUU4j3BYVMESEa0B9ROHAetKazw5ux9KeI3aoMEJ5h
mKNc6fU/9tFUGNzUEvUHPFybJyhiKIA0B59q6oMdU4nbbM3g+KmIQqby+5opnryp4GpNd/ENuvCB
EK2k4YtXP4ZcUhjowVQBtKrY286xvReW+zbVNpLJeRvTJM7QNO1pEQfoLCuBDEE57rxrgpqRqOqt
LQCs5Mi4SftEtkSfA3KQr3zAvLf1qYYA7ACf6EZ9DboZKVl9dIPgGjsm3Saq+tBicIPhhGaYApdB
QUyIRNdwVKBiN6Ls0GTt5r/FD3OoxU0yWvpaFtnd5goysuCsMyTFWFhlLsEp/LiWnjyhdPvPLgsG
c9MFL7okG4wZOwNZTuNp4LvA4k4FAmuCHw/P+sAovNBAQSJaL6uEgOoOsg4nP4qhnbCf5Lgd6MnF
9AiJ7uj19hWFyCrvsDlnZOvWZ8j9n2HKc2fFO9mVLJynC5G7G4deu08w4iAM4yOdWGyEYJ+iyobh
8doxUPFhO0CFd9OFq6UvQFgWbGCZTKjvL+Ysorz3W54XDvgkPqSTBd+XNTTLpbRP106cb02+FakR
RTHpp5QXymiag99pj5b26vPjwcrOzORZhnQvxnyJfV4flFRFyiNOxHewMigWIbQeQZe/ZyM2S719
y0H7kZ2cuxrQCyyyEFfVsBhjFifdPh7kxg5w6yszK2DYUsOr3+sP1UDDEVoEKE7fQ/VpkoAGzpBU
EXNtq8p0N2Usnnfof2ski5a11vj7ZrUqwa1UQDEG532cfyfb2mchFLabb7HWCGG0uLC65bDTcGt3
rrnFJpiVJnKj4RG/9bL2P5pAf3ExPOVRsm1MiPvfld++5DT3fc4Kw9b+e+qrMVexGKwA6dLBQihY
rMPGLdpblg0lQUImAj/hGc6Gy+G3YDvWaXeHtae6VlzULy5nvg0SavKIEBnKo0NAr8jI9lYfM7/C
4sPsWbBP5nPQJOfOY/ZqDXwxa7q0CcN46+pVNffmdxVZ18T4ATCIH5ZKPt+wxHD2IxbHsYoO6cxZ
SrNvtmiL1NQ9ocVhVxCWzTugxs2ENtJ1kUJ62Z6dBMqf3PjCDwk7VM/QIePXzkZKaSXGhV2Iwm3F
L9dno1MSqCvbH1JNNb4xYBKN3Gv1nRkP6DcFgRmAKNfPM2N5zXmvKvuBqverUlNBs1+3E28ZzX5l
wba0/IpgwOIpZJbX9jgr3fRxFt2auTj+dRPtlM8jaqUlvPz21eyGbTE450C5lhyjuSH2rZEW+trV
DTVkQcHwPuszc78A7vHMN55qL5qbPgcDZd4c7avCuw5a8Kx+iprRk8jQ7Dw5xbqlGGps548oRBx6
qbkr7RedJaMioPMlvvlmVwof1BFt2k9/0jbfJ3jRZk0INgvYUuJzw1Bch94x05ydb1drTTIQw5Vl
MKizm1eL0jRquwt7wy4glK48A/ue2CeiFmb8+ivKMwiVMtynw7uJIMpmjmOzZFJ2WtdCDuU5WGA5
t5MXP4m3GUtGNf/S0eTbNLGuQLnHZ8glFxtbQLwM04Zup74MWr6YVczgPUak3P0fiFeIcbdOyQ6G
V/0kaEJfq44wWou0g3fbIEic7AGLKHXb3zo0UVoOhQT4lp+7t9KL7/XQ4CqcF3Me7TrkQButHbaq
BRqj6A+NGlMesaTHPkU1eX1EEllleDX1/JIKpmhUT3wKjCmcYTcXTFdM6J0VGxHN8TeTRIZZszii
x0GMo7NL7oL5v6u4kO1iDHhiAnN6wYy4cmAhqINdctC75XRven0/MhknGnIZloR5JsNePbv/B4Us
zwMmU7ognqzFFO+v7a5f+eILzFWEPBoA/ez7J3VlOhRATIR73WFH4hF/46P6fWx8xCGucG44z9Za
pxOYmYxkWkbvAaOtrHlyTQNVHjbYjj5gajPlrKGM+a5SlVGJ7Xeu+B0aIyM0HKSSYY1IwMq5NZ1h
mrx1wmRO0T5OEsOsRESGtD/sRgI0aF1PRvDZC2/fpdNd+sYnas5fj7BewVRPTYX8hADLqviZfGTz
M1FapKkBfN74HrlNjfbKaOze6w3uQZpEx2cdKDhDZ2SOlmnd2jnbVUn+GML+H6g/ZWfcJxc1a8Ul
dzEp13UaP4bPeu8uChQ5LqqsIqiOCkNS6JzCRMpRY6m9ndKb1zzXOu1iwH+io2PrUUxKHQ0qsh+O
KM44iQsX7CGc4y5BroTAS8FiHB54kv8KCArnckwBLqKgEGun9s5m0Z9nWhO1EYe8v/Mkc7iKpf6s
4ZBDW2RqKCC0K6OipWaTwoFxwbSfUBHaqX7oDcHVrHLnfLXKIJJMInRliYbQgVgZ1936Bp5Gu7g5
Y7MrpvLUkGk8WvxXPtqL0nm2TfdU4j9qToHGf/zsO/p10tOd3vwG7GSzKv40gdbiRu+nV/SaULyQ
ijWFt1YEiUxPtklFvC67Gv2tkuETbz8xVEriT3VVkGTjkvlOStw8wiivX5KZMIOoO9K0F6G+jVld
1dE6P5p1AQoQt7yQOyErwopfvRQpOet7/2Gm7Y8ZcNtJ8ZQnn2Hz3JTBucBDhQoaKVnmbHVY2gZ8
oWZKL2LEXOAs3TE7ebN9y9EuuBMwJkw4KNcXgwmur2VRkemPiJdWJtowdm0mKIOeBdX/nggpag21
R+2gTA19MOByGyU23TrZqFX9zSR36fXewSFKMISh3Ok0ZKzWlPBPrdAtfUD8Ui8Dkt9H4GKsEsKW
b8NgV8r/c6j0pRquRWO8Q+iyNC1gkT2TBxAAph2sPO3GlqBmeQIIz3P8p7B+zWd7M3NDOkBwq7aj
R3O2PoFJTVe9oDZeOwEXGMJjNgNqYDtoL56BmL9FI6qhlcW2EF06RPse93TMCy11e6ceqNSlV269
TeKiZ/uLhhxYS4eOFbEft7+JxD0Mn7GkbdV6QVMygXsm2WElINVUprkmMUSyK/S4G1SRXpFr33Ef
Ds177fyHLu4ASkOiOWXeo99eRja0RRaQHl9vYtxGMVDibgc9/yFKxNWmjs0nAJRG9BFR185Jp6S9
Dyx67Am5SLb02ZAUDOASerDAGdChsRDZCqDwwUs9GSv0Aqwtpf3ig07piNjWxAN/UFtvBV3OwJxd
aRKssXv+yyqyLI0EUxCBDw9IxP58bl+mgsk2ENmm8CgtJKoLLfV3Y6Hf1JC3oLIFPsshm7KQlWeb
Zdz/H0Bf1GFxUlKAmBeiKeMl6ucl2+CM6wdMNtnwOwd/Cr1npDEbQZKHuoDxsnpV3PRTFxOCh+ws
BJ1ui6tOefPlHhKW0gEi3Fr6/QUCO7/Itn5RgBWlCCw48BBmYcZjeQtMirmGki/TzkVEjDmn/xSf
tCNW0dhbHlzZ6q+jePIKcXLC9lQ3zTFgGDCbwV6W88aULz1tDBiJdTFBu51ubUpvb02oQrRt3L+3
Iv6bEAUM20rmKyEQt+Slu5gRqHZ4BEMa20qPGGTNPmrmmXd9PDJ+Fu5JT6cnz8s/VDQ1At9dEwKg
YUVhGh+2R6ZVxjh2SJFIbONozwZgUcS8v6m/n4z5KWAgoccZwzjMufyseoN6NXiDerh0OV97N0Dk
xSVLXIwbLXon2yt8n1r8QyPfzTFcNcTAIeWpwYCqjv+0oT5Jt933HHXAHHUadWUDS6rwkKdnJ9AW
0v/mQVkChlwPFCGMHReAJSDsU42yPUzD+KGZLuhDVNcSMHadKkirqH8s9zSOn4NTbtSV4el3pR7h
beA89Mho7Ydh7alnt0MI5a5G40l991EQrbWK/Z2xDSfSA9vsdaQlU6+fkhINRC1ytwU04amG7RUN
7DSljCyr+EEbCwT3IcILs/soqP4s9mRs2pTCWqPJsrTlBLDBgmdQnZyx3rZNsASNyX2BiXA96bj9
WNSMjXOuRuwaHGOu2d25OGAoWZdQZE8W25Gy7y53O9GelIDMjrEIAJBG0RWivPCMFpAOlSAX71oZ
IKXh0rsNqAWDF5sqJKlKbht92cbBr6/duL3EkG9YIEacuo3/ramCka6zCS4+52AZawef4OwVHHVs
H8YaVsKCRfas/jxepvj6Cq7IDkCW23zLdmuNHKoYttWFnCjWOfNQRxPHkldaxvui0JGhijUvk87s
PZLutvF+uAAelJ7HRiWPAYiS2ceng+4ptt6t3lmPY3tQ7I/6oH6rXqH9YNDdVDGKcAl+UOaMUZnE
tvB6NcQtDzC7dl6gQFhb0f3Ekb/tAW/abfPT6swzMl2eCJnfJLp/lw7xLywcQNFkIKlxRfdi/MYW
esU6+qT+eZxwIs8GlhvKXwe1LyNrvM0WQs6m6r9aaCxhPb7lOvkFZKkJfpaZiTffNt/gc5ijnGCb
8zY5H82cwcORX0Wa7LosO/kjw2C8yvsIPZbCZ4rKmAHgQd5FH4GFJaKNZFYvq10RVScPLFpIoW7h
EZM0RVbqfLnq6jaxNmNBJNWx6+flbODRz0BgYpoqdUwvTfdqa9HJwPCUYHWtoZvVPNEIPY8KAkjN
GDGL3Sp4//xOrBK5c6rkjcVWHWpdEr0IJuRDj2oKxqnT/9HY3x3pfCfFtCBicGPn05Phkxr+a3Ma
NIo2NGoEdPryXNrpOVQNdD0+srQhIHN87TV0QqZ3TbPmXOs2SeZsqKD2PFYBs4q5PToYeY22vka9
fTCMvie/3FmAOI2LdolZiV0tGRe5difVBC780FI0BssYVOVDH/XY9EylmyWxJCuvuajQtBArmg9n
yJaddcpRORE1tTDw+7VdsWjRJlQdsDTcXIonnPmcI8MXE3SHVLzWtS/kRKzmxlyN6MlLw35sR/Or
+5FgN0ImeRmXcSd99lma2NCFnFw/PZTlvIjERAIPvg0QaFVT75LEeErlU0vsSVQtlJxgGg0Lrwdc
j8ToNxZtnIHgbcK8Ek8aGJ9qI3t5FChCkJF+j2m7KMPoKYgHsEWYbUAHcFB/atVn3fiIGfGVB/IR
ITQg3d9EnH1j77A5m1zGojaK46Zhdw8VJxfWsgAzMFfalyTqxXaSlb/QhHmKmmyZVt2xGx6j5Kny
fouwZLPcLnOfnoeU89oWMGzzVYdWGx2G7b77UJywD7kn5k4aoM8iuo7Vt2geKR00ywaJrK3VBcPS
ZgOUhnOB2bF0DgNnvGZ9ejbUSGYX2fQ2DMWu1aubpp8CnbTTst4IH+3KwYDfaeFq0eboxwjd5cBO
BCriVslgjZ6oG1BUMSObQrDb9LaBDVGI3/2InAgNlxLKAv5a49aRrIQD31RNyVqn354AhsUmeQFe
Js9h+J++ihpqPrj0hkqAkznPpuxJYAAaVaFdiYAIh7zffSKWljAOPUolBxQhEhpU8kUVvU4pnggW
ttxkdmF/KmHZUHkPWR2co+TixtVGV4cybTIutqIst5Tb0L+sow9LrOsZ0rAXURcdYKyap4OObxlR
UxaZ9WFDD36IM1osX1w1pjmco0IbD1U4HGF6Q+J7RNKI0YHVHGVt11lbo0LF5TMMoETQUTTFjO4y
Ut/iFpgLtU+O+2Kc++fgQw3PUVxGmk/pYSK/Nxd2/Zrm0MNC5OLdY4xsQocaOROFpYe3XtlA8j0D
7AmvEpN4YnEWfcnzHeaYOmzQhMnWpznP0+JpRqAwTc6uTI4+EpkG7aIrvryfakqPDTxKg61XKael
+vYn4GpecUvqlPEfYmnCEzIE1TZAVeKgdiiaQrCViZsf3HyCEcKt/L9cYB82QOe2b7JTJk3wfZcx
BYPNicDu0QDDD7nkmqL2s0b7xJd32GxEdCRdY+7yLkMQQ8XrJPolY1M5faBBpIvmcW/H91mC+quh
2qshrMNhTd9NoFu06QxUbaAEjEA80nPG4IGxY+/VyLHRnG1KgaSaGreECz0SKYHjvwlJNLHRJaCR
6K2KifP07PG8NaFOJTLfR3hbp8Zy/+aeL5aHYl3Qn7jU+I0ndwnufW1Aco4oY9KLzxll7GhoRzVr
wyCHSBoVl/6hNc2lBY3G94T2QkE9WBaLaK/e0D7/8RiXZjJH/VTu6QAwrNNgwxmYIHd6e5sHQ5Tp
KkW8kfvaAcUxVBSyKuH/M/pr2dayjVVjCSXM8kZyHxkQhpCl6u4qwOhLVnJaSOHWL2LA6/3jczgq
lZq5VxdLi3OQ9ThaO3wL+dCvEw5Ij8NbWTkslsPNWK3VsVHzIKs8gAp5l7rQ+GxFu0wRSqRUOTpL
99AN32Cf7VvsZgHwZgl0pHVIDhimY+dztpbsOnmB5fzMw+xo1kbtVyZAfshWV16RItfkaOp98mCt
Zelt9fQjnMX/36pfwi5kI6OzvvHZK2qQkOV0dwubB3DYUfjIMl1HMlnNSFQM+4+18EH1Cmqgo9qi
1oS9zPlZht3j1J+AS20Rbq0dDwsawlCiCh0eF4TYtrYarJSNt62kG2rp5nXlpmd44DjAUoJ83c+M
rmIeO2/fqhq/gGXEQspFkVMY3bZFPDbP46IcO+hqYqHYLEHRL8hWuzB9i3LtKYupxsS6oyTuUiqk
vFPxbbhIHK/eRFV2n1vICjaA+bg8+tlx1O96xRtjUZgj0R9E+qJMQLRvzPyXiOEXY/2TA+iJjOzS
whwc/XOU2SgpXrwK+y9jnwBsAaCtRnL+ls8VoX9Cb7aR5i1HeHb881fNLLELCE+m9Ms4iSqyrJLk
oCcQTISOjj4+lDMWXWc/W3AxyVBwGoJxodgaa5hOvjBWKvBV55aYGspr7pH/CnYaAqY/i9Km1uGr
UVY78bfIfDodvPb2bWSyD5Vnl5fMvjCoKFhbq/EkjIlzH5A1mTL91u2/jlYvrrS7xsVnxJgQxlPt
2BjjiUdi6RCCJ2+nV7XfUjPU1K1XapDvzkAKaCvGlDEOWxEY8y9JwTgzpbDiFyKY1Iy4rgyLHQub
zyK3V6VpPozOux5FG3XNp4X48lU5wxzXZ2OZGR+p0z2rOzRDhIvecVVm03VyGQtWD2Hi0VUqXAuG
xsTJt1N5nmPaeLVGUdv7so4OFUnfTd3fLQwuatXQTsnGQc0pJ74OKx4X2xIVdx8DGUDw3mPeUgsD
sxBIgW2oCsDmR3Cyen/JZv9ThGszvKofs+yiXVXIE/GDTpQe1BYmRbU0MefIOf5VVWM7oCaV33xf
K9VlMGz0WDs1RrNFUPmgezXSK+ukuHQKfxzUTHbpljIc5EP0qKX2sxmmR+8fSee1nTi2RdEvYgxF
JF4BgRAZGWN40TBlrBxR/vqex/1wb1e5bCOdsOPaa+W/nR4cihDoAlTl4mETFLiw1+JZqwypG0L0
IgIv8YZQb3ZWdfWawD5kBNqnQefaKAD4i1QfBI88vpD8/WuOJcyK961xFnZXlOL8Kv0SfMEDUzpT
Uc6lZxCBXxGYCFB6Gs33avvGVAmAhdgJUdTmXiBzC3gxWBLJKG9lbbT1MvDI2useGIGmHGqAYYUP
cQZQBEn47/MEaI8GOSY4vFx2RHKWZMRw8AoPk3pLOLlgOME3pw4zYiLN0/sUA/E56SvXWIsDD1ny
XIubvUcLysRHVln52dJRISis66uwQz1h79tA2Iq5DlrHAawVqApbJduQ0Jya8Pg+/qHjhwZGo8mF
lhLSanr2bDSm/mCShk0XzHjiPwtM2qgcgoQhBgMqYIpGpeTRHoBSzF/NZsV3pZRA8MtDojyETG0Y
AOyX8lVPKyYAu8KEkclwoSjoppRuBCXAjK0OvOKr1OW1ACULm6dRxZU4vBUVuSDT8HxU4+BfpCne
ZI3dZi2NyLfTjFAOV8xAxjcoXW9izknOICnLoE6KXyIYFr5KJ6Af2FRoao5ZUfHLSVz4juKfcIEC
pk5vRCqkNVl4EeL5/zWTb9WYWEGqwiYibI98LNvJqmbUBTz51lT0m4k0i1dvZ6a5yNPJs4mZwsKC
AAre57iSqAoJSW9d3W/HPqEJS/mIYsSYclnptHs8Rtz+EMckEeRkwbLV6bhTKxEN8DfDajx+Of7N
TjiiiJNVie1pFBEuzRT5aJO9ns5+JlQGo8RleijxWOaQMzrrqObdRcc9IkDyMYa6wuh0M/uidrPJ
DJCAgPlHMIONRsgFAKwww70IegxNXx7rtN/6kWoJBl29BZRiIrHJx/pveMlIC8LqDokOvfTaURE3
gqxV9KYkaUCe+Gm817V2a7xbrMoOQyuzyQxXnlzjbJhLmnqoETZHfgY8zohEVr/reqZYyCKBVcAF
MKx1cEh9UO9nglM9+Clps0QMlWlYnZSZiyPtbdFLh2eS2ZJrFtN8TJSDxHMqg9UzVp/XLVZosuqm
/k6I/jVDd/Q9Ks3U8mtA8E1jSYJcCpmVIsByUCKtwnSljhQdou+xyDYgbMNoQp1G2zO9vge5Phfj
R9m7oZhv/jJ624/BUgiODVS1G3U4F7lpmZ65oUXoqIzikdw1tCTKOHWYrbBKFZmKEUigKZBnQDG9
ZTYkFIGNAzeLM/3tlyiOfGSeBMSsu9C39hjUmQ7TT5oz8LlO0EGj3mVkVGiVlUjBcq46ohLUeEVT
SidDb4l8WhpSI7dXRDwzSL1SIiFCMkR5YysOmBmlZeORG2og3QFdj7Ej4k3xkzAW7XPIUkgLgWel
HyUd6pG7J6cTOu6fMVN2CEI2lKMHKK7BHzQ48GAKDCSwY5LGRPkqgPN073QtM1HBZIAloA9RZf74
W03PLUgNFgVED3A2MjcAdxplC4G8DzhFYZC6iiBdU2lpy2xO3Qd30B9fclldRAzetMo2CYLVlNxO
eEKacOThHE/EwN4f2bgtRw2oFpU0fj4DfnqU4I7j1gtImAApiM0yQCnoFx9sqIjNfAx0lharAD3G
mayB3JdXGgBxsfDxVMWE/CWxfQjQadAcFnBKwF2GdEbTZBcYP7DWrTy9hsUNKLI5WXSEXmmKchRJ
dtE6ACXeDGHUEXlPr22wufAuj3YhSmThYIsHExcz8RlZ9w008QQfHQHkuNZMk/hjZN4l0sHFRHCU
4fX/9OxhMwcEk0ICLV6KYsSszVaMAcQjjaUI4elGe6W9asvS+NmX/SEtB1umwiiiHYUGoWgrq/F3
/SMABCmtSSmiBw8l13Ik7s8Bd+UUepscX9fDytYKg0JpuJsyNF46kymiPPuUeFc0i2EBswVGUR4y
h3imqUBU1IjrJoHqBDo2iTxlAOhVMksq9kXEZBohlnD8KEOJT5uneQa9DzIWvrIWw80NjedxyP/h
EmseWSKF7unD5RzUydIz1L2w5NSr4wY2b6AXsoQzah1IlCw6gq0cbvvBZ275afQEGalmV+ExI0eK
Jxf8siAwSUFS0beIZ0wd+LuWvoc+JketpDShizHG3xCwiNd//tnpUr/Q/lsp+RRZ8iv1TqtOmGoK
bcWgPT8yHg9kX0yqYXwpJEF3Q29Y+256AzwuUrSi6ZrsRJ08fAOWQW5i4neneEX+RZMWtE9GoOMF
5rfB2AhIPo/BNxBpPXh50bASReeB354QuM0g6RyuGghjBBmquIaRdxHWGaTcNVVAfyGeRpTRG725
zigyK8qwmzEvWpkCys8AKq4JUU2mIVSCZ9GpSCeTlT7QD8ffpIw30iRJaHrj6cvZQ0KxDKKrDeXv
ZSSjA/cU89qGfutVRIEEgY7K1ouvVcDX8J6SQddBgIBaxiDZIVX6SlCa4PHWCeDFAT6OsN4PxivR
c47PbOHRKktF2gUrCow51JJ8OqZsXkC0VBm/iPkAHqZzAUmzUemWTuwRkPmLsWyRbM7AfYu0VAyy
DhN5VVWUTKbhqR9QbBi99V+TesrxjNS7ArP0iEVKAv0rJKDTqnNQIIbAHMwq0t0AYJHbQVYNoB5y
1KMPr5GcMyXDCZ3hMEUDGrmaRdD80yRQ4MqUqAa+MHiR6pLN5wCLcSYVbA/svIsO2LPI4HKIwkRB
CqwHFudTZpTLpJHUZdNLqYNKQB3dT+K1IbX0XuyGQcJW1s6itDujKPk3rt3ZKoIBot4qkBUqcVAI
QWaZaMckB2GQnjmpzIbiATciKupzKppikD9vY0cEXsFoMHSDynbzknJHpXwoMmsfPKXHrK+oVwLR
WKGIvPZrvyZGWk7M4A8JWr3bL5VGrOg3itPeT+mkEI+IahsBi54+mbxDbSDYwDe1UGNp04GFbqrp
KvfLgxShhlUGh8gXLQ14YZjALwKia/Wj8r8CAo2w8twW6bkSBNWYPWrKy6DkNM+VoXUYOfQ1YiP9
2G0FXlCYfkOqkR9+/mFZfBeKySWzXYBVm/nfHmBkosE8VBXo2YqZEZmmlMe7Kqg+EzaEP61R/IL+
WTY9+XVQLMxdMfkSqUPfIS0F2UugtE6djlAcPVtvALz1/kWWkZgMlWT8oppT5QL+J8w7tZSUOyZy
eI8OMIp6exUbYZoE0NTHdKl3kPDaz2ob6kFRehJSDyJpaAfTfuuxlVJ3ZZjWEpYc/N4zJcqZkB8C
GhuawanfRB9p95LHnTkLbIOY0aw/UiDOA6ItIYMYA+Q8nKd3x4hgVZ3LiIIztqHR/sERQvoYvpjT
+Bt9RZOVTtVclzygTd/Z+8CwnMCaks2FxkE3AaTST5e/E6B1iTe55IaC8dc2SDx0/Jw6RJaIAaZG
xLDeVTL9g3iREZ6j1NIpwYr7+wbSLdCFfQKlypBBl/kGcQnR7KT5JXiogIiiUZBBpqRxS9UJXAeL
zgCyh7sQU0uZrKxnWJu8+qXLZzU1mBkKSTmdNZoesAuiHQ5HCOXnb5FW15gqj9QrowEFNGZlmttc
shoF6mJN+ws0RAwk4NWiSBegQFgBxxA4KZGkiWk+UfD0WHsVNSt58kH+Se8q3EaN+RftiR8XTUSK
CwNKyTBgQ4VASEUiO7z/KTPYuUHbBtFA4Si1ioK51pqeKCVg4PaHmOaGF4xrQP629+7PAYXpmEqr
CNSUAB5oqQrChUnVJ9WC05ThK6bZZ8q4Dkz8aJZnn0nXnEQSKmImONT1qLGlafQ5ZOaphAfCUMfr
O157YtKAKebRUL8ECE8br2SswteZ5qZMHqzoqmkZOCKa0ZJobdyUjvQMpiLfvzf1MwLVKUCfYqT+
74BSMwBSAqv6Ko3EYpzFMsnExdDq0KLK3isR+cXs0JT+bu0zvEGlRBSTc9l0PHAPitff/iDuWcOA
TM7dgty2avZpg0QtHm00TVQRJbSvIrp7021ObCf2COc8Zp0LTf4zb9/fclZsgpjSsHC5Elm3yp/H
EVEhOOBpgevASM3AXxiQSAmnXmv3kt62r2iQi+c7tBdPRuqUb0CBEXgFFZTCgGupwvyQQf9Er12a
IAs4/KVejH0NaIS1Ep20ZXVpWlxEBEcO1gpU7ciitMCvRPVRuJ3ACBkbKt0IqKhKTtLi61N0SiZ1
yDRSAWeDwS8m6BSNMbsis4XmrgsBzQnhcdQgN7Gi/AytejL0zI2C3J4Y3lebd4teEdXCO2zkuy4Z
z8WMwSIpVc9mFZOXMieBGkAHu+McdxLkhQNTwioBdIYAmzOo2XaIzOOQBFY1dWchwwcCoIpMIqra
NA9CfS0oQ7KA1w68ZVG8OnmEoY6JMQJJ8WIC0pwlTCp/AfnYiZzaqF4tEtgyVaF6+CcunT/V6OGb
B6/Mz/W7PIRKZk2bYtdn5ETNRVJE7b7lyMbQJqcO4iOEqD4j7aIaAonLHwo5bD8hs10K8dmwUI6i
yif4XxAgp3qSdQzya2cfs44VSynfKbQzhhDOrRwcVgyMEbk95jd2CaCzqZatRzOC8ngCPnejFsWa
vHXuQdU1U7iM+YSmZAdGA6Fdot9JDQg6AoZDR6VhwiJmOI/8GvKWqLAEGkfImc/eexNLYlJ2yuj7
GKSj78L8J2ywQLSW9Neo/zKyJkOaBUtLRqY5a5wsGxFyClbFBBIDxAM0OGigR6jrcS2nXwn4RfFp
BXJ9k4dYDU0ql0POpKVSbxJqHXTkrAwpnMnpDWY1mwVQVlVrSKduFSZHRINTVtacPbRYsQeT+qdR
XgTupUvRvJWrQwG/ckEISW3Hj4v1eyavBUKgrCgIBSi+IjGvxMuEUpf4kuCBeHsjESeTItQJyvhY
COYYSnZGT47/DtIz2Jg6Yy8kOCQqNb/MZp8D2pEZDiIUsX0xtWQP04wo+7qm+F2W05880m0dKpFY
m3znDIXB1sIENzarYvZcTL3rnpPLnj1QRWYi+EPAUTD5P15UbjQgpj0MwXUAoB0DgbLFBnmOVQ9Z
VQYSV+kB0jKs0uFQzVtU6JZfGKKIalpa+YYOUc+cysxXanvs6QY3727LrBq1xFVR0gUa+jRedGkP
FgbWJsrVfWirDEyQE4pWW0uvuMOKwvltgSuCYxLczwRmfaAzjoFt8yeMJjcdO4ZuYOajOj3ZCfxC
SAMtm4abrq3BPtPk67NTM4HRMBpFFLIRGTOkIqL3qpSJI8iKxHiICapFxcHoU+E7SRTDiuGQIXDc
1KsZggk7NIEC+K6hxBmAGhCewFkDOUpyEPCnMptAdaqdsvhfqhfgY1onnijHsARsiCjdRVEpvYNs
iuhPmCDKAliXaDuZ7Hch0lnT5H6rPwyCO6k3wlPSosPc+Kd0Jv1UgY9iGnNQyCV8GLVZzRNG8D1m
pS6JR1eV8kMd+U47gzNE9ChSkLm6xDBjQksFeMRiwl8JhaCmCUPang2a729TJf1T5de0+quuI1nz
Xo1oZCYdJxFeriZTufPcBGTJrNFMnMyHCylo9zRJh7GrF7oabqp+ZjV4owSX9h5+M1LRoJ+lkIm+
V0pRL5pOZh/aD80nDvCnVyh81lGHfhPFE7AwRITaXcUlqrCSiFEqYqGUOm4UU4/WDSev4Pfj0hPs
LgkZVgPzSilcJZx406SVK1cUZCgE5w0es40Nsq7M8ccZ7kSBybbY0FaXff3hv99fPrP00G/sA9mg
QklNnffaMTAycFtGrXHzOIbjknMXU8GMWdDQaktojzTlKPJNRczrdRslQ5ByAl8LPXSBIxE96ymX
LxigpgFSwEA/Q1uIW8qMw1XX8p27gwBxDIUG1BDJnVyoXIaRFRTeCk41ZD01DEfWxXQ2mNtSaFlL
6cdMpkmiz96XOA+u0XBWgxgAfLVJgXSQ3PXUnxSK5XPoCOB1UIG1SkLtp928w+YsTyCLZwxVPCeU
DL8+acks6JeyGASoqMHQnH9HzYkpKujzQFS3Gb0ryr16s+3z1hZF1bH1L4VUgshOALC3NuWxdV/W
zGMN66A54gCWMn05gy4exbOAPlmRT+YRp1oBPWNojOyEHTVmtCAgYdP5xEbv9rGnbLv39Dww75jp
hZ3W25FadwWXEjSp8OMboDflrZcrdt8hkB68EPbg6BvNZ9jTQOy1aFmhqz4vWQcGdd8RdfvZBjuG
2kBK45ooUouOb6YeyrG9VZT7RH5Gr2gIdDuLDz6j3m2h7GmHWIE/rKvSe/jDbJtl/tlU327LzHyA
WPOkAMjQefcqrNcjdap3lDzThFF+AKBhS1bdj8iu5MpZNLx7P3mUsbwr6a/qFFj8vt5HpvrjqbR2
6/izTUj8YCgAKQdjV+u+R+UsksG3jPpwPw3sqUxtJxpshlSFLZ1E2tLWpPRXxtUKp9CxTmCtzlWB
hm7b4ZvAQyDMZ0pPkccHOZY3qT7MqDzHvm43ZPTtlJoiwCiPJHAKbCRehXAUUACsjBZcBEDiyJgJ
OjB5NM+gjfSAYjomwigkPob/Ih9ogIzoUhCvIKYXU3mh1yVSnQPTeCPjHxnMupUmrVPmxUvYV3qE
K0Zvo+sBByjYFPhmz2AunxUEg1mYhd2Xo5vybM2bFjzTQCN0MdN89pcYE0WcYG3Z0U8f5PAxZqPb
Fqv6GoKWqFRl5zfSvlapVDKbPJGnB/p/8jwnLTWwgUb/YWhuH8VnxTyjtODq3HGlPfVB/pmFr4gK
80SH67X7bYc18OWt0bx3hg/mYV2bKGeumv7ToCZQOlCryzMGtA6e6UyhmQM+XTqzj7Fc0iXnN/rZ
OQYYAkKL/FFbM5eNddWnK23YKf6O9aZCy9S/VpDbAwLaNLlTxveEtsn8kLfz7BtISbCN6fIv/GV3
rh/wt9BsBsL8IwuJIdRXjnqxQ/mWWdV510AoaAEaar+RnBjQUMVpoO3OTCi6G5VFKFV+qh8zbZky
xL+n/tmAJdYPasurMTN/wX7BB0ezGFXamb40PWZ0Fv5XHi/QGe9o0YJao5J4Up5Qq5EGkySV3F6A
KsWSd0NhMfUoECxqhGnADClbszy+adX9IhrCnBIsjKhPQTsyPqDLVPUD4aqTxadYvqj+MY6oAdG1
XM9gU6eGC/SHiUM6/tM1NfaqWQre3e5v+Zle86BtptJVOALGgNfJCBXGBPU1iKbidT+c0VtlgFdQ
RXJcYW2VJ78Jd0Ceop6LXuO40/Qjfb4odLSqtsLulyFo8CsquE8q/rxNN4V8ZJMBziZGglbyNmA7
gZXYAl8NRJa5PurkT5FT0P7CfLLAomvNaBrPNQ+PqJpDfyZ9BI+CHkG3YGpNRgn3n47K/RTyB6A9
SDPMs+sU/kXAWdv0J7+TcJAYKZSC8XqEt8VSfjU3SAj4kSag6LioHl2NCPlcdBDX3tOfzUEEaNmc
0wAIgGQMXXgvXPGZswJFXRrt/AiEi/DB46fCfziUgoYjCd1nhfbAmmBukzndTf4BPomTbJslhB2c
ooy5qUf2QhqAUL2hsgjJAzKNhRPCgXahPBGGq0G1AxoaGCLQLvPJRMQpCAmdBcEVPANblUL8Efxj
e0lBt8cLtLKJ4nKrKZaoLqJLJ+hn/Pn72b+8W37n9aCkpIbMikNExhuZ9C2tGR0RiI+RUvCW3gHU
SI12DJQWpG/cODBZ8YKuPfSEvouY3bm4EhStoPs9Z3soe1bhsdp7lrZt7OUhsLNFctVu/Oz7KCE/
v9Hst52diSk2Od0TF4nch3Sjyu+rc+Zl4vubVf9FQmRTOO+daiVXVIKu/YE1LAFfXP/AGnPlOTlF
V28xWsU5Oed2Z8+6xfA02BlbgRf96YHP5YGXbFwYL6CK4wFUrskJcC1f43u4N2TcKCwwLeojT4/0
NrqUslgCEE43qNf7F7lOuxdvyx6yvyBTyHIgM6IEA5+ODbXy0bykLgOie93JDtHLezIBupgtoTrX
bqy1d2Fbqhf3Aea89gKjUPviBbFQjPBRYf6AEINDjhTB7e2kbnYxnzyadxtPydn4Dc5wbm84ueUT
AhLtqdzYcda/eFUIVc3hEZVP0ZmTmr2GLavj3do90qAX78nN4GSIx3+93e4oPTnkU96Zp3abY30F
UWi36/w43TILv/WsfBUfM4d5Oouk1ypX4n+sz4amArn+q9hPluwa36Bt49VsAyH5pl/9yFazZT5z
RRl0g/SlRWPW6dcVR4ApE2Lg2YmrDCD0JuhTjtJOmWs7yYbV3JktA4tE04Ee7Ahm06LwYKEm5lDu
tTH5KwgOT/06ujRbaVk42UNaEaxyZUsbZR6rWgeHDLaZyBrWgw25Ev+dbPVT/aL2eUmXlGCX5Yay
36pdt/ucAwnW4NRskgPfv+a+PLK9ctP+ldtyRW63AeuzDM6qNdy8i7eYWsW632s7Rjvsaq/Z2Vqz
g0u19o/hsd5rWy4v8ugkgFdYU8isQNmd8Cm2eUwcSgznbptZ/pEQ8lIes8WPvqz2vAqnBhtyNE7v
Ix91MhjP37d77NmpuDI7fu5u2g3/AWcGc0LX4jyL5tlasuur9Bz3xYN5wK22Tc78yHy4KbfYLR6+
S9uHm9ScOGmzz+kWA8dkKoMmz/b77RZrbxGtcYG2ar15x5Zfl1yLNetto0i4CC6ItR5piDqs56O7
vbfDurSRYV5DoLBqdsWhcHx+yjtSyXW0M/Mi92Sfb2c7ZZtdzcPklLoTjgK3RRzP4hWc+3Je7PEM
LQD5Obc92sj35sjt6m7lkfdPXtMbhXlxVDmML9gP+FtuUixe1FhvQGsv2SKDxaDQi3KmW7TqbP8I
fpnXVLbKbbhNb3ATbmG+PvbrZD9skKfeBlaAZUZzQ+LIlUyPcGu1m76p2GXAeBbnYts80V+/Sltm
WY7Vi0X+u5+iAfNC0XNVsxXwS/LhHBhmPa88m7w3t+2BdvfCXE3WozPj6FT7YCe72W44m0/cqYVK
3GWCNUftzClxTzo1g0fnMvAjLdp9cpZstII47GI7inV+C2/MkB0YBmJUBPfH/2NbRBvpU5rrd4wt
LvOTgEO6UdLBUoMAiWDjpRpKTffbbxfBtXqML/Weu/AafmIMMHzeDZVZfZ5/yK/6CrpNuYBL3dZC
jGsOoxFBPzZlUTwipzwieXzXcZrb6WV2x0zF8MmIDQGUiqgUSodlTTWBPg4YD2wdRLpz9Q6J2md5
Q0/nml8wKoQiWMmaIWhi93lzQt9Jv6ZuvzYv7d60MVjFtaFvF+1TVz4SmmjRgvOHdN5D/m0f7Zn2
a/pk7DhdsCkOp1e5tef6FeOzADVCiVcsX0RB+GT43h/DRv/EjHbgrJC349IFc1mbRw/KQdjuyOmJ
VVAXJ1/elm774hRQ7uevychViSBFFaRrb6DWa2S6sOvFV3rBnfk34kcMfrlqjuqdEwyZHOB+/bv4
5lT2Pf5s9sl8MvhPyLIv0w8OsPzKzgPINuEu1Xu/Hl9M16NWHwHUgaHmoIDfP9BqhIpO4qtc+uOE
7ftieOkzBroXLc7UznkGVp4bcadf3b9SCWsSON5t+s/45N7nRxWvhNEdbtJsyafCm6drc4IMlhAr
TrSI5+KAAg7DeXAyUE3qXOikOU7qtbgMbvINbwouA9AeTpalILy+pW75M3yES/lu3OOvVJzy/tv/
R5J2lvf5Mdp3yNv2cziq+K3VCy1LbgJRAAldvTeZCuCdj7Mf/hFnCSKWXhAxCGwl0M+eWbK3y+gS
vnUxiZYsOp/Pb1MIqx8Ytvpa/nDMUKRjuRpX3rOdpP+T3fuJAbxy9rwnZw3tbb65evAJJhpj5/rK
2WWfcpd/MRyYy5tl4pgHAlmHEVcEAAxH2qHjaFVzsvv77GDgTIDDOe2e5JsM5fiZ4CDS1bDFwG3r
tblgtmKJSrKlb4hZNsF1dmItpSczYhCMbzgZwanYZVbExS6PCtT5/GOKla1e4T+OCYscPeqX9sTa
EedN7QijkruEGcPfQvMthKLIHTqm3W3eR/8rwb4zp3YW3pslSBnw7m7BmZKdHbvDRhRvhR3CGW8H
t9gj0038+XgTRmHZ9sWLD4fvm4IqpWdxMvDubCv7QCgR1/PsrNyibc3c7sK8ENYUj/ZSvfrYKh58
e+cSsWhYFJuYRRwQQpgXkWles//t1XwWL45Y8SCoCVf5qsByKNvggbXd1we8+Yt6kMnq8U36yycW
uWN02r1KoLrQduWEsEsUW1zM+Ntlz3h9Fh58KB+LiSI+nSzUq/w9OTEOt7kltolFr/i9WLfECc7J
h75UN9mP7w5utoB9kHAgOTPke6NwS9gQMLazM07wStz7R/Dw/3FDNLjGmOHMiP2IyN4uV57jMf1K
j+ZTetbX7MU663deGM8Cvw/70V6mz7c7vXXP9ixOmENU89IIHho3cKpXYmcvgh3MAfdzfHESQdnf
pNv42R74BSQEzQnjUDwIukAsXooLQ25E3PwNxfA5GVjLh8EJyLXm+3lnwuPWtJLZDkUXtG3No+yE
69m5uoxwlhJbYhxaPrZjAYkTYfbldbLveu8fkURiU6/ZYXKXdhFp0n58IWX00vaGW0KePI/O7aU+
YCZeUIXB1beYMDDHOCYt70+ehMPSPKGXIhrumbMHuicuKnkIEef7yCUX+8O3ATN34egjwcFgM2c6
h0zHWMNhUv0ydXbQbtKDOa4raONkAV/NXvoIj9ptajNFTyWz+VBP8Hzt6gMeYfwsd8mhFidcvk4+
uk33E9GOCefljRyMZ+SGsbbiDpPfsVXPoidBW3hoMM3E6ukvnAkMtv1D/6kgdSqZIZ6rv9CS6h8t
Yh30xV7kNUAokxc5m/TBn2rUcmlokpuSbFkcfOmDS0IiK9UiA9fvks1WxFyjKbav30fb3PVdBlce
kJ3eht1wK8DKYrH32Vl9BDZD5teOsE5bdTtKhEfKf+Qz9LmWkzuQPgtaMit0Z/d8C9Pzql9rK/9Y
7zrCj2ydLJh+tvEFK4pI53SXriAdfXVEaeOpcasr97U4M2nYnlsH0/ysFuFyuvL5DfmRBOKVHvU7
6JN18xRZKKUEfG17JV4nUGRRq68JRK9kEfBMP8fv4lKfw+PwhB/6iuPGLhAysC31lUzufYPpjKDi
H9lbf50+WX2uPZZAfTU/+Gu2nvuADRnon0FkwTQMIXoD6B1GwDMtJHRgNjrJsw72QmQ84ojiYEid
aUNz9x94H2Qx4OSDalHM9CLbSZ+TBQAU387jf3hByj9/DUdhbhiAoMTDbzFvpcvRe8gvnYU2bxz5
XmRjHgwXYNiEu+IoiOpDOeeF+k9OCsEEUUz/0nbFmZeLv/o9jtLmzPWH4Ta++OW8vv9VPcg12gfW
h3eH4IiUy/8COwE89wNC/yufBL8O7/1D7NeJFUfm4cFXeev4n/SByUVXAamQgE8DNHvGvJLtQjnC
HBxq90J/lNY51Tn6/VRg0PYmaYSTEKFYUvOK0ag5rUu+Ypr8fqypgduEYIlQgllTumzy3PziCxES
gkziLz0YTKuFR5EFJgugICzSEfWb0bRmQCMKG+iLCuvYewO5Ycoge0HdxWIfxgfPRN+V4WG6b/HB
27JfH3g2RBLnGAfxEcSN0zm6pJSTwi/+VowMdJD61fAhzAnBhTdaDx/9d/1p2tozdvlRfEnpph/d
VrMTMoLOxQ0dATXu1c/pM2Q3jlDkcZ+8G3OV6j3i+9QrEqQ3FpWNMW/hcXxwzVlI7AzcNUwBvX/4
AbEN8b8R8xFt0cXYyC80OHf6efzGvj2rS37MXuaWqRsiwIQk+G03/O5ym9hEJFuKKz7FnfhLIpRX
5hh/Y4/2x7Y5vjnvB6AtxAgEMC+SsvtEBFTqa4I7zgnssIO3ctUewNUSoGLTSR4cThiWiFG0KV0E
bCKu/xJ+Gj/FK3l4T3kPLUx7AFtBiMrJfFJFErbyZl4SwhQs77U9tC+wX470UT1Kl2thAsSF1m4Z
u9U3ae6zP1QPvrbFseKlqFGdqJ7x6fKVS/d+arfuA/dzDc7Ti/E93SbibJLT2ZgxeNPnPZESfmRw
64e0S+9MriUvgIRkVcTY3F+cLnn7+Gof71Y8oxCJ/JnBGHYlqeITuel9AgBm3v1gK17ELYCJhemV
9zGLbNzFlSZUKK1ho3yZx9Hq18Sfh+ajs6NrdWAk4GquAioD+RKM2mn2gVT7mUhgH7xmJ3Nb7Qm5
yfJ5VD5N2gXb7gOZlBNcmSv5rp64ECvJjhzfFcatXhlHgt3f7EpOxb26Fi/VDWzmIQ54JGDPwdzY
tTCaE0z9lWjifxx4VCqxC8JzMgLwb/YpvNiuf7CYXALvSWJAFRTTQysHv6t/hndAAd8j+WB+747t
AUKVa01+Pb29yWCLCx/VH8Q/l0dxBJnPt4kh3JqK1eSD32hN94RlJBk1QV+4SXhhNGMfDItc2z02
JP1NPpAfnTCtQyEaDq3v4jYSvqXw1n2NDx7gH/U0l/SUZUuX9V5clAPKGnZJXZFJNREWkRCXrvwz
3DjEEr5GZPTSs73mR2KRs3lhKVoONNUOalQuOf6RBSOyFkaNY8bF4g/sKxvMn6lwkdCJ0gE515bo
xWVbKG9fm0237Y78Ef/IhTOfpTteOVD8Ms6PWMN2rTyrBx+K9eXfiNH4bsy1eeOAcqm/KsKFR/Hg
s9hkcSvJH0qXmApH0r9YTM4cfiMTpogyxqN5Yoazc9jwJU4XbpUAk216cuowx/+/OwSu+DbuG6vh
d4xgiruH8cDJyXueb3IXBxwlEre98FFgzsi2/hwBw82gHT2G8l40IPAy4BP19sghxoiOmB9MHncX
b/F3nsC5Kbvuo8Tx4x/+EZjKe2HKO5thLcitTnCff8boojqcMVVf8iZ+ZZHwpcUynQijgGjdDceT
/qtJAYdgLsYoOHM8JAvk/8N2bunHYDexj9/e8/3jbXlWaOcfw5MfxxWSVKNS+nbxMvxKfJ/x6f9j
PduHuDYN5Oz0VxYGDG0xfFMrfDQ7PPBtd16mPxD04lWgv8GltAfxgEz/HXjchiKXJjaBKgB7YrLf
4nJDI/Xgtsj0nQk1OT5QCVCc/qnOeAztNmw4zw/wNWdqoLhmnBZ/6IsV28YvHa8ywUbm0ETiIJA4
cAB/qURwMEDWzV4+U1u4XhJ/KvnUpR76VX6pV4w4FD/YT6EIxVdjcSM9bylqGP3cNKElIc7tH9KT
r/BQUrEkraviNQXtvt9wHtQGXAtzethsYnIcM7qfHPkLGSXulBr3G/JpES9yyUn5dZjcnsS6JgTg
gEPfS5UPJ4oFrMB7VBZdQ/OvMURvCh0moWkXreLgxB57EM7Q8JhZRW/z10FlWnsFQ0Y3WTLswMby
KDw915bjyPE3XkRHUJAQ2BD7gxQDjsGChkvYjLt0xYhg1y7e1Cv+5ThuYhAc9t/G+vxCAIKwZftA
uhYKWVW9UIsV0QIh75St43Ri86AojNgHcZMg9CL0ALTMScNp6q/wz2PyLfRfNFoLOc1ywBYWaQTn
l3hE41FYTHS3WDkuFY+NRcCK4vxFyZU4bFxi6A88PtURdhk0Hl78z+8xgQ38njxa7mHjYgMhARfL
jdllz/jV5EzUYMQRIlvU5i7LAKLV+DQ4mSPlbSRQljqlT6AjiwyfDJfNkreYfzvX3frbOqx3h8Ni
vXN3rmOt7/bi7Kwt21o41sG2HGfhilzdI2u5jotrN786O+vXCebO/bC+S/Pr93XhRPPr9dvhP9Xc
sb4Xjm1Zh8Ph+7BwDu7ZWlwdy5077oGfsnfOYhfMb47Tza1v97ao5t87d36g8zB3f9cH5/ztHg7n
xe7XPjsHx3V+iUBde2G59u/CWrhWMD/bjjl3Fwu+lfeZLyzxMN/2lQf7PdgL+/x9thybuv7SX6JC
Nqf2uDhYzfz6H0nntaQ4EkTRL1IECNlXeQPCCvdCQDeNEAiBQI6v31OzsbM9PRiZUlVW5s2bN5ET
tFyOsVum6MdZu1+mgcWX51w1P1U7nfdWEEVzl3Pa9tEOYaRYwd+ytXjh5iwfVsQfpgEvy9YRgpcz
ZwJayzjqxT/nyTKIgr+odsRXlom7jLl4zhRFV09cZfIXRBdnmf5F0dJN50mSLpd/y9xapuw2VmL/
LdPoKAbXjx529JtGaWWnEH6tlIEmSnWWfIBB5PLcJKIFczLg1v/okGHd7WUvPsMtZtYf7waRazNI
TsQPexzN7dQ6BmvGNGXoo+Dmcc2JHYgrjJKD9bR/fwvr9y/nQbGvgS+xD8+ZqAqxGNCvAHnaZTEd
ngcYGh8DW82xj//nQwhQ6X/aMd86Kr+YmQ52VwP0xt2Rob5sh8hkCa0bLeuwzXRhcpXRlP4g6ntr
yGTEkeobIrsIjUlGuRQNygFLTSdNmL23z1KF2sYu9YbQXq1RJgpg8Vjfck9vpAN1OGrpIO9/uK87
RpGTDD8EBRM6CVUXGZUi9FqAvCXTKb7v4F2U7sP8xl+xxWMe6lfrXYelP4Dttjj06L9fKHeBhoPo
hScq515PpPqq3566+AH1B/Cz63c9ETX6pkIh7rf2avU6ydp3AOs0f66kZwsHu3CJPB4HqnloIagd
TFt/LPuee7i2kUlFx6ipKODKbKlXaQHZUIDgX0f0p/z4T/NpN6M56tbJM/76OQv5FtRjVrG17GnK
DXEcUQ82F8r23gh9NUiQcVUezwIzpWJgDWSyZPfDPi5foFF3n2WRkTLUoteQztQPt69XJoTC7jA7
/5x3O58d0k52xyTdJVGS2skmka1datiIuvMOIQ8eLG1IqQCljaP91WN6+5IzP8hUBXh6Adjt4gNS
qfC29CNBM5L55OIEZHMlBmZmPRyofW/aT87uix5mvtUd0e7D/TtC3qZbNm+124rKoi+9VZXtQGAV
+t+bSm8abMvWfQHOQLaxokqUEiTN5bbx49SXiJWetkbFvgX9g5vTeFxD1AFtdhKzc3BaiNhakV+l
EhGBA4UiziuUSRdyi1KIWDHvbXazwRv2JlwTWwLyIu5akaJPCMAQMT2a62LcuLihUTt9jekJFX3W
hUd+gmzFdaZ4AxrD9Zs3YTJwJIoEByRSRDRnoHrG3dF3IVD/qNS7W5+/6w5iNGVqV59e3z4Id/+j
0zod0i8iDgWqdGQQnJdpIZJEPxFL2Q0TiYZIyYiF8yuvqj9pTplVjXAPpXBQRkBsWJ/UfONv4Xcj
RngQCXb2hrtwxrgD3ID7nNj30FifdRfpPYEyFYWLcjZcv2ZcstLAyaWglnYLJfRUFLUUm+9B4KPM
IqNujiOimQy9E1x4rfqwUBeX6DUpUpoIHWH/+8DlY9xX9zLTFzWB5CybdptR9MF3Wn993ZVndcqO
HaJJM8sWgx+60qEJj93AM/+m94AaUTukQUl0g9xpjRAewsAGnyMx0dtRJzLVC5PrlG9Lljon7zke
AApn6zZ8JDQ2iz7JYPVZHLZMnge1mgzM/jMfrgk52fM69+oM4qhLySGl71lHBPDyiJo9+Are1+0d
ujq4VdqH79l1NYoei+tKcXDAvD6s3NJ5TkYu6pUUpOaJ4iF958O78En/AjFBJfQQ9gyP8HBtzUmL
MH2HZjRy25BQMZYWSkil7/a5MIJqL0WkMn+eCyCRI1KVyu4aas7Bu6bZNJtCKLav5F6ksB8rK5Mk
FCkhep5vu/VzoYxv9LveXsft9jJ7odRoISZ3QAGVzGPn01Nu/Fy8ZqDZK6rhpo9jP4ZSMxsREBar
A0XX1DAJXxT+X4JgIXdKGHPlAILW+NueQIjIH1VrIgD6XXyi4kZyFNdyTyvfCe13p5KLNDh6Qp+g
iXRXso8f6+q/0muo+yL0yjwKXxbXn8uMQjwXEfdIDppEiftQ83CEOIgMpg7p1r+EUvTgnUMCPlCu
srSbPH1SwPZrrBDSXnZZwOnTy94YC9zAmKEexmNQ4twHe5tICdLGO9gLkerWHvxf577UZu9Ut18e
mpjxyKcRRJQnAmuDgbHMgMRrkp20Op+wVMnlfVJil8/kOn6uJb8ca95gbE5uO2WmTd/jy7iGfsAm
P39szOQTUa4y0Rxj3HqjSNqXY5EbyFwzQiBwAsjsV5tngEwVCHyelI40v/iIyJAPlx3QDue7Hmxf
ZF0HW3NiYKkSuExOlUhzrjL8JrDpHD7uDjy0rvHEICu40oTSGJIY58JnwO16LHH7ZXj16FHEhMFm
+lrA8mWOkq3GU2ROHl90KgWPaYThkTrnpdh04cWgdhpNheAa+RTeIV5uw/U3KM9kNVPqTVJfFmYK
DxPrQG2ElAlzymdAmwnz6d5FPQW0ua+NIks2EGQjgbQd21Wxw7jTSRAbgQXNL14jmss53681+Cl2
6OvffjCx4PyAeF6OTIil/3EC/F7nEctbs8B3t+hIyfcxv93DKX67I01AyICDn/wgPnZdZYDGgOul
9UIp688k+5NbGL3GcN6UOVVuhTgOpv3tINVS0jQFc03rKFCmcwOPq/CwXORCwdA4BGayD/FcLlt2
InVtbB5pDsiAzWMdqec7mwK0wdlRmFCK1HC8QWMECsiLHI1+U9+jskHGQ6C0GeVn9k2iVyoK/iK3
RjXASweERHbKMtBRs4oVMSAYenEVDyRb3P/USI8uq+GCfrdLYrERKqvbww9KPup6CEL6Xik/ZO3p
e0vhE4VtIjmnnrUTeAP7/j2AydK5IsH+OZnpI/4mX9Lsw6haVBO6Sv1y73yN7aZZa04/rhZ3duDe
urHT/jIMgxWw6b+0DnZ+MB6umz95bGyNJcSXuF7xYSKYQPHk7XBNoSSo956pJhqLAe6VU9TqE+LT
K8yUqKODiP1cPxP2ZhUJm20x69bqup3C9K+Saj0kztyKpOGCRAPNJva3XbEa/X2OB+gmX8IxVtNS
+3nPbtsXuc7R302AE+3pNROUzTWfo/HPHxVzyXBic8Zy+ho5PcpbjIfNTokZMGA3vE6CO/TefCcZ
HqsAflSfvmoTxQNjC2/+MC7Tzr4HetQ6/eqRZPFnwbKPgFDEUyOgvs+r+eVnNLufPz4VA79gllAG
2rHpl6w3OLxTMBC/8XNC5tLpyaTFBGqvmcLwlbM6JgWxbvxXmAfZvpxle2Af5DJWJdCbFA5OkDvH
NHFzzTkVaPN7AuTkUdmybMcf2AiIbFqKc3HpAOXoCzn8klkwbXMOSuH0ZEa18EMulG3H1h0SCCsp
RHsII3oL0a5wBptbKM1TGYPR2Ydg4MEE8rQkm7+nIJBMH1JuQxewb9GHADj3gLkhjxt2fbTvpy8P
KgVEGJ4whj7/A3QKzLAiCqzZWtDa96imnzXrR2rOD0GVPFzEZL1DQMcmXh8mFJLOcXuC76L8hZ8Z
SP7DBYR0X2PONs3TPDFp6zEFEmM+JE2gTcsZ6dRpseIKvuBvhvfavUJaSkSkrmhbspV/+jHLEBA9
hWIA1wCSEPDHSfpjxIdptn9E5rxg5A2A1tvPRQWSAdpA4fpPRviB0tU1O1m503hgAxncrUnwQAlP
VvyFZSO6Zva/ZRv4APQYl/gLDxHtsKfDlocyyoAMCqg7Ot29BdPvSu8o05LowPGbHyUV5+8WKlt9
clh2f0htvFadiw4vDhwlr/X0+vMhccujAFWjYzr09y/iac5noa9xNwEGwOrU4zBlRQCl1wAFKcOb
DMaskgt5HIBBmkYBDP5z2+GEgAqRefuiV8euwtaJ500n2Lc1Ym/2MK3/xNOs73lAUowgikwBtTYt
pU6TBvXafymYb0oaE9AV6OSXDAT5DCawSDJscigor6/DJYMUEaDh4WFxQR5eL1enCW4bYBMrwToF
oMMwgBdNXiv5hLkH0BpRvA1uB+tbspUNnhuQGagIqN/Q+rQofLsNTLSbQ+GWTCUvrLwf8pjMZyh6
kFnJiUHu5Nu4Dlt2ErxV3BfQGfg0GBg+/6kESPLcCyjuh6EhPAQ/ZHTEwk0OGyg3vHoQUF251Ncg
cs2efJEANxOSpZBnNgBOsG95tv+DRYAkgnBL3wwh/+CSjgTkAYImIOxkD6+ZiASWAnwtoCbIWOBr
PBd8ebpNIc5tuEXrER5k8P9098YgkcKh1fXVbloXRqmkWUQjVQqMBhYDKsiJv60LFkaSVsgCUSiH
cYXoOhRJKdppienHU4NDQWaWsWCkY6IE8B/l1E7lAFiMO2HnOQARGoh9UzSDmjT9AAXCg6IUACQM
YKYFV4CbzzjewAXBj/fMNIECQhYgOaiJkAByKv8EoScUAqaEkVHt1T/OxQQQHCAYrKTCRX4QuKCY
0qZwRt5T5FlwoMlyQV0RWKZYnSs+D7Xkj73vown20ODpasyygnZlInmG5iurDJPyuJNPgVzpPZL3
r35m2oBzVa37PYJm/WPVgqtxlCvIGFspyspRu5SocVDEv9mHdUFrIB/G6mWSPkEafz/rcsktksZh
pk7RU06VBXAEpRzUkos0P7fOPIZQCZLNswDC40FwPgg7ozU79u2HN7hokDwGhD3AzF2+hmtBOj6z
8gWtdqFJUnkNKE9fpD2XzTAxN3lq371B1gankazMhGFUNs0e0hDfo/yfAZ/wuEVuLotZ3tKM9Dum
6jYdkOOVScx0SYk+JDA8xxQpUj7MrBdkWRgMqiDU4fd8yN/wMkHb9QcmPPggTxXQldzQKSf5ybUy
V7k5KgZY1twcztiQzK/d7FlEtWyLa1Udmr5ymDsbQkmPUKehLSrz6CVgxO+ZVaTuzDXBHZl3gH7C
PRBtZpaOGdgQfYMdwPDhbcrtAO2fx6IM6JJ7g0spNLdsOBQXSZCyDvDUH0hk2ljNN6WrtY3gCsaR
5090vMTV0k74UEAPH/BLkRPjLNxzPQPjFyEfD0jYEHINUMsApYHduWfmIcARKxfYFKvFTzLSoJ0Y
oye6xmSED6fXjrnPXgO4y4wRnA00tZzGf5xJhOjr55oGuYK7Jcg5UOMocuMnpudMeEdDPPaDPXRL
yhL0c4EWGOaRfDGkaiO+bAV/EV+JlMTth0nSzA8nzkMm0fCEYw+Z2xc2Rtl0iX40+FtjMjJbuTM6
CDCUDh65SNmwrFD2WVNldwZqv1IXhEQCDj6fow5J8M/F0GDXaF1MUkoRRxDpfiYpC3vPjGXQ2iV/
Q1h/7hUBxKdfnD1AnfeUlCRbo9go0tdsBDKBuQD7radVhB1l3upnxo11wA7UpRwREIYHLWzQXj2z
yjghoJ7/3kABxEfliTgcKGJgDWab2DDo7WVY0u9zQs8CnCti6HO/xHRyMB4fkwQu2fg2y+neaRNJ
BpctiBM5kilO2/N82Uqq8zlzkUbchs25Dw8brMPnzF1ft4MV/h8DlJgR9/CMoFbg645cFhKpu9uS
xcI5sDfQbUhyfMiUBclrhatJf8pYxdSdKzB5MbWIaEdHnttepJdYmaVjBNryNmM4lZikUcoIitiY
JAbDy7R8rRofeigxKZlO4mAGg7TVnpzIifklZoDYVMRW2iTmmXNV589CFfSgPDrEzz0YCYOE24ES
yeyGn8o2v+d5jNKvSO9cRaqIivRWZCOIPYof7DM+CCcn+yVmOEnWHQ8H88onL1vugbXNcyWeWhob
Pvf+5TZVDj8UIQif4w/bKjuG/vSuskvzM/lJtZb9hH4FwgUlzvToFMKTEaUQTChomHBrnvQboH5d
7AQ0bREZljL4UqjW+3S/aWnYgSgszVYM55Ow5xfoWGAega5U6qRoKC/yfWa3opChonililRUzavZ
B+m5V/zJJ/o1oov3twtoIZz1AZvZGyjkwitoc3o1BXnFBMIFeZ5mz1GZYLdt1okdiNQXNTwUt5FM
Is/0MemvhgiEU/zQPXbYOQBQtGIAuiLxApjIDYHtqYbLxvkeOOwlnwmTnGwNRYHd/u6KjCTVOawA
xkl16EPYUrp1F14d8SjGMkcCJvfY/wXp5V8Whr2ejZQdml0eeWdqUjjRvXHeOepZdO5El0UkrkhP
4S/evGFNjwSRemP+dxdPQGiMqSn2R1I9Oo0OVIftj+1GZGhUn3UGcxqzZVCFQf2OTDdVV2xGCSQb
bCZpmfwuUjk8VlJ5lAxRKiXcBNkFhjEwfa1Lezb4slQjwWZgHPAOTG/YwTiMXwePDCtWI+/QunWZ
6eYtVr++Qcj7gDvqG7dxV4/vd6dB77P13ppPZcgDBKxy+9zDE+BbGCWweZHaom6IrnydAyp6oRu9
YTHaouKE/BL5KEE647IYPC6LPG5LDTZ2mYRc5/LVluNd6KgO7cUh4P9ebcJnwYfB/VNVuiL6yKfj
atMpkUld/DCteVlmnWzZkAw2FCoqKVXiAOSYMTK4JUiGISLGU6SAgJ4AYvLxeCL42dyDGLSv3xsR
48Pzz5g8wb0LGDDxk7IzSkLIgFEMxDxk5wZQe/sQenXWyr8rwQA1/YqMImk0aEFmO8HU8KyFE8Pa
ilmiByYauQDy4iP0ITzM6GHDJs1rhRG1PICRW4xcNWX7Gd186UZNstMvjRMJv8fXl5oQl1uiHq6P
LqZXs6PeJzcI70/3Vs9qY3VQULMPm86ncPlteOpjrF9jzXQQYXtcArisggNNVwx1ph3ii+pL4CzF
EzlQp1OSXpnm51u1AXKgXNgsvfZKGTgSaaJER/pMBwpsy8vLLUjmLtt8msGCsp7GuO7HUu4/n+OR
FDBGeJ1SeKceo/efxF3ajAT6u5iwR2cqykpTqkDwwwt6dVCikg5ncO8HIhfPo5/JAW7JhV1xVYks
Pxibd6iTa5PcBbEU/wTHbnTmA9BnoWzP5dPjDJBIeJSyA7KdCmsJ8fBfUILeOtfHUSDGV3vgFDx8
eF3Vnu8TsxAg5dDU4BfcoUlQ9vuPQ4ERgUfQTaAh4opccTa/KZd++XltMlirFE9J/zsc2j/qj3xq
T93ZOEm5OxSUEHaO/7lB7+WXRCXGeaO3eN+gkDt2CGp1Zvc9rOqUyo6BVXL5hBg4khy4WLab+14R
PBBpBHVBTSmb43KeeCIndjs+yL8yFCWx95DvNlnUn9hDmQQ3+wb7YFNOBecv+FfD8Eix/sCj8K5I
Kk9zil1FtRu3TmzIvsG73OcdzgvhIR420QLUM3aGm/gdMnn+9AgOiPVw5wgaFHH74hLoVERpwBJe
IfaEK+fwDCbhFl+Wdu+T2CkJG7gfQuAXgrIh6WSIbzxtkcUn+HqKwAQFGqn03leEZ11Bi1PFpgut
mHuj/DtlaiPUmRmU2LKwo28fvUbpoNh+bj8vjbkcvqkRuMUcnV2N+oR8D3GKRiUaNHPh8g7Tcnmf
vPnl/J5yfdwlu3WVCo0AjAVOO8lEum8Jt7UhekOtGsCUuBJmA20Y8Hdw/XBiMeZ8DX/kQxbOgVrP
UfBVX0tShXyWGcXuz2ixWbKtM9+aOfHDCWYtDjT2mYdMQeYwC4ZsXMxd2YNAc2IfhHV8gi3NrkUA
I2QFhKvIM4IlQicR3GrIhUTnRAqEvFQGfB0qHmXZJay7C6oy+x18CFwcRveTshk0vc82/qHmKQTn
0PYUOMJNaoh9TLL91uVv4L8pQQCx6x3KtFGpZgs3kfbngZ5xvNEZKK+eQc3jv3dqSkJEwwjRXP7b
kllkg7Jr2mn9CiASUIBi2AEUREtG91Kh/YUD6ClBAdQy79p4Tt7OC5oJDrtoAEfaObgwcGv0Psnx
NRfW6Cx7SpZmsImOjpq2f8oNiTOJxk5I05Vf5h0xMuKVj8G21ve6QS/wn4NE26SwIbVjkhxC0Q3C
58hp6FEUs1oJH66mx08qS2o6epXOiDWZO7LoP27TObk8EOpGTT6r1cmtH3e538qpka8uzd8l22ES
i3ecoaSLYG6s1OjV0VU90RJU2hQaQXTjQ+2ZDwoTWJyIY1aY4kfI5wajsNLH6BX0yDQxa2pj9xqF
w2Z+0+cMyOvlf6/r9/dkKjNdCg8FQkgLk1KTftESmzTzoe5q5Ctxjmhzj8oDcn4OrO2HIEteCIa+
FuYRLIZVJ9oxMZ/QXqlocE1hadfOWVDf3M1JsGX2e20CD1LHN6OfcCRPDrC1mK9QIlGAUHqnoDYT
U8tYobUElTd36dzEcZXMa0dBIwXQxWWQwUvEHvEVjZfi6hLoXKDOSXwe9jD35VGg5/h4VNrbbxo3
oZWGBkQe38xVdz9ROfxSJ11OyZJX0Ki8dTE6FCKygbS4HkSCQExMLEw1VpuF2aRMdnPHytFAG6VQ
iy9TqpkWgw27ZTV5TZWxNKPiDriYd5ozV89Y/f3z/1kDLEPWnVjMrLWgng3i5oz7gp/Nrvqa8p5M
PEW4hSmAQ1+SZyDEhk43x4cWvQ5Udn7UT0Qojh/WXCNzXU7x7ajdG+OzfFJC5Qt6VxXyKC4eDM4X
TkC/YTsiB8g3iDfZiaA4cQKi6g2nFEcElcJJht5EdEmdTyosRY5tcVtktwpSI05uoFpGkhUKmo1V
x3qNzuaZrYsYiyQ78KV5lgF3dpyVfAnuy3Wrr0URsi48NF4tHnR2EDwdbFT9FAwr4USSFteEPSLA
5b4hd7ID4tD7FOGCOwt87P+ok1nBy0BOe1GWFyCiJ+wHMBY5qjmPgOpo/OEaQR5Mj4tNJciQaERp
cQioDqRT8EAXGtV3FLoJ9JuXsOEiqCLlzT1g5ElangQ9ccOGJTYRQDkeCzHJmfGmJNIXVUITenFP
qedJZeJDCwSaW4R5GNVxHr03OTUfKPjtssndb2PaAyzySTdTFtSI5wR8hphEcB8FZfDMzsivbFTA
jWgAnRhoNvzr8rqkUNMxktfb7k8DwdqdwygMnjCJBYf3cS6n0o5z67PblNkFfVhQ5kFUY7DrCQ6F
+SvH0oyLJdRkE+MZpf1GjwAGA6i6/ov6ALEfQwSjsLAlA0TSZ56D0dNVEnZpvckp3CIpsWd2VHMm
O1cGzqlttJOAXsBKl4cYjGwi/ZK0WP7xCgPOw+HR6LM6YCIx8MROPBx+oavSnPcpjglgLogb/pzx
uaIHCX/E/lguXTrYfCb3PWPZnli+NDRivOHvv4Onj33YPUmMwqqIKSdIH6n4ymDDkSm/wTKoRL4z
I32MG0+Z9PPDsWOGYDMUh10iw6mBPdNaYDAHexCLWzG8ETI1Ux5Ith/u1N/RjhnPkDM0m3rDwqMg
Mp8gnTozFhn+FtIBVubSLlCHRM3SJBgtpm/KXgtHd+qAhRLiL6VgCHYLferJtRvJIDYWFPsH77gN
7jyb+4SGR9EdrAGO9eTmERcG9BARBF+yEDSZd+9M+yuFyDjPk/qEv/o6KckorF3onY5hQ+y0solO
kiLz3/H64umUB5O8DLSE+MU1FhLHZ8/HIkVtoM4cnRyvHFPMOr0sTYfZ62ZUndFrktqIwqHPNgOZ
uTn1ISKJQy7EBmR1CwfSZswSBQzhW4hIQKD2iNOo9qBdfPhrws01HSRs48cE768NOJKPyByFuNSE
BdclAr2hseD3mGMCIWJIpd/7GZN6WPAgsINYcZwqzAh+NQ4MJkU4crVzQ2Cr8fB+cOTw1CQI8mDH
MHGnh80o7fYgTDNJkM3m7Zhcf5IvvnvZWn6o9lVJC3WiRIWUFiueBUqxGjn7OeaI3HJHGhrq1rKZ
PICQnhF5ZbLLFJBDVv5M5BP8ZaGpQJiJ39ueWFZMYkwgk+z6z/1SBL8AlwuLQGEPXhl7g4+Ee8wn
xBJ6U9cmysH4wwzBMWGSUN45RbgIqMbXd7zBHsgGRESBEcCHAc2g8gfv7d9CF74ue0xcnbFlACIU
yLJwF1DfJ1wNx+SC2KOkHeOX77szOIB2IvAilMf7wsRCquXEeIkKrAB1xrh/HCwLezBhFOuhx5RT
K8vI/FsSuMs8A8xIhQ4FaGgrXBEeDPM1huzO9AN4Zh/g0+LPhPvEs8RtZtmPANDE0OSAQoj1kAP+
52cKL0/ob2URJFcmPZEIjHSuIT8jMxLg4CFdxG3wCwfm3rEXeOZC9oAW7rae+zir+LlMALzV/iAq
MNGDVNnVG3eU+z1uO9wKRET2GPD7mYop3HYSPbyBq8z1c490o7iIrocChudddjSOiPHniGwaCrJ9
eCTkfUhQUFlCYobXmWozrDH/opgjPSyY+bNDQvF8io/BobinfM/Qso1ynSS8iT7ajfAKqLGCCEzW
BMu1Ae1gYnBevFmiR8qexOUxn9hkIJUIpLAXvrJAICn7wuFmk/o8Pb333wAeAME0jf1Gb2o/tLX2
DhBnRRPWM2rmCUL+57tg94Kzsv1eqTL29XtcqNNRTe9cxHuSjDLv59EghDHmSNxKSiJJgaosD+oU
fGHYzaXDn1RPGm1m9L+tNn1K639C9q72XnZ0j23n33byBdt50tg5fCkowtD72Bt0v+Qs+MVA0PYW
j2iDR+EMucYRzozzpWCiHOvfrXQVWLhL1NO04CbwDhs211u3zuhBKyOr8ixPGbLqzcCNwGKY3Oql
F2zv22HOxDlkI6jkMY/q9rQUoHSITjRyAO24B8nQpIuERe+T9kazOQck5q2TapgZG565iLPfSByD
eHDe9ozmy/0SsoII5gdQEL70/kGefnBovVa6IHf58W8k/gpogqMaNT6klxT0ifMfNL9hEkdXaAOI
HZCZko/akIVYogpKA3CWUUh7SrTDiRQuctAViFTbxYCOMkxnt9BjaXo17AoaC6IQFe1n/aZibXoy
ugpENQtD8gqw87WKRBKi4zXkLSDnG8WKdYk+swY9W4sePxldAki9spYOwZN1tcgkflxj/oKy/S4D
81wdScvj076TAbwU2b4VC12ZvB9j2fz9Fu6lTzr0MIzpJ5aHv9+LpX6O32p8R1paxqaoFpqa/Seq
NE+iUKifADHNWZYDUN07K4qaWpZGlkWAeU+aWmMtoxHR1Z3W8uP3oCcx0bpM8Y7gnijzZFDqevNp
S/jqBKJOOWbeTfDW6G9T9ZHE9t+t6lyhJRd9nGoLsOfQ/XyXWg6s+0BSE9ROdm6fzO6vnqIEBE73
Hon9UFYnPfbyBqCM9jSqEb0IqiSCsdv6np3la2+bD48Eban6mCHtDvxJnKcEuLPaZSfnI+dAliWL
iu+Y0F26w8h4RYOrJ5SQtKCuln1Or2QO1imRDNRDU6UyGBir4b+6a70mC5gT4ao4pEjhHfKpNLte
qZa5jL/GmAmiy/DgYTHSOpg0EZvvABgsxurxXiV7bG7IGNIGm5/CmBUo0DwjgSOQzBoK3gTTvmA9
2uBlqN1Too8VM94xctqADIoSkm0SR+jHXHR+i4X9wvAUE3ZFDMYFdQheoeL5EzPpsZG9nN5UH4PV
s4sSK7QT5HLIp+Fzm6gIQ8ObHLQ9F4jl5AyojRmK0Gb5Uswkyo8dbBDHA2u6qtMrTeMogiU04A8a
7sYYUwnqzjPFh+EKyMFiVmgKORA15Gg9dSQoXy4ZuRH+B5KdoIfoX4IItKJEWKTFP2J0rmoIUlze
V+D3JbgoER4uJtoRINtMavBF7laO1RK5s5Aof6BFhRJWCCMKZPPpMWyPf0gH4CxhC1/rUnBLk16I
6PbZfaX7bOWHd8a9UJ8+OkpSucLAowmWU/pwo/U7Yj94CjLECRwWZp48Qh8LKvTnbGY8C6A+6M7a
F57gFEAERb6ARUwumbDpqyZasRVoYPYLFnPRJ+1XCR90js+RH1LYOsy1EA/QJoqO49ntLt6tTW51
SL9pVUoGsl1RCa7NDvrVVngqxmGX39fvLu6L+Qehx+WNoL6W2eMQsgvue2zjfbjFwtd1UvS/rDjW
Fc6zD2SuoI3VjlxKYr6r3gw+0rK+IGTlfvIQmhCRV34NCKjYY3NIkn3cXeJLYIDo069QlNDJgNbd
rlZDFSeF3MNw0v+MHlEv6o1Y+Bry/2PwVT28Du2SIXVVBEuYxehIkywKZJSzqIOHHwKSAKhTTGml
/q+KA/EqnhMudW96ODsCPtvlrSA+xhfkZTNRwciTlACGs5mA8WMSJhTn0UXAkU+4I4RpkK38NxOo
Y0fKvUcfZT4eO5GTsam0TQcPo9SpBmw+gGkoHA1QTE07rbdxcX8x4AoaAIbHMsRi8kBLNB5fzayi
fxdUEzDhuCjD7jajyWmK82l8lm99Su6YznFHCDIDNM16EmbQAvCKKFAgtMR5wXUeiVin1fbSjZiS
wuyz8v1FA4Cuj3RinBe5AAdQJwP2/tBd9UR2pm4I6V2tEUUwB1BpGIwdOQ4CczqFDiuykdddVS5e
+p6F2mq+wWbZflBitrEqygkwNJ86+KL39Pvek2aklpwEVnNGEg+fL2YTfAYsI8IzfaJ+PFplkh7I
M9CbSS46AWBKXm6lzfDqCJXMXTbHI8ceMmldStAKiYIYetMSoZFpEEAmLvk3FyEBnQ3x1k64KAAH
/4C+Lu3IHFIHAeOynJdOW6p0RYBL95h093iYn1/3aa2F+ggziWARSCK1wJeoIiGusuaLFdm3CzuW
JNVuo/havhhCKYLaUdLLpqcQkiYHY1UiMDe5KpLFsv15xfof4BgKg88d/G7AjTtqfBWT5Onq7QpO
VAgCXi6eWCug+ikOFkIZLI3RW/iJF6GZqM8uBWB6v3uYQ4sJjy64cMom5QGQCbbguTh41Zmyunr/
hAV39VQQzcbpqRM26F9ZSukLn0uw7PF9KwAl74UO1IE53uQs9F90WqpiA7e59J/d8aCctbtXqK4q
z01yY3U+psXQ8LuHfdnQbLTcXusNbPz+gbMbwGR9FgG8pq+o5YZITVk5NGscAAXvML6CIfsGcoiD
fFo3M3JgD2mNBqNCbJVBUoJ6RX/c4dNC8ff2o95iRZvQ1u05ARTg8dXmPH+N8/2VHlkNGPCENB92
+9FMqwvHPF3kW/Qqt08yzqKJ7XV6OEkhbixT/4O3Orz+KSfSk9q0YcWNpHX51Oj9gbm8/tFQir4p
6a2c8FYFC4LGgNR0k4B84ujR30hgPJFI4e1ZxAhL5bFM0QQoBUhDVBA/0L8AWl3twGRGviqoLCLt
Y/KkygJ3C/5mMYuw0fbyICqVNOh9A+fyr/iK6h5Riy1bpUc1kB1VdgG3fUlW1KOG16G2F/ltmvvh
XsA3PFjRwdodH1YiaojwRJKLnS4pV9px9sIZHgvIx/DaV82cCUYBrkN8LFgGNGNDS0oUiCFsENlP
m4oT6n4PcWSntvtx3Zk5d13THzd25RICQHRFo4v8JQk7qsM6LB75eeL6D3Jc1Ohw77AOLa4VP8w3
qBG/bdGt2cFDHrkkq1ESImKND5vIHtmlE6nHwbhzbUiT1IRpXsYYYDhgKOJ4cBT7SC1Iu4L8SOYV
bYcjRQQ293Ykq2Ad+ZMHyYB4/uuaZ05MGtW6biM+ELn/H8aGg1g4jDvAjJti6azj3UV+zhpyNFEd
R2WcTWlYKD4RlDA+qQ2wyJiHnf/kLbQ9uHBxZKihlG1Swc1/FcRLvHghLcZ/0MoRomGY3ehIQnL5
b0ThxJd8iynBOUtu7O4uIauI4akYtj6sZyWqHsRdVJ9VNkVuyyEVJ7IVkTe1EbTI4SxcbH8Js0Dc
0BEpAaumKFp2BmM+cw8GFII5lC+/ws6lU5yVUtMCO5RupsyPNhxRJDOymWpi5lFCF9tDV7w3chPs
1Mp+oNSjeDBtoRkmvOUCIIhz6NHQ5TXq4xmGDKJssYM84VLissKn32bB0xo/XZofQPeWsCQEUqEE
YeZBhXoFx0s8ZsFXBTbn3lSeVIm4FmgyK8hO0yXXbtK10E9tLoh56DFzSbFy0/cAErhqi1uPeKK0
T1llAWwBaX4bf2K0KmyonzbolMVk4nzEqpyHDq8+gsXgR28kPnBoeVokuEncflZp/3YGhSA3wot9
HjXuv3AGIHRU6MTKb7Mp/X2430vW9IRQvKPYe/Z+F0amc1pN+R2DaK0WMN9Ytb3TwT8uWYQyg02X
ZldUPqoUWj6tZLyZzX5mWljYdIm1DOfgXCy+xv+4VM55bGnOy6FnmIWjbb0YOwJPXuk9mND2Trxc
O5tvBNJhw82fN67us55ZZBbFR9aDpb0cHyFPA1rBaXYGNvVCDr23rM6Zdk7n6NbApjEPSkm9XbuK
apFpnjYeWWf37Vb8pG7eHvFduMMoMqLAB8IGTACUR4GX5a9RKbj83hfvFdqOs3o25ALosk4xRlDT
Oc4Srdqt1qaR5QuywkPorFzxAN0WasKGrrk0trcpVhgM6awOS+4L3kuefZwTCVjIDX+sBSOSHsKR
c7XCkC2Oyy8tT7IYZNPiAbBh8n/v0nfHRVqc3ztH3OHXMXki3b973VMfYHVjk2+MvJFnRL1bhbRb
pvuXab2SKiw5KuRD/hdHpTmce/A75xk24xczxhMvy9zH16lCjs0HYQHY4BIOl20j4cKz2RgW4ywq
4AZOmvKsecaVNbSx0kewbSjblAhgvakBGtnZgv6QvHiwYEjwIXYoYdg9HQSPAjqPD7ude5S9LLhR
NUbjPHgJkf5nRl9XB6HDlireO/yPpLtabiTrlgD8RIoQw61UIAazfaMwtZhZTz/f9sT8p0+DbVVt
WJiZa5/pn1qcxNMWKP3CUF+6JBqH62l6eT19VYb26hV7eQu7BYVt4GC8uyfFU3r/dzg1SnqPj6vG
cFt3ejz6LKpFuH7/oPNXeCGqqi+10YkC+al++c638u8So3gaDd+9K3t4VKS9/m4/KL8pVhvkMsw1
vtVvekUOqSEN3wRNFOLopXJE3b9syLGWJDMBOVgOjKm71MgW4+E1vqbRFxRL45LecEF6h9EZ5gQC
Vzu5KrKIbr1FZ9qYNlTTGsNfe7lNMCYah8YXumRjYdcdi/qQ3f2EzcvXn41IphnWxlGqLxrfpv/W
h+f66xrjtcNu9cmnA6AEYnPwppwG58vtsfh5yz+PkWg5vcYnbid/lWvwX9qtfGUm1aZphO1U5EsZ
njj33H1FQ543OoK/+joCwPFInq2+pxlIjiXeJ8dEBz0upmq5bfUZ18qLN/5NPSThwNHapj/i84aT
AzOU4sG0pxPoy+BNomd97ca5PWml38F4HpJz/WFSf1oZNlh/GOzqgw/tZGfzYzAJL7mNu5/Pfto5
fW5y5P1n9N4GGm//3Oi31Uii7ier8x4v6+kpGQyeWh+tVi+B+h5O14vnybZoICmyXq5X6t0fTqqy
4sVjUmbdowtysor6pFh8VPVg4Cb1az1J3jrn5NY4R0eVdtjuZB+BfSanxv7vnV/CX5bYj0Osil6q
/5yjni+H337bxScLVKrne8Ey+VO980bLtgHYVg9WR1JY93XRpWRAK226he2MVNaSmYh5UKnnvk9x
pX5ioTzart4jWd5S8GksWgOYawaf9dM6q1cRJvLJ0SvXW0+FxLzk/uGl3C63zYCnNJFk43x8+6wk
ueg4cKQGg4+Pp2C/E6v7JdT+++9af0jX9U+E6hBAhHDgkXeOsLSDs721Gv1Mu5y0w7VGwXFQPgn1
R+c4537Xv9aJwzqp1G/9W/+Slh35UrcAYVnH2sV2DDvcuA24nEH+8Z4abT844akN1bq68Ar+ufaM
vMvkdu+j8If84yHJpbXn6yiXCilVb0xgHKW59ns37tZLnrTuN/iOsfeP33UA6gRZkTfCasTL/vv7
eyYNEWW/fWiBUOGc5+LlQ7//5/f7PHjRab/GflilV04uT4hdwrZMenNPgMbrh26pt/umqfEGUuFa
F6Nv6UBx2rggRJbrr9eGB6wfvmkaDQof1RCbBPXNa4pqq2xbfklfHfZGHfi8vm1Ov9Af+5Z4Ej/8
fnfjX/BhihjNSj8Tt+71J3iy+tO1TnwqzcRGcPbSB2are0u6168ZtzdOdY+n/V26aCdPwYNSfoQ5
qT+to4+vlYPaXPXL7Wo7uLrTv3G6qW/qPQ1z2Sh7fR+pfCjd5Xn4a/2pc0w2MV5UdO41mrnBpTHv
Ks0HleV23hVuSiO7pfrLS6neoRaKjt7exKPgk3rOYPLx8WH0TjPLY8yaA2Nq6w+MYmPVSG1k9Pr6
vUPrSUUi2rBvw9c0lbfb32pU/22p2Td37fNQ/6fxVesMKs1bv5Wp+20h+rq2lO4ag/GomJ6jt7f8
aFV/e3v7KIoVHtLvNPMc1KfL9fj21vV5pV65/vs7a32H7Rmu9/XU/uQHr9v43BgWo+G58fp9btfT
Zb37PbOXr/lHTbVo1u2mr25XTKcifj22h8Oub6/n0jT9njW6B0fVA3+/HhKRXHhuQ+PrYu5ZBFEY
VzviUSFjrhcEhtvkHNuPecHcWYNyWh89MpdUH+LH9rYRUSh4biySEdv0HkPU1x3AANNnlUXzzwVc
2clw1wVgn2MNjqqPy5fpZ/77+q/6vUASqr5NfnATr6tHLYDNqoFpVnzbvmTfMj3qbF3i4ck+VnIf
aLGLrKAWGiGq+r3+GS0cM//N6oPeoMN0JYTs629Jb5C06smw23V6r5IWodUbpGCrm/6e65V+pVFX
TRZuGZyJjJXpLV924oo/Nzc7AYECPSYGeN8mUXES17QLpZ8k90alUr04mLTGzVK89n/lKDBjzUNu
ZGJKHhEEqujXOLk2Ylmb2mxr3Fl8X2XqYEaqHtUAp/ZrCSwJYOlP7EMeT6ftt/YLNRsYEGKGVbIX
BMyGYdVqo8qoNloAQ6trtuEp4ABG11xy1LPcd5bALJWARzlxTzBU/y5YTE5PDpOmXviZvBIGhBpX
jsaRILGwBfKMbld9htbkOgDWOV4TcyPzVvA1/1AaznuhgXvo5Ibn96mJquqNzdw+rrDFN8Crxk7/
c/taUvZw+owk3H3k1p9jg71BDzPvsHKow1qL6mYUpXm/LMm9uTOim0AhEw0L4EFnVrvQX9LbTWSO
PVlT0l4+5OUDbYol4BXDYMkoQ8udZGK9bS/MINSMpXexTTXphqERW+1Xogr28bRdG96+9FIPX5Uf
wt4PB8QQ+UWrOMr+2xNMIJCWSdZrDlCAe8OavObN9sHEOE5EG6gYhdeJMkuFlsDLJhuQaEgZagTb
dr4oXD4Pj4uZoxs8uoYNEMX9Gqv0Lpfan/Of7bXlf+VpLcoZTwGesV2bLKn+srj9bkx6LBR5C9Mv
rw0z81qboAe7owBxjC5Vygarl/zxsQIDMDdbaJP/Kl3V7RQwppuvye1fmSjPeXCeUN3TwrjXD8vn
kircDpm/GpWnqZrE3Gy4I/IpVCHGd7pYJcK9SQbKtZWfP+drZAlbZTIFZFXH1CpDJVtrUUUdTFgf
5HKSxh4fVcqVwCfLHlwf/OCq1MzOlOmjzS7aGSD9Pjm1jtMWtPPUqPFftU51cjoXmWk7L1s3zSBG
TipCZ6lqpdtiNXQpL6EAOVVqVy8ol5WBx1CIuhfA3RjfH7PVE37T7Yn0jqGoGMon9dXUTzzi9C5X
MXD9aZwGsM2fsMJsA8XSKGQbM6GxK4qvDJX2B8HAntts4zkIg0a9uiQOqVJr4d9k6DZu/9E8xrvd
3oNhQQ3e/7u91fTLXmT1nQ2a+PJ59bqBNpg85mYUUO5POe0GkIHiqrcFn98SXN8/Fzb3+rzavWaF
9zK6ecdkpXg9+9EVAuwAGF+X+lNjUXZtx/+aMcm2u1dbXr9di3ABLZd20tKWGR9ozZnpaQy36n/x
UfMns+nqNILs3krGw3dqQxCO0LV+LYE6eaHz7tk7aXJst5812gfX3iO4i6JmqIxrK0PbXVCEGqVh
R2NtfxpkFL+3sR8FEKU5jGeg5qmZ+2WH0b3milpzcu/PWS3wmpF64yi0ppG9xOK3du3cXE2LZNEX
q15eS6I0OFVzMV32xbeGwH7BRD9OF0MF6l34QVG21DOHCH/tCY7W6kwt8abMJhVbpng4S86LzrML
pl1wWjzdJ4/K6+NCs+CLdYkcYmW6dPt7PzdLmYf19elGDwZGzTKfF0LTpihf8tRTJdahR7Q4P8+c
4/VO8P1MgZAq1+J7emmaD+PHa5dqzli2yWC8eAIKmqbLkc7ArqZVRP801cP3r4taAq1ikOxfd3/Z
0wm+wOyqI56GmkxHwhnF/eP4/lAqRlNiepNm5t3eOWk0GiQi0exxe3nfiR17HmoJSbNKTCDykczF
VIYDDaEPCLtz/anNXybO8rE/BgS4Fx7hH4vLnl4DkM4q+8VqaUnjXF1fvJy3pvy+eVDUn6a3q8lM
uEfzYc0IZM9aJGmaf97TVdGnmKa1/Sk2ZGK56Oen74sa/edqXJp3cEMLk5/JfKDITXzdibDnWT3F
q8mek/ZYEv9qrAcIVfH8T6W/QINHnmMJMw+1XDIGxlG8AwNdmSVoRpFW2DrfWUhWi4PdcuQsTePK
ELKq+BlW8xhp8wFPd+a/l0xnq73Y3J+hi4omVzzobNSubcvBZoRJSvqPNjPNBqJPS8Uf5HrxBPqg
D7scZS6I35Pfa+Z3MnBo9/MXXQ34rVQXD7BkZQ9/PRpQA4X/4mfNq54J4E9KA2hZ/gLg1X5dqP+9
b4Ro1dFm/TbJPXh1tM5x2C6913EJDPdBlVkfDhMWS2xafKy0fNIOnKzQqhUeKVVo/Ju8915DnySj
xuNo2qS2uj1PT696DbfX3A20bJ3OtjTjJx4sTGBp2bYTLKbmcqaZzcXe8cq+jRe9au7ZWGFfc7++
H4qf5+zb5mSQDbRM68w6uZyWDTrPKcxTfWkaIMLIyuAWHW+cW34RzDhDX93XDwH8nFJV2p5Hzui0
cA4M4tMEnGjw199gibOv656t8cNAdCj37kBYz+uHch+k21br8uibQuZ6rXAL3WI0pPMQnwCuBLcA
oLNYe3JqbwZ35Ds7yz8LA7kgYEvv51HB5c8SkzWwK2ida46p9PGgwKdBl/CiU0r0la36CCd5Pso/
nPLPIC6ZXCc3aV8n7e1lBHsmXDZ19JFp8IgWPkDas69Fi4B+yAD8kYasAfw0qkGwOy4H9/mrL3pz
2tfsfSRa2bZz7DEY+Kqno3/ZNPWXrR64Fied7+jRa9bDg5inteCDbIImssvPygLUc+rbktaVICg6
lHuhQ22AkIYexelwvKoMnaY1GjfwaeD1BYgRwzvfaP2HLQJX3WTBo46d0vtJf8wdRnfteghAEVO+
2ItJ2bNEk108ztIQDEils+IYBEipZ7FcLiHLeA1LEe21gERulVgAkt29AkobwKE9x1opVsh09Snn
SEJtv8IPzG/tU7G1HNMPkvSBrSoaZppG40Hwa+RajnO1u+3pdu91WT1oDU6jtdx2ZwbZqFBp1dFV
lx/9Aq0iFUz10ElFo+SYXXNpufnO5F0Yu2keTXKutBEFTMxA1rsZEWgIWxPgCGyUtXdOYKzW0zbP
gz1t6SCdWKMAuUJZV58Bbi1FHsxsRwB28wMgwi4h6au1guuOsK0z5zhQWcHDrbF73PWFkMkmVdP5
yCWL1Zu7cdIl4suEnJr33mUdBn+BjBicHvkB5WpifQQeyNzAGFAcWxrmUE8HHiQwmc27B7XWu6dl
FolF9uap7ch+dW7bttgI9i2nGPsHQnbcMnApUMynPqfqpsy10sGZPGTRULyOz+ZajovOWUcKNURF
Ix9fbl3NzuWiwzh4XzisfPnD7t/mAxAH5mhu2I5NFWBucD1a+VMfU+C06uVU7FU0oByqXSEZXBXQ
4JK4CXhPwCAVtXoVv0+D0GWG6CGJ4ddtW+9xW9UMbduN9fSfAXFYVYAJbBQ3ZdWrEJM+cTvVujHo
/u+xgnexnY4JbPIlnM068paFtXu77R9NlWa+Nq+ut3etJfcVldDYq7sQ+pcuy/Fv8XdQUB4ekiP3
N3oL8H9qvtz8lo4J+otSTn1X06IboQXGkLkYYKYhKBsg1QwVtieYgPIu5qlAy8571tcXcOzwSaKu
it5ogHRXFQY/No8g1C735lGHtvIrtcpfEnQyVhat7XZI8dgAZ5/xrnfy7yu6EjqohlCIKfsiKr+p
8j+eGAhf44tbURSt1peHZ3xenECCzuiWTF5muIHWUO+GEfyTZfBV+heL70u+Ya1WAyejouTBkn5X
wqBCy9e59w4/d9VY/LT2XH0lQzMtFgWZmhA4LhGY51JauGvVercfk8baZCV0JjyG/FBQBQ0Pk4sL
afSwCjmz3R33Kt25UDSAYQD74L5dSCdUcuHFy6UWotrlktxUJoT3l7i2fSiUX/NhIFU0KQj1g5an
5jYjHbgq0t1FWvr1cfb2WhW4NxFZyntI48i59AlwBIJCMS0WI00E7e2DupJn42JkuZnOtQjCbZZo
YGmOTR6c/RambW5nUVoa5aG3hxxDOtuv+IfVUgvv7nYxZFg35nVWamIhHsuPS8Mw/3bP4NPNXuuO
cg7ivbLnIWiPkUjQK4ZDsmGlMv0RQS/m8N8QjT0pOwUkyj6m9Ibu2+1JBx3K3Ck+jMPoOGdxtU8Z
OaQ8++eOgWLA993gVbwgy7btStVwWCb8SCHZ1jRAwdR82OXH6y0ebeKp1M0qs57qxC1MwPDmgalO
KpBEQsvMrzBcfkLZNOggiNt4L5jckM5fmx6HWHj+L+u/69Mt08U4wSFYEDqttvO7tsNP7AHiYz7a
lFrn3edm27xjIG2biFOBYplP8kpzTqH4rpD4aD387azpB5xnTR+IzYkpjro62QXmO165UCtfaaOe
V2sMBfkOE4+QaUsbTYBcHVMROwuoFjl89rPbp07H4o0CAqKrBhtFuEY4r871FjisnkPmdAusajna
lyNsYS3jyiTZZpX+Tn+bRLrAFyJE5bGVYJcLzRK/IxxX6CAu8e3i+jwpRf6V36zdRgRkkdCVbXJh
Lo3vCtivco8bu536dmNRarkpwvfy4VV2Oqm2K9MmJirtZTAp4Q0l76BKi3TtYltB77r6tmsApH/8
+2MPjMktsWz321MOb4GiR62L/DkvMFqN420EWunciqqupX6VmZaBWmPcDIxeZRrSIjIDPsw8uF2b
27apICO+RTYoFeRMzqtTw6PhQvk29kJcfxcbJYu3wH6LYJqCasqmdVGflSkAADYqqIN8c2CSn5+d
rgAYyEar0udjgT/qncopqOy8ecnTcwLTqBk9jqO6afxjYTJDwRi20a78wXfwNTiZgWwKPJzkwdAC
gq5pOZwpNgEjFjNXt3jzRO/p7zwjiwI9dnh2vgTiCcwPa5ocAhINOq+F270XasjUJCqBtYlbYZsR
o3J4YReUo6Tgx8LI7Tz9VDuzRwpAF5vwxyHCXhHvTWfN+T0NQaKkXyiaDWTu2aUPnFP++t8De8DZ
OEHmpQZDkYGdJtQPlqiBCCB2VofNNkhM0npUoqkWCMQ8v6vcNMdP66/xE0H/uNr61ZyLJ+npbX+L
15fotmwsq42LNuCtcai53FEOSCcX3aeN7vbffhXPAVZv8ULvZrDqaoshyfhPIPO2qEQr/wgQ81ZW
UVJIXulrLMOfz8mhzWAn+y554pF56motCmfKav4HXgYaW3n0ndfvycvxu9K9D+VC99RgSmkVj6Ep
aCrXuXGadFQzt/cYFmZ7jWpThy800c5TCiox0aHSJdpXyZkkuUqSZt8q00Zu3jpWImVPBYR2mVyC
KLGCKKa8Wc4nE2Wmx9IrCHBzrc2R0/FcJsjKmhHjl7l3W0fll0u/HH5fflm+Xx6A5VhU3Vazu3Ua
S587s4QOP6A9RGzoKKy2oYTirJSrdZsNqmz/XE/ESKpGqv2J+5FIux1GdjE3aQl2cVu1JCbKEAEN
D0B0awsyQ0wljmXm2Q9X6lX0BZh9Tgt/wd9yBHpZ7ggzoJiXAHFQtahGYg+DpQ1KbrOe8ggDibnY
TTll5f0g8eI4jN7LvLMoRHAYtMCZrwx48Vwvy9VzRtsm8J9LzUOtnDskcHb5ioBqyng8q36AAdF5
dbuzrBlQgW7iibw7IxAjzJsSP1k/rb6d13z+IcNF3Hpk5qoZ0xefdnQ6avHVlBBnRIiyadhlhriy
fAnO1VmvBr0d168AWHoP6jOgoUI4vn7bQJ8gYGAE6fj6I8soL0eLY0fEJ8iuGFciNNWpHDfgDIX3
8he1slmBF2gvTSKSU22j2jy9b2iEFwfKJFuVHPink2EU/CpW94NkQOgPKKnccMs6XPlccoU0DHDO
8yoC383QsyrRjTl2qtu29MT+2DaZjrDwTgIBOdwsJ/779mT3WI/cdBqYezw/p1b5BQ5jJhgroFfc
OLEwl8QN3RExDIpTI2Q6J49GdXFSiPP7a5jNKEm4FT/9ZDGdUG9cbAb5X0BJpW9eBX3+dv13CeO+
v+fXFm2pzalTVhkja8EI/jH+jZY3D5IPuf2bbVtOZdXxvaWgdQ5h9dgJYTsZBQj42R96mwfuzZvX
5cvmkoiKTtUPx8V3EoJgctYzIyfjS7VNvGLj/lxFVsGhbUwQclZz34vv3C9tAzLju3283yWO2Kb8
DCW5mAiiG2XK5JMgS+4SkItq7E2ZCw7mnUdR/Sx8lmrSdvNfqeKa/BJRJXSvyscmkQUmzneBzZkq
en4p7QiQxzeCkrCcfNYqOc5619Vr7i6wC5qFuACHWnO5Fm00C+uYbKKpItV8vbLtwK0Wj80JwuYK
wzIrP3xfVhJLxgXx/wG/u2llLi1iVJdJ93wR3qE/uG5G5jqKuHalFqrfDt7UqMpMw6/yBRESrzCS
M4a/rSWqfHDLS9GVhMSX+1VGh4Ao8Muv3iTDAn9Bo8Io6O/k3oU7nzAzTpv7RnjNVVC6htizq9NZ
uzJpSbD4cPdz9i0aNVDd7prB3gBwPG1rwXksti3B/w4gOF9qCV7C14JQZSKC7bRIhFl0IWiLLMt9
R4+p8jcrHmSbFEEcQ2japAuxvjaP+zABTrwoZnBk8/HO4LDr727SrV2avLf6u5MqxqpN5QTxwURi
81PFML+5VYU+hkNSP5mKfm8zQuSKjudBuZZk7+Ge3GE7DdyVBas+FG6hgiUehvZWhoVG9Bv/Gvw/
QTjTfBbxedosqZrhsaRCcAFy0CQxO+4YBhl4oZLv2LaskRNrkzAPqZRMCx1iUEdckuO0HS6ospA3
AZDXnx3c8l8ens1xfUK8KKbgh0X/9KP01sNtbAm1LKY4BQqd1fXiwPqBqy1VK3SKaptXMI6gumaN
rZKC++324ib6zbbQ8ZByKkmFH+tHCdhlLB44rK4q7qnDXrDdFsRxE8idFAOvrRzAOfZHYiftSogH
Fj9Cz0BYQTDxm1MAUm6oCAXiUHRcErn4OC9jsmpzIzwLKRw3HCOhfpFB9tgS0G0QJihgX/ndmGG+
HFJnf19IVz+mn9wes9NYnnD6EWkKYryxz4XMy/zNTjJ0DYKy2gYiLRnv6/C4r2xBNagDisuJtO2w
j6DizOXJp/SsiysBUJIXntYasxldU6tjChu4v+pPfCnFNJGvmXh+6pKIHl7+bMFUK7nltGU2KX7H
7Z6o49Uqb/d1XMo2i1M3NBLJZfIprRlq1Lt3f5qNWy5yAVqLjhwLQEnbwPdKB1aEkViuMCg8Y2MB
HLIKLYvMvKVtersllyqlcMF278Drky71l9BnVfFU0/d6uvwUOs+nSp086KLYOAFwynsLYaQZGyR+
82JzyLT9T27ttpA8TYt55su/Wwdttytd7aLQriVyMeXeu3smilIe2rIUCiRZVEdHKyNJIYThHOiU
ilMKOiulOJdtkqKh2irayazTTbFxO7V9kIhIr8oL+UFTeA0NDZroGxQ1zxPPas3akvMMGjvl+ale
yrU+79WoOE2vmgCE9mrynrR2j4VUq2GQRj0k+XyYvbBeR6VnB8kZlGSKYm3qstBbF9L9OkiVCWlJ
fJPdOV5jOopc/s3wRrI0u4far7+7FGJWXY4gYSxdW6JmaKNuDcv0m4g5704lj97f+RrC/KlmJT7m
vjGB9xTQyVBLTQ5CTpTbdrzZ5Sdn0q8wYjNk5LNB/b0upCVZLno+FEn+8TmXe7f0a6jZJHgDyvPV
Dh6HQF4gruhQrH4wvotEhFxlESi/O2bFUkze2lbecbDOjWWuFdxCtjk5o5DWyxltpAi8eIwFLn+7
AX05b7om99VQOWR6H7lwntNlkruVhdb3BBpyfIzptSs5/HJvi29X0JOL/6BUt4aIoHD46PwEVyPo
ZIaE4Ni8/FjgEuxcNrJ1q0PkDc2/gAdWw27P3kTyy4DuPkHiJdrl5D+XmAeE1Azn/JWKeMxlLawV
f6Yg42hlu/rgIQ393g2Wk0E4YyThfXKe7G6jPFWtS6yduzM/Jookl2Nzd4jWuaabK12p0GTSLzc2
fpPujwlaG5jVvBrpwt5qqZ3Sv2RRstNwqcen9uFp9+Qo+gdVpb2jVGg7/wJh27mtRg7qbRrv7yoI
f6GxHKDmhZmDuPQ5Jqt1jY6zRpUW9Do+5lpTzORTtwyKtMNb/Vl9X/CwqvUZgWfF4tq1KWxwZsrZ
KIvrrJMnuYJLvTXMYr8VIgwGf2S9VBCKKlgq/dh/n9cPAUR4JSpdxySzNtSds1xpznSzx6cbHg00
EwXsTUzrz622FawLKG12ik+VzGvR1h2bRaEwcmqHlSuku0IUDvImdqJturuncjIGMsrEogu2zdmC
6mcgjncWJDVggKYTCLYa/u15OUkK+bRYbVZIZl4R2Jp7l7cUHwvtQ2VGp7fNcNf+LZjuI3zUdWY8
gFmOqSZebZPyC3bBEZH0qaCIrw5/VtetoPnlJuc8UYa9Gh4hO9ZoQpJ7+ZTVkoSazMt+XW3+qukd
VWJ2lpd7MolG/2ESRtpcfsTpUyg0yHmdkFl6LqSmO7CyzoRLZgH2lweAp7JjF5iPUXYynN6iPXSw
R1SbMXUhnR6f2QGVMw5SDq1cYA4GyB7vosVLrCbEIqG0qARE9qMcSXKpYOGiejEfTVCaGzANhiCa
7501z0IUNZNrWPS8PjpQdrGx/XsizmIyi8a1lDJYfpWUPoPxAozExdEjmKXW3bYCkDD/eXpaPVd7
Yo5lwOOs3umbeXop0Oo6NIhmy5poWzNsAtnjrC0uMppOzU2kG2pu01aQ8npQevIpZYZ83yivGtdq
WPvjrsG5mLwxrhm1YHV5R7YIQkGNgg6cAJmCl4vi5u67/7+RjKgwazrP9MAqs7/rZ8tPK5qqpCrq
FLMPaDPFOc1fxzM8s/Ibzbmqvzw2eXSqcYdy7Pqy+E55PvuYW+tkRP//6pTOzFQq1UXTtvi0D5qr
JTejkBQrWmM4VNgJBLcN7lFly0bSFYEI/y/EKDz7+hDeF8ISUSTftryOZ8nS3eQLwreLBCiMrc9R
CPhJ/TpA9D7km5tWqGSY71Otr12hU9OqKwBaEoP/7teWn3uE2TeraB9LCLOl8AXOHwkQltPPUcOs
fAplHFQHmcmRXx+ehPnle7Ioxy4xx7ddtvgubGdL4lg4PI7YFdif4NMwrF+bYuRWZXQSSHhCy2kh
EdsKbqim3XtisfO0td9/hrBK8LhL8kSCLlI5o1gPpda80JmJ27bNQr6Ddui9xMZCtJwMDPdLQsfj
2GjLk6t2LD+qz0ascU8OxxCvsC6yl/EqcQ9X3/sH4zHc1/m97UzkTff4FfMIFERi6kO7Nna3qjdr
gsIjE/L75TJWB1OJBvq9pzaxXE4NvqwoR0e7yYf83W0VcFhlkxRLpceK1N63/aVJZXPP+bjp062M
v9xQw/SCY11KHQebdAkBu7+U8xypP9Sie0/c4n4pZ4gT5QVupICYTJ54t7btqmRqOmzNzhocOvvs
Wyi/XZvZcoqTpyao9qZFkL0ixoYtOI7s5nnbpcC1SDaTbrX4qRMkGrcRwFoHyb69Et6rUepHq/AH
9AI+9qW5l9wSKpE5axOCja9eVt+gkX5o8YiC3NHMlJlftXgq0C2pQq1wXUdDMXfdLk1/9wRddKyI
TXR3XWGhtyFPW6NrRQQrFFNxkqthjBztEeVUgHVFxttInbuMr8kq6deV+gcZtDSMHnFJnaPjQWRL
iiJT9Y66tqaczYFQaSR4fA41Fu0yTSap/4mKxIf9kEu5+aBZBJQBIsq9Sr5jTZk+xkPKpmY3nid2
B05Nrkv9UwY8T0qbzmTIqs2+DYOUcZZCgcE5VLbBK1b2t0fGdRJQFObPTrG7kds1bslUpPRX8yMT
nlm01B4NJKit4tWUkEW2tejl9Po14nsKghLiw48fEuqHlVdXb2YY6JbSAlhTXXEpCVixtSF7SDhN
cekwk9baJ146FLgWb9tRGemeWGiHNHkrn5RSDPhGLZa9kGUvR2K68IVuslKU1IrnrDaZFE0oRWfk
tHV7AwkHsZqqb/kaBU16/ZmIi79Jkypm3DO0YUD7n/JksExujY3A9MGTmKqihrcXW1xC2jRvzoy+
uSWFEfpvV8A2e7NaxQ4TsCCVf+1peVVu7WWTEaTGZMDopwE5Kp5IAiFI6goJeUyXlY/0G4ZW/UZC
6oxjTWruyOJsF/yWeWdB9rEGoW5f8eWUVihKi4R7jEGQW3z3qQKlkIDsh2ZJ6nmoLfPQS1Yvstek
l0JrSRarzXWpHxA41klOgJSN2UfG9FQK4U552hV0lq71AheoclZT50z9kwB6fHvJF581NdbXdwso
i1YbL/xWm2Mcns9a26kMogelFmN1XaSs8a3UKr+i7GvkaUZpeLAgoiTOsVo1/1fmaPuXhbTy6SKp
WIUMf9KqTIMgrhtDLlLUIRpcKf9TmC+NHK/VReNLnMOgKYT7KtHoDk5QA6kcuzVBvloxnSqUPs4x
Kf1mKWsoniOef+/bwkTZy+qaFD6VdYS2jrVTD9A6hQyVFXZZAFZSRMNHOBsw0lzjOXWjDV7oUySo
fRZuTdOXiXcyndsAXrKkbp4rWSskPILJLU9oHqHxcg2x0uHHOF1uVmsgn/LF3H/IjIWrUgsKOedG
sL3Vh+I4ddrdSYeD9cy377JVaOltsLbMrvPKaDgIVFeJlSBR+kL1p3ISQHf32Iucy0lOLmZyq8kn
95h/9vnep6oEpyqwTF15QfxhnEpfDG3aSJv3kbu5maS5aWOPKbRsZHoHWEadK7wi2NRidG4rbrf5
VvqfjqUKUqhfTIPMsXDZQvKBU6VzOyViH4dLTfbUx4rttXZWtSYXKrp0966k6XUmBMVgxIxFmWZi
JM68HZ+s3O4UV2vNTHsh9yiIZ45S0W0IbfLd0HRtrvvlmgp+wyIRH/GQeeQbn+yhtIK3I5N6ZFoS
AimeL8m1xGaV/Q93J1e43lheDb+2IRlslwA57+xSLDmGBE+25GssSaEE09CamsCQjy4UbZbqD/X1
i36ZfP8wDJmFKJAI9/dzeZwqlKqzHRMvnttSQkHibxgsJVZf1TfPi94Y1jIAogUNSolSNLeEM9IO
1O0+ZSLRSqin3NxG0XJqXx094azDU9CM5ZnHIWywnCqfYhY7cFx2lGM2A11+RWnWX6lMFdd3uLbu
lNVcZBMGZVaO5Vr7arRbfcg0lS7W8mYeXhMv+3WfqhG0HQb9cLZN0/Y87ZnMUtnBfK+zWOAhaNQL
WnyfUwGPcS357uRx8TIxaa0++6ypGrTmDBZ1H7CWLwa1XO5xFopxugTARurF7gdpRjiMu7q1JqJC
oiqai2MexUAz8GOHz6fcrsq2N7TO7PBMw8zbD2dtcwkEYiGn2bFGPAXPgAo98Hd6UgzJUTsQ0oHx
CIPgsDxVfhi+4TlnFI/kjnhqO/ciGJNDhT85ducXv8wf0LOZ8O4NGfFl/lD9Xj3BEy/780PCNC+T
aX9jgtHgmu1tzBhadZkGp237sm4unmv9tNwqGEO03jW22cGtezBtpOOHG6V1XLZOx5HYLzzHmt2H
gGqXm9Y7qyl61zVtaROroO9KvFsY54GZWmtQKXfBH2bGq6nWTHO9vVv9FBzDOx+IdEmvru1fJsNT
14v15/IooGzAVwxcbJcTlHpWkwfpsim4mTexJnNNVitv8Mo0mvcro/c/P53pZUZuPStRa/tn/fO+
/P/qO5fyReNOKtFsGBwuIENerbq5Ips7YEb3Qbs5bMPi7dRy/lVPgmehBYZwPHKms11oxvtLuELh
3sk13XdZX9mzFD0me/yh3D25pEUttUSi2F8/+FFPTGL51Ci+7Ul5HS22dcWIfp0PVqPdaD7IdXZh
dNRLeCwfKlLc9qWAG/y6qRpBk3yv4Rj5MDt5CMj+aWiJCVVQV/Pe/LcEnkT3Gsel3Jx2yk2uxBgd
VbP+9GHarz5mB4WHTD9A7nrbl9wdodbCjUjXfe2M1s53hR1w2pWNeWvrvmqgEShJuSNAM593tG1T
MC9E9497T4QBjTbv0c9zVBo7dQlN2V6eoib/lN5bl885deyn6XDWrz1esukKeUuHtU1RtLtB4LqU
2oXWFaz0vbxpU7Ka3QKMOIBWnivvp01Ta+bahrcajzsQROUHSm+9POzab7m/o+H7SEHEINfe9pna
Iw01/e/FYKLI/6vZA+C0HGU7y9H52mJBF4uk2tQjUasmUMJkGgX5DCzXvk6DzoBxVflDKlX78821
36C6Tn0m65vAXRJkPQ715Txi724tNT+7vFFKnVai8oBu0LJ/adV23Y28Sx120sHAyrTHTUZwmFVg
b251o3vF1u1taZJKtSlQKztSiyfHUlXlZSyn6c+3ncVT9VFCOw8Jf204Pbdyw0n/3r30L4yQVGxU
7K06lSFpw87kkaZOYXjoTEdUJ7y9QV9hn8DkryZeqREp7wCad9FFHmqlXnUIJdiEzOhVRmJD49Sh
gW9BMZgXN6EoDCPMhP/XnjwWH6bdbNXGTfrFh+McnSLTLAw2L7O+J3gYP1hiUjnXajdgnxdx5Z09
hpmmsj6cPAo3B9X+qVIvDad05WQW3nY2gIAebT6v3TsHPTjd6pf2qV2sRZmuF1Sc1pp+WvVX/Wt3
O1w1T73Jx5YG4+NmdO9u+ltR7q5RBTpun3JabRqVDXJZoxmVJsrAf6Osir3Fpl36mW3al31nMhuQ
Jgo61Q/jaULHenWPsofO8RxU0cD5jLDunXR8ASdMi6PN/If8AIWajqj+fmS/AOoAFsf9al8b99Rp
1oblUz93GmRXvbuW0bqnhSoZm6D5KeeBWmrrgaoz5b80bBxFFmNw7O17wbjT4wJP5Kg3j7LOXTUM
NHcp2/mOBiAvQ1Bg2jL591sjjJ/badA39Yjy5dSnbKptSBYQy8F6BCtWbpKdYFqaEvpix9klxVQO
PabyFxHqUgDYkBmjWZh7dsz3KsNAwu2QeW5aptMsBovHy6bln/KdWSVlsTUegbPMPWDvVI11O9ub
x6pMSNrW1vABvNHk2S87+0LICJk90d/XlK6ExnWV8iSYqQfAj9o1CbwQOelx8hrH+9vIF/MCVa+q
wCCj1PFTmdBd1I0U1PnVYAPcGvOuxpLdsvDWu5abq4GVMKzgGXWhp9vO8vz9iFvr3OPsNN4NVy83
J65B8StPlFJaqaFFGhyiLwtIyW3uYm8eEGkf+a986G8d3fZs6L2aNjha/kfUfTU1kiVRAP5FipA3
r4BsySIEDS+Kplst771+/X7JPGzsxIwWhFR16940J0+eHFj37bCYSKGXPSwAxXsE7l1b50QuQSpa
97CB0qWW4FlcznMdyy1Um+PwmQ0iEBkCknnWwxUn+9qxJ5HwONhbK8daxFlM0aIMX4ctg6g3yAdt
UKQgs2G+DRoM061GUhmkED9g2zVOREYATj3ZPgpVqsJzmpOXDtRnM2/te0ukgQ8e9UJRhzhSGr2y
sXXg3BEYvuf+vqm5ZT+Uj+T7igCxFiU3Zu+dzP8jL1R+EUhmnfRDiwfUQGXYS7q96ZbNCNXe9mgt
RKYtS4dLng8h6ItGC9dvfx86F4MzVurQT3GBy6EMT/a+UT3srEZmmNj424IGLwoRkRGtPzOdmGc5
78d0x8u7/LEKsZaLyyCV0o+99Md52lbVFPt8LGwk/SFFPS3FRL5kS0t2RMdrWaOLYiJLpqcxk/Dx
dkbgb5aZqVSNC4ytXu4tTWn8ffi9fau4tWxbYngSI/29m95YMcRy+Zb980BOENCXCbRQoYhDRLQc
spDq72v6+M7Pbjye4bZpG6sSxos/l24XvwwWrU+IODT9sKArFa8cg7ld9ZW0zUtEv3vz8XvdH5cb
Loy3fl11xSoRs7/uugJlUeiim828zLrT/rIyqtSv7Vm32N8jMilPD8hKJbnuKpm/3aKlb9l2leh7
doVDpehk31+6ZXIaY1cR8Yev62Q6R6oTFVxNkch+19wMoByxuR5fqkgRz1g9FxOTS6y++CQrMoxI
SjAoHuDZ3k7ll3N7112/7TksOnUn4d5630lTI7gmNAY/Znjl2/Z2tJ6sSq2sHiKTAQfl/tRcv0vL
sEFgsAbEZN42/3fWhQuUfx1yLSE08KtbaWiZZrh15BJ91ei1/cjdWhhYUCh2KJ3EHCJllPnZc3fE
dq3FoiNfF5LLEyOSXIm0gLlEcU1zKFaNJHiDSM7Af2CziM2EOfdWgS8ijwklwhD5WgwwBxDQDNCb
ttdDpuwy2dyalxjEYDF3rfT0ncldr9+gfMLsRMp61nNISau2un6n9pNUKVFc0NaZOrWzuTaAeJnq
7I6S5lKjovMuU58qTp7M7fREKHqPJ1oL9eKRQNdNuMf+6eZkn/hPxyTad8huoSfnX3YmynRXI45n
1wlHyR4E3RNqMG+s/8DYQUMOpdAESzdtzuK5fT41bnXrIZVE0/WgS9n6JtMUFpuLpLjFB/kUbCTI
CAJn1g7+iVm9juRj+eJX1KHocL6g9f3HcUM/Yb7FtHB3YMOtqbCnPe/v+RyTdlWgCvcnVkkuupeO
mlFHQbe2/5MSNS562SYu2KwovqCr2t4nFUZOZG3y57Kle+peps7f2oUtmXb2nUwyH2SS6SDXvTl5
5vgF9qE82JSgRypAC7n5+FXKPc/6cqvje7mTFeWEIlYihii+RjsB2Xmqr9SoDT/KNMtHE3TJqPeK
vU2+PvMboU08CgLcZHq5lDdp6/KNrVkwxOwNZsKar0gZgGOosIVlTwcsZKmfal9+XbOtlWZa9aN0
7dbO/ar0Nu3rv0rvpvezb/JFM91JqZ+pYn0+2rf29vfsrdwpDorTTvHUnvWP65fd4WW7bK1R7dR3
eufW/P3R28+eN5n2qfZQhUiKnUq7LENtpDR6NB7p5KDFzqQB8/2qJoO95lzIJpNQiY/NNOtojyn0
S5/i+IJiwOhCGHnTFNyPu0TzS33tG7vO9rvwmfvMdysIcW26wm+oqvhOUxLQ3dJnqmHDoTksRvtk
1q401sSO1zL2+jrxaVZBoEdU2G+2VIgFaXSSE422UxFYqbHSbKot6HU8KPSEWLN2sXM9PJfaORa+
sf9ItU3+puKY7ea1Bt1f/HdLVtt2z3YX7RxcsJdqZF9JthdipNKtXYhbSbU9yxO9dkDdWC2lvRiJ
o3SOjN3X1kzFruCs4ER1zvp/SLyY0EFmn9Ti9WPc3ejGmjEVjhAkuTMzQ/eDBONuZFoJ14PoSpk6
XKDkbSj82wIaz+LOiHhSfa12VBCBw4N9MO83A9s/gvBtc6Yh7DMEmB077R098qZiBPgaNWv/myN6
x2wkpkR5fwTi3wxG5ZppWmJth9GHpJNsArdEi9vfNauYa4jaO0SqgcbPdSQ9QfVWLXywSx2H/lYX
eYS57uWT47HOmeYbxtOPcYtvEv60HijoUlI+fuT59bB+t/r8D6slzBObw8Pjq/oAVp9jfJP0ZPlL
9IYdBPMVhoyTSMI5hn1N7DBazQV4QkfUpFCvx5POJ+7xMBtSwnccwKLb4TlGZcl5o6ch7vV0nJQy
e+VPoRo21mEKkJSdzesKhctLgqTlwxDn7tTB58NcvqV6vM9/r+d6PrDyc/VHqQuYy8R0z1mdnio0
60L24fI7q/O8tHsiAfB4pv+gB03Y/GsGFl+ontRKL1O2E1FBANK+p3qS6022s0kbSzg3zPvpjrxx
rgL5zEJXcFDqKmEW4Jb9UnJ1tdfji/xeOTz3qF714p/JpTWP9yTAnZYSeXn+ep2jKfay0zrlNzO6
i2PTaKrLWfWGvLqqYaxkaRP57VvxNpzNOuV9Z9XdPbAub8O5eLlY+Z09tWZ+UDTFc3qu3w61Smd7
rF6nRDU7h0wrt1JAeD6TfkIBOLeNN8pNB+dMHxRDdU61QaSRWb+U/+xTvXSmz8mfXj2punazoJer
iRhCQ3taWtbBLNcmKAk+0WRd6xiS9aaS4x6Zt/MfJToUxjX+WDve5N7aLno5oYbm2O+FKSoUYiHH
NJW7hjvqZJznm4Pzt8wR3Xf7nfqUqr2mSlWTXbYG7piRw+h8Zj9u/dXo+L0blf7eP2Tj+w9dr5/L
3pav241yzWnP7AupkRHL3fJrGUFnKANc0aN3BSsMkVCLnumyetUydNLdxWysO46kjqPFYDe6kTxd
d+aPdjT4QCF6BDzL7bzmypazc+MZ86Icx1X5b9c6hVFPDCSJvAZmzXYZgdywyxvLcmcvpXCEyMAe
fpcptT86ashQl3oItqtgCCokOmOfoPgpMiIf76jtN5HvVlqXZfP2+xzzp+5tBd9rD59XZq5sMuJU
o3YC/Nk2F0CEZ42LPCXPbOb7cDMA5qmXKEhEycm1rnuRDs0bhKF/nA6/HrH5dhhCmmZ0FhriHNrm
TvEjUqQ8sxH4UKgWRfBbtjSzm/lktMT3vRDul3joE2Le9sNHjCUtTMSbsybQufjhlHd2gz3UZzlM
tx2FwyvsSQd9TJvF+ikDbMBNPUbi8nVoKT3QkCvKHBTWlYN9AX4p8t5QNDnYzVsqbth3t8g4GrM1
Cyk71X6wkcPdm1I+VbWWLMhn3aSMjASr5erCxuQTVoe+4/1TkSHiK6wcWIhRzVpNbzXoF+xl31//
cXh3JQLD/kbwzK5FNAsr8kr5pcwjeZFkOoHIjCWLISrv4TfyyUrUvZHxnTqxHVCmI+2K5Mpo8ZbO
frdlYd2SrHIVNWikIXymimLaqTP9Y/kjr66Be1eNB7ldAgYxqXTVKDay7UdH2YAto2Z3lxVcugoj
gZtJWNMVvO88slJTuhVcAoXHE1ht+7c0FctcSWjW1p+mjvm78ocNxAqVEwDfmSj2cxY2qjKCSos4
QFiktTcUON+Gxv1Mb06B5hEM2puShJEz+SrX8mNZIX6tGA7lWaNjXd6RbR/P1Zwsw/CUeiZXZ4YN
1hZGyPfb0897c5arH/8eWrJOSKiUtgbZxiRJF6tFD2nvIYV/WMAIDAItC6VlRmo9q+kH/vlp3sCJ
PmV/7Xtok7G9JLfi7WQ30HEl88tcO3pJuAwlKp15UXwa0swfLofrHt6sXBlbFD2b5C7kgRzFkljG
mic2YAX12aGH/PqBIYgdfNrdQMKHVS1RdbrlizGrNJ6upR2Z5CtO20xOMn+W4KjF82vLZnwRpv3a
TPLf29VMMLsb7W//DPHaD9MfF73Jnrm68bm3ikQtqlVRWE9m95bW80WH9dyiDY8uoyNfhuQNE5wr
64UWeVMB4VIHmjhgGcoLHgH3ifgJIFCz7wR6latVJgFY56ocvwXuzdu5AaScoklgeavX1PVFdjVL
pKzoHstrHYtvL6f0KKNnBMGjvOpoWom9i4ImZemp11zDzOVHGxOOx3L0nPWyyKxCqWW8iTxfA3Un
ulI7KMxmgWybMZLCOexAc/CUXZpt37s96lG2/8kPixHTWImATXajrGATeHUBF5p2BuBwIYcOOrDJ
8LPGcTwA+crVLWByoVVWbGyFJLvWtheguB8OXetCK8C+xrrldywxzgb0IhD+dZnM8HEt07kboadu
e9SMqfw3q+4rjayi7v4NLWpcmOCAX1at/V/ly9P0155lTLXUhKARx8Lf0qOXX9U2hdouO7gUausl
fanc2+XcflS1CVCTa/PRqdLLZtevbJLc6ZU2jSnuaRKIUR5Em6xq+oFpzB5EvKsZb9gpEqBhNcv7
5unfrVC7H6BBVXn3ulzPaAQTAuDKas8ca4ysPsYUJ57Hh9pG8ntgH5Irem/QgrTiRMmvbG13ONcc
4kWrRHX6d6PZ5/H8kNw/43iu//gsvb/iVNDADXKm82puniSLk+/PDs3d8Vfx9iUvyGd7j9RNh4kT
Qt9mfrw9bUbFVcXspbcLWQoFX9DUulPSvw+ZGUNsxcZ7bRuhP/1vl6tthGFZeXm+QCT51MiTsS9B
z3abZW2XudRWZ3G/9Deb+8pTJ9dffSZPgPi+Gs0GOuW/pr21SBiPPlduq2Nmj6bCKBZv9ygnz1ft
/KeYkzTYjPJaJAk5DxwsEYjsMR3daltHUoEYQOb0NP1s3TPVyPxHCLIUq2NTxF7K20YKd7jYtvCW
i5gidQQQN1P2uhS6CwprHQdb3/qNITjZ8TyoxCX/wX8GIB/H5B5+/j+8vnUahCLKrgX9AsfEGCXT
RZKlstNCdWzzuuINVgO+wqNg2QJuhIGwfBUgUf9Sx6pCGky3z3IdFn7bR4U4rFvqJvcEfnF6PyuG
SY1SJtAHBt/fFqraoFSdHsWkojK+e79lW+plqieL7u73idKs+miTg0wI/IgiZljvUXEP9zFLEJTo
nu7q6w1PwXBEzH+p8yZ51uLQmpbq0AVzd38LUBevkvjt2+ZVV0Ul7WbOeaKASzQGzFX13YRhcaL2
/YsCQ7aNe0qucK2NPcxNgqf4+HLY7s17k5vd19ZjXPHG7V0BRz41d1Rv3XtTdJhgtQi+ZA1IOKtB
9oP8sHxxY67XvLc49yra9CBCz/sEsrCw5V4qb9nXfPeYbUjFtUp8oMIq8ssXD0b4KNi+ZpqVtkz2
vm3tMklhUX0oJ8x7slG5YFQCZHRCWLGgDXCbtQ4m3Dgo+3VnY5zcZtm9fuiXvj0A4MIfkB+oHNLJ
lg+WQ/C1heN1Zy2TllRLo+IRYWJEj9HcKD5S6cmgdtS5/DDEYK7F67oPc5vBIrhRMlOM4r0dGrQz
UQX2BMulGaOF/heEtVoJhhGPJxsUhV23/MsEN+T1aeJDII7HdH/xiuHNQ7cM7RZ7CwtsbcODg1l4
6axEbSAnRV8Bhh0+7V1uLeUp6XFnWkRhIHjUyZVkv1eyVH1H8TRD6g9xmqH427QnXfH3IBeI+5jz
sMDHnnJySx8RjrcNG/XNrM2TjT2jibirOHroYjgHZG+rF2FDUshyQ7R56CxMKMzpv4KhpxLAphUU
iC8GSh3zmQyfMAiS0M+YBhmBp2ELiOWjP5s+tk66LmxBRL81ISv+C14YJ8ol2f3HVRmhfpVDzRxk
feJw9mT15enOKoQ+N1+aVNZDbf+BqN4gacBwAC5b2cj9PjPBLGX8UIE7nOAk9JMXKkcafrCseq4+
cvef+p3Ue9Gif5eQbshS0IvVTVjHL521ishQbeCe1Y5U6fRUeY/BsdozDbA1s/eP/1f4nZmUJlhf
pqKjNk4uX6JttkFgofgiWD+Hb9WhRgZJCYGqiloWjXfD2GOam9Qplcxzo9h0wIGfjacwegIR5KJx
8CktG7p/MGxh9QL0vjCwdJRGyD+7zml0Ahr4rRmMcZFQNjxznD9xfF7/qTaY7xiMIH7KJz9WdK3V
jZuXbiiUt1Q+oO/h6ImmKlkYgSzALrd3I0JNrDIsASce7D5KfzsJq2tnN/FRhnKk4r0rXh28pMzQ
UTFqAQ3wK3dfUdEWEkHGkzk1Xmq0wvoyqe9AsLfDgyzjp5HxIQxYeROGQioeAeu87lk79LCbE6Np
7hbhgi70Z0/1h20iPFiaCgA5MemszI5qhvOAHvUI5dYyoHyDgHLgg4X1CyAeKocFVmbQwTJQrr5C
GyAu1Zwek71xXMq9JE94ruF6OC3WDyMrwibsLIMiyBJV64PLOYyK38vebbL2jFzsUIMyCIiLGnFG
wkw6YWIdFy/g05jN5ekhVtwTNfp0+jvD1M8MAE9KNlib9o3HGSxQAWDqdHz7ELjpMGrLnHQXKOUr
L5FrZjzIRWc5VDdeiuQij7lM5OvJYRT3y5PSzRCkSVKBPIDbxPHOeyDPJ9PQNu7ZfAGhrX8Xb+8W
mq1TYDF5bKWMclOye5ay4XbM/zhgk3HXH3Qsph9K9piyQ/BWIrZc/pIBB9iljNiKUM2lYAxFWCig
fBKzqz3Rq+6oXP6438UA62QgGENM4QfAHnHxkQvynkihp2drAeugj8nrR19sGGLuwy6ETyGY+Vje
2hS7m1Vwtmx9BSldiA6lIYtMYqyYxe2tRvOhCMpuY7KP2IUWldDMuAtEGAoaRLbx5wHse0aKfmW5
RyuvnOM2ulhySjE1WG+At6LLQfraj9TCE2UPsrIZBZfdloZD1WoEezbJsusmRGANB54vVPg52VRo
Eo8OcG5Wni4dqSaUW8PKDw20PpOjyhHDPy9vNdg7nX9CQMo+UZ4vf0cIzqrv2vAYT4zYjbkVfSvj
OjztcZfEWC7fhaJYynMT/RfpJlhZkbTSXLEv5Ubf/sSF6KnXx0X/pLN8tMXidktruGrJsvaBxXkK
Px5GChGUHjkpbP8PVibMEleaZIm/VA41M0xdpZ8ym+SJDMQxKRo/Z34yLY/QLStpMqh63puRVls/
qMiADnDwV8psaoIUrrS/9vzrwJKwmw4oOjCg4MMKItMqGOQmnm0OxHJv5nDX0bvxQmurffs0Wgyc
cPPS2KZbw+5T+RtkJW+Rlting5u6r03Ae2djvrT/FuefjO6Sw3Ya94w/C+qWGcoOXNR/QAn5aLE8
jDzBjXQ/m/Cv+BfI4tHJcLD9gLdWm8Kf3oJGMDgGUqTZlx9DjEaamTL8W7QgdtYF67o2ywOsNMx/
lEnW8DuZ0EuKkzTjSkYEEkTDbnzaOxAwGM0om9h+EdbymLEoPa2hMbhnUll2D6M8XRdaXPEF6eT8
aMuQBgeVWZzdHyoyhtS8BXw4l1u7r/NwxUbOy3y4qmDztvlefZEX8sHWftojFzY1w6gF/HIL0e2o
S7Io07yMnMHN1+lmNR2GPZhGO1aPRZCeO6/MqkRaJXsCSdaRuR2az3iN4zOkwRETOUHthCFsMyRv
jjIbvY7Qj+k2WNd8KPuotedZAM7n4tJChrOJ6ElACkLDLSj/8BCCVru+dkHLZcxGd4zteL/2sdvY
mzRGZSBejKxJr5pi5ACyQjZxVUfdO/Z2S+ICjlOUwrU+akdmy+A/YCEO5+R4s134hKZcOiZ0oH5H
tbicaFozM9wWQCjFJMigoa/qud+VdyYs/k+Ux6Aos/SzUpOSo7jMycccvDfz+qSIT2rMyQFmZpuX
gEIuA3m5YH5Ty7a10QT+h8HEa/V1ERz7SgN7SVipfjD6qZHJ1eBDAsQ52e9LKz+v3ro3qiWJ9+iM
eiPGPY7fMTdYVTnx26Z2DyRvB2ncbriy/d6dST6cWYciREbAXLZx+EVlJ5FrEJ6OreX7uvy8/J1a
mfne37zd8IRc1japZF72//LaNzrneTPXW12TXOYprdmhle8UO4tS84K62Fr9eqAA57/PrUup/uhd
B0pN8+acRHJWI1TrslGN+3uvUOF6uW3alXOTlpxy4yWYMNfzJHPqrdEVlVS6yjDHkjr8cwjGaUGl
BNKsvI1fg8iTqdISzRpOnGtuRoau07AyovPHHcQoQIz2F2HSMVkEx6pneFfp1iJ2RTBsS+brSPSx
qxAyfvUm8n30sIkh0yrfPAPTX0mGrUSJfi/cvLcj/P1R5co5j99TNBUTXSkKNsiEiGbs1eBKyjIu
NbO/0BFQBA4dnkQaI4oSAAp2pQUiLZKhVXoBd6IsFM7hq2OSU6+MnyYA9ea90aZivROPdkXROsPy
lt1t+nVeAo52yXBJf6ntqCQVTGVpEIRa/p/BIz5fIU9v+HJmiZV0ogWr+48FJMHAl4fJZ9VVZ5+x
LA9T73nP4zNwO8KC2erdOdXarjXb+buMaC0Aei4lU+qZtM0A/0pGLHIBig1FWKpCHMGZV2wcBrBO
cc/XflgwALSgws9M2ZQ9Leo4ReLCGwAryldh3ag6clJRJiwvO9uPZaa6TvKvixTE4elkaGxSIBCY
etsmBgYXNpC9GPKYfy18lj7VWHPYnOe+x68+qI6oZUKKwLcp0ykGpPqLicdf+PRipA1fNL5Yvle2
bTmE+w2I7mF6ERGt/WjK/sIKCstumZ+2DinQKHOXCnHLPSbHaZK5veUB3oodkUUZ1HqPwZhs5s9k
0JlOeD3dbGO52CFNFhV8NasfF8Mbm3d3MbZOEf1Zd7jqOSAM43xQ/ibHtfo6TNaia87B+2LzUPpI
f4xXgzO5tTCcjPpi9s9L9zj7un5zBuTmhiR/J1P6er5ogu5S/OauwV2iDQbup05/1xlUC4RjJt1r
alvXwAtrD7z4WsOPCsZubiQWQwj5w1/rlSDNH/1/KtEiGrhX9zhu3qZo1tjYTbQQPYkbYsnQibb2
z9Kjys8RuPwOXT3Qj3muhDWGcjDPAQr3I8ZTUDw28UmtWqn/UqU41sM4qJSqe1mA9DP19E/GJ6VZ
D0+F7oqch+xTdSdjHnkqOZsU+I0IVW6f738tSTaRRoiJ4zkcOoBc7ppKmwzPyfyPRsQlegKB6fKC
tpqwbt8qnKNoA8nxb8n50EdAKTEwCTES3vleYkTrQYZGDkuXDv8Mwd0Hgd5RnA8dIHjXTuq/HlIo
0iNhnmGyk83MWjntN0G/Wn2J2R8tOgHLs9b/1kEE0uFtNGT8OJwKKZBRJpfcOvvU2wHghNim0roe
AlMDWNpiE13un7N7ozTHyxSiYgMRlkA1+YmDWiV9QvLhriOzUyG7kvMjbcrYlbuXq9Sv9IlHWqKx
OlgJMPERJ5TkIneIvdODVQgUSBkIB1SdAwE7dLjponDhy77U1RGhOa8N/L63rpHbdXMLs2yzR8MT
PQXCshIMkF0y+6KzVMHmVEwrbNtCMRmLB5Gt1DimngT2MhJs0DzQ7Flp3+/t8/e4KynfTX8k8a7r
gfHcy3LrBpTplD80r+STXFTP2A3rum3nuykcpVwz3x0b9jEjZ9KS59KrJBpYQI58Pk1MMVzcW5BH
p0BPFlk/myTjH7dhaoKhghIfkZI4iW1mtpZDAfxOnU9oG3GXPEQGGmUxteTNV/nbQaH4wIR7fsmZ
/EQnMpJbkLt+UmJ9gA/Q86Uu+sDNdYoek9Og9L4flpOMXvP0W/FbpaKYF3jaPMhCy+pqcv9YnV9m
o8XI+d11Cv0QZPzkT1KfzgmwJYibwfY4mEMdRLnMow6YRWMSDy27d9k9+Q7BV0+kjJAu3c4BnJbU
OQayGWqsGICCz5DdFyblv10zUDTOhdcELI71SKiP8hhPBR2MmobTOmJyqH5HQ76sRWUHCAen0xGr
y6tcaVZaBWNXNur3EMN42dWPncm1pqdoTD63gb46VKTshU5mkdgnl0U/9+nMEifD3Ig0cVzsbIXQ
2rKo4LaA+Mqh6bdRts03HU/NCx3d+ABCGsWn/KmaeS+gp5F2im0i4ha672JofKHPkaqoULmDXlQo
g+ikuYlaz2PqItG8Ujy9SYZyE73L5S1RmOZ4SSDlZVFKZq/jnp6v2cvhHXdxeqpuZ9UMAk2mk/+F
OnT5vfx7wDZT+vqhIMxfDl2V+8eXSFJ5T9C/4Zi2UMZZe3p9KWmx0NWWbaa7e6S0Wxtstim1BR9b
+fbF5GpgmcUlSimALqPg3ltEGlkfCQx/QZJaQHChRHd/D+onrXP6UZT0aMJtD/VyoW57Uz9006GH
y7GRBGR56ngUEQ5LdRHAPOMEruf4AlZx/5piUM4asQrGxMXKYmx5dRmA9WLAdwsA2Mr6EBhxqZsy
B39CtcHnoEL50827qrRvc63u1IOnTfYAYoVPSLPNlVPI9NXuQo8iPBA4odYryk8jvqJchoCLNthy
ywHRs4zHiIQuolyna+u+ZkFdEI1rk5SFfqmE2rPWPplTJyD/ba2EtNlV5g9d7kxyTCXq8Swb0wxJ
C5S/1JJs4V5KZaanD+BJjv3XI8lUcFunjmTbNT0YpMGms//BiNUkgkVD7C6cOwSqRapUcsQ77EaE
MaNSjTSM7yL5S6OJjuxN9SknhYaL5UOmZMVVRIB/c/v4bIFlDpKtZeLuWdDLtLkeihbOxZ+C17Xj
a6SnB+s19A2uwx4gvHVwK1/yObEALjO00cxSdK7Y31Th2BKN0Gi9tAQf7XH61VX5p3Lt4OBEcuq6
TFuk4PTjvF8O+KAP6i041XdWgNdTV9ZZk6teh1S0HqwnM1XCYdZ1E4WOYl2bIb6JWpYGzZaSrAIh
mdOeStsBf8E1wlwEiBGo4FMVOtnX67r5YATST6kNxVF7ivw9oYJfdrTHwx0jdRSPSapZyneZM8YJ
32Pay577qQvoQRhKxHZLZdB+/yEF58OIJfYjU2vbpIt1iowkINP068giabSJnFH6eNctrrjqTEvi
F4meIe5BZeUU6bFNHLlccJux021txs1KYjjLvvcNfArQmoFs2mWHjJl+rZ42Hon/o2XBjqR8ngsj
mY+WdHkRpQSpkWLfLGqMNJWcGIN4Wf3NAHKknujfsca16/BOsO+cKL5Ka9VZxR433ppoY7FO7miz
iofj1rgNh4GUkdiZ8fLQ9N1hlQdWIKziT9BQyfetO/a0c1mYkrwMbAo7w1Od/mEdsZ4Sigc+WSbm
zOq0LGiltBCYHoGgB4gXH3ovKEt70kwwyqxg7AevCoLG/ofEj6BRomFAR6UuEUy3YSSWGyF1ukFD
vv51/oPJD3icKMLrs5LkqiNrqNajXWjgXqlzeyrCtVuDfUEy2dNIaekgsOdyEzv61uQegUGkigbu
XVkBpfXQ8Sma6KGdjAved6g8Nj07sqaR1TSYiaMugR/Gu0fpDFqEDCF38QEcoNhBzi4G0CrOE1XB
BpC4Q0Y0OP06C1y1r1UW31ruZQKJhuiDJqRKxO+xTYMcHerAvnjeYDQw3QbiS9FBHMMyEWVhjI1f
iUPVcOzyqU2YPUctki3X73kDARhS6nuLn+7WQkPftSfyX0Un8hZpHCCJ1oNIX0ABYtfy8wo8E80F
jUcMw4K4egY7Cj/OwMMQ9GsHoMTAHBDHtR24DUBHRF8aJMlJamQww5jbcGJGtrg3edYsTgBJ9rqh
xD8UHn/HUO0YsgBSABFK7U7iNoKcqEmtxQmtEk0reLTuim1TrUHOsTFPTGiv0hYEgqZuxmxDdOse
qU9EMcMXMYSQ1gCtTbHSGM/cWJJoY+1ZaCMKNmHqUCigYwLJo1/DuG1drhqKg58Q8KhcD/as4aTj
y4Xp6NJwI1CPZpIhkbgimEe4LC5wWVZMMKIGAN4lsCm4yfzo3TkgseXgOYtqyottjzpAjeksJgjC
SmUThydDNe1DASZPXgushBaATh2gLhDd9Q0pBTiMmBHpSmgayM+ImolRLxchClxbzADI4w1FgD8K
I8ymBfUavFX8mK3olr7cJhD9cx7DOYQfAqiXvXPZOFJkgCs1kRrLsWgtiz3sjNDNJepIYIZk3qUb
AmhSCeRqzShuTlpgtPC8IVpEYXblO6REkk8xpTlfpCRU6O4mdAC4kUtBz73hCtMJTfz7N/Xp+/cO
w/QlBaSs6aEwHptxzP8+FPuLL1BCKCUMXZkF0Wi2wGshmdKyRgfJtxZ86IIAAveJYsD4/X79Jw9e
wx6ICAK0P35aMYx0BWGPuFjXm/2wsSEXGtdkdfe/mwE7rfTtwKCcga/pKmrmyi3+bHXHXd/PItOF
ES6VmmqS2DbmduQa8hSpoRSdIja3X7m+wWb+u8Yo7soSaEpsa+u8nUy7PUSE606YrtkZ655q6sm6
t/4Tx/OVV9rqxP8hoxpHyh9wF6JtpwkRbdqOlPPK5YFHJHuOadYyaYkg9AaOev+ONCGJcOaDHCMa
5zr7LT90UoUQJgojnQijpU1HUsbLniRSPCaz3K4HIiE6nKftKyPhT/zc9ZM1FtLdYJqu+iGUeFoe
6lvkGWuho2jKXgtVBfEEnoUzrgICoN6Yvf4z8j6s/7QpypoxNeI0IsFOX7G/JO8nDXHZpG19HSF5
nxwqn4auL40aKM3/Er2/mSvjryRky26RRiljdXsSz9IxmKF5Sns9Z9wdM0jAOhXCoXXGSK//Y2If
b0u6jGhcEH/3PqsqAz6C0kzjmZmbOH5bfEEgNqqxgtDIKPfHIVthlr33ks/wpso2otRoShu/L7XD
zZxXnEqG7f4zBp315rC/PdHH7c1BQboiCF0av4sa3A28QHhW1J5G1p7EaajGR6EddSL1TE6SA53q
J7jWyNYdFzW2cxVjl0H/0lgbPf3x8FUTK7UuBvTuNNpJzrF+uACtsh9LeW+xoNrl59LNsZHX7jVt
9AzR48zzef1LHrakOPAwlqB9XqGNE4PNB/F0ITgyjfNCBq1WKlUfmO7V6byW27YjML80z/D84pdl
0RhyNb0oc9MsM5iz21PCoKRSPD1hPVvEdCF2DZSubWotwxyxwnScB+ZIWq9WDUWqQn2MV1C2KjR5
K1ZrWZsOPctxVVjC3LklrnlRFWMC2WO2i1v8V0zGlTdnkc32wfrPJFo3/f5h8Ny5EMmpZyX5u/s3
OIsPd9BDh2VoPzrud7VpXi8f2cFojBeTevZe2Ayow4euBhIEySRJxAqERK/GgdRQz2MGcagKazLr
jS/93YhNYuEd+0DpITMQrfs3G3zpUAhHRHKNdnnkNX6v4AiU7VAiblYuVftDnT7ynPnCZBXbqKnP
RgIA1kx/qx7b8ykU0hdfCbtxfNyTFTBF3KLMlu+OkvwJUHk+1C27E7wThp+7tFvFalbZNmQNN+ee
wd2Mi8ENbt7lqETPKPWDoKhQZ+74Rc83w1SIVz89zi8hORMxmDPkOSxrgPu9eeyIg8/5NqKVt9K+
AR9Bgpx/33aaLKrm8U6yuu7YnAVbfP8gs6sYNf3lKccjinMYMdx8qNohR9w+S7tb7M2iGqOpcUq2
jcpGv/CGgjwaUt5Q+hDxdRvQx6/8UuytulW7rb8Xl56fSjKy34PCfqSFbvb1Ym58wlKSlrcLDtx0
UDXEM/w1d2eGcvfcn26eDR1PvVx2Nf5PzZXo07ONuPvavjDb/uSaIH0o2aDJ5tv4evdih+6RNHt8
qHuRE++80VDdDiG7m46N5TzakUHvzTaiYvb8EBZO/jNbznKEVN3LFy9qa5U3TbZ1wEe6ZO9c1h1a
Dz7VjJTn9BUc5cljRIpuqPaoAq/B6MH/Y+5vn7la7oeyFMXel3RD51RrXvxhoGj76WXwGtjl3X60
Mx7HDIqh0oGRyCycnz6H0sjt9jORSyWu5wkznw6Jnwn7qQlHzbswCtEFAi4Dd69qdBjgugqUfx9e
r71D9st0PV2YJ2xAWOnLcjxQ7DkXq3F/DdC+QyVeVZf2VSO6gTVl5RjJ84wxDZLqCx3C19owEIGn
fyQUiG+5TgTYnYFr16HjOv8Dhtl1H/PB6XURc7n4Wsb5/r2smEUnpHM9Bm7vNx1o52FA30SnQqaK
IvKsUtWKXi0PXDN6H51Se824akIRoHkzuh+G+nGWp6dr3ijitGmbVdnd/kOvxfjZqBi+9fqkRJxm
z4lVrL7s3ey3Mqy1slfF0//NxqquJKgj3n43cX6PWC0afjjEZcJg3zoeuWkA8MN7sjBhwxyqCyGa
gaDFc7s2FEkcB5LmK2zh0e7rMFjX9ESM0KDhQeyHEkEUDJVHR0ARYCc3DgB19q/suV8KLl/E/vf0
nyhwCLhO+L1AstWXLbMLS7YcmirmowLeBvs8t4rIdDLv5adoy4Om0Azv/RGkzM2jfOxkfZDJ2SB0
D9UAyLWM/4R6IXIz6RWtX7+n/Wf9hmX6DN3i/uVU6QJo6al+mg/xVHreVc8vddoUM4SIe3OYbV+H
Z8PObH07pTXfvQgk8LO/g1ajAsGsmAckrjsQ22KFty8PNKdPRQ4deff76yHVyCzqt9tAc8DWnNbP
UqaTfdSwRyvvu69NZ3ORomlOet6k6qcFf/6UvceUl/0SDAwt1QTBa00rb4XFCRLR3ud+G4NWPJsS
aELK2DhBlRehhWAv/TC9S7PRVLIzuu8EGvPPbOXthksjkOHdHpeGtaWoHej+7a+hJrXxvi4cLF8R
PMst8ExhtAgWOyVEUqAEJ/RCgjwRH2fPh1dpQos4wa9FAu+v7Efp67/HBMjmrKyNMpG5bYsHdYM3
BmGcoy/Up+gNIdgPcdJJVd+oBhXqs68H6UH2N1oUi/u6S2YbTQUJYkvm/YE2XVcsAxJmRBiLe73y
V8FssfttdFee6qo4LvPtx1tS5ZKVR1uR497O/8p0y31zJOn3PpnSUPw2Zkd1ZXbpHPJdBb91oa7+
V7g0jSm7Z0eauQxqskHG5QEEfEre81lNan17x6orloHzT7lC954byRRYLlMYjjoLASZCXsH6jmx9
S/h9+rosmvlg53A1q/1rSFi68Dgb9cciOVAzMXhNhxE+qJFO+eZi/H5+/CHvXiFsRdP8dv3kr+R8
VIa8IBVabjtwwlYQJJBhVfi4WluNK3JBkmAPMGP+/p4ymJObNeyQ2CAZMDmhMQCPUn+fRfIaHktf
xUvNLMG1uZfl6uNiFNAiZp/lKvqCB9x/JEC368t+AZt/tPeVQUE0wTllXqfi/Qf40Vy++WSFsmiD
WaTHSpsydYjFbcsKl4SXkRQLadbLHo8I6TKO8pyUrZ4UbdoG2JAykxpWCkN6dtKna7Gu5G0OH9hf
f9ABsUxoAlzfiLeun84QAIFb8rFbLYSXqggKvcQ7ble79pen6o6O0aqW8AYc/kwr4GNqbM/n2X3I
2SgNsvo2Le0eopDr7aCk6I5msKnlrt+UBlGGltcacgehUXdc8oXIkUCJScxzqvLeP8NIuMLbhJkS
jC4GgisrAxBU18PlhwGUE284RlLKwtkdiwEXDdO374Pu6vwotCICwTpEHvyXn1cBD5RAQued3DJJ
5olRUYsvzkCIr+3FttYk8ryZ+I+/4KliFhurzrwIdKVWQjcekDOOgTMcnhfaGicyLokZw165NAjg
c/vIN6mLwq+yUayz82vGp2XTCZV+9UYTxRatLP6AL66qk7FhbDSTbloYZduqTCE8lY2OqAe7ZeMn
gi83Kh3h1j16fTW18bdTeu2B7nzak7a34ToqhoV6qi9H9LWrkSBOICvUiZsMJNrss/uBsGgTSXa0
4wFC0+IpsiM9gd6U/ZC2jeefXoJ3pCGjzXO6Ya5r1Gu4SzCVXfEQsHqK1cdkXTunX65a16Pcow22
c2itqkJcQOL8D15IlCyewBjHJhcLKCFpuO3RCQzAESQGt0UJUm6lZB6tRMsAWhzm/9F0ZtupKkEY
fiLXQnHitrtBxHk2uXEZswUHRBFlePrzlVnn7JzEGISG7q7hr6q/sHDw9fgTWGWMJhR/PBJEEJeL
dPMFS/QsBg5LjkGhJimuCWD+roltBnjU0dl3q2AZWEjCDUaWiwuMfsvAdCkQg64UIaY6a8hAM3JW
hDYJhnMXRqqHCTBKy2UlJR8Q29qrzp60MWddLpx1NrsJTwy5Hqdo2P0hNhzd588JiKRT90gUI6f+
p1X3WCU0yaNcs3XuUeXcNJgLPGXWEk48SfQeiwlD/MUGmgFGdEmIsH2f5UhJXk0cieYGwAHNfXYh
cASNIxzVw9fBt6DgmiSdaVGw29m9zBCyO0VpgEFRwxWq18+L/GKaTjQ86nyD6p8lBPKU35Ph5664
bTrB9Ss3/QYTlfnE54GVD5IygOoc01pJtkOQ9nDpXraG0TCGEC3v1dY/8z7/9bx+qPr0MJ8v+3NF
I2P6SNPAearUUNHQm7alKggCP1c6Uv5N0xdS+4aFcZSmugvUuDrOFnfNq6O0xI2kg7kb+Au6zy98
Op1EilDqalWSrcRkWWoRgNjw7mrBgXRi5B9vyrjJ1HblCcE9wJv+YnHxgoUc6i/8FXAl5sPZPR7B
8+RcweLzMXpE83c+oRfHFUczkmOpoJG0qsPjsiQfPsRzL3+SDXkP0GnCxwmIKsAW/H88b0xOwaHY
ZH38x1prfKF7RLRoP9wGiDGrEfgIuk+akE2QUB28IuI/MJldDP0DYO9kaVGdtsL7Ab+dkPIBqy1i
kk5IkJL3hB0eQNXkuJdYpgdyAR9zMPyT7b6/AaVr3EhVjLjfG/w+MBcAmX62CMyajWqIQgI7m0i2
NO4nviUS4KKOmMskrntf1GJInyXCOeTUUBqKt3r7No/iH92PV0il8ue8qn3RVYtOQuWA3m9IwQn9
nzAucFhwa/41NlaXqD3WIGEi6CapLSLOz76+HHhkaY/gNJ0D6WN4i3z+wifBKsQpIUWaP8NShUft
g1mIUQ9GTlHJoLEB3KRaIMASZvWxTRj2k/ISyfGWJEOIKM/Khv5hB5xxwFh5+e1xrZ9inrUA/VWD
wrfrd7h9//tAuOTcQd4xwXKxJI4AkXUmoGm1Enoc8gdKWqT4eHYUjlEob4gFXCyzwicmHohFSxfq
F+oORYTn1fb4JF1x2K3fAWtujIm9ojcBpJyOd3Nx4vhJsB8k/hqA5nch52KSwMRAXpG0FN9F1DWR
qJfcueBuE1oGTwQiHydI1ZXMEx8XFt417pTyTeaPYtZvYgr4acxaPiHNGqQWZwgYVSSs4WFK8AGO
YeAo0Bc6xFR0aSDnG2QJX3mTzex/4aEFaIqEJJH68P7GFfpHTiaIKXCtINRUKiGZwzcsbCk7LifM
aSzzWJ5FftewtHUKNemr52Tf6SWAAWbETNOHD2NwcNrGv+d5e/tcNpd1cTOuOiPPsFkE0pWcAvWO
a1MGQ5NTmrZgdZ5y3Mnn4N4mUkmbO/80AZQoUeSISp5oLt4xcX5mwvmH4YaB1bRMTDP3AwB1RvAj
9oQKjmLK9JsNBuxHlyiKVkvMfFUD9KQjw/UQFYgv1AaRDGCHgi5RtI+hpQMBLnzEHzhEd2hdwj+F
5xCLLITiE8ZrviNNITGFUF9IJj591aAHiTrjG2mvhZtiY1HYU4BZ9Qin0VMq3/WFIHPXO0OGoam1
pBAdnnTOAdd/ehrFX9Lch8TvDxd7/EXeag0PqIkSF2LwbFzfY4XTLoryHrikhRM+JkxHgzuaawpp
vdUQonc+I6Xse8hUgBhSwBzJKMABO9mGkhDaGFhOrzSdI9x2NXjk6BmAbf+mAke6MMBeQqUdlJC1
ruadtq2pbKcvnR0bmjxQHRT58CVCw1FS5ImvnsMF6bFnk+cGeJpag5TGVXkfo5jue/SKvRgy197F
jOAezhfts2low3ekDJAflhf4KlYDUW18sLD4925t0IjAtS1APLwAwkqUmoE2Ap3yQuBG0NZZ937j
oe7haITHFmqfPqjP6CpMFDpxU2Pn1NfVwUuBhZ4d/SCx/YcEOxqlBO3xbdt2aZqLoQW/AzACJVZj
sgxo5ELaMwhKi2QSPFqC0QRkKL4qXChbrJ2fszEovEv6pAIkRIlAOZMTDXfJdVxRXNeKVcY+wfJF
JYPYdkCfBl2uA/EGefWqQ3uttF/mBtqQtL8b1uAlstE5lX4HT6+77GIsMeGkqv7UQzB07435gm8F
hSJ8myJzBgg4uodiCjQi711T9cycKunK2onoOpmRg+9fbD9PgndmytI8sKBemEjmVJSCXrOLkWw3
iQGwg2jsDP4KTAEZE5MBvEaVk+XnG/pcxR9H+Y7vDpj7aWlIHyvyBMGsINMDBUFAA5xQrUdKE13t
ML8eX9msPbd6NhYb65nUydaGdArIntAvaDByZeE3d1S+TOeQEYH3EcqOVBu3gO8bxCSmypUe5NRx
oM9WhdB+syvTb8loII9udfpiu9T31hI3EoVG7QlTBUsq3LgfonoEoWCEQD8rdlkakJIfH7LvHLn8
XeLz0XaQ+B3kumzV0215JYgKGR9ZTfApknQxjX+hncZHYnOxla5ze1X/p3c/CEi2rr1Hpr4m1Axw
PslDIC0RNlUw1B+e7HXlt3+qkbOWBih34rnVP9xxPlkHaOqzzSDt+oVd8Yt7ynqiOSgiZreSMAwR
7DOb8ZyL1WmLJLiBofBo4QZvesWe/Vv0UNaxdzsfITDKhyTWkDDzpCScHl4V7ntdSUN7kiVwVy5f
z+n7TlISEB9OSzpDQ4W/8ddjUUKpRKoIfQqP1zH5ICABkDzAh4u1muMuTKDiKGgu8hEdtHayif2X
w8v0Mb2PG8PdINtf5wgRWKZjVezv+y7pPESWenuoe38uXvMH/yrtxaAFINnkMz5gdKSwWgrSY8+C
mgi4EiuaUnpeiIgj2vbpQAqeiQWPwSH0+zZAs3CmSQtIFDxqizXJM3NI64UoGJVxE/Ym4CUOYBpZ
FxLiw5qg+wZtdygKoymkR6cCHjwf4kHYjwEf4u9YvcQ2xYyvhGUXnIQxNLoKl5OPstI4GUNCn6Av
UCLvOZ0VOIoKKMbEdDFTEECXEbxScghXYuB8MQK+OD3nBvmDeRhudzQoZyKpC4oAxkLAjvMwItpV
8J1aYa7AuBkCEp1Fh9765Ud8R1EraA34w98gGRI1fdwC5+XZ87HOPzK/3KI5IL2HS/IOf2JMfJeE
HyIeJAOGHh8nMYyBcvAtHmAJcuFrZ8E7fEEQgKblKgyLGeHeIIPmDEyNnXlhLr9SNMv9cGZOhbxn
bJyZelXe4VR8cZ8cz5scz8GoJEpLOZLJ58wtpsU7bTnp3/X+Zp31ygzyN34lnR56HA5lNIyyXQ1A
wbkB3uSGZXAw+2A30xwF0/ZzSb5HVq8ac4MMg3Nweh4CxA8yHk7GgYVhMjgBX4wZzrIUuC0znONv
KXE1pkTmGh8oko/zWT7CAuCdv8xchiCP7vM85Q5Cj0oBpu1vufFZvv4Gy5pgCnlQ3DjtHLpSLsSn
Oats7c98chF5tGTrTuAnAXfl4XxGy+V4/XcoA+ArLKS7mTwqAkW0KoRs78MqzBzJ08497pF2Ocwd
Z+dRMTWcmgHI8Z+p5DsD+7sKx/AUuRF+JeGM0/IFvwUf+ZtZPsgQmWt52NiuCB4K5filtKWnBOxe
UF7IBSph1eVFNGgIZMceYs7ZzbGEFbgMS40vzsX9kP7DQ/xbiBWFD0xPLB+CQ5v74a64Ko8S84UV
wwuSY3h2nJwzMHpewGeIoQLhIBL5Ekt3nL+HQsYQR0IdQEKNNDSWs0ALRm5VJVP6d6+73IOgjNeM
kGsDaxx4zjxwdixTz0DorMvCAMV9Q6mt7T1vUSLNL1xrSoWVib9WiL8+lb7xlEZPzvH5SyPJu0q+
6OX2WXDhgWqRbF8Xz54lecduF1rvi1xqFYfmsn180eOExlnAA71XMWgSskjQGTB0Ce+WRV4mMoV0
KVZ/AFxBxC/BiwZyddFoj2SGQC7p3UTGCTHousy1tWS2WcVSGIezns1RNc9l54hNFv8mv0CSBJWo
bSGJVHpegPF00YDS+wRjTdIF8fWzFWdHDWO8sRTCZNQqZ5D3S6KUYf/FKa0RKbHxXlmfPFMKo+0Z
XcJk0yLNXgSXEFpsXjQiVEoQsodEs+p+h3T0UO4fcAOpmSUu79P5gAu1Vpi/lNSfE5dP0Pyvm9HI
QTZmnPmdpxfCPVOjz5wLX15Fa4TIhV6dPlyvyGU2Oh04teg5RQzItGBihoudzmW2dqz+CYBKzFYS
Zr07zXkyFwu33aKGw4W2CebxBHJ/yZv1CtLjpUtPEg4an3r5Jz26qCmEaaT5r9xNoG1qHJ7ebvnA
pEoVTdwwO+YsPYj0d0+Ihl2a/1DiTSI+2aytp/eK8ZD9W21c53XkYi63iafSLNU5PjIasgaXd//y
hpGaRi0erVihiodq4vX0zxRjcoNhjzZPzYJmnXI2rN1XQM/UsNrkL4pgg5fTv9EiQeh83QsdxRLV
sHX60KQxFBCNR8RJzb1FmqeJoKPYkEQwfC12P5ef+7ZN5dXVpCGtVLBvyROG0h2SP/2uq2zy6kUt
/qxSOO73xaDRbqxuDZuGyuMTbmI7ppwz3TZ33062ulPwUy7AH4aovlF7HK4THkxES2d9rxuSyhRf
bxooYFvTz/YNrje7HTLvQoSeaQKmtmnQoDoYJ6x7EiKaRLApgusTEKW0UjPFXWcZYczWrDq8Xc/G
vPs6U+rwGx6stqlWVGk1xqna2y4m6aBjINYF8tl2V83vYguI/aRvntuMyBjTybGT0VUCb9G0CCXV
jcXQDicsmcgkD53MSQGxaEbL0ljXW8QUejcKymgQ+3VGINUm5RPXzuQsYazvTXQoxxOiKfTpwYEG
kqIPAH4zveLZAEB2uv+TTe62W/sJ0fvfh+5vBYkHerGDONS3Mwk7UG2wEHWZQ7Hci5CRWMfktRDW
wtBCjgPmEIwc3Extk8ycQQgj3row3qjuUU5ECTueNK0/OqaM3QyopkuegnJuX1ZMyJyKRFXqPO6F
HWPXTRvK5GNMg01U2rB6utUhT9WD/ntog0g+B+HYk+Nnu1W6dcB+6iZ1OBkGl5BORhRmAQbmekHx
Nyk8OCuk+ieBVRrn5lEhVkOmEOoBr4eTkvQLwmPZux9WBuzeOmNM6wJ7f9kipdMx5GRTJPActO6q
maptzrUZWtGaly3PqrkJ+dMk15pul7QjA00icJCiC7HbhWCE5scOK5p+R6Z9692fhinhWWDsqjff
X7F54L92ze33+zZtrp2TYiHb2x0rICULBxYZdSpMvL/sO4f7byrKELzD4IRZideiLoRZAQxMPPyz
xrn33tFoltiIn5JbAAkK9AM/p6aywiCzfebrBbhdmYSYKa3uQU5+7uhNdaZvKIUy4zwkzUrX6sBT
Qcfud3PdpTBu1QWx27++29SMpWSPqNuv7VEw1iIQR5Br9EbSTy4BKNI4woVHrdtGvr5YnHGGcnYd
VQzfw5O4IF6TVAjsfPolsxZo4HyEGnH29vKSW/UeNEZ4q2/GOasGr1ksQ+5+dQn3WUrdz7reO+/f
x7whLn25VdhoR/qB0FVmh4IYvZo0X1MtcvhwtzB4oBjrKvq53b/aNJcDnoaGhM6VandVCbwptKDb
h/RIOzaPXVpgLJN5Ov1ted0AeCtzyUxbFobURh367+H1Fy5SNklDR7wDk4UiX0TJO3XKkv3GWn7B
TuCNkx9Bbs2RSGVtuWSHuj8jKpy1HfPBJh979zEqOEG6eHcVIL4LKahbkoigO75t5MQsBM5VGWi6
XZgcPFIA/Zp6fTc5pkE7gc8YoFVXrz04qofgq3vNwEKSu0/33D+t6fHGP7zlSG+lM7bJTEulRv7R
6WGIMEliNzzaKvVSc9a5puGothXEgqTk6PxqqJn1yYOcshwQayC5o9Mm9WreE6fcdLVvhQCn1O1o
xzh9lgofrvmZefGTRs+E/fhhK3656vCHYscm5Hh6ZitSHdXDZ+vv/BMeFaAC3J411Z2T+nRs74h9
IfLmUc0vm71Lc8IniY3UNAtlErkEIiFx/sDcF0CQyZmgSoBtR4K6xpc0oEk+Kp39sGShqpZQJDbI
BtI7EHgkiYZYxuzzYflp2IkF1fBJIRuQ/9lDfnc3cDHwD5jJdqXJBMAmDiq+dVr2zrlPSnobD7NL
iTfAEJ1IqV3/R/zom/YMCBvKsu5GHHXgI2DGNxVtBvuGenHsoSZIG0BE1Cfyhl8NYEQtKssfgUij
8vBYo+VQnRw+nRHJZ1v18pyoC/S31JbSxzyC4snWl9KNUjA5fTvUM12jWWPdlJ3Fq212+yaG687t
2ExqeCwKQuheOx6cm1TjjePLIjMDSBJrmXagiDsNzyXtnNwb33ejR4fGzoPLHgAnjskw6dW61Lmv
QjtoPHSngdoHRseH0enTlDSp2DtYXW5j3dBQsWsw2T4pCixvYjRwjU3lrV1wntIuBvjKPRNP7hFd
YcFDReK/+7dpNE32W4c7mtJ060AWoOoc6J47Lkw6RAzUFs1Sv6WlOw/HWaQnkRdvAwHzmjU0e7lv
8zbyCrlK3zcFI7FGwBi6cpnWFn2oOluL0TSgCtpbnAlwxbM0OSfOofKuy7cZjewTWja8maZ+jK22
Ys9boFXD0O8GaI7exdHPvaPYvrow0ZTeglsZIMxCR/nt2s/YLaWO+tetKKGg1B+1zY+1XJtWNJrd
dkDHDYqvrmvNITHR8j/8Y9Dh2LyS1zWPxhgu3aJ2vC07iNJUuj2xa/5+fWF68rGH3yaTpmGRqMTh
tB1js9L0geNRU/Ix+YxcsZpQXQjVpu4SmUGAuC3VUjlEjTqCjkxlBu0pG1T2OlcfvDS5LZ8t25Kf
AdIAKVFq+BqmYX3Q7lMVs2pyAtpqJaAT6mzKf7g4ES93/TC4BPjhfuqT3+45+rAz0NO44Lpfb0XM
Xr08wnQDTAuP3BQX001Rg9Mjws/HCa8pYgIaxIHwjWzPFuC/3Ss0NNaUBSl6pVF5ofA+Tbgiy276
VtWcWMdcRCwuLed/8OQ0kXNN872brvEi5t8tU5gi+g6cyGhk6Ffy9LiHk3ueJKMLpLbBiVGSD7F5
EL9lKBmRFvMiJM9rDLtJBK/yprFCnKPSkLUufcwUXbz5vzWM9DlXSVD1kfKGJ0vGAEK9qS++iGyo
C/pNVxQB9BO8K2L7veQ9DchCSR5oM0uO7vIcnbLyS/fBm6Jl2ChokH18YsnVPerrMZxxMNe1L+dw
XsKcwO6oPFn7qCeTDbMhrcHdB36qdiYllgfvlizYmDWfrDuHJ+6dsrC6eK9kz8hPevTZGj5ieZ1d
PSvIzPMoMgdzrH4oWdIWS7fwLmt0AKRQpjt68QIxk+tX0B11UjfqY3/hZkyaI1EomQHJYPGUokCC
p3vf7laJG7HE/1YpyxDE9BANn+4L63WLhkCB9lqLFNIphV0NEzoitOZd9hgL427AI1m3H/q947Hc
l6WYDuRPGEhqr1hUiIcSex2oeXgb8vkD53NrdEXDqmfZsvYpolO3YbIu2aXdGQpQ58fC3PtcnL/Y
qXk+dM7q43LRWzvbEmsrUYiRN74bVoLT4+0nvaiCZHwZZyYkOrDlwvQ8Y18zls+DFMnQYKLSfoOf
WI0Vz7gYMnkslJg/sFm7/BADggbKJDGrZiCiYTertvWtPHjhgWcBrzHShmw7CHW/Qx67PMqaf93C
xPt9HhZetn1vuVEORwSG3MLjaM3afLK7kqlxYLJmBijdZl8TskEEBQkipezZaoBr01k0ZtUhufgt
pjda2gzhQd8SS1ZLBQbLCeVeRIa+GS2LqwuDva4nStYIRqZOhwjTiYz8T5b+/axNZEW9T4oaNw5k
DaoLEtR0Z/gdPCjWi8t6YjUlGBkiLnP9uU/WDFy4zB1sDi88KESQrJV8JsP/3IJKriwl3uT/v38i
s1JPnKszi8aai9SrSGPVDoAdtqF+bvLBCyJu7PIBkDdQvT21IViAKRxgHztDLHlaTw8qegokxLCC
c+J1cWdfbyGHiDrDdAcHVZEHaOVu3L/I/6/6v+YEaTS6okjMZciyMO0FyZBczyTY9ZpGGG6EKJ90
FStHY2sORYfq3ZbYnMQRsUDAW2cglwHsfxuSfH9OpuQnLsc8JFeZps4j7gQlwcMQMyz/TIODqUoy
u4Ifkc1Jz9wDz5OH8fCvHEe3Vt5j0xp5zqiQ0Uds93arJ4rzymTYE1kwmWF38YBZVXIi0VhEKhAY
zEoU8fE3U3EbNnry/vNI1GgIkMFxuLaprDRm8DoUqSCjErtSNEpmMC6+ERzIlN0o4zh2ZDi+7FsH
dtihHTwwSUvOm5piIvP3pynZZ01mcIn1y8I5jdnXjIk153V7BQKp1eTSUABABsU+x9OzNKFKvjvU
VygHpeNG0w7KvgaHtuwF7oxDReXGY4yuuZjWNcCufh3h2/Gh7+ffFaGNhF99FFBAgpKp/2ASnk02
IIHZP2/IMfXhUlJ0g1Ct76YiV525pA0fqqXB7Ff6ARWBhb+pqQtwcZYI6CZDDCft9Go9MRdZXX1Z
xIVpIr0623htBS2WdIaZDHCu4Wl3yWFmPYiqS8fpnoXXB+NHS5HYrB0uduknQ3RRT7QZjbrMCdVD
QNSvo0iJSzM8ioYDeDZ1PUikMckm3xI7u/LR3MCbmNNHg7ipepKNzMIsdLS/9B9E4k7J/s3ebiO5
/twZdvw2lp0qU/SxFZhdPMZtjpWUNfVteWswQQ1NxcSfIIt+RcaV653Yg7dpN+geRV8VQ8t9x3gm
lFv+dt6Ia7rlMQfoOVh89WssViFzgM2yhtFXJwF6EfclmzxmeF49rAEm6YxtgO1s0NNe9Zk0cX8Q
mCafx0Gny+wBzhgqFty6Kv/F35cZJIGq8hHhnOapT8x1xGscMX7jlT4zXAIC5j55oPdvHv39grvX
2chqoJLFQOxmXlSbBaQoYl3U5pgGQd2X3ymN0ck3lisnenBZMXDEcm3ixcnFBGxiYua8x9TIiuPB
IOWSb+6Gu+Azn4vavoV5gn93UnIll1xk4F/jQCGG5YHt+a8pf6ciSSZarvucLW9yiFztgl8XkYLA
g4g07BG8RbIddUK8EIND7BB5RmJ+yE8WygC3cwDmxBHik6I6v3AisUPE3aTlLq8j7XF7MZkNvHkj
k7ZfQ8rUOP7k//0sT9SGqqxfiO69zDO2H84r0p1SAUS6vJJ3ZPJsvxxR/KVTRifmixwnOpSVEy1z
97qUw169ppv12eyV7hxEv4g6+fteHgFr+Bwi7qN1HPSILMu0n/JRSlQQBNFUdGe+fg/P03oDJVqb
wKqD1PkYMB1V35aCIYELseOYhpfb7t2GlxpW0UewmPcLOdMMvA7NiRXqGzkWgBptotEVqQlr+EwG
hMEryuZjjItiabGZIXvUHct7SHcHH7E8syfUynKQmN0gosjvbqoTDGiR2IzJG1izNX6yOL/04voN
DSb94EZWzm1EnyfoY6gKf/04/dC8/J3rwKix4zQFrLRQiSEVKNMoB68NdH8qWpEx3eWvBJF+QN40
FQ6UL0ieyBUewGem6AcBpQNRdbJ5OAkoDb/kijwynwyyHKf8RLFJjnbBXMLvBZLuXz+Sil5q/IPc
S3cg7qDJDP1ZENDikMiNgv3iYpMdhOrqHhj+BpOCwPpzeVf7aJBK7qHg+sg8Mdp3ilwqBGbXdPtE
eAKxnm9epd4DQEyDx80ILx75QD61gpSipD1uZsndiVoQR+OMIwXKyi5iD/T+1nINZCwPkkEyaJGc
Ze+JkXEhEbRk52wRpD2KP6GV5Rnx4GjAAPe/38IU0Z+2g9J4kACwf5uTRE1kRtV6tH0jG4vW3G6N
7BAbWXoytq6vodHirCKUP+0Kye4ZECa2AQssmGkIDXLiugu8w3HQjpM3+VjQn4Hcj4Z/oSkVymYl
lSaSayApfaEBZyTLkT5B/0qfh09jNeNMu2j6F6lmET38dhqCGofeH7/tl8fCkgUHrmjiH8sxDWwz
VlyTFD1d78vM4BiCPHzsHpqTBneM6cBePAFp8ELQgD26kGCnL1DjINNySARb1gMt/efMyXMuJlgH
S3BymeZm2xAixfri0ztS+nqvgOh/IPZEk8QeMfPRWY4vxoasc8cHL1JnNrFYC7TJfaDUqkXiOn6L
QzDtDeYDVkgGkM18Ykw808/FWX0YwLgY8te7rasDm3KLAod5mpwf1wrECKbVHRYYnkw4LsVeFlvU
0ueWm3JJiP8qcmlYHVRWBNdf5LKic/tH6t29V098NvUaXY1oeWcTB2ePrCDi1sreiFtXDUL3SsWH
l/TKxgAOsB/K4kaoD362CcbquBcZ/onfGJHG5YnDeF7wzt8vxaYQJxIutY//yAoHYSWCJapqI58k
A32KT8kxosriUUjhB47Cl6izcCbHyzHvTckO7VdnjTKP6c6T+TVavJjKjzy5GtFIBhS67wHnYx/F
DJHv/3YmAYgfUCtND8mrmC5oGPGdq8FlBnB4m4hDfjUorwE9aGeisGwUwX0CfwU6sbYRG8LGYW1T
lIRfinC3TmhuYJpyX/Gs8VpyAo9AHrhbpKe8edCW5fOUza6r43E76PYEdMEao8PgBfyDenFgGqy3
g9gUMleWptsJpttuliOaxd8S0wLDU3b2U6BwTDnsoTPAVfA2OEdwu8GS3h3Fx1I36RrX9JKSlfRE
gx+ewJfXITxa6rKPRAf0xdB9aWJjo/o25czhupjskHO54bNihSbHaChSGOY0DitnLN1+vZ+47AZk
uyzpT9MhkcyClOAiyM4SyOQOBQo/WPqjv03UgEBOBBMlwxgdW8AUujayNajp7AHBsBcJFAqIIpZ6
uJYkDnbLC0XQXjF82Xe5bE1RJwkuo/gwyJ4VBZZDG2pstpNc11l2x8/Bx5bn4ja7F+/5hDiUR2ZP
Kt4gCPFNM2YUFkNg9XAq8ly4I04sekhGDW/hQo7JPGssjiABseZIboBwljw1cRNJ/o8ZiDX7k/Ip
u/8P8MFH4Nmc1gxRXZBKQnXdxkLCHnFrXIntP4RgD0lx/TzdlgKCxKbFvWdSV7tV42qaM/Hnd980
oGRPv2hgrYttaxfch/Eeb/eFSwx9zLgemdJNxs0HqwsQHuuiCVG7mhA+aO3UzUazl0913gryTT84
bIl3/75srF8CgIcD1qVO3zpGRYKoN9eCL96QBZgce/BvsJ+PVSJvXH/r+AVi8hRL+b+5FgsU+JZY
I1YBudv7F2Y9OJruEPLc3/tt1m7pQoKEmqSJE9z2mCXvEgCkOIB5d3is4pkJFL4WRztGt0LbKnL6
zoJIRX/DIo2kpBSQWgo4/SrSdCgPIIdqRd0Ekt7+6o4J2J8hxKNp658BEJp8EBrIUAkrIqFQ8TtX
SkB7GA7uVVNiIUZCe16JY8hcv1g7Q9C+BHADvT8maqibo/pCnENmYjcCHaFWlR2K2Q5UJPtS9itO
3F6eDyxG+PgCIeHzsVtr7F9AIdp3EW2SgytPDsd+OzpsGQQFj4letaQXAoohDwTbwswDXoUBFHkN
Rq0qL9kzyw+glNxtHwlivQ3PkD8yMZySaQf4FV8jJZ2Rk5RcGZgETwR4pOVVXnnr2VuBtK70bEdg
e2INAuSQYj9+rm2bjz7BX7z/0Qd6DuC7ymi5jS4vQC+CcM5HyE1eVt5uBgLBVYO2XOo+lBib4KVi
+4n6gh4WIUWTckSSnOeKlnnSWJxl3u6N4rW850w6h8tYLNkU6b0HDmN8j7WDZyvgMM8R5K/oI1kx
GFisjvfndmBXOyTnTsQRsQ19muyPCSyY4ucAMMMnJjGp0UR12jwdcZYknARM6BZw9HwTK/BPlDAR
22bZhr6Ef+pDMZPTpQSlRIaTCEkTb6xzMOnINCpdxPqKofwYsxfm2P/D2M/nXUKexN+w1Mex38a7
NQlgrShK8VNOLgF23XGw1OooGNEaF2y320T+BDoGMkqh0wBHhWJwrHzT/co2BSmw8IQE6Mgg0TZ+
E9T0Oc7VWZTa7ou4/9nwwoT/7tg9aL7m120j8G082tXwtIhzkQeJ+5SvfnhkMU5RfMWpaw1w1zcP
HDhR42zekyZwQOn8XB54E3PDpBFZ5YpdyvQ0AnEBbiAVmcHiEWxCpC4tD9WNqoe7hkyfXVsgIaen
Dfz9064rILpY5A0AWPPYRP9g0NYNYKSo52DeNEHTkI8zkc9ivgNVIj4JIdufwNbHYl6SavQrqD0i
HHhNGsWxK7m4fFRevfiLoHcSKashLuSIhwsRksH0gmWDSL62Fy1eSgzOefhPkfVoDYnuo3NyrNvc
tO/cEaF/ZOz3OeG+Pgpw+xJVit55up3F5VgPTSyRugHg1kpUw59iIBOKUaBph7hEb3DRuvg/uRvv
gUnOGhJTuAl1aejhrOwjzdYr3QowI1Rz8jDkO4N7nLQ9q3oOibpkkuoH3t6KKha6cRzK0KVSkdg0
IEhbOSPaeAhm4lZBfbajXczspGsrjAsAFFIGAzqezaJ1YxJvAepN53vnSzMUVbCnOK5qek/zZs+B
q3G0Pq9Jieezjm7RTw1AhDWtnh6wiH5sH6YaE+RR9timEcm0zqIFE9g8SI5+FV6HcTd+6ceuO5zC
mtx89qC6bdp96/wXFSAB68cmcXlKREE548ZXfDZOqunfBvGIbiyuCr4bYhWkWwYCobQCcWwouOzn
w33hVvtHP6V2/vQlJEm0a8VlILeaOi/qR3YbygvuJPXieg3IE4BTD70uvhtJDOoGsrhyWHcwOezw
ACmYTgwEsnhwzle+sdhOsCrAmQJPKYBFb3HvLY6U/RGFRBkcz2iPUp2MX/wjZYjM2uMvSdXU3ZxM
6B0vcDhIkQ/Uvx7pD5LwCoWwWh33dLGAZYVaOkqvMPbV8SichKTq+ol3LNVKvLKFP3v2HSmaCRaM
1zEUWC+OL/Uri+hBDFEcX+ohe/bvulrccVgGv3QNm9z2nfETBQ10dYA4j6XAslnA5KMtgj53/wCV
CDAWxQwGH6rg+SEL3vhULwCjdecIE4Ck2HVI3+UZV/hpIZm9+Ia4Vy369aX8TwcuqXMlbWxS+tAQ
eTLgcrHbUDEMn4Uw99OHEw9VoDdcZ36Dy2pGdg7G2B3ddAW4EPldHl/rRpD2CVCCSmH3Ih8FC3kv
/0dzEHjgL4I4SVT//5j+xw8FmRF7O189tPMjaRf4ACKiAID4A7ITYfVAwl98dJzbmRD6YMqRA6qY
xhsep0yNLA66B8JYwDTBRlAOSK/OvkN8/lRV0DfDHshGfLGuSIL8u5+uV139PWSCAiiTZNFrq/pM
fkvX7NteRe5In7RBui3tUZNT2cBPQ3ux8XNIXpnNFgc0AxCUlYxAUfBemTqvKIAkfDy36dxSRjjn
lJdvyRVU8TIlAwx/PSUPZZosmRcOIwPKnMfJEuSzFSRketM5XXa8wJQkDw5RPFqGFi55d92dyO8M
MrhZo9ILl3GfUh+0rtfYJhGDuD10ON3RrYb57wQUapznhfukXIBol5vtG17To8LVqzPw4aOfk5wg
FXj0gx7vDnnDUGFiXJog8WmyXinkIIAPKcF1Hi9PvxXIMg5s8F7f0QDqOg6bHBcvGRLrk3JRk63x
FgQE4BZLj7qlPUldGNfe01F1ZkjBcc297UjwQyQ0zcHBepxbUwYxdsBpSX6CUeGnbdq/tBL8ouVI
AoD8Vp15J0VakQ64evtUSYCpD8i/GV9G9Z2+/zS+skGH1BTTwD8Hl6SUmyW6irxuP3TvGAHT5IRz
oTv0LjGwEey4CgWvfbiJcvZVY3Jb20EB4stjXZMsB8jr2+ARKaU/CYiMyCmgd+gH/nYBhEqsIbKm
XZLcwTXe4+cSGLH4gflDNgx/ps5KNh45Ul8hGaKhpsLpV5ZfMk0rWMhhggZWoTOcek2Tr4TICOeT
rVkfPaZPSP4yDBOy44t12Ka/DgmaMgwyDFiSZ59qMnakT+YqCYs8edYruSKsRlLhvdLL3ObBmTk9
mFeQ7V3+JUPr0ApHIXmG6r5ubGXthktocJDFrNqewEvxcLih+Ywpt5QjgMzDtOp1VnZPfqPYw6t6
7SEC6PuqGov4RsnJSe98YqmFOg2jTYYDow6kDc9IkFtDAWg6qwIlW3iicDJlLcq6eh2ynSvhHXvE
GX0B4t8wLtiz9qLqoZZQgo+DRLQ/IwioNeixKjJMbH3zCflpxJ5oMIdD0rtm9izw/btbjQsKqXIC
16gmppWMXk5BvYqhbacuJ6KyTjpk+KKKOiJSbz55MbqNWrT6FM8vy4kccvdPxBV9OfLNRcn/RHO+
+VlneDT6pBKL/YzOJH/S5aOL1ugdSEDjgibS18EF4AhZp9vDKHZraxnDE4XHKIZXPrjZPWiXwP6W
YUlkXZQy993Rr216fJoqZfZk37dmu0V5kMl9YftgNDSBGtnqYhNAgzGlv6kIAfkwDVxRBewRLcZF
xcOtY2wApME9T60gk//sg8F4Jdm/vEuyR2AtqONR9HD64BxiajuTxzpZt4MU10VSOgT9gPaH27cD
0rGJu0k4xvk+Dck04JF8AiV9kUWFfmUsIUqoCRvzg+IZEZ9IuOfwjSC57d/ICrB5c0c2A9P1JQxG
UkrtgOLA/cC+Jj0VryHDZbL0C98A74YImHhJ4oUQSkOiC7haD1iJW5Kh2QSXJWv3KF203m5XnZb0
dhk+kZYIIfI2ofpYxssu99BVzYPsgPY2B4ukEGv6Gl7noJOEmSy2a0Y+E7nfsqUhZPHgS0vJbaJy
W6r1N3fGTeMcKtzT3l20I7rvhCtKwz1xSF3ixKZmcv/1Q/GyS9athtJDQ9/8MRbx4fw3tE5gVuU/
iaZgmn+TIDK7kKJBgSyPWTRcOpUUBQHIQzxcijz6wC7csgDEJUJBflJAEvL0KBbGsnZ4lpakyova
o3cQZhAx2MDyqeVdvAg3kfHEBNq+4+3gJZaBOkawaAtOd4wVbnFHQIezgUZkqv4V/XO4EfoMt/4j
6sy6E9WCKPyLXEsZBF6ZxXnWvLhMNAyCKJPAr7/fST/cdfum00aR4KFO1d67dv0l8KzlMwPYeKce
1yKIMQT6PPkzNSa0rotqGn8C3nMe4yqAyQVVNWeB7RcWL+JhoHY/n1a1QD4F+syvNW9FJUlqLthp
QbHDLvxALo7IybtA8HdA8MnfSTznNaPOuRqi4BCVSDopZu8DDOYJIyVXbKZvlt4ISYuIieJf5eQt
s3elPs7EhFWJ5a+4fzsv65HRaQJ79sG3eY4RjLic7HOT0LqKgC7Rwot2fMrHSmu0RFb0WQo2GVGo
SBBJeRgj+/c3Sd9WqOLEz+oJ734FAmWBRRvQ0xNzWmdDLv7fHVMc6Bia0NTMKDSWKgFYIk/42OIO
4YYkiPwMxa3ukArsziFzin9T6m8ruXIYGiSvIsgg1W5RW1uvXw23Rro9CRcE6JNI2FXNkufiSW+7
PrURscD4giqPJ+SA3g9hg1A83uKMDrLv9dTWRAdATqKYYn5O4jgiHoWTmNs5pTbiXq8IZJXpiFhJ
RJtns78d+3mAiHcFLSqv0cFlmHxYz18ReJSQyPgCBnVq9ob6h0f+org8Vx2PmOAiEiXdF/H2ba9W
L+5rDoy5AfnnLYP4YgcmZpOjczAR8NU5vL/Zr5l0xg+H58oX8ibyXvvN4+LFTcDEUPYddOkLHt8N
aN0M5zxuxt5lRhT0ES5BYQPtooaCARXl9oWymnwAZ7dvUd6kR2xK6cQ5GpQKZjtNtqDI83KOagmk
uEZpDaT8pKmHewjjiikqZnBpwGCyDv6DdgydFlYUuVMEQiyYyJYqFDQ4duSpSmv3EPB42JrvNb38
mY/P1wxYDNhA3O3ut+aL44p/k/tMhk5BBriBUwQroX4N+Zn4ueDVBQVJHrwSSTOXa/oAqBgHqlty
Zwsu9sV3pDpQpuT8SJyFhkcBV/hDQoAi+CnAvjigl4iADq+L5xbcKS4VnAGN4yD7yJJFxh0HvRkH
6VJEJsjYv5glEHOuJxcQvFyI03JPEE8MKaFodVL2hUk4F1nZw1JRneEdBxghM9qDUiQI1wOHtJM9
VvyUnX0qumyT4+djFd/oOTUzzUUuxqf/WfFZsmtnrDz8ixaCsU+nTOHle7EC6GimorzMxA5MiRzO
+PI5jTy8QWcoPB14IXFnKSyhsGClDGVL3HtiL2DZOK/r5UfcqtX1uaE7mZyftEwytQP0k01nmMpn
ST0kyhtR6oQWrcd2vooqEtjOlmIUfoQa8WOG8zoEYsLmmrqW3ZN8jdCMOyDd/TwjZRA3D9Li2ZHp
NRhi8zDzdJfiuPtFyFbTTTDBEJkj7fNPCkfMNog+4m/awTDkXQu3Tp8vWLqhb6VHnW0AceySMEQP
O2ktnBhN60w9sqhrmcJp/bnxCddjO3LYqdZ0qvKY2G1LPie7pXOJbsclU77n48aN3eqNKQudmzE7
l0TdJ3ZXUVYXe/g2DBFoteWnNXGLTFYGPBIDN4QtApsFLZq8Wrw9HZncFbRm4zCzZzf4EvtVzLbJ
dCP7deeA0KR8Z7X0CnM8ye/RZ8KjEj8DAR9dhA303z4mWE62W7aLqdiExVaMkpgWJCsP2aFpNG3M
q+AmRQ6OKN4sDkxuO4xEhvzcsMG72u97opzoSbVw7hJax8FcZFEi2vZ/yEtCJwitTpP3JILUZ8dg
dG5J/4BZzkRApjc8SMitQ6q8D7L1pbFunGzSnWgWfXGg8Qm12kJngXEQW0QpcXjWnXntTt0pbMCG
yc2wKxHLjqWGfqXh/790yCnEzPkOMCij4Ap3TNCxzg2Rn7oKKNYy1jJ4CPlLzplRxM3IYrL2mMPj
oARh0/55TCJmy27VNf9iW+Ct/w/iH/LFOJlVTvEXpqugtAmyS5Fgkglyz83Af8CTUAX/isCen2Jm
rpIZ4+NyMlqzCp4NM1L49CK3RVSQ27HmDGWh+SxeXq5s8iqgKK1xcVWgZvCipiplk0VnypIH/QXg
q/nGfPHpGJDfvy/jKNORSvU1wzvEGt9q0ADkNw2wH1Wc0xBIzXAvJKTj22uawZpc/HBOnhS5z2ML
7/8dew2dIPgxAnRmuO3aGh0yTrRkziF4pceAX6z3bN3OPGmF1wjuVoTj8SQHF0wQqWr4fTo4DNjF
cdAROvh4zobzwUwRmezAqVvAVWPT+F0zUZk5ygQiptp90E2CLAO+EfAV1qqE1ak1BEIAViaYWjW8
+Rt7D0sFyQVdnTMuR+wZZvlmHxDf8t/fZvGnsmFTQcrLHsHfVjsN2ZBEHLWNDHDswqnwi/FRUfpu
Lu4PTVgbAJ0/bp9I7WdEvYv7tjHFuPi0bQHLed2yZaEgkhMghYEKmYqVNcSULUr0D7kN1DsLkML/
VwH2yFb/ePfIF1NpJVugNzKWJDjhd9P0wKrmhhK54wDWvPtLsmFR4Ndrbm8xvkbkRqAnjuYpJ5Et
cGMR+8Y5gQARPzaf7V4kSDkTzGE1RaZNOfv0kj2kiwgxzZiA8BD2O7GNf+gD+AxQCayG+BGIQ6Pf
5zaoTM0TGZrIrmMsB4gh3JlHIvGPCLm0Goi5bCJb7WgxFCGGbJwTIbSKPM42PIx7xAxOiYgKrGm3
+xEJhejbBBqi75FXiJHtIpsiR+Em+yuPeH+RypFCr2l//3dKLVIDRAHCgegvJpHp8a/MFl+ZCcdE
+wqNIYIIn8jjMHJj9WIc5djtZqSSQsuRnbmkdGTwq4lJfHgSMCkai1RceRSZz7D8urD5qI8fQrhw
/VwTTsc4CZN9ims79Em1q7sO4k+MpLv/D10kZGZb1hHdx5KL0zit7rRiYjWKoTGiCKwzGXwuoEkG
sf25gD9sLE4KtKUWF4LIyvnjUZWC2iMPAYrA7Z8vwhwG9+3UyZeZzY6Dm6IA0fZb2u2pETh/sftg
5g1MyFYkwEE+bgZ4iiAt2kDGU2I2Hw0oEfWleJos9jZ9ilUnT/lwWHo7rQHo3UoTi60wLYZrp468
p9ezvo0VmiRMI1ozRS0culgRfNB3V84DEpIPFqjuiDnMgf158JjQKxL/NWVWYxctyuMEbEXHeHga
izWHNxremIzaYFOScPlBIfqyL0QJfEYh6viUauyxEZPaKixTbGWxAzpaACyc6GbtnX5fLmlAQYHB
7HiUrI/vdqkyiDiXfZ37lXWAUP5DZ6vwC8PZowEtGlv4oOOHwABG4BjWMvsR4hBiZeHojTkCNt+N
XZKHXKFGdsbKYfBLDy6vGHL3MMeAsID8APwCj266+0gP4WV1B8MxjHqFcx7kaBQk92iNWxdOcy2O
hhjoMenw4bX7AfsqOy4hAujjp422OXQYKf25APIpaCZxk+FEVdyIbk86RhCjkWiS1J4eN+1A82yN
x1ixzxA5hZht0MZo0giETqYUPqGCKyVBcUqIExrrhYe+MfAjDKNxm6MjJqJDUbToxYuYbPynRbMT
WzqaLihc2o97mjaRgwzhoYZ2J7kyuSG00dANc0cf+q8e2zYfFpH59YoTo0ehplCxO7Rl1BkDd0zG
j6vGi/5tfwwk8MSR1aHZk/cWrRvIAhKPkW/MG4k4UTwlG2L1ixl4KNEwmqHLzwwrvOP0tXJ/bgfH
lB0b7L324rGb49UyZq05HZ8/gR7cFgSCTI9mSgrv1k6xyjU8uaBx131jVdDti8z9DH1mPWFmeRhc
GFlhnVDZXJw3fMULaz23+Xk9kR+MtrS+bo1tAiVl+NpOm3GuxanWkJgPkwA30LedRVS12jZldT/8
nMbg2RAtkTZ72caWzhmuRF2gg0jmnbjcTE2bpjNt21kVdxm50FKDyFvKP+lO0/2MFUfd8FPNEP1m
V9rRLqt+afgPEKzvhs3sBrG2UuY53dFunNuoCH70uTLv1uqOZrOvD7tTAzXyXBgNH4AVMSOK1B/p
zfeTVcewnr0fYM0x9V9W0JnbwCcqcfUdvvzlrsFWVMQBwYkEer/fk+Xui2B/tRaW5SxaZxE4i95a
LBbnxYIEm9dsLWu75x/WIrD89WE9ndq3NVz/jT+3j+lP12vb9u2bxRfft9d24K99/mHxT6iate9v
f0Fe1jxo2XPXnh/saW3aN9uyLd913cyc27TU1dahtmxEGFOOPdUdDppY8I4+bzA9fdlz+3BAVlJb
/sO8Haa3A3zkjeNwLEwdeFshClzfDM5iffPFi+0DB1pPb1NxWpjF+SebE937duPa/oFvp0KafLPX
bHdrnoMFnfhmPQVWsaa//q/9G9v+lrMc8JfvW79bKKLfPZeEK0v0Zh/dZ1jt7fnp07ptfZgncCjU
jy7myU5m89S/7e03cn7J0Am6jVd5FmEZk7otBmFiCxCvXQvJAz5ENNuJ3F78L1SNayGdWwud43bL
p7XlfT8mF93iAhxsn2N+fHAn3OuCq9iPFwE9bhbHFXSZb1srxzQFZLI4n53zyHKc87l1LFIPZzab
OUObXY8Av+CDNdnVyatf5oITdkQuIjKRxdlxzHM54+UOwHNtm+eUzXgGuaGYR9PzPBMvvvP5afKH
dKPiaU5Nru3h0WE6f6yIwEwrc1baM6d1Zqwx61qYey75FlvD34t+zb5CtKveQLGW6qzZpTcGivpq
7CzH13YnV/7zMml2Ot8Xtw+RQFTLZHHVFGb08UWIDS4zbXEh4QSm/gdN9x45GGkkoz+m+R7uvdfM
nJ12DHRx7EZYoe+68Hf0Dev5LRCIVlARHfk0AF+GHYM5+BoFIKH037B9+s+F5PZOOXkgT7s2B1nH
lDLbUYYs6YFYKqFT/nQ/IqdDDJab+rY+jdaPGWSSKCOGJxr3qXFTpn80ICU/5Yl00Bjt5Plw0p2T
7+GZQJ9qazq5PFrUl/GesOpCK3k9SfMSxCnQfyT3sStljhlRz4a2Gh+En7mAzkaHC0TDVQ4y2KeI
odRjV59ShfrZ6jMz1n3QudAPMErvmfHuIJhQ7LvhivyUCeLPRbuOZ9RbS0ooJgH8xvvLNlqowVBi
fpzfa9MhHSPUWZ8a+zCzppT4zTCTjew+so7GV0LqNGUez2pwLaB6SfHYjgl5AIC5bQxpO354T+a/
ACC8nBIlrYyxKQ2eNt/81PBRkLap+KN+jfAb0V2NcgaxGGXVUzg+NJldE0Rzc3SVJLu5DqC9f7Tr
IMDtGCZFR6iJELiwoVFrFZtSW1ecHsDV8OrIzvBF48/O4BMsYUcyr3al0ClA1KDhSFhuWIBgr4ih
Xo02geYiwDS2c/QnQG83Mo0EOdlIOMSQsGDzS3sxKi2EQnAVVFQNSoEk99Qr6QEGGeRtHSoqJOsK
1Ha0LxQbm074GGe46r2RxwSpX2U3sObFVN89LE/bV+Zq5RUMlLIK3Y3xHkXmENLRbhrfEQ3y1A1k
ZiRhyPLwMKvNT2tRt2iKr9FkKnnSfkeFksMwNIsLm2qnUsRZrUS39MQYbkrI3m0PN4fhFKjDPNxr
C8CbaZUH6qZU7Dp3+5HVUIuJJOmL1ykM5ENWPrTbW1lYzfLjXVorw2Qy3laFo0Bq4mNDDjRBt5/g
SINOzgasUsiaKLMoG8neFUunSxw2rsLGwFM7ZFAZoudlD+MN6WFY7a6imL8D540ZAjhyOq4WpFdi
X6ivRyiOcANkATCpw9Lg2IQzEV6+9hO64eOKnMdOfz5Pu82Yyu1qkq2Dy6iOxjQ9A8MGlLpmR2PJ
QfOLypJjW3ylodnRqYTeS7ovxh2uwxRDTF9b5bQ/rOOAw6dLQH+uRUduvn3MpZV0G27bTXocc55k
TtvRBhTs4hf49Bp2tG2n7z3GDtFWQewouQWXZTxXwTJUW8EJ7zV5dExB8i7YuoKh33VYLxQ/4b1J
dqPjkyES3+1OtPGdotsws8eFSV715uxTk1tuzhOy+fjcaLBjZW5GJL9gU5qtos5CEZqbbxp/Zk+6
iz5IBrHYNpWP+fpOjpB1FJ8I2Q8CiEZUCOlCFQbWGiHzFbcJQm/JLRusVRzi1YhZSRZNWQAEWuGO
B27PUPOQIt4LO1eF60aRFuQ/Y9mGzFUNDCAw5SOj8x8vV63dlqQe5BsOE/I7NwdrjaIWLvZUuypt
GBRf8L5UsIvx7nOOft8/BrLQ33A3WMerMRNQiz3sgwQeSplF6po6ZOVJR7ps4QfdaAvSf8yVHm9b
uNuMPt/PoaNActZOSPV4/ezK1WcJJkii3ruja0TlQw3C1mBYceyI2oSbvME3w63IEVkeEvZDkxJO
duy+5OANvv9e5YM5ZYvWme3TS3sHp5n+6bUPv+6YOXJ71wRJEsKH31Ve3i0+p7ZwSxhqOtBJ2AtX
wumk9oaFzfYr0ndhWT+kFazjlN12U9GaMvucBlCrGJykNkj3GBfWEHG3m/R2jhE8Bm2kv40dpo4O
d4CdFrEXYxoyUOYiKu6bD0ZxVdpuQ3ssukp6SpHeTG+vMyD2Q11kxEyYjQmrpno574QP1i4/fonV
LWDiZ5f0m2eyaxNAdkoF5ho1k0sz+WA/S+zr7YRJfU/69+cyfG3oDyT/Ujuy5ladPY5tNXdGuVN9
fvSBN2zWhtXnwetbZsLGvpoS12H2Q+xBLlbCZ4gif+DrIzf/rHHZuFCGzxXlyJu9ubcjl5pGwjgE
C4QVbolGbit/eM5L9lPdNbIJb6G9vBicy7BlXELQsCc2t06MgjJ3L+hJJYeIN1hUx/Q7OihL1dN+
h7PnZhS8d9VmLGamzXW3pUVzX2/L24XdEX64sHrA4xlygrGOyFv4hGGai4cr1TNmnknGSAsSH+VU
L9/oVVav0FV7EeG1IJlyE70OmBBdUEPA9pQuQhFDpbB33u003hUlOzVjqJfvkwzc+JnRwhZISE50
s8O3D5+8GbZGr0NvPXZ/KCU72ugXY02GAv72B/2EWGBF89paWhqIQyp8eg6cDeZEDXqNa1k5793o
QI0ITFeUGBR1lXP56YAKsQk74M4ZM7oTk3ssU+hn1Uyoa4ZIzpoAh9XBHmz0x0mvwx99e/FRBQQS
rqXbp//0hyd9q30pS/bkl5+guN+NGWYgrrkzxDjiYj+VZYKG5WNOdGoLrFf3zXd5fwSvbbp9ylfN
Cfflh11l4PBJKTHONLgPYVb9twgUW+Jiz1APIDGoMicazh+dm9E5iZQApyIND1pTRpUA1ZWTFHHL
YD46AWahPMbQVWYjUu0UACb3KapfnqHwRcxt0M3k/oY8Ev2rrztWEtX6Q8+H+SltHaYHYA9wTrdG
Dx+AlyL+Wu6wMNPIjF6WvI8oGjV8Gyj19cqJDEviQ2qE8+rn1oDxtHZEs8JhnLoGTnkSIwWZWu48
ND8t3B72LnV6XOj0t23s4/17P6r3STAmG5s2BaPR6uI0yJzRV6ayvdCtCK3tgAPnAL2yN5jXf4yc
YFQIT/N3d5RG5EiJFWsGjZba8PT6kEQtCD1dipi5c5tHwFc581LNTnRg1Ik2F45WLciXZivMeh8G
LXbLL0/3Bx7oVuRiekwRThMoopTr2BnOLjOUKlj4MNMG6pyxoAieYPaaz62eqZff5vCev2AOEdns
cnhTDo7bIOJOtNKU7ZhbcWnRUEIjqNYrm0Ro72ljmg6XkEGD/fhUMdDrsulvSDjxFGrJVCILVT4d
NykKmojPVcwTr3FK+njU1DKyghFDHIVmG7vSwXQcSHMdIvum8RPwWro+aN0hlXzTl6MxuQnzWC0Q
Kdkd7KXAkp+dFDQ6NCNjMbiA4LUJGilFsotNvgUeK778rbAApjyD3UZpLmWmttJWA5JNi3wM8GQc
mtrkMMWN1nRpE8n28V3gujgBDZzBYkBlUU0f89bfoAFewh1GcF73Nw5o/rfoUPxGmF8u2ll9+DjR
bT7PzXTSuEKpPUFhAlttCmOMzskWz0koea+JUGILyWkyCa+lk6H6SW2J3Im8jtkTF8zySreFL9yB
h9u9twnnEe/J7grcDGNpK5Pd2D7SJolKZOR/3PsFPZjQOSKrRz3Izo8GI1z2Kygrh97kFTOG/Y6+
t8S7CakDDax2wvqAxEekUdnI1R3dczukujT3T3B0g29MJ7+y+UUm6KEgpHlFUJrpBA7JzbyElgPk
DpCT9xLGkoYFGhpOX6kr0U7/xSnx6pimpYeHX4PPMpjQCcarJYr1HChT8UhDbMT4iEfG1ily5+S/
H6eaIZ1xYpdRqdNqxhwcj/bs4LcEQaUnnk43whK/53Qe4ulTehiPOs9llaxrPE650tuC35GRM6Hz
dOmGHdv8A9uXaqtDq9xbIKEacIXxRqBdsVdAeuZMiA8KQuvQHH1/Rl64Ngpfyyk8TqPKpM0BMQjl
92BFIcCE8W/ArO9okM5iMv+GJoghjJL1uNxl7+605g8GyxCsd0RnQHQUvCA7Dso0KFSXlPuPotUK
JOJLroi5a6CLv+g/dmah8wP27i3OqRM5hZXOpwiVg1/4P6/wSIh9ISihf0cwfALSnoKG278XwHgI
TbACmpDcgQ1wEzm3PfsMuIVoJ0yg9BJnsf4dTpmZyjKYivWB5ZOZeNMXEUNeJR4f1fxN7Y2TKUjC
S9Tp1v6CH79zjHyHPmwT0VPqUfFtufn/GhNFj6FQBXlYglrom0jk+e0ErUY1aVpPj4qZNQUxGUiL
RgfcSqhvRTVgPiKCz+jcgr8nApBR6b9h/tfX886sSGYIMJRtBtTxNXJS80wuygRuCav0nAQRDghv
Rfo+MXYMM0dhPK56ZszwMkatghLW8C4sXgRinrK7zB7z0BlY5859TSGtd8SxMGfCFr6U1uVW+a9v
bRPfwzfDikyDXcqGt0c4AM/s6Kvimy7nPQkJGx2mIg/UBMidEYHtn3CBXF/IWBT1nYMI1aZ+8UdT
0TCgTukO2MbrdJnfweQQCdF+nX+V+3r+Xnfzdpuvd9FpRJ1wWRFNYEZVCzBBDPH44wX07+ILrTTi
BtpGdYzsPYnGFpQHyMPeDnAz+DLjfY3Qr9mH355GDzoqefpNfYNCGrX+LNqPGNE+mDGDd6Mssu/3
lBF2U6hB9TbcSJtuA8IZHiMDkItgvk8UdMwRwPBnwsQg0rW3yQbabSUIUALpnyUplqHIj9UreZPG
nD/lG664hmBFOMBIWQzlESWwnHvzfavSCX6UDzjHDUNPfAxqEEeYQtZGLGWPu99j51u/fMvquQhK
ecX8pyb7eXS/CobX+odLhunmK7h0rA6I+QeQdavSC0RYlLAiC0AxDTA9YDzBe0cBCmFFZAPA7cKB
meQZsakQJgr6TGKsQxaZuHwyf95TV3m1aEht9t2RlIGLHEmnkb7thw83z76e7CCDKMV2a3UpgUoa
xoYzSRLrGplqpW/ONXTsURma7R3e4PLd3kdoF7/0fsaHo8Fna8JPH5/EIekigAdp/U8NThCvk+kI
4UHmh9H00U+jIZiHTWKBOSzECRbwOX3TMqNB3Spj3qSbR14GwIttO2IeqNHIa8eu+vvMvVqx8pIW
FhePTGwjAT/gvTGglCgBHKiCBlERl3psdrr/0CDQS6zBYUOdUbim0NNGHplpzVWRAiNzusv8E20U
dGgIE7i/kfPWJjlLGNklbSI/VCuVk1zRNCJLyvTJ85AAPqBHRsiES8ZJ2rL9SxOJO+BQuuhByeNA
2KLRWRt6IwGSMHTMD2H3kG/QaUeC9KUTw9DC/JI0jWefs74bLdR58qt+xTGE88WPDu8BDvJWhbSA
fPqDNx7efc4LjIYOoevjh70xAdSDroJ2p0kHxVNuY38yRFUG2axa2k5dxTITyq0+cYDOpQ74wY4S
732UcfVIPCbqPLFWHQMFmvqJzJucnqIPWK/FGmJNwFehDEYe7VZNsaN1cj6iY/xE0wlAWX/C8eZD
Bx0lOf2H1/r6pH1Y3oouwEO00+dxzSAHR2X7hPHD/AmvwYW0CRdP8mdaPUEJRMuJcFqEpqFEq/A4
DJ4V44asDPNHzWVX6mmE0A8lqibdJR+SZHYse4SEkH5MjcYnMReI2zaLXdonsFcPKf1AVvf9oVrI
9DpR646YlP32+9U31iDHkQJ9zbv+ZQTImEIwHb/43OPPhsxE/8qm0mawQ1LoMqZ+yylzjsONdqvp
ZTtiBSPRVEcf+Ay6iHDdsUlT9mCzV03K1O4uIvbsUlpU7MvzfAE9fbVLCCtYwzfODIO1QgP3kI8y
HdG++Hbzc4kKHajyYfjhyHC0mN6yaBv3iD8/xxb/0HQVo0uPJNlP2mJ6yYEOR0fjMNxBWDvXq5Do
0JKx7WlqF/JpEOk9ChMbJAPFj+wQc3go8csb+jQ0gIL9zt3PstnseTyDn3247JMjy5wdY2vlNZYX
W56H1aCFlKAiVVmtVrOj4ziLK0JS8dR94/We5iUVWq90OSht9bkZPycYehv3y/ggl9cC887RDHUS
BWTuMNulU69qe2bipCfRUKauH8YqbRnQ7ko04nd+wUx4JhVQ2G4rIxi/py8jeDBm55bO3jjWp04z
x68PHlPFfQuUq/fwA8baWsRkOnfGTMuwxi/IQRuWVMWs4+FQzPAgVuhMxVJpLQ6tGA2O6oNbwu1C
o+OqzxMQAsEHkTfLd/mugqEh0sVtRQLaJ1eARfdExsAmjGyI9hj0ICHcMZiOK6ShgmdvIIjEM+ka
IxSTeqA02sLpCCp8+2Ru00sMRuVK5y7Rkncne4Kv180Kh1aiwD0jx3zbUeczSojaDmQHOpVZ8AxI
1zEA45jUZQhJSQx+ErpYC0RCKvcdfs/XbSROltiHrYKLDS8TPCpc6XCyITOunfLG7MfRaGL0gmse
QwXHYPQUz+21XWRnwielXoNvJ82YfJ3ofrOJBKNpUT7zIrIMZPGhRzSF6sX2IEQoRGIGaU3vIdql
chIDNuEak3t4AmPhW6FFh+oubUBx/oQ3ClciMxE51W2F5PA1HYP1lu5zNA8b/ExNSnNq9HShAj+j
mrjWmRUXc4BtHh3iZbN59lT5RmSNT8UVpDs701OSAvfRgRsizZ30w0lazzieUgXnjrp0PC0Q6ZX+
SwUx4fMbH0f7i1scy7PolQEM0K0oYxoHMNILpIghVkz/CMAV5N/HzQi4+lXlFqHLSRsBgDq3D0AH
8HTlx3cmsXicQML08J7BgnjfLpsv41CumLhwIVQu0a3CbHy4AclaxGphpig7Jp5DjA3NJhRyZrfG
2wA7YpwsSNgYvWa+5tV+TMWyvGxK5jRvn8wRq+bMGaxgful6m5fIbP8mqrWt6MqqBVM9wVobbJ6U
A6yG6PLGXQ36GqP3O4aWi955r67MCQUWEDq47ijy9XypHJ+BdoimQC0sHKG5YBd5rhnMgPDtHv8Y
91Z25fvjFMFQDJ33Le3Yu8PaRwgATtAjmLnmNxAhph4wc6E6FIuPjWnWczMImkWzlg/1LF8Re5FF
Ivu8IUgAtJAPbN5U3dHTln+RQeSNpWHyUWGVbSXvhcIuK5ktMhx04kJeic4T1J06nlWW7xr8xC/T
2CUeyBNEJ8VcaBMp1tHT0fTX7lsYkh5ob2FoNkPNM+c9UZmNNVy9UA1gu1LPiveBdco7Fyxr8IwC
wotiv+BA3Bm1V8/oFII3Aj2gvC0Z10y/UGYb6TbEQfNSOlE0l9hYOhUT3Tk/jFXxTERKbT79lD4Q
1vPphFiahF7/2auazaFGTIciGeBMQo9RncPCVpgT3y9YpcOKmZ/iN66ALTJQVoKTePeo3nDYCJK+
xi3fywp70C0HBTD+LuVxGkHwPO5AG/c8p0cidSo1v8P35uGXnYug7q+potLsGLsSKmh6vzJHLWcI
/vhhOliR0HBQPbRldfrszBHtuxjDRNZr6F2G9Eq+cSWHqkDuT6AhiSVNwEIALRoeHmCjiY2bs6Ra
l+esaWf6czbkR0Ql5CrI82t/+PEM2SPP5Z+DzK8vPp2SQg9NGwD6VjT0soVwu4gsoK83Krv3pI0n
w7ctf5UpP/FRjzhpMX0JbzjCzVPfpep8qNgpwjnVEgwkRmOo6WhNx6YI0hLjKDyikD772BCrMCFQ
m+j6nwANXqw2U3UqTV5+bfd9Oq8OIxB6Cr5NAV3FpL5q1nNKL1rwlMqV1YAOmDEqkoQQ3ZS/dfRT
f6wx1uUUwB0A/7S6TEe4/pBMYXpAZ+ZjnaE920ZLKKkI2eySq+vT1Cy8NwYYfYRz5cVOTkcsOyo4
MFrqhIx4Xa3gq5RVuJaxXXrfwzmMMTY0134uNE/9fiQeoMAiMBpBeHtdUeRDLs7GPxlJj/CGY7sx
KIMxBkLTxCC9GWsyXbRe+PP6YnAJZJfhgxHQ5oynwySaazhTICc6/hZzZcp4QXgE9j+2VfaWVxDJ
3nNDFAfPxT7ytwhIx8rMbComS4m+VCX13spSk6Zluh3RhojMrtiMaQAJzX5EXraMsC/AZUp3xDBd
hnwxbRP9D5VU63+oEYlaXoTMC42dPNE+wQVlMl0TEDMgYckPDkcMvi5jl1dzmE/j+sx4FsEPYTDD
MsHp4fBQL/bYv4jJSDlDp7tbS4qWuHIUELuG2BH244U09hjoSo/nCwNb0H46SA2cJaZE9RB4hSEl
F68DzMThk4BNNzqO2pU/NCYqmxpBSccGiGqDObH9F5KlRneYNMv0yC1jmuTx6qJM2uc32QSpB3mE
pgjtIeVeb2CUK6ZSFLTD/A3E4N0uaDTpa04DghzqL2z22dN4B7zr6VRkI+VBmhE/9EmA9fIrQBMj
A2Yql0czyhMqoBc25CX1MN3GUIS0mo13ZdBrHmqaFigF4SxWJ4lfULxCmwBYkPZQDshfhRselY0G
2ud2aMrd/j1JkQtWnlYySsh8J9YYoo+ZSngnE6Hp0P0EWR5kL0YRwCcSKe28XkkXpsoxgp4KFa2s
rZKgX9hdbw/2KjdlOtQlEI6ZpTcolkU85agcbwhNgeMC1kKQHRdGQuKUQ7NQ672/q4GvJWRuNlmw
rJCcu4zFHdar4ZFPllHqSCWRuYFAJHjoipXAelBeYmW9dCfHi5/56q+AKVkSC6FkInIAUpCogpke
tbtLKEbGDxKPseNFK4aGswxf8wRyGvM9AO72zLnAZRdziVmrE4ZOt5Dv6SIynIp1quyzscdNwQvZ
2Fm5lPUdLWDzZs9f3CqsrAKeuv179Iu8k6eluI5+3Iy8AaV7H8iyGKsjvscGjG9GYCZu+VkwpwPg
gK9s2nxlRTI6hfkiyAjZsVmmDX+GznB8aJQAreUw/6J5kie82XMZWhNbYlkB3qP/IGmiBYKGBeAa
nkrFzKpjR2bJcR+zI2aC11FIr3pzwbwQCD54vdeISGslIx/ir8xc1h43Qd542sBh7beob+kRhvLr
po02LeoZKR4MaIlzWqZw6WyjX7KrsXEyF6osJxA+9BLL4JvlJGX+mbpBWKD2PjUx3yg6utYT3bwq
GS2WFi9WPPN0HBr5pQUMcVf7NdguXB0/7KC0MZA/0v5XQ0prNttXJK0T1OF4VWILmLpsWWwctAKh
ryjZQTKn+TuqHpktutmMbBOhIffewGM36D4eWw77EDg9XwfFQi89VIJwwnKHMtrjvuWqc4FleLPG
4pZLHovBcCrH04odrp1Rv7HY+4EZUlfSgXthKTninsh9FIRUzViNf75B30Wczd2XhPTPBIUCSmHk
It+Uvc0Cz+kOh75Y4uwdqXYsOankcmsznTaCjKD1kK1IsQewjYRBlv8ImtmiC425uc/sm/2J4c48
c4A4BK8/7Op1h/cujxLGJbldH7tv3haJKGhsh/gaDWaPGbeZ3j+moIC6oLp/vl9MhMx97gxx5gNg
NJOnE0bfkvNLcGW8HM1wOhIUBq8PpmC6LGr04Zg3f5iLbilHcDi6YVnSb4KTmH7JsVCOMi4W9Adh
x8tlojQj1cvv52NR0xyJ1BqlB/cq2vgzNXkypnoXzJQYXY2kufAQBIP7wmAVTPdkcyD37AJmutOh
z3A0XZkMSxY8kQc/1DlKUq4ep0qPh/JNvcbWwteakbsvt3m5ZNnx0JbZQ44SgkNEp7b+rRzHR251
nZeH1gibHhqzjj0p5Z6SktGiQGEliwdEjU7mhz3ab5PWiQssutz+fjnGuDvyS5/UO3crAuBn62Q/
PWrKgHstPrF6yG4J+UXr1Fvy4xNpeEsiPUQCXm+pL4nkzdeAjQuLKqBmdvYCpz5qPhz6mIojIoox
FqJbzknoro5cXR4ARmtxCEIRwAwCyWF9cmD9TZVqZ/W2+EKrS9wplxyjMMjw1nxlFhgv/mxT2Czj
oNJ+9be9Q/3fyOHuiGkvR4Ve48tsdFffJml6+8VASGqH7Of9toezZvMANL0lPmJbADuiF2fPFWBj
Y8YaEySVj/vq5u/zi3ECFw/V838cndeSoloUhp+IKoKkWyVjTt16Y2l3CwhIEhCffj6maurUnJlp
A2z2XutPC3aJLanV/sDfFJjbE3ARQ2iqvX5H+iMEhscYYLA9CbPkbOx353oSAGcYhN7w1HHEwXSh
zGHHor1iXhelx9hZqEcm6EA2XnKH1rPDAIFZx7DaXwhMBA6KnRD3f0XbwFbIPpghvM0ZLDUFO6Tr
ZQwSXQkvV53axAJYHEu5/wDsk1BpM2RmU09231XE342muB/nUvEpmaMNoot8+CRpTnTKQFoREo9v
yeZLP1SM36P/Reok/x+VJX1cPvXYJ5LStaPnymEuYAE1G4iTAVFcTAZkKTTi2CdMCz13t33Bncrj
ZL4rjOM35DmXD/G35kDL0hehp86815KCl5aYS0C3BAJbb0eQE8s2bXdjPenQUcjVS3QaEN0MraRL
p7dCwaIe2fvRj7PtY/1Cz5Aj/lChntGdsB2Sh8KHIfUCXcc2/aWxpfOiLZ8wQggR0sd+X6OEAhn1
Ybnk0MDDAM+My/8Tcp15UV6dSZwqCr81RHv+i3Gfj0rsoYH9YjLLxa/mV55QK2wa/ZdMiDXvyscS
Ag4txPBYz0hU+MX+9b7WLYkFzQ9XwGi8BqRCOeVkhJWryzukB/+4xpxAA53Nw7o4SIVt40byCCAT
RmzVvsjWRdu29R4uvypXXTvXi3siY1tXcaqUZMCCBrDony6H2HjuNZ4B8Sns6BBLccVUT/IfYvBi
exlT5X3sQdu+iNiQFjJHmrIXtP9yPoy2fk2NA9nzsPuwOyIHom/ra0uk6aAAr4nmpOthK8DCV5wm
1QJ5zOSHcebiAm/7G4NJkNaMeQ4JEogv6zeyak4x5AvPUK6Iil7GN7NyG/T30MKYdMqZvjIpqcqZ
LHGFI8PPt/icLbZgOHhlRP0YvOC9CUdpw7rcEkb134M27rO7XLk20qwQEjt9rC4rRGGFz+/qOYfG
0vSTdJ9OPKp/eTvZZB3x2e/HtYcqxNgluk/E6fG6sifB+7tEf4aMiEMMdMUF+qVnGWxhJy+Z87Yy
sdPM0pUwz1xmMS47+3Hs569F4zH016G4xzVJWNPYajFOXMfwqm7H3xf+45A61AuIdTP3s8DoOA3r
DWca+IV47krTZUXr52niG+xueHJGJ3qGwsk6/B/6xQndNLBojw2z/eheTFgp5IcMDdIDzsXamMsT
X10/VCzRnMSCb3Iq5xEfjUK9PozjO8nX31HjsDV/ylD0IMz5K6Z3xGORDkigksnFiiImxu9CBRtU
5D8xzusOGg4qScNeJTzv2rBHPJe8RwsUYi75s0NoJRJSh9O2gREEw+vmKGgW5dtjj2JvCAq2ZJQP
mAKWk8mbmfcgsoivdMmPtGOZ7FQkphnmkQuhuk9LvLjMaGxoveUC/QYtjLqaMFHl4QgKs4AAumE4
j/UdIdaQHhC6FB/nUS9bcdcA/pAXXs3ffyI08IQat9yIlWvC2on0ynjsesUTTo+Ish8Vi5QDmcEH
Hx/VIpc3QPYKlbJCIoMlISzQ/K4LdUbckSnoNwwIYT5iZJED/4bEIP4OC2S1Qed/0anDneL4aacD
7CSkUb9r41n/8Y3nGqpg2AArDAsDK9JNYobaYpMFWO0PjOE6T+4fhHvwIr2lGgsV6dai7sJ04kw2
yBsu5qwZqwTk16ggmO+w1wGc3tMJYgWyygrYWm3RRMy5Y+iRRSEByio5iv8Rfj64AiEUmB/Rrlva
yoJZ0oFMla5KoTRZXjBwUGcMCM+UP4C5Cl8y/QZWPnxYHBzT+k/3KZHME+xC7jAqCJ55dB5Bk0gf
O99D+CDP/eIklyJHOoA5gyJxnqxR/PY/aALR7KDhES0JGFM0z+ykk/ef4H/AL3JfO2fE+5BKZj2R
x53iQx8+6Dma6Qv60i9Cmq+eLgavGQXBnrPntVApwvhxVtSGiU37CcGWTKXnP6oPKbcF3JuzdRrY
3teUXjYhVvbLFhaUxOygbJyo+7Kwwm7PJ5cvbAH/DcJ0rjoDcEsdrPevS9fCgwSXyVdEIbl7LBpl
lLEjUz8tqZQJGkyd5Xw2wyXMk3hZmuglemJ/x+hfwaGsbEOIV4FT970atsUdF43+PbkX2+eacUUz
H6uE7W79FLbkbRFdvSiw18tfjzOM7eukntImfNNTl+TEKkuj3Cn5taed00+KGKJPEcYj2ordhwv1
o0+s4aZhH5NnVGZtsYAT1ryPOVOOl2/dxTZt3qmPoudC+j9N8kU2ZQJqNgXnlpEhLkHSNHKykjms
nvzDCLoG1w5CabIRUoeCnSm0C83jSEz2AiAyXCCGzZ++DXsw7dRgOa+oHwQQ1t8P6CkYfSp9vZX/
Td+n/ZFolsZD72mEGMBYNa9lvBVIfpgXxFeJfnXhtLHBJWV9xATBow0FEdKDdmhiBFrp4fqhOMoF
ZrdMPDpi2ts2ZGKSthQlO1mha7NHfSTp3nbmPbbA02ggndh+HorbZ0cEKKP1Vu1KsNIvst6ci61o
9sNtaBWmSKRn/TH74amHGZ4jneUM26ZX9adCqL7Jv14/FVMfsRligJyr8FXT7NpQsvSmK6HTdUhz
QARSu4Cdp8h3QHWJm/eVQLijVDe+BwdVDohY7RmJ5Z+Vn3MS9Jd1BWGIsf6zVZnM49dXKQAwS0hi
PmqbCB/9KFD/E0+RNlcgCfdI87LpQTSd9As4KYeix4jkKUG/o6VGghtO9uaGQiINYf1BmZev73Qp
3wVCQLMbY7FmBbAK5BsRdVSpSJdWE93Hifw6JvuJZFVrEHMzEB0pnqn3cUog9Em34FZql1POMFxM
Ye+pxxFBXlo/y8vgkfy2HtoMKFMarQiFNfKvUDnpe05uckb2E7hAxFm0LPgwUbJ9CSAcBvPuyfcs
dupfki90w4akGjCDTtDOv671MbtWP0gf3tNX2DLiygKkxfJAn2+LDiK1Me2LmukofgtBhkHdBZFT
MHDTw2ZkX3z87kqBWv2+r5PLqv+GNa6IgkCxoYrkBSXEe80hTGo84qEQO9LWYKgu7a9CusaI/qNw
NrCvM8llR3st+58AC8U3EDllCvxKZ+ujBzolWvfjxKQurId5CdpvjHvaVD9H62JORh/HeIg4q6bw
XDGWYF58cwc/OEQt8ZQhLKBtQe/w2OmUJJvH7XE3LOAngIyUBUxGRPyYNgtTRxExIXIExr7mC9Qk
Wf3xw87LpTVEp3KkTbwj6KycyVfzlUlO5KSr14Yy82nnK0wKFHWk9myJA1FmJIn8jv0/NZX7gpDo
neKHyDHdQp5XIbzEYEtzZpzemDEifgDsxE8OCpuubcy5Ec03RhHGqOM5v+ouV7vk2/Uuxg2s26YW
dAz1eB1RzD6XCBD2kxWoyQlyjbVpcQllJqPM0KY+wiemZJYtW+GY4cOAvT15g0DWTEfBX/obfzz4
f3AJsHIg7UsSmpdQr9xxPPp6suazRS6um8fu9bnY0mOvASsDDxAY8Z5hC0BaHKMMuXQLg/S2XHFJ
ih79ij1qUUt4+gWlJ7P4+mKrAn/BcX6msXDqgR/E7wij4/BYfhJ6IDqFwroRfm8VrtyPnkrhacls
ImSfv7eGvGwSlyvw/EovHlmN3M8UAUu5qK/Zc6d1NGFuJO6oPmblslmLDDET7WRyAP2qdmm/bjQf
qVNPfpboERJAFCXUR3rGiVI+fKgAJBPt92ieQW0yzuiDKYAZQYlBZpW2kkRXJWkFMT8ukAyNmY2a
VEErjkm+CQwKuGgPMvS8gwR9AFG8nEXaN/bz4yvGklI7vtgI7YUDsqQbrWgVcv3GJYzQ6Ii1lwQ+
t9kqjKzaVxspqEPJHYghWD6cyn0BiBwuC+VbWVVvC3lbmszJb0EhSV29yRhdMbgvkZU8zVZRbz8T
p/nTZmi5KTBQxAtbHekptJ0Yduj1KCrP4pupUV3hkbltJVtawgUBHz4uCd6KLBJUPw8r31R/MUsd
rfpQOrg7em3GG4oQCkJYGfN0o/nv2/BXwNeqCD5mT/lQYSCRpXACvN7v2RdRtcdEs22e6YrtcfLL
SFXGy6VWcVbH4VgNJt/OKxbDWqNcB+zV5zkKdQTn47OcvF19Kym+WHfLRHE+gqXCNAQ6J5V3QULv
kBwO2IUxEH58Fe/M5QfB2ItgD8v4yTgvA2HTf+szY62b7EP5IkdnAkzpdrcEUtwVD2lojFmgUzQQ
IvJoFnGyEP+Q9PQMJPd4NYPdsJ92nSMhhaXYrvmziWE9GitCJrJWmT23J88bTgUYC6UdDvFdh84e
MXyNBIMNgzTNmFiIdzC0CywZcfUF49PwbFc+pdIFIRvnL/VAKbkmgVx8ehW56YyP0q+Nh60v4zsq
M6b0xhkIMXQSFiwYvpHJ1rOwBxvdDbdYYWzmOjskhgMeaJi2sS3/WtWXb+DMWR5hujiqV6Xagloo
ipMZYQq0ES0pCKkE3lS49M4ofRWrfpJGeAlp0OmvaYHy/aDhDUF/REntsp+IjEvHL4LBEAcWalBp
jQv/dYYiMY/tnthGECevB0QHTlxTI5eLbKGuYbwmlvJ2s0DfxwjsqLXSNUO/kZnSWso2OEHpXrby
rTyLX0CPdAoDpTJeQ0ShwIgg4c0N1O19Brol24E662nlREHiRUocgHD6MgpnxIZbVho6DDjuYqej
7Fw9lHBoXCws4wxj8A9A87Bzk1W2ef6BoxVw4mdzjoV/DJjR5y+SN64Ea42shsmkXyvT7Zp3KW35
1oTpDpwf+fgXreN7DYL5cgc3vXEiwjMR1r16MCjK51gSAtDTB48l+gd8UdQYRO/gMyPWaQpUqn2l
9LbE93tjaxIvdgCtmOkf/YIa00DQexMcdZRNgYVethKyeJ+qmFKzGOc/T5EB6h8uJnZ83uANcIcG
6MwKeQS9yFRUlGs2DUXC4LORJzdnEls/Xgds8R1pGguOcWRRLDqeF1s9sAaA9ikzi7V5hOPm0oK5
pVjybCVdAsq+CKU3phNhpsgMxXZJgwXX1V1o72Fv3oH+6ToodNXCzR1qsg34PuPs0240MOaEvyB+
A3Eiwg6oT0UJZJOeB4BEuyJK2EF9GScAjnWik7rpEincCAwR+tvNaNbFOcGdMqHNU0oPVBLdJt2x
vOHgtOCxMTjFVpj84/F6g3YOHhYklMHfLHAajvFYOb6unObNHBwPvI+7gSbwce53MOCo4C08+QnZ
CfN+8/5BtYaRR5LJoU9ugu72RGVCcEpOE2ib44NjYfE+YBtUTypC4o7Kf2POwdHbUc5OvrLfhOMD
is4IkzBmrl1GfKjVHNU1BAYwDpvEl0Tmm9fsKg8nPchudiBOImhujOIARnYnqluxMv4An3VOhUOC
oEom6efndWAxWQYOJuS7TNWwX/B9h1QcswQmiYO6gxhfUp/oEesFSGnyra3gNhAzuIgBdM6yhB8E
MNeQwwO7W5ozubjCf9cofgE3q7a0MXR7w80T4l9SiWqo7f42uSknskreqFhGyVNKvAc/fXEi/Oyb
Zgf+fOE1wZ8Ji4CVQvCH/sGlas047lya12UGlhHNuSY7do1kpfNApyvTekGE0irUNb6zzkIzIhHB
VZKU4QvpmlYW8SYXNcIkrfmgtTjDMpz9gG+JDZKGqOjybYTczWonHeDNEwcEPyExovBQnWblnOvy
OAv7TthC6oLOaDfqIm3Js5SiMf2LQHjoqldy5YLA853q3hu+hsq+SIBXzuxVOhXuyf+ltHIwDMai
AzV6IOB1v2hJT19iXFrTfC1LTwjixXBjdmq1Sle8OgU5xhhO7984tXl82l078RTMtH9oMWeXhae+
kIs3AZPU7GaPLI2nXPerEG8G5RtqRD8jVGL2XjzOlxCBVqAEhgOToW0Hr/EwDFDj09ZdbozZ+YVP
YFUugPZ/n7OrHhPFpxzakHwT5Cqob5VTal01ejWI0m12YM0fKS8YeD1N1iyY2CWz0GKpzzn8Vsim
ngJmc+qGP2JJ9kDUU2H9tJFrkq8lhnw+FoDDk2VCtaUH8E2yIYEh/PziMmydcj79P2/99abQwB53
1pFEya4CUrwJRr75CEsIAlz49b3eErGzIVvXSU+SiTqNz8TCYbjA61TSnjvyLLuRx2ajJ1XI9qJq
tGUOS8+w6+Twkq30GPttHnZESSpuqp/k8ku+hFF8kp7bkTHu6MWP7cUaGQ2G0HBCZZsYpgY/pguR
LMDOsP0RMUA2VjRlS0knfrQjV+cZUCkyhtwVfqMb9yNA8sfza4LR7LBBeaWLaI8NKZndVeDnDREX
qKXsC3O+Fwgu2oNwY3MoYPN+Pp5BXY/rQZ0XS3V3n6R7HmUysWDq8gXtHzZEnlailwa3kO02cfLk
xEOA2PnCzPVmJ6FkR/7/p+nBW/6utBWfIsGy1aI3tBRcjd8PYB0eEGKYiBVefU6IYrUDEOvVXGUM
onBNn1iwB1ZQCAqXpBYE0c+eSEYdUIKbrHoqoD/w+g+Vtuq2+24DvyzGcGNrgPTR4lYg1Ou21QWn
SMxmvY/DclmNoAVpdAfO/x6uJl5DF/Rt0GVeyzJTMeHI52Il38ascOj6UfAAM2GYPuLAqvKk61ta
fI6g9Wio43zcqkUjQKAtetEq6zdcbw5ZCI9qPT71c5WkfVTVWEg8dStsH5xnRJf75BszfpCsoGT6
IvN/3q+eo3tzVE3T/Cnek7Af58K5Sxk3G5O2HCrlBIS4wnmHhQmx6LIMMbJnd9rS553N7RC57V80
LNoFN3EEhBl1StQc+DmH/rQbuzku9ggwCMemhy9lAI+yLKHy6KoAyfAccd6TRX7AbIC9AEMHC8BF
zL3kNAT+SedSaCJGWfFqQeLKP9u8dB4IRmbS9v2FPcfWKFd5ZNbvPUqz72apXVs3+qtX2/iI1Z/Y
Q7LH7QFt4tfjm/12Cp62LjbKKOwpONPvBDqdTQSMsksthXYTbXpYj35TmAgmlnGfOfKu72DJ8zaZ
k8yWAOXAnwnrqnLhQSchrcmYBXFhjNWLbx1flWu7qpdMlT6hWTcQY1lQGVzlcdug6Cv/mlV9IL78
ljtv90MaArOWw/amDWTSsg21a6mdK/VPyVogvoWhcrCcIrZSB4J38B54mfRvtbGSJ4OKH3OhQYII
qNDPO07zExxWw0yfZgeHiqw7uGw7ylWv9UUn0T34eiUARjDCmglMlKZfFJ7pF5/tkFjdptn3TluR
LqDYky9IasInA3RlgoBOKdozHZE/mMnWIMyM8Pq4kjK9jG3qchTAZE5uu5C1RhNULOjOlCUt/OLD
2Dhqyj3eQujn1tH8EsX5bSBGEsfcCn3Yowzo4y8AhOhaUKtAd0/wtsTkwqAjV1YyYJVq6ar78Z5U
bGeFxYk3lXX6JmQTRWJMRkZFwU0eBd54u1O9gjKO8BlhmZLyUI5tS0lUVD6TfmRqPLpOymjVLxCD
egMA8Vw8mBTFbsUQQuw8pT0iETbxaBVmFZ11/cQdO4tXEucaLs6pQC/wM/ErNPm6bSLsLOWrRCtT
pEgonReZOZzJ6kolAByUaHBZ44/fj892dyFEDESH6X2T9ZiX0+0ie8Dtnq54+AjALJ0C1u8Q6bOh
mA2q9VrXu+zXgLo4M7udr8dnx/2MfiyZVbwAtRKykg/SaYIakE6TXomwjuEhYnO44QUZYj+FdiIU
jk1r86Rjn2XgbT8db/VruNqmVTYJkR6gX/KmWl6O73mPSTidTzAn3ZuHn94f0IW29gedYbenJ3gk
xfUcnON5jz+LDDtV72r+BLEf/+BHvzdMraicT2Gn2rxUVmIPPncHH9OXWJQktPscMOoCEo3dvrOb
8hBrgdQ6z1DaYtXs8fQYJ0NZXlh0eJ4fzsuvXIzX8DuxvpJQTr+chGzSwfwu9/gYsiFMKKWN0DiW
e7iJ5q/amsVUAdeppqJfhy3FtAdchyU1glCwsfjTpSWbepgXspOt8uje05Uzao4TtfBV9CIL/sIg
QY85nTSmvS9xdXFOqYwc4ET/BLx9LDqPl59gzW9+RPgFclqhUtG4di5+vx+s3c3bbWE0GjglGlTi
YMHOSSP9exRe8afc8sHljquS/X7hciEZgvOCtI7NUE1fpHEwQI+aFQkcqCBZifGc5Az5KMIg44gD
7AEq3bKw63XHPg8HTFYA8mTVEVBUnp41H2hGjt+m29bnFiTPjnbpirOs9jh8JxR4PIqTgwQyngH4
LXic2tSWR+2926PsSJz2wATt5qzekkPjoKSME1KbZq08XrtmUWyEF7gM1FEJ5pFtP6Y3SRZ97ilR
2C8zMPiw2Ma4tILXrl2y9OpfFZY78xzIymxtyriRplgZRahdhNZt5OhATXwdpgHRvbMjg4xT+HLL
iA44vNn1ev91K7tfcMAoCdXYEZbF4NaUoMY8z5Yv9IdoxWoqSEBCHDrjxSTDmceQoxG1J4zQ+KX5
RyKDB7RlZ/oSI1TBx2xscooTr1gx1bbDbxDy74hblA88RFC9CDF67/GTgAtzgjPgFISeQFhzL7aI
jqbkHHCzE1vDOJTTUyFM6ZwRasFbzsRPWDD70S4zbdH+GRTobHRv1K2x5grIf+BfGRDVhHq7fu7A
kp4rkxpy4mnGfNwyqsD8qnhBRgLhYYGCR9AWABW21RgG0u0qeurVGPPLnop6tJrnxFZUmlVckDSc
BTC/q7gw1rwqfyv77dPWIUyAloGLddBrt8DOSPHJ/HNige8fRjJCpK0lbVsgwaYjPHO9ikOPrq4J
eyZjQ+3F09g4cyDnB9ZwwHdp4LBiyGpgAKSK08+XCKMH3c7U1ZaomBPXAmitK/0X8aav1aO0Xjcp
27yAO5kE+sBL8/vgfNdcn4wUvi0b6JM8x4lHScIcDoid4vuxY4+sep+jQRBm+6ies+u92ZeMtczI
9GpNXFl/bPG575/zRJtemIY313gECEYgXsEqDvH3O8wPFypbw+aQNsOOwXeExlNlc0Qr85KAeTB8
HpXRBjFjn8nIFEBcB3w9bv+hRA4PlI1pN9satUvkGG/Cb2c1KRPEBrBTtUuJB5Mzwyjm7WNtTHBP
rTgq6ABIuck2/HESBxw82C4QhRH6APPgsHyMas4diOQVbyQgcV1HR7VgHtrZ7xCJpRZ6HclTOVMZ
7QRt5K9evyoYwHwgsHtc6S/wjAoz5w3EiwgIKpFVjPWFqYYTcvkqr5c8jXBcjjkIdRu+etFf02b6
OPVbRrMJbJnbainN6315UudqyE1m0omvc3UJpAN+/jUbO70+X0EquYx9g9PGDk96bOoJb0dhIo1A
la+uxhEpNXSn/v5tRvVtGAW5YUv8mOg/W1fvqulda9JAb08SZz8oF6gpBZhEmQW3SB6FPFUwVh9l
HAVIJ35k6kwcgQwbIylZxcky079f8wfZ6lAxCQDKlKg5bnbOX3MhqGmxKnTT6jiBU2IzUXFz8HFu
PQXXSb7WBICGw2Jy0EFirv21XfJt58U2IXkbTQwVJ0tgMk4A0C5fvbzvzKsMUpCnuzZ4EgSo74o3
PTnqOLbnzzo2rxJEyzBVsE5akuYx8/AtnJ/JQVC2WrE2crdH7YgbYxItmuTptFkwXFFMAbiTfvHT
Z86YyM4v3nAKgP10LpipAal2T1S07SpKQ62n1/JyV4z+msOEOt50Hs/vBzvOhuclZ4egXMbwikf7
7RnXKF/L+vqJNOwT1kTM5KxRS752MUguAsUNh8QjdpOeFjRIoWcBORhNidenIRJm+kL5AhFBpcQz
QXg2yuz5UNjdXsrPqrYVe76vm6CLfgWZcqxJJmTxoZD8KVGkbjn96vmLV1G3QwCdWVkD7p/K0bud
XvnMFrrYl4Ti0x8wiTBZPfmSNZIwSMlG8/xkDLBXkV1IB0YNPS9/Iux+gIwq6qzMUi8OWoSYu8uO
JsxT7CLlRmD+A5XJM3LVyL6wSt44gtLzByHepyXVX/3RsaFMXttI3j8Nt76AaDG4AqCWdbNgHNCy
+tYnDpQQ5OhRRzz0W6+ylXn43KVjRUYGM/lSz6RSG1zh3JpuAS6GIZfZoDI00MAeIaMRoX0sfz4E
n+cnsiLKdp+TZQTo1Hr9cFN7t/5+Dk74BqDDfaTNTXVe4VTVdyaaEMqv17btD1G7zbjg9aZWf2U5
EEiKuGBdsYyFWDuFFAwfP2/mTLzM+OLTh35AS/74rNFuJKoj4pxKmdDJaGfAFHRYOSWgcCTJhsNR
bVzWPEGvVqKhsaTE4ARZGPvHsT7Tir7tt8SSPmUsymHzpgulGKEPE5Ox1bX617EC7H5I64m0QHpU
oqvAf/VCX+yyN1Bdprln3Bs8vx+HTRu5++Fifhc8hyZ8Kxw7/CeK4zEd1X6WYcXW+nDax6nGYDKN
7/LqdQRXei/w1Go/jQ/+TsSgj9f9f16WFtNsOxzh0sRv07ATHQ4wiftNB4N1P3Lp2LLnLCfYNB4L
sFZfyjMjYFslsZYGvwif2Zy9PEYqMW4GokAy/EDC//HxzYaYWVvOwNTaFxEjFr9qpNXblt3ETjcx
E+MOteYq+C36Q/vHdLzaIENGp6k4dWPlTTWSbaLgAmCIWgnVRTR67AvGxLsUUg+CMcWt1C1faDoZ
IFAtUlwFqA99kmtlC7zLxgTSo0O1ksVLOuTJIiOdT/IZrKn+0Y8ZhU3waDZ/OQ+fiUr2G7lLKlBl
A2dQPgeAt3FOGcLoQBKOHBFtOmJHYg8gQgUUhQg8QAw3iqd6zGb2jLX5QUpBehKBfJRsdg9mC7UP
b4i0vrRgGQniBc78T7Ky5svxZMbMN6Xmul0IImDckS0zZfI1lwPpp2LzzBirE4FVkoxloQBkZIDh
9ndGfpKNfZlDHy4nxCEDyTlkxuyJ3AL5M4PnUg9SX3IrWHlmFZl35Q5e960HNqK0Y8Y0rtqKuQn7
AfVC0Xgqp+EQ4vd4Qc3KbpSj2nbT3FHjRULvLLlIpCb7x4pZEMFzlbrGCqjFVQJSonkVZIOc2h+E
NFTfc/wiT0I9JvNJFOrlHc08thnl6ZbtPBZXVXr4lOs8O4OdwN/gc4wlXyesKFlcorD57Lq3BSmi
kDrzoLSjfxMWE5kQWntIaKD3MsFEC6Bjtbf4iGoRMnALxI/un/AwzGLE6vEL1QeZRkD8iBr5eM8j
h8G236MeLEZ15Ac1xmrywwgnBKDyVGBXAv77BULEaSf+5AyS6b81Rh3gVN6xjxRzCd4OzBrpRHJq
fiNUJmg02aAI8cst6FqwC/xnGAWQnZJ0zBtlfGn8e9ucvZ+ZabjJKFzXwE4lXiSTbLFRjcrnNM8Q
IZNvnl7EwS/BJiwRLo90rxm46UgyMGOFGJfP6M4HrISGwCdo4tdHvyGyMJFoehDIXX18wCjSpwKq
84rDStwZq/IKiMYf4D59X43vdK3r1lP0GVoyMM5wAG9BvGDeESizPfMdJCbykB9Hrt3HAQJ7iR6Y
yqektXBUJlWvi4V+yxcdE7wd5d5gFVTmmCAQ4pb9AagLq2KEpLKbVchKlFkEg5fPeDOB3JNuvAAI
Qd9XJBMpfRTDwME458975cMC/Sbj1bWw73V3xChAZxzbn2OJtoIIz2TGgdDEY5pjVs1IUIpxD34N
q2ifbaXFJfwcYVLYLK50WqwDUtXeDx+Dq8m8nshlHhl4sL7Q5uI6P5RELH5dTgrpfJMT2ziM7dwI
6AOaZb6Nwosfc9Tf2EY+2/KIF5ngJUR4g8Uzr2xA21fpPt7GS5b+9TMGXaDZhgsAFwSSZ54ZoRLt
vAzgZPasnCd9O1sESqI7l5tffE0cJVwrUim5OKQKYI1EeCVh66jY6Ecsjm8JfspvcJOQ0nVnthG3
pGIVsJpjCwb/AuRozNBKAMo65jlltC5s2r36HUWbyZhPwIXj01QEW0J2IS8Fa6frTywNnuICUDHT
LlczWowjnBgnmjlcyRy+nyt/Km8gUfIKg+Nzpb0wSwKWju8eNd6r1RlU9XFx7S9RKqCnJU3MuX7s
e+QEDIpC6EfdJQRPBpgR0U0IAIoHB5u2O448VH0YEaowmssvMyivqgsWg5CusWom0LUoWVfxpnMr
7KaQXl5NXAvizxDJGMA2qu7HtkZEUQcfnpo7MQxcJ0bTzSQOhQWpSx7PQmj4r5BoJztxx2QP4nHc
3tPXTCeFIBxTolQ/v4mhevxc+//JoI3Ddw9yF52GPY4NmE/t0/J0PZC425PbG+3qvw/7EDCOG4o3
5kEGY5RIC44GPNzsRc6T+ouDoH2QdjaLTSdnkBTsCd752OsYIVXZVWrD7i+YaOIxTsVNEHVpJ/wv
81GYNhJAW2XNe63BOOHmsHVkZ1jVyw2TMU8l+8tzq15JSFmOMfxeHyTbet1gKfjV3Bb2gyyXy7Ys
Ef9UKwT5ZxR3AkPGR2+wftSZn6KMIeUsjAmYwP/dAKhkwuQBpmWAjn+cDhZ+dKyP3Cbxchh7Lxh7
nXcGgTLlEBDxgY4CcYlGFrXT2yJWDqSbOS05+i42O9l9Rxs9/eo7V1Y9cPM3U+7kKUtNnuMAwG7w
IZcYO4MOWeZjHzSJmdAdkQp62fyi4TdJQX7NJ/pNCeB9EbRjX5DZIniLjrkQbky6OCIOgHwkKox4
/6wAUnIHTSZcJNLGKymVmC2ybRotWebvay86+tsj/iboZUYU5tKSbRtY0vxmxsu7cCm3hn2r2AUj
Z6ngeb6oM6/ByMl2uOt8nkbMUsqG9PgS8VcefBipJPm4LD5Id9AoS5n76uaFtOSEwvwEmANbrb3X
fHC+bkc9/3Kii49CEjG/fl8O4jIDHMuAhd+ZpxR32OkqJsBjk8WLV+oBKDxy5Duj4Z4zkRTKC7E5
+exFigrtJBPplgLhgcbo2sAvUCLazy1OrwuS2B88Gmw7KlgCkGut7qHBVaKB61mUQN4e9ONrzMpA
2OEtKaG49ZgelO7WXZvERv5vvn3+7AFw8Vr0EagRUnB0RzlzDDAbMHtOcBMd+tRW8K7CXlJRwHH9
V5GbTJBhElhNonswUBOa2PmcDBsgtiJtphFxQ9UDbAuG3CCe3WTZkv9FBUJKH3pABZHDoW4OJWIs
ZhKmWFikrSkcu+fNBJNdaLh8jZEQR6Clkvx6GGtnBWtAG74SrwcZVOHOXlk2m8WJZ5JCS2P+0kae
88MAHLxMH+qnLnXbyi7Pg/D8hlYyJb9KjdllunONKPcEc94Np0s0l3S+u8ieiW2hNxYfmloFwlev
5p+YoSF/CtOhReNcvWbvxJu89i8yPjQe8cERMGYwXFI4XW6N6sdvr+BS9IzTDQQGeOtfb20ZQQxl
b4+v/YQXeQAQ97gXsnWd/j6YjvBxsVmZ9IWv4tYTRIZ8gl96a6UYKzOk8c2HitQzvp4jcZ4Sptrb
KS/J5EmYJVIF8TgOC5M8jw45XfJ2KhpPTVpqglWANb2rsM7XbSXR2jVBImwqflbncn90aLyMcS1W
0n7x7KIJrhdxvxJYEjhKgWpUpWTFhpV6GFDrM38qHh/KsNKuQrbk3+R1oBEZnA8YcSiZkVflmqUS
wMj9iHzuujjE06T0Cm2FxnNUOmRrlbnhSFYmXp9vXhmB2DYiZSHy4V7wzQlgowhT+IK7Sbesz/w7
rsJrMDg4/8dukg7xQOKAZ+q9wKzG4kmZy04Tz5U0pW+9t98dzm8J9BFyVIaT/IohuXTGhLC9gmAE
JdN5Ec5xuKWolZl6SSPSrzE+GrWLbxMnncmyWSbPRZzcUxQaAzU0GgElgj+uaZ1xDbJ1Fd8DsamK
01RBJVqoXhJjUTJr8St6r4fh+GzPydDPsN1J6a/YLdPGfYPxGQAvE95Ho1MunVzaltou1fyhX8tc
wQpkiy+VctNVcE4BoAGEkcxoAB35JP8j6b6WE0uWKIB+ERF484p3wgsBLwQyeO/h62dVT1zF3G61
dKhTNitzm3jvsBf6v6r64rWYoF1lvBrgQ3QzjvMpcsz/RKKxeuYJhUhmt3ZOlK/AJXG3s7c6hhzO
e7zOlO0ut/eQSnXgyHlWNlW1s7wl9uNZollrXK7FHZTrc7OO1s+AFO9DtvNCgYvFR94jKje1QCrb
55rb+Ghbv8V6cZoUIeLC2nuolKezYIOLdTHQBw+6GmwrVT3fNuVopHAQCAjUEsdeZCV0xoPZdvb3
9gbxascyt5J7PIeRqJLA5Vy9PSPl03uISLJ986xNy4QETNhz1wIRU5+1T0BXbqN1bSPyiv+Itfiu
PPoOPO/1/jNWq5/Nj7v3S2mPSnO6bwl7az9Fb+YoQBAzHYvxaDEU31MgEm7m0oCnKkjJtQs8g79y
T5SBFWNPjPXO6SKLJNVYghxaZCoHjrDpYixRJreTs56yx2LqCfQu0QUSgsZXgkCJw0JARUkvPcqR
dOvS9sOPiP0kwI9CE3n3+bPU/7ZtHQbzlbDT+CjgKaRpsClnHbUfFBj1Be8ZSTFE+nqRALKV/mvg
Kt4DAok/yqtEaXsqT79if6JSD79Ei752kM2p2vQr9yipsieAwOBsLSpwII6Xp6ph1Wi4tazCl9TR
Am1V9CzbYz0XEED5l0EA7BIlv/K2ZdIGsqQmbybVC/Whj9Djz/B13rVURn22tiwVmx9t/ekZCAl+
GwETXO71aEFn6ZBlVIG9cp3k3LkXxesWPdqtsLFfaqp397e9fJsLPpwYAbl/Dbieys/JqX3cqN0t
myikp/2A0J/e1lWaf8m0cVKpHPjS+ZF039ONkJdDOT3yuP9HN008A3t1mm5n0/RQQqsiqkL0NM8l
W/rqxztdA00VN9M0MT472+ZSysfgGQS/m0s0TJ3w2HfX+OoSwxnbBuY6wqsj8zrxj/aguBR2d6Ne
dOsbQbVpiMnnRI+ZlwnpfH3rnzzLCfZal7MYI3+8HiZmFks5iANt8t/DuQ5GtxmtRoKXq1hZNPKK
F2AdHt3NSGHGPURC36OFIEv0Si+Pd68gE+xOAA7KcE02ZDPaYZDIfJkUJugzV7JsNO/hBXOLr9V+
EI4NEKopKOZkM/LRVJPsNtD+BwA8gHf/uYICpbEPZ5uRUQ9+OJ8mS+Lz+fFKfj+uhdTfa3DuJZue
kyGKbGIEmepQZfckIQYi6AtRc0D1Zizz9esalRMW/YJ4l58fV5Vh++F4NSL+hPOaLt/a4FbgotFm
FgvARSqQVcV7sWFu/hiIVORVRihJuwHDGwboQtNnUdz5nkD6acRujMHpAi6F7n4eaWUyDYlh/Fz5
WKQKsTFomvT3u+Rm3/QBEWBA5y3dJlvrL7v6ZSUz3/16gCA3NwQ0k1X4XfyQ24KagbQ/de49UBU0
5nMAjwSyrlxmAOC9apsxRD5uYH0zeg0Ov6EjMoXltIlXh/h7BmGSOBBxbX6gpCbPyYvd0l7rxGbU
qUhJK0W17r1AX12Un9dy7i9Eht5+Bqpoh96TRS5FB259dM7j7uCJIiDLdES+PQVpe+5a46/+e0If
gaa1N6KDuRlfOkar//gF3/F3oaW43t3h8gtr+2/kLp0Y/OWteeqgi7z6hzEwjosiGS7+TZ+L0aNt
zFajc89A6Kmg/JgtvmoJ0sqncerPcfoXb+7GL95DVoVpNv0K5/iPlWydpIqH/q1N/QGLqsGLKxt2
TTuELiSNuPvxtrrmtC9fe1G7cYBfbFfC8n/MWWjGNP0SdGT86FfxUbv1Nz+e9V5V7XAvwIx85u89
QUdyHOpcXeO2YOi823tya19+ycGfg1VOgHLuOi4s75lRvLdukj8/gliNtNDN/nsvm61bbOKWW3iu
20Nn3XgMTBo0Xu9tOZgCYKfvSbAwzIStJPNnG+9C9ybFq92kjdyLTct2Wd84jWGO0J/13nlyrme/
0GxAie/FtDhLR4XN4TRe0n/o3yfO9Sfzo0JKTrplYi0sAhyYe8vb6fA/HaL76d7dG052dCy0+2tP
ex9I+9Nw2hszb+2mNLr9As2IIB3t+c1I/OgFngQoPk9j3eR3BL2vfuYv0NxHfjM6iA7CrWNAN7e3
blx7BsRaTsyCa7neNlPtb+HALN4noKAaklb4BAdzlbuVrnKxpvG9HiXYtg7D4G6Z+lz9eIYWEFQ3
0W+/yNu5IYk3u4j9ZIw+LZkIWdCMCdWwRS8dPLPowPMvA9Z2q3/jDjem1vBjO403Tbz7zBT49bH/
KPwPB9XM5deTfUtWZJMunete7t6zrlY/j1/rN8WcUL2vfY4G8YH/tyXvFGXu/hhYK5LNYfC9h3mh
93ZNSnImi+sU6hsmQmQeL586j4Gd1iy9kS6BsEOGzyfTlQsmTQ8/3UXer5zGdi9zQ2sviVJQLlAc
FRXkt5CuSDpgNUFuqaZVt1+9dr0O9bSOjV4qU9kzwaCpwiJ7ol/uvQhsJ/n5DQwEAXrotaJMtxf1
urffwLKP13KCFtu4o2OxKTvJbeG+fKLBWSY+7BFWPc0CPPxoPASRppGGHtcfiZkdYe1BlMosGfkE
3zdPtEOPmg2ZmZWZGFKlpalQ3CUCqe8FKRUtuzJfHz1/ds9PL0VHZCbKqZng1Ie9aAxx2ckWHwNb
tyGz1bxqh85738/dmuE+K5tLql7q3z18VYwAlrqrbmq+kqlScGDQDlJEarLY88S1TSd6n6rUie41
OSDcctiVXeNtehSbckoR8rHq1WhVym1E4qej/b3nr35y25L7TcBvLkuQ2SgP0t7T0Wq8by3GISMR
r5xni85CToDKX36dHQOTZhajqQT7ks8J6uLsPTRRtWSaKr3TZQ2WR5b5kHQ4YOJDg15LwQjgUUQl
kx8+a7DDxJ2U55dr2b+0GseHZgx1x+Af8gh4HOHlb+X5DtnaglqEmg3RGImDg6FUVMtUkTSgBkn4
+TVKmrttWaZxvZdN21btG5wWyULVHfmCiWtX+rt1j1bXyH5S3RRTd8FkgzC9TwkARrBBfjY1iLN0
Z5srR0fXjS0x2dleKawVruX05zlSSbRT7cMwl1P+T7LbkVt3Sd7Tf3JgAjxdhfGZqn/OLgtTOnvd
ZfOwK17q0wLg5JlGEIvtwaaTmJfehMOKErwLe+1cZ+xbIhnbphJwrkOuNAf4/Qd2vuiLpLPl5KWR
OJRpQa+StQygnw0DvPxYvBDx4+4r30jjdh5JIe8JjookcqR8z9lCSTIbRFRi9Tn3/4oEiysgaz7T
fc7v88xntnP6WMlV6hGGOMmfFE/Ce2qWW8ndkrmich+pp7ogiKdcyOEeFqX3sXACSnOVUn+nAyk5
z2XdtucE1l82VDX8LzyhVOuVbkbeas6VdGfNa13p/w/7n2iDOm5x8c81FC4Bf6O1lA6M5zNnmfhD
8QiVuq+99s3t9wvUTyqHlFuynrZGf9MMJoBurx29fylAviiy30gD1A8cgEAvdk3oH7WjwnYQ5OOP
tXc5qlJc/mjXBn/PfG1Q61Wa73yZmCf/6lj+u72p8uGrMo0v5iTai/HCicA6/l7zUIq/iVPEPqIv
Eh0vgPyNRBixlv2+H1dwjSaHrfw2T9L7XSjTbS3hGkhrxthqHz64dBQ6llSmdLevhsdKPRbWv4ny
onpvLqqJ8qt0riXKAP+zO32K/K73bO56u965JlSrnmvbTvjzqwSokAC2Ht0iz16cktiAAH7n7bci
7Wx3b1wooKgRAAMUnzVcmOK+ca/zhwnFx21x01t2Fg2oh1MvPTynS0+G3kHOm8xmIf23q9+ehdsf
GxHAXTIhDNnXOEZVWZTcoW8bPdnuETWFOe7TY9vSeSZvv2wFVcJ5ur2fEy2enorxRYm40nI2bVuX
udTo0GRkgzSVwGzYwrSBMH5Yt6ZjMhdUk4k2bZSbY8WLmaoocykl5spUR2/eef0C7k0b/ICSIHKN
23jTzH2Arj9qx/q2G/3iZoEIQT/pcK0RToNNQBqwD6uqo3ZhvNgMbY+0THLzw0D9ZSsrqybSVAQT
r6o5wA510rQWbXwCYHlFtfC51/K1Zy6r3iE3KOhXYOMpbYdcVlQNJMQu656KXJw4tGz0UMQDlKu/
XjsI3v59JmO7dGiIoZdFWP33TDmIuLr/CiVJo0Hz20KjXzRT9+fOa7DGDr4XuO7cFwMuE2wF2Oks
BiLYRKwmCFsWz0O00OmldhaJidZiQ/Wy1a/il5S9mloirHc7tqy1z3nP7MQ2d5lNx4b/2rpptyQu
P6rhJ3UrVVN3gUNFhS2iCslb4S73VfM+Wvt/4vh1rxyuVYWmqwQ92qoa4irIAKhp2t9js31qYHu/
3EdSxzo5zTWy+WTkhZerBg94vFeOKcpI635XDpGOp0j8Or4869oTOW9u3rd8bc1OIbKOPx55OejV
lM52GLP9ouxcJDgr5ctjSB/L0fukcwyPGRwC00S10RDTJxPtP4MQzUVaffacucr42dzQcS0DrLky
+QZN9W6aqwhT3Nd88MkPS9zvyrLIt+yPaUM0ZyPL7FANmZh/g3XKQhscSoffWMm9KCXMXd+bXtnn
xk5/6StGLkBMOffvOM5mgIEYs7o1vb8iiW46NRcjJEEEFJwofComHBv6OXBjstWjQ/f0h9qTObWA
nC+CAEhyAM+1XHqiG7+NMpeyu9YG2z7aVg92u5DYUrRc98zg2LZ+niWGDu0lRMjGclAf29R26tRS
4pzd9I4AKgEwUb6dP0zQVzbcHXJzOvjFZ3aUivQhIzQzCneYKu2UziJA/PMQFVjNZamnU652+t1s
m+coeia108jni8DQAKECg+DEdXovq74qxRJ1kd/zOI9G4Q7aVkmoQ9++D2hI03M3dvveLRrR3HeG
9sO0tfXGr3z8RxKGEFNbtYjL+O9Vpf8UKnO5Myva4SP3fUgWMtEq0fUEZ89rPfvsn6/Nw7acYFoO
rMWBSxwTqyp6RVhJ4/RG26tskDf6fGMkmWomRBpbLzzlEGlHb3WgBz8dTZVyx9biNJ5eqicw0udn
ILVf6PcWdxcKNsU1sjj4niW/+t1tPr3LrrOKqUWpjxVjsY/MsUMxWC1ScfYUZiSE+lbRpEbjdZOt
ejhxiMi0hIU9FRQpkFQIwq571PVx1uk7E3ZyhX6JsnoquvrbKCczgR7STp7hgSfLWFd1/HWpio5C
sfb+mfu43mZbLC2MsBypz9NwmR3tIKH/yfiRRlo8pXNCjTxovaYl4KXzfzBxohG41saNqne2AM8A
ph9/fgXz+P2hQSqWb18c0JBe8u30kdjZBTfV6/NTkLZ8zJS4T4tKVCy1qdHETZ9pKLQvuc/1nt+l
aS0OjaKqNHcd6kngCciA797/bEBLPFriqLqkLVNWkRy6aFrOAi3if2bvzvjZIpRKi6l5NIINgqlh
Wqjoiw7FiycdaQate+hpp0t1l2hujuM3uRPy+8fOy/GarW2OBPX8W6jGHgMQIYNGfY3DzHELU7Qo
xndlOyIwxzNas38u6EMbXlCedW236lGqTiy68VcjJeiM1I9I1TEIjDNYCXiF4yFzGipGkwq4XapK
FNkfhT61NpCGzYV1Zf75+Fy2bPScxpu0xzAzSQKHZYi8jz+hPH+rU+t8Rz9UtDxXdKmYn9lUQwdG
O63HqXuc3Wc7dWEHzbN6bmTDHN9lv4+CfCEabxvnt0mKmxURGj2LMB45GJbs9+5Su0a+LpvmPjEm
KZyeth03+5Z0kYlzI8egE2X5GvF3663itv3KvGnd6FywptIx09hsPre37xhlk1sF9oMoVSxaW1MI
3aG+6t7pmwhJ9lXm3KTcNB8fYQih9v5hOkxvw7efpf9poaiJzRyroSrv3My+yegXzjNJ63+Akxs2
XFGgvRT7W47U+OXL607XDGrLtC/s9hXRD7LfPuBCPAzQ5DzP9mFZqU5w5huYFxA6LX/1+pvBfQiK
EUrVQbIYksxvktJ+pHtqs76dXfVoUdpb3k69ZTE9OjWBHxZC7kvAPZ4utcelGiB1zOrMOj24Ie0p
VRFULkAw3EWyOVizpkaKxlUfXUpih4ZwYDPYDo/D/SyB5BatAmSApMRHi8F+uGsmf+Iju1B8JMDW
QYRaVgFXI9Lebuv4cLSE52KaA2nw7I9P8rjgVSYxt0D+qMOGHGGO3UXAQWfL3jlE8tvefajJdgEd
DKAgYA8rSpztqpGreFmvqTHmtqDqcS6e9WuW9LkrgPdZxpk7hsPnPjxwQL1ULa0wcBxngNRwtlsa
6AsKhQwGQ8Tkz4ZRTNaCJxY93860Nv5smJtqri6Dnn5zkt6IO38sBBsvqrkFdWHt89KBN3wOtynf
91lGTq8mR9M2Ui+3VLHYaA19hPlIe/1W0NMeD2/xnutWGwzuB2Gtf79iEEzhV58znEE06VR2Eww4
qOJfggSJ5+gW09nrm2bcSHv4b77lo1+ua8BCGurjlz1vOm3rjkUnPTLi0ES+bfR9kMHVYEOhh3yM
wfs3q+1RXjGlgqJFNis9nxgvfu1M2VF2RPpNz0IgiCdBA0CanIbXoV/2hsBBrrGbVOmJAG3QXCs1
k17Pjw/9v3nLmHpYIYz/C+KM2nZR1wF9+r30yJmQHBlqKCGHimvoouMmnpvbU1Jz/Bbl+kxAI0jN
JqJV33U9NwliAQ5jES9dQlrb3mVwDpIByBfkyrM/3tp6OM9MGPEe9SDvDfOks3WsDtQTVp0uNRMM
io/34hptHYRRUCVMN2xBBtmxYu4Y+Z2O/McCt7tZvrroPr+nyslMGJwVdNdITy7FKPP33OVSuLmp
+rnlvpTrIkLCtgcB9kIu4McMmaavno3oyI+kf/SeXl90zLc16Ncs1bWaPEIbU/b1bX7zyybAlBw6
s6M3i8m+oBvf8W72Z/FrRL3HdhbGP904iL+3ed0LKOUzb6+yK4jtcXquQvBRcXNLkWKQRlhnC1Bu
5gIe5cjNOdfdzzxo9Xt4Vihz9zgW/7uhmBfkjch+Q//9bGdh2Q71S9gokPPkv6TIu+dhmmASBJrk
BjBayCxkpqXHz9V0+znFm9cwVpp9HabmGrxs7YErdlK/eXA9rbrOz/PtMNPNtuMjjYjNrXoncTq8
qo/ZX8phys5J3/LLfOGPDjeH9jRC/aMSXmiL05IH0dwPD0HGhueMta2E7wzz9RpFJte5n9Dd2rae
PeeeKaeyLet7a9I3j0Ncqmk7Opr2HVrLWCUTq0M8PX7OuqTwyNRc9fzxwb0YDLm51inlZD8yAQ0F
2Yo++1ETCbI8UxXH+E7yR2CjHZmuNz3PX0Lb1pIInFsfDeDloRG/2CgMg23MfpjOVmQa7i6QgRIf
zVksheM8/nMest7xLu9X+/5QWhAS8n5r74cukGdsv4hGPNjLNvdfmB7B3uzdcyoOPYpBKiyTrQNP
8Vb51woYRImNSLDPQbKL/rimioHjP7HuyWK8VoI8m43g0tw5Xai9GzvfZR2YVswYPkamSrrtR1Om
1KNxtAenYOwKNGXOaA9SX/lssPch2+OPyVs3yyForvQE99PkCqTO6+PMRPDC69w/LoeSQOcw64Qy
1CB1XWSySZYWYcOtcJDNca5TPUXzfRVilWMp8aohrS24XvvwlfxZRPrLAV4i1O/p7uJgesxn/fXy
k1jVPOvyw1ygtBGoTUvHeYza8qsQGW6/8mc50gd6WRHRH/H6VYj2t9NCauLJ13Qx/kt5aCq4wqoF
RZaTXhQffnbLt5FqS2R4+mFiLcRJARlAW+jvoKsWvZIu4NwA3h8AmPe5pbGp4zkmPk45bKr8RqDn
nJg8XzVpokMOt46YS9u7AhsmKlN5JZ3wal8DABJvwQxZxOmMtjIvfMQCyehMuAykuoyWJKGYcXpX
ikMQkdtZ+OFzEMlaCvqfZTUcEL7cJH2uns5SiihBlSev7UdRp2UmqXXVpJ6eaulnOdgs+YKUlJHs
RmYr0+IBeo3Vl+wbzEeyZMZ5S5NDi++kCbTXL553VvmORuHBlILsKlIf8tTNtL5NjfbTUoBLb8oJ
Xh6pvPXDb+9xI8Ra3mVqVypdVhT6lAks7dQ8/azAGjCGYTsvL1YVhdOIZtr+XPZHj95cyLJWEvQ8
XuEN0SLBp5+ZQk7lssVWMgWGp5ek1c5lD4+p9nM3wI9Ud6PuaPHZws6llEVbsoDfKro30E99Ad6U
D9m7VJduWLq5iSjcFcyLXLwGmH081O8ZATxrXrXifHSc/oUvLKSLG4qq1Ygb2ODwsxK6cjWvRSZr
YcFnuv/u7mUIq1461r3luLZfoUgJM+2rtCe1jq5nJcfXJzmJ/mJ4X8bmFll6k8YLkF0jc3uq6pdI
opybncxUVlcAxN3cbI+9Afxs4r2ADQrLYY5PkjwkdB95r2eZeeHTpeslP6KsHt6aTJnvc8fy5pqQ
RVnuH2KEbyjkF1+MZ4+lY4qbqtn+6GxMVKkb6y5dJbI5BdbvcMdWic2VOGDsiI+uatjmVvQlWUrg
MrTjgx1RRunJYKtMhKcga3mLkNguJu2VsRJLWB268DMdnRL93TEDXXZ2kmxmULZF0erdinYSH7lJ
nP6IBci9c9+SDlOFwVGQCV2Wcw15xi5K5OLjEUSIkr+0qdCnj7kGF3hfqa6mvXdBUFZvkDJzAUsR
Q8+vEzVvvAY8PEj/VmJYnbeyJvgvV9IVJcz2g6pSuksfXRr3BupGgIwgG8H5grWboZerBrToeWwO
vrdg+CR9b5RGDlTXA4LfFH72vPp9V3uM46tG9jf5qCfI/qiF4B6wOr5Xp0fApy9EVFyA02ecZjdO
E2f0iPSMACx/wWuS+e8mixd7wrRsKua2lV2id1WXwqKlM3cqGpZ3VGamSBINOPcKZ3kO75qI1zRj
52fM5GRlG82nVu0T6oE8TPmNZ8aeY6nfkBOeUTQ/ztqlPX8Oj6B8lytGDsjXZRN6y8/wNwbe4NiD
8S8u8iv/e9p71Xr86LJsNF4dQQJLkxvzkyT5+MbrWsz+Mj4hl7XBLQe/TNS0IWf+u2Pua8l1ZZ+s
gWedvzOvYnTffGFAxOS7Sif+zfBniSpRKnfa7Eq6pBvFV7sHJ+nlxYV7kF51PIydyGPNW6j8wnbA
bU/koyyEkWunxePVaQAgWEz1rqi/1OoYSFPNlCCjxnkoSqwH0T0SVBGywcTWORTnF4u6DBxQt/V9
YT0c9Bv0x5sSQ6LmXzLBxk7Gdt/AW82TIv9jUZ107UaMVDsnuDitbuWfs0UDvuCOuvh9IuK7TI7X
2fItA90uyArd5fcOh3Isk9da4Irt+zt5+MTuRt00n1+mhvWwxmkUQgSGusliYk7BIsanSA2T5JDh
e/OXVAQY4/onmcokO6tnHUkFsIGX2bUYvXdXker2ioPpI2hOBi4VLsq5cGc0GwfaLsepduF6kXRR
ZkWWRKFXg2e4xbFVNblkdFZ/RtQr0ke0dmnNxX+1BSX54DBYM58rwMr7RY9/HMqJZCX26j1YCCzL
U1xhOqap4Pm78nJfvu1BnHJ0RHK8/XpKvQ/Mvm2D4+m9T9/PpodebNtlFP76t4qImN3N1l6WC7YX
yxX3X2lu8UrUj9qTbqSOL+yTlQX7+PUIFeXLztnkNH68/cUTeWbyJtC+T9PiM9fTz353HWmszJAL
kbSiwZl2Mq1jrHBPVNOZUjRZTBpXX6DQ42zHcKVS9dehHI+Vs+N4pEdF8Hgv86+hJbBSRYvgofRS
p8oSsYv9TaSRiyHg3OknPQj7FJ9feuby+HBK7FgV/NGYS5kPz2aK47HOGyN8YaUuyZX+4R+bVHAe
0J3d2iPZR1NNHKr7Qw2ZM7NlDFhcBnj1x/X7jVT9lzLzaJryMG4sSYtSeoqBZRX8WyzsRJPFqnof
xD8ff1QjiRneqGN9Xv40dPGqE0zcS1XnxoRIl08X48CTWsNmVdPuKc0p6nz+Fumk4s3TfOOCN4jP
0IF91lrB000AzqmEtI62BcQbVKRclAKBc9ObElsoTl+l9UCl5tyO/p2I6E0eHxtSt/ljh0KCbsHC
hgXJlB6f5veVSmJy7PMz34j7oBk/O2qz42NnK2f9Gbuo47CpoTjfe/1dq4kenbsLc+dmGjJ4WnxO
gziFHVSJTHecKNoAjKGcpiGZqjHuGLMsM1DF2Ma7+azd+4ljbXIdpOCPiQNSzezbCBFFi68WCvXh
k2bf1yPtolGIfL2L6khWc+wgXVPchQth3s5Tj6ttfSJXR2wb6ToI7qWQ7NjTU6hfhDoTDXoNnHsY
HrPc+N73D63bxGQ84ljmX58Uprr3b3ugsV7EGs7VVMu0tPyS43Wydjh+XjDbOETRTFxUbVCvZ/ir
iRT7Vqj8ZgLsWid4DYzuw6r65vwG19zYfNKytCmk6xtqihbIoXlJ5ndwe2Ci/dsbDbz0hIGDbINA
6jjV4iym/m1NhONXP+b+/fEbKN6L/PUr2wnyiqnCJl5GgzZmXmNymiSKd9foAWOwkIgJbOCz3IIb
xaq06l1REwHl6GozrQpEd84gUQXovJTqpp5oyuxDJI3P/XRtO7w1bzU5UFcHB2UspMfai0j1Qgdp
Wth8xh/dSNJtzu8d27dTIMh65JL0PWAHAHspef9QEHtknHutTKx0recmKqbUgqq2mifMFMaeARav
5ZRemvFadoAnXz62tfDYX00uRDosmX318ayEw8aOySbr345g07Aj7p9NeqH0Rda3v/2xRCJDrZWD
lc18FytHOCaz/RmrymZ2Ncv7OGVBWFwmqrQUbYvna2t7/7s9K6h+iz9G6OamXeNOaeJjUTfZH6YC
UUmwuCCGWbr8ITkAeMyug+c/KYbYRvQdREuPxBdaUYhCYNn8tMJTtPb8fVSysxE3ZvgvbomqSRXB
cuHaPlukf9v+nRv5+KB+OTl8Hmg4BEUhZwJ0JdgLPHfB+62wIGKfkUw3adlXDsfy8zecEWFL5KhR
ZkFajsqh15O/yd/dR+w79f36fE0ci73ocEvCclVaKihvjGxr07LOFuA0M0Kpz+/LB9GRROPweZTK
jWyLUoSumBly5ugdS6qTh7raTw0qpmVuIKAqq30c28+vXHlVv9Au/6b33159+Edrk6cIOXL1/d/L
o5D4vlZfnbhiIESE+DjU33uparR9+YFmMh/YXbY2f4wgK2Djg2gTcWbZZTpQlZuI3Yvi3uWrtJ3j
VNzweupuvSr3q2ndHUlAnoU4Gr+PxH5XPJ/yNwLHuUYy5gJ7KD7G01UlAmaDOuqYTUNGlkS8a1dC
kjfxqsPsmDTcSPQ00sJswheL7av7UyXeEYxMGcofqulH9faZ+7q2b9A2H8mxfwR+/XSAcBEpJWUu
q48ALM3vBOGT4/iq9NW7DmLNlNRe7OPe3wTIdf41PNfuNeIDuR6uMfbnMy8uI2K6jRRW3d0fhZPG
LlGHMEgxHlIPtRbfeZH5V3q4A2RrM8rbNK5KIOGu4k54cHYSi103tt/uVeRt/qVLIt1/if2Me3eI
lZXURNNfy6AFLltdwgXumablh7rTpn7NCGEfzzxdSAeM3vgSPYgBBP1RVurXokhgJ7CG1Pt+R8Hf
8zb/7fc++rlyltYzn6/7x+pzfeFdUk533hUNepG2K/DbXn5HkEYgxYuXT9msJBUt5edbIdaNTQTo
+4b5HCenfv+43IohoCk+q+lxpnqogNAuqSdrmFJbhFXw6k/dQT0kMdu2EnXcPSGVO+3qNRLm8Ot7
w7uHFbMq1RYlMq/pVXFak7KyvUh1Es15tS6FVV1srtZ/n0eLqeGLvvel+LY/pxuxltiOouptLGwU
ibnBVk51vGH3gMZ7PoYawhcunnvp9von/nkbHQYvecQtKfBr6xS4SLjF5NJiwc6GCQfzh3s562ZH
5g5D5nkpUV0pvscE189Q5pCtme5uEB8pF19+ZVrp83ynOKMHjyWw2BLZP8fuhE3BPxeKRf0SaZzr
m04SK3dyrhCiRGGDPLvSbMsv2tGvXWdKKab2/Od9R9wuUlOZDxhTmKGsYqTJOUtX41/KwaVELYJH
RbkgcB0BI6APd2PYvX8i3PFHOfZ33VaUyEwiCc5INyNp6wLWRpHLwHzZMU3/bHkB+U8zBl/9x3Og
kP81Gszz1plKjstV0QYpaGeaV1SE/E4pR4NFCETSkdUZj6ZnQAR7UfDmVUigL36nI05Gf7HOfvSQ
Q2krxX+wE0Yep0IA0ZmQlg1d8ibsDFj4GR2klMwfzdQQNyn2CaKu+6Fz1/wcKNFvW/Kmh1Hmwx37
bFYJOauZjwil1tdAmfXWB4uQsZSxOs4Fr5uabO2qEBHaSFUf50ipVo8LPHuWTg7OR2L42EvMDrVt
g3x2EMoJVDbWK8AZifn50JBeASMZhOt7cTeyzbDElI+ViC3fP5Pfx035dW2O0t3Xq7AQeGH2NXZt
hdWzRF9WRsjaIMI9vH4y2WyuhvQXyHHmakzgUKfWXQKvcVQlXLq8Mews7LETmYfxsoTm8ELyQ2Uq
SJ3rq0PnZTJALBqXiFjzD90fNKG3GYMBJGUTK/uujow2zgRXIlX2dVn3iIdwt4CAc4YH/dPTkx0o
S+wj66KrtP+Raa7mtP64rG5Lz1K6fKo92vfPWAf/o2hFVdQBC3GU0BcBSXns0rLxdCERQxM/Rw39
zIEUzzUj93fnjbFqp6tcqwjxw1VW+o9/eoRfOU5b6BkNSEBjCEiZrbKpM1qxU4Dqms1uPenCHXcN
4QhYXwx1gxRoJG7t9LdVyGAKVA5rIyD1y4/G4+uoyjBKVjZRMXvwQk5fG/DsdsBusvFsofrwEcFQ
InG7/Mf2gDXmIIWG0VfvmOz6wcYLE2BNjj8o7b7/suX3B82GBkjUajwdwYv20Q53HWknmF5qZafS
qY3z+eQmda5waM69lC9sdcFHEVLUC1k2h3ghccovRoyJRAS0GL/ES8PLLw/k0/gUA/vlR8UL9tRf
UaF6fC8n2+49wz82MFo8/aUj1sFl7ZXiNdxMfiUEKkgplsdflGd3vLFe1nbjbFV1HWgZR4D8aW68
njhcN31Kt76fbE5JU3rbSTBMOJP45Ajwd+k8irdmtpzIm9LtbHnZcsDVFY8aGUac5xFdosq9wkq1
wmZMZQnGrxv/igYvw/z6b1WkmeJJCIF8a6x/SIrg9kaT9V6+0hE9da6zaylWsPpof9SvHzo1+sUN
CMizRMZoohKLhpyj48G+wHxl+M0CjU7HVy6cPo759qoojfIry5xts52AJ/wB5WZq8AoSzqZA/Dtz
IK8Jt/oYrCRa/rzsWgvsxX9n+l6Z+ZtmxP0j8bmu6o90slaMjLFlS6l0Y99aNpLN88TMdMeA/yXK
M1o2ri1oiHRhOzmVs+Xoonk7jJBgzNd1Y/FjlpuSZF7SYQ7cP2LsfJStxFeDDPeNQLD4tK9+rkR6
3/vP3BJC/MaZHBJcnbvxyPeXH3OJh/bUuR4UlNVEvmKr6rZ7nix+QNHfn6hRC8m/r+vfqb8IDA3I
32io3R+7uz63yP+9kn36uZ4iSQqeBmTOalP+4Hf3E6lfmrnuw4Z5bsXm6n63KwRJIf2j0Dcd3Qm2
PsrR/rmkHGsXVM2R9g71AQoCqNwBnGW47HbPUytAwRSbfjN1G+K95GyMrOubR3VRj7Uik+ZT3jMk
UN2QXqP0iBwrA5n7rg5Z4GjrRlRZ8ssJ+SgU6guNYFDECXJC/1Q7mB5E/Iu7X3meSqSoNtFdDSON
SEfSx648bb5bEqKlLFvAVy02VAyLzZKNZYncYBPet3xqc30D8+/QZPhShJy4VK7b5PALkS6x6X09
Wly3VA6RStw5WQ4IG7qxL4zzaQdSubQdKsPhMaQoxH+alSbvcmISxHlH28YaNuPiqr3rXyj1yP8X
Hl/8YQo8tvABNpAQy49X9WCxZs88Q+ONjbFfdW6DZHPxqDyHdj7e2QGn/xjsfqHvGG3P9W1mDq8B
aQwJ5uAEY1J0c3sNZcLU/FHL/SmVNEOPE5WpZqtrhSUeuM83w7UCoBFbM/+Y6V5GqY90e1VbDKJl
JynWvippdz27ZwI6EUkUMhgC4dTMTdQh7oVQLdT5i9qZ0cI/gXilZ9CHofNwdamqEDymH6p90Ri6
W0hY31+FlepZUyaxnviWRsmVVKE/nioih0qiEfu6YLrKFOrNVMHlmPTcoiT4km7clk8TfV1Zf4l6
FWaGDmYtHodcWhfDrZAerARjzy6B5YGkYftaImBRSH7RzilfFPeO+URAXeRIN5jv6fJqcOtHKpEP
9MwyhwPWGKvOfuYExDkuEn2unH9oXxYBnGaLa91gdwAqWhTp7DvqiCTeR9dr+dHni/XFZauiRDNd
FMmz0a2U5IngaNOvxEFQqrzU7pV0y3Z7rZxbkcXHs/VqpvsizyZYHR5FHVin+Pp2jR0A8QfkWkAq
bP6p1hfgi0pUZaZFrFD4kF9nM+uexrGbLFtwYxHwdOCnU/N0eV2lNDUTmw3AAAvrlr18rq3cGgrL
wrIYr0GczxUK1BkvzUdTQXw1yCovTaty2rkPZaCJhPu7J+L5VPGQUN5+re6lzceiS5BxIWJhGPe9
vJcVvQrEgRJ5O/ZHxiVUFsDG/2hfMwWxWMVpno80U4NsIZ5/FE0BrfGvlAjO3Qta2EcWmV0GaYIa
Z8v37GKk6WAoZtrr5n803VlvKskSBOBfhITZeTXNTrMaY/OCDjZmX8wOv/5+5dGVRjNnjs3S3VWV
mZERkZPhOTpyipiYBXqc7eJiDZurZBiCzR3I46fBvX3s/wnO5tKtj00QwoXLhQsh9B/74faiHIRP
JL5wtiNkLNohT8OVeeGfe/ghdkrV5vFqJFtjX5Kqz1OVQ41hS0kqUFq4c5MOwnUixvfvFhv3avbf
TgwLa1WDz+ByY3mW3yzqa4dSsbt0ntsrd1s5F5RGhTaVLj1Hm3J+1XoOJkLarkGLkmLwSitZutV/
KxsDrDihRAyreaWrzxtX0wUMQu4lOpwFXLDZHW8qHkyV5VvOfkvEOsFMc5qUD2gVvUuhtG6f0Fxp
1xd91IVCRboTXpfvygO7iahh0IofXurZoTsskEaXusXlvKO1caHbFjOu+GbO3zHG7d0dRPi/QQAC
kcEW/9glRPfS4zt8Z3oqmtQmkWgW9jTMz+5t2p0LjxXJHekDjm12Xtk16DIfdWu4hRWZfmdIjelu
jFz95PMKhB/Z4Wlw6aoXPm9v/6lmbpkSxuqJAiTQkO+p6jndePkxRSkqNrI/OJ3zb3HwlDI3o8F2
xFmEXYFKc4uw2rrYTV2zd13Wb0o7HOiQ08wOVGkFAWaKP+j1b1vnH2CEpYhEmMg2rYNsAWBV+/0o
Ds/lLHl/ZDBc5fSZ0s8qgzsBGeNT79LL/bu3XjAzK9aPUtIgcEkqD+f6xgjyy5u8pJ2Yzdk9wl12
tcRMn1LF3E1PSsBJtWNfoR3w6XyfLrsHYwNunWKGYKaXOAXnvUXl2ISwTyrV0VfAsdS9L/nKvRaA
lhMfkkUn0NnJHdp4EPHKnENKHp491Eu9O8fzAKjZR+l/L++nbqEirY+y3UlJryq6V9X/3bu9EXaG
GmkibOUbokWh8ktiue3MD/XTQMZ5iKW2qxky9WuRtAMNdR4Zxjq1vP/2Z6cwKW0ejdy+bszFYXyd
mfBwtixudUWAly6VWqa819P1Q5yapkbyJCPI4vWUvukWn01pNZwESdPm4OWre0fLvJAPR87PV4uG
6URp/xLEz3sVdrz+EoWpmeiUbt/3lxrJEJ0VSvgEsNu1pRPeaFTkyt7ZzPJdW5CCK5q7HD7WQHxD
6uSS0WGWOcnSTwPzC+oUR893MkeJdH7fyvX9yrJzngnRwRZAE3vOlzQUf3qOMZ03h8iC/gq6NnmU
8iXRKrQlGs1L1/mLV/VUy6clR8c4ZJOJ7qRNjeJWGDGwMQGeLcQ4V/AtCeBzxUputOwo5HOjwmid
j5d0hAblMbEPV3B/vYYR2nyhKka0K3l8RZmam5Vf1PbJ6GUYpIRhZqFQgRVQOsSHGRhg01gvWjTX
u7GZ8d7FX6WkkdWtQoYTRWxU159i/b+qJPO6Gy8l3lqePShBStpDqN9B7OsuPw2Lbk06jy9RvZUL
bip14+1cpbCfWlRTPiq8f8k9XryuOzn15IiBxvObn8fiWVU1ad2Q0LcP7cvbQ9QsNh4OhaDrskk6
zvrM1JIwntnrz3tyMHqtaFms0Pb4dv1stvT8DAf9KjbFxGK6VVj01Rd9ZLBdOyzW08AgclElPNfX
lUku4ekKD0Frb9ErLsJTJoB2nE5KxVqunWubJtCg+gsPK9e5/hQd1y/xMT7OzMlajdeVELF+K5cW
Almx9/zhSUa5YQfuW8iBjYsdnr+26IsTopMZlLbTpZ5p7WRuPpLDyrzrlQ4cGiZXnKxjtfFqwbTE
O0MY/xZg+TY5WH+/b53sbH53HSm0fvcyOmDuSX567NdurdMkOHewizCy0NuHrai8c6fYfpC0T1fW
r2tPcDC3oBflTPMlfimWbW6aAbq5d6XWu9RvrhQ0PGvdVf6E8xdCs6sZM4bm76bsmydnF+sIW8WT
l4Q+B8t+voN+FRnoNnZvw53Ldpliq1FeYtMIukw3apux9ZlqunwpOy2cwYgesHyz6cE7CK6z5DSU
OePM9Kj4pgJ9v7dPuUaie565hABYqTmNSvRBqamtesgpLsNA98bkowhMHuScDgZJ2/uGIRjnU76P
XwC50ar2UEbqaUjJ5M0dGthzzFE533CD8pfOcjBXe+Y4+4ci/hrnRu5asthTxrJKT9zqGWB59mqR
JxbBzOThexC0wh2/ChZwoWKOTPodVx6K9affTjUZxTiioEjVv62bmjq5rH2LjRdjKdeEEcw2DTMm
LcMyrA6V41B7wukq2VvNYvZVfAdDOi6FUE/+OgL+AIxQzqvs/ZvTQiVAAz4TfCepp4pYwktPUYLJ
Xpfk44JbLrk+1Ve1pO1m2I6UdUrsA3tosndrzb9fgsOZybgPis/5sZEeCsxqir8paoadkNd5TE8Z
jaGDmPnfRJLkzFyGChVrMQjlD22hNf0jq8cFRyTFnc3/PFrpdztXKGYzBjoP3oBbwu5xctE+h6F/
YU1MRJfedbYbu8TU1N16DhXPhcry6yZOACTBbN5EOZJ0aJ+MeY6OY1+OE0t6qBwn2iZ0NhUQFGGJ
8tr3G5NE0FXzYniOoYGgyXusXB5vvzzzIBj+oJaldvVHBgXSlO0XNapU4/Lm06hUxIcXQ4OI8r8f
rQR2LjiwW+ydy5PacYFAZ85WtO66nBASk+oXKU1LPUrz4E79drP/gCY4M7pWX4f+9lvBakCIBN0F
3N7mkK0/oStWu9EQldP3+hNo6C7aJRNx4cp1TtenBbzy45d4brXr9sfXe/nJrUrGarGZzPdLvroT
qfLdVZzohqxZkE4aRi46q7q/i+8E3EwU0kHA4/4UQyYcXxpqxNr6Y9LcX2rbz7syuiiNj/w7qPBV
G/zRAKHBnsEZ7IIsqEyL7JeHSenaOkbpVxqcjmFMmabTePlFlq7d0WVUbssSI3skxfIjzEtYftOY
4LA1VhKc9ceucVCLwl/u7VBRrFt/OZasaiUJM5lU/sOgsGYvRpTdzWWHs4mDJOmTd0bChBTNVJiO
1Ck2QTL8J1cU1zjeBg+5kGh7rzstVs9JCuv0f3wnC5U9UZVMz8345ZEPDm7ivN0+ir0co3vEYSWM
I1sOiDSKhvl13gV92+Kltu767/0nMF5by+9t0H8jQ8aPr1V7bSW/e7Ah0wzCNTBa2+nbkrFlukg7
XSq4mlESpZCq8gIwHNyW28UhdHmcUIBuoZ1JV4+bEoYQBiVaLwmahKlYW4yTKjiMN8dHO9WEsgK3
j/Ju4ZL7/roi8EvNOe7VJk0SL50tRH6Dxf54zIsyq0aFxXbdooel9M03XPGydW6cvi5fKI+m6Q0A
IiiQ1zBKhDPYIR89vvzx9lVF/FxX8LmQsXHkfhDdjd2wtNv7WWJVKraTn5LQeaxDsp6tBnJQlq3G
QvZwExLtl5dyhrz0O/mJ2ZF5E3LchCVeyWDZkjrWtuGgs+IHodQp6syqi6SHIFJpFnachMCFzhxu
jiiZoTwqPZOwcFOBqH+tP6zmYI8ArYrBiL+3igPRaQjAV13HzsvD7GBdeE+3uecEZpH6UjrOctN1
x/EaPi9KTs/6nPFmLAfITKLfQ3SMhUKnK7wxJlWfaDB88y+zHX4/t1909fxaeseexM7ZdHJE38o+
d9lZH+zX3B7GKHT4HyiNYw325gLYghnxFT7o+ugxmwHLVOHYmIXjYIIgeCA82GVs7WumsRmEh7iK
excD8bwGkvesHnuyvqdGkjk49d8B/CwzTU3B78dYJugu/hLMBZMe5j7HeB2y7CYk96g0DjeNYR9l
PpW/T30Mll/Q3vSMBUiuzppFEuQ11+FxU5UvJ5l5QSbheDOOLIMb6+qKEnv55WfPPweXufmg4/ml
CV9obsbzVeUwNiCNcxYrtVEiq+yWvEbSzp3/ENh/GFvdfKkD6GOyDUufl8Mg3/Vc/MV417iOuS0V
3x0rqWbKw/4dGDf/GSpU6pzJh8YD4hs38pDwtE5vp+7SPD6FQW0Z/6qRro1wJlMKOevyjbSXsdYz
5iHOasEsGGVWOfTEJu4YNBucJMMuJFE0su0lduQd4smuVuwaXTYpJVorQbxD/J2c2mqWgj+G2PSQ
ggAZQjnwQAUZBL27UikETZNUPo99Fhcudt7RrqDp/HOMmHdSydK8YyEbC6N0vDf/n9SprLgi0q+S
h7AwrelHneNLZ4WCC1+A/VduLb4zw0SPW0Ht91OHzAnoe2BeNa27uYjI8SM2vV2ePv+6ztQJqpeW
m9JeadGz0wjfP2euHhuIQ62wie0pf32B85xSZRkVUx3LroBFFXlyuWZhdNJI7OVz7cNYI0AKJqW5
Dh28Dqs/DDs3OslrEw1fGdQiwS3gcNfJl5dfA16BeG4NCGg3TdUEHFQIqmdWNeY2CavRWOcPN7sI
8wr5h1WFOPniXu0aT4CS9nUo0IrvggaoZ6yQW+vId9ifuMWHYG9xb4cav/hnVmfPiNXh/HVLQZWb
2m9FwCyl3xweXUPBqtQ1Tl0lhxjS9R39OmD0KNfg++LuhOPy8n17A9817v90FjoW/X6ABtpz7siF
p+rRQ48jIO9Dc1hGTyVxh8WPE8DzbAdZWAhQj+D3kGhsuw/ElY/zpvH8MYXMmvt7Ws4CkAsLot65
f24TYxIzUfuIOw5Uzr0/DCa6zx8KhcSx4oyOyLGH69YRjdmPpJ6lqzm086EQMQYOtI59D6CbJ7Am
bnydD1JThUY9lBplkC2kj3wrDoIG9PY4cxuhY4uOy7d5lnCQbIr4hNokqxSlESfXIpf4ceAjhAOx
joEQnvuCrfR0xaGCi3/Xn8mA5EyYDSG6+KgnB6k37Ikw3I6xN6fQ6eOTHwYReYADTAiuOdadA3IH
dMrZbxjE6Yg9zGSZRvfNHv18VxzXGm6G3EIfKdhGlAMOVWwjxRuXHIXK7OIXTiDPzuXHy9p/aEGx
tmvdW5Pe4+dSvjSUdaEyPghFoRlSWyk9LgGZC/80Ppm8R6kv6FxibBT8rvbLSUja4mtKHGreMTSR
br3Dx2S2iDPK8O62cxxL4V/0gXTPcCblqtuuMiv1gdi6KhnpqPtUbOgAOg6LjcsbV4fuvnkGLxqM
cygVhptbQ1xsPTEVR2nu/SDb19NoMWMypz2d35X8f+Ic+bdVNACoofgYWoPS1tk1WKkZRMb3l0rE
vrl1AnTnVPcDNkzH2AbtOCVEC0rcGRMzYIX8yn5MwcV9NRIfmtjU1/1nkbe3gbp+1grn7aQ9z1R/
eRzh0O78n9NuNictei0Y1zubIBG3dXiANNLkiPOBIqhzjlat6+d6lIM6gikO6qNj/Hto/Byy7dO6
8zt4iS9dyV6aYPqFApKwC07zPk9DUqSxwdLnHGemoXCaviwakL9h2FAADE3/2+AeX8eT0bHnYq58
2eK5w2cmo8k0YRn8OAcwm8IoNxX9jr3s8Nxffp7/8cRqS7UvrUfrBU5nUAwouJ40/e41Vd+2qEBv
LZBDpLnhus/91XAzi7YOLZDLZSAByExBGg7p/sVwED6o8uD5QGkcorViLM40tZiPPe3/9Uf+3/Yr
rSZLcAi9mymcNRUOM5ezX0ndyqZRphHQkkUNVpWaMqUthOeRaa2kVV+H8XHRyEylIeHwlHrgM+WV
RK/Lafo1084UI3AuYCc0PDfGGMlGEgHIWIakR/JznJ1DbzBrUibCwq69+2ezUmsQc5n+0AVgBCwl
gC6JrsaVZ4SbtgL7SmOSrzWuJji0IvGifL0p7HPByTEz1fsUmzLNeWcnzukiHSrHmYRSYrQ+1NKP
amo6Dw0ikVr40K90z6Q30AL430DDdP9L8R2+1WR0GuSmcBonpIi4a0xGW4uYWVxfhXEZ7AcyI8KI
4a2jl+hRGKLt4tOaaEzWdPqfhyYbHypt9SrEl4fwPdp/8pgtsp1oCQRsxgMAff23qWlndoseZKaW
nU2ujbC0xgF12vSELqnMelJ5btpQqbuUCz9r+6U4CiFUuBcCApwOP2xuGSFLh97Ue7e3nTqxaZGE
9Gk7EPOnnmdGw+xkuqt27NDdD7WHWqoZPgXiLaCa0vvUkJ9Ulh/ZofjRCgLl+qHPoAERqNDZOglR
OcanVoA0QNAmHwGepDrR0qDDGbx+8Gg1iib98ZGad2+CXITK8uSYry6hFKN384f5twETKSeOAeHl
Wx1Gtx4AW/qWkSmdqx4rvfy/WzrKv/9+Xjq7+KWea0/a8EJ1Xfqt2ErpFX1qDVmaHm+m6Qr1tP9i
etLd6ynrUVisTCpiLQZFTT1T+62h4TT30MKAAO2Nsee28ZUYJuuGvBhWHpqriUWdp+lkZC0s/tDB
AHHyQoPYrBDVSrJUtbQk1Ja7jm2Jy0vIcbwTIEANohhhKiQoEXhr0J5AJWX+F7yOXaMRd7ZACuJr
lgGms4vtSxzc4hYA9RY28Yk/3mWwm2W7+9F64NQcmIJeST5ej5V0d6cjcohxRewiFy/9T6+qdodd
qKcjh9wyH30xdyAQvtDSEu+8k/sHz/Xt3qfyOwSfetbN5zaDC/4Uv6XdP2Sty9eNLNEEwIfNmPtI
fZ3fU61J8zEqoJX3WQmJP1Z8Olqlq57sQ/Uxbz6D+0Fw0TAulEmCEzrHkD5tHGSIUJMRs6JV6cFz
DJHyGeVJGp4RIkdBTF3UJG7wHPwWdYkmr6NBpr8F2bqvx+r+MTdToo4yMkkYnBMoIqmREcZaTaza
UpV7obyy6TFBHSbj/OQdzwM47p/HIWIhnLx1pVGe8ss/QtbgovHfDYmVhmUO8NVc9Ntav636qa/N
+5LOrrPoS1iLP5Siua/nz+QLcttOmJfJMaXYO7yDHmsXlcKxn/93r+Ip/KVHPODoBkLbS56Mq9KR
CFxwwVuUviwV3uUpWrocmjbvEhC3nygRoNooDoEQJYTbODHT6+RjjvZYm3SsUl938gFBh3iynEk1
Qp+XcP1Sx9Ew0eEcRPOJ3vnn8bX7OX1hrPL9D1FbXj3/dpfq2l2iKgJUTSF7hUywBfNWJsbJH7Un
FrHg/Pitzu16xWlXsGcFT4vR0iFrP7UxwaDFH+goNAEKG9ACvIRQbeTBgrXcdNeQyUrhjXbp31Ab
ZHjowlDd8qS1mLqOGhOad/LZLC6eru8RtO3bh7M8AML3T0iQFg3fJkQumWOUaK6JgUqrYbF2K93K
50h7r4WOcWqsp5P+MQ5QnmnXbVCmYivcfk1DvfvGo2IwC5esdDnnAV5y2mz4RKuefHvezf5c3mSx
ZQXKpES8K1RInOWt4WsUu6FTU0Gg7AhP605mWph6lcN9zOy6vR6FQrL+m9V+3jfznZeBF8T3dXVp
xhtpqkIkmX9dDVXyh2EqxMCdJtZdo8Aq/qsloLQxzpQgKgCORdfrbHur+JuzzsTatEtdpmTzCtc6
Vs9DmwAX5jADh62rMN3jofIIU8Qzo9MhMpx50/MbwnJSNTyb8KxKaf9GTih1OG6aJNw3YasiLiWh
hehJEd7Xf8eXUM4M2ps6x5R3L+LtUORKTVFHzCNed5ygl5EZ5fNz03vd8g0B1tYCnnpdAWbwy6j0
/Ugp1/BeL7f6BOnecJVZsUvxgHdupq/KUB4EpJW9rW9df1aWHdBNoD8i1kx+pPnldA5D1JXBhtHA
dObYM81FoZzj3mWACm2uwbrmFv5dmiImwMcAYjXpH5fpDzI9jlc9YMc0bxLWYD1wje43WOM6w3ny
hS/mmqPC+UOidMxyGXjdZMPleIvjLHSND+so3G6X9gJhgNKpff6AZi8Ov+1e/V2za7jGq1wb9CIh
cDRrPCFQEu8C4wuvoV09vc9LTLV5ZG8aqztvPefgp5twHvMnPyWiYHwJR0TX5Ar4kUcQGh97D96a
EIjDWFhWFQcfz/MYCgEIHokB5156Vpie9JmUrOwIxXMfdclVrWzsuGOvMErrtg82PZXluDCSEAjm
tw4c5/LGa82M3tDy1UeSHageQ6qoa+6gqmvMn6SUl2MZGhEAFJBb6VZadMOOCztDjyx0aJ6NSUcG
6rOlSLI+SUbqK+B7if7TXjRfV1L4xxqAOf7yPgLl/ZMsd7Ql5GGrhvzur5W+6l7fFtpTt/K2vW8X
O8+vXHxq7LOv5wtEqFbore7NQu9vcpp2fL6T6Ezilc69ZEWU/J3iNsBVbj179ai/qt3/9HXLq0Zu
lGoh8g8vg/y/4zy0vAYAL+FmT0J0q02WlbPcbFUBHkpbC9MXmJitaPuYvj4LeWjZmIhDZdPLadLD
muU97v5a2Mdf/DVX8B5ivicERfVQCcrZPtXdaFU2810/Dq27ntaaTFNwzEzniUjeZPurARoh57eO
HCp+LTO9D/2FLgrba//ehAQLdBagsHDXCyNQlKxijwM2DDAnSl26fGDM7VN4v4Z2cwo6s+5AmqJj
Qw4i1p/vZdCaBsJgF0qMG8XWpRkWxPLSXPS2HSvoMm+dZz4IiGIDLB5vwDonwLYjnN6zOkpu0u6u
bx4aqvtbZc4ZGo3GXoKOzJx2+lSx2+Y1h/F95m748SRVVu7DCqxsd+WAj6jlauEmb0q4fApUpsbM
zrhKQ9CoSDuiBVfugLWMC9MAo2HiyXXcopBUKJeWH1IpebQCSfJ47b8M+UJjCs5yuK0guueYLyz+
LJEweu29rSH9+40CqsGazJQO5q0vqgo0qYdeBlNJhOVPOfcV6c7SNKDkTVbOgSsXTMiYVvFOEkr3
31o8adZmp9DoSfwEaDmYsQWKHQeYx/JfSFctbfvpGeyx5Kv/jvIJ0LVBnsENBdKAZ+zP6BJ4FQsY
RQHJqcEOqaifwW/jUT4cYaoUqK3Cov+0CbbVNc8kFA1dGTlAK/ORAtdlyq3MqsV4UV+goPAdYwMG
ZpScjidP8RVIAWI7DBNvt9GjmcBiZwh3Cpkval2NW04/iVMynZ+aa+RUElBcCKR6eHH/fhgqw0IE
lZJLI+WMoevu1JStSMNEhmVl37kdKDJK8y8G2/89XCvV0Xj+r1S7GrlVLKNrx89rDAEGx9tTiZKM
KBnsrNfa70O5o5QrDBhZB9bc8hsWEJ3K57B1WWr5Aui/x1lKa9HLwbTRqaWz1C58rNCqn4OCwBwi
PJvYT+Tzzmlw7a27j0msORMGQ+hsCPyU9/AerlnSOoTPxq527znzFkqdORcx3VTN0zgHFDv2QyPq
o5iPlt/MT8IQFrQtxhLL1oFl53j/QdP9ZEKKV4SdCfRe9XKjkB5A0Rq4zod4Xkk2d8N8110XegPA
rXiv6DuBLqSvIwf7X1STDAHwrMMCaF7v+xOVUBff8ks8OZq+spszOYvP57pe/PFFPo+PWuKdRt6A
6XOQeNxIcAgyEtU7dBd2lYj1YULjhh5+jWEQmAXpICRQ6iyE3NfH6BZaqSnFn27RXWX0170fF4Yg
wgVur7QEwf+i+Q6nAhk8ItWFBCjfzbQL7Z+fAEsSqdbUjhCAkHo9B1kcGGNs/0hlizdPtrXEvOwk
q4omFORtQKy4XPSl9NvsGHd9KeJrOqo7dNJpP/3znQX+pl9PgkvRpNLXLJHvI8LiRCWGkjV2Y+Pu
4rByA+io0HacaPVIOEL79ZQH7XNLjU0zEGgDU6dQoagfwehXIP+adbNqTnSZlxhMyuc21kXQ+78C
B1NmoQfjGGFJGlx6aT3K2xqbIUkx8o5jwcGBLJruFpHm5q7TxLQOhzcPOqyYa89cMc3C0O1Ib2oZ
N93RqN5kV1Zf9eccuyGtccBfDu3nP77QLcaBileQWI0HpVVabBACIJNtRNZih8qLe8A3i00Qn+IW
GbSZ7dyQ3XSf4DfHGPqw/ExE6U3lVEY90/u8VotyLR2KJg5wJ/lOvFELBKHJS5W4Js710p0rn4Kh
qZ7plR7lPaLSKoPrAupI5GKk7CMoOLakCD+/LFYaBS2s0e1Y+tWsI86/lPOyDHZ5kJz+fpRontSh
RYZCpZtOLPXdJDLChIDPr1hf6Xr+U175vJa/yQgD+n+9ljfDNNX6vHZfVR8j/PA1xsjQj4qf+U9K
a1QLfSlDQYyO1ms6GURpOOMrRGZBekqW67auA/dg0QtbS+KXWDXBhanywvJ3S4QHmLMSOdk/09ne
QyOryQzI4N6/lNor5YW/yGuE7HVhPfOMZJs+48JGVy4rL074bn6M/nErJfaVsLD9YlLRIe6LwhAf
59OtNKE0KZSXg4UGKRAIqaNb4JtR/g91xflGSvDFxr70Zt1MXk3zLu9SiCELGdgq3gc8Xt9hNTwM
HbKdRXx3mmHbSDJ6KVOoNcsksB3VTddgG4T5AUbYMIOdm3jdDB0rrjZwTArt0Dxan5uTth9KzHF/
mkEYsNcJuVblK6V8aGsfAZvLjpuu35HPYOt4UJNM9RRECVH41PImllkv4oBrKt2BtGf89gHE4DyD
9nTckmJkZNLEuiq0T05TIvJ1aTEG4m34orc81eyt9HObHkjMKvL3tYJlpLqd7Xrzgcc/Fztid4uS
ZeyJeGe1ymZmAehu6j02k1MdtU5m+7GKi90N0pHWTAcmiyTq1W7HItx/eFF4EEwcwjviFhWjzfB2
KhXWb6qswByzonvIaW61OATWvZksERqYNWjPYNIOTNfTuZkjE5woAJQLglmA0VJTxa0cW+kh2x/9
gaL+579L8W9Er9FunBqp2uCd2kUHpd0APhGejwxpERpL+8pebuIR017ouEiEVAgqoPtMh6XlwFpG
p44JAPogfpzifmwW6PgRYIugE/NkLVIXYmH6t9VsHZyHTkElRsA/h8RUiqwJhvI0dGEcf6HZWeyy
NJ0CULdh8yG5V2kvHhJrYjo74hAyV+KtPwgJirSYOVozzDFM43upXH6rm+Hedz+HFODX3YCTaqWs
Sk8rA4qq2s6WVIjKxwd1lfJ1FX7/majNXQbvmsFiljIYyvfKSxkb6kosMz33c9tBnuDGoPj9e3mh
7Xiw9iQjia7f9/2kHG4g1D35Ut4NtekuG7OU5LYVo9msViokGv4VZ95AZytwR+WRQdtGwzyvpU5N
n5PaRy5XdhN+nzbU4EjXhgvU1sKwFBANLUl8HUw0Oxi1ahKl963Crm71eoDLQc0m6fpxfl4Le089
eoi8LMh1/Di8A97Tbeq4CWvVqxw14cT4e2KHW+2vZHd47G415A0xX2WxyzLXfz084CpgngEP4XOq
4ljyRFXPVqfMn43zJVIFbLc9e2I3NrlL+Pivo7UeuA0rWTmNzAFSgJT9B0l7hW9U2g7MbTrM7oeW
d7vOJNHFRQ1WYI3lpsoH9v1hLJaq7+a2odKGqkCr51oqdEh2Kum5huMlmtQwELR30Ld2KkqqpD2l
V0ZH5/ov0WP4A3ka30sZ/HniBmQHhWuiq0cgurflxPohk55Z2tG8b76ISCRBWFZW8QpXNdpE526h
l+s9WU5fu4/yrZztXE9ldVuuV6yxXYstr+XT7lQiDpCcwtBXtYzSMrTFb8jvlCL5zgmLu3wM4FMo
eJGbTtoPiAIz8MkyV9WQVrWrz3uQPOTqSkF9Ssy++d4CLjFyFq1ilzUAhgtqYTisbefEt3yjvOga
k9k+QogvsMK/JK6UgtYXG5KyexUmuR0k5Z7kWQZOLKib3v/+VhE3PWKYtfNRYJEvuqeypom9kWuc
u6tdZbEn2TZMtVKsFYWhHRaimYSvsuVzGEoj/0NoUDJlpvhX5nHgB/JI6q1aGtcatKHBrW6htRgs
xev0x9Gb01e1503+SLETIGQiuhiBQ74yaLdYe+nQsPaOJCm65XjZiTD9r1AyS62jHaUr6mDMNH2w
Y0Nxeu2TXwTO1oXO4Nn7yuPmaTk0M0QG61Y2Xpu3yQNbZa+/VUkkG1sJJZ9ekbKNv5Zo5N/vSGqe
17azdZAPr9gHg70WrY4nZ/vQ/g2vRehKxIQtNWXJprZqK5zc10lzVUbGGmtOvMS3ASVD7mkupGQH
Hai5rV36+dqGX/tFG2FCaIP2eWeWioA2ME5Pnv95uZYCDZ0x788ccwZhrpzCJ/U7vMTvWLm7xmJT
db9vCtHhrprpb6qHeFVNtASvQunUuJSxBmVPh2Gh7P9Kp/d1f9nURnsPfVQDQVUueit4ZoVRsvns
Fmyt/ml6G92ak/6i+n6MklbW/PQaPUqPap6LEFTy4q+dxvWwbO+V07t5VcYivv62H+V5s/CTRRfm
Y4XjFp+/d52zmywqDp6Ed2NOHyZWEhK2L4xGMec+DZvefKVmm8rCdvNxm8jtzUPMZiH78oZZXhuX
cmEYBBtkQ8w79u1CT/bcyXcKrLo0TAC/Tr9clBwvWGFdypNZvrNHUvs4f71wQVpoi2TT0XqqBRcW
P0Ygm7OywSGt048379MXlLIhgyDwj/XJ5gp2kFRsNmq07qfelxp4emOlxEAS6J4do23t1J/376zj
QmdO77Q4KHaMBo9y5SIT4HCTcOySK1MdmZRV5p3Q6B0EJgcQNQg9M45Aa/5SvjNH8vq0E/dOkf4q
Oki4wVRdwsfAhoUOx3uZSqT/TZnRvaBPiu/ey14pVgqzSxzY/Kk6b4Fu6ly5vmV+gEXwp7JrCvDu
pL8U98NHr5wwj/Y5CueO1EV2jFsRhS9LRObrhCrT/na57fvn7sM0zFZGCyPSwyj6tfTb2e4MuXsP
X02cOIjC6ddwagXQ3ESwTe9OEWIxogQM56Nix4khfoJSpePHbz3oKmOYf0bwegCrWeB/4WeHudhM
CPbtJKtEurGvbbtoEAKfwg7mOqEGg+P+XJLtNF5017U8awyzUA3ONHKLuUWUGEx6fEys0weLZi2G
JYb92/JZfiAfLkvz/ra9eEsTlKl0EIbM+v3ZnDlUBXd/f3hGuzefkbWUmp7GDdcUK+FcT/675Cpp
vECfj1b7feovbpZ57scH7bal3ycpadnt2H0Xg8/i66W/zFd23bxXqIO/LnG+ZkB5tVjTUDcs4Pyd
sFpMxkaZVQQbfRCMaQqc7ijaSomvK6eMZmFf5YhOvNU+xWeVfeNuVMGzku78ludt89jvLRMwe8mh
uXfHajBh6T1M8L5V19nXfVs4CJZRHC+jBZXQHcKY7aR+EoNMz8ap3RfNSWPRTRbUT/ufArDmu0gV
1pt0lzP+JjeaxXZKk8KMBe4bJio2LjgkUpNKTjYaXDFOs2euuhnMe4oFVki7zu8YztRJjDIoei1L
c9NN82I9RjsRp7/r3vFz3tx1c8aRX4tVP1zhK7z7q5dL9YzTkRWBzFu14H0mdMjkLUkgb7vLa2J6
7XK87GSGRwyjVLT6TJBossLu/jqVBixkSKSNfZPCSLaYn5Nslk7tJE1aN/O+SlZS/xbqs4hZuicO
8HiWfvvT3Pvt3xZQW3L3nxW2M2uMfwOw9AaXvK0rYUm8Lb4P2MY/KY/p7djdEs9obI4YokBROvPZ
va8T/YXfG6a5dFGEjXdvw6hYV0KlNu9d6SrMXkqpF33DrI14OFw+v073Cq9T4eXxdfp4aW+amXR0
sYEkj9P50KMYLlLl1SAvEbyVzqNl7yE24GiDA4e+QeGfx5V7v3ZXX8/6tmHOR2VerqwbdyhndVMp
0hx2trfaYlBcVm4GaRq619v9OiQkH29z/TSJwmf6apVfu7/jomJ0Vblhknh7MuXZeZAHhlIEcaos
tPj6NC9xerqInrX9+DZ2j62yxmNdvdfmXiHbRdnYO9R9w6yPloX994eO75OZXbuZbSP5b4HjnDQR
q3X43s9fN5+ncH5Yp7lcc2XMWbR/YuSWf9sO0vzXvp1ip9Da91/I9d4ElHa2+TJNj3y9PLhiaaX6
pE3kcBv/9tiPZN4vvT1fn7kx928pXZTqtthKziZqm+EyX+I0dT+XbuPrYNtY8LPkkQ+xVvjqj1Yf
mFXITAx3UOzX1Y1u0bx+J0KaqJBL++EmDFJR8sCSDbHDQYwWAyLFrrX0VvitcToMTn2igvTsz7Sv
pdQa5bpFCol7ozDQWT0yWO+RcJXy+IXa8v1in98aHu9XPsbwwpb7SsRqOkLWf2uiDoI58CRQ2seS
FRL4+VKIaDUzntkM/Wbb8/IyfrCmOb7+1hnLtozpprbclNCc7z/Lcxl+jjVGOJyppc0aspY/WcE4
0VbfZr/OU9XJjcl96aaX2Tf/tMYKEnUlXdl0lmZIj55AMzDnKDFpzseX4SXeq13e7ovWbZwcstCx
nvTT9bC7O8fQ7K4YQvTlRLGrrd4Bt8u3u7bsnxVb4U2/SmWiIlOydt/StWv92lq95arzfjjEFyXj
8dqpuuErg/z4FM1bnF5LEtno0tj/bJOOzWw3//1iAK8GwGuml8hhctWW/thewVi6acMAeMAJZbkp
JfV+pbBWi6gnLi/GqoVC6DBDCHiM1HPHeV2NGiATRQV2KsBl0VB8b4bFSKEF3QETo5gr25YwwdFc
BaAkzGuuFtLVjYdm+IUEE99C+RkyLBbkX5M4mymveYJzb35/eYmuuthesP+jF4X826f90e37Woib
j8LwXHx99HLx/N9dOJ9vX4/fmfdjXerAlINpNCql48MJF12/Hr1U76zZ/nZnelBsLYYQjXjedySd
3lfdffvcTQ3z+3rmzo3rdcUp4eU1NyuO7oXX2+wxdC4eO2dQ4oDYXOVIezt6jgTOYv3wmRpmg1aa
99qeQZNp4MKI8kuWFl5VoFXuMjFqzJuCUN+RfeMNXROnUnycQ0SvcMWhuRtve6vfkFCzUzqv49Vv
tYCM1b3u6lzwDteK7SJFqu33pZxbcZXxsL+VG5ZMnfWRvsFGw2N4i6/difES3XuUeb/1L3cXkD5E
xdG2R2XdmMDi8aiB4sNFaVvbLari9PVNkD2+rZfeqz7hD7Ao7TQkTuXko5wtco81KiVag8SzldXb
x52DbYGpb+RHfm2rJ2kLsORGO2GCf67mLwqKzvI93znS7xvV9Hr7uTxe8/K9lXzg+LpaRKlFqQi8
NPvJuy0i73aW/invDJRYRCc2xtnXhXla2+h8KaXYta1ap3n8X6mylripCK/DpN/ZVJD8N5dS5lHa
/2SWo5dOZlO1wrdEzQYS/mR6c/4s9EXLslxWFpwMLQwLc6EH9j+W7ms5kWyJAugXEYE3r4jCCgQI
RKMXYmgkvIfCfP1dh74xCo1aoqpOHZN2587iVDG/c/g5aSnaz31p2f6sqstXglD43c8yWhFVQMcf
jVN/vowKGTTNLwSZ2P76HffSpqUQxPtoEPPnFKUHd/CrwiBz6T5SrbxqTtWyA1ZLpSgxMsSYiIvo
BsVf3gMF3NTtblX0ZxNV9a7n99BLObg5odxP+gh+cfW7421vB4s+EgD4ok1/OSCckE6v1e9uqiEb
0VHkn/84fYFNbWdHGDBFEssBkm3AoN0X6Anj9196RfTPUYOfM4apsMBpmBC+m/Th0TxaMmMJSb4Z
igXsvuUktEl+7HAChfKSUBchE/9iOjp8M6vFC6BKPoQfM2OWqRkshnzPZrgU6VHm9t/hT7qNqnDL
3T+kuoyA49dEa9NP5uMFCYh2QrV5urn+0oSv/A1T/J4r1e4NQrBzdhSzX9n/Jl/HpolLlG/iKz+q
6ENxBNaMn9XH4g0xQ1R4n0834jfleFx6T6ESmMsJxJgsO4uhaItlTbfi3uN9nuyUmqtIGWcdE0hn
qVx8U1cEJb/WP0nnhB4Z6+7zv8DHJMel1O6GrxfQopn8Th3rG1Ukot5pdcVCpW8FYtL21tE693ZC
I3UmZuorzE9/l6Tb9zZVuzozH+p5BjkOQg5wgZhjCtaz7WQv6zoW5Xe2VzgpKFGkIi4sfDHcTZqt
bM/9z83gSnnraN+JG4vuPoTXL39Pf7PfJeW3V8TMene8LZSI93bk4zDPVSlEwts29SzRAjWF4Htz
BD1o/ohKaGdEif4uR+lOSd2xAEsTP2TtUcm+Qz6AogIbXER/Nb/CrQBYO0vMAvCkEIn0oxXlGa4W
0f1UaU96DlQiqI9q6MTxa054ljdWdO7j+adYm3fSPX++SL5fb5X9F3/uSXX+uUWsaPI4/1v8PZ6Z
nogsT8tFW2gr3dj/KX2jQKBUJbMkTZLyT6v+cqYF1FxHu3f9tw6AR9kPlLHt7Z9LwTUa6lRK/V0L
K/icmGozDm9jRy/w5fYz/eSBCAXQriMRww/nr8qH8E3nP3e/+r/0AovA+n0tvZLSUUnuNPAOLAdQ
oemPZy9QzeH3/fuP7jo/EOkwNvnZXf/UL4UGXeuBlhSLV8cRINmvTaoOBESYvs8v8F4oqEyYciUN
S3at/Z8VFsJQVqWXUE8UQS4e1VBWw1wwXIEVsGdJk3NLnP34lFfm64T0giLbebaeKL4fP5gu8Mm+
hzIM6IubuRH+Qfiiq+S9rn5WCdsNgHKJdcc49QNjAcEcymHKF8sdk1BPtBq7FhL+4lX90ckJOrL9
K8/V5x2DV6FRGG5+zU5OtgYFxY6PXttx/Pbd7XvIDz7rgYu/H2oe9V4MU6VA7LJursSZXiz4Belm
h1A1Za3QRlCOFXmj8Rr6HhjF9f0TbZ00804ielEBzf6TFodS41jO/zl9XX5LbSuQ6MW/GL8tao5T
N3tIbXSWIsmrt2X70NKhDx3ftpZu5DbR/l33iQu/C77rGeQhVACcmqGoYYPNohB2kT4RL3Rv2h5M
N/WFOgeMiVh0dAgSS4Xz5UdcVRak4ISSXgdlqsdIkkHKYLJpP6ZAhLDznzfgj8cgDcepbyTXJvsG
Ra4f9b0NX6HEPSBzS3CMt/fEtnKPTvLM6ocV3GheEwfg4xrWrlQ+xmX9GNKaVmjMpHtuKPz/T4Fb
/2BgomNCcE8ggnNXZU+L2QVAp574hckwTOOT0DrtZSiPADJOsuzpIIW2T/CiwG6TaQclF6vTGT5F
Km3LeT1AVEbw0PUJrUhT3zVPggrhHo9Awwh2vbtvoQX7+uNTkFmOhLjiZ4R83HpEVeaHqc/rW7L3
/EiBpsHTlJTKD+/jW48MdNS3v0mQJMf8AySeKFykWrllK905ILL8A3MaM2CQhGFRUXjLRBglzrXn
FREjo0EDxTLd/2Ayz6PbqRr/oThkFB+iGar21DfeWg/51z9JiN1clUQh/DZH4MDW0+YiYG+tM2YM
TsMkQr83aTNXTkFCMjX8O9wBmVLuz03kqoTl4NHxxPvfG289r0VATl9iZGDAspUFc0QHQP0tgCJA
pbLR5VQvDksf8/985rjTFU1JWJVFsb1/J7PV/eHvgpkJZyBaKl5dAvt9uwNPYLjCzK4eNp+t5q7l
ln+xTG72Z+btjNKfjwNruGWFiMFWRdmy+crmz/r3mWIwvflauRUcc76S2Q1yGBiwy/9ZUhPfj4Pw
UrpNE4kSu+FxG+VZvpd5dJ6g8YuuW0xyydIo3xPKZTrPv465Px65O9XXv/d1Nf19JuaQ+P8pwcMc
K1qmJS5vVu/qeD7KR77GtpE8vS9Slf2y4XuC8TavnNMfRHxBCdEdd3I5ZoEsqplZrDJ19ZaaiYUO
DgkIvnKMRVx4JN/ZZCtrBPXKDkdXuHnktqXKncWNn1aL2/EKj8ZOE5Fy/FdsMrPmVX/uBM60Wfg4
TJq5/WD/a9jhDSfRKhvttzDG0eHvpBQdlbfMK/djJaUtgLSWxgXUcSbaGDKFqOkBYyLKfl/uIZKe
+rzJCJbKW7DNbx88Roc/jM/iMP67/Mp+T5KD5KMe/y0svwvHigcd/iyZ46ak8JZJQWA3E8c6OpJE
1ezYsmswGXaQrfgo7y61w192AIPA2uzQFHw7F2tBxfElE0zNVKZyH4OZCBFcq/fxcrRJ2Or1+zg+
1rccJOXFRv5uaOvR89Mfl4VBbgbycNj2Lzvzaqp3f7zjraBnaaWUrFx26N7x65aPp36+JItZDff7
iHfViYf4y7V6Tb5tCwzLt616ZAEZtTsg0h0977AA6T79HWe6yX00lzyI0v1skonQOCD5B9c4l61J
+L6P4KEt2/yge5ofGnl1Zu+il92SWtt5ubVZ2Wlg6zBv8ojRHsRaboGFMyqAlheqxWXA0D0/yY59
rnmQYJRcFKvBOnQo60q7XVQFX7dGSymrzv/268nPjrsFvPF0G/YjQK5XOGE4lr9Gv4z+KY3Y1JYP
t3KBMXrNFfbS/ICQSffjsX9chVn30b/9pTqHj7nbvXmMbXeGrDAJmbKRup5Ns8ASJUAgLkF0qkvo
2NM+B2ECMorOSUAsFwa0RuxzNgX7Q2Qr54+t1+cAHCb/hdoTc1a4RqmZpYJ4MMDMbLfVdefbj5dx
PF5OSdIMr7qeBGsF3dE7ANgFf72A+7Xh1kzI9XQDQSW+tagawyM59OrpbWO+b140ASwb1HHyBkRx
Gc9yt2Zq7KhlMgTkQP4/SVabuej5mf5+fkJl+Z3RpdulZXB1LJ+nTtIfqV3Vu2/+KEt9z7JApsds
Ld2eT3cXQDQnVyifNqVSFu1MN9EKL+jShiXfT0+rWuF98l9qdrGcF7Fy1KHIqbGA6BbLy4/WmtBe
28XOJN1YvHZDYZabzR7kibcQupNdDYvPTneHoxDsGJRHqdTdw1nIIVATLTP1Sib3tkRVcPPlGIoR
K154u05hdTNdNvlBtmBqyuxy72VmElIOSmRHQJ5et6DneeTL1F4XVUse6jY2PZnHSrZPkXVTF/Ss
60ff+5uaREaDYZ0PlFQ0Vgi2WfOJsmWO8ar2czNK1UmQJEkKiIKVoJ4rzWSgZbfNOUDSKVu5SXYL
/oO37OopingPS7OLFYlXeCOprvECyBW66wn8olpkmo299RKJKPihYDDNb8s9Z8g0W0X/Xgy9tEeE
oWLqn5m3QqIWdq2Uq4ChV0p/+ksYG0bsV1pcBt5FbJgSaxdkKjwiGZmk84jrAZfBlBCZQQmhIELi
W14oMdtPPdqYcYCtWos8iHKUGK+ac3wdqW5mtgV4mO7IpX3T3rPbjv4udiOfbul9pcZn7Y9RoALD
BkMDIEhVLSts086Nt5OKL+20zSaE9dT4U7N9qeJQhLpat+nTEkuoUCs/AuHKQPBYbFOILzxR36fU
K4X59xsDFuvrrrAyPmoB3wevwOo/1vBXNuMxUWBSSjM4Bu8O3QJqLc+va/2QmwuBkDy1VIbYWWGZ
bDb0k4JssilbcBT9nYfeqH80l/HAvFovl8+flcwqynAh5N3u/LpeVjMYnqb3MGUkRHsxVIJ40VWB
6Ms379nurRDyph2gyLu5DvGyKz9ayAwEQO2QijFxnbpvJvOubzu8QncnADH/hAmCPyjAAqUadz5n
gS6tnOtrvsK1ejzW4lTVWqXJy3nTEA97sJkKE9ALuN0ekB2mvsoTj50PwINnJSddIcGQ+RSGc5SE
OsT9hNyU6dkVLzxPEXQC/QuJpNsC5ozndA6CcG8CDyG0t96KF3fh/rdUdELauKoUZpluSJLnOwbx
2DdPceTPaIG4jG6y+LlkPjfDYDnbIHsh38iQgLkup28TYGsUCu9GbXemSeMA53p1D3/GCsa9RPH/
u6iy+jlOHXvgDSM9b9rXfDPjeM6bPhTuqxhkLkWU6ANzqDa/rDrJ9H9zbSichhiTpsD3Yf6TmSP0
5qRgUjhAOcw/c6fv5EpflMvHLf1fnKgnbr0CJo/9fwXx5iRJfxH2Arvax93lXuvO5mlet4mNO51o
XW51SIrSvHn3VqKYWFUOeaFHblQB1VUpbserr8livM0MN7lRIW5vryLvCDO/1tfucRTgMssP3UAP
cdu2yR5ryWNtm2vvpJyLVXNPfmzPrYqwlFLSDrEYj1OzbDJycGjT+6X99fx49IM6mhJ7ZL0yU9J6
CRP5lukui8rtQRRmS8bE5Gf9e26y2VS6lOpw7TOQS3hK+gPAprOeKvb1/2fXvUsDK2hvraeFdwiu
eqZrZ55kP5FI7hpPCpjwo26JOWFc2zmO0hq2fCbeDykgTTnKvqRrcJ/OaZEQ5ukL6leawflk+7tU
NTEgGZxgOwEYtC824xTyV87HkdPt50u2Yt85Ep5RGPvFHB4hZHrCJiFPbWZ3N2egRUzzfra/iiOi
0w3PrYQ4Wwg229+ghGSdo+vUGKtxO/QBGoliCrGnPc5Ijb+SSCVEkFARUPSWUrkZx1p+Qgcb5e3E
7z0bwEnuCQSXD0Ak0wN+Dr/pkcnbLNt3EEW0fd8fQxmMS4nVo8XUsLRyfVbsWnihVKJuBz+zBL62
vcRNLpjFzcyqldpbLZ4aIgupl6GD6OMlbYRI0lQk1F4IbJIBlTQB8pDEnv89favpUXtSqgISpCx8
Hs1laYlHyyJUYTZ6AS6SbF1T4H/Ee6q7nOZmhZm3LPYTAy+kM0arOM2EmgsFixXYY7E/tTjwPnzJ
RR3hlrR2vm+Rg3waB/OkUQh13YmBc7dr8w6zraei3uZDuKH2z2KiNnNdGsC6nUdmNdO9afIwzaM7
ZN2yMCed1NhdrBEJkc03gbIOoUbWiAJ0QO0wpgQ+p+r6gP6iqAK4OFV4Vw+ok1c7IK3AdGBPFLyo
4lVcIAGhsFZkMFr0Nt/5UeqHlNnXlEMGfoJArZP6ChBm5F95DqCE43/JdAU1LvoghXaXPr6am3B2
ZdVRlq5qlPMqHMRrl6QPgHG02ZyiwSndlFdEy/c7n8HQ4YPMOjbwViswhkW3pKi7qBAq1X6oe1nV
CxUmOw1bLcBqBqbMSVs4ELAWz1+BAe3/UbqTiGWSMx/HX0CMTrbN9CtW1S5/COyFwnf4iFKA0VIL
yn0Fnebjc/eON+L0E9duUiUBslNkiVDYoNndQE/JQGpyT/avQv6cUYHBBwKx/fFNNwJ54ScIlNTQ
4u0JcSBI1TyqR1ab7mFjhhNPXnHcNcqv4ZxyHyAZMCK32sonnn9FELmYhUaxDTwggFvZtCSYAoQb
1SJUhDKaXtF/WTV2MbXbWb1zULPt+98SBIHOLJvutp6re5iIqMBkpVCfNMUCVzNo5e4RWGQrBeEV
lOEB0zRvkdJKFXvgLOA093diDE6jkfsALO5tTHiwBqCnmNupxur9Jky6rl+BqHqlhrlxSovtNDdb
QL4bN4pFOelz/1aDQcj/Zt9Kf1dwXiizgLchbRRfwOur2AW5EXB43CS0GzcoCPjscRA21CjREiSP
9CaCe3nx4XXfdMD8Dljw0E7itXsnMCXWuudm+ptjMR8xGs/N5YjDcR/jMLQXsv0tVHtiEKLomS6T
ZUcYMBSowm2QfJf9u8TmYDnN8p7LxynrcguUnRhQdvexMPeoIJIczvok+hUTynbYTMcp0Wx8PiP8
k8c6ABoZMLIhpr+vXF8DdnSUoMEfBlgzYpOgJkjsLQqZF3lEyZwu2vtHJd3JDMJfKIQgkFFRLafz
yoH/uG/Z1vD5CHny0Rd3JTOAGLOG2BCwVILkEfpMA2g30F3VWIcUiHahu+gpkcIbKZqGupZJ2wg7
Fx6zumgvN71clwGxba1HFB/h/E/BnAs9RmypkhkHUU7fsyqneUqG4GbDK3p/VihTwxnSD2Q16SFu
WqrAho/C60cELSKIvfYxxLd5pMry16ptwyScI50VzU7J/xX7xNU6117p4qz0uAy86oyiNOYZMthY
Dg8QPCC9/qadj5FESET0+SEyJGOKYH/6JK5N63nk/4fVF7rvruERYMVQV15gJTYgj44BVmpKqTzY
WRcaFnHqKVlLoTGWEwkP6IIxd2WYol8PkQ9YVobBRB5jEiWCkg7KjUVMJxXH+xHa2pe15Ps1+8G6
Mnx7lOIwGvuhRMh0mWzsOaKXHWf4Yntg9Fv6FN++PoruPAeMCNMXBLGJTAD4vOLPateCEee+rzL5
QkBHs1BFpMHVNSBItbys+3bP00W72DdkU0/bmXZPmWtChfZAmDncX2VicxJdEXeYZTrNAEup6mrI
xusubgMHyeXXKQ1Cz2fiOsvhn8fyGJ1eVA7zz3XwKxg7kwprgca/TsF8E/R5QGV/eqLXAea1uiGx
BXEBXaj+EJaQOjm3HFRGweTSeUx99iw7a8bR3FoM9r6FYkP0sewvdGDrvAwWe0iMkLo/SJ5ULGKI
t4oGsEiRAEEErwLlCemw1a9MTV7YncYgiV2xB0Sthv5H9cusWYsx88CsqU2A3VcZMD0/+FymuDRj
jiHQDfDuAlkeoKDpqRINPz9XCGfLD8bh+e26a3iomdoFJs49MgSgGQWvKmTjdonwfFZ6hYa9kOo6
Rf+WF7Uw5joiIejcsME8G3XxTaKjattSaPJ155E5lyxrM8WBhnX84p6lGgIGAWFmGtUxsxwLs0Vt
N8x3StIbIahHuS8VOifet614TNfbFF12etjFHp8SXH8lmeqPkH/LhLJF3CE+zh2G8AVf6AR3Rmx4
VVkNXaWqd5VVIfLPtVITEZwH8bYaqLWCh88boAi8Spd3lyi8B3vhnw/bBftDiSlikVvWQnjkFsSp
wyIbVuqGxdWVaFXjuQfJaP63UuhMLSHqLq+op96ka2P2VFnkAsGMqoFiZHPYJYLuBcU6u+GiXZgF
IihzpoQmUb+2wtIyY3f/XUcrKGxp93QUCEtdPbzHOhUGrzCMUOHSsupg+lR4Ko90/8big8KuLn5W
P5Le78LRy86uUWxmtX8a6jZzrCYNg5NfybyB/8N1A4EHqPkBfJv0urE4XnIwEKksP5WPT7dTEsfm
06iKyzbL2sJzTKbgjjxtMt7WQiqoz0dinBjvfghiU78MuF4YetUJxNjngqtWm2vTJzCQGAR4I5G9
DgjG/i3IZ3tJIkRdFYhdB2xB5YdHntrqxOefdtZ5FDx+NS3vhE5pzGqjgMz7Z+g1ceOALPhHAbBv
ac0kZ484V3FSGlul5+oruJVhqEFJQdCOoBtcG0cnhlC2DuAeHOCtZSutatwjv001sn2pCgeceFCW
+umeJiNQkO+CghZZ0V6ECqBjfW2IAMLryVnnVT8qnKKubToOb9wtjIkmNpvdEOI12mcoCHNG99Xg
K+AmJlnHq3XLyMVQnF6G5yEgXuxdH3VxFhUhU9sPwlrBVVnt+5fJ13bTWxXfiRh2fTZT9x1qFaJm
/XnIYXg5/ZjStBLeRMscpp/9sFNlXYlWfi4RZB5L87oaAtBhYCWHTxcQ5Qapau7eDLJMAYuT5Oae
fwjfyTofcLW1NVwVC6FkxOe4GBwQykiwiCLJ0nzaJogRwMMBs/3c7U2K7GeufKBim3k1VymuUGcY
9OJx1xA6cIaSmbqR2dbeP0F4olEwCnrJBfBJcZ3KthPM3DmHYfM8NcVp1whBibhy681T51ebTNJN
/CETtBMJzCnK377OagAknncs1+ppIWSBjiP8iVPktXz/9w753Pcy2zDXpiTEe1h+hLkghvY0iiye
lcK+KqiySlct6fTfxSaH+hZVMgA3ZU8NMxyxQnn1qFFsVGcOg8Sqdh3tY703CY6gS0PdG/W3meb1
ivJPNeH7NxPr2BO8i3XkqeyJoEUA/Fe1fFpwRd0RAkOGzqFibjY/LnEhBUKh+gWHxnKbFhtMYa2Z
Mn25eT3IieXMFNwzn6bfWqXm9eMyjJFuLdAmZt2b0a/0Iexxc5NuOVMUnbuGShNN8xL1Xc1aK8ex
UJSXZ9t5ycffzOrvWUEZphkMSGQcVzWu8iUTbKgRSYJQvX1LD4v2EDve4Fbl2aYmUtAvVc4tzMCG
BOcF5LUqRvTFq8aHJu6Q2mscC3QKrf6q8bAYCRUJmyGBxGywJISNBjZ+CFMXuPcCX6F1SsybOKZR
IRRSodL4cuuZNutVLL2gKg7ChioOl1POt51+SOfmRn0aaWhyg3wu9rXF2RVJYAwPHVl0+8fQg/4e
2yD+ZdInmbpV9GzrtBgylA4/SUwgnyAwJI2iqfW1Yxm8tRHTAdSXYxBsv5/NUUej0NpKAtaYE/P6
5tG0Ds6d2aXj8Zv8XkfBJhfZN1H22Gil9HDoTYINHpZGkc3ryARjB0NNHDQwh39xiyyAaqGFGkeX
eYQzaJYE5l6yzc7aj7yNWJYaXNsGBvFl61rDbbZukGKGc/TkljWcG4YtaRe3bTUOydgVxLCRemOi
hA5lqgRB/qq08+YvSi2+ev+fMSeQuAx3YFhYtnCCbY+x640yFNA9aoZHHb9qI8NaQ6EPHXCEjIIm
g+NUmOY4vU6Ft04UnH0kzX4Iup3YpJ8YHQGffs02lAurJkaZbSKCGYq+9lNRnnkUEPawD0vhnmJL
EiovsUX8hk15Yyrdpka3V4u1UoB2tDG1qitGt5FqxGEhWyFi7SzJ8tCVDKsY3jSxi8e0pN9SCA3P
PzncwdCPcuqV1Z8pnuPU9wJ+SSwIwu9O2pWTU+FwlV+Kr9YK91t2VHAMRoF/8TBkNDtZHm6ATH+b
3HkS97kBlpbZrV4QUYjqO6u5+WEKGKRTfmE7OgRwVIkWG/k6CvPMlWce3MpOPkvObxjN3sO0/QvA
kjsW1yhedaQ16xYmkqm9aKIz2uXgDMI2tsVOQz9qrkT95pvBNibY1JbRAja+W95KoTkduZ6JAzUP
nW3M7iq6E6psldayHlqLwf7rGE3+u+PdXfXveoCtepfQ0hMXxIBqSJYGdq4Xs7+UvTpLBJCNobqR
i7OvkrR8K3b8YXgZhu46EajBxYnFgLb6cpZR8whU21Di3nGUUCCFV5+3qufa0P3NQCluBHPN9L50
a4aYYH/BPyyC7bvXIDD/ZpYCOJVJFo6IneHE+kUQb+top7bGLHLMfTE79ZJzhOXomCnpyMekE4zW
JcAeGHKM32a35RMznsi+WA3RyW4ewlTXu6mR8zOUC5noW7T6DtA5nFBPB/7N9fY4meXk28hIMKL5
ZFw4BO0S7reKlGC17TAyyxIFHfn/9AiBeuPXO8VjaiC7CMaIZkPDSd9ovG8wFJSvrGuYuBw0ewC9
+Sg5VRdKT0Pp3j3BztEyO5gBfMcgs2iK/ftu/rtmwOjqhPwHeI6cc/6FvJSThzJfPdbAkoPpkyiH
fRay8wxsKQJJPVNJoYZ2DXaVpbsJKrESpnSeFxIwIKJDuI4eKAlu0Gw0wAeqLPWtgnvrweInlLGa
3mJ/FezNsE84UCxDLjg+0OI7bWfnSaGJTDN3X5aMXRu8kpcMNOEmwwgSDnxVYaQ/mmJny7Z7kN+h
sLvBnnbfEsvf0A6iD/SbWiMVnDRmKto+3nfxmPY0J2JLI48JiqR3WNQhl5le/uV2TApfHkRWOvBB
+2RCOeY/YRBKgT3cDk1lP8MO/Kk4VIsftxVysGumO8kIU8a3TnTx/32gUMvaO+tt+zK8K1K6tFY9
1Epexludp7nCOw1GgiwD38ML5kMghsn+Ftm8hnrkMMPumDsMvQWWyKJcl9NEGOGGQwEQiI7CEVJg
ruZI5WmaXyMUxrj93L2qmtkzXeop0fUp3g1haOrDy/OLdGHL8vWIVc0oOQOFsqMqb6Mq2dRNpJvW
ndMNF3OPs7bvW7bT0CubaeOfH6MwjZJQkFLFclyM9h/UloMRJulH0sgUUoN0An1OfpHTXiIRN8Qw
eRRqww2HxNmHg2MNdrnOZl0zTJLEjmEp0mLOOKnE9HHMTccyFGmClRPlcsnZMogWC4bSB6NDT+W0
2P5BtcNFC/oHAwBHfMNnTE96ergpuffAuZ6aImjZKfuhbSovP06lzRSsKrkJ3KKuZPlSEemAAbNt
vSvpy5ZmYsLdePS+7uPeVTzacl2M4VXyS45Z8n9+2i3bsB9X6y8mmVd1hv8dJd8PeJFDCjIEB2we
b2vY+z1K4T+FuOG1tx+JrhfzNzNtysUxUKfMPw0kTDCnDI7bOutC4hGsAHV9BH2F9rsGpxmHmR2e
zzdZMVYzvL9y35dL6xY2lWCLA+9QhpZIaJ3otmr23FowdMK0mUha0kS6mM3nDHggvvA0uoYGl4wZ
I+7Cf3Qs2MYucv7NmOWiKTlrLdDgf1edlAZnQ1PA9cd1apBIvCqvCAyvOLBOmIUgvUJkSV/Ql9R/
WXouSlQIUw+2SKQUQnzD/Cc7PRrsVTzQQDdDsux1hM0FiXAipNaDYF0r3d9X15+PkeuMTKW1bpZD
a2TyPdC11Aauqf7EmzNUXxNOWoapJO+sO69uL6bI8DGj3H+rIq9pcmxnzlVIqVY2P1RGbqU+NKzs
zwGH0WHIInmlV3dDhjWSmA9L4JEH1aI2+/Dyg2Ws0FX2jt6ti6HAp7N9NldYYCXfhzXCLBt+0b4K
XD37tucqkCUEnR1SllrVGTCa2V2DH0pO0C/B7bfyhWDp6rZyeHc2mZwBMYj/93XQQqnnC6Tt1Vnf
493QgErd4HIglbu82AY0C2VIhop2v6VFXY895WVa7IbUlohKl5Fww84AFal42mgc4Hmyb4rN7Vpi
HgZR6W0qtPm4fSSIGTUfasCEjDPVa3fhcGpE8Hin8dOop7CxnEKn13kFV8Gn49ibV4WlFUSELb1S
5hj+H8hu1TNzZrvZlj41SeXB99rz+zlUj3xzuHK6lW5D0YqazVZgnTCd1DfsijpFOlpNqKyoHmX3
cQhuK8yW2/1WE/5EAxz/4ForjrBhMELzddy5IVzLuZIOkklEUMhONcxFz6P19NCmLxBi7EPkS0hs
ElrGnfNyM55Po1nNaUIMgqCh2rCYi+dM+sW35PQfeUPo/JQVtpTZ6j1QBqTQUsW95KEuvROs43yH
/lY6gCcpx9dxjpV5/qs3BwmfBUKcudtj9e5BtEtMhB7CryYoatgXGufch8m9cMUSyeJy1S/Alz1E
UxrZ7Tdc9SGAHhsxGlUwxGslk5I/mDcWy5/5rp15DBLL5vJvdtteFtunVANX1DWgoPd/N5Cahcom
3ZzHb8eESByYQrG1PkWX+INLmDlUS+dvUG4TQOTtEnW7SCjxmeiLH8zt7HVh/LhPaRISbgX3aVMS
YiQ5jR2+zm9pMQg7kgGUevP2QVpf0NcTXpKFzqHQhL6SQwHx5qPuw0H92N/zRpBttzZVtA+tm+hZ
klDIrPjPV5W0j/hg5CZ3w3crR5O+pEBQoK/6ZIrmpSGJUnxEDBN+7A/5w2Zc/dBmJLSjvFu+zmiw
drBriPgRSnhhiuWLlOGYzLqgLkPlMOkzovBxh3PEEseFV18rAv6Y9J3iQ+g3ufveg/BrLEKW/dN1
tpCTGqR9ts5VITGcZ98PP5N+0LnMAp9op6dx/34qgzbLTqxREun+e3OKL6sWtRe8bx9md6lcPFYR
o6N11nPs0uaPvlhA2JvBGiYqxOE6IYUyoVk2NceO9cFFYqPtkc2s2ueRBKZYW1kkmoB1/Lygfwa9
4KO9R6lqsk/fF811iyqmSTxO86KZWtRxDCS9yEvJ8xnJUmtJiDtuQeXWJqdaIEzEmdO17Ju1kL4Z
EUkc+pDOSpwhVWXI+HnQO7mFbQsm4jgqvScGhZkcl94MtLVuRIiUyftRyG9tQ/MP+5mw3KKCw/NU
PxcBcLXFqPohOUWEwlLZDY0sTleD9JpU7umqRqS26z3wVK5vVTz9TEIR0ZOqDfZMLcaxjXyhyPhQ
PtFEbXe9hfdG8pKCfI+0JEPCGXfSIw8pTmOcni5D/XeqyXkhIGttmlgQPgiFZTjnqHzx0+0/PAg3
7zJX99vMj/ZWY8T+bej6/Me8e//F3aok4SCJ+fFsKnl4iyHcQePns/i/R2PLjmsux4D4WoHjaf0P
3vnr9nlCb4DCOoRDLZWZztZ1VSiWU4G6LjSRjb91YWySdSAAd+T5oc0S4lHglAHy1cyvVt7aTH6t
uzraLmdqCOwx1AJR9mOsNqPUg1RXSq5r4+nr8JXrXZqnSNfbF1G9jvM6zVYQ1HVyKMSVU/yill0O
XLd8n3jGeP/nMJcq1borsERe4OPPZPLwfi/jgH5TcCR8KObJpbC4zhpy2andYa8ldJZXv2PTQaiF
lJ2EGL4iSKV9Va4D8giDHXPuMV1WONe6+ixIckc5O3p6x2I5e6iosXgRmXjXQyDIXgIrzHaIv3oX
Qjluanwyuz+Rvbzd4rfMvbLRpaaDEXDqNpw+x0Y+AToPuioD6ilbDNOtOFiROKmoYdilvwMr/r78
TX/nTlG2l+xdQXZRazC+vwLAuZlGcpFWob+ppO/R5g9SBWn6ZmrTv6tiiPNTdTRL/XJAL3NcNoCy
aqKgfrYK2ZjpZHW90RsBYlamoChgolz72p3HP/dk66hW41RfNfKbSvbZLsH9FKcF2mpRu92dcsVx
i+hyGMSX2mPXzRXb++hcap1zaEpU/AtTz5u57TMEfI6LQ5kfwvJNxO3TQuyxECV1UkcXJ98BgZI4
K1+4wid/ZBwR/7qAWKQ/vYoW549zvyhknwWVfou3H/v68/SRyUer4vHtUWpBst+C1Dr/ru/vNzCm
t/ziI852E0wR3ROjZbKXyTeKKfSDSJxK/Y2OEynlm5/3oswlhL0XBfMEjS0kW7LlsLmlArqxswUZ
T47bSmHH06NoH/qTgAGXYTIn+3s5+agUUFqgseh5+xKAwzrlcJ2q29II5PeBA2oBgcHhy7bTT77A
KiVo1Dia49Ok/vwsPMiGv0dEne30blZMOViP6mpBhBfqigHUot/V8DEmqWQUKMnewRBhs2+Z7wJu
dpqZ4ivduwlUADAUBej+2+5rf61CDG9Xf7KbKL2pPK8w2tv6QZwAMtq/Tx/3SaacPhbKufwwu2re
1NWo8Evh3YM4KASALRA0fPR8REn3gcKfyxo82FmcziHqKw/f4bYLqGFAg/nUtzgV4hm5maVUu5GB
nStL2xGsN1Mg5VyqXAs4v1eFSFNjdbnABecrXvkvu/5yqZh7U+k3c86SVCWcAJ/bhlyv25u47hOy
MwBD52J1HX/5TfLSTcUD4KM5+t5Lp3Ctr6/VU/x5gVHaR5J13q/jaZ4DihtznuPecwxX2AV3hVTP
DAxa1cDFOPsYwg5lyLfUzCNK71DJBpko9Quz0rvsrpEDoGcfYQzJnceVj9ff3FO9xyzVva7bBfL0
ciNcBlDM+Uxjof3n8VOQh+W9m9dTcUNcWfZXVJZxHDIdMMQM6VQVXG87klDcXjoLwL9CgDMW+7tU
K2RMec4BvSugO9c7reFnKGqjhPQAcbxUloSngBv7hyEH6gE5p8yLeTgPOSJO92IoP/dgJMLkr0Ju
Bw7yHteXq4Hok9+k1CA8oV+7uYZCG1mp2TL1Ar7xqUd5fPuPgNv23Bu4KESE5HGmbu73OCbmAeet
4ODWVBIAcuQMQsmbWNU49sBCsJpndR1AqIB/38doHFehOOMgt54OaI5FqnqC8bz+H3dqju0Kq58J
qPNoL5p7r3l6IvOqOQxIC0w3ul2F4oF4HDDqmXJKByIFAJ71qNiYAMWazHRvi4+9mJ7dl3xDIXMZ
l67hfp7g9urBSzNzKh2/KCc722l2UQVqnOaSVYNfj/xdMqqSmYH2z0fxsrWc2rthGgoBxZjMNfcH
vJdT6qSfTtfP2ZqtAhAuyTTIdh4gSn5SB1X3OKqjNKlnGsm+qbHPJ32WkdW+jtwMMuXfcA7zmeyh
V9mIa/atI6XjnmtxZBMEinhsJQsD/7cit0UVYtItyCBG4H7Kdjrt/rMZ8o/KxQ7j8Pft5edSkzOi
TmlDLaF7cL7vBHhTUIq3XPyIisvBJm6cs98Z4hVYbf4ExO4LzJzv754UThOKNjU1EkoBthwBl7gt
CeKekMH2tlSbzWoj7UfmxXrsYGJESlUROHUChnHdmGDP1BIw+VRGOAay7oMMTv5s7RkH6N9TXB/w
v2LRbQ/AFR+VQhPe5Q3amoCNJ7DRXIAP23VBHWtClqmrEPj1attdIzxgFd3vtdtxtFE8c57CcATx
essEdHNeLMGhPAfwgXBfcvNHyOnJfMbQSoigGpVI19cZwFYkVlYhF4ekny/cc7uFoK9yvzkiNPih
+hPQ9yiQhkN5/XWffF3ZpYUm24t16uv5kxXfx1ms20somni7fJ0rLCvNPbbl2Sr6L1nN9QRMPk+1
XZStHhvLRq531ADl0bJQb8O0wrGvELYImL5NA3nT21H9lfKVP48mth+/OZfv9esQr28Ed3eNyK0y
HuYK/vNaobyNdg2ez/2vcNF/SVdrK1Erlf/wSqvJr7h6KLnkUuXgRyTKPBWZdejLTXn9RRCoHiEQ
szWi9r57UymzFEYWh9oLSYdYR1Lc7R8BeQ/xa0cIvKPbMKdfwVKjVJNUYY1gcqqoTes+eqBzteXv
orH8T8nc1wqIEDpx35R8RFXxKK/jN0VjxALwOKNzs2jkYCWlBFoXDRDlF3eVhe33qMkghnKer/Qv
BoxsoZU47lX7dXAbbA6HsKQlPhp4pcL0figfKoD+tJapPsP3LnKkyGvAwDv9vcWdYq6BVP0R/x5u
tfkvN/zxvjq8KybgE+3T9UPcYLADDjHp1Mu/K4b4Sql7gsO1rdaj5Pl9nYpkUOQiTmcFfIX3ZRr+
swIuNU+ah+8HoPR4O2Aq9o65qlqlFcRDppHbflA0xVwLGfhNUck1pwVfExtjLtM5JGarGP/j4e8Z
mWq6k0t9cjEyX/v/kXReO6pjWxT9IkvOwCvOxuRcL6iAwgSDs4399T32aalv6/YJFJgd1pprhiys
OXcpbQHdQO9KwheaZqK8VyVTMDzaCS9IfdxPuU2G3+hLk8MZkHvcctlr9ySdY8kRIcmCLFFjhID9
NWlrMa5vMPsP3BBq7/M1a3ASP9joATl8/Ex3SpwOJc41rieHXhC5AlHUpEBk+1hYmnFkFWttB2xm
iDbEE4ycLqi+6wxHE+oo7vHXbEjkDJIjkiAL9zEiQ8R6YPTGkXjjx+KdVI72PE30iQip6n6VPWZt
f1aVt2fi7yqqX8DZb2NnQvLL9Nzo8cpYwkJqXhP0RHV7fXW7194eKrDnITEfTvrD0nBfyLHruZc/
eFw93N68u3nHJlTOegv2l57rKsBwWdFcKfEQVp+QPJFl2XoMI3Kq9ZGOXpGOC29l4MvPimPkwv9W
BDxwE1PS8d4/WAoklqwGBd0wbzDdqmZIckqPb8Tbvk8Gi/SGB47cBXBWToJn9aIzhyc817XdCFsa
R0z+ekRJvvKDWwIN+an8Q4oCU8x8B+WtJmSuQ+S6rnoXbSlll4ZdTtpFiZVJYsDeNX/gcWk5ybhA
sy6kLa01DCAemwqfVmS2F2jNr/6SyLfvIJLMSO8p1X/QdLSZ5PKTZN0HBGeOYFa3Iv19JFMOz7ye
mTiBGKqLRIUig8NT0xcqfk4tFesgOd8f3MnfjXx3ATTQYVFSciT3NLNAhg/+iJiELbL0d/RY6KkD
V5Wp2FN8ro1WB0SGg3u2yq9kOrnxY+DlrN5JgfsIhR+OD8KRfKjS1DEe6fKQxKLsEVbQzbnvXgRk
jIQDDN/pg5Ik1Aa/9EhUiIhe4X4zVTGN8BNzILs6+TSiijU1/w5BVN/fUwanBvTIN6KAh0c5Wuh7
ZQog21UTBT0oDBfpE9Usu/R+fGEmLhtT1GTl9/LStm86ekgHlZQ4ncEFJyFJx3HoruKEeVo1xkyC
rUM8y2uptWHWILvmBTTpTkTPFVVM890kvO/iu6RAFbAw3KCSbAgZloSdno5PnUGTCNIL6mINnJDS
TgHb52LY3zLX4YjjIamjJX+ipM2RZvqQRxlWeDtUkVk6BcnBkF3fESzHC1kNbNNTSWiDYHSgm5bP
3yo06iPiZbiUaGufROAgZFaWBU4Nqh7ewQ2WJRcEyTmc8Zc4mzV5wEHFRIVkQC3GBv47Hp68Mgs0
BryUi5z5DEuuyIdreLmMhSj1/NEpPIE2NDBjRDUgtWtkS7yQ0G3OYOQjYTXJ4cFCHLtrDgld9nBi
kWVsxbyTEqIGfV+/ZWgM5u3LP2FMedVxIVwVF5P2qyOwYMzu64j5QGgTg08qFQpUW8Ycaf/iEEIq
QkcZfhqrpNX/wOk2vR4jtoH/WefTLxbJiqvjNwXYXPDdtCS09LNPgRqD4vnK04k/zguHLB4N9Hpc
8HM870e/2gO0Merzw0gRrAgWa63/sKcYdhq/QIYg7Vw1p5/T7RXqjLmdWt7iUnO/YnKN+A87Ndh5
jnFAKE5FWUSvnyL4HN6/lG48jdOfyUnNUMxqZ+/fU070bqBsNO3v7cfsM1QCsjX8qSkAsZekaqKo
drQZGyW9jLikYYyRicxPQ5zGYNHp38cS1V+CS4LVEPJjWOZ2WO8owPOJcuT6y+5rNfO5/GQtwtES
ChxelLEzuJQ/op+4tTg5TNqJhPcOZEHQD9odjjrevB4qGxx31BWwyXeBJwcefyhwBkGbLaR15qVv
q5lSRL6L9XfOx1tyhT6oPDuLt44HSztuCZb2klEA4v7Z0SVAllaHG7QmFL3N/aKayAsGjO3VGQUk
xsCP5xy+tk4EnGtwtmSDCEtf0cK9ZjCPWm2LZT//qcw/apQoriBcwNNKubsnyF8H6O8PPDhA1Z5V
LfkjDiDqHM7XAZKFDss90ciap4izDj0zXUPJ5LucD3W4VRdusIa2v8fzvED6KgX6azlseOQfX2sY
oH/8GN+euP1LWctwChlOURqp+5Zw4NbTqxDtD1MiENx5UzmPXXrOMaoDUicitDeAIZlE5N5pC37e
EYZQ+hQYFQlOwJQRl6aMBaiIEocUjNzfYNyoikmSFDuj3hoEFdVas8UG6cHNb9XPPc6OvNHY6Y9i
KnLStqM+JCzia39QWp9BtIFE2ytp6IbDROAHKfff4Lff4Xhn5BcjvfJRmxUIfIcSn2UvOZ/l6Igx
E5aYCv4YUUMID64oB7ZR7ClvWwROQEfmea+eJDyQsYm2MWXbIPB2yZRQHqgokSJgxANR9/K+DQh9
mJo72YM0Oo37cYtDEhf0Llt8hIex3TdMOVEycLs+bnFvsdWHidMYl2RRzJ9X40zfVph+hgoEKybm
cYv8FJl0kSodGtQ4OWSYlkhBti2Q7kIfGhuCtNitX2RrQRbJhOKJrV6A+Og2aDiZXHiMxg6ta0cM
2fJhuLrhKgfu80oDe6O3cp5XDduz/iL/xrmw35MigkgoMafsGnNtXnrs0gLsFBheWC+3xbMFxqWI
Ghrz0i+eSAsgSW/OXItEq8IRijaTNDERBgRWyORCksX0kWILqXa5B6kd8bkmaF2HVkKOt8/fkD0z
xOYvw9brgb6mdEQlFnyuAh9DV4LBzoEOX5MxkxfzUPOH7pkKNdH2Cr38hibKpCkZundPBSocK2u6
OQCdvD/n2nz0nWnr12+ywGcAW4q2Ewp5/g8b5XPgGFMpwD31fDdWWPmPVJsT6T70gMhAExoUsm3Y
v2F3MHr+feITD7RY0azrc06Ot4nFaXOkI71DWqiaY4sfGuwCoFK5WagcKTSB2sC7Q0+gymZvMVUE
imMiXQKa9yuGPEUi5vcNLlWaR6+G05HdMronVeUf646LHNmTvlSxVXvwS0DlGlc945fh3RUnpzsy
6b1xD/B6dJvjViJnkGYrI/6q2la3VrKek3jRbMvoQ4BIqG/6bRoBUMqlTwXYtLZMsDOddfObcqYS
hdnA57S+uWXgcnKVtukCZPs+Iw1xss18dSSavxIx0wxLmtOc96n9PUtOBW5SZTliYy1ZhYLYM2N+
aFyJreCWZuih45nCu8ZM01EB8pneEA6xu/usnALOE2ZBc/Sn1V8dmq6+JA0SIRNMJ+Y+v3lgnpnI
UEsUf6x6DQwoPRDaYg4Z88k+QzG6/Sr2GzC/a3fO/IE3SsmaVYD7xLxrEFBBqvmXGLfw1Eap7hqj
8JTg8hmfYD5ACTCcvB8/wtHr572NJ/k0eVuMCObpyjwaREywfKcKs7qfgvqBNDgsIDQ7Oevh+1ap
doyHYTZvLrk57jlJooTZ26EorWaR7solNmzJ9ZFbjV9scJuAcQlypFkmhSZSpPrMXs6X+FT52kGz
e47D2xNXDTeOxwIBnncB4QKAeB0pCKSx0gNj6XGVeBpoeHxCPsLmgCEM2sMAGjxsvanCcKIOUomA
xKj9THpsusAuMHjBp/XWzXB6U+WpfntPCdILk6GP5atxt+8Hmmz4jZuBZj1hbGFoN2PhVRuz82N/
NMP5r+LyQtFbcZ7aWYA5yKYTejPqVCwp30Qo4nAFX40MSJfnpCTCYUHe55vcx23NJWz8kC3AP2Ae
7fXD4/LZMuEpBLlOZsVdu2nNcHUFTCQd8wCWvMpROeDeAPTBIYD5vXU6PLF0AwkBicUaZiUvyzm1
CffVG5MbLIshSP5UO3AyBrmhaUwAGYygP0h2QvuO6TGiMSGVeNjDkTe60nsW8yHEAXWqnhwltk03
96vDgHjQxEpbzkhc1O5WFzGh5IutIsUfKGOEks0YO8l/vmjek+TJyV2Q323MPR/JHNALVFIV3Bco
sy6WFOC0j97Sb9Qw9bLeYQb7Rs0Khl7uEch41HWDFec/nxsf4R8MAwduLbIhMYCtw3I8ZB5acl5h
OWdVUMCIYWYVoWBH3QqkzQj7O/Jw6mPX5Q5WiFi9AGS9C5fE2lWDfhU7zZYSQbidEAgIGqQGTxcT
weyHqmfoDb/nEj+qUglr/+7rMyASY28clHW+Ux2Aeivf4gV8Cl68iakctsNJcnzszCOQFhcIyfO/
XH/lAbfNetbBvtsNqAlcbFQ9FhTUPC4A+GSoQihx6edO2+cGcIlV+KZs0ig/xyfvzdbk5h+NMYwB
rw0FIki1B7xGy46jThW9w/YfRKtwUTLve9bhq3fqZXlLkMt1Z8ZgixjWAAWrUG+hjcDfTfgoQj//
HPrWhU2PjHydwwBop9JMc6kl4hX/0tx4alzw3MEo3+Gzf9b34ONWWViulEUSyAyOw7ITFkLYJ/db
lmp1GF3Yu/e5DDu3H7+c6nyvXWn2ZVY2VjhJ4iluTMKv5rFMZ/2eafpffTOPRMnQ1HhUghTOGJJ/
F6dpwbSKNXlaYHbPtGbf7d7T94RqEzefOT82n4ygVbD25hXe/Qy7a8aTsKq7VVLO8WC9OwMbT1kH
JxCmXS5NuzFp/HiLUxPOVJEeYGAMsuX2c9nB+Etes9ooVPOc1Xza3hfEqdDLeZ+5HoqCg6Al4gxY
uAOXzgNIYEeWQvBevvZalNUBdpKYyc7UXbvkq5o+dnxj8g+urZ/pHX7pGMcSkdojpPdj49KNB1ER
dV9U2lbBNptgxhLR2jKFdwyXw40t8vhN1yfuU+FpPJrd3xaYMng/e12ddT61PQ+NXlS+4fYO4LEi
oCR1cHSwQXBajNhRbEEemmCZPfwp8ZtnZDmgx5y04UuGzjjmXGARaevyzBJy0h0UidFV2ennXkiD
/+AL2+mN6DM8X9MpqsQGldAbqh7eYKsGvaiPYtTDFYnJpIWeXVIEgdJEaAx8ZIYZmrXhFv5hEWiQ
pQNmd88r5kVf/A2Z5eF4BjvD0k0ba1tMVtSwGHl3eVE9V5zGdY0/Fx/7kXp5qEzKj3Vfa7FHk8aC
x1nzyxZ5FOtXfq6apVlfcS2J22tG7cKQMYFMaMz6NMoHS6WinR+Pgsf70OICDLur1Jn7LwgdZEtg
dU5s4yAcGQc5EVZ1r4dTFzamd8qNOpsoe4rKQeFK3oCa4AzIDFGOO0kb+ngUYnul5Pb3B6oJoUeT
70JfMjeg6DGIVnb5MkHHYuhnrhFxLwKDamu8ZbFkBE8FLzgpWwKPqmg0wcL6ff5eGIq+dsLa5yAt
gG43zA6zZ/SUAqYI6jM8/b5Yzw+Ln4xLFWMX+C3UkeCPWrFkHZgds02PEw6X6ZFii8KI2klTdxVN
aJVPmwPFJg7Z2KMmSJoeoE84DNtfkxYCk1LgcTFKIAE1aM7yDw8/7af5vtuTWSf/SIseMohtqII9
pwCR9dALPSTvrzWKGR5J/AwYOTzu89H8kYPvAiThGTAu4MNs3o4KBVCdq5oFjNn4g7uXZ1G/4ej+
zDV3gPMuEV6Ga95GupOvtHN/Kck9h+o0rgq7w69YmbzD0SyhMqZgd8W6X8VBv21MuwdU/Ek0skdt
kzEVW1xfVIvkOoK9il/kagjN8W6PWGZoeXu/uwy06esUZuWsuLtG4g3OGra9m+pu4yvJv+nSGnKf
h3YizVtyoWEjXVsue6sn8VH+OOCY2JifQvyXca81QVEFKoFXbfqwyl9iOqgyHUmECIwAui/5jhMl
0WEXiEIHs37grpu5JF1EWveHLHE/MBgO8YxIDhwKGx6qTakWxSuaoyGhvr2Fif6bVALGOAStkZxx
4/gyMc/kkPnlv5XCp37Ke18jzSzeD7d0MgNbXdJqxr8U8HjSJRGebd2b++oeYAPKVzycspRifvS9
c6vDY0fxIoG/3Z6FX2PRs+YvKRz4r5CGg38wIBthgzaXTVtROExaQESrVufxjY6Tm0r4tQ3Xdrdk
Xk9Xwp+pPzNVxk+KCR1rg6KOk9oYzvMyMqfqz2NPM3fHnwVVMqQwaCKFsH3jz9w14XZqblUkxwFD
6QIXQN0zZUe8hP/PHKC4sDghE6QuF1ku4ts2g+N9ep+eBi6+I1dM5ySyVGD1AH68QWgdTiyh/zUf
G+N+ARHgcBEWcUw4WyMcicnxp4Z87BZIbLQZs1hw9T0aGQ4O5lBSpDLWxHMNTyfGDDDll184B3eP
kRt4SuzHaIgjZnhMusDt+GGoPXPF+WLGQWsJCxHouqA15cVcxuTvM1Yg3PqUJEyQUXIMGMNsU8od
LSgnyXSAWhRnxgPqZelqriT3GXGhmtvc52dpR5SWmjAZoYpjdtwvDAY5mJZ93EeFZNa4AiuBG+Zn
ofNvrSulG9O0QDnS/WlzTqMEldc5ewJxCHMhplu8ySdLDg4GFiBY3qZ+O8GZaR3PYenzBaHxAY79
ZZL7OmtHqio+L0hEXuxlwxvwd1bG4s7QbPBvZA2BFdugZio6kka8KpwOc8V7QGcwac/wvJnyIZxC
GvecAnbU3QWyDQY5Jyzm/vkbMZwGjQXggQP8IojqO6uFKwkSVEFpe/RRw9dQ587wHB+wFvFV+70Y
eCK3HYrqmN25GkbgIh6M86nhAbfClgJsUfeNp7sMNLlDg+IXs07SCqudEj4CoqgBzC2C7S0mGrYU
DALSVl1VGDlz3WA+cQc+52Z7CzebqTHvwi7s3dP0jf0mltTRe1Yh3ofi5G5vrI1bgZ8Sel2v9k2n
sgHK9xV/2hBXQDRa61BCdvg8YkduEaxlYr0c4f0xhNeBk+qSe3yBP3JG86pZ6ebzS9ZmsXtAnWK+
MyEdM2jtJzYSTr4g03MQ0pWORzSfA2tPby745dmUNx0UKNfw7DsmFo6YS+oiRoQYx0zkmcE64+5g
SLEfbOTVhBuA7c0lP6sCUN3xgFq5OsDsJbgFzm8A09MerONZvEoi2fPBTvlk4gkVUcovUqZ1t/ti
4MoOPBoX0o8z7MZVsCF6YCw7LEbqL0bh1GKq9+Bn6BzhdA7OYyYpNucY3j8HSjeOOe1yWj5Wvbu7
YVkVMMe2blQRFA6bWg6kSxy7sIsCmWFoOoGMgVL46XDEeViu6i6OylSJm+on89rz0GEBHVqLwgEi
mWq34x0gLdE048p97eKVviwihoGi8pvof9ArHHhbjiAtLu6eWY61NcHEJG9kwasfE+pgSzMcY0lP
tOIdro39lf1Mv0PLtaKxomzVrnCd8FhRRFmFf51wKAAHKtAWIauAc/Aeg2aDncsz2giOo85LfUxv
ArypnjDXJ4zc7y9PMD2/2IFD9ntwHP7peD61PvGdMEoFisRYzI6xhCYzCIeeDwWARfIsDLvmAwsJ
TKK/wWObGt954QyKceX8xWPQcPtrifjIA3TmGZNQxSOSN3xBxduZPiKSLcBT4SU+Ceg0YK5hlRvV
/iwRlCDuXphbCR7YTxY9VrQEC8Dsf8ku8YROc4kt81z1MMrsF7W4Lk7b0zTdvYXcBldc0WWM410q
xr6QRq+d9SFFQLX6qF3lM+OMNafb2EmEP2V5t+KbdpXRhMHI4QcJw0OA6+KgsvF4lIklpOFQ9zgw
oWA+f1oh0oNcifqAZ5P8VB5slTNmgCSKZkitXP01hVbQAh+j8cWFElsMyg/6S5R3oKv/HlhjKTf1
8kR9xuCPj7x9LtGAE3oFCs7ZhxZ8wgljs4OIFsSyxiagg+E8xlXTmBf7I2eUQEIYoz4ZxD5U2uKP
wTCqvs808cDe6PBuQ5+3Jviy8FUBZ61kITvydohd8u7lK5VTUSEN4CETHfmThhLMbvT3mfURKSbx
CsyOm3oAqt4fIWRN9SkCHNXubu+ZYg8m2lnZ48AbDW+pOU425Q0r1o49VQQDl4QVKm0KKJqvbvY9
ofUkcXuc/pa/JwxoW5utMEt/jQuFCEa00pptWFw40+rwtJWYWDrcxp1HXUgO914IDzzIEx40VRi9
DIz8JCgOSWBc1PC0PHnfzTfCL8xvziJUTXNN7xPxtWaXL7wi4GAuuimuRH48k+ZJRLFOT9B8Il6e
O1i4p4jgBeQO6EOQZcCtw4Nj++Yn02JMTg65DMvTD/KqM6Tt5/KzTJY00MSuWtBqHHo1Rk+9Czoc
GoGw7WHu6UtraiTgZWn9vdAqCoYSiBZGuq45sLMNqNQwCanLhksDsHQNyq6Q7XZycMKVZ0M1oNJI
JzwELgEw7DVwKXyBC9kVrxsgAJOwxeDORQ7IBp809llogkPynLx0n1BfsbMhcU2fywcWxChEiY2j
v5N8rZ6/3HvIoBXWsMH41IeKLk+aP2PbQeRz63PmFQ03m4lbcM9FQRbMnHe1Z2Hnfum8d68Z9ZWr
esNl50BedZjlOOlU8ZkbQfJ43PBEha6ybwyLj8Blj6ajFVosdnpT2+ZE+01dprUIAPeq31FY8Mf0
1dBhS+HCwTQAyx+OrOnnQnfP96TMmSqZXv7bhW9aHU5WdWwcjNKR1qO1eLLjatpyoLVLFMskZNog
AplLshjW0Mf7FaffRe201ptJhTKnJcKsk9XUEdUporbwd5dg7wiGmRLI3vcwmneObj0cbaI7rA1+
FxtSDBPWQNa+chxtKmjwfEWyoEkhZK0R0AKWvW0GkDsSEe3i1lu/b/fDWBv6Xz+/B8oBXGj6WdD5
wF+23jBFrRfiO7+cV9uaVfGTre4rzeAaV3558uPvUlumQU/O7hiagKMtniEnP6HNIELSFPY7YCxE
q/Uo0I79kev+xAkgrr94BRV2mvqPXb/OJwjwKKAc09HmJplJlP54GelLWkeclFHSCl89ph5MpqbP
iCZ6tMZxfxbb7/XHy7FkEVa3WG7VvuR2S/B3Wt/Glg6aqxNpMcdxBbqmWzsJqz0dMKKoJx1H1N0H
55oXIaMQi0pjpwSIOC3AsenvDTdN1ABgpsDDMP4vQKVTBTPWzk/ddoOp9J7ygFsHiI3B1U479HQo
fAcTGCxH+sRk+bj0IwuKE2Yl3BexW1n38F9YMZA9SWnbI3N6D2+JMXx1BBVgBB9OSvYDbhws4jH8
JtJCOufkNWuZNLHepVsU0Mpa90aXHCSlclmESZQEHBb+ewIqdu2Ivcb0ZoseNhlzucmYp22pu41x
c8PaHxWNfCZ1YQtGAhxsb4Wm6I/7ispE+Hlkh9f+QTLCd5EDCe1IhaThE27faiGaHExdjxk5ejUi
hW7PA5yQgEGAg/Nway70em/Y3Gre5wqP8Ap4Aq/SgwziULNR+QE9YypyfNizNBBeLoI5NsuZxU1O
PzR83JhrZTSm99enJl5jwynbp8XwnkS1Jmoai96f7u/B5pXfNgFcDKN+GXi3U+Wch5+Fju/9fDA+
9xOQc7u5ZNEw/NpvgPZ0xmv7soeNhJUun8fRARJ7+LGLBQShD+FRGjlUIyxFYexAw8zsAaoU7+HD
GzsUEaP0Ijjdyh1krUnsdPDngBUBFbY1s/NyZ4KxEixTejLym/HokBxNi9wwDJKIPvz6BMWIGJmv
X3pvX/O/Exr6Y+y/ZicvDXWn+y2Cr4t39UNAHuaUwc4EbhR7vrDfu+LwDEoRJTZas6RP6JuSKUnu
uIC9b9yma0Zur50cKu7Dh4/jjyyNqqUZi/Bp8zYgxKaYM96/VcGLlo4rjrxo1dO9z+a908P2t7FT
p3GpLXkGg/3Ju1vG+T7nrb/+TjYROu4Bd2XhAZnjCGfMFXeuUf05AwfSoPUFsxq32/TrPCny5p95
sz7tTJEkyE3tgmvUq9FB3hWb/u6UuybSXPE5DuqtjZekNT2gdjmY0wnDHYNBpqfNafyVA7wQ/Qa1
fao6SpQue7Ke5OARvYl46Fx5nk0+ZygEp4VyNva6iAy7X8qCELlym6LT+1H8kRtj9QLbeqKyYYiT
ULzKhT6HATlG5U9QFuHSjG0RTfnYJYIChPJzxD0VIo9PwsmyuA7/BszhTWAN+fe7qU7eCeCiRzw3
Bq+mRKi/2Eo65hD2uKPf0tOMak5yWua/tDXEldRW8cazmlwQUDYnIyxvR8hR7cnmRGDal//N9Pvn
tuMXCgaJeE4wuvZGc2aqYKL5rk/cePb65bbmLNSIMuGF3zYvCa/v/7Lk/SsSPABjsoXukWvgvX6L
iEG3pvyLcpXD9G3XLY6B7TMwTmGqeKZnMJbYmelC0UDs0BpaFDSEQ5BLUnunJXysC1UUW1249x84
gQWAzGBkSUxMcegvYEpt53z4dIeC8BIW4Vi7DJcZCQo/xpoJ8TcG8Btzqaa3JFCFreDooO+aRbmM
abDQwkwefhG0rL3exbAgUD1kSTZBY9h7DI54vJRYvEEh1GHBM6vD5Jk5TIb/tiAn4+ueceLjmgh9
7gJaCBX/xPib1mckfubwFHWrgtom34H2KBUMIUL3LNAITrc3giVub8ECnmiihGtpNefq7KG7Mq6T
PFxBwuYHaRuCa/AvlAXJjMY8nXREBRw4pjKJZsJnvARAQb8CVyvBabr2US3QtUAohKAFxkDJBveX
GxVrabpwgIwMMrEg1YcUGgqlsmwRv51WOILCKXxOG9j2C0pIRgBX7jJaXFJKYZSDH5xBJDxoUKsG
nq0wof2fEQ3uDd5A4Vz6xgaUoBZIDFYfeA4zwQSS+YKunGwbSsS/l9cCaJ84qbkiKTUDJ8ReVXiI
Vtzw9EzYGbPB8zP1J6hBKWzO8Dh+7Zv/ZQQD4T9gOsqc0fmEJ0JJAJm8OaorNBVoEECzxEdAMD6y
qU20K4+IVoQptQ6phOAnqg+6Rdz2gGRQn+uz1w28XPbyZ0ixVWEXjiUoA8Zmo/LI9MUH7kjKadyt
wEve83zTTUBygAFgqbTjJkoFrZpI4XPtqz7DGkU4/w02PLvqyBHTeZibQcniNHDfR+xoeGxFcI8A
jrAn2PfThCOfGv5HCxVn8Jv95DXjtpLTvojI5PPoavzvYhDQ6JYb5LTuackKnXdevoCeqDkCxp9w
tZUpPScWBfo8D5gzdAE4PXUGSYbv1XNdrl4/iWR/9w/5n2B0uIWsiQphpmeW8aILrSKIFSN4K2se
S7eCofflmqRatHAF/RyVQ/uTkTf4M0CDzzQKCTRYArlgGtMp8quyjcIEnwN1ovj9ZLQq9tWe4JgJ
8eNE+RDaWX1xeiNmkwCUI+kZpHpBjClN9hHJsKHg9NM3KnY/+n0893iGUvgw/BErTJ9BSMr76X2T
uYU/eI1XP+Sf6uiQJuyRfsQ2MiyoyDQWiJbGrV0fRMUCdxc5FdMTIZvnGyrfQfX+fY6Y27ZjLiR8
8M/G4vPzZKyoT6UL+Rb4TdGlUtbHBGu/Fh88Y2ARkerJWI+aNmJN0+XS5MP3oAjhLHqcUXvDYmAL
ULCUsmiFSpQ3O0bKQxaZ8Hsv/SEo/xgBBjz8FjWQZqPs4ZBgPvy+KVfOAtQFUG7Q8wLSNkdBBoFS
g5sU65+ZASsVnbPwQ65BJ4A3GaHZRCFTgrVht9QHFglnkEy4wtqvzdyKf/pgcDZccYwPLMbp3zbk
RMBBH8Y8r5ebP1gN08G9mbFgc3nB1gBTzgFceTojOE5DN2/dOiKVJlnJsZMHKrbXhEaNZZ+yNqpg
wQEf9P4LyzgDmecJA+D4/N69ndcUL6JQnEmAI+A81KSp+8WexksBAAmefS2FZVLEJibGLNIFrEWv
I6/uYZN6MGOCJ8lfMGn8+3JwzbxBKAtHvQpuG345iA/wxlO90pNW6chmchKfn3/SBm+MBdgC6CeY
5+zu2Rwa7zMNVKkLZRMXXHORQ9zwbj3EdZA7ixBnW4sGc86F2EX5jHKETusA9sMgD4h0OUwCGBYS
Notnzk3lIvfWCUJcatUwfsjNSryEpp618nRq3pyfRK0a9O6js2q4Bs2UiMyXMyS/wG1Rm/n9qvZM
5lPM5EkeJGYPVRrq6Ql2BNBxky0Tq3n7+wyGq2/rd5EWNstBe4SEgk4BdfTqExmLeq8Ki1PgWPhI
hCAqUf2HrO0j26/aLpfVQjqXI3ji3J/QfMMXcOjnT2WHx81WUsUkT7kvyNeRB26mzV5PMSPFik2A
wsi1oPYVE2ZZcWtT91KOwC4E6fo8vTxZAsgMrXIhwJKWknTJGyjPAuHKovRMNDOzSa7jJ/Gur0hd
4hpMpc7fp0pkxeOUOt+5p++qqDe1hrmTH9cCYK/3MHZQTKOv7QXGLUPHD5WRywdZUx4h/wNizqQb
1jzqJ1CZKqBP4XjM9a0YBt5nLbraf3Jt7mq2G3jAF1LCFJiG4EAIG+J84OGiPGox6L+NBo5+Vl9W
Y47zNRapHvMgpvjFBeHYifuOy4q8nUm8KTf9H7YK9GhnCDvKFBHm0Ef78N29XNIw11po+h0uVedv
z/WAwzBMLnCauLMZoDcuvwVqiJv980lE8zhj9QMqAEqC7gmvJDpFYI4DniHqSqwCNiJ4BbfNk9OI
ZS2uVTiGIEFTwx4dyh2f7evCapv0UXbIa5eXe8/vLPU5G804gg6M0q0J/ygWtIkYd4AUhdUieywy
Dgs+B6bsCG+6elEa0/K5ectnMI/7c4GorXgSIul90E8Av2sz8gVSzAjS35pOYajPOd9IflBwThHG
FzZa4Ae16PzZjVEi6e5nWW3LM9kw2As+4QE7H4cILDIIsYxUff3yfltcMHN1ydlyBRZ/2YbXO/lG
WY+g/7DOqH16AfjQrIeag7ifCRfV7UYKii06rFAqAlqKCak4POXbHxRx5Hd+DKsE8CfiMAqHIU1R
RNL5fBjSN12adTr75lO0raXkqHfmFdB8LObzrx7Q3E/pPTHm7ywaSJ4enadezzi5eeIa2qeAbwtb
YkygsG9BF8+BUvxlMNU5gteMbzg9IcRrssuh3Z7R96uaP8z38BVPZ7MKlO1nm9KF03HYUhgf746Y
uw2YuZaUM9Zj8QnR4SQWsrrntl0PoeexURg9nFa6qx/QUIGo2A8uTQdnLGIeIQpPkp8Y6P6+GE6f
U/yW6uB0SaDVCYvlyDgmB3DH2d3J+ag+IGmyBIcT8izgW8MlIUd4hwv/bxzJA+K0HrcBNt6ddz+a
HiNEIkYVoF00OFTrpwHO2t9IIu24cnE9cZ7H+JcsqAQLUmPfcCGE6DecB8vdAQ9h2KWsh142TxAw
AqBAf2O2SREVCYK++1ybG74wdQ7Zzk5w9gTtMewss2XW8oyQVA6v7vjAGOQ3DuOnnZ2sD2Xg+UHh
SNH2tdhWJQI6SEMfR/3YxGV+Th6HLyDp85Lcvaw+JCQ8NlwXjhwfitNWz4jknsenmfFdD+j01SXN
xn3g50oIxT0zrOwADxmqXefw25xaHIFst8f8fZX9UdS2NueT2xJJ6RkL9thWmeetTZMwJZhY3imH
DDLnBNq8oY7hRn7WsMP/wYQzwb1Z6xx2uJ1LF9jbYHAoJ7i/5/clPglraFbVppiX2LYGgJgt5xXx
ZvMXGoeVBiWcIpLiYNbPtOXJgDIwHp1lCoDpy2dADXFsuMOl4NaS1TlRQAYRpvzRAYptwcm8E7Rd
ZltREnv17b6BwL81Zp/dZ2deDWQh85OvH5NFcqQfWo0gNELanmlshb0Eh/FYHz/QfGcVjiMPv+8Q
yi8LI3g8fPMepHqYxQvdJNFxW3DEVRlA3zDfvYZ2dnfqZP3+OOSxJgCfeAt7wzc31P7rN5MGBoAy
yUPpUkXS/Bk8dgrJgiCdhcuomv35LYLmO+n1ayztC2rJuxa9pH387ccFI7WY8ipuiPeMULB3ynH4
9JXicAKZIxCsOlSyySB7XiLY7z7X03PdD7bQL5iMSSO+8eDEfVTlpMM65mc3eQLli4SscoWEIX57
UMg4aFsOPkTjD2eoeQjvjSLU3wu92n6+sx2AcS8tpXhLKFaXee/6qhHgIMFhmXyoOTsZYu9gN5QO
koTsbq6BbiG8wYtXfU1hBqNuf1U36T7rvg4BdgR5Mkn/KCLaDIxeOf21+hy7PFS5BeevU7aEFzAZ
kmnYrOFltIO9wknEIARJ8nAGAQu6njrm3GtnxhzgQA8T90FvOaDIwgqfU1+YOToUl4Cs3X8cndmS
osoWhp+ICAREuJV5EHEebgy1VAYHFBHx6fvLjnO6997dVWpBkrnWv/4BjietCZmf+ChSMQH9st1z
V+FbU5xQbFMzQtvlhAQNRq9Ot0S5hi0hpI6gBqwm7TI1/C+PMqwRTpXZvXJxoBJC17hJBqtSjE7u
7fwV6jvvvc8mLwkFYfPDPHB48+HNQQoS8ddUjIDGC7yhBtMch+Mt5d6XPvDh0ktD/DNbTgvKNCob
xAB1SCXL7qzaLziHwM72zpvT8OYro43RSiuYj4F3SUzvbJSusj4HPwGudRScp8W8yKcV4LWR/1I7
Q3tpS2pJLj8szjZ5nl6B4D9DhxDt+s3P6bHYfZGq3BwWJcyaz8A3WnvNhPMqYbaIeh1+kWhR5LPQ
UzwP5S4F7wBOaTCliCgQjVDHWxsTMujTtJkYEa0ALpCAgjdmFqDDPFuXyxo8gK11DxUFQUaLupOB
4AbBAsb6newh/lfOzDd+Foh9sxz4aCeUYOdfwvLhwFK5DKKqjKtv9HrhYu5cCTsitJ4DmkJ1e935
YtveQ9f/rIGoGQzDOoNeRmVvHCiXqL7bVUOPw24xI1Mwep53C3Ccck+Y2wrVKuT2ceNjci1YzUwR
XscLvingZp8V5kKdsBNgqE6wIj5+i9dB9e8p+xGQhTnHYQ1HE+S/oBg36Ch0kArEy+tnjC37f5DW
RhAyuwF8QJCCPZZtXjbd0E0LgAOYAXbkdTEPjW6HIhby/fvkMaahwn6LZMK0EFa0iDLUTbYFw8j3
FZgvfQBt//EaE2LFmzfYDoZmIFoY7AAwLlJmImzl6xGOhDU1jQYrv6quHibsgDlS+gR45Yyj0afT
1TyWH+UjNdiuXNNME1ykIAaAWW0p7/Tdi1r4m5VHBwnSwBrEHOjdeXz+F+yr/xDInecMxkCFXYFz
zaNqgBUvUVbfuEIA2D69B17NsAUvYYcFBW5TGrNXH50dpBM4jiohOJpNcomP4yuCUA3YPj+w0VA4
t58/KjSYcnBOUDY+cAvAmhVN6YHBHDPV24pn33in8Gb4arRKVGFSzGQCGALTXKwbHsStJNqZjCC+
n+YO4cx/njz+1B0jmJUwXfyjLWNMvdvh2uAqld3NiR+F26BD+/s5qmMwVBAaev+9vam2sT72Etwe
ekN8g3zez2v/yyKueF2gQAh/G2PLEyrcAjoXusVl2iNy+k7eptVuH7gK/X04iOhPp2jM97+VysYc
0y1IsJACgtDKFSeDztRyhLVtipYHK1KJjYOJES0N6NnOYhurvjzAYkIG12j16NnMTlIO/b9iASWI
V7usSF5ZKMdXCEbzxqMd/vnP5TqVY9zEWN+X5OVqK5DzzWOqLCiM7D/RVw88KAL0Hk+fy0tB6+gp
ZrdhLSi/FUd+g4CTc/65Kg/lPl/250xYKSHYRhAc+u35MXnyTHYWKee942MHNOQTwczGjMNKfSMm
yqpulkxDsBGSkpUKveSCiigHt21ILRkjj7i1OKWT3S2U0a1zG93VcXsCp0eTBjixuc7uG/KgMC0R
GSbNpJipSHrSaqX6TUK8MZD4IyyT2rseBiPe6XrM8biatssqZiSCDSiUyc76le4H7R9vJTkvJBab
ZXO4baCc8EwM5mDNLN3LgXWBtKGOyn07YQlddMYhPsC0Ikd5KP0YZXMBWluZ0mCXS+L8+Odu21t3
ulux2Uyb6dUY5l9LJ2Fwpsdslzs2db9eaJuDmXzDJ0hMfLW7/XVjYqjpdqcSd0h4L+MKxkNncQzF
GpTvwr7bn3i3NZASD/sHeXld7yb1XnCd0anIZGBfZ7UEFxC1gh5Sh9zCajAsgGiOEBavsy8KyKEu
ebK7g1Buw8GBhwVLkuR6n1H784PwC3U0Jv40cCgo4uy2Lb9213clw4dGm+GiyM8Dv7d0fiZORl99
GAov3edsIDna8YGgS+FUsPG/1w1Qjxds900fIin6dFRmjLNwG3d7q09pvTZ1UpqWGGPf7Nu09yRl
dNgsjWUDcf4zVJnR1sC6fpU2X+q2xr1XZA6MPytOSnP7BdJaXDS7Wr6ju8sU6vuOnov8/9Bj1+c4
oc+1e61b7QLkmMoCXWXDLn/qY6q041zlMWjKoNlL6KUMv8S1DsJmfwnGsPrp2IdwAZ8TXdvUObu+
IPxeP0z3GlQezZTWvmo84CbOQ2O0LJ+0VpAgoKNBVmP71Q/XBWDL5RfkJBY1vzGHAam3+Z7ip4jX
eig0F6nEEEZZlnvgfjiO/BUk4eumQtpF4/WkrbO+cxM/HKEqtKwWqMMb55MC553TjTSuw2N0VeiS
XHLBRyyo/BZ1dJ9amDNaN+znHmL5OkfggYPEl53fvuvL+u1Ctu3Nt7fTAB1NOaK7+IGbDLY/cUUY
t4JuayvNR2CNQVx/jI8Z8BUSbIRyYUYk9JbCiwk6HeMjlR9RH0J2sdlt+kBdj+UApz346fPiaJKQ
Bimc+ci6Pwi5Ykj2xYwDKIIGn94rg2C6YcuAeqC6lNZktsHFfUZVcA3K8Jd5uIZCJJrdph/3uSqC
nt0/QC3dkyhMUC2a+vl1BDaOFdjdrk7YCLIwHYqshx5ReD0ZuqUUEVXtVRqw0vRSu91jiUoHVvNS
MQS/hxHtV1AjaQrL//Yn3ZRMBIgk0Lfg3W46rz3DjmWLOzN0QBOsGC6URbuYoLf4QHAM4QnissNv
D4sW9XdCCd9e5znkA8gqwiOLFIjhIyVX8yR5d80dbIvkeuiOCn+9kiavwXBQWjpZeTCVaO58jpYm
UsdsHZyYcIvvMRRa+DARPKCQqc/nyE7sd33n08OPDZ8jnkLUrU75C/rrBgYUZDbGEmh0VfzdMVCP
dMQY2BhYHwXuLeQdAdfbTVw77AwYbj22r2NzLqEnzemDkaR6v15SpAgbL57Ydv8Pmq5Z8kyUEChV
4xjEiE3cVAyFxqUAxj9kfAvgQnW79P1X/JECzaUVcwXo3Vda83iwcxmeUXoydWLTeqNpsXqHYi3B
pFfZJ4TURD/jr3BdP0yLuaGxedP+USxHbw1e9kLev38r5YwUoPxZDLn6mLH+9yxXAas6i/6zdCTo
XNBMTnrjv3oWPnozw7DZfHe1S+vMxbgZazpiE8MmoZuE8oTpyzjb6g44GaRgSD0UdTQzm0vrP6fK
AJeLLcUkYzfJNVMgkcEGbtv9BJyaeb2YubLsSED8D3j5+PWcVF8P84hrAwOKrX6H+b/ssqVojgq2
K9Tr8AJkdljCy5EiEOEOxVoPHyjBRsUfgPXrWDInVyyVeVVczBVHIRvhb/cb0Sr9/kxixA2PzpqK
EJT0shIluirShBvKpbk2ArX4HvtzeqxqgkFeNtJHlynnDlRuhACdY875GQqOW/yK0zaEWGm9RaIM
bQPjfhqs3yXE3ZGMiJyD6kjmJ/Yjwzaip8j8nbM7o+mhU+yN7p37eYuTBcgA7Kjb4VEgJmnZAmeB
RNnCVwJqwiRn1FctkJg7VLWrjWINFirvxOfXUXhggvNx7gAFTOEYGToQOvAXm78nsCzloA6Lk4zW
f2QsKN74xKDEA7vsRCVxwIs2h8V5OUMkzz7BDekEWOyR41re8nKM/MhV++JldfnGQFMXYwgsV0ds
NPdt5ld7dd+b9TQhH2NTZiy0bCE54HQgrI+akOo2grLcHZQRh7zEE/+maZsUpKxfQiZW1A1ILDG1
Y05YEXM+EBNFWMDZc8/DpfRDbFU+jKWH+gE2EtsEbk64mYF58p95xzziO3xs5JWR5K4+fYX4msMS
LZPrianAT9wfx/xQKS0hjMAKuLvU2spgQoLtowhleAu5B1CHa8EL730Es6tvSpHGa8BpphpUWU/p
fYURLx9m+GNDCUoSSYfvCYXwIIYP476OPaHdgsSbxeqGdBgKjBTTIAx/oX+zvKB4llZfJGxxV0kp
++8jfmscbWXgue0XdcByZZOlXQSuhOs/MjQXNOnqvmsHFv6gXb0owFui/DAxAgUksXiMn+WoQqrm
yi5pnngOOoORsFnAs0IQtC2mSdHhGgBiJuofI0ncgeEDpVdH5mGz3me4RPdhr0WJsQLqWzeTPvwI
G8DHgC2AGtG6RIxl0nfwwxZAG/5Wd6ieWHtybs+7RySLjg7xDX1BgjUCBoRTpEiiZyIFO7gbAczY
ONvS312xAVwro8z0GnZk/NswEHhb6JRtMNIe+F0fCh4c4Uui6v6VwEAlROqhUQXClWAKk3RbUwrN
zAGr4hrLTrd43O16/zjzU2Up5QSHE0wP+DgroIavKXY1RPecOlzoE4RELHuRUGP6GtQnjjobVI6L
r9NjOVjgvIMM/zjQ2SbsXTy0GxRPNRTGLUweOAzS8QNTIWK0S4Igoaas292QP+L0ZetE2tI+Lc5o
uJMQShMVNSw70cXRv1uZPan+UaTgKTbu1T5zGZ3TcOdywnavKUr+e7Cjx2dkfdtXbnHomG3MzDXL
jxYb3JgxMB5Hn7UxERO7Fv9gbj9ujnT8HT2coFvAX8h/DpcQHB9+vWHMaf0EAox4Z4MHNDRK+qg5
zHysXJmXY78n6H+vFS6nfcx3Kx8/b031wQvUxmcHUkIZ6SFWn1ggYbmAkqElZLJZgCrg3Qgk9MmP
Sn9LX8dnYp6pdTH+pqXMjyas4T+Qt/UQlbvMYKfvdTtbNRyauxnOp7XxH1xpHTosCly+iL4QYXzH
pEt1XjBRGOV6HJ5m2IdgSe2vYAxtSVtt/VhzyONFDPIwFmG4GmmWgSz816NOQrdMe8+mxkuZUJvc
WnFqNoY+eifwdgyGFdIcPu6bXvz6C9smqqVJFhUJuukdm8tPKJdo4jVqyM8Y/iXU6ZodEfAGOkB8
C07f4XToBuPX/IXAbvFd0VwoM+kXNPP70+0v+9s7SvpHVOylr/OQMAK06yO95wTcqYAWeC39i9Wf
i1EqaseUTYkMZxUtCfcgZJFANAM3iySv1I6VeEBsBSo8ZI3gGmUJLq/u16J7+VhV8pvmwlQraCC3
x6+tuYFYASUtLSjRYnPbB7yH2jTazb9Wa0tn2W3Tzv06m3aGkYn7xBvBfnuw9Z4xLgBgLtbbYdgU
cJKRMkwMHEpEeHhwa8owoxtt6V6mCLUeqsWPeL87AyCb8QOEQPF7qMI3Gnpr6nISZxzQRS3dpagm
fY0SytPAz5hnTdXJL5vrKVYtXDaJNUQOxgnfFTV+4AA6vGxl+heNqMK/3VjZ7ODMOh3otcfZyqoE
SsCm4YkSDpMZMQnomOiOX0ttpiMMnpmwDJB/5aMPZHLNqwDiYRGdyzWDOK7srRLe9X2+RGKmQdBl
F3XxGzbTZZ8tu7RBNvUZ8ru2/iBRwf10DtFvJEWNL9sZhDzE4jBtAExWKPlq0EzD/uycKkFEG7wd
LIiMYw9r4cUbOzzoYjVW/IvX8inE6SUY1BJuzYHjsuf2GFHEHRbmHAdcr1ifX4Lr1R+cBlgS6MBB
gqRwW/G8tBDs0vdZZmiZOR3cVYBapi6w4FfmqfzDkl+xNYgvGBS/J9kWBLln3Q5MQA04cZSMKPng
iF9rH2VYeeb0vcbKiH4DnOezAG0MOdeRl5eQVTHfA3TYQ0AGw4Hmt/pBy7GY2rALl5QctOVY8M05
+Rhw3B8xSyTpInlKw3FflD1kSFBrBNzIsbbV3B2GcwHPmSQyUAJQ5ieGu1SjGPy4eXBNmKe2tHNd
1JM8AEOkJxu8V34zeNyiuWMcyIl0hyGMDv+SiFMydzKDsNLwa2EEdZmXhlcbXnbzFMji+CBjEmbM
d0y1JE+VvX491NPbydx/Qb5g8GogtYnRi75Moj/+T6DxA7jLNDac8vCEcKywBgCk/aGsDPOgGzNQ
fKzr9BfuxoRq7on3PstxhRQeKubL7m3xU7iaSX3xNBwuQtn9CSnOB6HC/NsLFYgn8Q0K6FGvRk+3
TK9LYBXxjNDx4M0ETo84dt4i5IsH20vaHHm5wdM1J7tx+3V1hicA4136A1PXIWnYGrU4dIXZdTCU
wTIm5neo/5WSx1caMXvTLeY5oeaEMcaxcWgxtEdmAidS8W/rrBy1MMPFAeqIrexcv23oLaAFL1bT
sjgrc8gFV1ZCxd2L9Tz5YvGFZ6M6u2PLpXn1ZqCN5JYU+NG9CktzWUFSeKm+96mjvPO0j987GPfp
nXpPuuOKTlbsnfxa05GM+eCdGMRPUs538JGs3/fYy1y5ODwvRAJgozDvEOa6jwL5amrecJjDE4g5
4qLKXG1DhfWGJeKyhfQ/O2BKdOWehGKOXAxy7O/71zu5YgDATaWSohC6WLd1taogTQHzmG42GCmg
HTXJBxsVvISdTe2G3z8tm136Q3egOKoRPjE5KnIvrzwxUYRQj+F3qGLqQk+hWap4fGJV9bqXX1Os
wFKTJ8VgqOPWr6YI2Ou+ZSJi4kPlAb+30K3hZsnzjqKRPoAUvpa3sL7gCNBedV9WHRMiObe4CQZ1
LHW+jGHXgAH1WtF9Fc750fhYg1tkPG3lbSkvJ38MWTGDyfVsLnpfchnCHZOYOuzhRev1RyVSjzzg
Bbt29qZo74X9/68P2wp0ixWjYzuB8hH6+VGF7hSpibRFE3B60Z90w2xgP4/6y7+eb3AajtdH9O7G
g3tC/k5mScIH2IVQwdcBu1MKDywTJi8EyXWzznsCvlU1t0EWB02xG/7C1/kx74Xm6f1zLphbhqDh
Q5TQS84Nysz/W6wxFkb+StjHFBKZ5JLJNFZl/FnrfuAj9fEBprKELsbmNWyorEqf8bTUWRcGU94O
FMVExexx+nyZSDbW++6YFSYqbSpRPULcTPsTHGPTdzfETq8q/WJfdePq7pmTN0KybqyTJmCOvueC
JvwX6OM64+dwqs7p6hALRQVYISN6PskZffHpj+ZkcFboy0Ghto86MCd3fBFRLhMsC5AGWtI5vAj1
3dVtMmcAIaD/Z8BklUbSNr9Zdz9LBjfnotj9jvGxl3eRBK0B9gGhoThyU+vjQIHoi2Ppfz1Kgcaw
QkDSE1oRAs2ZkJi0/VdcL2A+446BbyV4D7JnJZbB7tin0YIhJEDqpsTmbYPvNxxQpfDpwkrmynk8
QDnCsoCPynCKxWqyLFwch7QPgyGLzAaPriIDB0KfbPUJgkM+efO/9ZjNGCAH5IYzia+850tIqTj3
ENGrAItH2jTDHY/emuH9bQVRLJSFYAYUB0ScoSMIjjxBRiw4mROOMTKZaeqhsgWqKmpVRl8M8D6S
facQR4ESm4Z3QxNWx2aXGlDx/1OYce+jpMbE6U19fi2WPYRK1Ju/qVkksEHorTDknQngGFsHkB/0
v9jzNH4fZRRed7SN+rR72LrqU6AS6Am4wQzkc2JOooDvPz05AQoymNrAEgWsdZTlb414GVuo/1HY
5O0wZlJg9kfVnpYBUi22df1A92qHEaA8lZPHYIj5CRcWaEZkxq4JMPmG3w0UUeLsO3IARobsaVsc
CT9A9vilb7lC14XxST9bRg9s0YeHS6rElByusP/HeGU3zkLmmkXMwBYCDleYwUtHeaCO7ye8giFp
fXAGOGtmhJdZgT329HkdNVVIf0ATCt2UEQ18TupajD8hkOqk6DLYU/A/AvBdY6fR914h3KwOZRIc
Jki4YN+IhjekxlHT30fm/DrJJqgsGLgJfw46EcKFp8aiP9M5xs63nyVX1O4OluT1korMk01kPPRq
+kSatzUWFpAoofkmb4HuFCEjZJLmIGQxQA+oojLUGghTSojHkCFoS+uIqZCjhfSDwPmn70aKGCDT
60PiBDsAkzK2VHDIMO82ZmVMTMid8WD//GflPXwIZnRG8pZlQCIpNhbShsEcl/GXUgDxQ9HnDtBz
UE/SHmQtXBbcQMc4OIB7wZUCDKCXHPwVqND5LJXDXWdgwdSXVXSrbPIAKX/wh8PYjJEcmQyguoi9
ID2/bWX7WOUwvKiJEPDIq2z0W7cTfUqLcxm/vC6+jQdwGR8vrwqxgSDUHNglqMn4mfTnDJVfEyw6
ebQ+x15K30d5Vi2IskGIVI4BIAjFiD7eYHNzcTc6Motb8xgFv7GI9T5cY21q+q0G0VBFYy5CRnaH
SowPCNu+Oq2PadBIIUL9ZvOI44HS+TBzYsBwEnfjq0h+/zhMvHM0WsOWMR7fVK9eLvSoVYdK0O//
PYSMUU1fHin3J34BH8tM0JhhE4dyHeFRHHGBsVZdEg+MTSYI7jPCHfilp/WqjbIKtV6H7IkGmglj
L3iKWSHwW636MGsHc3Oe24C9lOlwq8uDaQ9SbMPlCQh/tWYyxNIkTAl4aeA0B3yfodEicOXLGYzz
Oz8xmBQTtfrARwYaApVa3CcDNOSV86ESRcmL8ALGUTl94YrOjhJ3Hqh5XfjwuSXev2ENPw+PFTCU
QNJ8jcG9o5+RRTO6zhbySwz2r+QU1jsLXOjicq3k5E1q3f/lJyAx9zHOx1ywTzun4ZsS3+iXB3As
Ammg7sNkAgYC8DabUc3iGmE7S5KTHtOYiHmtyCQ3hQwK/sjTU3G1pnu//MEphHnNz/h4R7AnAOT5
HO2BiHKeyP4fu1bRzltsV1s+sObBzaPGNQYbdP00+7uHr/vFfYqYDmCgKeY6g0Li92CrSDCPv56J
VxW2m9eRUcx5QZBvlVQ4rqjAEiSKlQtOKSazfCptYZW74Nt3lccSRZpfZ24BZwPWI5EYH+gFdjPr
pe3KAGiiGORm0zWwlHuAgOJKJB9EEe8FwO+oZyy5gJx2TFwZ7fDMSq8xJw1f+rr4WReCnQ5KpyLV
kp+wtNv5romIswSEfS3qMWtF9zl53zRO+9vbuszYIbh1BQTBBRR7yAi5103NP5DXatGDr/ZH076W
AAZvERssDikG3D3emn5L2wKCV2sBiYxfI6bpvB/k3jd0zPfp68hj7Sh6xB2haS7VCv3wN6yWTc/u
CkjCAbksLK5y/PVei2oqzwcplw5YDLHX8va1GUCiTLxu4VRyrjBLAQ37XH12iRoPkDV8Fd7N8J8u
ZVPGYM7W1x14/tWrBDY15ASHBv0OKJfY2INqcvXIX7wgPyVeBnB3DMRExhSjBHitceHBpIQsgEF1
0psRD0XTlYDdNshIZhUGpcNPmokUdTA0xsq45dY+A1YoJ/i+gpEDgvOUVTQYtGJ90llyjsL5f6Gn
8Ec88McYcaLbh2lA1z77jNigXDXAuF8fgYTd7lGH4cp/OzCAZYhwlI6oDXs2jCCYHpAVb/RSuLu9
Jv2b1dKWs1sDG9B4XgIFQg2VQNrtlfNu8nIHyC7MDXw6bNg0DIc9+B2mBFER/gx8y8ZrncuympBK
gWZtrniXTrDakS/zE+0FNSi8MHcL2VKQw1GkPu0GRBOtZAA2wzuC47K8MWEVx6s8BY3+4R/NecH3
uD+38a4zNSoTzcn9ekKfGKBldZSv/7Ux+xAyTcWjyAy6/wJYzlGuYevDzjQ4po8wA2mLZowPD4Jl
PSNWiPOvt2Hms8hwKDXnOhMCiLUIx6RV6zU9Eg046RVCyS9jbaRN8uWOsn2Na43QsULkB8Bcl8nD
oeEPyIFPEAggjd1SqdGIwNjHd4XRHZrvKnceeCUzqO8wHddCDmCKIES6ruYwXtc3wqBxZzPqB/HG
1e2dPAHq3Crd2Q8PBwSgeDYCNCfru3tH21HNkM37MlP3PvCvDbiJ82XOgsCC1YXN11s3tduLVcCp
P7yIjPcU25wWq4xHQlX3Ob48HkG2o+xEpsVuYf7pB2BNEnDZ9fjQ9I+/NTOhe1y5piuHGgOPxzQP
++7zXJ9bCZG3ila1PTQaufA4wDFkRsjpmyNjzPTsO4XONqHM1ig/MYGbAf1JqeZlAcUyM4SZjHoP
+JY5J8My/Vxu8RhgxsaZBHziPhKgYyzm//CQTthi+8F3zLoo0jYxRvlB93AviUgmHCEvKxScvbH9
4MNeIkpReAz4UL8An5PPC9QGl3OL0w8CvPnXrog6s5HY4BuPnxI0CBEESpFIhcbDQ6kIYeiZueRD
ULxSelAPOCg7OWHBbqke+5c/sDKbMSlsb/5fwQPa+S1UYqjt7/+19MWvoNbBwZlxxusi7RFN/Op+
7Nty4wqTBpeaQn1DEV7V2CzA2SNLAQxuBv2ZO8GUGPcQRB9sm4S2Llp/AJF3BasPEhFrji26j2cN
BwRO4yviOP2L2Ca5rLWHmm6SHyi68F2nLjXgmGs2aBEuoHdQpcZRJoxnbgqgqCNHPQG+EDdnkfjC
2fVmC5MY3xzYTSp4aCTdQdzAqLgTQxiOjOzEQyNPjQn0pD/8zb+g84dMcTlTCPDhDTjlqaVlBTvG
hJolVxaE2mDpi6JAEK7IN2yX2Go/K4zwhuQ2cSiwBqn6slE/5Y8o/QkL5Q686CrrkDHFBIfAT5F8
c3ryOsq05FUk1Hwicwwb0F2k7k7c2mLxLObUk+QeMPs566yUvEnReVVFiubfwCQ8o3zNx/jyG/AH
fuDL1KIEn8ny4VmM65dHDSwRDRpwotC5J/mc+X5SB/xCZ0y3NJIQlRMOkKDDRVyOEMbtMfc354Yn
73+RGrHsyj3+TZSleO6Cx+U2xUIRK6Bl+nApdthpEbflBPX+AimShHJpdBkDt0lennYr1D/sfbwq
dXhAV3bDdOSClVL/b5CyPoX4kMZ4iLsERyLGPMTagph1caOPaBloHg6ktUPVLE6U4DpkuwAjHjPA
7NBj0jpjgAD9Vbwb73t+nLlnjAMgeOJ1AXUPv4rHinyCxwzoUd1QylVbJnu90WOmR/KhCpX1Z3Q9
5SmKQyThPupynpN5PmM5cKhymimuAY1Rsx4Au145ljwIYDAoXPodUnZPVOTPGcUpO++XCIi0JZsL
jDXQVk3Um31d9QjziDAhpHa76TNSzjlVBLMO2joFMR1CJBmS0uZ74u53E3XO8Gm545qesWJj5ANE
MLlK06wZK8+VfMBgFkk5i2RGbFSJzGJ1YcILH+30vfj0Oc2fbAyJKsaFEVDigsBEbACYut8wi4wJ
Aulj7udCr0fmv3mvd0nhqwwdKPVm+pZ+aJVvyPUNIT+Yy1fS1FyK9xkyMIQgMiidblaNRMCjRMRo
5S3wH7H25CuyAer+Z0rAFZMC5CoWgHPr3uaQsW0Upmxh5O7hDNvESDutF4q0H0Qd/rKN37gr4TZs
YXEQoDedcHC4m2O9Qb8f9AHkLX3NbAZ/irtFX5KPr2Gx5Qeywg9TUvAEqh+OJ7Td1HJ0ZykH5RCm
QLKGfpc8ImWC1GhsTKjEU0wXomqE53+E7xGKBrx73WsIp8+FS+KdYYG5GA6KHIDxazFICbzTsMsw
bWOlE0P59rAW2BdO4e+GTIFpzlkHTJcnz8A8fRez/ccTYSpg6Riw+C9eSEnYuQCFV1i/DnElAFvp
bHV5+cNjDKeYxmfVVyjOa5/TX7hk0PrO1BlOR3C9XckXB+6YiaDuFSmRR5MWjgZ8IvsLA/2W1DW1
PaQLeNQ4BLFO3vMBJudJsdZhE1p4KcUY7qHYXfI2gAQT4d9ReJn3TSFqx1KMuO+XwqEh0XbUToCE
hjwle/yR6PYgda4N76/B1o4eoYU9igkzxgHszFxrr+c+Ip5WUEfoNtzBACl2uHNqHyO08Dsik7TF
NpgC+43mC8v5DN1HjB8ndxqgHevgHXewhruIbhapGZKYJAt2WOFyrax2/klkoXEcMGfgz96nC83h
y77HP8wTAOomsk24gwslKYAvMzGD7KQyPObndZURObJ0nVQOu4k0u9A5AibwJA7QKCE3IiS1GL1c
7A04V7GWm/bimw92yUeHo3wGIsJloGfDlhrqobbHeBsTHNVGRxf2fCj0jKuBocUsFFcbQTuh3j52
o17EECqC5vwePyzDXjX29DW7447oUXCSq+VcoqtdjjApySE5U9I6b//i3ELqmipAOUAkFXOCFD9P
PHAR4RLfxvmMuCQGGGBuHD58ZhzEGxnCYm0zEKlRTESkmRblM3FtIMcR08PmW8yxOpmPe1GJnu4+
33lkr+FMsVvhBu9Az08we/LoeuwB4T31kJV/cemLUA4478VrApKFYYBQVJsBGLw7MSLUnFYRFCnN
FQ46KVbGQyItRvXh7QoLrjtrBT56ka6zUdhbfjC2JrSQvJ86JBM2hUOAZeozws8Hq97L5raZ4UsF
QXz0rQRvjGPaxIrO50i+DAcOswSnCVgBS4m7C/gBRqVMeDgIriIuCtqOnsCZtvvYfuyOTVTZE9Vh
JhRRgjj2XRzjpMZH+18YItXEbsLqhcj6hCjmxb+0KVxDp3WzZPNcFYvcZS9xaGDxyC9G8uFis7LG
mN5heY4H3QSpnDuASysF1wlaZUKg2cYwiyP7nONmLiwxpEjnoX0j2ad4XAqBPw8HVAELXJRqUOYm
NwmxzKwLrFb3LZbTVE34w1XRzduldBjD3vEdKA6yFpqkBMkl5C1MM3w4oKzPd9CHn4fwfQXpOD/h
Q8hFaLghuDLu75t+zPfJmzv9MsSEGdJ1wYl8x/Au86m8fMVPtoG+KYyFaqdFWnadN0k1u7uFW/1Y
5sCyYYW7iuEhTiAiBK8G4i3wPTj/XL7GgNqRsILj5xnxLY8G5jX+Lv1Eu5j+H4mIybn+gc+CT8jN
u3kXxt8rnZbOGH78Ln3hdktJP6byd+8pWxUms8ofk7SdPfA4WmwTajoGEdX8MeHhqQB61/AxYzkA
XyfgFGJPAGwvH29xtSd/c/ux8qA3KZYGcikLJJCJdFCcca54DDc/4EdyQoaDxLS6PzDApErksWFf
Rvd2qdqqiwCcSVhYuTApfwTjWXich899z35M22kfipRgaUK67agWffMFg9O6TYkqnCEo8/LQjMwV
TF5kKgi3seYFI7ThOh9uE4S0xqbZIrV9YuRHfI2b2flEIf93e589wjusvIHb9/urasy18xsaRAbO
AzYKOeh5cjUkWjg8wW2VhmLdEGSzQqqAV8jTO2whsV4i1W69/54gylC3+rG8rHBV4dPe3cwVVnbS
euDidpc7EEW5vWZ0dT2MOXwWR7PZxcw4NNsc1W4ed+kl7k+NFDfWcTvKHQmOxLbCVeEOXuCPdat+
eHD5jDODsJLdafONO5ixe+izmGzEEolZIHp3h6pTFXbGxIICZ/TWAmkQykW3+Bv48I6t1/xC8YUA
t/M6ZD8OrSHdJEda5qGLCQYxyMgIuc4YLuDYOO9CWK6AUWSzUYD2x8IR43N8E34NqtoMt4xoXS7I
cAAVjkRvRjNoyZ5eQeGCX8qde1hbqCR1C5f2DBqS6t6SmyPuZnJHwTqk5UeMR3Ar7SO3DI6McJNG
6A31UfBd6fULw+9fXfADJVQFOGQwr0D6x94KJxOL/5Bdnx32FzeOeDxon/H62jOjvOC9nUNtwXbA
hSZkRhDFA+IHeBhpLWZHoGg7W+dQDuqTRJMAlOiaXDz/xdx9sdPsYvzAdu3hfaNHiC2dWKIOCn3f
BAVfMb48Vpt8yiftu23JVmYBmjoYsvlgQqMy6sUK/KR+LCTyVAKcYT1bg+syorkVFgYlZwGCNpSK
8JWLvxa380d0h0jFHhGN2SBmF6ZZST1lqX3jD1vEbfLCtHUjnxXE1sIlXaAzxugag14w4kfbwBXj
3wFymKvAPOI/G/xZ4ET+hxV6HbRXlkIAHOH10jryQVbLPekW3xiRiw3v9jhiSoAT4YgetUf5C/2X
KrhwkJooSe8P9TAIdYtNEQcFMKVTrvQRi6c/I78L/CGf1gAlsoOv8pjpAeDM09ouxen0h1N5wK8x
vgUsiVV2kieZl7P3879fOsAXgBNXPXZ77XSJDO8N/wq3GSZyFnL/6DfXv9BEmIu5WsWW8SdSyJEp
CbQ7lRO807BgyieHV6zyuD2s0nltNE4m12AjwW5s+5ndZx4U1wSfdQemOHs5GysN7HdYgSLARzqg
pP/MJewxDazqDM6A2uY9p+bUoDqZEV14xJtneokyhTvZLDHv53X4XheaBAsfjITszDBzGWC71fjr
G3/su6hMnGxUh3DwpsyTbdoxR4Osj3QmZl85cUSQxLb6NsJ1ItnNoSrw+VFr+riM2whY4CO5BX/o
fyio0KCm0NIunB7y6Go/p0LjwgmkEv4TsWaDlwMjGBry6HnKZjlQ6HjHbIkNhW3413Ouhx/5ivjJ
v9kEC/e2eKGKax0VfVXAxGWmLXAU8j7iYJsTHkxXO4KNbs9rdM3buysOCu+Rcsg6X1/4tnODSx4I
xAu9+Qf2h2bh7taQiBfJC4jTfntC62OBiOFW9/f6w/5lCGOYMrFz+5xMfVEOsb+nOEogu6VtRJfg
hu77Y1EFIjXjmyAdjjnhnjyGiuDI8uwU1T+SzqxJVSQNw7+ICNnxln0Rcd9uDJdScAdRhF/fT56O
menoqXOqShEyv3zXzDjx2oC2SJ4zp2+u/9tD2o1e8jpE8qJDTSNTgR31zIx89HeMV4CPiJWscUsw
OXQk1404A6pUD566A8pldMzbWDCVJIvtemOJ94byDPvlx9HGvwMUKBQgoYVs9EURwa/K2XfFmC4M
IvWxHN4i88ArJN1aXd107wfTQI7jGFCSOO3SdIuFCZ5XLPIIWiIQo3N/RFAp8xjDOwUPUT/8uucE
Sy2MAuG+kYSTIrxl3GFv+m6Z17DOmRGFCy2aTRLGwWigr9vwDv+8AVQ20ifW2McIwWgenS0hr8Z+
d9+JxZuuIWYBovTF+8JmffcI6ONySIf+AYkk14nXi1CoW70t2gM4mPGtjBZ6xUg1I6qJcBJrTDwS
+DmVfTscgnDLQifNf9hoLMHRnDkCgQk+iO9hWUKzUMeEmTGLCNSVmwSpUcqt0BuCQG0RWAFrFxjA
ccjfKLjkEERoBrELkOOML2cv54CDD4WYnn/sNlknJirMTNRXlmGXdVmJ3OGDGE0ULJLanNOcG+pb
0EkH+oF7HIR9DY3H0gVKAcRF/M8ScAZ6hekdpktBHAd6qXhPEQSPkKqaXJJqfM0YUI3apoHlnnFo
8hsGCjwhOlmfZ4FWAH9TXdhfc9ICZhiVofAVPvfg4X5HY8f/oIfLT5BcYRd7pWSKEN8qjer0lZoR
pfbf0BrC/sJZ8mIAgyccqCimsYbPJfigiIdC2A+2rQvV6c8twubtC3iSTIQG26XdLIwg73MyqUn+
QzMF8RpDu0zwB3Kk5NA2+HG3o4831lse3sl1aARct158mQGURu8h6IX7DliJgPDum++yCNvJmUP3
O2w89pqtrc0/KavY6LLSEyM+h+4bq5tCwChHTMLl2jRBVZ7Ja8PD1yzNjtsUdbHXHTkOLAtXyh4D
EgA94Mfe5rPHHNGMtfgCXo+OHx327OWLcD/MsEFGcSNEBLvzY1pPecW7H2GdUT9prhiL2PMm6kpY
a6MnRMSJlAXJV5nwz367F5mnAgA3R1RrZaA6ePDW3FVsVKJLGIPjyyMPB2MjGw1g+xR2vvlhXbwC
HybGBOyyRa1MS5JIKCg9UE90v7WzEKzyUp3BRkM6YmMDApDX0K1I3xDoMiRh3B00hqukUAHLFiwX
9KsMxvx2tjbMFasmZsnZm++AECWONAhKRe6JKLUmglzEWGpxhdAA6jMs9vzK+qAFUNsPzKlIrEmr
ZMedgJOSZM7NSbPzdkKszF4sOeqMmkYqY4nY5n110z4TG35sY14dvjB1yx/pA9xDSbnE+3fmbYO/
AC2KCHJFPHkXiBgViZbDDURekYgOgTL7oOXj24uleeTdSoOvUJMC/xIbdIQZnj0T7LTKBB3EEkcA
/AqOA/4FpBeGngRLgm1wE5L6tCZXna/22XFo7Sb+klIpXXwqPJam4XWq3fJTYIp6lLl5Zxrh/jH9
PAog0LyGNRjm9h71Z99eAqrarQlKh1/d7vIAlUSeYshWhvw6GEi4R50LiBKjolqKmPDmH5ND2Bjy
jJ54bfgDbt8xVwB2lc8PcWK/CK57yHzEBfwtajtZGcTtsxRvG/SZwM6HgwmAczJPOaFfmB7EVeBb
aM6ZQI6iih9yz4FEhzjq84Bfo26hey8ehaJwyvw2pMt32WN5ACzpMIP+BpoeMzo9l5yp6bbiGRcE
QBkQOJ/PERhAfFLbjGuicQhyQqDzXAKx8i7p4wTH5iMlPQpPbfJbk5jG2sk74Xu22DgvMwgUXg3t
Rg/RSn5PkK9/PQ3BSATuCQoqOASC05bcSDwhiFK4W/szvhfCm/e6zx8TXgLKkX9/hZyjEaEivBh9
zVWzJm0oTFtQtHwXaclId4hzJeBJHQGmlwlxNvkf0nAylGtNBCIR5JO8WQu2w3xDNOmAyDkovMZ5
hvelNTHX1ylpIE8XTcUbY6qI/hZYELr4mR5BMfhzPkWbH4Wlg5uWGU/yxdI4AWdndq/RjaOVQfHz
gaETmAYfCVAyUEkq8ELDK5eIGhA7XAJsDoz4cwQ6z+V2+Jgj241V6Msf+fON85ExwQG03/fWsN0D
kJLhf7TQvmzJ4GJ3IJ2fP4cawEyjjqwJZDlhTIG6RjnEP44IdUDOwE3hSzFXU9At+gQgwPkQuVv4
uOlD53tZ4bXJi8NEQ6QbQbijRs34BDpi/7mudE/wCKF4FmXh+JLbBPANJmmP24YPTDpSDo8yljEh
4QMwR1CUIO5hC0BJzyXPcdZyAGQST0jPB/UGwYbyBwFCyjNh4Kb7Sux0II0oI3h+KDycv9wPWbRf
V2Nd1wmI5UjtIWIBG0SkzhXmZPcI7tN8w7qAToOvYBX4jVi8uJTlHmOF9QgFm5nw4/iuq89QDVNP
uuycW+Yy6I7wUcZQ7JNSaDJLoh72C1Jk1RFvQhAwNNCAnBLDKbpkfdjvy1iKznQY77kp1gRMDHis
4OYx0KJz+qfbsWDnPnGZmFExVREOCirOua14HcDjCJVQe6H8IF0F2yjaKUfAovjQed/iVEXl3iMV
D92Sn8ltRpwolzrDBiCOKqjUeASICB+RQ/Vk+61gs6GjgKfIa4G05EjPWm8OsM/QQrC+8tpfru5+
QpQY26E0A+QX0Jw0y9E16KNuiiYmxDyBY3VtujL/V8RvBeyMEZxbwHI1NZYIeyeiQy6PaaogDxMa
hEVWG+oYIV/g5MbkltJFyfMYoQ4LqcS8jHlKye+DuA7L/ScR2B+TD9nGjvPZ18HVJ1LSZdmURzye
K52NFyKfJEY6mMUMo0flEpXvXPw9AR0jUwJMVEgsdguCBX9pjVCJR5+HbpB0LqS0g0xCnP1XYHp4
FWIBmaO9T5a7iiNiE7MNoeI++wt2SW+Vz6dE8HhIhsDUex7IGgs4S8ZvzeVF0EMZ5dd/IyiCHeaG
EDn9n4R1n8WDnU7HulX6OEKICajTnqutrOznNeTYoat+K/ZlkrOFBiQTXxIzBrwIsTqlQKSaDUdA
XvGVpRl7/pp0SJ4nUf4uWBmGI091IWiZPPszbm4YBvs2VL0XeCcBAjz4qAi4Y6S1qKwgmYCgTiS2
4ceivMZXwnzDI4XsgnjgLdlpfRYyvkeFEv3FrKjMJX0X1LQ4YawPTBKXYFQR9vEilr2E+r0pEzzq
RnfH7wrP+xM6LxyCpKezLmox8l/XmpMlAm5MfAq6KrgwYi3QeuXxgyDMa2aFtw08i8WyALfLytnb
F76WXP5QQ3l3l618TkFp8N634b93BouCHgs3tH5A5lPbcUsLAjFCAQ+DyDCGj7pnmAMdA3SbygY0
aSM2DKjeFym+m8fmu7mDmNjt8rJBe3/ZIDrJgYFjjRBn1uH3nteQe3lCYMu8Srn05GrNRLD1jaoq
VB00x9JNSbONwMH2P86JLXZCkVZfLH5ZTSEd/M9KmdyTG0rfjLTTJu6dtgKwbtCh2wS6sXb6Xzoj
kHBSv8mJl9mLqFPA7X8BrvjDzYEy7B9xEseAQiQGx8wjEoiWlVLpSdO2GsHRwCis8USTm8085D0O
mOii14qljH5KpsFYQsEqDczjBxnSK2BMga1mRmH7pjyFjbaQOTT14OtHsOM4KykPIMIQyRaJG9w9
mvtDA/iNCPj4t9OKQFLY2z8UqHlcI/4v1uaJpLGdsp83A6pFImlcjLoFvTgZU1+AfdSfkq/pxI+4
+oOQ4/G6EXbNczdpQpYZe9oLGJDslMFwAKsG1/Z0TxdHXKEp/CrwAuY/0vYJlGVMomuJz6KXJIIh
YeCBThtxa/8xI/1YEliGuFvOB2Qr7HQudxe3NxUokGgvBykfz8iRrDVne9D8FxW4CfLGLSKf/SOA
JoChYNxG++PcoRa553jU6b572sv+kD1iobnLy1A9tQf8dVCJIhT9ProNqUYaKSuIyvtIgexoeOG0
BLDrXHjVW+5fViIAxMHpEmLZJCS75VnkHA6XQuOwXfoPr4LW4FcD/18XJAdHVspxlXRIDwlv0hvc
R9ydtxix3g68j5SSkHg9Vzxe/itAxePSDeuzdxXYXq5TruvVid0d7ld2pSW/KPnOX8HxefrYrX0S
dTsQFKQ9MGDNUTV4LPmc7dwmU+lR4KlZyIcmPhbuqXIJKhPxzpfZApMNb6ViUZ2aC8x18XPUD4jy
Jpbzgr3Cqf/Eh5WPyqGFv3rCcogMFaIjufvQp+wFL2EkCW/BAn7fYeD1DIaWywZuGm1Yxv7Mwr35
ZF82ka3zywhTsrx2j8/Dw57tfUcqTONgwXbElmWEBvscCi1jwvi1Irtu1niL7XCRz+4U0QmO6Tne
EsRdJNUUMFbef5c58B8ZXNGThxEnLbjz17nHJZ2KS46CLIUkjBdjElkRw1JsSJtaTY6aW26a9JI1
llfOby7Njx/ABIJDSckmzgxwuqaG7johGOJNiTYgCcXwENobadoiqhd4JU2fl/Kfagxg1xLqrV7r
PE9HPI/OsaKDD5izRmeqT0EJXitUKXh5aQUIUbulxWn7x47Cqge84RU7EdN8UDYGfvoJgxeRB5xG
1siwLitGsCecXSuapaxhs78xXBKrz6z49l4DdEJUeKhHs+Hc9jrHhcunkdAVtcnHJDNwuGfQUSPu
SaYMgXQiSfV1zPYU26CLlhLwzykHEAvOC2wVTfg/lb0+UybSUYA8bMo/mSkd3THDpxrRyNfreZgy
39CcE5Zy4AfW340WMicOGr+OtxQk2Ri5JwSFhB1iwrieNDNz8YywmC1hwQ0WiA+mlphKFpjZwqfa
STwQucfBygGK2oug+7RZNvvL5vZHFp/wWlX0/aJr3JdJM/6ty4SFv2bvHRku9BcHoOHh682rP6yL
HJF/mLLpAKARi13OOz88sZVycO+z7NxmgrjtDsKnnOkHojV3hJlyOpMSAipm1WHMTkw41JADoFuj
EeY4De+lDjr/SLlt2v3l8Se584g/s95egmf+d1xwKUYiYSLqICqQDQ76LnE+j4gjUxzpdLxMJpve
Cam/mB1NJiWqD2INkVjrccZgdYn7LCDM4ORiBoRpBY1DZKyoJxdxXVN5Kt493XFOhcxDiTmoe5vn
GKFbl1DnNJIJuJ2gNIfEChfgaVwQtiEYOhhEIMftyDrWgKAAfXs5AS9AWQhbsg1W3Kncb0tOq2qG
Ni/6OFMYIjQWBAuzeAozdB9qoPGEg/g24MZ/L+qI1UMgGqI+iQDAJoZ+OXFP1HT5ioD69wRfKzFp
znn4Yrcaf1flibwDq6VYSXNKQpP7qtMRl48E4eeSut5uCTyEPmiHOVgAu0amRtKxP3pKTp3KjPPO
1yvW+q4ccYYIn66ScDwdvUfWiqFCsC62viNobsdCjRIfyzpa3PQ1aSJEeinSCr/NCdTUwndkhexC
/aMINyJUFuh3JS6Cy3odPvfqkdW2ywink6m/fgRvjj3T2tuGD3sue4LyvqRIadyCEBkWYdjgSHyc
/B/CuoVcuOD3k7zGnwHlsSiCwwDNjFDIMdQt9TUnLZnqGAZ97Jkis4v+rBmH4jd2TbT9QmSjQB6d
4cqI5CCVhuXTtD9rbELua9hG8Cc+Z2Yy5+EcWGiQZM/k02Pxi3EF1bEcYB3VMdYhThXdSZedsaIb
hdspu+36QpOLxsQ7aoHrX7PthIA7QF1GY48e8knlkFp15gUPLP96QC9FSsDNuS96gjWgTQqxsc9c
7oiHVFvNsf5FJsIYXp6Yx5jnMQZD364au52BRq4Iikzg28mfe8DBc6IjoSIfGB6z5O66uM3IoSJ0
iZ4CfgJvpZ1+omnBJiln41tcDWvuwQvH6M5X0S0ww/vgATzveuSh9EnIi2av4bTvCm3J170m+ECX
gCFQhA2sRZdJ0yuDSbqds1rQN9g/NHx0LXdjPgBTlFA5VAMaM88wUUiPEZHwDtmDhbk+46+2QGFt
zAdM+zFdt14+Q+TAks+LJaCOmxTmOnqhpmUDkw4ETMLXjJoFFACZePKgGL4itOOst0h34GEv02sg
IpLGzZ+Kox0wwEkZvVA0MjmieyDl2xEMlHS4rOFzliXCjt+BhycgzvM6PnPAYcYVrQeCPCblQLBI
yx8XRfJPIDvMJdSIDWlx9LYoCHCNjK3UzASFCgkQ4rBgncnpQRa5kNSEdL6AR8Vv1oLXrHdCwHKe
qAf+Hkpj7mP2BjBQPlebYw6ZyKy/kJBY7uwVw9zgDNpXZo8gB4IieITkmD4afYL73K/Ooz/VDaIm
euF2yAmJbywmH9qO2rgxhQL1E/enxKc64s7SqP94gTChAB1YQYXQiAtc+vX8mNSDmjus5tvPIEdM
AkCd3HA9ZKsCyyaeIuCkhowGbw1/1nh1hC8q6DGH8LnGHxBh5EVsljXFIuJU15/+UDUJ7SARIaiT
GN5Rg/wbP2FfFUxtUZGAW/DZEzg0FDStg6RGOckHLtSgSD4Ud3OhoAi+3I+ZgFV9YsopGyGHlw4q
oXVROW4h48xZwEVZHg1DNvyJOYXcHXKXGFy9lUVH3o2pBdfCDrGtTd+U04d51304wxhz72tEEAWj
AYUPmYiJ700tFw2cPmmPxrHas8//6cMquc/xWiTXMUXUIJwemod7cE1VsuSIaJo/MlK8vhiRnQ7e
P/3X1cM1J8vYlVctmw+PAT2con/jV5Oi5YCfy7PHqCLOlrB6Kyan4orm6Dpu0kcG4WhBg0GEU9RC
MM+0C4sAcvk+hm4qSK+oBoLeQzKU4fVIX7V9ThsM1HCa8d2jIewEtUIOe0lUJ1SR1/s5CpFcY2tB
PK1B/MVJygqGavJdFFRFZ6Ynjrw8jsh+JVtRot7Q5JOsBo/B4oMDHOSP+bFCtykOD+DiHuHPiYIa
ANhiIENXdF+Wb5UsCaeYWuDQ37U+AujO/wy2empvBwKjk458isiNuog41iWScD18DlEHZJdVuxDM
HSREyUcrJBpvZhcHCRtuVJPKZO8+YZZCxzJTB/WoE3tjj1F5UCw+aLBGnA7rA7g7gCzjHxG84/rq
Y1fgSwgld/RYsPY03KsU4zls8ta8I+O+P31g7qHv640iiBhRtAMo/zhxYlI/7zks4s5VSfHk90A0
KWmTZ/eEJq9Mz4D5OYP2sf3jhkKWxPGPm5PVFUNTyKuAw7on2531E1YOKqhXNfEdq2fIYTQEJgFi
Y3oytEgaXbFFGL4yMBIyNoB+2BR43JdUjs75eaRPpr81BqCQOsvZA2UUutFgzKEKhIqRF7/NhNtc
cy7u7DVD06uvSqhAgssvoGwra/Gc3D0kzhgTRConlUhWyqSjooMrxVDKP2nwuC7zi3d/xmDhoO5o
ym84HwGj2HhPr8MHKzDynJ2yoSD2HiFumzJQDQHMehvO5hbxJHcIlfu/VC6woCflxVOMq0CGF0S3
nwS6adlfQ2/BTjN9IQUGjybgE/BSG75jZmrAPwCXapLHAAV8g2p75OBOf84z+i4sOmtDQlW9y4Td
EhLT52wZ330aMAg0VhhSbuhCC7/co9ZmKh1V8ztxBUIrx9DHNFAgGNVdLHguYUZOSdkenA64E/Qq
GO5cdyFpferMBvKqmLAlJGRkrgw+o4+9akLJ1QSkYjKRm4OzHgDMysBk6BVI9Sts4rTwSZTCTkdI
NyfMfWUAE72BXx7jihBuBN3UAgRMfSanc2wNxV7NaLR3pyK5th8/jw+scQArANRo1S+pMenEqS+g
vqEHobS/Lp97ilEIZGS/FZ4tAPG0iXXKQsn6MuhjYvlgE0Wp+BvIqEX6QyOi/SC4cSgdKsj+6Zml
pEHf/yiMmCN7iMiPHig/aptEJxTHvLU5vP9dsMqx0FV7FRkW3Ez42GNXrxPmaFQvcvgJfvuCgHxQ
MKRxz/S1zP1y/k3qUJ6gYnbai50hHkoK9gwTMULhfRP2UvRzKWvkb8kixtvGzWTfRvqehSt4+GJL
sjhBPxe3qInPi9+hYidg6CacchtX65bj2HnxWBmpRPAD3Bdn+oUSg/y4H1Fuz/ot4UNHa0pkMLFj
zIY/u2/ZW+6uDXne+IYuekR/+14aItpjgPCN6DP/Lll6OJPeW8YzzHwc1qQ9RyuCFtGIaF7nIgwB
043ZCH57ihVTY2QRFApzHGrcrGMNyDSV8AuIYal39d4bk9MVEQNAZHuJgUENFR4jjsPxv9X57pSB
vFckAp6cW8J4btM5ErDeUygpe68l1058QeFZNRr7mhbzdk3WgPdxe9l2dmZK4KYy0ZzcUwWsdn2D
FMAa+PQfzxCpWSbDA3DO4LNunC9uoWX+9c9jjh9/v+Vr/wu3657pXYXLUSSikIBehcroAjoLcBu+
wjsIeiYb7geL09hMyYsgyXOmIDhrfYIg3m57MNy3b2QckINH+PGfUTlQg1e49ZVpRTt0JrHgDfrB
sk7kIY1K/zTCcBcgPLf4NydfciR7lQOoRLkfOKMAf+isDqxEcc9HSKJRcSSs0j6vdcspZjUEfxeW
h28sbcCFBlKgj6WxcjDpicOEf7hG/LJUruxn6xvTfPHytrUjB88I6cZBm+L+HhN2ofA7mFz1wfPQ
O5CzggsQGVggT7rg53z8dqREuAb93ssm712B/Ohs+W7n2XZgAeUS0CFjf/DN9JZUnjblT8/zC86P
5LrJXZlIMPu222aku4i6nOAa6bEq1EOd/RjyVM8qOja4Sk/dKwdmUM5Uy0FYANLfEhFmtmja6Alz
cpz5KHFzxwDCQZJCKyusSYnI2eND6T9EksPrEfJ7K7QQ8W0K8805211+OU2kveiFMJ0x8kU87D39
JffNK7sH9b6/62V35xte5xofNREPFdsTeASRz1wfRnITvNxkEzvJBB7kjoacr3UudHX5W1RGGgUU
3ap8+pUWfIBMvXugLrnHHlNRO/acq7X9TM1hL7pyX6NxneY+xN6qC878R8ve6/pESqIDqzb7IDqL
fws5/vgECiYmyzCDLnM78XiIXBUAJJaBOXlFIpkBa+ONZDZorFOBBaGMLJ9BKQBnBhk1svOIwgyX
2xNyibGGVzZEdZWhxt58E162+0iug+0Uv2c37uLvqQqNGTltUW/VT+vYolO4CO/eL+FBNAaUwDvv
qFmRV+ii5YebAiax19b0S2rRlCiSDxw5knFMvp91eQ6bLwopBJSYijIJPzbNKp3LV5pf8HRe62us
QijvQXWdD8OzOviMaTJNsNwhaiRHjdqlcWfrGIrm94Brx0Y4tho8jaTuX4PX8ut0MerA+XYA8xVj
YHKrOcYduHc2OG9oTMF5bBMHC2AfG01okWZ9dVXUHJqNQbV1hc6WRvtvTKoGtxhn0yK6goTjdcPZ
YzqGEZroa9e/nggd6aG/Akb5Ba8y4OPub5Pi4+ov/sUp/4D0SsMhegl94PQ1VbzXLGcpY8CE5BXJ
iEPJjli9WMvI0+KLiPEiKwBjdG8zAwGeMfpC53M4R7maL34erSMuKjO6tZ0zAP5IT/HHFqMLYaZo
oLX1dymjg5bgHx3tryJSwhFSZKY3wox/YZuHMoJ1HsolV7KPQZ84CsVpUpkOit9aJsZUs3MMqNh6
foTlk7fi64nGwMF4PlfYyQmF6rnm3jAc4+NaHxcDafv3AlUt/favokSeSkTRmEfM/8PMtsiLd01a
ZfrbzUHMDzr3MnzVzX3SYFQ7z7NdT9/cIMiHsu4tUsB7O3mAELe42yXQBMNm8B1pC4Re7/QGjT00
dsqbL97DB5Dd7k6ixJjv1gldCk3fpBZ01tJigHP4X3AdHoiX4tKxix7LVBGpCLMHYaRkJL/KFL0Y
cjZ0UzjywVHl2WXNaUfzmKyR/HX2L8S3EFp/modmnWNK6ZBLS0nlWRxq0aA+0+vVpczwhXEVoTiJ
kETUc/RnfVxa6yIwXDqfQybwZ4r98/nB/sCjYK2f8+f8yq3bn7BYIoz0+5UzOPOU/xzTq4Epn761
RlnIR19s7kFvXSe/RPIuSx4hJeIjF8pwzSYI+c4ITovFtD0QEwUKeahNmtXz8DscyrGRPRKh9P/4
FirCyXl+xRI3upzMjQoaI0xqTgtbYyMJlrfOhHifL67LG6ndIa1iacERg+VGAENwchnRE+i3bHOs
ZGbf+6ytGVvU/uHjS6cixHDZnp+a3aernIQEhIcBQYaRbMNaDxlaLNskXCElbvTL6SLAlxxTMkpB
uUpCLJVtoyLtEnZegqIoGJvzCDGRcEVBCkmk3aNbZv46/7UXMXmw9ysMzWvSvfgr/YkRVWFNEnrJ
T9bm8kDoGQub4h5ulbLvvU0qFX394n/Yp0ArmCHOMPCrSqUE8N+dNlFOAAWli6WdiCLS4ojjc/he
DtVmRu7GOSy4KN8QYEWXmW5YbcJTHmx3NPwB4/OaWQtnYLUubuVYx4PAQw/6ABIWGY626FA/bwdX
3A28NNhazhmI6X3urvnVMdP+vAgIi13iBLbEenGdn8fbETcTO2WydfkXJWLXbGqXXYqtp3e4LKoT
k4Jx9aU5X6tPPMq2GJCC0pXjeRsOjcMXsev5jwtVhbrXT/ub3uF32h4uJNoSovakHIRt+YlwZ0Ug
923BIr/rQbwUL0YLgjOlxt5O4F4B94XVppuCU9H/RxXlVaQEM4E0iXSstP8LdCvsZFgof97jFnTd
+F153fVPOs8UzbH4KPgnE3aO0/6xa/xeVCGwAWvArRiZLfYE4vJGvWk3kcc9hGu0HCPuANQjNZj7
sx+oHn7LlAOJUw1f7FwUubHJeAwxu/dIj5kEmLaCYqZlMNj+FyEpKtXTE27UdN+ukVGRRJREYoBO
qgwZFhnFvSVCDRRhAAEnbJSgPAhsMAkjENVFMg38KnoSAtoobCLIkaWHKkRpgDYlI9RDwG5YOLw2
qQIlaZavPzp6BEvw4JAEXytUF2TB4zFDq4hzpoolVx5ZMFHYATnaRm14zd5LGXHBnkMa2agA0+hk
EGUgNsHLx/mZOMLYSBvkJOGDYz+CqBiuhXMPEw1KPEQtCHx6NhVi5CKzbHu39CwJPZY10ZEMkSCJ
QOjjlntgTt4VIi4I0zc3CpeCw5RNJRx6zK+BU1mboIiQjkRJIpbtwUByokQhBZtLWcUSfREYloXk
zJY5nLGiQf7v1S6WOABG18rjnVfjz4j/HRsVMBjJc9RjjrRcRyNgayfvgp77OlMo6QMTFyDPqmt2
zgVJVc/vG4LvrklMOML5NVv7iTwsqToR1tBAWdliXQN3UwcycjA0qDs+XBIhaFgkQQ2YcvDmcyYl
rSPx2r7P6F8anDWmnw5FP22Up9uuGEFXgoX7/T/c1DyacT1+TKpJGQGxP4ZYYc1YLHXG6hw9B3Kw
nT4QtmSXSTGzVhVD3uYaQSzrweP09SRm08rD9Bh0cTfuRdqR9DAy0SEZsM0hOEC2yxCBq33cR4sd
cuZ47K2BSkIVk0S7MpCiTMuBknUv59232wO+2PSVmKk5rrxHornXAc/AOSpJOeXuJ7IwJ4Zojb68
Dr9wnsszrFYv6IaI06YlcJBoXu4a0sP44dWpiKyBESmjW3JtkppIf9si2ITtmy2TgPB5/xGWf/qy
v5TEBA7Js3xHTHhwGjgrCfVqXMY09Ayn/3+v+zlwLGzBh8khe1/9Fqk2qlxAZGlhuPVyO2JbQ1T6
/Ct0uijppmQJE1Af8+nW5S+nHLhkPWB+Hn3P9ocNMvlwMEPBJ8RGHGoppSW10kD7h5Jvfp3XYY1V
n/w357vXJ9e0j1XMTPMh7x91SaYOsT0Z02JAMQLfpLfuHUaNDeHL0YWJdnpPS6JEXSNq19iQLFug
ieB5424vebd9kT72xsDEIqSKYMFXG5YcA0Gikc2BXI6uc2vwDdXlhSQX7PoY/yjuJRErZW/6Lq2v
9/67s/NOCOcGqkxe2ef6b55K2rT9AZs52jyH5Wbs27Rse0m3fxH2SUEdVOoGX4sjDc9zSHsIWtJn
cmgJyyY+ThiTZKxa2tGK+gw97G5IM2cqG0DwPBQBEj3HWn+JbtVcjg+MH/KyYnYDfiLX1X8DeT5J
Z8OMxJB88TtAQfeR5RnGraWF21Ki3LPwSOXlcDQ+b7rQJBzAhmn+HcG6QLTYt8a3iK4+bCWyC+Es
3DlVpIGbPmMTIEe2R9KGRMY/ep54aWtO79+9xqUf1nGzQpwz7O++MS6rllMg2w08EI1nl+EdtQSB
dHCAgAdMI2tlisF0XwRfEk0fpxIfJk12aDtYepFog3iwGNRkkbtnhnIkvjyuTLS813+T5Vcc+B+P
6LfnkCDXibjSxlAtyRXmHg3F+Fp5uhEw+DKHcidYzLHs3AQlILan4do+yUeiRB0UlkG7evtELJ9u
J+7wUsw2OYxUZZs4UWgJGf0QB7J7nGdS2r+5nGV7x2akwEQSxJk0owI0rRmULpF5PDk0AiOZDyf4
4VjjAjZjcAZjbYm78IFoxeVDQmsV8wicWUUw1fI57nvH54pdnKDXLiCasSkWBX0Z38jahpytNM3l
hzA0fTaPEfnHeNCIa5hsiT4e9UiF5eQvquy1WNnVR5nYRbHi269M+WPe7D2dhyWuKC2vADD8HJSQ
S+4ubWQ1QXNxf/ttxGyhk7goBZ810ZzKTJtxCr7tL3vF8IogFz5BzghcZV69vqzwPmGa97uICDm1
GWoPV4YF4DngFIsh5iOGK24cU3MqJkM8OACmavqd0TXG4PyNHtzKOxm2cA3x8sOHjfVs1yfiZFA8
PTG2nZOOk2vh6fQsfOIHwc8oJgHNOXKis1NcTCv8V3ArdF103mcHjdPxNUaLExbH1gfA2wJNUzeN
A5pc0HF5glLLCd0iDZf+EVZ3eUacBt4MCLMXpuzawz7+WagoHEkQRPrGro0pIlKFDWA71vv23Ui2
KZwx+ggZbqcMBf14PjQR8QM+oSN3RqbP1kfFdw3Ra4yqUMZR1NsZgqECw1ppaYVSHH378qqKpBP9
+IUeGF6Bq+C35OzlKv9MfZwwSW7Yt3sGLPwb7Jh7HamuMiSgHldB6UBFIMxBiNzTUkTj4MW/Wll+
EGrAiFsksf77L9QtX8FC89T8ug4IM+yapWZN8Y/D8iMJJuODMD3wg1Dg4ogCeD86Sixz3SdS/xxv
jT95ZILtIESiDMHpKVR0DM5nxCI0mHuASxCdx2JImGJkAkoT18vjO4QlJS5wUBM6kINOkd6iwLLm
iQ5iddt+sPSEvXGzO9fsIjkhsTTO9rifSDaYaI+paR6YZKPz8H7SsFsB6RDIncK2mxmUF2RQ6UEv
9cXIBq7AUYz7RXCBWBHhKv+n57E29G31YIxJmMc8ROQbAhd9xbmCrpkPCrT+tFpBZph42vI/sGIa
xVC1XrCKlHtUxh9vi3/a1nlhogUs01c6ElSwzDGiF+H3sGAkz8PHihnLJYBv3FJ4xtETXHEoY0KF
VCPKCKHKAPST1YaPYHGBYxJqxc69wGBKUx5YrDvC4/rAftqFf9fB3wWXRzOnT5YyRsy4Y47mORQr
AqIdR+Oljnwe8sY2E2PBWWSISwstBlLl7CeW7t8AgQXHDvQdXBphrudUcQVt5lnFlHQXNi15VQ8+
u8YbV0RVoTPAjaDSWX1DIcLKGUvObwIimWHR9bUTzhfZV+nx+XHwseJ8bWLGhvk43KFqe1hXYUVh
LgnkIXES53RKdidOFTncvwbWuPUwg7rl382HeB6/sQqCluZZjsE7IaAe5k/auvcUPhkn6lfHo/sU
brrwHGmRMXrsqdFAM/qOhJlZmYHCgrQ2jc0Oob8pGP68PcJIQCBHavo5gL+lL3pNuYlp72a/vRNZ
RsYSEPTfq/Ev0ByM4pTVG4QoCYCh4BCBo5wMd07yzwAikbbJq7Z+An49pr/e8FelreT1D9JB5YGp
RcUI6831I/j2L+QaQceefPMB1nP0zEgwea+7C6Krt0+njAIpa3G349GNq2oslidSnTunf6hYrXNa
CNIqd3GK1uqgfCbIfL4o80iSkjzRQ2GLQgr0Rr1LxMKDm/RnhjdczfypcL6KohgcMaxc/QbfsSOT
gWnCsnrkvzc8TI6kUZXhKWBo0ITsTy7PT90kzT3A+iXL7kM9vuX40SxpDthAYH1RI66+HPnh4t79
qbql6Nm9fALSpPqyi8fvrMxYRi1O/6ZzaYc3ptKbOCdv/2DnsGM9HI4BdhmBu8MEQXKT+otuRSS8
8N7FS1whvMkx7SmeAIvPAfsae5wBzQxLd4+KOS7xSss+lPyR6UMgIyGRpAtvxH5m2YqHKQguFnRC
Z37Bkf2aW/z+J9sASN/yrrtMMwCPtf3XmyozK8qzVmHtofYPaIBjxHBfps+5dtQ9OZDSIGBpipkP
ORhykPh5Ukw+bDkgM5vn5hdtO0fdwmXjjCpC1PNHOKGT8DlzdrecZsemxoq4EmOFEfQRacBdjH8J
6jQM32AVglVA187Qu6ScUjguy3z27uYgDd88wVvIsIWJz0QcO6PXmX/VTuw70pSrfEHeQdCmnpUe
EUtQ8Z1/nvSwcONIFEw0f0Wa0ppOcmx6X7Tjbz8mQUsJ5eNVCS9IEW6zfmbEvUWDAAByC0iJNZ4n
gUAXVAXDNuVdmSv4eszTJsgTg4HXBdsIrKXipXvvFJc1OFrjPZA/3KGu8gx86/4fSefVrCi2huFf
ZBViAG/JQQRzuLHUragokkF//Tyrp86pqame3t1KWOtbb7RZX1mwKD4RBVJ3hvj9+FStxgRmlIa0
uXPifZilSmNoeeKF4jdgK+efBW2nC6rHMpIlN4ilpFNVme0pYycXuEtL1EOguSOs2Z91sSSVjdBu
ppw5YpIzOOYRkVGgOD3e1Rxewcw7dnl+9HsakVqG1wEkZlat8HE/VGN0N8tZLIrCaii0mGL7J36j
ae5hjm+A/rX3oe10uCOi1mp8vw2KBBAjwkz+WAzyeYwlCsgPozDHlP1Hb68qIaWIBMyXRVjCjFkI
U7oCi448BkvdEfhqJeTWfePM9cP4yrPd6SD8KAg4G5zTJYspQIk1Wbw9lANVKO4JEaFfIyGZHK8E
zIFs0GPFgMM3R8zwQKXAXERWCUddrJrRmE5xlg/VKI7Y6UgC1lrCjBdvVaTYtS/ne6IKRPwSKtLS
YLpSfn7xV58q2cCmny/IXCCJQ5iuxV2MTY5A2gmtpQ3svpVBidBrwxebBeYG0Kkeg5aeFoFy+d5y
0omQEu5S42eAWGD/FuJ++HBOfTlmwO0fGML8DvLVBGmAkxvJEEWWLpvDIjnD1F7fy/af0LK59owX
0h8oY/77MyrNMfJDoZLA8gVaMR574EwimjPquzJAsqQDrpQ4RGIiuMQ+JRO/13Q2jipH8okCNmm7
msY3KYOEJlf4Zccqzg4ybpyYOKZ0gRest5JIecNGhizv77El6G5K4tzquCbak+QtpuBFz/X6njP6
g1C2iM7ZSbxQ4D3E5Bh9dNRrpGY2+Kh9nFfWxMmmHS/ny3qKLMRqIFINK9ykDHLjod0jkAFOklEq
IXcZ3wwsOOl67oTwabZ65qYtjJolbREC4qVQzyLqlx4a62cCXnWclZjxeawqRhfKMHe1gz3CgKCu
WpRHTZ+02+7SXDDFuI8bxV8BoQGk4fewwhnYqnDP9DQ+wBDtKBU0pN0qGumXgozhJikrui9JIyzP
xVNkBtc8gFtW7xHOP9IJ5jHJczsKBKel3d/+CPh4WuMN9vcfEBz+d394SsOMbJ0Bdx/kVAYuNvIN
HHI4nBeuVepczP2DHhROJcwjqsdCMd7QEUn/XMnjM3GUu50A6LPc/TTQ+npBzdpJOkFRx75s/mj4
yzeA8S9mbvqrgD2jykxnik28M0/ld8MZtWQVERo4ESOLnCR4mrJBQlfMqZRYHYqAuR+ovsyHCVnk
vk1OyUzvNm5Wn0GDU1B9BU7vzuVQu84kDdlhbqgAFLDFpCadOd7H83sYQRuuPit5lxtXkrYtAicG
APofTkgc3sQnuzBG3zjuAuZQY6BLDOF7xjM2taMroht/PkiNMsvQe/Js88Qu47mg9h7UhNr5+u2V
NPfhR2SzOdKh80XUkdpprKPKJa0YnLFGgHE0ck63EbaVSzo9LNBSYsuaktYCE5nbsfchA8rAA4qs
ur8nopSrMaP40UrJnIOWAKsG8EFTVyFuxPQcsTVbBTFdyXTmlB7q4CWMh8Pho9aVsDQJgyKWFOUH
2neyjp72eGLekTkmN4R4xhkXlj1CDbEGjlBdeivtxv3oj+Bukaduy3pyAN61lXBwQQy3EsV3qrBQ
IDLmRCIkyanXzBIjRjvSkZTzmCHy1XgsPcm4/QmrBKJnK/WQtJxJHbPTOTEaOEpQ6PIzsl+H9apa
xLHRwXJ3ds3XZFWeDvrua6IXkEFHDeAOFSurlDeGUZesl5ORpmYBBlqSgZZEvGAQ6GsJhJadgc0f
lIi4n76vbmLNTqLuNEHmxhPo9NcZgpaw/KtXdTT0xUHMG5zKsEHOG4ByF2u4eAdXyULlRBDVBkjU
idKYiK6XNYyzTvbAFF8Z0Nb1e66CagZGmewf0X32mJJAuHr8QXzOVNXJPma+UnBiAJ9OoG0XPe8d
PfbZiT++1Eq3IS06IuBrNcNOD91NFsOMro/X2yAdF6SyNkgQOxWzN0C/Tbi4iQOALpJcByGXqEUZ
+yMRTIDnKipeniIFkIQ/cwIMQozOZgSKGVvlKlt0P5HsPEC9Q0TOlgy7eRMQmEjBD1+3IRAJiIUp
Zok/Ja0NZzQ0WG2x7dfE5kBbZ/Rt6r07oe1oZuXp6Kp0WryrXXiGxswNulqMTo9ZSi7IoaMRkdgx
mtTKKm8xxUxmKUzRmPYpWKnxGeLExWEG9XM0jpifODzsujVh0u/M7QgW7VxC/WKgZSZk5pqe3r/W
I4e/cVaZJzxmBpH1OsHfYBgdcX78Tnnb8k7jjgn51PwlCVoL/pKxqCA6ErHW03tUu0jGGz36SQbJ
2dSrHGrR+vwsfop9ReuuiUyPGDF+L/OLo5Dvnh3ii3o++nkqggcn13albvm8j8vX/b4tBX04ab5D
fczGC0q6QJk9bTETleF3VdFpdrfpOM8Ve6BDB2B4+XICBzK+fIlqzyVDgqZ30wVXUDx0ZDuPt2+Q
PutIewIj4JzHKBLS6ZiMsKHVugP9PS2nI69Ffz28dDr9Gcb6SRwUXtEa8HQQyGFCUsP8aDHd8lTt
K3O4G9gpkqTXWON8w+eod32sXxD+MKKn42Ui/rDupi4Vm3A96wRnyhS6ai9f6yNrQ+0dXOIVyF65
a8yntp59rdctcYnEllhPTmooXerL6BCL8Le61TIn9Y9O9qUtaYj0+qLMwbYlPFfTPrwk8gp9MB8E
/XmC7JUsBQOaeAPknH614ga4/qaNFZv02Ggj+3WbBDR8kDB2BihmUuORom2ZXI/zAAYYbq0HUp4b
szXd27bkTtY1ts3GkUc6h8/GBJ8cpVgvkFAwA9MZNHsER9ASeGHcz0y57AuVPhl6v6/x2rLkvekq
doYEuXEV0QDcZ6hjSPkRLRv8UEu2npUA3y0Ib+NNzPTia74RWOa6tOKGFWPiXzUJ22iHpkX1ex6q
Qd7D3pz+i3xkfqLBZuwUTIYa7ydrRY8XeKGAERDKt+nZit141LZqlf08vA3qszwUedqajmb0Xeg7
aJoFE2HzU3UBwrxE+zORBfjLi+2jx1ogiLzXnCDM2SNCz1GilL/TeVXw8u0G+mAt+7hAMUwKKzOF
cvuaiFq+8VXy8WmTIICSbt2DP95X697+tU6v2KMEx4Ur08O44JA5wNrr3dcoLSHiI0Yr0p2DO1Na
TE3exGj2lZVsSGFM5nxAxKzoMmEP8/OTdY9ogokr0sYJQXVU68tVwDuJoZCB8ExUpZ0Y6oIcPugq
k1mTEF5OnFQzEeLBfFd13mRPzHPP5U3G7wrJg0XTVsmdiI3ZMEROgIMOjcbh1oPIRpS1bHmhYY6Q
gcbE335gaSl54vNWO3oBlsxgds9e/vHuTwH8EAt8TXI7KLdlkUK+s2L0M9IdVDGBNbVHOgaJe/gK
hWNPmj9XFd+HtLw1xhfRhwhrvq4hAHvukDD+GOnubeywpZA27acB/eW4ee8B7n3azmG5cKcp6IIn
XBbBAhL5ytqYb3EPOfj8HfAabR0b7RwJJJEFsJKrj6ke8kwH5+tCg/bZDbo9/gO6d6BPdN041leQ
vBh4lsLij0acF3Q+pkoDnEFEXkJ7o2sGAwqkL/PX7/K7YC0gI/F48G8DfY5zCqxthOheRZsv2fza
H4msIXGMM3E8YModk7j0tCur2SHWTaf3acZBhHhpakBRgGB9tw8D42i3CMU3I2KzROb3bw/1q0Gh
83lNlHcooW8kFEb9JQMuoJnT+h0uW5zFmJnA8cz4RBO5fmM2pvQVGWd4PACCiIiVypojT8NQxlfw
SAoi3wTIVQw2yZh6+eR0PwbUqiBJhrX96ggTe82y4/ybGzFdfuDKIvrmmF5+TC2FOeCxYKmJaa4z
6pFfoCxgKpczSo0N/h+XC3KJHjdJ0SlKkZNbwaRD6tTR6am3Hqca4UOHg80Z7Uc6qO6PEBf0VwR7
cZgFp6L1gqwvBN6UDKqoDXS2VxlgHvAKBqcTXUj0iynU7Y64IQjGVu2UIwKGVnN4Uex6Sjb1agDu
Tiw+1np25spWHcJrU7ikj3vExS2j87UmNrCM2BgUqMJU26cOIjIsxWxFLheYFyYLhB6KXIXta80n
w79GTjWlESQLfOhzSYO7mewkEXLrAcdQNfSeMmlZT6bnHiObOqNgEg0xnhqeayELLgl75BHJzYBm
AEPVDw9txTnIJkee018nwLdsRcUC2kbWeJus5YB4paGi/+E+BJyFRwXmnneaYYEVvxBbjANOGbsD
aDwgJdCJdoipvv0g0lacgd+uydXWyxmFqcDRgLScZJl9gc14pt8UKJKvb3dDk3D6HqkXT9KbRG0a
DmZg/C8FYic4dgGLsaj3RABJuit29ReqG8pJ4w53jQ+ITJAUTpppgxxDpHQgg+j5FaAvWa3YePk4
hFS97Vfp0WDTPr3yqz+eOIBzvsvE7CCQGk5vCL9llDK5McCh+PHvvMeYyu2RoYCpPEySMu0OWNR9
PUWQAsCFWc0Kc686kPLe11rXzvLE0KwvWwPzKsm5dN3bqr0Ri9lNMdYD7tHRr/0bebn60J9RGGEO
Z9AB6Aeo9wXgi1H3Un0FEk6+z/mOcRvZeg/LLGsqeSecP1rymmlFQYf5EhuQjE5mjyauOajb4Xli
3AM+2e8Pfx0H5N/+3xESc/cPLPo9E2YZ6r9FMFg6TRCyrskZx2mCXGFIWoOTg2ySlMeqRK4Rx7iv
14XwrTZuahx/PSIXwAQEnAnWlcyCVwTuB+tYzwBqHIhq+uQQY1E9uCmWqNgIaCTpwH+dCfWz3g7n
Q1LP0UL2fjPwknJzj7B3gDsmEpJcmwiuAXgb8EzhjvvecGhBCeFl6FOjhG/hj/gRIdN44EM9nt/L
7lrM8yUePLRtALSidCY2gHUdYk9CXocg50SEynVFwZ/P9eWB6g1MUrR4psBnuQT1ibMFreUgwQQO
2J1FRIqbTYmGut33iJLG+KRZNF2cZEKHDYbz8Ls/eUN4P+FEOSCWz3aHGwIcmN2FU6HEe8mafw9g
jc73NW4AwnG/3nuDsy7quemBNjNfmTJWQ3a5QlrF/rQeXAhbwuLBYt/sWP45pN1dDilcYsl75xT5
wFiwr+ku+cqr0Q4N3G6M4C63cZNEfBv6GITQ/UuoXWJX2CiA9oFKRCByynWH7GIyYM19WoxTM3LE
dKR9a2UxdJXD0B3EgnMszghp8Z29Qmwomd2hCEFxVzlUyRJmxisJls5U9LKgqQwpGLH18tEkxRji
Wbo8qfvYH+0PZxZ6PJPDJ7Wlvt3kQZzNKuqU8YGz2tSiWoZXWUTsQpuJ4K/hrGVphKjCEvhYTrjV
XaQedpInSUGXB5hoF/i/XnuFpdO4G4gTUC1zyIfhXfInQOkUUTctN5Pwybw7x3uHDE4hCvtuckLf
csCTOEtK1n2BVVpXHeEnB1OyMCDjayNzgrleIdwE3zNPuMTLWmPU46cIKWyRWD2MDewd778KPMTI
aHJg0Rdiq1bCcxngbKDjSHfJA/YJADfeNkFmBpHJU+oYrmjoZ2908ag64Xmcu4VkPkYV27m/BuTQ
eUV90jIn9vuUoHQkovlr9SDuU59vnuHIYuuEi4Mu4Dl96diRgG1guOkSYW9ojRGT8Fcf8u9vQQOA
drWt0bCn8n5CQTKNdfcF7zPWKOiCERwC8tij2e1URWePHYX80BEPPVfhq99B/mBBOLl+LUznxdDs
Ky6EBLEKbWG9W4O/XFmSwHvhj+vwBGOoIo0RHq+yEV30DTZrqAzer1/pYTqPfxyNjfYXTAilJRWS
RYf1HoHBQJ9gAVLYYL0xi2RpwncwBE1APxCAevz3emiRU9GOKIgU7CJE4G8/icT+1VBKbuYOaRam
+JhEgLakV7AH5CONxeK4ri5YdChyg3p4b1DFYuSvgGdgKts0YkRJbs940Q+lOaRKB3c7NrBNZbGZ
kAlcLKg2VfSKdsDdoJsNVi08CUa1iYHfqY+hEoBq+oJGGx+qCwglx0FCA5eYnlhfE5wMtUXK0ZvA
DP0+RYi3AFcBK/2XaEf7EvKI4EWdJkP5e9nYN1qibSzSe55FbbB7FCSCJ1tp1g8xYAPxCs1xuW4Q
KabTlhEW55XQhmEAmTLATxyqP9A3TER0BHP0iyR01T5e2eCpNIlxAaFwItEix9Qeb/nwdIPl5GDJ
c6pLRegLmUGSRqISSjOVCpwn6Vd4a7hOgo/mLlmkDHWRjINyB4T54Ls6xDnBj4sw6eNBpLXL/H0G
dUaVJVY3UkKKiScdQEMHqxEcHiN8UJ/BEPZ0YeA5G89apmk+G9mfCN5d/uZeJDIePzdhs7uvScUZ
rZqHT1PeY5NeCmPopdOU4LjG2g24KazFjP+8hIwDpnB6K9p99WNiOQaEz4vpdIbXgOkKqSLOPDZ+
JprRDr0eZwtyhnjP3z7+tJYBlNGayFtmobulzKB1TZBSlKFf3FnkUoYv+81HFKVlIBb3M8c2DWMU
yWhZ3+ozBA1CsV70o1+UH3Wmkq5nd/uGHNspe3nxDvmljHWNthLywf6UFXqBAb1kBCCZDOMXkip4
sLidRav5FckWiFg/BiAyP81Zh9tFj5ryEKEJ6cMHA35hISCK5Jycx6SiYDThJAOONp5yAOPP4KKK
anX0n8PMpqdJZfRQN5ScJNuhRIWpeEDfH0MktTRuolp1Eoyh9P7Fl93tmBgYAltUyI2chvCOtV90
X/1EZB5riID3yFUi4VzYeXiyxP46ighBmLcO0W0fX52x97LS4j3/f8/tRx+zs0SgH8u7DhE+gRGD
XA+IngScxPHAC7On1w0lI99g4hK/xK9u8eEddYoMhme6bmlqh2Gl3mA04xwqOyyPgaqdlE6/U1MM
5WgMzJT4SeEF4LuxPuFSw5zpxPRL4dHlEfCAW1jhn7jnvqtPRAMnUf70NTNacxqzXhx9uc/kH1FJ
QpkxT6jD4M98lAnzvchUQVQwJk4HBzoZEgWrlQAAUIm+z7Elb4lkwsgI26FRpWGhK+LMT4eFTIzA
0CdqDF2UM1iKk3e2jikNMZrOI3aK0Lv9l3E+3/4I6yOKwjwB4xDCi1T8h8INux2tz7zH+/sNg0o4
tAanoybtKJkuzMyfrEfQCvwriA3sqA7KNCNu3BY+itPQ+WLOs7HlcXpAXeSOuTwkS9AKz66m0hhy
J7aP3B8qtoDFUk9Bf2R25jaxpyTin/8VjXPO4OyTrcE77gMCY17XLHgdGpsYHOLyc58QLnhITn98
R0N1ukMG1D/CORBk1xyGCjCuDhnJnon9lC12ekLFiJsLcHuyhnicgfBhgV+OMU3cveE5vfJ7ELQA
ZIgwLK5bhb+GOCvi7bYsLNmFWVUQ2pxldghJTjD1agCt7RSX17QLRdoxxXMMX/9afmBYFpMVjRF4
6THa36n0YeGfOENU5U66++074siyC2+zTePfjL8biQmyLxzvqHt7qxRyKdliOPRFugJvhRiEyXPd
lachN4ph8b4a2n9pIALL2JQuMM4cxZALkx3A60cyQCDTVxRvpDm81o6nyaAPkMiO1qQCDPM3jH3m
Zm6eknglYodIyimXA33kqRM0FYDcPU+Fnt9N7LtsfxpygkbATx/QlrCls52pMviiQaesjodWWT2D
2xfTmARymc679XCKoMgEK5xi2uo4IlySVbUhAwy/2XOBEZb7XSJ9HVvCKkR7LpZfZAoa5pqXB34M
tyGRIBnk4QPLrF+TrjL0m6D864Njt6vmkM1VQOAttecwP1HUOJ8cseWAFYlREqJJ2lXEwxMS+NSH
+GrPpdXuJne92rTTkuY5GLiXA/m/7HhAU011iokOuEaWhkqzGgENIxJ9WA+AgrYyYBk3hxWZwVjI
hyBvSPFAHc2aKk7wxE9y7MPbPcc/7nTud5NFFKFZq4eJrYFC27sx0uaSRoRYMV+K9D+6EXQCh9Ek
3zg2UjtBoIl84mxnopMk+b6n1fwoyRRoS/W7R5MSiS88CaALzBiPTXOJOfPjkMZsKwtrChPtewOY
QugOc1csg0laPDMfzjf3P5hFJrtX6U4mWn6qZ/DtR6Zp+EZ+apEMSDsbiDB0ubQgz6DNi7ce+1n0
ikjGPvz885eYgwHFcW8jF0I3PvdD4kjyQUiONZScGdG/wU5IdpMpCD56FWhpwRWyg//BD2tULFlH
rWlgzVPjua/AAYXX9+cW7nOFqOFH1M8LWQJUufWbciInYM38uZ9Dg93IrrGtKmzVZ8j8yxD7GsHu
Y8grMhyIO4iAeN6AXspe1cX0UiFKiB1OYmz8CVT0i+qujyl4S2JX/TPVwGF8+jeri/NOS89ERkjU
7BFzLbJIcThPmk0O2cf29p1/9WzV3x2Dx+kexUIepXrwktm+gQ4gAWN7xKZjEIKsH1cwe3ecMd7D
HgCFuUILIcne5HL/G944tQm57dGtOAplWHtfy7f9JSmS9gQOQvbLGCEKS8PY4zdFGFyx5wm/7pNf
+ZGxiUDkt+WJsISC7R4i1+LrX4621QplNAHsQloNV6gssGrIHCVXaEtJUsZ0cz7OZX2hgpQzQJ/g
V2JsxawhVonx6EMqBMoloUnro3ahqW6WcVWA32e9HfeLU1ffeC4fHkUXJFnxK09WgEWO80QAKtwX
EiogZcV1of3BUrYUhwNFkqiDN60jKq5jZCVD+2jDpdu0otK1814gWUDxIZmcE7lTuNQOIydPSKtK
cHsZu6P5+mA2GESEi+GAyYM3qVgtKVGER2LwDT908BKRAmP/2/2ruy04MfNoIr2pc13FJT6boBsh
pFj1CC6Ziohh8/k39pIFljkxt1V/o2k5D2hFIlNSAB2MMA3cfmNAAbAe9nxlSZgSF9mh/8eZMDoQ
qW1ifgRaIEIvfPivEN+FqMhwUamQ24yVzqRAAwviXSf3hX2LEEoRw0Fy4YSDfB+ZO/ql6cPpTxM+
FhUIzd9klzio7qApcTkpoXwb7dBDtbxV5NuS2CR5tG7MqpD35i9zC3oJCWxBwyHpG4ZBBi7QZUAs
9B8cwVVjTLiGAw9O/EMHrtDwSo0DhuQDmi0I7iWIB+GQAufgs7HxkF/ItgjfJ6STJiqjo4fc5O2p
Ea+qdsAhbo6s3P4lqML7EMrkZesMRO7wNL7CYdPZEzQopChFypCLgr68r0joq+3zZ5Ccizr/+r72
ZkLw77Au32HRSTRlqUCJ8TfcNCHyXU7TzttDjMyjQ6q4h07Zbu2Bg3scDru0ywUQ5rbz2yAjpAIj
VsNbSbkCO40pLlpHJTzu9a+ZWvW6t0XBwtIw6+8ml2b6Rl6Ib2uknes5cCJQxIqXF9FIKKSgMZL5
BScc1JdY0GTqKOYt3W+8+UcDn8H0exHEP110pNrE7M3nStIqzLhP5jVaKB5zvnGMZJBmmmI75g8C
qEUyFHLF8D5qKV4HAv+b7TiqtsrieZZd/vSoF5BLogMK41NA+UV/W9AAfQh3MRKGQEb95aMSEs9Z
f/rwPldS/d9CeGNyBT92tkSZ/1rGXmIXzCh0IaMhGEbvHQotW+U/bXspEIBqbGOQVa1S6Uu4ci9M
IuOwm6zjiELTY/haxKT9S+HDVWyopMZsvGNpsJhkW5y14esikNTWY1cmXoVkgn/L0305jiBxwwZc
e9VhDv6iRYLPQ+G2IPkAdd6YvAak4yx9H31YG7S0lHPJfK1IK4KG5Ixzf5MjMPE/eJIRz2Jr0loS
Ini/X+HdugDLWLmRuBGCKxsxha4sGM80WmJWnI9txWTRcgHQ9Mr+jbX/a8HASvC52Rz1zIzpsw9W
YByXnYeTzTxGefBFQKGC17Bwkmwr5KhCvVbb930VJRgWJE63PNTXnyOaJC8lbblavEpcrAmm6iY2
iSH6Chk1x70YMQXLtsASqY7BhMf/SGPozfBdkvdAB+pScYjFZ91jK+4M+of0zmk5flzHBuix9/Sn
BA1gKe/NLsdlpOCYnEeToLYmyNhxuAEtMadYmUZEUCCdYxKjXibaSEh7KfxaJ+Q4Lg6X2/QYFifl
HpAjhfZqdkQJRxYipbjw8hg+mK34u144GrVy98VUrhXEuO1et7tIvvZL67gaMa4Lyre4tZfslt24
pYP5yMaVZ86OzqJgxe8c/OH4MiSjmL+XhUd6lPHawMweHa7O5ucdnS/tU49IMTEYQoyWxEl09nGV
ETt5ZhvC+FFBTP2MHmz1Hi83FgLc/riMxIuE9KjVfgzYiC8RYRHriBi5NmJ6RL72kJhnamhQ5tRG
R6Fr5eeIeVhu0FKz0mG+SowGU/TAGtJ0MbFazszsttiPtwM+yOFLTD0u9IOE+IFGjroLkoGog6lw
fL39H9H+mJqt0dE9plscx5PG6+OdQ8BY0eGIbrPRq3ZAZuKJjUqVwm58RcHYVxGNGfkjeCKgw7dA
jTApZ6ozVPwYfJDmsPLy7IUo8kZFwGhFuNIQYANpcBGIlWp0IWiMEWrDCv9cAUYylANzs+wj2lXh
YCZhj03i4b6Gi/GcU4A1XiDrj15osKv52yJNdk5IbHOFWWUXJGb9CclaydZdxNHSwehUmPLYIC6D
iAMliL2OuRDBXB+FDCDb4NLssmmx+5dzx24Pc5ft4tsgQpWr5fZBDGA4eojgQvU5RwPFfuL2z+W8
cvnERP3NFOvHiRhqjaQuNvokOLrwd3Qugrh2uCIg9JSodDgfMfP8iGE8HkDBqpiI1+GCgr9dzBTn
j8L0Qj3buT5XNbUZBo7J6ZeQTr5DIso4id8eKGxGoskYlAEXBKnOsTmBirEbMeSdgRWoiSSQnRRU
5u9tn+PUYNnOidAKJVIFSf+5s014n0J7EjyPF46Hb0F3OETyV/RHwnQTAdyLHqHM10RTNEcLfvpE
97eGOLAXcRjj+E9A0LoXveYtejvZZjJiIkbZ/g8VS8naItJpAfSZDU1upsi6hekgGQewTu8sHgDS
nNwKqxRGBVY2Ej4Ok4dRMCXCj/egboDsCdFbj2j+EWf/witsFC9CLZlx+KPbx4cVYChhAqN15lCb
zyl6VMoAWp0KKxBP8sVEfFV5GuwU5pMWMa4gVGtChJAz8uCQUuyTc0f+8Sj8h8sJeoGsNJsDYFUQ
6kgwma76Syb5WuCc4DwgjjDvrfOmvBJ03KKOe9gBGcEXfRAlZZuC/ctOF0LfIiIHWaDsL6GIfmr/
cEmwxwDAHBfy+UtSpbCMoEWYT67v8BWka+5Wx86GIsAdRSLj82uO9XTZXnmvNIUzpYUjZKMs0X7R
qlpEYw8R7UPbwWuD1YH0ME2OFz1XneVOzjwIOtvqt6E/3LYigNTYzOc0qGij86FGWnmHaz7OKdLB
T/5EuGNjZNQw4osSDUiJmjGOdV+CHprQCwBvC0ORB8Qr7FiuWcR8Ug52VxYwCbEd86HeeR1Kuuhh
YxTzpajyLoym5ptwsnJdUdj5s9tDNzAoCg6ZJGpiXOZlkHQ6MwEK8d6unhHlp90oBAP8GINeomE8
UWDN/AuDsWvIEhqRk/Njn5+YOUJ5NhCJSAOZ9zNoHAyPDAKKnc7e0XdFCIquUFzW24wWyoK5QRUh
X857jSew8ZnAkWJTdkWIl8jzgpng+E9RJp6lmmQ4RuVJWCLb+4ozKk1sD9TdOSzp2zl6TWU2JBZx
MpTgV075bOzxPiWzbkpD84yj6Z/MqkXPra1Y8rWK3k5+oCTEe61aPi3d37a84W/8UhpWOklqPtGo
oV4imbe0+Jdhu/7F9jdx7tBnb3TNC5mkIkQ4CH7oXgSv5WQrLFeGUL7rSj5/vw0O0TWVXcRlP6cN
3Uk/XRyrVbscWX2OZ3h6lyyuEBOj1ocPen72358zqex+sSO5DZxAcUqK7AjL/LnUdIH4p7wApck/
B9AGlLa/QbMM/smJGm5XTv3854x+kC3EyKShUnq/YidYBdZ0KIpaJ+8W5F5+OinaRsnuI2HrZsR7
c4NoPOLdRnMZNWhqZCLbPtuS3O4We+XAfy+R3D6g2FGiuAVRzPBD1I12EcA307kOngBgMpnnbuk+
/Q/oF+KPNcqE5deWZ13IYR/yHJCSzSQqvEZk/0D8O7TkkkewIVIMWIkU/C28j8sUTMAvYNfuL7FE
+yyrB3MBegYBNuV+tet2n02BqAReA4h+iJAD11dvOVnSdmjckDMZwO0BD8C/Q/Lrb3x7/uUTXZBg
PNDTeCECZmFLnu7PkvgR0p9sTrb0gMLqOIK/wqPrCJRjEHYGfDjstEgigl50cgd3kiXG95EVpuEb
a0u1q3aCHAOJm0RCeFDMwM6MOCRt2vlCd/YjUOb/2TVqAwYRXnw6ksSagkCIV4s0bcDtBWgo00zP
pl/L5AqS/BWfIfsA1lTevBTyTfya0InQDmlm+xEJsupAJEF5iTnxY78uIfceJrJ8hu/cOLoDpyCd
4lyENBoR0PWXcmkfbJe4n/yBAwdsjrHoVcZo96FvjXEmiLVVH3fIHYmGNYL54thXLenEZGMgGRRO
9Z/LY3xjOR57hQtA4VBhvyWh68DBrtsV02eURi0P9268IbRHOB/hW3YBbhAMiNRBRoVb89cSAUmY
6Zeu7A+JMKQLoWhmR4a5BhPacIpX7eTEa8VB/R61J0yh3u+CyuFxY8lXSPhWrOc/oyF2suvnTAAe
Gfl0L8AflUQVfDnpbJlruCUr2Z5QJPSPpoiETpeH/6e3G4JQdJpPkbDehnRSUQYUfqiWgNZXF/W5
3lKq22kpYhB5Ng5EADCtCUJWXFg5WXbsViTIEj3O1IITxxssP0CrT4qoyKqL+tGR/XGg30TUZ2Zg
rqNMdC6eIRG8TSAeqhGSVMURXWOfQGHGk93X4+UH6IRGPSBwTn1P4yBifRXRwFK+3WaPzhiZBOOR
fIg3DSwNZk+e2QLYreVL58skzDg9kPsNnGEqhL4LITwFEuifl2/ESwHCZZ1WMpio8RwALOj/jWcj
JiX2FFiLgdHz725vKZPWqa6T23e+GQbwK2PziXT6Of/BD4vw/pd+A8ZEtUEC2sBIUSVayMO4g0Nv
J9kYBoQGhvowyEaL2yXusAz8RVI23x78Z0YYKdG8RE2j6l/xgjDvlcR2itI9lW0P3h4FuGjFzUS7
HeqYxoJ4nrbzMbmZZL/Z0mxA+u5thKvox6hDo4cjdmchSHgCjsBDw4B1hoyXRXARvOxjxhbmCnfk
ApWIKhN5cbxy5cy+Vbmgi/c9AzdKVCL0XBZK0v50dPsQGuD3LK7/nAziC0Ovmi+71iin3fiN/WR+
uOXIUwjINJi7YBChxo1G9DWjH8OkuMH5shLsJIA2m7/M9QHOIesWkYR26HivhLSfhUaIzv5la0sO
oL/kEKwXEEoEDcfVd0WCLbuE1SAXEdeHsnW3A12roP9YRDOC6kWL2gblC4zBmm56DmJobWyGGdio
xHjB+0hOvZSpy4DNWLDmiNRe8kawUfRgPJV/9D78Jw9yQ/OvaNaCCCcJkXdDhPSjMhSV2g/iKHGl
scbn1D1VRJdjiwRl4aSkg5chABFkY3Kog752RlddE7fLI0nDNf9JDAY47b2HxlBN3DLndRYv0GNE
RfI8PtEWJ4Ak2hho2pWZD0vz1qJAaB2hgK6Q3P3dZJgoVE/EYyOpQRwlPh38kqChUK3xvtxtesge
7g9aOD6xIceS+1oNbzVL/HSyy2exL7HS4W9EGHG/ACj+VW69qMIGQJioambt/QCfi1DwEWkL1Bj7
mD2oXSXdqu88vL7/BjXjqzCkD4XXmYeMbYIK0J4unl5025qAbAoCbBW/Y4hDawTaNllkZgJ9CrMu
vHq6FKZPHQlu4+GV066J3ZwfgeqWNsgUwuFOzHdkI2xz7Oqs6U5yHWMkVV0h8GUACo4RcQmv5Wf+
Y/8FbwS6b020aKqH4+r1xyD6ibUixJ51Ek7YbEm0Gevuz/rt5DnsygLihYKYNRQ9r2Z6fQaiae55
ZRXyJ3/of0qaBeVAWry32JloqGGxqbjOcEZc64kjzmGxCULNmSiARO+RPzAWjVCDiFoNm7l98b32
tBeP/533fzgnmxd/2dCjplX7rEP4TvuAGQV/Fa7nEIvxdADy+WPvhUENRV37eA45Dm+Op7iHBgeF
5W4TG6gCiPRV/gTvqNoipRgnN1HDTx2vMzhh7QuKlCUGjwOylIyCJsGqHpCdzxNvcuZUhUKLziO+
xORPZBuN+K487Cwz7BogkWwaFLRk04fRfCxIbBX9gkL9z3ENb8vAZwnmORAKUnIvjR0c1jJbt2c0
Zx7KVZoXfxS2cRgWWZHeSNt8LE7CX4ckWbFboBVdo1JZ3F2hHgsQpGDGYfShyW5k8WWmohpDRKG+
2UT4nck5vYijAbzY6sjsIW4C0j6zDsWDL6Sk4MDcbU9hxeKOzqDY+e9kwY1ukgFry+2lyMFH4ASD
MQmNMqJ/FS1WsSPrCRCGQ0fiVAgnqJKmXALZFnj90eY8OYnoWRGFB6gI5QMTIgsj2+CWiXDkVqj1
BoKB7/NZVSjdnv67wn3STIBYZEd5OsfUOynFvA8G2QO8F40Lp3NLbhke62+A+3iG/4pEDJ7je6JT
Ukqax+Gfypb8fLbAyxgJtwB3eeEC8Vuz6Kcl9lm+fckGLFhD+fw9i3aM33KwjM+bTCCBnxll2Wf8
GdqBO0sIkgqlwrzHCsFw2eEdzKJEqNWkf2wQIeKIYTsrXnABp7L32WAvirqItPILCrMC/55sZwxB
BaQxxcdi3ET0S4QIzxFa4z7SVlb14g9zCmvtTV4wGYMgAmjYPUdA3gYPJHomftOPwgPW6Z5QaUfI
A8Uah1lVaMweHC77IjmaUyebiEQ6V41ejSULEyZvIy82VllizQlFvOE21K+rARD9aFr9ESP30OJY
ozhV8V+yflBt+jV3oyVkAp09/B9RUPjeTJZx+h9L97WcypJEAfSLiBAeXvHeCyFeCCEO3nv4+lml
OxFjjhOmu7oqc+c2ZcCy4s4LtAgvfwIKoi1Vk3MUHLCNMFzV3leyYfeIqrnF/wVXAQVK9oHUquSX
RUCsewTIenj1f6vSbgztuv3btjPVhLkD3zggBgpAb/sbZKUhiSQCaUFBLaS+Dv0DY15SGp4tJaTc
RNNMo+liVZU0TX/65+5fu027NZxfMhD2iYSLJruMZk0bCqn+q7RG5GslFUh8bWC5JZz/2rX40QYL
koUkqvs6/zhbaKqzaL5buwb1Bm+lB+wYeRKbbrSbXXBeWYdXYtRMywr6FMvdXd/UP/MVK4jD4D1j
LA8SWPDCuBiVLzHdFq1MGXQhD+xcEH7bXjspugEIUT32+UeDTcIjZffkMKX6D2z4x5cR9u/sSBIz
j5kQURPIHyPh8cryLvHBZWmVREDegcsQiquU+3BKo00E0VoclSujjcDELy9aQ/uQsz3SfBf1Y30U
fXzYCOhlZRMCfor1ADxyWs3WdoNT5+DsP9AckajaTMv4cyX9JcpAKDzDUDjbwA+uLah2S1grBi0U
RXs0UdVmx9bCiiHbNpQy7lsPbjbvsBfT7XvKwnJWOiVHy/xkaNpRlcxxzrXNBQc7sRSuUs2VSPcX
vWw72Tfaz4+Gk95ERf3hk0iXiVSRZnDE4rmaWkPzdKu7ctae7VwwVaZoe7Z9sfNSd0SIMmQMdEJ+
kRreZi9Hz0z7S2RlIR0M8qBYljkaQQfcual8cHMnzQ/dOTzA92YXXkIbKgvjqI6iQQ8Sra6kIHx0
n8pI8l7fLQnduBdGp/q6mZ3d5FK824leCIlSyBqNaUXFkX+KG1UNefdbZT5pXSoSpvBy0no6xUNH
J5LpfdAbyh0ZSIm5ti4uKoCeDyLc/58g0a/oDFvspR6Q08mbWI20mEE2HVuzVO+Kel9JIasnSSh3
pXM55alrCjZRYX76n1ilEWltmrsm1KXApYUrD7fhwmfwut70TxVnsf358XVov+o4zesczynyaDyb
5Zh0RW8RwLesTJLgrx9OirvImFeFurcenu457Y2OZXwbvzzKUaYvOjRr/6YvifEuzbbPha7ndJ52
i/flWcoTMN6W97Vt0Dei0K5FLzv2UAbEzdzLizbNR1H2aKGbsPaYbhmUjWEyem1ULNmDpPb5Xf7w
7/x1ItJQ/vFfuRYGbTurjEy3ITZmwExybpBUHJuL9EIa010nrgjGSmUdEBgB6upi/Hv5xH54DbY1
bPPcxtljwHicJTX7ludHTyKAeIVKak6M3A0FSdLLuKh1CR5/jdmldWq9AwmugrgCZMaczO+fAkUZ
A25K2D8xuXPtTD6YWKcDLB47IVr8zWY7AUMcjnkG5A89hN/BWRcUQ1gIpEsp0UysD8V5qi51rkKb
OIHdHjrXsTSmYqrJFKESjMWjhTg3g8q9YzcPl3EB7z1dPd8qAaeyAoh+8VnWwWUxcKL6rWHX51t+
ai/w9FRaxeZ1fCL56UaH/ezsJTpl8pk1xzw3gOK5V+5jEP8MosLJv+6xK1Ydsx9K/CKXoVxAtRg9
hnCv29DwPFDEt7UPZ3P5UU+7uZVlNcSQpIYYAksMkKd46ZTCgp2VEjAkwSP/ZzwUlnptUZh8Wvul
ezkkdL3KO4Md7091qdfG2naoUbaMUmN+HGhxD9DAxb9Qa5Dle4BYoeOycrdBnuKh447DSyshqRGr
3iXTgRbq4drvP4fh4XwW6rOrFC4FHUa8eTmARff4xKTWwwEaspQz+L3wt4B9YPGRIynFWlTkH0R3
SG1257dJT0elxjtwW459zej0bEHIwPlZKLUCKQm3uDI3ni7CdqTUf2J4lUlWlt2IrVp9V3xUU5WK
84xsWEesPhLSVYhNQT7ypwL7UxxvcVIcasXLKP1pRfQRJwcYbiKCSSTNo3znj+lAbySr6397o9pi
chi0XolydCR2Em4mDzzTtOeZZeRFDNKc6vmRDORvdO0s60++R9B5c8BP0rebdhuwkM5tTGkc5CkB
dNNJMSSgpnliajNT+SMfxJozpPGeJ4PlZlmKLgA3rZKVOCMTvsoMcDeDjnbWY8l9GoEZpmvh3ruL
gQx5TywzSFUTXYTd3Qz3NnhsUv2j0H6UQykWmqpV5dmwDi0U2+y98vo6i4bXXt6A8fl7F2uLkeKp
EzhXr7ZPsczfoZ3sKRA9CovyJJiagCBMA0txp+hH3b7ZXP5ZBV5GB0zHILmaO9xP9/xlhtRd3rU3
fZcC0nGafvRuNbFPhgUGCgjRmbI85Fhv4QiatND0dm3ofznDzGHymUFLkyOjLZ2/C8fvj8/t70lO
lEEKWTVwy1hDJ/KNWSUpMl49gXPxhorpwaXyR9pF7NtKjg8hGqt+BPxgv2t82scDevN5qS5EG91y
SNWABYZtLLZjI16/lnWi9Z3lDwpd8Oz2oYFhAdZ2OnHXW4/+/u3f3/k/sqasv+7nChzbxE5Du60k
ujE7XW2X+zx1rpfcpE5ajkZx9XqHUgQB7+g5GO6Gl3mUUjLByjswOA85t5IFsDIIq2SYCM9V8lsl
I8dYANt+ENs5Nv4wEf6gMhc95iH9YLYE0aPES+KmK9nm4XqhF4NIVZJUXKWPkNsSb4jt7jmLV2/+
m1zv7rlHJs+G4aoEIyhOluIm4irA0JiFExUAU11UXpIYdQwtgXEfSmUjAZgNguU306sXjo+iWDf5
17FJpqmcO3aJtX4ESkQ8tRl6Q34BtV2FTc3HhQNLEjcjTZ9QYT63qpEbvHPpz03Z7/uYEdXMN6sb
yQXBVeTO/ncy206Z9Gviq+9q+ARXW9JH2XTsaPrxaGqV9LnbXJWiKkwkmjukk7QG4/Kz6U0x+yuR
r9unzjWbf43NKcevf2CC1uKUG5hC5LlDfU0EFSyKSCilU5PDc+V3EsjaNTYKhUz1TQ6mmKnvKrAf
GS9sGypYTxWSkXqmkC3uGjQt2am26RMnq82+KexiUSmzZEvBHAt0yvZ5ObiOiHoab1BoWHmvqeLJ
vgaUj5PV7CF19iWBrbiDnR33gcGu5aoF3J4KjQVEV2ekh4RwNs5mcfZTLdGEL/q1fG4a3PVJxwW5
ZQClJnPw+0xvN3XYf7tSCD+34cq3Za4EA6KQgsxBKNA5j4PpsjT1LO07pxwDFLGByi+BcPxRZ4+f
aycugCKQi1Jg9+d3SMg6MmR56fTrCREXmptwJNXjjuIYF48dkGA50yW1p9lfRdMzl6jM9SEwAB1O
33k9ejZCh2248NwUPuyZGLX35gI4ei4D25CqQ0xSyDkKiWu3+pupE9DSf40oBLhmZyDUsmZ2Nhtv
S5PC+SvZGgRED23CAIOlCkhZYB6dskV8K/ILAjvw53GqUr/odbHLwi0Q2FtNMJp7lsa7ljl2ceLL
TSSMXqN1U2hSz/CT23Z7eKlrXgkY/2zN4DXxNrFrqjtcf8o0SmD5P3A4IgE9p5guUE5XgwYY53CM
Ta8bCwwujWR5UUsVsJPwyUSAi/0MBnIfsKuULIWGz9dal3bNdj0AuFmzfHPdtIvg61TO7RWe8ARP
V9j7JfyHac0FG06L9WvK5HELR1C6IBtSxU81HWy1YzbpymP+wWTcM2strU13gvu9aKo2axmXLNy1
Ha6TGM5ParufK7v/M6uROMTNk9s9g4hOvjz3jgQ5RKZ1/kfhHAisvlrpUJfKnN/pgQQzmwvPh8fG
Qx1wqch3iXf6caMqV8Rbw5eNBml0SP1rngsc9WLC58kAX66N14+MVp8CBN22QdWfXvsDNjpg4VIt
hWw+2yWK05Ueibld6V1ZdFPf1687p6VFmX95aVmIy4yQoyBpuRf9evxLVw41CSooHP21UIHHOF6/
tt8BxfDe2miN/kSJzh5u3Q7B79VND/hY5FCIiZb63jUJZPMXKrVLeRdsWj+f9dXnmyttsAsrJqqQ
S+1QYTtlgYACXsch5oZNc9lJ+kHcHzzdT9bzuXhlr3B+Xgrs4dbf2wtHsnz2XMi2M93777vNpBGs
XQzK50VrMYSWQjpQSWCPgI79YFGJyM59li5DoxhoCD2CJdNljMLtJLwMDMyRbjisPwn7w36wap2r
oWG8ynlhE8QI/do+5CclHIkiQdr3ub3s83H5x1Zm+q50XoV//GQrySLXje6SYfqyLUegudEPcOkq
ZIO7DHNZyEvuBOrJZxphD2TVUj8AR0b0q66pZBqMU9lcnH/rwE7VLMnbNOQcBBZjiCS5V9btE6Ob
SvD+uuSuoIr416MV9x5HC8ojbrJ80cjJdTRRAN1L/3LSwwxDoAVmVkCcEcvcuyndYF0qjqie7q68
bB+Yx3pkaxoLHnWofasxbih/e5s4Yti5DYe9aMKi8mGUL7aNDVetRyHJLHbFWCtV2H/dvqEV8V72
I59trVRhhvnMaN68B1NyUgOIgSBH3fK1aDx565YF53j9aTI4Z+PnPQoJZDBc3t6AsyGCb0hACSvB
+cYK7ThHrBose3K+vrOfgVB1Ke0rIa4lU0hUF1Vz+e7v7t/KBsUMrZMuJpuvUiCnGbTm/ln6Of1T
ccvRHsnWHxEblIFyDHQ+FPfKI7qK7DzSZY5n7r8an/v8fkfJki9e2U9X3W0J97jjGy6YL16nZ12Z
TQ/ZppLO33l3iYgIlviinm8gD5z1ANA3ljlEvx7e5r/gZKdbLofl4Jxm/Z6ZJfTTWpAoZuS15rm4
Cho6T9+9EEPTeH3VUP4aC2SySqaz7If0j3SeJXclNqLtri76yDWm1CzEj8UIA3RyFUqzj2VBkMgP
s5TG8hLcZp7G/j9go8xvLHDTEsX7K/+BwznbmcQxLH/kLvt89FV4dd69syBdUvCJwNpcKoxmr6fy
7tBIe5hupXimBByTPPlPEtGim+W2037fSxt4n9DZ8WqRj7Mwv+TZKj/PNtfOBsmukT3V2DxmJLZt
SSvEblXWyc90qrx4tCfSoXJiqJ5c1pvJzfdJZvr4rOx5IrInKZnXJW6ndgkqn7AT4ZVGVxjxpQ9k
oHbSQL166z56t27icz1a6J44lI+Rzhb19Sje2FV2FEo0NM2YzdHIojdZ5TPDD/4WvYsWiaD7r/SK
FDh5wrbHqWEklot9vtA5iQDRHVeFBWLf4GDiMOCeGx1QcMY1sV3OuqGzxVTAq1Ws3aWH5RavwhF9
30A0GNalViE6IzJKj5rxUrRhvJ37/TfwYfcFURj3qtdfAB+vlSwwBf7xKmRZ3MYLftT74uB2GHKd
O9FBtHHCBbN19Lbfx062FBse+ZkHqFSJ1vvIFG5X3ijl+320XU6Pl4I/eYkcGdyyo+i1klIXc6P6
8RYKlB6S9iXRXTD8UlPzwfCySspMIc4Zx1+ZVMIw2Oh6/eTgiTp6LyeGjKNmFAwm8BjUx/9eJfa0
J18R9y6FxLsYG3rLPTw3PlXMRr5sPApUCYfH0lkkQTDFRDtJIgD0SBwMo1aF1b7gBTOsjniTMS+o
Rf9eHguG+6JqpBr02KG4ri6/n9UlmSBzxp6L0bq0Dr2PVV6CSp7jI/Kfz7ZmYmEbodd0DGVUpQEC
2PQg7B0GoKrDp9Ynzv2+xgNRsu3wCZ9Q5QBEkJiO34jWn00BrqrHiRG/6zwyY7/0Tj1X/vit4soU
vOwhGrIjjSBmsXfwQb704vxkBfzh8Oddw6vhxiGn3B+NR1lvcMiNN71FfVN3b03bNABxw1pXkVDP
X4IfS6OmWlIbgAxeyQiSWRVS9rULSVFwqTWZzEADF7hZvi0TRwz+bDka7TwU/5lMXpqK63JyNXil
UnJLOt3lx3GAtaeoOP6zdHza8Z+N13AioDOpFe4ESohNXtmw7pDkh9+EeVaaSXKYnTgeYsXSiOdi
ftQcBT15ojaOeskXw6IY83UEInnyG9uLpFKviLx025vdVbazcN0X5duP7+D/E77JR8sn8jGzy+Jb
DnikKM8vlglGiq941/9GRqeP9u1ddB85RT92/cw8sWwmIsX9raasUxSekF8Zus6W9zIbAZ2WRyry
Cv5v6UjzmiyaGyzJpZ6Kivkan/D2UYkuC+6Tni0zp6/x/Ez0wGjdckpXeIbF9zIIZBhiRppyOasx
I3k9waYXVAQ9APiBWo1Azn16FC4/Xo3143vTCJ9HiJQykepaTWkEMdgPHn8OB9lf7ro1rnulqIQ9
tddxYKG23OvIaMfb63fJTztdOHECGyRvHDZCob/u3D6qVv+TdmKVJ6Q//NDHcFK9MCyd5B7EjyQg
IVn2Wn0M/Ykfj9/yPthR9N1gOdv1XAmjkMs775/5iihc3Egz3eWkjQGzawVC/oxQY/VRQQ4zafcw
xr63bCy1GACyXcF3eWljk6VwadghRctZ1G/9THWU6UZHHJp/Fs+CAYzvHUlX0pPmAdH0Bi9MjyJt
vjrOV464sFUEXMJDj/qxpYw4DMe7n+ChgL/M5EGc7hA/5pgtn29lghEEnFe0HL/WYsEpgff6/DR0
1ZK/q0vpMPyAhKC62xGXxfi2pFvTlBiqMUd4CbtopinIZQa1XDIFsRouXbjhpFhy2tpF2dtvSR41
4LcyHCEiBIeIHwTgZeNBKp82B94GF2xu5L7OoidvbH7OVHFZFZDE7jvXw3sY5or6vpYTyRynike2
vzn58fYqWdK3+dsYGpXR0wvJsXLms3X4Dm96Llxdn0dheWjfaRn+6HXbRdlLUfp7Czy5iRcka8ac
x2/8MxQm448dOnh3y2c9yU2DvxYprcRDmd419yNCCY3QRED/8rQ3/WhWXcADm8KaSatglUTv7Huz
Flx9Yibhl+taH4WFR458wNpC5GXVEGvcE71o7N/Hu5qg+P71Xr4d6MSFSr2rG0PGR/3j3byDDsQo
MwdbVbMiYGRZZHMLP7G1W2FNV/UMAeBoJbrRfrD32ZphrNwHH5whCSmucSNesl7VK41TZcfWaegT
GqSQ0gXOzeLnhG+rPUOvQyNlHTD5R+cOt8yYgTPTqgSB7alqyy6suQFjvJW35ePntplwnDE7gTpj
pATF0lt7MynrdItt0Fj1MJd0SZZm+MObiQlH+dqsvXLdxJgTzAEAG2P6wGBJbcFtJcRQP4wqWN39
pj6XTR3zqSI3totAs5HeuuwT3+eOmmUXYbQaZivB9zgMkwhSDeN64bqOdIRWEcydiKh7qsf74JwC
k1QU6Qf0/GlHJKw/zF2gsOUaeOcOrJSWN5MJ7wJzXTa6uLLaq/0g4VuFbzZatY2xqu8+ypArPKXr
wmaJmaJpwfTeRw0/jlRn+GS2zg4ejsazHZz5bJq9fd/qhpCZHvpfY5JnNzmK6TwU9C6N8qgW2ECQ
8McQ+a+Rao4TwwfJxpveigUCoY2+LVPt3dBQA4rhmLAMnQbkY8VdUwBC61iJFK8gLqXOxYSG5QD+
iN2mzlaqit4WNBym84/cEZKkbWofS5Gg57QtPn6cBDYkG4G91ON6S9U9GJto+Zoo3kh/Iw1L/iw9
OFFKpqsHVDfchkRpkebR6/GWOlE9x8UJ5C9gO7YKI+vzMuk01/EZRx2/4lsRVcoV95BBs2CzW0AK
p/rq2iwHoyBnGQIIz0zgT77VNP67+EnBoL7RxcAGmS7xG0fX0Fva7HKJ1qpgBsMf29bLxl4iCwKR
1lUTUPKR1quAYlugrHTzO/nhGe35YohHEARgt69NOwuCSfQsWhglSgc4OttB0LZiqv4KBJIoz2cJ
Y6Xob0Cz+gTB4pD26AhkZ47rQ46p0Hxdfvd3XzeEpz/2heeHPQZ7eZ5MpuuX1oqq5tE8QAw3PXxv
2qxFb830/sg1BioIF3sNN71Dq7TyDyJtlqCf5oel3fWPPgXvxKRjPHG6Bb+Ur/Qs1gv98spACbVO
ZuuD2X0n8M9aiDeDIAB94pHDvjMmtMff6Aw6G8Zq2Qp9Q3OPoxofLQybG6qGSyteCMjIndew2x+O
pOrJMcmXvLDgHFR8fdoYhGVz+2/GB4nx+/c4SnD7v8wJ839T47T8ua/U/12IT+Z9Utpka7HHs2e3
4NmvcRiMOTyIlHZQ9xX+D1pX527aaQRJzXj48pgWNz+BRqsdb0QA+SBbj+ihF1gLUs0L8Hi5N5hy
zxYfrnKq9zJbC8TH2R54x7E1z6vRTCU42C1MnfF/qRAis4U+nNEGi6kk3+3c4mfSZUrMs5fErkke
rUHXXJs684jNT21bcN/gSiGAgGhM4zoNvyZoRPwI+MGmtiU5wGgNuAtySaKIquIZFBDqVyfDoGCr
5s9wLWIBX9CEUsnoPyV2Sy2ES4i9g1iJ137W7/UVkSQsIfwIKGX2EJuXLIrZSMbz91cpvf9e3uQC
HvO79RdEP7OuRXFKHoXnsXtfFE8sWk6V9aXGUwupiXrASOq97DGmWbMreXWziFDpXBaMfCol0sFA
JPWUQCUPsLtiwHzEwN98RWUeBUeRiETU6aGeXjGpETlHQF3CtCpMLZFKyLMvfxRHaLndw9zMc4Xz
DUMy92u5ke9TwVnhZFlNJ/vC+YrtkUQoLG/6KQYhwwO73aNRcuZrO37VD1M+apVne/dF4MMcTztR
gD4eYPxogSUc2Qwv4/b138fXx9eemUogkl36gUsQmW3wHgIdKCRSByQoape1ZaOd8ulFtPRkFBEQ
vmPTRzCuDkSmZylVG6FqoqqSVREcJI1DN0LdMtVIcUrV2Mb8NHbz6SsosmriuTKxFAcG3cZTeL/G
apX7d9Qw7gcgBVCIlpyZFiDmRhaSjAZ3CovIuTRYog8ljPwPzT3P1daODwtsA8mvfirf2+lSphaa
BjYvbJtO6fC9QWPnRrJt2taKA5hKW/qkJyZvGOYNg9XXuoxPth3c2TGdG3WUeTPjFVsHsyGEuUEI
a8kYM1/LZkE0IJXNl4e9EiqF3PMfIz4kBOw863CDJeeYq+4q0o8Sn/tO0MYjtMrvW1LyXKvpyq6r
5bBQUcCLt+7+m/dN+/FvV9tA0G1Pq96jlQB6ztX64Olr7za3dRv1ZvLZ6HDCle2JmCDYpn06B9+w
bLb2TlUeaSk1DcaBiW1xs6496TXP7Q1YBgGplh5kPawP1JaM2/PGa1YC8C6XDoo4dx0dTDSXJq5A
NJz4OJvztYM5qAD4ZBuRlZfYMNsuT1hkGyh5FauzHXuhGxbuJDeRTvL7Nn18rfqscfm8bb5oTw79
uUl2ISTF8buygy4bzgrz6qjZvg3nyovALWAudawqpjhLKEmagS2wl/Txrkx3rWkvUIuneO9axqAb
QD7n1r+q0AQXHKaB0LIoNk/ze0kZHp4jCBTvfoqUQBlNFFWvwTdADTbxYPFhRBsOany10qOr/yGG
+9W4WFO2m1HiJZtEU5Lx7RhgaIAETnzRiCKPBVFJLfmbbqfhLJMh48+y3SgdPsWmhSOLa0U39qIW
ynzGZ5lLCyWE5UqfrSZopH39fNzpowIlZVm9j9T3y4532g82vf2M7035jRPHI6GnrreLJ3a+atsU
yuBFAaRfC7ZZSV+I6aHxf7BTSn06Y9MNbxtr7fMzYmcScXzA4UOA2bMUgYqlGATnH12GQYZi+HW/
rv1zRIjsOl5KyrfLruiorjP2KV46pihWRevERynuIJJoZIw9viRKp2d78kNlsolS5KRtvRSgCPdm
ocElhwzL3H2Fy7+abkfHX6qRE0NMhccx//6m8XKKe+IpENiX3L/dxJbtS8q8JinA+ZEG5nLdx1MR
9rIKPf4T7w4RBqHyF/pdfHZLcxbafB0fMtLNbw7140ghfVaPTSO34so0K5je0fxdmSDNPjajB4bH
YO03N5N1kevkTJYtPv0UaYnf/PITIw7lJ9i2n8vbyq36GnyybK2v+ssnAKvAFWbJo+VSXqeL61Rl
HQCU2vvdYetGQvQ+V7UtOimFVgqkkJbpZahMTVi5/2opAsJgsdhsOAQMieyHFmr+NswyUlj9UQPX
HQAPf4V75WleNhnKuqB1PK9K0XhldQiMGuMG5vCRfAzyXdVGHIbR0rZzbp9ak66/+2IHv6kdui+e
kanxu532RG5ys53CLATooD8bSOyMFjA7SYYhrHW9gmluIV7htvMb70ZQmhPCrg0FKRhqZ7OMD8ji
7u/BOn4/DCpA6yYf9t9YWewD8wBQBpiBykobnf29/Wxnp5+PuZ4t+ht7oCSuCLhiH9UE5CVGxbNO
mmCieoIN5tF0JY7PxXfgNdeHy52J2UDnUIfkL/HW7tgRZqMdp7pSNeGV7wr689jB4Y4jmW2fkiUd
vqpva3pmO9Tn6eA9AO9ObPIVdFvg091rHPOPztWDL93axxrHrC3VIf+rQ8ueqs73Lc81jhhSr3Up
NOCQjkk44lfDc6HgaLBOtUdRvD5vMk6MUVYCz64ZluanmOh8/4gxqLgP7GndSTer3Yn1bGjln+tQ
xkiue6kl+8/2/EdsTTWcVbNrM8WgAS0kdJEPh+WrbMEzjcLRKgU2q02tuEiB5VAH8Z4dhn7HqUSh
VlEBxvvsR0q4d83AJIz0qURbR1MvpP0wYl03niNedNl+uL8jsM+qta5icATBx+ikbVEMF62Lapi6
81eAyAXKNHZnPQGZg9L+rirKRwwUysy8RTy49k32HYRUPcyGLV77aQFtnA8SxjiPrGUXOyiQbqO/
YdlRiK0/d/V+YvTzyKnQG4munSfTSmJcB3FHprn6m0P9Jc0k5lCnxNzOue5wZalef7URRkWGOOZ9
uogfDJgyBRbOwCgUftcKaNQgohRZfT7NBWy9Di3bfLG76xyq8Vqfqu5cenVvkFZ0X8RAYVkv5S7G
YfHY7Jpv12TeVl9Nj0JFnFuBczsS6fCigcxyi9uWswOk6Gibp28TobSAs4pg+pGbvfvJ6nwSRDO7
6dNAchzrRp0Be/eNmgyTq70ZJrM5ixeDO8x3CfveI6WHwjLRbSKRdTP5OVJHwYd8siTeDU/D7WDR
k6+ja55/zEOu1Rs54lBB7sem2iCG4o6ou6/54IYr0KwQCLcCsios8Uv8EiyQWDdW45Hn9A4CEkXx
p+OnuI/hEtwbEqFKKZmscVO+QPVPt4IdTOj2FI2BHmep8SlohlrlUgyEuaRZtOXRiu9zt3K6/mgt
KgGJm5/msW4keM7ykLLbR7qB2vQqrL4yNAmgZHPgU+mMNWD8sNJf+vj0xQcu046FSFX5NAOM5K4/
YCusk1dl392OVyXd9w5RWcZhXUpQEXrZ2w/SpQ8YciCvZJQp62p89Bo+CN+IcjjriVlD22kgUw4i
VMBsRbCDwkLhiUTka+wCeQZYQIxjAThyEBMAmZtUgtboj2hVnwfb3+4PQCWP3vAexdtJ8SZbU3D9
XzJc5wYi7fIfzWRNvpRn1Vc0y/8O1O90brb4M95aFIbYUG6qqHYiHZEGDTP8Uqbric2Tn+mFA4Eu
1rvg2BzNOIvc28uHAaEqoizQLKpoD9bXMezWINQN1pyX/mPwHD8G62LXqL6I4gauCJ2vQvvE3i/a
TzSDKXXIU7OHKkWPOETJH/U4zKgc+J3D7s8G1wiaCN43lu758LmZmXDh5QuHeTm1OABlx2LoXugK
FaurGhD5cTvg8mrXUTqQTKo78uGgisIsz9l01AI1kLmXnUeg2LkzeZrzxq3grlHidGzm+rQsD63t
YDhPGSvOknpGLA3mhOFafxDxAsmK48XPQyv4LkwP/5gR+XTsA4JIkg+gEi9cCrO5f/tiggPdrImd
s64OEaesiBAzmOmuq6GNMD4jNeA/YdYSySEvZuu4v5wzGeTcG7TDhOzETDj8o4jU7w+OJJXYj8bz
MvQXbTSAOn+YXhYD88pZDA809J78hLqTarTyaBocdpwsmgpcP96U9f/GJai+hWdjXf3zEVIbL7VF
SDDbwq627Afeh4eYdjIMlBH7nA7pfmy+6T37iLDm5Lpa3yHVO4M83DEmBpiWkO86Z34SVYchJOSF
37b5WtP1hM7e+J96jt09PtSqlO54JHip53a1a2MqyK44DAJFFEjiDhr42aSM80kzEgRiF+awdzVS
iR+wypZXfPHkMn/UxoQBqe6iNx0r0rRUm1bQ17KWtNi2s6AdE4+a24xPNB6Eot+i6CKUoKYjnoFg
PqteXtPhBilFqN9hhWGPUF4FqcjfvQmqykSZt5gC81g9/NicvEAQmAXX9UsvXbniCeY78W712rEN
K3xbpAd908gb9dikFhyMqLDLqzpebeXWPeWJFKYjACnUUAw2RGhf2OMY5+EGSuevsHKRcBgx6PAR
EHGw9v0o/lVoZtyZs4P0VQyjnZUvG5hMLJ6aq+m6RhDTtBnFXItTbgz+cNIvgtlDhLpiWf2oZduH
4a5l2BL5lQoE2upe8/blMrlnMEuzXZFFGdaTxMGNzbooKwxIc6ZYq9ZmGKu5gEmK+8hvpI2/Dm4M
Gw4Za/Wgy20cS5tuRBezY34Bk29tO8dvchlXmMFDcNU+TGkwms9St9Y/IMwKY/qNlQNleaaaR23B
Cj+QjOrqP5fVC1jSc/uoZxs40ag9QDU+ZjYQ5UNtahtF+CP5BPvsftz/XQERdd+wLJuYSk0VPgt9
HLR22FOPIZAHPBF362KGaLtgdMEAU0SggRC/qVgwKMXVOmCQwUfLu3eQzAyB+7bdJMyx/m4r6xXx
cCxlcZgy7IvJ0c2K4JbD+OPU7GTaaXAOhwldje8vNMq4ECGc1s1xVjg0d+NLKp/qIJr0Yn3FeYHp
Yi1STBsel9OfqcIgw03s1rOObCmIGACjFJs+2WKNgXl1JRUoREFa4GBYtNhi0YGogktq2UA/3IRe
Ui2U7QcVZ4yJlahevfkU6Bt88oC7sqWclwEtnZRDaS0FvLhtTA/l1fNvNZ1MNTeYT+Gfe8bL4pVr
uACVyeCQ35ZsVB9B/5Zbn4rj+kne55NcTGhduHvvyukT6rOpBR01DjgXuUa0j8SC1RUNe777ETYR
fXOXhnCQBWzBWkZhAQQ6W2Jb2NvgwR0h2WtTbJuJ+ODc2LBDCovGpBRrmz/kyTEnpHSeAqFfQ7Z9
DvdIOy3YE1+dKEPRZ+ZjApjbdKeB67VH9T1Wg9I5Y3fngFWGWV+rBtudnQth1NwxGig4ViVLHIqK
CEFqiSYHrGsBqdH5IVshU0Ym8rnUOZ7M5vTUvDUvkjmXA0j8/FpVXQb3/DYREsJTTJ893SJuOElt
GeVDbQ+wo5TllIi88BmtPyxm4w3PDquMwEdmiRxCumIhgfKo6BiEmkjxF6J2VWSSFu58aZrpvnnR
jCIfBv0jbILfMV3k65yP8nJJjMVCQP3iv0csVdTYJgkHOIjf8LvP5hCeSb8s320/Cr+kYV0Wu5rt
oku5Gf4ZoUT6rrkuyLSaEixYIeAr2jfuo8vcRtpeZ8nM1Bgud7T8RjZb5eaf5+GPijBqK0196tVf
3clnwubVYRLX4acMo0OrVcEruNg8rKjZRryxJ2pD1hR42sDI5rttFmtc27Ryw9LkpOUbI+fTio53
7MWmjzn2bsW6gQKVx1dg56/OKj2yY9nxnIcW4t8mHOcnGSP2/1aHtTNIAYGKzpad4OhQJJgm+HBZ
IN1QF+R7hHXUcECk3LzkjKC+hK09Z6HZfPcJc5Q32QYJ41xd+Pz1mZiezWEkQVNpZDN8lCUQB3+I
necFkcqjZkrKQNC+xGOuNo3kB3o9+yed8VCTmOAouvtxjW10XVutBgZsvGpyElvYuXkmkmKPLi8v
5FjIlo7V9oSplp1CLXRUBLLRMOFhZBDW4899YImXLl3cKAexFdnGfqNOyd/N7tQzjG3/Om5zSE/S
uZgAKy2Gd99PrS0JwlnZcBbFyidvKChCsyXOz/6ujHHIzLfV2zAoQkNdOIH2ydb+JQ+g8MZcPDbs
Jypv4gnTOl42zr1cvA+cr7+R/lY1g6MgHY51pPxIPnf1EMEs5/xB3sXX+iO3nd7rqVmiLzmqkqge
p/hRLJRiTtXC2SR4PtEL/K5fuaMLyxRuUT4L1s5Uk62rI0rB2E4g7NtIr9MJwnh51Ui2Hp1X51gP
ZEVzTwlZSRkJRQTH34FzwKm6qllwg0zgqU0spxObmVayZ+Ra3vFLSzY/OsleZnb9On7hdykcGUpX
Yrzi4/ZhWDtyaxzPC4W79cz/pqp3qnM7NQ84fsb/Xt8JOfdyvg8mkp3ns5gN8fE5fLBGtpjoXFAQ
t/Vo99lNgAMZV9RtrPU9szupwp/pYnT8eHCni/SQdDWLcjHzUR/q1c40ENfeCjZ0wkxBDu+y9O6h
K3oaksXJLNuLelLqXpJD37nismuVwuOjWkJbwON2/JQlp1eyVJ4Aucw3GCUw49bT1acEPLdiwTEN
jIJxXf3o8FWLdl10/niucX8/P9vmm6nCecohVgLr5imLvBSPFT+ShcOyyuQq9pmtP06lPR8TxRB2
FVrF8punTfzXeBKlFaDcfdn7sq2I0jmLNqca+83QGzscyxuy893nFl9mw4QuDgRTz5uRAH2wm1pn
nnHRnm9mulThgJjCD7xqfMz13N11oKMXMPT28492tBurerXCM78WLTu/zx8j5MP6A6lP9OTdYXY8
FuXBIxM1Fp+g+WfvQS4zTXXWSJGfq1jpbJpDt71rxhPVx62QiJVUbbtx+pJPyDOz5LfFxL/EE1k0
BSEnbqRnY16ED9mMGds884/guAbV98sr8JJZMy+OTO5MSsZYj10SqnqiwsMpUsg8iidedo9S5s6U
VHn/zEe+nixTM53zufiM5e+C3z3D6MBzVNBW8NXICAl0LuJmcuKzC7ASm16nGSzaTuI7sTYPEd/G
iPrZW+ReTfdmU1nPQoJH31i01uQE58XriUG6JTrOdcgMUp2OoLlidJrtpVvJ4qrhM0qsXmyLl256
w0G3mb6rQJYquIxE5dpil+MHShKcJmNGektfi+TaB0f5sb4lmQxsKVy8652pSDuZsBkdEcJoRV71
5J0Q49BbGuG/i+cZ1ti2c/s59GSEquumqM/V7fcd9+bE5An/0aBfHTTnQbqF4IPPAQMrexVeUESu
xRwF7hWsaG9HR22LPllpkyzG8Eom0qfLaEmr3vvczI5eaCLZoI7FaUnNF8c66pRCBxcGZIxhlB7d
PtoXoaGKmlu6DjOfUM8yG12MErFa+jQ4nrscgRPs2V94b21/mHi336lfBqpv7ojngcpvP3hta9dL
9YhMnK5g8Dxuysfzb/JaW8nGk7ARSEBHIe7NLDbGnttyg/QlpbpTBRmLoP/+biM1p+PmfyTd11Iq
SxQG4CeiSjLcwjBkkCCiN5TKBkWRICrw9OdbnvKEvRUn9PR0r/CHU09Xjxie7PHz5vYmN81Zdte/
d36QKTRAdcpincrd5kSgV8zsLmSVhZBn+okm4DE9FZab39ektMXm9h2f8I+GLKg1L6xs8zXT2SyG
BKJ+Dy83wLyn3KyotlwmByXdUmCSz3gEi+I8t7iFXcnqw3tDf+7Wp/F50XEcHzq7AXAwoaiFRUB8
UExAcv8l+Kf7vj+28oRJHFEJTT0Ie/BMoUDcTV21OMwPxUMNW6sVqP71/HHHcVp7cHgMQTc9fxuZ
58WQBRGgGX5LQQGzuM3Wtn5gr4L2+FfjtZ8fZkIKjWpFrVR7GffnoTGR134s2fnBRhxHlPWMR1TX
NRYvv2CczJVh/JoOxbftLdfs8uiaU9tQXpz/cj1Ul1jUz1xCdWS+ZgA6CEbF4fkF5qU00n8Q/L1o
gK9bP5NiS2N2118kxUEl2TcuL7UQTju1mNb11xaffaM4egpiO8aH9mnjG3bQCpcn7Pl1h8z7r+TN
0oB47+7WRBgPo3ymfukbysI58drcvLcPQAXAdt/1m/0gvxhu8Ubg5172m7uoKq+fZCXYUls00/kP
QQTISBo+sDbcjnIoNt9YCuEU7CqFEbgOYr/4m9G5J6iOMnduXJJJIsshLak+PPMEdMqjOyZQEsHc
qKqoDrS0Wppktp+GU7YziYXxvUG1s7YZPr62H0+0lyBIRpZP2YKEVq/L7/JGEz6sn074c0AJoa8f
zKnpIoFc1lUleHvHf5X9GhmrCTuhKBDKBpM87bU3VWI1qjWF9rUybFGtejFa9KM5YIWon++nVKbR
2xbjDlVYohAc7btLtcpN8+kIGKTU20KDphejF9r7GL0LVj/aUYwjjGsLEnS5Q6jVpDmMpvy68dOd
htuys2iMIxRV+jogZpwiqfiIzA9gKBrl2+Q9+WygygEtqA/l0Jf/CmowXeX5SQmIzREi0naWBbR6
68DRfDVhxQ0JWSEaYZ93Apim5hGVQxXVFwr1EDEqZmQs6REAuAQnWBanrJPOQvlJXC+NNwbKKSe1
I7UkcBDaeo7fpbCbXu5KJLMWof6Wi/iavEaRS9bj1c6j04sZhpV6aL9V78tgVIX5TxrNNhW/Oy5r
v6x2znpbVLzztxUb+D1LYwXNmvutfiMOquCaNvR9uhcQC2IE5A6rICKX0U2BbvUvyExOz2DTztWf
jyrBgYDSjle5LifXl7MUDSK9Zn0ioWTzV2dT6hdQykO37MpVpz5lYOVJZpLN9dQg2AZ4iHwgdLbq
XWzNOhhrwGhleTFz5TC6RvKuTTpHn1KMYqClmpTrKOaxFg86jZI/xna5sRBKKby3ij2yWzKFt9oZ
AqQ62G8e3y7Dsu2Vwd/XOBtVIibSpQQ0grbWxBrhsRcP7ROxytU3VAgtGAY0m1Zuu9Q8OaTcsu9f
OVa+sHnZkUx/ezy9s+H6d+MGwA5ghDXpGReyx31rS6A+XwTlGoGytrwKDLvDD/awqR6jdfCmXD/q
5WWTCpqBIHC1eGvlPmgTUWjzHNJXyplSfJl48/Ry8xgksbdBcbifV1s0GlqxQTwfk+ikHXTJO/rJ
L9fJVeJFQnb+Bj+00Qhd31MnY3SoTv9okYXGOH3ULc1Ek1XjfcQajPvfvRkoJjsjjpWfUubq8aEp
YIrMMxDuFlOdNmZ+ap2mEIzbbQ6d9mc3+izRX0yP6+T8oKBOoem7dV1eEPkYHXt02I3KOo6YG2yD
ZyZeYDz986IE1z5Tu+eMJX8J7tu+ebpjQcnD+HmLCZdrabf+HfNtqz53KvXc1mLbuvkafH8v3xD0
vtuLfPP6mW7eutdJFQ01qzdiCivvTuTAMO2f9a6/UUyDkMphRdEEfbDb3IyzQ8PD/4ZJyPNb/jFr
fokL0/Ot2X1uuI8rLQnmpt5LKkSd98n1H+Vg+lskBzjKMAg70NP56p42CDzhjXO4z3TZag+++YGp
RTdflWHlcPtGFuBE72FctQQp+LdLBCk0d+0A7g53BYXOEFkgXz5fcoMjfFF2uH8poJsWxnLqoQ9o
Vu8aBe8aaI2SRt8oQrU0ySYFybaMi9g7vsBRAhIAcaJ4zHQLD6ui59oEGVhWGe7e7uEXXdPzuTW0
JYbe7m51TdUvqng+iqd0Zawvu/4VA4NRUrvYKDdyFBAAzFrigW6onmy0imtvd2Wb/n2GR5ZVA4Zf
+2J8AK1qnUd/+sc/aotTdJ7lRTrH/u923/hGjxLPn7CjHo60QRGgcrc3tvlGZlZKiIQTA3/7Rw9w
5HxoKscmwPxxUu3q86yKkz8dL83edb80ndrmQyCdG+FI0LavTbUNVlEhtSnbVU/3Fbw5gsh9Ql+p
0FLXgK6S1sB3/W8lVbj9I4Bc4Zgk1NWu+ht5LgnwLNrci05Fh0Z1ZrmjDWvyWD6mx+knwMYbMetH
cQBAnYneUXTkFynh5hWN7/jekpWvVFxzXCNUCmcftxWWjVLuqa2H4F6r+KCkHuU5hQA9BbcRgFyF
sGilqHyHBWBOFWh9r/k2YolxVL7w/Ct3i358d9d4m63VpnvPAeit1sePtpPAM771M4MhLr/MdJHk
bhdKDNWxSAQz6lyu5ceFaUh4UaE+j25MaMUxiZ7ZcUhuJoW2fNkm+s/skNEjnjVz/xYEu4NsZHN/
72QG+JG6WMnPct3FYshTSNaRMeKLdrn+j5x83YPdNc+k4j7S3/FXs9wCobuL7sKnfVX9koiGp8dW
7XfFDkFDYtEu3GbUS6U0QGmuNyOZvSa/sp2/+iIdpaGNbVbE2wz6PmBqh3fhWGVt8Jk86yUS6X3v
3EDlK3sj8U1zM1ObYNpXk5HbL4TSWn01HDp0aMG5aK/RjHWBOTaIfnS/Hn3/i7qnvG1ErtaLcHqW
bMpBHvZd4/P91dmvvl9y0wtDB/q2Is7mF7/a9Pf2tKnnpvlBFven+zHJ6dPc596bcrvT5IPh0a6/
IRKSa5+WiElwtqg6MiiF3psZ8g3QI7WS4/SDgKaUiATYdHP7Do3LIy/y59dElPk5vX61YBEkK+X5
/tT4nH5eaQDYytZj0AWZbi5MOk9ixGFJafSmnV03lfNfpznyeoa/Q/wVN7u07q/JkqwDVl8ZQbqX
seZVAyHp7SSHlZUkP/w89MX6zOJUI7+vUdBSVH5Z/Ms/lHhB189sXWmsgx3Axm2fdk/l4WkuhHmd
4grsVkJ2Wcu+p4ReALqcRfyYLB4rb+0dFjr13JeQElTMUu+FDCRSNYJyEL2itmO59dWOsy8AxO/v
HVDr/BCcUbtC2y62jLCMa2TXyYk+bfso0ZgBKgrRO2yGI6TAHm8DzQujTsdWtnxnG5enLMrw3ZXH
tci9xI4wUgvoR05wLlD/dLs6v1xPTd9yA+EWij5eJdPh2nYWWPezbpD+3K3KsHsK1dYC7AfXMTeK
H3gIhA51YwTUx5QvXenOHmdL/RtN+rcfViYnqV32Ly7kmEl55R1lS5f2hsiNe3kRVDi+jXi9aORo
a0FL3RV3fQFbOd9YVBsfuymLvCMDu9yj+O19lZ/kzkL9Qn/xVJyIvn7p2P4k1XwcdHdp+YNDXteJ
PU1YIqxzAd+bVvk9dWNQ1z+npodRnpQPCaVtTpZ+4tG7qtIhrRS6bkC51q/ml8UTwc7Sox2Q0O3l
s7OoSjPYryfiRfEB+6/9S+rD79/p7/EvhlE7rI53l2Rz4s8XXZUfCo2b0BbfgfMFSQDg+Lob7bnV
8V5HqHutqRg7WKbY20IiCG8O6Q5gElrtfFvKNw/VJDuh+W3NXcj8k3d1HwbZxKmYLXaqx0YFviDb
E2Cd3sD8lL2+rYHFToHi2afo9my/rbJqbbzyLyt2iqf+xbtaOZIFHX8qlTQ/5u8qNevvdJEP/8Fi
qVGurHjwtUmPRXgwINJr7ycbHwFy09oNVD7b6X7SCNwlWufZ9uwIaiiP/QYeLyrUZsLRpGlRHSyz
D6E6E7BLRfLG7CB01pjS8L/aN/IiJ9jGfPtmrDy/E0XAl+mH0gH0k8tYX3QcLXhh+KsASyTWmoVU
fegGv9e6M3ifuLqSg5UlbIt6hgCpLC5wdfrslyaszWMA0Hfq3iWPqFFuL4EnqGWAO0BlCIrK0yyr
ux0JO2edkkInDEAqEKgyzMNESWJ7N4xejbXgQpz5OS4F59rpAjieN8EjvN+7EFr1XQZD6xqmRWDV
MoQTzg+RBiiwx9UtlYlvD8L18rSY6IbmaQYCIbnVnRHeqc7/PKhzD0XzwtQu67uKgeac2ciNixB3
MlwnjEt0aRH3OFhJdVxq0VcwiXJ/GPlVe5SHSg1QuUXA6cYhI0tf9r02+w5jyHgeMZpxRrPIkP5l
K/XZ9q8hZIh8JL5QOpw865lEoyjS0fiu7ZvaikYi1J5R0MZyd68kRwRwfIhLjYRTe3dBAqji4fvu
76txKQzKySiGTl0o7rVVGMS9xZQIDAwUcDOTxgSK7xZCDC03Nu6qOSn1Gvhha1hjUV9+tUa/LWG7
LxJEcXKgdSNKxskZDq1lXFKm63mNiRcYqQNhLfIOIDJrndX4zZE0IK52yTO0ttzUl3Gw1ztThwmh
ETw0ZvFErw/xa0tslRYQIzqFyf7wKrfd3r/f+/NtYRy/CIxDoSHOEUh9vvS1E4ikI8Tvl/xS3Gg2
tDJkxn8zFtacaLKpOjOcJsfuXiiMH9cmbryvLavtEd+v+mjEF9ObV2yPKFcbaxe6a8wE156FYYTV
KS7jcp1qx1WMspHRHXnJSoPIPeNHMWbSqvpvbTVagrqaGdm2IQtEwqK+8m4ZftIxGsxmQWmseoBE
kcwc9JjELCj66PK3NWIw1J0tQx05HqCvSdxK3J2G0t/1zIu17kHtfQrp0s71C/0bLg4wEJ0D8AUI
6440ys1YN1+nKaYpHzA+cwE819NsZtv9UOw3TUfLequebZC/Wj5N7pggtnRXk9z9pdYajShkaHHX
Zh7aaplk4ZKf9Nr73dUImi1qacvIh18bdyoi9QH/6qdOZ9ICBlgDiQEBgrQQl6i3Wl01svm2JtH2
Za6NWvW7J+tdcm08tToMmdGTHEivkA4eM3hv8NEe+1tX4JgttfH5PdUsCvSHR5MJ2XDHXn00vYCL
hoHO12atgXtoDO46k5Xf98+K2QJsR6YX12naeH+Pycyi6aVLtlaRm2a362YnHlZrFPSO+CCYiY96
GkWj7hWvz2MASgRCk5moK53rE65butPUTbgJacDiaCb0r2pLY+L9GykvAApIzmZLI15TPol5mK/N
vV2zG0iEn7Q7p7xAzy0UZDx77PPhVsHMVfX9tTtP+nS4L262Ad4lNVJ+CDyjRx7FCf+TUuCFuZpo
vnw35uekP+/3g3sLtgDNFdCjefcn6c4ffxv9+JCP/NF94bk15/l+gnj1H6v3z9A1ze9TLBvLZeuu
ldAlPCXeJ6dP+rx1an31FEbYenNx8j6hvKGrigEsS8jfa9g+rjtACP2+BzXvupLH/vR/GvNjXz2l
H8XTeaU5f3S0ftejmixH3SvBE8ASTzZNHvvD4Wvdz2AVkyTtJ7N+Ok01vo1enHf++NjvxxD4fBRx
WXJaFnd/r8JHfTL6pQs3F3zXvZFd7/38oq29rakMGay4VN9ykSYTCmX80ZhBHafd/qz/WktGPvuj
Qd4dzRKPDCQ4fif5u95QLt/VYIK6LmBeTpLhcJiaFOXazMmWztyd9ZPHYQrXlNqlYq9McHP68TRz
dQ927tPz7gxWzmYca4YX3cq66VvGlQjrOyZxCk/UwQN3rWYxjdmKGqYtawdrlcZyNBP/s/51z794
vCFy572zZfK1/FWcKic/vw6KNKPseV3ONj+BBrQU2HRS64/vx4ajug3htQ9Fnjg/HbTB6s0BNKxo
sK0JlMXhqklIPTMsSODVHPMvxmgc05uB9S8INHhPmueD2HyEGSzLM70lLXmEHzyG0HSj4fb3EhGY
G7w9izgq+NUWcW9h4/Xuq4vzyQIEngCDpEDe3MA0vy0ly8Pz/yvwLkSYQ57bfVIDi12EB4lMqFXx
5Mhu5R9ir8yG7zxd49AwwSxtZicKaMns0yPPwZoF4l8mBaGYRUj52wPFRKc03kXx1nOREsaHNvXU
HXA8VptvLWNcKFv0Zx5eTJJCcxtrwfn2Zjxb/o2vNfTk1ltLsYbiiIsRKNoq4pbpYhpmT8zRumtV
8Gw8m/hZvv2pOGvLzrcFGvF4i7fxgfLD5933vWe5Me75DS2jt0k4j8LVWz7Xw0+eqe6++Xq39rNf
hf1YVH+NXJjZOPfAUfo8KxFqTI9uVdXIqjOib9UqTjJkaiixdy7NUNncCRq5cSlFwEKqFoc5QbwP
ME56HIEjDsV29WRY2cIovqfNY7ROFiuyQMrlZf+GihNMNgwFketa5dHqFsjR8Et/xVuJj8Z/Y89S
RzZCAjNBHkHWeomCBKFQfxfxJ0LVvxABsxFfMoNJd/NMJdV87pbRUX9rmYe3ZHUDet/d6vp2N1i9
++aWqnhn07loNezvaNbu7y7QlYx0Osdm6Ozbd6DLNyTbYy6PBI9tNSzz1fBS7Mv0FOrO/G12LXXL
2IxAXsfRluHSahme7ro+8Lmx/+wgj0ZfLap9sLMaMg8RSkY848rUpDUz+HpcnHL10fHMVqPYN2zs
EdzlHm8GXx2Imh4iuMJuJ6MPYXRT2KTQ90rWikL7XiByDNubz9keQjEfhIlQnzGEl4gtaJYfbldq
b9Ib67RP7ZPrRMBlift8cdExou/hsgxRMj20sg9Fdb6CqJqtyTNxFm+2txrK8NsGFZebeeCybRrl
WscmVyq4RR4mLj/WAd8fKeuZYOGiwFoCNB+gTosPOsSU/LRLc/2AjEyO/deOg3RDOHi4sRuvfu8x
oPo4KF1vQds40BYHMM5OZhCpsYVm6E7nmgHMp5duEl4J5f6GEHKnGOEJnHEKnt+Mbffd+xUT6Do8
pZn0mBJiGpO6U14OkEyu2BF8WPBCud0WH+/DKB6Ttev2Ih4YFf9ektbqppth1x1L2o2tyiyILEo4
a8VbJ4Lqr+ey90XHZ9M8xIVb/4jrI3bpcFvJlpF62MLr8errRlgCIxCUSscO0Z8T4ETlZIMR8yfi
zVgiZ9ay2pKesENC/jlDDD1D8y5BRpEGRwXRa8ylpeECWo+ZtoyIMlacCM5if4hZxhzDekiQsCVe
JdRGcLF9uI8rrozp7sYf4rBfz1TcAsb6p/ATx5NJLTPT4kN16af3Pupo91bO8oO46oEs5z92y8Dl
Kt6foUINDuyd4expvlixXN/fhvN38Hv3DU8bMrvi1mxRhB+JRXhFbO8F8f14M7zI+ABWLChu70Ur
JpmpAsb9norGJJuW/6K9xDpJoNM2EGuXNT4WT48wWZuB1AlcJmXozMMekMF+ZIkLRr6ris/9H5FH
DmS2t/3N/F4QSa6My1aQyjjYtdRikouHHl+UeANKftM1yQMW6rJMBj+5fa+gcVIy9a033IGPEYDa
6AaL5Gv40zz52g5DII/KEkPwUFXdJvWVN94dZZLqQwzel7YcIxLjF8TijD/HoQ1pbeW29Qe1K4dv
iY5o6gL+vSWFVqfxoPjWuGfpOt2F9/JXj4NfWu7cJBVqo/ompAf2TcJHws3Wk1iacwgj5J/GqfEF
PPGVfqXX5iHJN8PW+2NQJkf1Oqj6b76j9izSjkG15greYu0l5OuCiVKCpIeK6QY9eY1ViP2qRWkJ
7W6HFEgbYRxAVSR14W+mP6pyQ9CO5/jR+Gn+qrt0QPNlECpYsbBTE9AptOqrmHmiy3AIWfz9BBNd
bKWdbseLtzfjJaE59X3/ahrQaEBqeFpz+YhQn/hyv3ybmW704Q6QsxQuuQmUGl9/Y2ofkwPZEzeK
8NrL226ItFkEyr13mbTYhDrBsbEBd7vUfl7KExU5NbBpBd9GLkCsUltnX79RvwlQ+ulBNrGUputt
Rr07N8705DQiRQFmVXAXTWehabUm6mYB0Jn7WdzBV+Sh+AotFO66HPijPtqpOThFbGBrCK24rKDZ
+VFERbE9fBjlFXZfPA7fiMUk0o/MFI/0O62+NfO33n4PSFr217eMP89mAWavCzVcFfQgZWilL8FH
eSJY+dHGshKJhSK1jVAuk3ZHxRqE5HdDiKuoF5tMbDHRI+MD0KCp0UPX7dpDvhqz7shEfGj2cEr+
FzNALe1TQx4tZ92vhuc0ExJHdeJ8iybSlfZGeUDUCHzQzEW4EgtS7KiZaWHQFSCohrAE0jsHieRE
Awfa72dqaXtda0/H2/q4PZ6K36Fb+4BAEo1Y3GYndywJisTZe+wcbsOioMYERBxB22fvJNlIHx/F
zY/Slvm8qyAzi+Qxco9S/wSvGRF+LOEW09XkEiNeXypbuAnJlpTVrunzP0nymA7XNRezYzrQHqa0
DUNFaThsPz7O51ZJOVR/7y+AeTASu3q7DVpoxtWeleRVLHjQcLXNJvhm9fR5OoX66LZ55AGLcvCI
+QJwjYpWk4hJplyuXVzQH8gH0PiUCzHopyOm7fZPbcyQ8VGC9qjPRZEKR+Sm4yCPz8MpKGVjqhWW
irTmBaj/PohWKt2AtvZ4KUmA22F2u7zn4XNcY7g+6IM80kyRfCX2wdi+R3Yk9YPV6LWpcx4MNiFI
2/XgfjdFxfKtdGZWRP819L9jtkVUGA8nvrrdpNx5qk8myTLKdnIi8XW4kQHBYxct9On20BA7XZZ+
PEW/4hHGByVeZqyMVhIWwrURVUay+peSPhqUPc0IRo01WVcQrA61ofEKfamtAYl8dFdzgZ4b1PPj
V63NR7udPM776XD4+HhTl0j5WbyvLgGW2a3n4L8RResF+lfoK0G704ydwrA1ikRp0+fTtJg+voH/
xelYVTvJMQbjG/L6CG98qMnRMlARBMko8/7N0EjbozJIvsJGUwmLJHWx6EWUBoFCCBrPgaO5Hd9L
GIoQ5lHUwUQNNsKST/bR+8vJ338iVYntLZaFcJyx5z38X7eLhCzy2IiHVXq8BKcXK4K1M8us8jIO
xmQIv0qOpsq+cRV2dtWzb8sQrf5ByIfEHrkYs8SUeJTGZZ/xJkdFDD85woigKGBOWowdjsNbpEBx
AgtbJ76ihKV2mncd52GUu6J2F3u6JtNYEJFsb0QZUfZ7xekfxfXHWxex72czAkZllpH0zB6w+RcX
F5FQnDgKycqwQhHhxF/uahmJE0SKJBi6FfHE2vjbWgmtY8AirZWeio2ClVKpm55WWvXeKGTHYhxg
kP8XZTXflhggnCAw9uJ0o+VoFRf2/1cU+CqD8l96JTiJs1R5C3y6n9irpHjB+43c2B5wIzOK2Otv
JTah/4+/rMxRrxSpjiOgVypnaVAuegC4a0KtRPgo5iTg0V6q+ZQt9ethtX0wXLfhduKxQAn9/9yd
b3tf7WHtqU8rjrsPPYxLcz8/imzdGFbG894S1Hvl/f4X+hm04sP/ceOXoOReIXW4uZMzSz/Wwlnf
LDOYrYyjClpeYnH/P+y6JqPP+VXhTOUKYzay87/JY99Y/x0yQyqQhExbgU5Nl06+4Onh//g0ltHs
w+4+Yk1qQw/I7MK2KGkbAm63Nuyq9nM75nFMwlHEn57nnbw8r451H2mR6FYlVbSHh6yTsZ+fb2d4
5m7QfI5q+Q+7qcjC4oVZsgp9XjRW36xDqhKughg3gviIo3iC8WGcQJLdraQdYsq9EkXm9lcMHZmM
lFgIlowcp/5XM9FaeH+2LVd7HJygJF43M/nBbZUuw+XPirYKEhHvTgvLMirIrYL8PhoDsY/HzPTV
5BaGoftPMPm3d4vnZDler93f7OIgW58BDjo8M7kyxJcoUDgtN48g1VNf176fBb+mdvKXSkUK1dlL
uDYj/1cnFWEJtaWK8QORajv21A092f/nboZ4onxBBV/YFG/b6EsKUH74ba1pBTnswpSLsG4zguuH
wXCHbfL447gKRVWKznouX8+xTy9XK7mRsSNPkgRpK0wd7ZuOovfImUYUJjxsFbosYVxN2N6uGaHE
LIv1Jd7cIHjGI/FFOyfZRMIgI2fAy3XiL++eHPuy9PhNK6BykkdmuqaX581745d2aS7N7ci6pD/Y
f+/d3Fv6oypUbH4yif5tH3f1DQtWUlIX/JNm9r1R2bVOBXBVqtIucZitA+dXMz3mtugi6aF9J/WS
CbUmVDDFq19J0QxAAX54ezg/7cf7a+17QlT/lj1879goDTez/ewmzTSrzffe02pynH08FSY/q0ua
6ZebxFIGWdFxvp4ZFdDVVjdptpjSLuwAK3cu8zf7Yzvb4da+IfIGSdrj3F2o1n4LjYXW7upAfmFS
faQx1V23F5My37Nr83UmnG49XJskajOjYmfTuNSe4pfb74yl69en3UMFLlhZs9osNy+J/mN6rB+G
QJutNcRms1qGTfmpX9Kb9Kv9McvNr3TpRj/bJEslZ17uZEafqNykUACaB9+L2ufghCDw2To1vtFl
e7+9715mFFDB9BsN46ee45ce5rTF5qlxonLb+2qvb5ndg7jm0kuCzd+O/CPXPcKY3wOKAwTXODjq
5mJR7CFSOvtWZfiV7huFyRvClveZs+22d20Uaof5IeHs3qkMN0+/6bnxm35FalP8TT7ChSUppbn0
0OOKu9wlo8UoW43QVGZ10zs+RSQqsOzBpUAZtoGSX4kkbqYKzwGg/PWV6chbOmCV0GT3IFM14IHz
i7m/3NfFsvn6NiHLLpUNwawI7qk3k+2ioQbqd4bpUAungeLd6VEGGBQ6ZdpGPSgbLfp4ZxsfreJT
rrdpvXYvnJpi9foAUv3buSZF63isZnqek1cQ1e/W550XgdHpd3e1V1oO2CHjUouEqojXLIqHCGYc
o1CqoJyiwI3FKdSLddPeVkEQIjrDz3yO7qte5TBVtMBAyy/6Ve5D5MU7C7orX7XPCsY8bfIzsify
Wch3dwqPETQvvaGqrpdxhiic2EywRSTXMGwls3uAyU3/4249DDbUpsFQpnGD6kQ/npwIVaObC8WW
63w9KBP0omjZeZ0Wmntkbbpy0uBNp9Ddzn6s9LJ5aVtnl+rTpwjRE/Y9kVanVq8wjIht0ygoYe2U
eMowMyXkAWacoT324dQEbBSGYp0S5QiWI9P6pOVyUQZFzGzmeJGeoPJc1LFdQIyseFQ0zk3IG//m
kvf5K+xIN9f6aVZapbTaJMpY3/mhXJmFk2Jguh8dhoXuYRjQYkDjUayLK9FX9F/EOuGvY4W1zMs3
WjyM3eNVpfhD+AcsqfZUaVTG/2ur3audqmotnq3i14cjzChURgwQ9t94zdcpiJDIVYBuYlWoOU92
lu2f8cBFtmEzSqBRtBLa7ywrpx/TBQ0DWmOV5ho+iw/Q4MoYAtSdZlmoCtlXOltGph+PuZbKQ/9j
FPUqM26Qv51F0xaqUPXvNC9PoExoIk2pIvYAQkKcc0ZkkwhQx5+1J24hGtJ4iNjQ7SKfW9cnE7SV
vqut0+EKXjgaDX1Bb0Jv55Eo4zqYl8I85g13o18SL08UILag09vuBcSJXp/Kf6jaXdNwuvL+clzB
kODuBfmb/PYCjpyrWQrm+/d2vvHz76NQO92xRn64MBDonOoVpoRcE4q3eHsUSCY5Fet3NbsLkmmh
LqEj8f+aOEaFcwf5g87lfq3xDq0Ivq92Cm/+DWYEFB1xrIaIxs8FMB8/Uuv/F9uW0I/i7eV/OmG2
l7ln1LrUqAmo3oHcpF7YkAnaHnifvddcE/M4JcJJsuSZBCGgB2VvYurVRqW3bm9mvXMNLG8ctPTc
Ayz1x3A3KvbeMNx/Z6Wn/eSAAVHLYgap5T5UEgnHGyIRwgdw9qneoXR/myHHFg6ZILdpO9/d1q37
A3Kpo6tqgJ5KErQuoLdzu/wju6dVDRgYqKr4r4qGdfxaP4zj+YaBb/O7T1mHSNPw+GegB+bUO5LM
L8lLv/v3DKhqz4yI19fa5uFEA8LhduPKqhj6H+80F/HISSW5qXq17tLu4M16TvaMStZ4HbQpk6oa
TcluWTWtQ6fkh270DXwgdPgQ/eNjelRC+qKUUrKPcbFU3k/PXlmXe2rHH8rzVxTEEE45cB7fW8YA
QgGht/NzZwytOfm8pQgxLT5b1XL1zEuukWfyUWov0n9nvtu3cHBQD/7NicFFP+F6cEzBn6zclNmI
OnbfngP2+osVG9b0r7TRH50+BOzgzpunXmhVvdfbcwwFOkGYASn21iuLRWosemHsia3ThfGlE/bS
DN3a5ITmtAsaJM7apdH54f2+OlWkfK00t0/5lzxB91M7M+8D6NR2Z3A7oyeh5UCHsQbyW/pO+SbK
J14Fr4Jb2MhgwsiAZFMvwfv8aGfnp8iTiKHdjJBHK9xAou9bgvXc9069EC+M1nB8ECI5eSRwRaNX
pTykTHThda8/2rMVwHYt0/y6ZQ1nOV3fgoKNsAQvynj2zPZ2WNEcEXrwAlpzuS2A06tT3q4n4k2b
koXCSoMbr+72I5XvCwLvPh5/Q4eOv0S5ve1CTI2UOW8Py0L3/aW6KswL6aCSfir9LSgaXm+PLxa9
7azghBnx4NsM0P+jd1jZqX/b1U52Vmn96BPwDJMZK2yo0jxpYb3JRN6feJy3P+SaXnxe6mGXLMG2
uZYGSmtbUehyLyMjOhsIJoAykii4FJiv6gMtTbbfrMzrtSPtOTbPDSFF6+lcP6+CI1BNilNlKMtd
OAXWG823+k2a4w4YZG8Cu9PFSFn5UKmxl0BxJD9yxtXABRaZl1Ji0gZ50z8akvJcZaH+O90BLjAa
lNxzYLGwbVxq2dJYnAOvaacpkjIlQ1rVru66uAwZoy1bw1IfxGynsl+vlzXEpsX6z91eYB8qQkTy
7KSMFVs3l0j520c9mXybozQgG7BheXhZeWm/aTrwJan/wJwu0BVJoN4f7FOo0iG3gcGZbJUp8Rix
DuBH+iAdwEmBj/mo1nKUN6ndR6FMM541FvGrCjxICXFm64XYNfNAPu3icwEOet8If1geCPvG4hTr
VI8zgdcGc2Jwc/fdLOzSn7cUxe81LT7niY9cflgLXJ+/z82vu7ewMccILsJBHye5f19j/rufqLSd
aup0F3HIOPeUt4g8xVv5OZl29Rh0edvFelShgcEeJ1sVFjsRZ4SP4bMQh5MEo0GlmdAtguftfveD
zicuUJwoKkiXddWMHqF2pL5blHF2LzgaIg6aBQ1vp8D0e/TdP/Q/hr+YQ59IuDkvbxVD+zfbOGuI
smE7UzBBmCc6nCNtx1qjfRouOv2DTilFBR1jqw/80rabGx9zPSptlUG8ReWp7XCUgRBvFqeRz4ts
/27lD1zDwbGWZyWmen6fQ4ZtaW1oH1KWwCDMvFye8CLTBTdXMhVYxxbHryadAJywEqLO2+MrB4lt
v/QQhUEk1BR1j0IrDccJ5ZXEL7/Q2L15Og1hzgqqXWxp8G/e7QilNmBi66FZHb81fzovVUseivOp
xbjvvXnVdnjtHP7Re7kMwrJpO9rG5iYqQkK6/Rz+dBe35dY57CR++5thfvwFxL1uWCNovSLBf5FV
E5GaPHwp3jr/NslzPhWgz8JmPvju29Wm3mpYdywy21VgDV6hrl+nJUyaarwlYs40Qwp5PVhSQcOo
CUdfmk2EaGwQw0IoALw3MqEtAw/c+70rEzPJrdCjgnjcOvR/WtdxuV/ywv6o9r/VN4E7/n7aewfQ
ZinDXVvZ+7CdudIypmdaWNFJq5AHexfQ5E0Sf+684+X98KB4/zeca0PyGZFksMxqfFR4X33en2vD
EF99F3bbV4spw5p2qk3eJE3SOrcqSi7A3WG0yehljYFf1Fo1LqiJAVt/ayHKt7P3GZjr+qF5JMiJ
bZ5pTEOd5gZY/f3OGYrD53Pt2ZwjQR1JFOVWkhvKzatAgGOnN/2Pkh2Bu/tPl/1jYw6prI85Rk7U
lDSThjYf62QhndCQqNyxhEWMsEvWtELOFqnFoymKGhTqGSHTvhh9bZMbwmgNvO9hEDgsZIaCgZNf
lNS6u+2o2Mq3Dv+wMhS6rOu/nRFglqaOClKv0M/STAv8aHXyW59UUix1WLlQjjkq5Yauzr8rqKfV
qdCs1ogE8CiJ9ev25acuQ02Q+RLh0WDRQ4JDKn95s9w021PziM6WWOiQ0Patf9T+ZeDpac7W/1El
rIWN+Fu9UHt5r49LIgab7sAUb1nG++U6Yvux9pu+tRcvl+n29lp/710H6+a2v+73ANnmFIln2WYJ
m/P+O30nC55pwtUfG9fVdirlxif5vS0PygNhXPiXoHFnBjekhWjLERLIhNtQWmypmTXWfQV4zpZt
4SBjGkzzAzK+SEOLsv28bgb98vlrlqn9y47L46F6dlPvoON+2yZwV0WDf8vVEpypl8e539r5mhT0
wrL187jaV1N5/KDUkLdIAdh/jU6969xcePavTsrNw7b5of+wG/hGFWXhSoTtTy2hlft37Qkan/eO
fdkJN88VOl75luVy9vyPx8GUTGUjJLd3zRuSOP8ObCu9U+iSrjEcGOF1zZ6Ime5/mMmsXcwbJ+H8
gGwAgC12QfE+9+97jLHCCaOS72TJx/a+ZFNfswuy6MoKNaVZl3y1UPgyXJOqtm3lc6B6UAZG6z3F
d00dEiq6c3+hD7Ajl4SvgYH176L5+kDq8p5lULAjEolU/b2P18CtNy0rFfKW1oGgLmEVjwK/tuOT
Fb1VHT5nWxuf5/5BjQeOG6ww4BaL5iViYu2Ztak1jYTzefgBpScghtTboWN4xfxoqHHyiNp+qD/2
n58X0VjpAgs1KPxvB7xKLKrpobmhjbrFtX23Cv0b60tNz7V//7zcQ8dvj4nWC1mAD6Nqm9cCidbU
TPYpQV4qoVPrkFMNcZNxViS6wvpM7RkXld6I+R6z/NZVitJdkaJKbTpFoyBB+a7ds6tPpxihwaqh
MNDK2tZDa/DxWUcrI45vjsfjn9ptTL9Xupb1l5eXy7BqE6z0bnu1aHPEiiAQuCbp47RNU7h8rK97
1JqZRFvHKd8LnjVajHmz0F4k++7N5IcIT9Um7PZQT46tV4pM9X3LW7LvnvSQ8EgUt6al6WbFIIeY
AoPv2COqOpu1/OMXyY/X9BF6cOUYlO7v3/5VmSPqhltSmTl4EAMkDTuyxhcYAS+2ExiMFO+Nak+0
aarw+ja1Kxo1hJHqjbWM3krZALzVHj/aoTPx+1afq8gbsM27p1puPPTG51r7mZAQfdAcTUKRlBBJ
54rWKxUrVLL69i7T4Dy5Kg54l3kZ4ylcm+v+Txdnq3Md7Ob7xk2bfoOyppbIoDwutTMDWyNyRCfH
q/qfsIgOc7VeeOt/VXjwpG/Cqc/Ghs2YItyill83Q0vQ3sbM4bUhS5Ynfc1KQEpXIcRneBRyZacL
8A2MrLRIvfJpN6ts2gj87DpuAuDfPYPTFBv2xeOP8iZSJHH4n0U/9FwudH3aRYqP7MUdyoNakU/d
ZzpndZXsWYaWZt8fz5KzlxKiS/0HKMW64lCX9McHL+mJGN1/HJ3ZkqJIFIafyAh25JYdFPf9xnAp
ATcQVMCn7y87pmNmuqvaQiEzz/nPv4hgiZilKlFrFmMz5Wc56gnP1QueMw9r/mhcqRg9rQNQB7kR
SPNfDXoe55Ym++f584uqKup+UXq4dr5aJg0xE2i/8dLMhyBM3EohvEGS8gBze1voNnHuGPAVLHYp
fqvn+Pkc88XMZAT2cjUGMNkSU2aqYEP7r01N8hFWwkJNAEAf03Y805lpBrQofWaL0/4OMANNRmc6
LQnFlccvZC5G68no5VrzkD6Csj/GBPxuJahLnht8F/V+ommD73egyuuvGdS4htR5pFCCkSMGOPR0
5dI2G0Qwk8ZwJWp1wzUVh4P3kS9ez3B/6FvAMTpGGd/Bd/uk9APiYzRUUTKjTwkeOKVRP14Traby
KzxeTpm9QCTXavQ41nje4bmijKwv5PSWI4YDSvJbGE7CrBdqE68og4koYl5j0NbhMEftzWMH6HYj
XVB2Gpdw+MPzIHsqwVN2FzH5DpYKyO0zbv9uc+R6y2eyX6O3GVfJw+0PEDPvHn0bYgpECtgcIpFX
yBAFH3mJuTeYIVxVAD248rfSoyBHPS84WjWYmXakEKa6pqmhtuD+9vdejT0OdDXwQle+9BIZFM5y
hbaW2QebJ8YP2HzhxMV0gItj9yInK/wS6YUZXHABRZoaJurg3kCk0d5ogY3lBxoRtCK8GDn7h4PW
51nm+IjplEJtePUKfCUTBGfjB5QzZkzHVFBd53xgM93RaF41YZv2iTRLpLnSW1hMXwgyPt4TyCcv
bCf5cyDpRRV/V7A46C1pDJE4KYJesTPiNrqJko6KEqSP+BOJp8dtChfEmWNNcN/w64SPMhEzoPVN
+T/UEMTDfd8efdw86s8l9qYo5XhiXPGMGXhsHgv0UQyLBLdFhN1m4VcA72/BnoP71vr98DWBr7Ot
11dm+fS1IG7GEqLcCh5ovKSrBdGWbMV90PowL3ti7UGQFxAwEjNPWhcgytn8NS9T5ya55e7mctvn
b7JdgZ/MuP24L+3ww9WRVD28HzPbhPHPxPnDBs7E4T16RNdDPdxv8NGZpg2pGLa1eq462MsxcPjs
sXivNPxO3t6VQ3Kxz342g5Y6c18QDsgxIU1jcHP6WzzAgnSRT+4zlNthH4N0BaOXd1i7B4HIXpc3
0OPbpKYgWV1HDCX0zOEDYzoT9UqPSYc1QorbIfnMh99YTXAKyo69v+zSW5pJf8hvn+vnwBBBtUE2
us5+pIABAX/tAtE8Rg4v5rvudcZY4xXdMcBDq/l1fqts9hru2QCoCyfXEDeV8LfcY+wBpQpQlBjn
dKv45ep6YPTz9BTbCn4XCdgzQ9LSi+YlDte/RD28p1rInc6m3KHP2sTWDhDTSPbJWRkIP8r9HwN7
HrwLKOQpXdHeus1gi/8yi1UFTICnbKssI/4Phg5Uni5zlq13hvApzPR7fiweC7eIUF84Fwoyvz8H
gEWCFs1pJ7mGxxjQY18N2jZAkOt/YKM2xyzpjtkftD4aVWwUJlC6WcTNoFgzRq4oMQWXWDDOeIy2
GkiGC7AITgGHzxg9vx4LiME+nUTq38CHmRfgmcFJ0cQComFGjgiTHZxObvne9D3Ekyxdt57QwE1H
KcYnc+4fmPNtIkJkucfrLJCI+KOJhqbKJo2AbQIjMSN+RGROAxqnlPhssPN0tHuOO4gtTGoZ2763
QF8+tdh/6peG/91FBvliugGnW0DFv+1v3POR/xsJBw7g13NFBIV3X31wTHxRIFA5TNjKSCh/+Jqv
XljquBJMPkPDXyoQKgCxjDCLheVsNvxN0F8yNUJOfaDYR3rS0MYb4DnMOj0rzhfVoRvq/3lzGg+D
xCaU+ujn4Q0yJr4wKO7oCBdi2rHK3a2KDJZCyJpyJZ9603ycPJI4lqHuvhx5tRSYxXfbwFmNGnib
yHGmyFmxpVBBkIhpAaL4kd7KcY5YqyRwlFQb4m0KiVFtGyB3BMZDr+MK21oeahqvsxIAGrRiZxEU
8zO/IQ8phnoPTomMtTpZQ3Mh0DSos5qXotlUmfGaK4DB74z3s/4lIidGgOPyqYdy8EfpPMVqH3oC
I5MxTv+pYevC31+HwtYN36NPpC4JUBqjQ2CmUgmN7UVZw6xMAfcyUW1oDbgxjj+l8LvhrAn74XO2
H3zmH1CD8ZkifiPAGHzp4p0g0iBsJEngio8Q5uWEmjPaNYl7FDFqmc4USFuBbw+J46td4CSNW4eL
x+lbjCl7epaNqbmFtQUhNoTJf8wNoDHGQw2WTBh5FyKHrzpTm5lhvXz9Cax+XeO4puPJIJSxtnFO
h79pGpgE00Q6zQm66wk7DZknyLbfCy4HdxwYyIQ2D2mK6ZF+BKKQWNkeeYVm207JuQxws6IAJoAF
SKd8UyDfgsxdACpgyEk7vbwlxlkEAOPZSE94PdLnFYDEA6yzXD3BL26ST61B/+8dIf0/UKuRf+Ni
3/iI8Tnd6TjjAf5TyuJi6RClSJ8EcCDC6kjAMXHFLxh1T18QwoplCjI4xmafBEDMvNEhn0mX5K99
F+UCKIAIUZEEItCmHYUh0yyDe3uwTsL3t9hh5LRtSPBGFhRgAEtqqvDPxz4N6EnBOjBjhLxiZKqR
KvNJfgMsdZEBMLj9P/F8C3TyKUw2+iCWxh9GoKsSc3oKkAfwxQ9FGoSLCgLH/X8KssWmeEKuTjOa
Y9N3uq40ICtzBuN+IDGufYusBR6EfXDf3tnEVp9ptRDoi+kXs8doARozSWMVYTGT4S2WHIb9Uaf3
LaEgE3TaQLWpTswE3+20iOqJwgCP86gXsdjyqJIYiwrVNV5QJKEK6YgK+ExzpmLRK2Z+jZdtlUsa
lts6yae3BDODWNDtIJd5WA3cWj7P26CcSCt8n+hrqa4teHVYCdz7kUJ5BXsYO2nEZgVadTzJ2IMz
eqyxEVqrjjUj5HtAoXBhpNJJL8qIDTM/qhOKrhX3hSKcQj9b6LAvSohY8P9R/1Id/Xq2jp5jKcIX
0CDD/096Z2qdlm2BgSfMVZ5YijrEEMRH1eSKJnUFpfLc0SpRx4kVRdfgQ8yHQfJeSpwKwncKti6M
V1IaiE0aV4RU3TATTVcqnquirxg+qcUVtOksOug77vEV7DjVJoLcdwRpm2APDHLKRwx1BEs+pnFs
sdT7AFH7HaRcJlqYUBvLHw4UPD3vY0usArDATMwBRK0JtRdHkl0daxTTa0hDQxpihJoQo6DtqpMe
l4wLGyRDggVoEW8eREHhGM55hqU5zWWKUOa13tNp0vvLzhUC2qA3+RBf3UTK2kknViymCuXNe//9
XjyM5V+VgM5rcKHyn2uZ3jO5PTn7SHlBqYQB1QCWN6Vw/qANYbennUHpd3hH3zHAw1w3SckBD31N
c6LOSmEmoBIm9912UxkJSOYg7mcZsuDeaOM44gpMW2lkcEmF8YSseNpAnIVKUtnwdr8W3S/zPtzX
uEHtpu0vebYzRz++x9DCeJKouaP6gu20SD+pzgJj7Dk0ycAJJFnhNtSG1uz08U1PmhjDbtxNGl+O
9+M1o7cc1yJMMgbgWvf1k4YkaNfsfGmiKxGS/EiP17g90uFfSeTd8b+vr/e4DjA3YXxG+45xgf3l
LF8rgFSj6mgQo7XF1JCy7U4aHhPUWrMfSbkWf4Y1CRKNtRIxnMSteFAda5jRR3W21jZ4o5wg8Zws
DuuJApcOEmoI4DC8HrNXgCsLE4YvPp1z3J2h2MHWnMiBdM4ojo95gK+n/aFFF7Yd5Ntim2JMtAlG
E4NXXIC4dtuMHQpL1CmYxYmlOn4FL4poXD86D4BHYHDs8xiNt6ExuQVAQfAqUG6O5b7dzLSDcAbJ
iHyueDrxsMIeEovvkBrb6W16FFqkyA33S/DYkSwYF6iXp0XHGni63bJhUsH8RbSoKjQIgORBdvpF
LUHAw/ZMLEQlYhu2+IEE4pAQyJXKBKdh4deT7B2+4vccv0YFxtv0e7wzYNLscn2XRcIyyQv+AwRD
/FXDlYMcdxxjYsDeGRanL7gYlrwjBa/nV/Ie30Im3h5xICMRukuEeD0tnDxRot9IIfj69Dve/q4+
M1PSYYFnQm1rzd6Af9/UtvBHDrh71PU8rQG3F9DpiDXLLt/Vrc3IB1BMJrkJyOfGKUh43Hchjlqg
222Dt/hZ9wHfQAhm5gA8YwZje1xt+E46dnOMpfToNmAeivXuFOQDwjVDKURn7BT5il66YpvgH6gv
PZzv8GphXXFPMqw/oKlg/1qIoxzT+ohpFnYqV//YeKL8wUecMDGc/wWTxRp/LumKCguvEiRG1el2
ESxj7hRwfcy3i0g/8E+kmv3Je90bKVdgJIYPG4VB7LxOZISb4mQqx/0DRCH0BJx7fara+One5+WY
KQP5WwyXzUEH37277GNtCYI+tDYEEic4/M3KsSzsX4Xc7v9kKhvzMOecqSFrj7OILQLjssvP1UPe
CtOE8DtMcZe5xeb/Ix/xXSLKYm1qnW5MBD9L8RN1CZ+a9E+0XB+wha0xyZN9xIfIKYVBNMi4pjvV
gHcdNgEhPMx2uOXDGn7X0+P6bZkdO/h6xvxzMuzvQZDOGKAePpDqvrMs7PytvMKwbfGBzo145PJm
cAEAAMZxxnC2m7C+WesJD5XeJwH4v7U0OfTYuU7v829ozoQt0B1XxD9hxCvoZz9svW9Jw1q7LdMd
9RCQI0WO/eHCy6PWEPrO+cqdVEH3BOc9Y2ACVE6cJGTtGiN4zWHp/gh6ZstjPPbixXBxYy6iEEJf
HqVIRwtjcF3E9+Fq7uL7tH2Gz3Wx6fzc+a7vUC+AcWFidJPvWjj2tkDVTrO8S0NiO35VnG0Ktjw1
6DFxI/+X2HrQTPyncNVkD97CvniewR8Z4+FO3xxkGtk9daR/P38svvQCZDzzRagXDX/9h2Mtm3jI
v0mkxU/n/vb4Q8JyCfbVsSfBBnWFUWj19kgnrhav0auPP/Xoi3UutCeGzROdWF7EUrmY25KEXD89
8n7xB4V+8Tmo+ayvxKXuWZ+graZW58PG0IoB58WdofcP+xlX3o+7YsCff7EaqBLdwGjQHGTSyPw4
beZ1F2DIx8Ea4x3DeY60TlgH7FGrZth39HcfOAFwh+gGBrRddBqviwLtyr2RFclt8zkBESVkzNXz
ERDlT5isfgIVup0+eOAIXIVsXuZM/dG587wT3SZjk52S6jQSADzA6YyhCgv5vmVu9fdafo8VYxAc
VWxjaDLmcMyRurOWjW+Q6g64q7AbTzXsYsb6NTaXlmeJqY0gltxXNSnsTBhx7N/g9vXZ8gUOrjsG
0uwvLb5HblEOddTVwCH8sHTHKjKeNBGyI0F2bB0dmQtip2XNV9xStQlXN0Ton8t9ISvbUGNCfXUK
P4Ao52PYDWsJB1qah8qVewl3IuU5y7yeOiQAmjtlNO4bQinI6zu2eDDIh4ZAU/1G9/34U06oqCzZ
1ffxntXI8mMwpXk6pMg7WbYRszryBQroVYzK9rFFqyPCqpTOo1sklzdDHZV5n75D7UBdxfcS1seO
Bmnm7vw2AOaE44iXVtg1uBDSngBzocmSl/rwwGU1ur7a69H1obG94S/OiJvECYoQnoX84XJ5wPO4
DzHJ4bvxFaR1lwMqGmK7AGlTDJh4jT32hWMc7D4xcC84MmUvF2rNf7iDXGNMf5pfqJLrgs8eUD+L
PnM/F3xMyXiqvNsFiG0PzUuOSZV6VyGVJdZ/iulg2yqhVtIHTyLVEelC/F+RN6VAlyLWLd81e+wJ
gSLdmskVBBfFQST7unQxf8pP4VoBVoiSW1D8IkXe0GvXFwKpQGRNGxb6b75PeJ+muBBcD/eFhznH
nPJbSah7S4Eneld1lJGm27kPoYHQ30y3HreEErWTPQjjsu7Uaqg2tvrG7dYuZEfXJ4/bIstCidk2
5cPf6754qUvlCNU5RT6b3D1pAaixkE63yICXkTly3EJrOxSL70pRBI0ZeMxStt9VqnsgCdkMGOs5
M1fyqhq1tf0elfF1av2lWyDccA+tnrQmBrAoXkPM2RiQlD6TISpikKwcXSP/naHG9FE5RvVQ9gr3
Hl93YpwLfxEroGtyWV6F1sAarpzlE8gOnvuyIJ8El4s3r1x4jHYF2qIIzKE/umNwHnfHkrkv+Bc0
x5u9VTa600dRmc5LOFFA4TLGO70QzkwkfB+BYFFww4/GTwvr0DJMA3ZeXhCalHLpY8x2Rw84NlG+
5CQfgZujPpmUp56Ie0CtD0QKafW+oVAGKoP3tLQSiIOIcIQ69mbP93b4pUJjC6MB8Vkf0mXDEsZd
dqn5cvLyxW+aubaWQL3RzC3AYFB38Eyg23FRniFqRcYs0FRb0ElTZkXFmsYp7u+Yd/8nWfw4+xWo
ZiAHTMWnn1gK8tV+x88CRWymAFSUo3RRooPCCzSddV5hz1sANC2glCdvCsM57GOh7REFNm/RTXAt
mCwKN+LHIuOdYCozG+lxZZ8xOIr3hxYN68oc86YsqL3aVKzYUy1iEVYIxjloQOKIZAdxf/vlsGLd
wKnkwaczINIMEiRXziEMAwe/tl/QEolLJDvxKn3XZKJZwGdI4x6W73Y3wU+QpYGF3FHmjfbGxNJn
DilxTJbUcSa6WrI9Zr/JfR8CbB1I8x5XJ5F8CPyez80tTel3i+kMBznDFzYQfnD8FpYL0NaATTYE
hxIS0p/ud6SM8/BgjAt7ibkGxkOConbZexjcwemdI/lhCGSftw/eeFK7CiJUajYQxd7gYoQ3t7c1
Rvx7Ci0ueTf4YPB4wzjBIncAMD7B8txJ59DKwfTI/xZn2UzkL/LhsUuCFfY3ULeZCMBMhLvaG79i
fSAvitlv0QQvsC7g5Og3pFEjf44ewbdO6icQ+zFLEZjx8gPBej1sa6HA8XiGZCj+MLnviQ3hhxnX
gDaUaQThQnBcZN/E2tsEEPA+ZbyXvY8eAAHIGoLmz5HNo3ti8dD3SE5UBkwUShw1uEHP6FZEXxid
VfBVfEOLNCahuQ+oT49fZeFH8UD0Xzcnxcx1uQeeIdCoH/dunrGudvnmBWl6/iI9iCAlcoP+Ck7E
vb9Hbgmk88Sp2ZGxmHz4n7N8D6SFlTrWaj/IQit4DdXgQb6A9wMmpsnQbTX4YvueI81w9/Oax26Z
UjuWq9r/pF63AeFUaVBJm3k5HdC2wuxDg8qRjQSE/XLJUygiArj39nVm+MWDAZYOqragQAFojXEt
n7Wjd1AueXug5MSBOd2QuzeArIIPBCDGknPEFtWqjutDTzgvzXlbjrxkdbFbTuVgHxqAZUCtl+eq
sVAqtF4b9AJGnRx4NIYgfP8r4nxJjW/OmKYuNBQRjz8a2Wd4G/YS4NvHUIHQUlH/kKmw1eNyhRw7
grhy3A/fcTd+bNQRXVn0jnsH4XRJW9TAnjzqs2do0O1uIWMPYMk9w+70cvNgrfgtw3k1sBKE1cFZ
cKr5sN3Wi4VpsXA1EFLZ1bw//zrpQo97gtMeC8R4xUMC65/wvkT9+yaVY/hMaMoZE6UBN3jJJBDB
QuF0a5Q1QoCICYWd9m3oD1zRcu/BsUR5LAR8l2zw4XkMaHfw4AdKlp5Q97/c9Da5Tr9BF1l/jKf+
lL5vMXYfSNNi/Zs0U5wmYJ7yCTJsHgP0S/6SOHKgwv7uN/nPFBUeWC+YEh1AFxI5MaCVRozY4OH3
Acyff6iNiOYA9wYXYzgA0RINIusQVxQ8JdwY878lNnfo4Mj+Rd+PrN2D8ctZ04RgL6RDh9Yl+wOY
i4UYUky7cBbACgb5opL8JsKKloRwhO6ow40ZJHrBFOJJyZDy7/l9N9USXAvH+bqbTns7a/o8PBZm
bMXm6kZSJheC84RPJirQyoSctVm5QcuW+zlmUSQ/GzOmZDyqEO3p2KBLtiFUKo5tGs18gL8SBwGh
K1DxGXS+fYY+wythUEJZwAAbk1RZ8zC2YJcCfPjO2Ql1mRoFPFC3YgUaGtmNVFjsKI/Vb1weuOUd
YojqhC+0A/FvgbfrSmZUICzKhN3Ia/6MDSiRBlqsNx85cqg5TLvwfF+abkU4HTibFJzvokYRwtRm
Kh3b1JkDQ3JMEKUr7uI1VuzWYcjUY04oBg5fxHAwqjCRYyxDWz00Nj8ke27hQ3icsTsxyVM7VDrY
KyTXKL+ksNIZcYkz89Pnb+DKbTrw+TG6hMa57PlK8j6xExwgyZK/9keaFgnYmGZSmeqQBUW58uGU
ZqQhKJVCRItXh3ABmtw3+YVPuKEwOlWbj0fZS+/X2cUhW3ArvsgfxD9stsZSmT3W76249DmwGdwC
vqG/+69tQT/DSK6hflAYkyLmBajuB/kMZFZMe4DRbD1+RXX0cF+wAvA3JL7gZIXpSJtS+nLHgXjO
wMlEXMKjfQUtqa8FIrLcmfxFtK0gwDP17tNllQvjcsSAlssYaRF8Q3ga4+NGjZhag9HXSXXW4Ge+
IN3os0fCknYzHxKhNXv+9wZu6WA/eKI8T9LsymHL3JCpN2A7DRh+HNeEcspaNOscTamKXaE65vsB
+p5j0H/wUap+CKwiB+c32LuQ6mJRWxmBCUOvhWEpLNEf8KRuOxiUYLZUtBgSQsj6wcV8NAIEIy49
i3CIm6D/he9P+2Ydb9PX8orT9vpKUApMSEHu/8wwHcUjGbwDaSjELEiCq3yMSJhFKewC5DFt4rvh
C5Jjose1tqwsNcp94oJ7ZwxN3DP0gxr7qjUDv9SX7Kk87rEP1oha07k+6UXln0nTNuxtrm/nQ4ot
zCCYD9g9jG5rAH3qknREBsGPwxmpxEZDUYQBjqDCc5ITovpis/jdUbPw5IBRNx4VUP9CgvuUSOfx
nfStO4MBTBTnQAcX6HRTPm12JkYhWpCOoDdkpAcSGAJ97RmBL+JK9t1chyV6KNhVi33QshkgdkfF
io0ZXzwpJI+lUNYIqGnX79A2lxpEqg+AXnwLen/qDMtjXIBpjQ6Ucvi8QYMm0QUpCvcNV5xiRVA5
EMF9QmRZ+AqwQQwVmM5sbx6uyuFntr8Qt3RzMHJF7ijsQXFZqIakJUZpqB00UCHoszA6hX5AWFy1
guA6ec3kYf/QEK2MhAt9UG+ThiL3Tx9KaPdxGCTWHMoJXpDCFN2YCRvDHlRnwfSgg0LT/xq0FNEv
qmEZC+34yghJXBh6h+CY7l62CrTlFEtC2fk72BiALsTvcO+3bJB8VMlt1PL0YY0Ll5bOEidsfYg9
tTCo5jPAlznYT3pz7lRHLicbGsp270340U4YjZKEibQ14cjxvzuUiDM6ud+ERut2/EIMG0s7fc4O
rFT4rrMxkGeSz8BJ2iFQ62Oq8mNe06vkEvsYl0tpzenIGID6nrA5hmdXjsiW7QZJPNqzmjY5wSCW
rgB3oqOx49qBkKcZb5CdHSkH1yhMzxn6Q+0LieslqEBIx9nMSfsaGsBTAjOGF7UQ3FQgI9ArOgZR
hOc1q9MkpLyH0fYNPiy8WO6QSIEQIdMMU2z0ROTNQFlm4LgXqdeCLU9VNShiCq7Q9PWBoC5e3QLe
dT+yfAZrZGleqcqhw09vUK8zD6M6NFDmmA0upuIk8fh5ugaaWGmiTySAC5WKMULajZK3Q7hf9ewp
KbUu9ALsW6BvyhN1zJhqgQ+8tOMT6OAftHhZ84HNLSxNfY4+jCU73PgtzIKF4bxQL2i7Prs+MWt3
4nnRJmKtwJrFZBfeDUGr+F5e1vB3mTnSkr04gtDJC983Qjm8fsI8Tl9ACmC+tUWwYcVMjFtKAMxG
GA7Nubs09EQ2YCiRz/Byo09HEuaq876HaEUZYcyK6TjaHR8gOv6uydweMm3DRQDVnzLECln431DX
OWgkN8w+2cEkhwEbBnw1C533WW0IQsBT4NIx7SrRNosnSiNq0piq48qvsc9L/4vzQfllIdqHHFGT
z9wNGMsFBLLDJNIj5nYDLG3hS6PGLKB9zJ8n4TdnDjXDbTfw7KDsXNiwZUvsXh9Igac7xvDpwFxr
LPWU1GB5QAQSO/NzQbQRfhTfie6rApVmyHv35EHq0aFh4IA484/nGHJSPYA0ha3ZddnQspJ+isJc
Wt+XQLeDFuepLqyWd3p8eCEXDnhxR55DLFXoJjF+jIR9uaDMY7bhQbIDA2MZM+BiA0BNLdwrMOOK
ZFJa9TU4mbUWn/lMmwliCEHZkzaq0dDMSSab5QjokLchskIkNqS7n2dclv9YosggnlD32wXt0Lh1
x32Ir08GWrcR9Y/wRXeq+StpWZ2kULHnPjTSlQ2KrLvf8/Lg+T9mBGbVzz5K/HFcO4QD7OSQ8+kd
qtCHjwywObfa0/Ex/VMWxEqNpAlhANKKrcXTAom3z17q0bt4OlNCRjmKh/eyDOveHD0HIiag9FpW
pORQSbS+MIznfIxT9vC9b7HyiHtOIInCpN77+tRk7t/h19TG1O7ebfoD4EyxnlfgDANyDjjeiUU4
Xo8Yyg+0icasGnj8J3sG/bKXQJEQ6ohE3hQzMFSges5v12KdhRJ76NuWKKSTN001HP/cU85ZxzHl
KrCDmZGA7W1a9Em+SSjiQvdUgHB+CC/9Zr7GeAExXVgxy/kh86ZE8frz6+gd90X3ZoIKA/HFcLqg
Cy45NUFBRrWbJnfwUPd1+k2rBz1fdTEDi1KZx3jajfehNOHrvMOC70ypWWGekB4/rWlncCpPbv7w
HWriAouhMaYHkyLTdHp/uieNRYKdMecKIxgXzf+MvSpzFJbDSZqTU3dfpZE0388lQFAiscZ3uPqj
G0Amn7I+vSKWRFWPIzab9CJ7rVVGwIw2Xy6vxicEZaObaPPH0JrSChIFv+ktU9UxSwf8DK099BuF
2TQ7D8FTob5S3PxM6QfllwQtHonMh8+MtGAojQVzAzaw/zk1E2tnjF+Kza/0bIBO+xUfxhfLb8dE
PQvn6H3RTnmgAVrQsOrgsc4b7hQsFyvzG82VeoC65LcMymZ1JXqZg6sqY03cvibpF4f9l/GJ1ym+
StxACmUFqf0t0Ntz7z79QNbj1NOiT39YKh512FsEt11Bv3m0iKeIkeA0ieIZFxCfgbnfiqyDOvhA
S1R8cgfSNrJgVDE/B1dq7U/qmDWQtdMwnm3tTsw3F9X8U/oZQ7PEOrYRwwwAq5cDnILFMRvn0Byj
3WMAhzz6dJ00h2dJ3q7lL8oxU1P65AHtmv+F8M0mPXzEn7/2yFM8FUIDUhVd1m1SDTR7QsQCmDvz
uvv8sXwP5FGaaG7tV54WPcM8+gDNMda11991zxu2MIxekztwSOEjMJ9gv416ype9/QleXwNDj6uE
rD5/311z2VtqC2FF0KekJtMK0Z2TM1YpqLCetgXUWTv6TIy2b0Omp6QnsCDXVOgQ6+srzbo1esps
CWRTGEiumHFnY5XOev6c36m20EB60kq5ULT14xuU9fecHQM9MbGz36MFK/y7rvhvn+bTzZPH35db
A5z2g0UO5kD5IYKpngzk965EBgfD8G6s1zzELOraJ3+PQewX5+EzWhJ8NBLG8h3WalGDcwklWWQR
RTHqxvIMtzcOgw7grY1ZwsNuo7Pt8LSMYP/7EJqcNICzGxnjNMouj8YmQpc2GPp61oHQUKkfGZ/I
I5MsFXV0Y7Ngx+jrDgjGh66y4fpJE/5Ap0BrAF0sbASJiAhrnQGGV7ROdwvktQwp4G3X/58lKYvV
vdt8SBJE/OpWN6dunWvjK41XwkWhKpzy0P2ayX3OM9eDvVr6jFjqNsrJn0Ro1UbSX4UxIKEceVz8
aD2jtiLMiqcTi4gKJGtcNSOlJY9oUAOyFS+f31RI/Vtyl+1eH9DJ7nGXcLXA1I7OZm7kBNPZeeul
5Hn+vZvAWleKU/y2+j7Kn6vqYz86qHZ2ztMNAxi7u8mtc/eInpi1GkivHQl0IXXuT7/bqe73XJQO
P0rfQ8r1Mhh4qMw4XFO/YE9OnXc2eGGk1Dvy1RrLqmq0zx1Zcfj+3turQKkIGzyo70h/LCuYEMSG
IMNCQLMgE/kK2/sbQ0x7cbSg/JQ8tXbLc0p0mAjl6OFThlsCcwk4rl8MrYpq0scXA1dFyf8IgggK
uYJZyISdA0ndgwckIP+wv1K52lG3AqmG9EBsU+5dP15u2lwqo8s76Wm5d2Medy4eITmKvzcBXIOi
7/Jn5bnD7Z3RIlAHo+Mbz0n4Zq8FlpqUoEAL6+leGQgAd7P7UgZvK5iguqMq4Tsb38HRjCHLqiAs
s4uaCUeBtWOAnMLY/tjKpkSRcNE7+wZZUxuqd86zcJ95XyUomUEDrTK5swIduy44frnTwQrGDpri
TfOE0wq9Edlp3DlbGgMMK1GPjedBMf1Y/kjOxJ6kdkwI5IUjaTBC1BlPPEPfMftgaREu4bZHGWvC
o4gRnbYUCORqkh2LDLAlOo8RCztBXMoOpQHWHY1dITuH7QIUSCl7T5qEIf9fgdoMhCT5+zpmUB7q
RXrmeOEE7Y+BC9VAvsb70ExKoaRCOSLN5Z2RQtQQK3mmReJkRgJ85NSStubIwkspMiAAFtjK0a4e
suPrxLz9x6ae6CNIPQHHxX2gTAAv5dGPx3qRB+Rm76isaPWlscHFAL9CccPasB92iq0xZ2YiOmEU
2uVgOTDQv+SXeMWkHH1Jrpv0giwEldvUD+ca3kdMfEDZ7zFjpw+zSinizfALAKihV71AYzWZutg3
So7TtSI96X6U5gT21H5fbIPsY5DgoiJa73mluUqcSpgz3M/Zq6wpHFqv95ebZNBWBDe93GzVwNT5
IFNkrs84BGsf9zMDusXNi+roaGhiI+IAoVziaBTHFS5DPpz891ijD4HQHpS44p6r8XWcT1+7lvPt
j9A/fW2V7v7m5TGSMZc94kNVgJhnAjI+vPH/FwOMY0+Bd+4vaxabB6KkOXhx4BVgbvbQtC6wT6Gb
kBLKUZmwDt6LFykzJKoP9igbMdSgD2TORoYrPKYkn1MIGyasM0zWUIArXj5Ac9KsmAMbF4JzfImQ
z75d7n0TTBDuvSAM4ihgZ3WUk1mPajV1tB5AgYM7hjbQW8gUgyc3T3XzzWe+P+o8n61n3lypb+uF
Q5Jn/4jbKDzFKyS32/waQ1Sr1y/oUsKRVd/+dKdX7jCS41B5clJE3Z0E2LHgJjGNBaldaas9/BOE
ZidIIM4vflaimixZfavSq33SiB3NtZLXkBpMjrX5D3IZJxr9ajUktz14LZsd4/e3y3TSrS7livV6
H2UjXuSOndIvIAo26s1gxHFU6EcJgh39kgAK+j1gLkhu1hwEK8Cw0zAdRlZf6ikruTGahu4IkdOn
MWK6vc+jvHF7ZvDZe+CBBJNapx9b3qg4wKdjcCuaNuIduQhajKCHiL4eVzMGCz9ciYaEqvgKY0jY
qaJ9lN1eFTM0uPSFFNzn6q6IrG/BK3iPyy3bOb+sb8C031RszDP0zR47Gvgn8NtjGA9XkVC3kiGw
17iZTZllf0AHKpv52FcTsGN291MqhM6D49inanNSdLGMHlPvQyfdJfnaqETOw1Vzr4WvdPhdVym+
Y8x8auStkBsXeJZ1Ahit2XegXfTt+5K2O/t7QXc5PhPut2v03KIPRIwxmOmqbIhw1zuPENR96TB8
h11Im4v4nELt6vEi9xvU0NGjdBH+KIieKbXgHPUclZAo7o7ipy8muWhZXkWYs3zEw8xEW7AgCV1s
nC92Pwys9oMG4RwKh8r5bUGWTbToNDHr3/yKabV6qi/0s+i+QIBrogk0/3lSz+gKSNOEOPbA6hu2
AqSQvnsFFAcF/BJV7NfYbUARQ6n0dUor1H7ENpHL5+nm7PEIrxD/FQLnbRKpoOodJLgi11l6j5jP
iXvUui3dHiJs5NNM+XDLw/Hq8KOuI2btPrkNoKlpS8wRsHrMk7yZVYvqvrzNRF4wGygjfKrTh89L
8ZOk76xu3Zcc3THT/doVLeU3UNEWwPrJAk5YLu5HHmTtdto2hepTIxXjaCQF0L3eh7enC/etmEHc
Kd+hieaJdqP2kQPCFvkcUANyvsp1dD1zlJMRf8ugNHitPClAcIcvbEA0DBRYHxKLDllkgUn/haaB
n7hgD8nOXBNBDQjyZrwz5sqAumCf/gNiXzG6nxlVDnXY2/THocbcgElhjIBYxqTHAnWf3YHtoIob
F/6u6DN50/VIBZKyNuKb95ffkAhjVo6LryYDYhyzyJjAeoG8Z8g+9/NrJEFeEz+XZUzTZ4teFQMj
t+SViQQjt/QNik3l/eBz5qN8zEScMfrpg/ivAW8GxrEANFo+3YVEjJjEyz9mxaiGJXOHAAkwO8MI
LSaInuuVfQjvsMb4RjaQ/f+LESzMgsuWwSbVzXuI6jiGiTTjk+Er/VjFoUXgiip/V1yq+KD4qniV
dFav8hlbNP0elH6ySnWhhxU/EWTD75AcELllA7NwoeJNwOMVP5QL/kfTfS2nlixBAP0iIvDmFbPx
IIwQ0guBpIP3Hr7+rtbEHaM5IyHYpnd1VVZmVvAoWPfhDuEPiSg58103I16ZN9PBcNVAjf30bnxE
Jx3D1yht++t+KrqOrqOUuxeOL/zasp8Z76eZcbga3DDgeO6jEzwMT0NOKp284j5yTH/fFESMIGf1
oUDtHDvhs1ur39Xb3hTuEEer++km3M9wYNvOtoNXwCWMA0eLmnqabWQZ/OjXz/bIvjF4sBNOz8LJ
00u7ADj5fiWMSbVKSjj2+CMTegC2PdaLbjg7iDe3Mj277ioXwguPWvAACv8JV91yHT40R8KHbDtr
f8OafSf0Gjha/Pr37YFyCRn3apRkyLxGBHFv8u8VD9jTxduFd0z+fX743bDQcCsb5+neKQVZO8ie
SMKAyDCd5GKiZTCncqFwGhoQncZxiuVZ+jpjn4al7O9gG8uRFiafGK87GFXB+c0o89aD09aD9kge
EK4EREh6G1aAoSnigc+AHfnB4s399+NXOajJXSg+MFufetIwKx/cjmm4aOFwMwtfOL7pccVnDF3K
qfG8T6gQTjn8pn2qw/gutAd8h+opcg5WVgeXLxccBFxpGkPvZghj2Nj+np557YTe+N+JuM1O9VAH
Bh8YDsz7iOiUMH5t6EWBXDGpUu7XEcVF/rc0cD6MsvOBLpZp0kOM2Qavc6++1Ddvk+qpXvDchuvk
v6PgKxwvOfq/f9NciNjt1XN+1sY1s2Pfp+GFOGkYgv99sF/jMxzOJsOgSByQEbDtCuNgrqNwk/67
UU5z2fdkLD4n1YJT2NXdNIc/CyD3f3cx0AWVQubK56vhYQ/3ADFb3VAPT5z7OOUB1wiXz6fnvMmf
Liy4Inni2Pvwkj6OGPq4MLGuj41YlmmnaAIGFAM7zYHGoeoEZ+VTa9LL+dPfkbigBW8YzvS/t9UR
GaIjjw6csk5UEU9WHpyHXwjE/384wq2N60Wtp3Nr4StcRXRBOd6TQiWhmwNX9AxQxLtwryh8arjd
YkvLz1qX+lc4cDrpijnCYV2Hn1wr+V66+jd8Y5huLPsh5H595atMn+Raj1aMEbKL4qTmnUk72P2x
RtQkMU6tgkbtcDg3I2wWmSh/eQgQdazIXJgbMQr2tZwSGtl2JiDnG2MnQisJcclZaRiOdFDp+kOk
z1YLgV4UfHOoQmCzYZBQiAhiseWF79u+RQj4QagfhuJoC6Ezh3COM975euhhBE70uvn9dR+Fnkba
9EUrl0uWlSI4PthqZ30jrrv15Qu+g2aQYwkf4XAdPsUuDlcMI6I5Divh7gnghP0yb8ieM6/RebiH
pm9+hY5ISvPq200IM4/G3Dh8ZXAXG4SPcXeC7LjNHzqydgBuWnSmRfowdtajTH00dgbstItDV+6/
o7yiln/5taGB4I/iUH++6MKHR/vmMmwtpC8L03r+756GH+zqyN65YvRN1hH5Cx29yN4hGBJzgOBL
PRo5s7DCwqp4YiPL78JMpKdDc8DBLz1oyopR8VEsVj92RR4N4VPPFV++vtVdzTqYsPgX15wdA/o8
9eiYHzhD8fDGBVc32xibY+RzMBHCs+zboe/Xbra9xOhLd3/sIXGFGQU1PTWBbBKOJV1tN8PNNIPL
gYebeqiPU+N2eIrDQXj131UNw5h8YDn4Oo/+Pp7Upu4D857f/y7IVxRxW+hXW5+tj2q//p31CKT9
2urtq9ufO71q8Vaq/p1M8LTIlnQpvcDNRf8LS8Jfe+E+RMIMsx8mNP68+A0LyyPpAoRXem7E9KhN
TiRktM8zZlfh53F9AzX0upKyJyXMcL8r5ZRzza/96DHO/SBiI3FpwSEMsOu6VA3YjlMg3Mb53pe2
UBKGyFMn2ztmIqqm7fSixrmpKLUt13003PCr3fV0O0o2BHcTd8fL5tokBMg+1oDtB3dMgBofvc7D
xZqtl+6155JzsKqB6PeZyNBid0diceB6cYgOv2TwsDwRUTFGH6gJdNsX0XQ9jDOc4PIeybJ3EmHH
2V6MT5A2p5udNOuajfr4adqvHdKD4MT4cD9Mr74jEbL/GQWXPRb9b88OYDjoH37EYvNpmY9qh3dT
P+oqfFyi/t6doc+hnOaUR39nUWTC/hS2r5iXzfv6lIPvWPdQX0FAWhycGic3I/aT+gn9s9ApWrUw
48g1NNUHZ+S8W5h3Sg3dsynIGLAt3g/ejGbCrJ+vlFpqKw+6dXl0FOOz42g/Lce4BQRSiCtI3Nh4
GWI5ZMgYclJLZTV0WdJ88SVcRCrhU0MDFA9Nzga6srYevWx58juvwiSepSz7gWmqnx2+EPv34zlG
j67Co48bFumDfLPu6S5mKYCpfEp7/v5Jq9tezR79vP/rJi1caFgRqltK6HBPKtmfUBKj3iei4F3Y
Bne66YSfG3YT60ouUdo3dhIGWcu08BFaPgDVrQ7QaqBgKINYMBRVua1UH47EyekDrgSRV5gk7tFz
jnKMf5kt5e2pKRkJzDH5TtCimUawCRn6lyRgO5WS04lSZRkKkxwZwa26+Y09m/DOOvHB7pfMBg8d
nKf3Lqq+KrLY1yvi0iNFe0XKpW2iTsAr34q7/WyqZgQ/I8nn4lcFo3ZJj+Qs8nKa6dkjWV6FbyeC
7uCE0jtWDYd35Ls54sm7Ipy38GbWim95jWKBzF6NJg/aTndDD43SWH8eN7zhY+ENplIAQgPdmAIq
BzhT1NX2nZcWOTW5o0FQnfTk6Pxl+ljziYh2N4goniMKhjuvBwKZzdt9xG1pWhiTU6BLUFHFZzuE
DJoKFhud+RrWUVzx6wogzv4cpX6CYSYsJjFm2yoDeVW2sYq9bsWHitRQ/nHlzosr6xMkYIUfGY1k
6zmy5s+eoDPSbRJ7N9i2FH6ys20n9nMxvAQ4xS9UVwiTJzwxyz7wqPAjD/nv8zeRc5CMIWOkgsSF
X8mYJGM1xD1y1ItT71S/M5bGsIq3bwZqqVmppTTkZzKMbDGebfp6X9fyeD75EkNcaNxj8PzrzuxH
qYxqpHTHQd28OjeklCFIIpmoSpTil37yVYslW9spVfTpzx7mpGuBtGMuxJTE+powz7z8ekaxE8fz
inhwcLhomwqmWbbqx8tOIl/NYHBRs7fodiEc/snoV2sUavHn6x71V5qVmSvnl08Stogh7DP8KAOn
jrdfNqdxjnZqfAFljjf1AvMFtgpoKrPYQAiJDvbrIyrFJbqNDcfK4GRNMAMXbTwC0tEQOOKz4H7x
G5xuw5AWpnRTsvQUiSpCvlwn11z2b1Gwb1OwhNnP7HvN+aS3f9r1zYKtKcOH/AKa2mooSEHm61WZ
AYpS+WL3z4XqJVtdz4I69VLKYgq+ftDn0kSoXP7qQnrIZdjscPIMQvNzRTDzkSgQq2FsTJzWmHx5
CHZDxkwvxjy5AfKMSOus93mgTwki9Iq2ysFDaz2CV63DpPWgI9+BEnGi4wheVMZY72KkMTqYBq0R
pn31PDvy4zrka3EeyvJ3Bny3aHYqDgyYYpeCH414NTtGVGVBJR3OsdC61vC9ou/vDOiLdoVBMKqe
QnI1HAWrSukpYUTgJ9ayTF3JRmqIUxEEBzHqFuFKGkXLO3GUDL2//TTfO1ZmcUaQ1xbuptc/Ik8e
4cuhLqsWhQmHsBMgX6Xg77aJYB7lf6FSW9bY3dH3vJrPzraRh9m/BfuxXGWdofnJlQKJ9lj+F9wY
OZy11o1gjrZgKc46nEhs/45BVFYrUbGhT2n2a7iXfYdqYFn6eWlGXBow/VoGXpmpnOBS5Xt1V6aI
pDljqVP88fhE6e7jWZpoQWgRZv3ypRavL6vJ+qmWNzLdm/25GPaO7fi1vCCRI3n6uapkkdbGelOv
YhaEySXu7di5DGPKYTHxEi/rOEGwntPYohwbb35VkachGMskBZos2M7pt5AMQ9GXx7fzFPazrECF
xMfrKDeeqy1fWlUhigoNk0Mnfo6UxxTygqj60pLhSr56i/0kxvGZZcfBMEjb6bcYIoCNL+faZDdT
s1rrKw7YGC+CzlCP6ueiLxyrnChUjqM4zXmutplXs24/9N+6T5WEkdOpLAb+9/1kcsi+Z/4SSaM8
ZqBBuYx09ff/eG6wYjHDI7velgUKHCuvjJ8i+qAgGGLTwKRJrXQq+xqedbPtTjU7+Ry1GNvm750L
MZBj6fQMr0SqzHnBsygYgEw9I3BBIKlnEhH0lJxd143jq27+uhcsdYjRcdZR5lKVTPkDp6l4orFh
k5H6fQBV8Ua9esJONF0pJFomPJ1jDGL6y3XjKRcwYPtrLhBw9skyqgkChBDQyifyda7cVjjD97XO
SPn1u/zekG6qeqD7ggPW0fEbkT/ZMQ/ud9Ve6i0YZhMGI1QvffYhxWMA67fMPyuHxqOd/gbVJpCa
+Oo4KG61fGU4XXjkdMimuJtvC4i8oZP1JmXwg5XmaqjzQDxcbGRtp5quzNWZdXNeSFZuv1f6RdTT
yr5/+CUyu3GEONdUK7a9+v0kFYzWfRU+77s8Dsmk2sz3TwbzBDQguJ17AYUhr6iKXeSGxoImxvcs
FS1lpNjX4mdaXqrsVi9+hww2U5wx8Fa5SHxbqNfFkLPFuuo/aRw8ADsJlDuSd45+C290Hk/m6Abe
pIaZ+gkQN9ppdZXWA6h05u2oYKWQ9Cv7yngVsa9UkJGbIR1laVqYF6AeXNvX9yUNKEm1YM6iRE0h
HCvc1WTqumDV/q39zgOQD01sAJGIKPPOvEPqkpjH4C4z8jMCdvH0SIR9Hm3eQl2J4sVXH9NJDrrE
xWFpXvQjte3bi/1GqmbnQB28KZ7Q1YuDbO3pP4u68jZZSskwH7XkZwD74tMcgA86Vs727lxICGrK
r1a6QvY7iPt/urdKkoBKn6CclgPOa9oM+E3rxi66dLlFD8GMCk8TR3UTO5hZeL2I8tfKF9Y+dpP3
JvvnKJPvI46pxjbBdV+9n2+bRvltPk57UUG4RojPN7bThJpQ94sxBnAT5BbdTfPm/CIddYzB/Pel
dj+OVr+w3tqjnPrJDNLVXxwh5tkXNdUJ7OBBszUE8OJaCdNb1oMwqw0Ogxa6bGyorAgRGe4YDHdj
TRFvzKfrWfJrEVN+5lStpiImHpiCdFxD0BGr8GIj8yxuY+3rgnnyzPhG9yTscXEwQq4Yiult546m
mm8QynPRHGd+5h0aIBrRpJZFdz/aj+RSy852lmBUn2M9N+/L4grd3nk4adoHc1LzIKgn/ilzky4Z
L2AJh/kqvG+raPy/j0gqluLen7JmOY/P0MpAeNfgkHDu7BtbN329C8JKyZBMb9u//9t0La9VlNQ6
/950U7UbRT6sdDcUW3nXSA64y+6ne+qrB0kK93x9sqkSRbj2Qy8RxEgjBxYnVxdcOCmTejlXljPp
AOE+4gmq6qi2/zLiFEembeUSMgxaiYSOf/HFqItS6PYvqNhqu/avtKSbMb8uQBKBgBZ4xRMGeLpd
sjvJIbx8aYP4XkW4aESzGGQC5rxDqaXvlAzmEdSb29n2FB1nccMir7UwRIBXV0M8XdVDRYttmmh+
yW/u1ChNzbFsD4l2la6o5/xzN9dPR25RTGDXXPhoXvC8HHCi5VU2CcZ9gmgj83s8VBAd780wHfC1
Kt+/J50Flq0himat0iDoSM0Zc/Fi4kRHPzzpZ/DCv0YE/8XZtswYc/ce5kpYbVi07SUeOuF/tWCi
XJiDGWbJnYuvC17gciMZAk+/LVmQ31ia8OmIjgQmtk08fg+w6MrFuNRbd4lcWiO228VJIwxmowSS
ucwjo3Cy7Z0xf5t6TgEbb/zu3g/H4qS//X72mdoSK3grgqMZQoawWR7ZPDopNVItySnGtgNtM+VN
io7m3zrb6ivIVNY/V2M4yii0g5PNQzVTeke++Yg5qbNxXQnzspbRNMZO/c9bhZRi0Zn2Hglz7wmY
sLgfKo8uXrXoIU6niBPly/b94BCtBpkui1x9XkBMkGGgBV9HZ5ha8HOZfGVhuoQFpeTbQt0P6BY2
N0QVdyTOSTvMKw/s8XVtG2rUqmhkQAlSd3BzjnUTP9okpJCSdbrZaXju8jNj5FKRIiip2/rnTo2b
sKtdyx//CL3aykd2sZ5VVtDzHhOEt7s2RZ5LA3ywrkxYjli+YteD1cspBxmj3DwYf8Gx0tQLxU+2
8ZXEu0SxFHUOQ+gJyOK7KxhoHYgXXYbceLICP4qn26DsKMMLGoVglraeTnq7usQptChAvrOA6Sb0
g4xyJHsh91MPm5/Jns0WZj+bs3jvJKOwGTOax2sNgCp/9fL7Isx7HHlWGLQUp/Fo1clRluE/p9n9
i26lkEwzmW7tfkNafguVzKVlKGVtr0JssICxRcFLA+eYYZOOheOuLzmJklHmxutpsKyWkjaDECPd
0ByqwA4SzV107GdqS2vzUj+WomD14AqUiYg1rk6/8QLDBmzQ8r197h3erh0ww0dYaYsue28XaGUX
S0Xn3vkdzSy45j68zWIwf8dQI44JAdLuDC38CvM+LOfD+N47yVQhC3gH3dv3jS4famN94EGRAstj
Dv827ScpMSVrI68ICiNDGS4RQZbvNOFueKo4O9ZXfCGCc1MGbV58WM8s2FB7OkX0Pts8OOwEFrCH
0yXFrULPUFG+Gx1Kv+kqprzibVtGAdAOAziX8qVBxrwAs9qIgvJkFbfy70iDxTuS5trMM8ztw8iO
+wyGC6DMN5T4806zES82k2ozaOG8xizDaoMXMKdVd1t3j/q2D2N41T2rh4inQLMezMY0WmjmIJvg
+1IXNGWnfjXvSpRFxFLKOp7XrLnhlg0H8tuWV7JEQCrzDQMd9cK+luxfxoeWNqtgFTILKzZiCwE6
wnqtBv6+B6P4DdCJeuJf6RdOpr+Y4dligwVqmYkpaLfCBItrkyGQ5/rSAj8KcDroSMp6wpXJlzBb
NPDhbR7kWE3K21n4NH00Zm1XtyXY+OCnnP/tGxfaC1ximEYrR62N/4GVSSS3qhjSUzfLq5H5RBkZ
zsf5iBXFgPS7s/2IiUvHSpY1UvU1zinRM1Y+kA9c+CxyM+Tl4xACMBgy1nMfVNS6ghwCTtJVu/7l
XXhbfMiDMd752ztJn1bRClqrJdi8VyZA5zCm0BCZMnDScgilO6SRtRYnudM0UfEUeox1pHHc6JHs
65bspff0ysebEt5Tu2gvIOuhZn6Mt8oYzl2GGMlBw2LdmSKRJgSIN7iSh4aeZmk/YfdWlJGAIPC0
zMWJz56wm1CadH4XjZDdHnTRVvJhXWbRr3yTMCWieScD7pklawLs3nMxtf5MTcaiiNU5izZS/6T4
g6V5S8EW7zkTh1x1kBhL/F4YgLzobbvbwamXx+OTn6AapXuJn8SGgLKcSQtQQgVdz+zQuroM5xhg
Uwo4drB8QVJj1Nv5tQXRAhOdR+tXJVGoOgXkgRghB/8hpj6glrAMgnbZfJFn8JO4hlE4s12lma86
Ik4gLoOmvz7YpJoE3+DbBDmI3+JvOCnOP+ef+/IsoNPpXKhThaZN6LAHPdBN3wyaENkozOXAmWdx
n9J5Ga/s8k078jQxVpQWrJh1h3WbpEQjf2Q7MEMGSSA5S9qMZyE3fTaW04f2F6ykpD5KBfFGGXrL
m2dlTTFF6rxsqYef+1zaWPxMKzzIVb8RprUyJCV14LNoIr9bVH7tJDbzc+/mQb6+I2vC15KNuwhC
X9gI+YMQ8ROy16yZ22G8E0eDt+BLH0ajc1yuDBL1MI/0QezDnq3usuTknjmgEKxe4Iz95OwYm9J7
EkhnrBotMhJilcGE2WMzfwy+GrZLeyMIkXmKJVP8ysmY57ZXpLPgUZdSalf6uH3p8nAfevqQkEip
Z4kjSYlRcMuwFe6GOAq1eCU7VRjhyzEE5GMfMBJzMXCjH8UuNg83IY4pcXFLdtfmCFShngKjOc7Z
O99Ks0iCCJjuuKohCAZ4mzTQ1nTfC4NDPVyqB/+UWAmFiT1saV3/IZ7g+RKvqJtLb32Px80v3afO
idxdvZKtTqomBtlP70VDvNIwH24uYcOe9y0VKiRyjHUFxobmpu38KonHMvtW4WPVBYs6Qwyrivns
rAY0JXQVwB7cCbvQnNI12paG+smP8hAlfF36J3EpFX7wUoZISbr0jKCAk1ZMdTYtHVYe1LlnAnyW
D1dkPT1cq7HikMCRR8Yy+GpauB/dAoY0r5JrcBqMtWM/Z4S9kDR48if4r9+5gYXuITuPAOSVXH+o
QN0aBsxUvrIYsetf92/dR9OeWLcz97+hNSrWsEjv1VBF63WGuP3vVEk1+qo2k0lW+hBWvHPKdZZf
e1Tp6NzHcYi06Is5DvG2mG3nzPI6XARtPxY3/3AKNWjOX1/2tNK8kagBRbuv5lshsCv9VBO6uO5d
vhPFf4nqv4edK3DE8bg/DrVsPYgwbSMdIA6HTRolJinXRqY+DhYapvGGtCbcE0FLbKuHvf03SJvD
tdAEg0AuPsNsiG2na4rg1lSr7+dsYdzHTpZZ+M6aJnK0edlGO4fhufQvy4vxLfZto2v3pRzN5/uj
bsm+n95SLe21lYCM48IPD9dsjqg/6d9lT26McYnpiO/Mofzq2h4DryNK0H2F6KQsLJ3xdfbVLlJQ
SJX06j0yaJQmLDpdxJpgzKZ1/KOXx056UQ1p2wmrge9CYnCFuYi1M87Nxd91oG24wmEnKHR/B9fh
yQbCCAPWo9qUffVTfx9PEiwKBTmjGbu4yNXDGz5ApBi6l35RJ4vIEJglyoRfC/tSrsXLq9r7SKTb
Fmty4WIvroVxg4nycPqbR4OEiiCir+A9AmfkVX/VJOpON/Wx2XmO+P/7m/C4+er+lV2hoITab8tX
nTa5iVorGeahBLn+OxJ1K8Mtm02w+qMwMMBKbbZ5e2qFxGX7SywqXAKHaFNUP0aTtsaOilBKZR4z
nknXtq3+Wb71rpgxpmaDRb3zZ65xnATf6OFs6Wy5F/3EEcuUw6V/cr3en8xZte0tQjN1uanlFmVf
l7pI4qDQkbeSDFW5dZeVVDOYuS0iBNyhPeMQsM+U0stCwTnHXBJXV/di7Bs7bfz41PABF1tN+hsH
V72RxzHBSBijfITrYyZ5tp8Y6PiYlxwqYKLTg8j+DPcuOn3MG8RiKDcptQrcxCqSXhjuXFn9bsqT
RvCGivl7ohNIyIUvwcCufJjFSORoACWktdj3tZfDMdkvSvOPxaWsFSxJMkyWMLAdrhptXkw6FRUG
pyGPWYYczV1duZ+u2B8uMjN4I9jQSYK9Ufozok7/OjK/6wuimfnJt5dy3iQ6UWPyolckquYdE4Zs
8dqEjzQgj6oiuKd7n8rXw36s4IXseyOV/XM2nzKV5DqfmtRuLAhLx+F5UtyYKXkwJzYFtyf+N0un
uaqwIyjvh+b3LbHZA0GWy2e0rRcwzzUuZcRyLZEkWUb4OLXm0oFnsKB5mjiozMErQevdUifLU6/K
xv3o6tXaxWOcwoi5lgssZlY2TsiwqHG2ce+cZxhQ/UNEhIe/QoPmwQ2bwcIg0U2QzpTXjX3j2E7T
tS97m4+jQvCeL7PHAnRrjBjk9yhIP66MBo517SM1lb3K5aG/gz+5hlrTUfZnWb78hBaPf8tS/XSV
/rpVqIdCtsDy5drcs4u1Icw7p33x94rcyyNleC0NEoq23GA9NQfCey+jXOhh59/FipMqMHhXx1HI
KvGmi9VW0KxameG1ue4egpKL5by5tozJy9dxyhuldFcy5i74PRmSqVSNOwqdi8ohqrKuJt++oTnd
QhOvCLxg3zc8bmnaC+h2PVOJdDJaNSx2GkSG9SfbxOG8dfp+fYf0yNzRPOc5OighMB+ymMoF1WVB
iMmTYAmdVV93V6qegBsuOw4btcoG5t5ZomqE0vFdZl3802POO4XBprp+M5WVGDb1YyNmesC7fP52
Ki3aYVRkuspwN1WOYQrA5+mTgolT7gerEVMVy6F67wHU6tnmbXSxk6Ns/UJUuL7mlS3Q/Z9kBOOt
yXBzXbm3a6DpP0L0quZ+FiGNC0RCVIQsiDOwfgGE6+97LS4N/orrivLzYeLcwoi4jW3PR6BYPfEj
/hJ9FNV81WT/9hPuiNHzKkxMWVCN7Uk2IOfqiknaHryFIT1BpEDGYAmlGJBw1phme7mfEXv5kksT
nk+L1vMVLFDMVGPvopbZE9xPH6vWeXSfppqTaYzNxUL4SUyMxJyXp6ke1yb5IeQcDuaxfUY8gr70
MDYtjYnVvKrHyfHnwmDyZLqMdd+gaeVXoj83qYgeWrP6sJhw/HJ5VjI1yza1RmPjG/wLIl6+umsB
4dUC8TB4QWh14E9IwZLrmrpAWlgwjDBZfB2HEmetA/57QJ7U2Ekle7nWA+5KTbHQMzYweDfKd69E
GpRlzGSSELB7s8CSI1mMjyErlUzY9CfFWyMncSIGTxrYaoMLe2Wsdp5tAbrQH+U2GdSIXVL55lzw
uMH1WagHAm3tYBd72WqWldMwVMD691ve1ECWQC72OFCumqNbAlOCxVUsaJBbxVsd1xL7FLfeXFSZ
1KQ7bx47dM6bNwVNEr+Drw0pZX83XE/lBSSSHN9Vj91NIxstJ8V4axktGoV/vrZQ+ckiOGtKosKE
NXbS7yzunGBZeyoz3nE7LOckCvlZSMfso6h11rCRyLJxlacH/mpsX742175THYRRtvvIGr91lt2H
qpOTzOz6lyJs2zgUBqcMsj3e6McyF4jpspb68AyO0ms8DYJ61ye0j7ng7X7sottmrAa2L8eGzypR
wWVSe+rBdtK7hmEdudby0c3HGyfpwYAVnW3g0Sd12K3Kc0kloINbMnqBPWvbVMwuHxzHJ1HiWDcm
474YnmKsu3KVy43yoPJYvW2e1f3HorExxTH2xgqpvwZnis9MX5j7VV8CqlG4G4B9Uz+g7hx+DmM8
jsjgBeFSOgMncfQRpsVzFu95xNwQ6AoTLVdVJOBeEjh2kzdURmH3WWSXKveya62jV0GSE/uR0zcm
I6WOHDs4tOXgQ6T5JhVDEgN4HPAZcsXq4+cUjdJ9JZ0OW2ga0JF/7Cfl1Ofj7TBeTkWTRFdfzYwU
zZd58S628rDPY6ap+DgJLHUfK2d2afkoNtw2D0TngRfITmRJrNXZh9df9+XUMLftbuS5zn71NR+k
Vsw7uWsFvf/cmmbGsB1dfhbzWm99G9HEFH4Z4NsMqjd2/u1NY6lilEjhJUo3R7EBDcrY884FZQLl
T39ZoJdL+RILYxFin2YsNIxdmdBkWzsiUPJL6Kvh1ddjtdfn5N3dd5x14e8rZ5zws+dK2qQLqsu4
coYgCyMTf6uJfQAvIgo4hlaCQcuncv5QOs9k9ZluYsCYxEqdseRgwZ0sYlPETpXDoT25fbEnXKar
D3pnfQMa6gPPFwuvdNWhutZiHkvNKN29scu+PFR2PxdDA97WH1vj3yRfD+ogF/hYu158eeaiBeDj
J0EX+xEmAZtu2bp8Fi7GXFqgL7L37zUjNdj1h2u7BKiiC35mvzLYYJ8rjq1mccPZ6PLNdc5HPAhi
v8ePzCcrDK1oGNyjwfrsMq9d0p3VvX7AtlpGp2c1ybeb+RTstPSIs16rbt8m39Q1fdhE8dncVbZv
XMIumk34HDitDM73ES/WbiFXWtSyXYNWdVOWUySI4fVjQ2nK3y6adGVBixoTGWQsvLjRpmQTUP7S
DGcadqNNJ9nMcoCzx0jHpB3W+FWLfMCwgj1Q1e1mRclB8ryt3LQNhPi+5WFjW47WZvQaLpcv2a+z
TP8WjVt7gq5dvZyZwOlqr6fyynwvVQ/A2Gz/9pTah2kg74b92T8iSyPLVaGalByqYJrBemPXe+pS
rlrB0Pjnjn6lNEHc25QLjYzw/Hv/nXST0aR5a+/e0/3UMDYQslyegz7KJXIJLP5ADEF0mu1nRzMc
gR/LWjLwiGd6kiqFwCfh5dVRGBTGFFhyN/b4Wr+a9XpLpePnPLo2NxWJzqUlMb2iYoehp0C6xtMZ
7OjdHv7Ncj9MDWSmA25sUdwkkVxYs/YrxEVd/p0QG49uyBtCdLR/S7xn9WXFx2SP8VfrwK8sVXkA
qQk6W/OCQSEaaPo8Io0k21Owa2lXTOPAO8ap1YcJDy2btbScSxy7lRaOFW4zID2Rr5+zWOUIhlo5
Np9doep2OhKkBDGDmUhugJkw31Wyd942ph1qGEgjNm+FHzWhHRb/S81iF2u+Wps3ydBRazI4TS8+
rzY5lodV4REVi112SRKbpbueEnWodFzPtgv/R4LZ8Uo6JAMKBAm09fkqa9F1307JRhv7YWf+yU0S
2RpjcdRe/eZdi6SZBfZYzvAr5Xq6mrsEyhYDj0pOqCbeAAFiDVWuuTJ4/C9cG/VJwalVcLeZIycZ
iLQpVHO5GpuxoarEasTxX6iOw3RMAMdMRgWasq98LMuxqtlixTTUmnYOR1qDq20vyzBW5kpOU8/6
K3pNF2YfJKWD59nTwPUg28hzlDFxqyGzHmUbyybmgTcpzhG1JXpZVDMVLr1IFloaqVcupUX/WWYT
pnu4KY72ATkLOPJc3qSWU/5dq9dYJQVKM2I1XXJygOa8bpZdGxEwwzPmOPOrgHBYSLb8jWBkb6Lm
OXcWvwn7fciIUBJRrFTcfobOiP6juDNWWS62KdSBbnTBgYsO6kLDCdmuRrk6XeeABPQ5Ow0Fh+5S
4r6k6lcyj0L1Wl4CY+a9Y4egC/7RyP7bDLi+f1B9ujkCFxjmWPqmItOyZn5ePQxuH8aG8T7ngXw2
2PHRvCMThm6Q7YpD+gP+fzIiNvO2+pcr88NK916hygyjfOJNNXyuNJtAgK8N+5+npGlFWFyxQXqG
GOwT3xNlSdRu3N60rJB07/b3/wEnn7oVSXZELC3r3HDh/XXOYfztjs3r97kWan6ZP5Ti2cHXJSC0
X7/LWdg5ORWPkHRt+pDZQw66F/w95qENCS4jIVWvRtecJIEsntE8n5JOnN/HIN2ZvKfhMrlqaAfr
OH3qhHwWasfaJQoeWdlLP9OFONpKzGM3NSeuviwuTRoPOL4NYxS781AOS4JhDJzuBlG+FhsadTGL
JpRp4Pxk8TLiZgrY9kjDqqeCu5bLNrJfTMITonu5rz1krCH3jJUf0ziHKBpPRTMPwJncB03TjF30
5hav9O5mCAnFp7j28WR6AXNb/uP5/mMYX+klLQOUnkcpOPaxPe/jOSVhuwHh3gy3kvNADefsWUHg
s/Dnnv6g4iKVM1dE07Jy4Ft0d+TPKritwNuTjfnhNzeQmDYhJ6nyxA7EJ93XFTQ73fNgChH5Gbau
gIbn3kShHIkXs0QLRZdeZbqcrt7cTUm1eW5iyabGJpw+tg4mKij5+7u3LSUG0tyvEJZIqT3mzW3v
kKoUmC/I1Ekq8+XkMiiXjwhQulCCMz+bRf1cKC12pa0M/0ZJpiB9v33c4sXEdzzNugPKcn25xiVF
020eSGXH2JvnFwcsf27tuDCCCu7NvF1zshrckOLWfi+/qWQA6qySDEi9tyRuzTBaT4a0K2W2rWf/
ojlD8nxfRKlrPbtr0It+SqhTdeavJsl75e0z88sstfioPkZ8HXgbzkyuMu4pzPzOagDGG2yDJyWt
wja5G4yTTwghbDBcsq1uPxKfssFYS2LROaX1osKY4SeHqGeJU3ym47rJctLtdIfyufEfGBq6Prby
9YhY1jYpbQ3YvQ2C+1sYGiqlDSnEcmTQil7mV0Aye6uabEFAt7+MjyNJ9GM88ikimFButyyqyzbT
VT+gMPnSCCUJzcGjVMaX2lV9d7wqAsZveiprg4kCLfIQZYKE8zkTlOZ9VC2J+nlkBk/1agc/N856
6lCBDj7IvemZsDdQrbNCM/dLjF+P/ErQq8uC7UGD5dQScSJqLvjmL03A3aOuQLVhVfBi78Xc77W2
HezrRk65usdmuv/6vTcyXQt43fFmz16me3oM8rkwrsVYICxFbCiru3sMZOp5Hj4XZJ2Fbvhk6hpg
hPL5WYr9rH5pnKvu5mClodtA4AtclWw1DEVOonLTy4R29/Zdj9Sxm7VjzJhxmVUN2uClcmaq9HOq
/Ms1M0aAP1gxcqjS2smUk9XbuGD/D/O8h20wYCIRqHuvgfKsLcvOQJZ7DhKEkvjhCggJCT3M2Xkk
uRAcGw7oWJPF5z537bjR7Exo3udm235fPqHSK7tMmcB8J2uYFs68udxuez3OIIfRGHKPqa5TNRkW
po6OfG6Fhkm4GGjP2xEzdLXLGrikpyiT8XykIyir6kkZb/t8FjfKIYlwJbPtXvSplGBHo0p1RQvl
lNH0neWxeiVHQwh2oGQaamvjDq9R6l6d56OzOWE4MmFcUVIGHnbwWUEmmKkfFQCfy0TJqdGP5ztC
6I3we2hGZb7AfxjUXEzZrw8VIE4v9hZcr88EYXqo2a8nt8YJbllPPn9urD/up9LNm1W8SeyXqWye
wSrQLioMz42DbB6oyws0Xrt+K0w3VRTITqyNDso3cymjTb2lOxzUF8rM0Fo/mZKqkaB5715P3hXa
dZrxuJyHN6jgVnrwVr9GtkdkYHZgN/1aMoUBp+PsJCDBK66vt/pxgnhaBIE4je33Kw021A2INrFq
KGSwMNLRMtOc5DqLbO2ci1zN7OU3sxuubgOR5zapPTwt8eLhVt/zB0JOsG1p/n76XubWe5kkrtHG
dwuGsC9fa8s0vPH0b/dv9Y+tQ+6Xcv0MgxCvVkTxmE63G19c8vhmxijuAxevUi5XSSSi2YYbFhN4
/ebSwzz4WwU39fB+gbs0Jh02rZ9uvDINJLBPVPLHQfxQWaQ/UrvpIjbz5s6NI5vpb/dSMllLGxu/
BDwVFXzPRbSah8X7NL1GFc1yKV1W8u/ZQOSjA7iW18oEz8i3EyoIAWdZ3X6T7q91Kfat/f1nm0mr
Vc6wu/y8spokPrdJGoDvG4eo7eRWz8aaZ/uJwkQ3KVdmJHAClnjcZFuqbt0H8XRe5H7vmyEiyDkt
eFYjmjKh7VrDyy+NfOPRXX4XWlBwyFSu6FonwQgFWEW2bHHNK+duLB19ale4hYVB8vZOY1jJZNDm
mRhto/2RPdJs+wRDP6MT8BbaK7wenpEyK7tuCJKHSfvGb+1k7OpfESgPzNa25/7++h5/VIxnTaQq
+3S0frUT+a6QkFKDo+Wx25i8b2KRwEHtlc6WAZ+LyEOY12LbD5fbKiNhCiYyuWumafiteRkdvOL1
nQaHee/8ww2wZo1dM0CHUwdDepGvHSA6LRudB1TH3wnJ9SYJVqKzpJYoIy00QQbziHBs3T+9abOq
FLW+5JBNSh3ZBUww1BAJVFVRLFj3R/K4g+MIachxlFKn/cTFEySIMx/UiiPanBtK1sJCua5NMs4Y
0CnfUcwKQb01uj+mHzbivPI/ku5rOZVkWQPwExGBb7jFewECJLghhJBwwnuefr5aE2fi7DFLoumu
rsr8XS6NCTZazTMHrt6+7PGJxVfCZv6eTFcy0XAzgkpiSFXgPsd4X53o+tLYCp8TtxGrXHdNH50V
zbscOuVRFttn+S9VzB/riU0lvarvp2V/c7xJX4j34u7qvyG50jj28erfpWo0bioKGR9xW8xxVT/H
B8+Uzad5iFXT689LvHm9f8Mp9gjmQvLSjRs6km6bqoBy35e89CEhg8SwunIYXp9v2b+ST5cGcuLt
FW+Tum+K6QtYsARpuq/qy0Qr+1eGD93/SgrYM75I+ORlvknW1qLBMz3/mF9OknaLaPTcNbxvy6h8
vFZu+X4qVcoOE9na6vdpRs4oO7lHgoEq1pJtxc/Zay759u5TOvXhMzs8TrFw98Zp2hB7cQ5Dh6Bu
+qxNSCSh+QwVqIEfZtiARUPfDjH0X9LtZRUW/J0dukGfUVTF06S+9b82zfJep3wbU/4c7KLnhrK5
6A7VmKhat0/nDY3ue9yGYHTanc3VWawWX3PRCmT3uVHAFIEwhzTC9N5bUxSdy1lS72k/1k03T/Rs
gUC7SHOwuxbz42ehuDaXZayXnw5DhHZ0sMZtU2qMiW4nyCY98t8cmKwWhFoyO1Iq/1VJA7BsHb4x
F+AqL5n4FTG/m6/JJQCcR+XaXrau6QXlSV7BL220vyYRNNoOP2XzdCw5omI1O7tPoHeag2ACVdon
vNTi5ZXaYfztRiiK0oqh7Vna+n5OMunc2TJXjerIcVIleK0L6yS+wKLcLcPiOjeCU8Wm0rKdloaa
TvvZDjzHKQ+uqSxhjJPVL5xAKvS1yeNjvywF086xKSxTZ7b4eJKGcslW/dSxKWVHavHN6wzAcYfM
j3laRYU4h+kg1XU2rFQSH9Mfh1/cLrcTdwbcKrMLHGs9Z7CrsFcvhw99mS9sX06U8Us5UKuhTa/C
Qt7is7RwAnVALBXfedqJuvvZobQawVFTA6f1ZRy1nF6KAQzmLt39w2MfCqe1mJTRat+45wVHlRz9
ibljxPXEKlGsmqNQL19nuc4hKl/zbItsnwHDc5+cihay3f3ZS1GWkMdeR69xNHCovojC67dx/mr8
SkVVn25fxst2fg7qC68jtVw3ilcyu0q+lpvsy5uPZ//0naoHNVO8sTV5ZWOhcLN87r6VKo+77Jql
QaQOk7W3QamxrBhmHbW8sqFAoboLiWGNC5SAiOVaecIbmbOkxZKNSsr4BeUztdnTqQqoW00wWFb+
Vh348iNWze+Gu0c12n5dr5XkMty8iwztddXf+KzVL1w6O4Gqe4C3sQdD0U7LtdoUI6WEVTxMdOMT
r3fi1twporlSFCfHkqPiLLZeSeD6PL8kFqGYAyXK3uKY3lRSx5odw8Bvj+SxLm8ND8pVVAvpzl/w
q4Qy6O3w6TtejqX4ZB1G3HdyxoURNYqMp5a4WM1CYmNVA8EFccs29MN9it1nyXp3N7az9VDp46bc
FRldB71AvdbJqjINnCZr5jNTCIUPSJyMn/ZOeKqgh8ammyg/hr2oZGlNye9Jo2mtE+93/z+UnCqw
/kpVRW6haqyBh2dXIu6x4YsgQSEl+tZoJonrxONCW/lngNpZGzjZAkJxV7DzqPxgA9j0bqKOh9NU
3bt9n92plm7lp5pjmOKLPwDQwgDvuHdxcBQ9OHyMLaL5zpQBJDBWCou3KLwX33vUyvMedzOeKsSO
G18qMcCOejUMqHD4Nr3TKGN3Lt1ZfJjNU4660/LWdFxDYwcUus3fvADkLM6ws76V8/NfGFct6Hrx
/M/iZ/uTpgv33QtUSayW7JupjmLu5+POlp3YOimLkI5cZSs+jqEO1AsEH5CEy1LeV/ze3TfATDBw
dggf/zaS2bqpHiSnhWI7P5AETawuV+pSCbOgrf5ZzxX0fnu9aXEUuphNoQlpq8kq9oNw6TtELgbw
vBZGd2kHrvRe1AkF6xG0/S4wgFqUXDI3dAMsz7lp855XHipctI09uvvmHU3njZlnBmKYtjP8X599
5fukUY4qFsn0rKa3S+y05R2HaWJ8bkIE1+1cP07zVLeIrMJ8zfzpXprCvmujXJq62n6BvLpR3dzO
gTENpNGyycMg4a2TKKIo4T3vvbr5e2NJL3z60cHNgpUwrrgU3SCU3aCeXIc3sY3kd8oM7H1JhlRb
pIESBkSCY5qhP0+9v94UYNOfZUvflq9dvk00D0U91FzmRt+Jqj9l6i3MH2+vXTEa58cxvJmFmu7E
5nbTdNv68kW9OdGAtL+D/Ohcfbrh00MLELxmJzaBZX5Q8tdV+v68lyu6GGGD4djMoA9SrLViOLt5
eCPKVjj+u5OfbxJDz9lfNlRYxnJddr8kLOvkInfKIdD3udNkzSO6esRyMx0msqPY70N9XojuIMqK
IsagcEeAjVDvHd7n0mr2upTUx17tjHTKW3H3qZs150fIukDpGXLH+WEC6RIEa4xzXrh1bKCaf2V8
o6KDxZPKdKWUY7vfFSE0mNu6G+HXy0PvuOh4f9lScHwYALUvNn7Zcsq+XmJ8bAYpbcrQoSU72fYj
0332H2/xXvpQTEdafSKTfUKg9f1a4THUAdX3s/w4Uzf0RzJ8UpRqMbwsH14/tp+3NdDF1fp66x+N
z3m2EDgSt6ukBqtZYtU8S/jPdTLzSMDfZ+7cuaHTJMvaMvW5H9ddLT/ne6JOa3ucp7B6l7daap7e
1i90MKvuarafFvfHqofp52wo07KpUB3QZzNFizXeXyttNcO0+CeABaqSKLrfCUr1cZa+r7J4s4Fu
gSUrw818iJ7LCkxL/7QeBh7ThVJyWVGc+rgHiZDrPBn86hWQ/ekBSYcn+/U+KmjMxdaOXNPy9RLj
DHxDtXbahfMIwelZ8L3Fd7Vle/9hy4vI4RehAdKcZ6dFL5VTDgDfXaCk4VW1ad+l5Wxv7bsXbyiz
L+TJA4pb9pTMwEt8/OgZtAQ9KObIz+cXDdNmpKRNdKGyhr5X0b157LOaIjuUoN7MRQW31eh302bq
/690sgxw0moUNy1B1g7v34iQsXXt3QaXOWdr0vwIcRsPGHAr8y7tpjjZlX5Ey0e1BO1F60RVMBIE
hb1v7CW6b39REeQUQKp/+vlUbVtLjmD2wPhsD34fxNLwrB11O+dhLVin2Nw7n/vm6kOpK4GmIfbh
K8RjPVqS0ciKhB2tOmxItnyqGYiKoBqvZcvVpmm7SdL7UVcz/W9eyVfOsIjg3F69agdmJfrmti7v
xUPBjCzFtcHNrWNsiYCLEYsi7aLclzNd+XH6dC7HJ7EWiLO5mMUqyzYO7ttYQ/vk1qx6iY4acWqQ
gJ4U1UFZ4QPSY9yOgWJzu5Rop8klvB+pnFJYbHU9T6fX9SMcBtdAyCbbKWBNvp7tPMZeuWPTbmO7
8HuuTVMwdsOoPpUCsmbVjuZ0FwCBvMkw0/5lGDNYTkqtOmvCtzqzse8eDViQN/uZaeRX1WhX7C0D
dkYNsAcsXIb+ado/DQ8/Sg8Lrz/9eTakRGmNEDr3oIMya0V/AP0/mwhvx9Ig/IOKnG6+gYmZ/0hQ
o/zMX6NhylPdZcjDetveywBh82ZzjhR8lsmYH4lmdnQ18cjEBrKk0zt79Kl7m9+Ftwl5jz42Tdrn
EAZ37cOkTe6ZskWfO4/366P8/JLJsivdf6LKYcwhzQdRg4H/odpr8iEonsCAj2CwvrfjZT8sQTMI
7KG0t8+j4yeqq1wmHL6Fyzs8vHv/ydRI/sym75to6I+9ksuA2SUOvRW/86sLr17iTNiozJFGnPP/
XqqrQEgjSpEkCdvLdBdOSqcTHODv0w5v41OVhn+3leOvsIkNFAjK4Mdbtg3jWsz2ypowFeLMXbfv
JES2MkYbk21JPL5Dzov0vWH8K010QR6ZLPHb0/egvXAX+uvVAsfjm/FwEWsmgjgwQ0YC+Ha5jLS5
YXriRLSf7ALkl94SWKiFoLGp92cf054Jm/cEdNK/kFcFdK+5M3XdMEiUIYnoeh59copDQkyVODQT
fQncpmxkbmSYBo1Sf3Jiq7aOPRIa0HC0bomLuEQ15ls1lwbk3HeieNGzBNxky2iGRxSYzttfJcXB
JAWN6WGAST0tqqIw7B5cklAItFT+XGNV8JXRpiTZaAw//WLUX1RzmwZM3aD66aKtvPkU1iNghF42
69SvbXfUECcOT473y1QCAh4VkmtKaWb/ZhsKaPN7Hr3NQkjESO9o1gLB96ubsi+3TtRZdVT08/cO
wPpkB098u1BgzPMXXoTyvx9G2BdKyJvw8HVrs2jvRKFt8HWpbz714y9UC7rhXQF+Jc46GcV7bgI5
eeptbaTbsjBSI58fmmr/6OMVR8vidrQZxS7VeKawopX3DOHCqeJ2XTfR0gWmz/1NoncL+wYduPRZ
KjOay8XUwAvXE71Nd5116/ZtsUpBPZ9bud0oqXU49PaJxoYYELV1rebzusQ6ghuo7jPAQMpRv/fe
QEItSvG/kgO5HWDwdCWX6JHTcdD5lcl1LRUN4TY7xM2z7oEu6y8z1vTX64aWamEXRfTaHF9+y7r2
AqJqNr8tyhTkb1XAAyQYa0W5HEuSRkFsDBWvgiNx+6G/QnrwME8p7jykQqJ4LkXVRDHzJVY0WQOT
6QnOH2BftotezCjFsPeSAzKBCMhejsXLWThTlu9/afbDXP1FA8lF9+kBR99hxO+inCTrwfQeTI/x
EgSD2KIZzE7p30DtrscWzXlXShkwQ/RQjEilqXeBaDb91+eqI38yZO2wj5VNQA11DhqnykwUEpAO
QU2tUjBtOz9LlZbGYpTIikt5ScXb6l/lojKgHiO9yxWyxRQR56aXj4Q2n8cPx3s9JzGErs5m1X30
ku9/XnhjKvh+i/n+5VA+5CqGJNQvv8aldjetxSD9BonHGDZNvKmL80/N9q9G3NA9A9nA+8TKH/f+
Y35wuhhPPDn3rr2YUFDnP6VpvJzelVlByvfOgUh0+R4dq3ntAkxekS/b4tU0Lnp276+Z2wyrciO6
dA/SK4PbMFF6jmbi+U3rKV0Gecyy7Yt/0/80MgahmzUhBJtR4Vn2+qYcA/4d6ntTkuC7RL929z8P
gVfvz+Gxce2rcrUPzZdvGi+sXtWdwUCP4vo707zKTE9V7l9yh5zgITWfOYm0Ey2Fkd9axi9tQlyq
wKr/NM19XY/OQbBDtifOJlffYjlcwFVETfnM9L2UTbBLEo+XlplyBpp2qtMRxqgACLR7sDIhNiIp
5Fcc8+/2VKIQLRiL1asOVg3SHOgBNqZ4ftXY9WUSXKq7ZwU7s5UFD8kuUNfKRQ7bJ8kHyIdJEOop
yNbHGLXwbwKttAlJYbf8v7eUpoOy/Dvodt4t6FQRUJrcVjcCpRINLPUl3V9EeIBzA1Bla3IeeTdJ
6ZYUAcdSpL2KGUfcSgbS6vZJF/CI6pCK1ShZ9bkILsW4n5g+a+BVCJ+mLyNzIujFc+2F+Gl7WMvm
BYk6G/Kn8EhX/k416ISRuTay0VJoFv8ngt9Lm/5MYNEuGsviHeiUrV9t7NSIfDAm5enMrnDxj+hc
zQiV19u6gwrZh4pD+7W1sW3rOqC9dlgUC0Ls3tCe6NHUzcrhZzRQPR+ckCgrjuRn6TW+jTebAO/e
Ut1NpkHRmHXy48/1dafm9dRET2h0ZGPNIAObVWUKLgR3/A3z6/LS7K7pD7DB4f3wNPSKekso4bEy
5fqJ1Z2Nu2vdCWwP9K3gnpdQsxTxzsld45msUaTFWiCS5KHqP26d6OLu1r3oDiT4BeYp9KAYW1Hh
hQAzZ4p6NrtoUqISHFMpH82JOBVems9Zuh/vG96npAySVn+9Oumo5L0ydotyiOM5HKZutyjInP0j
VST/tcTjyYH9HXCihzYDCG2iLgW363XRg7FjyRqTwmYVQLVzBmOcpMLUFk6xqbSVqkL/lvi5JOeV
1AOtZt5IFT514YmGPN5KUy3QzVSAAKG97tVLVA1qDX2QoJ4g0tO8AHqUl8ljJb8YxihZOR+dH9TB
iXFi1TolRgliyazCqacaKolgStW1w+4pxArWGjM21d23zruoSUhY1LpEX3vYwbn6F5UXF1wGAhWi
eKr0BE4rrELdfIKF6Ggz04obfaA4DRPUQu7JXU6SbTrJLlhSivnhc0OiwNIU57GP84PrdXmfL2mp
QKQUiAMUHVQm1lKVxebR3G/3etYXla1BVqtKmowGHAkdI9X/VAZQHkVlkOdrvCSavQdYNTXef/jF
FszmY4OPDCiUaimo+0FUx1nu1AS73tbVbapmMRwejTXqbg7CVfNvPxZ05OCf01GJF5BvNxouiidI
EmN0/NbU3OefOST/4cx/0COtvtobacg5YavfNxZwmpu3vy2K+/Soei43vaDIOH38QBGK1fwQNhOV
rcjo2lODGvuGUc+gDwIUIA1cGqORdPvS3kgOd8yr8Ei0HGTqzlCCbKu7Q28X8MpiPqUmCnLkhbX1
7IZHOE9OW4nl5PyUAxRcQ7tPnUyqa5LgoqDdT7zblRAqfu/rWPJo1qiduRdkde7ECP3w08mP+5Ny
v549Nl8Oi4MMnzJOINNU8qTTODQ3u2mdE1SO0j2FT/5StZhtVufd/JyubOPVeO/weTvWbyLoV3XX
hoXzcls0ZN6V6ZctKFp28AjXXcOWlT3i9wAxFeWPL2hHS4f3t4bvsHkqs8/lc2N5qdoBZPg/60cU
sIvAuTiI4+7WrrbAzLKrv7qBLNciLQq3n10bjPESWhKCB6ALy5KCPCVGISUv7O2A34iKfuUh31ja
SSdsCtpaKRHKH7HNTSUkin/7i3zLDu2S2WF28udKRL/DRJ7dxWOSW0PEhcwnVAWrntUCcY+WTS9Z
4sK+jMlUYNqs10wgTqZ4FdhHmZB9GE5YcgiJ5Gx7QcNlfav7kgByJSiG4q8iwaym3XRNzoB/XAiw
yCvvTX/0M8vmLlbNXMuxFdKs6pW0WDPZcnrVWy0rp5jGuB9eTO1xeBmKlzFNjr7iWfIi/w9yeSO8
IIDmv736v+gvJILF51XeLCvwc5cdn+iXhICd7StlvIThLKsSHixzjiPri5t9I0vbiLmeh+Gssaas
WnuaQo5PXO6ZIe+wjOO5A6k/7hvwr9Q4La/0Yw7aCUPXHWqb36TR6LYGShutaklT8Ha2aMtpArF2
vq7ZaOcEkg+XPeqAen7sf2cBQCko1Mrn0pdPr2f+PfNlY/+2a598HQRIrHtqh27p3DQMpOLeXipH
8AkN0Y9Rk3RowTeppCHtQ7vLp7iW5/t3qEFZszcirNQGBWjCJsqzXdi93SQwBL/llBTr/fBzFscW
q2w/IoP5HKkf5GoWBaFtlsLnbIIZ52mi9Cb1/+tkbFhMj2samKC2j9VPqvma5RVflfX3RgbB6cNg
nGbWWJD7+AXPs3QT5ctM4BA43hK5VSQHCZmsswsLPDMFkKNTndzUjF/ecl+66LwhSKnWoXvpJkdb
Hiw+KDGQ7NaLqsZwCh5ZlmmJ/vwW2G/rUvGA3vbAYWEZsSA21TZd1JkyX80GLr/LW6pIV25tyutN
UTzPy53xxc9NtEIlhIngz7qBwswXZst3FKu2hjE6zNQqXWrImtKhIhiuki7RWvAQnRg+9ZSgfva/
+qazAwCJ+Q7RkKYW0i6FvFSJY5jq8y/5tRNUps9kI8x1cy8ZL0Bh1LKN5VvhCNqXEFJ8WlyoxAae
mS2DA3zi6ErVnf8BROXBcCvHsaZetzr92c+2H/5F4B/f9tWFJ79Dim4LPTATO1FTp9YIUdJKRCS/
VryTTBUMjg3xwjNFemFwLG7af7Pv8alT/CvU64naumLaxbW0oKj4WfzkxkvqW5rKG5Ma6cEoNwrp
UITLmc+ncvT3jvMJOrNJMAmfQmkhYUiTKkLR2MV8jWrbOMDQtGw7cjd1ykdm488nQ8bb6su2QO+N
8PyW6FPVK61Gfjifb4Ta4a9w/OVE+p7CXDR+uh9in6oWWrma7kEV/LOqDSl6npkQLBrIizQISBQ4
2/u1hFJOw7agAIJ7wCDXzlTiFD3XLeSu4D1r58l5KCVDACcXzqOudO0ZSVcTpe8r6pFbahq23Efp
IK4aXC8eNt1uHokNx8+qTf1lyVGntx8CZ3GtAx7HeBO/FROBJNAKb5OWFEufct3gg7hZ25G0vdfA
0hIFRnUhnNbYdvW8xL3C7GXYSxCY7X+dmrFKdpg0jXLFSLszSUO2oiKM0BZGFH8WrgJjPPC3fdEx
jo4oJIfn6kam1hsG9l+cxGzT2w7Ta9bu+LtkQ9JGYwTJTcz0PJAegkYLF1zRm85HfuuCb+VeSOdK
cnBeZpv8mQmcZ7/n8g/B/FPwz/fdQzF/j9yZ/PxliYq5FefhXwAp7PeapMSzsjaz5lqN59FYAagg
kF5n+kGD4a0AObDbOBSm5dihra3w96CExLcy8va5HxEIWP2Hth0KIvqdm6wY00Yg1+kEzvFPhEYs
9+edamcnB/KZbM1hdybZaGz+5Ve9PnVEOhaFd7IDDXPafJ5y1XxUDSJIu9+5EUuVza5+ruo6HkOa
1CHfGhA9kU6lz1AjkcC0dg6utJi803ClhLJRlOGiIWYGDzDYa8NOMpWnjcPchvsvj4fMBAquuWiR
oYiUNY8BAloOGb/6TfEKXtRK1JV8XZd7YawlvDXoC3LMcKt5qkzi3joQC0o27f4NaOOFx4cwtlX5
oeRrXLqv2izkwLRCdoLf1cqX9jVTWD7C77w3lClWEBGAMJZwAqzfY322xg+IWSVbTQwopZwI1DH1
41dIFLsbgnGaR+YGlva/Nwt71bpALz/TE2qI1cgN2ZOnMQYGHGX3/QQj3qsaDHRj5h2JfKD9SLa9
a/aucPb2k5N7b+lQztCNFTYKFw0PSF/y5LOUmSuHFTlIKb9RzPEXugF+Sa6hYghAJKSSkMlPbmd4
TU1P2OgWJQqUezyAndQ1i0RRLQw7Jrrzuaq+P5Yip4ngRs58d3/BjVzynw5k8nND0hEJkg9U/W8Y
25aPSM2JA/VXq99tvpTON7cfOTrx7m3sSyTm3EX/OKq1kUEDWjjUOGwgXknNb5niM1XXTOn51Lgq
Suz/5lpZ7BuZ+WiXprosPq/slIl/lJkfW0G2SRAA8MG7nuq+qOt0BFF5f25iTFT5vuNtPE03gpRr
onTEjsC08T2hQMj21S2YFyTUmrqxf5+B0KMWeYznkW4vPrim4kHcZZ5gec3OaCNWCA9jc02OWl/l
q7F94vO86CwMHVenHiGmw+WEZMO7gTgFV2uerrWkAFs0wOkxhKv7nmvdk+XnsfwiVCX7s3Tek6/m
TpTBYHMr5KtfkNLS4n3ZM2zcHwtpSy7yxwti/m0v/ktcNVAtrQfmUfahmhKfSlv8yE7+h4KfjRaM
6Bu4cboIj/Mfo3qvObvvNuqdPu5WceQhxruSzarDZx308hZ1fYXNTMNy5s46f5w/UixrV3vVep5q
CUNskqeHJBwBmAH3UyI7+oQcdGRW84SfyTTaap7ZWnjV7GoG2rX/GERAWYU7tWuOJeFNQLQG9z4y
HMOesCydqapHdjG2ouJF7DBHzaEFxBvZhanKgReLr5MIXHv5P/II3HH7tF9BYq4OtT1rBpz02nj2
SAwBlikS83tT9U+naJNPxCuYVGSNOsDcb2/xs9BmNafhVbB/iaUxPBxsTh+/e4OLyCAz+5sv8lnh
p/Bu6h/OLdpBZUJ+BV8IcgnVsl41tmwmpB3EK0rsTDen+YGzDR5v7v3ewG9/pvbXvklW6icumJtA
3RWINN1e3SNE0Qp8xQqrVE2DaY0oTbhSpBpZpImh8y8KT470lYZikShjIdlC4x0in9MCugrQT3Rx
y/8aMloThtfxklwmFuvd/iG9ifdLtpYWdlHT312pflIBBKDsUKQe7oXb4/MUsxskeYv0FvRQdjUC
pmuZmAH/6rp0pjR2LiLjBZwRwpzNy3zPdxk0DWoauyPwIvTG49uZApZSUgBNE4Qsj/Jm3bh5v1Um
uhUkpe8dlalUscB2M4z6PDU4fQtV1RkvqO/rYCPKIYzy7K/819tVEaS1I6YK+CpAkPqN5ASN5pYC
UqsN6Y4Nj4uoe4dbFpzXVq0jmut/QmhFY7y62Ez6OGKuBpumnvM3WYqXDsVd9dHmYuPCEPOpKpcI
tBPHZFib2TVRJRLQNpXK//wNpo1YjDl886XZCgFlDNI4NajXlyDokGOixElVos/fPw5rCgX/cjkU
XzR3D81pJ6MA/n8Q5tXWJmaHRoQ4R5up7w9bVF3D9RbVbWaszaOotZ2lxrQuIaUn5JLm2S2p4L9k
M8UCvG8xwl10rGCP3DAr1OWUkUEEAFCP/Rw2FavdA8zPl+1Nqh56MrwgDFmrcShvZgm4wWDzYT9I
BXVA2HfR1I9xTBUZDIO/J7O045WGq46ItIJr2G7gGWT81oLfmJ8H5VHHLm/dXJXMMBfJGwJjnLKz
lG2ysSge60fK77W0sB0Iv7FrHBbF26N4yLiIUtLIvj2nPtPGfhbU2fYQMJfjPAzsADUfKjFyLGRW
+c8Ya1HzGpla/vP5GyY73P+6MetvEr1asPZDJSng6AhDT3YvW0j5JQyZTc3yH/eJGus2LQjhQDcB
/ZKMdsmNc0AkgUBAkUTH6t6DyBUSNUMCj5NXCGy+1RNMNxBeIn8mNSVYVIrvqhBl+1RIsvwNrod7
ST2VWbcOufpdFtZU+ppUcw3/ct2C0u1jpuUpHVVqC5OtRXbRLApg8f1+9Nbppv9yLl+QqI838CzJ
sPMVvganpNTV4JOVxCen78t3EsQTnt6nn7hji5aBVjEr7bjr4ITyNehAFYG/bCtsNWZ1tJpOpAdS
YMCBoA7hIqozUNp2tp159xYfU5JXMB1tBzAV5NW8xeo689c/+jmu3hTLs3ozSn16Lh4mt96Z4KR8
34U4geSmmNQAyCyxxm/qHVyBGofj48PI3Irc4TQ3hIENg9dg/U2XvR6T6r8B3QNn6WJBsUUw9Fv8
gx1ID5YZqzaABN6Dey05E1qA7ob+nT5f39ldk0LA8CLZN4ZEluPZwmMwlRr4ZpSCccTL95ThuuLj
5kcpMWlOnUpCLv4pMKjaCm+uzrQFJVBd2e3lMzDisIF5Gd+nHzU4gb/2749hvvsY7753nwxpbyFa
6PC+layoA/INFaKuyJEvGYyy8c9psfni/pRESSmthXXEJURAfp++7+vaNV25fBufrhfwfs1JAiCU
KTkHBczWfvYaLz5gmXR926b9+7Fv0zpDbgmqVCWqKbrMy1hNF7tXU/dGNK0F2/qqecgvgkgon+ws
FD9BCpCqgyBtqa93GN7JtO2ew8dr6HIUhnrcZL50xC2JVZylFJPUXDFJefD2PCP6sQJMYud2ihBe
7ajl7MUqyKAr6l/BWlfGRIAqSOdB9nNvntpk7E9/o5LxZRgCmrlJVLC2BDZ1VV30MQpxlpId3LAG
1ox1nWVgejqD1ziQeByYoL4ap145iNmohcpWLgvWk/ToJN1v2gMOaGI3taiWCQ41/qg0j4tGK6Yc
UZFlwuz3j/SjMFiP/+bKCN44SXhvtCpc32MEE/CCtehpLAgxTgXbHrrPIA8O5GBsJhXyB+FkzZgW
S9isoGGMNVWP+w9fnevl2uINaHKUeZnAG0SDpZ7xxM587of5Wk4Xhm0xKlAIo+nqHPEgaQ7wn+y+
4ioTtetwjRT/0TrbDTWK+cpDHAs6csBt+i9xwti2nmgXBDYRaiCyLpI+GHf3XTQzEmqL7vwkiM3t
T8WNWetQvXVjnfjFsVt+unin0Os7nS0FU46Y5GddSZPsHP6pVY4VKCmuhqzd8X4/mCbZ2PAV8R+e
9JBl7UEm31e4vog7HhUGBn8ewgqgBJtHrbMHy1tlVQaNoT1+YV73upBL1rKpN3VAUC82RApMv1yO
z80IWlBExPsL3lYZ7+YpBrGUtbRvphRF82cvO6Fth5UeMsXzpq2et1Otqy9ixPHqw6plAfQb0EZe
AUeYeilaQfy5nK4NdVy8c1s1XV6yY1xn6xg02pkuuF+KWC8lnFpB35VFtC5V6uu6Yz7fynZUK4eo
tRfHbckrXpzdIgTgkEHuGeedgg4eWn8Pd7OwuRSv8DVykYAAn75XI3TLQVDepWrrSE6at2stS0RP
OegVDXo0IGpqAL0M2uOFyklijaQXuFsMmV92aWgiSri5ak8rsrvV8mbnCpxl5g4kwDoR2i9/3u77
97Mp0R1aMZzmn8+SfLJsW6Rm1SliJ6EsCGOookFUF8YjDOEvXYglmouosQo8fjFDa/4oXkRMbubX
UtLU3FTjVWYgVc7kyveeXQFf0PS+dal9+ZGQbroq0TN39io1aNOF5vgaHtV4P9YMjTtaajva8QgQ
m2A06ea3zXu2pG9iFNLzAHmuUdANVLOKpkpi32LGmk7xbDXegJUWpqaYDduWUzhdypwmSwZxImpa
PL0bZ9XPBmuExSsJviFpa+56INBNCZSWJ7fehzCg0LIJnFEMc6wEDUsyg9etTK8Vy+asFA1SaCtU
5RkP8kpbzsJUSV3WcWLN2gTpQi/fim/4+bsZHuJQ9jMnTX7Vyd5bVPf+u1iTzwzPi+wZ4JIiexB0
hy336LWv5MdczDnA9ruL8tfm/dJeN+MtqTHVUJaRBeLLtOnK1ri+WuOcrl/WVfjw+PGsPg6tVbx0
fHtMkq1D5wGq3xZf5WX52nSda52WfhLvUtkMElIZ+rmMNVqMgD7zdTMStF4XZCXxiiXYj14EHOx5
nnNlmLd10lE6FxxO5VRv2THffpSpPhrX0qPMd/02ZTfUBssSqkZypKEzITkiVsrO9iKRgP2jpN2w
lyg2YvV8N1N3WH1LuD5zKd+HfPTdt9lRpmRGlR3y4P6l0C3nWoLKCsi1EbidLa4WpEGG+GjnnLOw
KuHFbw4ModzLnkKWnu3ZwITfyCmgl8ZCDm4DM1LDpBshAoSLLB/naTE1Pta4MRzcidLy87KDgEpU
bGz57M2cRMq/9LdCNt9xHRBPWXYIyTeNnz3G5is08SMSMlI99/5MID7NbrPVoridnNvrtxyhdSdu
CXZyrTgGaHyDP5e8ZREfdyMqrtobCJ4ZDSC5HzXkVwj5d+JENRKOpeOb7yBfzJvFebs2pNv5tsC6
I7zu6/hFKLfMlMmKrs6qN/DZ/k3mhGZSW2nAlVEpKuRtc8lRrnmN3G+BG9eGRnwzI8v8V+y+9G7f
YC4EwUrkjm+k9PyrBLY3jAPTGi9WxeUgJLaxGQyC0A0hi0oYvFqn+X5RyCtnDQZbsLs8CveH2Oi3
nFOlD0ZcDwgjvnU/pEc3k68EKrGhPlryKAwjeXsS/vbyQCxPsLKpZGfyncbOabzjnkYXzupwM9hA
YkAw8TD7dHZtAcD9bD/dXxI9Xkr293Qb8P8y8NgTzjMRl1acKX1du0+BYf4ZKs/Z48GFhD7kHaDs
XN0LsNwP1y7i5XR/FO88b5VT7fkWlrLNuX188YgmpORNdhx7GIjCZXZR7WeL8jJXAj9F2cX5KYwp
EoqZF+TnFzYOb1sVZuvYj49in9d075gvbhaEbbHvRLL0AOZk719pS1ph7n4i0V91w5mwJvp6QGCg
6e//QlofLN7HIumWehHPJ0+SB1HZL7/CMSydWxmZ6C0W7azN+5PvI0AMQfv1gkjmqg7lxbOsLVdi
J8GeuSpoLXvqG6etfVr4qo+KNzK9tqQKVPqaktzP1BTbc0OMzC1Jjq7LTgX7TM1RlmunLJHpMGq5
39NMz4YMTyWMNplIC0d94TjJbrsPC5zeYQIVXM00afAh/3/6k+zgY7cfI36T1Sw58WNIT83w7vP5
ZDLhx2rm5+sfdBzhqQMpMZekviib8zMOB9sH+vCDvnFPKvbH43Uiul/tas7oV7a1vPWcdwTUfs4e
ItoPeEBh7fBfbNquC1UIbHieitMv8OTeMGi7RuTstK0/ohGi8O/Tua+x7o/2NTv+pQKr9ON5CXls
iu+XWDVAVw95xNBMQhXSlWZqENSYY0dxqouRA9jOfp0490LSrqOWEFnnoO6fHbWXsRMCJvpXXZYv
/XsraXO6yJ9al2OlufqObQHQPKErGm5KeWa+rCQ1KF51GJvsCu/g8N94H/RX5B3kyoZu0pFf9DwC
r3PanmdPX/FQuKr4HZb+3IWYF429+g26iD5kVwmWHS5m3A4R9v7aXFadoyQ5D49229T2sFeIe71U
aCBsO9IRyqBMJ9gWWqCIBgGtBTnwQp6aj67HSqMTa1Gl35uSAq+tcwsMVRBh34+15qa6F+P1zrKR
ZP8e3kvDWN1GJF4KnVlR9gndMDeqZFRQ5/Jpg2DUUeEVRw5mo0rio6ipYGS9kKHduegTuf4sjA5V
hbsaM7SFaYVQfR7Ol7nlD8M4VOW7N6cFMzwoIgOTQKw40zCY5gDCXBZ6a9ZdgUUcLMnaQUCj6VGN
MGch3ZuvC73gFQluna879+HiK6S7v4xTVbt/m1KZxIGLZTaHS4TV50XceA6P1ZFRyJy/GjGKVTE7
pROvzvum9Fd+lVVfE2N0VD/SpLaVX7bFVaF9rraJpJKC3x1ALGUt7KfUdwzeppz+XTQfpXNoF0rx
8mxZojutp3pVWS9UxbHvfEiupoo2xihTeBdXk9UO5luv96NpKrShWih6aP7TeO0Xhk64JOiLN7E2
35fNy5GWSF3Filu9fbPieNoKsnwr2aaFiN5lUd9L4sNhp7KGkL/lUVyEPlYUTlqso/Bzk0V/tmhA
rn+vX+s5frH3as7OWGakUfnsEjdGCIS5LtsOPEornq0vUCGbPqHspvao55v34bryckvKJMchhRbG
1g+f8RJVHP7PJK3acVPYwR9q2MuXCIztTxBbU/MPNp3kvwlTqz4WivKOIhIriC7FIuVXLAABWiNL
k/UyobWAvVZqftcnxDOve9Yw3wWH4QKOfJgP45sKkEA/81KU4RvPjdQgNV4wMH7dxsth4MOt79hg
14Y+cCu0rDzIwOKNbbJ+qUAta9MGyJl0nYFniNZU3xM3r9tUqdzFqhSdjXEWWFyDhZ3Jn7n2ZNtw
gnYPrearonY4/UfTeS03jiVb9IsQAW9e6b0TKYp6QUgqCTjw3n39rNM3bkSbmeoqkQSPydy5zULD
AXOnLas1TM0FtzGIJXyOLZ7kWM0SPIenHY3Y7R2uCxIt9nb8DuWXEFRKX568i82ubB3VvwConW4E
YTdbAi1EBJSFaciCuT/O8Cgu5X7iz+BmwNzzHd+sKxw2E9losowplhwO6SUnXovNGFWvOwfOPorP
4TkBTR+AFdxPZVXuffxGLT4SjIhNAwIek+UyrOi8zgMbpl6yNphlh1sdrzgfb7sA747gXerNm3uI
YjSZ4U5tL5wjbrVYZ6PdWH27f3T9y+rpv8SugB7v7v4ztkLEitzDOFBnrEo2AXT2H6gvJG1Mq0/I
tC8SmBjFrFhdKEHecEXjNFR3yYtJG74j3gqkznqOYEIgUDPBoxeb8IL+6HDUJIrHKOzA4iay3lwk
Z5CWu4v5OIXcD1HFlB0TzAScUfGEpVm7Zwv6KqQEe3/Vv4LjsKmPzpOJNueB+/l5Dx4+ZcUnnlPr
9Fu9AdYQTl0yJLChUdCTz+2LXszMlw5b71nD30Kr+PCB4N+s7+ockr3gzH17plhLWy7yOfY6H3Li
7m7hjpZfEi+0Z5/tuzQYRzfCjv3hJJD5qDjlniTbB/aKPBmwD4m/gGVzZ2H8CGJfGVpQDKLo5IZA
USLpa+jjP4aPAF0g4cDhCzIkmKqNultZEQ5BPh8jWkoDhqOwSKH3MZTB7h7GgxT9qjcZaBRjDcw1
A2+bSTamHws0ZIwf6h1HzICLHA6+LF1UkbsrV4V0luJO2pZL+jZMJPn2ijlsMC4B0iGZo/+oLr8Z
5sMN50ssp/WrvcaWBSa0i6k/GR1L7McMBIrIJBG+NPw05jIbIrXm++v4ZLWaZDQY20qq3UfCKJiD
cb/U6J44FtdIF5f/MHqBzFXvdP4u2Y3Bu7bVr+q7J4+iBVAGjcJ41c6I5WEArf4V62z93nzgb3hr
gXEsyh9KUjKqQArBxgNkkx8yeWFABe7OuVCPxp3q578RpM6gADMuDbEmYivO8/5EiAKhR0izpN8C
dqtURfbS+OdsmakA8cAaWtsPjijx5Ape8w3Gf75xZMaIKszY4pENQIvtCeqZBz6FCwoozj1pG4Qi
Xdb42kUObEFqUYBNLzh4qCZBLxFkIcYEdnEOtIc0wph1XLj0aRfBBrxD9gO1KlrzOhrUo6Oyp0Uv
lsmxRZqL6vZJBJAEAfk5Be8D8aZk027Kb/NEJYtPPp/yacpxeMocAwAX415E9t/NB6SLo1QzWheg
OMoIbBR/OyxGntM/YsJQ3BPw8Ys0kvIJweITySqTplv42z+TtXNXpDQUK8g18yccFjQkZNYdtisP
g7etSYYjXUJIdSjkXZdBouTZZfB7sDnhgr+Ve47y6QX0CXMSFgjnGyCgpGfAirlxhrP3pHj/zMvS
yJcbqmAUuQA01J6IyYncLBbhrzhThZ2wH18VuDapDvOW5mGGVBDw5fakkdALs8qofBYvZT1uzX20
azcOAUJcAAxzsPqCJslMm4oHIg8jHiwCxIw+xSWPGEM0glVpIIkLfUPBtOIw/aEzCC/lO9I37o//
/JogwBIVHDxIR3OvmPskq2B3wc7tayA7jwiZMzco1rX5A+x721wCFAEyighe729+hVW1cbibwCla
Nvwn4BOhddazfQx7ps/r8ZjPfwGO587cm4tdvqbPwTvOmYnHBIh4S77tCxT6OqeNmSc6uoBZ/fB5
xP1sqOcKmVvEPEUMMATMEnSJ8/yW3atthKbLkxZk7ZfvLGIGNL7US8F+J8esfafIwL3jnCXYR+XW
KtymT3AUboNyR3rtHTcQCMjIYVCklN4JaITmtXA25V8qbeC9N3yNITV28hDjxOHihJTOjQVlE5Nb
mp5mBeOdo4YjZdxgVcGxALJSoUaNANvJ9fo/BTEDDnmr5d/Io1EBgutS1uzzJ6X9i5VUkB5oH+F/
y4sRXOkVvIcH9RPurncApdFPVKX4jDoz0tKZEMHghEy7F38+nOfjB/xVuY81wFsaiums3+DcvtFY
UI+k2I9iEUAfI6cvnHjpk/6G7tRh0ouTiLQEgCIGyiv1k/B2YSNQsLDQOXK3f4BETAw2xQ9QwAaH
iBcGqOeKW5ebgDPOXoBf4qWKr0L8Td9FAc92liYIN36Faen0Ai/VbxzayHId3Cjx87gzk2ZCiizV
+s+OlZaq/nYuEQndxpmqFMlf/G1Dy6TLV+fZsIJRC2vbI7YZ1TinQ6RIyhp/4XQAkMrUFpiVnc8x
xF8gQMgDGe5BBZneYGvSdLAVf90l+TvK1r1xPAHyA7BVq/7qQDLAetldw3H9L69xjVEscRHVz4L/
hNAU9NCC7IPenVLHZQoRHrGbB2GUfhbhuiVGcksnKb7dpXsDnX8o9w109ZsDwdPBRxvLPo4DQBnm
Ldimb+IYbTF46TY7ynOCOQKEf84N4VyRSY4ZzoQLtLLAzcY/DiGbqg7bHfpH+j4Ox+mibJCz/5Or
hAE5nR7EMwYRL0rGzL+xLmihkC2De9O7S36+2R/cUytFzoirmR3+t8JoGMe9clGkmSr+Q8xUeU1G
Ke6pZmjyj/Pd2sK7OAHwcRZxEvJ4KVthOTLhs+4NE5F/TPyVf/7JP4GVS+BzC9mJ5XcBcxbf/BrR
dIF8/1hyMPDnffJtQm7Bj6N8GuAeW2DgY/1NE6hxnFt3jWdRf6t7EhVXeDev6AP3xl9z8mfTzoXL
lK68C6kA4IesdXy3zvqi32KtvH9ToYxC3lw+xAXbpN9k11NnyFoAcPfL/fTecIkn60HFL1xOuBAh
zLVnjEk/J19xyaXeJ95Q5ZzjtfkSsw+6Fu47+FJYyoDBkWVPsCKoFRFymGlhtFqcB9Lk7DkYirGy
NggOOMoSihHw5JO0OSL69UQl+ZABYtk2PRUX6roVdl+EZkD2NJ7RW3aGhb6kV1kPEOJf2q1eGJRT
2/RQrwTOmt43w+ChofsRewLLNPgNocxloIJR/xgs8X4YonBKk1XNP3FL/W/cx4QOPA2zU2lnIfMB
6X6/MMHDABDoxbogdWc6tywecMQYHrDkyO0B5bswuWXUkwL1+RSwAHQQ85btb3rUTvnc2nvoaRak
p0OxhEs5MN0S0kGPIqb4ob+juKBpni7QASwbZNul+1rJtpg6laOKpfdDWoFkBksGrLTnc3gwCa8f
zhLgCfVG5NwXWR0ySsnifopv5bskIMMTWOEFNsuA176+YCzJl2R4xk3nbFm5JkmptYN5Nm4G1pyC
BNICZAl6FLonCFrZxr5xLnJXs8Lp5c0TQiLAegJiAQEgalVwCOTMgiFOzkNiuSsHihYQHxsOFmhA
z/zaMORwCM4A65qzGG4Rv0+OM3CTvcAhOIDUZMfwk4r3ZbwYFS9TLIOzh7SFtigmQfY5kyAlGP9y
qNZ6jFmEt7E46BA5w9eCFIOafmB5AehUzARTboiznE6ByT7hYDHuhi8NhynZDev+Ph5qqvOZQ3ot
F+Gr+3S+dKoDLkCkXdXBG1eKJxPaZbNk3ojrkAlFYbMkMPDN+GDpcAUu5DXtr8nz0Bf5idsUzH3C
RHY6gAUzDN4EV+9UUKXNQPk36THe0dns1fcJgiUUFV6dZl2ajTQfNYQRMFiCcBF9wpkQs/JvAYEy
PICQDfI45gSkwuIUJ7kRy7D0jykXh5o+LlAccaYzpMeQwxJ0hTZWBhe+HO5F6+LfiCg4gSBx6WGr
fTLxDNrqJ+o5OWCK9jDn6uHAU+KJ8RdaGMqwgSbVfDIQ43DTLrQLHMEtxnCYr+Cnd+OrjXjqlzg5
YiTDNwpEB2YH3sgaYGhmScYe3CUIbS5bht/NBcAhC5VEYeAcLQljwewCe4t90zGkWuJcOS+OGdFa
G4cwNsRm/DZ1xSgbHcBgLnr3jrOFIt75IUhyKIB1sobzA7Uhy8WSSgJseTgIowem40z67nL8A6OO
c/dWtFATICZGkGQgKvDfueWxcmlX+OFAhwlTDBD8B7tC/6Sm9I0ztCnOYJ6D8equZratKAjpAvLh
3elLKpSD6nY7ah6UJG+sKAec02//YjVe+qOPqCX8MLEHbN0Zt7QishNgbejdtARHa1Wlo02OtjFA
GTsOZUPhL+lbvylwius9NYMqPbG/YmXCrYINUnVLPcOmzx5AO3NXW9smB5JhGsskzS++R/FcVZjN
dsnWd7C0iEdxGuJhG8fezEqHueeq5ayrzb1pqSNMEEhJDhb8nb3qwnQXqfXDdKelkrTnijxLhtr+
0G8FS2eqf0N9Lyoxj9RoVU/TMaP70bPxVvc2Q+5UuVriUdc/qW0ysz9pTrxV6uzUAcfEqkvSgrdM
OibZarSsSY2obMadv63ikmnBSneavQ00302I3pBrD3wReYG0tSGlMuiQcFbWj1fE9xDSXB3FP6He
ICw0gdK89JbG8dq3SgpTq7rmnnpolYHuUqu1HXtSypSwqFNOXkqI1XQ2DGpSLfjVxvavCcZ9h+gK
bmTgD89Er7dRSoUVnYXvwIWsvH3h2MBW1tE3yoOafxZKvqsEgAf+HlXhMrlEMLNPWwKgaDzEdM1q
uaZTvCixCR8IovUN6KSp9iwjqmldh4GFUWPN5WHiezuqVzu/CAJfG6ZsuTtTRXuzu/QgmoM7cT0Z
gp3ssZGajIYrjOelsrct6BkaOB1smjDu4LrVi9GeFgPhhymwGTa5euZvBeejwz0qXloe7Xnoeg96
b1nSrMLv0OcDFPTTMA/8AGkFQQOwGHx31mWYdBnYoXoLIdJjW9kr+dpRRhRNv4qU31ylCm+Yr/ir
3IfSUyClfLr5JcT//KfuZYZ6iJk+nsowkAIBxpAHD8+ONmabHFPFWyoWlIJp1esAbu8+SnPQCfwZ
kvpZaThxOu2nqkJkM1DbedRAZTnLg/7Ys5ebBKVq//Bi90PumR4voEF8VaWyyeqNN2ZLIaCEGNPC
bUipzZJT4oyz5iOcqluiEIXTB4u8BtbpsWuuAeAEJmTDeFZ0ZDFu9zOQThd7Bc4yUxkA4rQdA+w3
I81MptHKXC/Xna2vHBPAxyULvKWVChd9TxxbyxjQLlYRO0WugaQ7mCMHVY1Dst0tgoiEs8nciKR9
Db7NH6+7Uxsph6ZxmWJ5G10TyVptsNZ2onOIw5YWG99GpSFL0YZD6JvAgHXAXEML5qbF0gmS777C
H6Oyq5PICcpolZJKIdz4acIcnJsutNt+7Xp8arMibELx1qIXd8sQv1XqzMdCv7oNVtmpLW5NyCiw
qi9uxZiCEIEsSs8moSVe1n86NmbnegChPMYTs9s30iiz/PZpDqN6WGSUohGWG/TFZrro2bZ1wRB0
/yp0uLTOr2l6PLOX2jFHn966FMKbebXcfRyv3GIBE0iQNT1uw/ig2TTL40mnVvZzSots59VARZH5
g9YtwK5NnJkjuRP+ZBfszGBa8wPCZuWa/xx7H99jb5PBSEuYbJsgmAn5AH+F9SMocCmenOaja3Yu
qU3uAwOSCADT+QJQNvzbEPxjUSvdEVGlibu++DeEWyXdTcbOISaCZAoWI/8rH9/sAV0f3U8/PfkA
VkzU1KkYHrl64qX5VEq/9dOVRRw1twFj4Glp/fU2+VGm1G/CkMjTa2k8woALHVire6TJ1obYw9gv
jzadbs890BAcLrB4LKSV5tIxCTSaesrEdYfx3Hiq423ZfodMR7lG7GVonIzqI4seHLm6fsSg39Z2
I2hGedD0VYZhk3vuQbc8uOBWuR31u6Uf2OiW9xidjxAbL5Afc2lp70VN1tlEg0ulqn5DTODMq42v
VrbT7aKDCsLx5l578bJJh0pXdY7Q7wDRs9mb+Y7fPxZv0yV3XiEoiopbKVCz/ZHm/3jofGWRyzz9
mBQPE1ts536lwY92ZvzGV94aKNdcnMb4KZe0XOnmfUy2dfVltz/y+rAbCuaYkbR0ezKp2CumRHiz
VAyPumfl/gUB6uI9JU5cYFKK/yzUx30v+0TBQHzYZfG76Rwr7AkYWNFdu1uv+BdhKBVS4eD4l0Cp
4Y/QQmXTutP/OiahTA75EnSObHlEQ6njR6ndj+L+sov4mbVYTsGVNeGT56XttHzPzw97DCjeMiCn
9pJiFxWtKQSEhjGFfuaLYA10wZvDG9Lf/D6i7OUG3jFZLcfPqd4k1bYFlR5+WYVx851BILXFb+y/
1/YFJwDtkfW/Rvjq6nVETvK4LoL3KDyI/sU/4xzJwqr/bzzSBSa34tlu3z2EbK6hyqel4+JoLWDg
ca+zJCXVBp2MuZefsPefPHChwHo9ifHeNccsPEXxWfSbzHlNOWm9/GiIMC+1/i3hO0U9LI+SRhM7
V4pfdzrWkDzGje0fVJ2Oe915y7TYWsap8m+cmgLANzz3+SD9SoR3cvmqCfbx93xhbJuJay3R70Vz
K7FnLwk/x2cUm1Pa7+tgX+KKqbG64kOwWHV9JYq92i8UqPwABSaLQ+ibPHg6+Ta0j178iIpXaNza
/EfXr7GgM7Zimm9TBSVKrixUtNUoztEl0bsa+qWCPhhMO+5gK99EtstPntn5YYi/TOPu683a07Ex
CJtN5bLhU/sui6xUm2CnwE5unGfZxj8Nx6P2NZrbrPn0iltSwmram3iLlFzuS865KVqL6qkbDzYL
BxAAmjGt2MKcfwy++WwcAFr+kqegU1x1e58BEcKygqFfLjgJ1WmN2kE+vupEcNT4Zf7BV0fbQ/OF
sqSJTpZ50ftMHixVtnL2CnqB+EvAv/UUb57qKZ7ETA0DYn3Uj85YKbwn/a3RD1joIpLmzEgCYrBM
QsiwFzC3nX2AmJCVR7piLnd/2lDjmNGlAnEEhABVicgW3rbJpUOkWgZYjvTrvDegqxvM1dkx7Va8
t3TWYfGyp4cW2bvR+w05YwaYfGpv7tNS7BMreQx9gDUmRR7qMHmy6f2dKybru0UEc1H+3WrIrDNH
falZ+um5yb+4JRtl9KdDUajAbxgZC+3YZD1XZFRdssrAt6lIToESUKOGH4ObcHLHyC3azjkqnL/C
zpaZoIuC/23747cu0ER2yPehCTiA9JX3aVCf2Wgq9b7D38Jm9SBE9i20x+2i4pqM/T8LUGLwF3nb
gOREBO5V1kefAOmQGuBNMT2mpcyLOpsoTVu8frA7iOP7mJU71ei+mtJdpxXbVIdVB9G8ssjiVoaZ
4mEpNvzTYpzeJ2QkIfYr3W/ZXmTVaOmUr4PG8IjhlG9zl3FFKPRvozsT1qfBvc2KCTQfbUyHUEu7
dVTJFp8jaftFTiU5YajgsuJbDzDPRV0WAuICVFTN0pvEwRu6k0t0UYOP7Hhw4l8lomKy4bqXPbok
upXSWJYOFx5dm9nx72JJWT25R4fnV2LehTM4D6ZW4JnbsGimmPEGr6dm2trSklfOsjb6Cx5ohj3x
ETEZTFNAlkgomCI0SM8R7KHqJvOySd9rhsWumwJMn7IJlnDw2zQPG1St+GhRQSX5S34mdW8yvWP4
VXTmrGcUGrWnTCB9yrkvckIqIkduEPkYhPMjAMb7Hq5Gh/koeyEHb9PEPwqjpaZioa4hvPOTk9w4
iujPrvLuITepynAXwCGOTWyGU15TQdsMr7H2KEoDTsW3MrnxXc/4/YI7LVXLpeYMM12hUiVKgi+v
GwCti7UacIz+Ky2VxTntu/Je8q61GiBAXL0uYiyOOgu2T8LJ5xu7IAL949kq+bNrg63iCEro8hAh
xSmkroRhaIvmCK4TO36rgyXnHpM/R7qsEHUS5tskqE5myPRCrTmnQtKtwng/cvzI0kSMDLE7WskC
c9fUO4XxsMm6nQ9YJnuaQeNujqONHU7zVkiOEu8GhVJaEsyu2VSmPGejKeEuK9c0UT67wMcvDz8C
jlhrGN5KXf8zqBedhHlfUCzk65TQiksOzO5RYGY0lNGKI68pP1L16vmCBJEa9heTXl2ZhwrNi62u
whGAI8pNmOzKsxspBPqp2Nu+u8uMYoNRfZ0nN7/WH1bBNNlLAX70t5iDVm6pIIMFjW5M5SFzoVcx
zCqbWfzgUkQ0/mPwBpAJHTurq5HDD82Cjd3Ux5GgJkpmbCnwgAsNYpjUg9GWAHdA1JrAJs5DP+yi
a1SdV6eE4L8TJ0FQzHIzeaaTfi5gsvvsRVM1joFgcih0lnWQgoX4BjZ5lvpdHcfws9DxBk4JTklv
qmAw5jChybFX4SEboc2ZkMEQqbxVHbicasXc0RcT8yybN+K3jc0yMb86jzzUuDs5FSwHAwv9hk1G
eiO4QeNjQ1hXi0x31iofqqFx8ZrUmyGVEnlzQpLfFSNMSzBT3bfxnERpE/V3leLF8rtzV0cBnMYM
SyqTrKIg+vaiEtJQWC11ZXw3Bvolw1LePJWN24c4E+GqIhUu00Oxio3KFsjI5aAnEjB6C4CAxMQ2
yQJT8pBJY+UAPgEXo4wXeTD3ECTQABAhwG5FHRnjolPhge8Ojylj2BDr2l4fimPFAd7ZxKZV0/wz
CcNzyKd1f2X32Lvs47xeZUyQmuYjYyFxc5pTsNaC9zx3qdKZoaMv66iMY+fDM4dVA6LtS0a8/8Y7
5RhBMUDpkWA72GR/AzpN4ZTrvmAo6w67sU5ijGW6e9oipeKr1dlP2uhSJ9YAVhJkaZ2YvrCu/xX2
iI5ggADEZbIG3Kz8AHu13H14Or17a+g0PQ0SnDHFIsH9njx3G8C7sCvUD/01UUBtUmT0ABBZSGKa
0P+5Os7U675/N8u12XFxRtoxzL0vx4CGk6rUrdQOXYKPhL63LDDqwXkOIV3riNk70QeAaH5P6Bii
g85nJAfYovmY1ZgGa2fZ5/hf9Oo33dqIFskss2dVzlsCs238v7ZuZOy1sL76vHBfp9eY8wYA5ual
JgERGJz1Hxpp1D5vW4nwkFVokjyuRXLTSn6tn36SGA5eBh0DUlAKPmiP30JAjyjaJScxn1Nh12qC
ZVOxfLX6UQEsUMW3TrrqrWkXDi62dhj5MCA2J+NDOLRRxcnwTsp4jvOzyM/+eCrUox4d2manMDq1
Vqp+8SELOqjNuC1bfTh2CWaERb/xbRhoBWzXPzeBM9dQNZGo0U4/rUN4NIKUsFg4DpHoHO9ciWP9
FqMnoFCV2JiwOGW5jgK0e0Qm6unOr98xEhzcbdpV9BETvvHuSlOuRqgs24YyYrpq3EpcAprQdrqF
kh7ZK9c1Z5PhV/fK8N+iwl/XnQc1MvpoG9psFsnQpmwOEm2bGgHCtifesKDXmoSydBTSxf6yekcv
bXVkfuz9dhtcNew2pjPCm+QPFAjHp40ynLI6mPcJl6Up1ho9QpQTa+WwhX0LDJncPWbCNkWQl7ao
ty+h9g4kGU7TVlgYPMUkY5GRga6QpL7CvTaaPy/1bNXyLH1tXCdAPYJaQY8QoBnXVu8PI6W/Zv0b
fSJdCGho4k+1eUymPIf2A3O7emSa0SVHh9u2E+bNzrWtxZXRdidNXOMBiq++H3yGJhYdzfCpGuuC
s4Or1NfvDdatSpRBKeOiMqGWc1Gprr6iHjVHCOEabXi5rfiT9o7ToWOXVz3MiUvkk7sAqiXvaZuM
rTS6sDn60EGzwGjFcQ6ZWq/7ELuRWrlVOnQ35DVJqb+FLxeouynFGhLvQUyyoKQR8uIaPMk+jmxu
+TUItDI2ApxbRWcmf2YRtwuLDMcOzVSLbZLRqEfc7mKTIT6VitKmmxzALDUUkhpSo754GsRsAKaS
GqOL+Xx6sa7HeGHQoEGNzTWMJOgA6jj6iSz4wtfGXwxUsVSzRkSMbladmwY90LtR9/coZ0Bc++Q/
BKhUquyeaSoy5F7fe4GyHMxqB8puKOGv5k63wvZWeeu+x3Wzm4ZuPir2b+o090joJH1goaQXV6eo
N6Zh7cJQ4nWNns21+lw3E4wyPADCCax/zMwXcvi68aqj0Ta/TfIe6PO0Q02bbJRSzLyxXVA06iTK
9OYh9YBUrWdYfartX9JAhaLw7lEPRtCq5bvUSbKZTOUoYbu6d24CiF3nQ5OG5JvjCr2x33PUsytl
Zd8o9t5Sq6XLTaK2jLXio9vrM+zo1JIwrAavHXp5D8++dhpx1X6O8XNKKRnr39iBDu5xA4znJlF3
ndotknFvs6A09eQKseBfrQ1D3bEp+nbVMCz/uxFFh2x47nbwqfSao/Xnv7IZKrn8ziuTIPmhmEe6
tZCtWdnjmzSgxzd2cesfBoOjO8KJY8iw5Q/RxVTtpsq1H9RbhoIUscvgMScnnzkMJI4u5m5Eaof1
R0eQKXqn/+AS3qKhlCtj5FOp0c6V0xxGzm5JWW3lO1ll6JRBmRkutW5D7SEbbB6JPE0qH1Yz+qpQ
GzYRAtqUmG4gmMapAEaWId4k0fAd6vrXFCXbVP30AkIka3dDL7AMreSf7FdiJ2AdVDtbFkjqqH4U
pi6wmgWB8sOt0dLi2iDJZv6jVcNOz9kvoClBDyIdMANXuIHZYyvD+459cwZYpbTRreiQ0Apt3blr
v76NCBpHVTujb4MIejYd5J1gj7pTPIrEOsiKx8agr9V8AB8P/0EkcpE/XjS7vHSmRltt/Hfbq923
6rwrJMZWRrfJO+9gprDtE0isfKclGL+L6VfbM7sxg5su4LlQmE34d5s1VxnfXm5268j5c7nZFKc6
x72/CG4mHUxdx9dv8zd5VWn8WSsOHOWu/TY65ZnY8YARmYJrQ1TOSsBVL84YVRfhfdSQgwbKBBlQ
jEg5S+vaRH2+pFP2Z0XBUGjAuJWdUPcaECgnVZS/kto65br3nQ649jg+xAxVsZBRWu029LNyQU2b
BpIucBUlysXAXRq1MncasKYAeRYkFE7gvIDdCfA5IXcqcuQmXEYmzUvExHL60Z1HSRlHm7tw+3ov
bP0W9ajfbQVLHWx1TfNYlby72kc/zDcVTTl59kN5r1XGkaGyb80va7izyOSzsp6KmjATGT/6dtx4
anWtxfSdF9W8smkTsoRqD3jNJSO0WVY+CmyC10es4OufMvoz43Q9slQz2uLQ6ch0J/rST9byqAy1
UwQXQ4JSCfealmVrzzbnSexcrbD+zWvzzaANdxEG6UL/q0xm8JPY5KUKF70NN1UVwPUaFJQiyDDi
mJWvx/s6ZQRhONnS6j/SGEKU5U3vuj79ZEYdciSre0XR41luhAjKIQJr4tGQOlqfhEcB41bEqGTP
YIrjuRLZsGAEacsWMdH6QvQkf0TdIWaaI/TwXofattVyvHsCEtyRmyj2v1iNIimTykYdu+OEd6rW
7sobxVo3kvsU9g/Lz6NVm0Zvhm2/+WFw0PLxFHY10qoKqm6uRUQnYUZQV5+2E5WLIsFATQcXNEW6
qPt+ZYUEh/dW9MrFceocfLs79a3UjHLeOIX0xTZSZ1V0ZBRlPeeHVTMLr/CAGi5Th/kHSKsh6k2g
kOHCnLBrwe/jsNyVfWjPq6EguGJ0N1X6qalusbEh6NQEXg0FJtEM4+ZGNVU75PUBqL8WKFu/Rc1S
hHsrCN9UpTg0wQQxIuQGLZNxNQoD5gAhR02UtSvmC9vKs6t1IbpLlxnubOy8a5eRtJbUqAdK9CX1
kFG7AeIMXbYPtEl988zms7bGvfCaW2C4/Yoi6mxmzcGPlGlBbGyQKb+6otynj8jduszI+FfW7DRG
Y0j0lbcx3vEr6v//k/+b05/wS0WzS9yt/D+4BHhZBDfeZJdaAXxwD09ffaellrWztE5/c/wEAL9o
T3kkh6Qd7XrV/AwpnZeaQRVWBHGcUdr6uNbmB9XaxxHz4qCgrDIqi8oZ+MMs7BtVnDlP0dvZ0zro
8vVUlzYxQtYwG1Bm6eaXr0PpbaMPJEICq7YkeyjwYEMgQHeTaQTXkmaXD+qiL3iptN/2zB0t6Ce5
Ch3SxdtB0NgP48pNkqPl42gxWqu4H8dZZ/nmvCqgqfXepYW+V6ZYDNtsiqx/hlGMpY6PRDIERhKU
k5mqHANDv/c+TgVGmf1xsK8cg07eKyF71TQmefxFm9PG9k0JvFOhJ7y4dU+L8e4O+bDQXCQVpY4h
gaDvzH/7CshQDc2Na3vHvsY6pPBrkx4VmSiURQ7ps0MoIT9DB0KmhU3VYldMuDH3arItLP8y6upW
K6iHiqE85eZUY60bQkW156agF80ZIcqDxOjei0Rn/GTiPU27Usfqb5eoSy+lmmxjTu6CynAsX70y
vBKv/FEMzLsmfKYz6vK85ufX+aed10dRjjlyu/xf34hlPmFc4UHaVNA3W9ywUcIhNDGe8i19Ybvu
xSzTzySBJlh/KJ52miLcCweYYQVz+bZoDp6a3UMzxo+zXngYZxV80BZea5puFR2+vIFbmw1/VxQe
gzVCBxJnY8bCWthRcamLbm/b9kEZtHkGlaPRVqao92PHFVNFLt6MFROM8EPP1V91/BwL5B09c2el
25SCjesP1B/GyhzomXgD86bPd6lbQxxQHl7m7xOHwbyPZUeGrCrVt6pRrNo6X1due837GOS8e3OK
Kt7id2zw1Q4V9Zs1EM7W84wtZrd2EX81k3imCndUG+ITFhTXyQjeenkMdKL+MjPuI8U++MV7NBkA
j8HRt2WLDgTB0shfmfNtZdHF7HFQ5ql0nvbtT2DnA/Wz6sni01nWXXIr6s6d6erIbDI51QK5jQvO
3nlnWxmCWV+1d42RoIjHm7Cx5GiPbmWvU19dmR3KXDtBrCo0Wh3NvLC8nYLw3zHGMS8CA4qu4WR/
qy6xgdraiT6jqqGQyxgaqD5KGKNUzgqulWXYXFnncHXDdA2avWVVmDXon2nQFufRrctToMWAJE96
4lRaJjrK9xDrK6vv7wrnsme5y9RFNcRmDDTvx+ZT+2r+aL1824lSnXsaALxQMcMas0vbs6mD8dUm
5o98PtxKpxTyQRz11GHlT5O3ANEpPFp3WpdBcWF2fUgy/He07BaOuPiF6hr/Q6B3R1xVJFR1emgM
f2//j6Pz2I0caZfoExGgZ+a2HMtbldyGkNQSvfd8+jmc1cXF39MtVZGZn4k4IUu3CmHFFZ6HCY1Y
34YO0E90xhh8AqJIjyoo2VqSJxkXNwMsZJbm+3hif+HUt6gw/zxUaHoMr7xOrFuqIvXRrdCgrPKO
pjG+WNBeNeZTCNIKT30R4RC7RfypVx6dW6KhtCCQZ3TQYLTKRTjtTsQhRWiFN43XNq14wuf/Nqr6
nTC0C+THwcrfm7L6nnoMNjJildAEwyHm0RSyg+Mn3msht1WhI4IIjffaU17qGCEXZ0wWgcoU/qVi
xhGrxaoI5Nor5c3P+09DyhfHhCvhm+KqT5BpFI1TL3r63nSen2SzYj+oKQtvsIF9c0ok0TxhkwBt
h22XNtpiGMRv3BZoVAqLB5Dz2Vq3IryYhXPOE/8ZKJT87Th/uBlqzyz/GBLnOymHfciXK1q+0KL/
E/bBEJj/E9VeZ2Z6UlAf+laAcZduTJgby/yWAV2L9a2IHO9lgJlMF4/ImQ8z5nOK3Sx9Po28svRl
GY8fMkF1myIpZzh4ByrDnmBeFUUf3Gl7TQPBL+l1USnlZFpPp7CSl9bLwa6thZ7f+gb5n9XTpxTF
I+yapzPogL86Y99IEgtIwA4VBpVeWQ7LrjOYETKMt6GUON0nQRtdiWEaer74cwz4O0ztHUnbj+qk
1hiMKCXbEFGRBqAa59CeH8CYpN2MEbRek01lHjVKyS6UYPYS+TSRXlPQrqeMm0CZEH/ywiVq+cFX
3i3zMH5lXPLZGuquMlHJa+ZGt2bxQHeJfYZO/nBQnO41HSkUOINsvTgyy7TQiql6eBEyfhv9DqUX
SW+Ochoarjjf7LZB5sN/GfVrzF0VRtp69CRhBz28kkqDvYqIXjdNUjpiCDPlZ2qVb31YXqsR3Y+v
lMAvQeBxVWWLws7c3uk3mfRQRtpr+l7ISjSaVZLTz6z9GDJKjoZZ450dAi6k4a/kAM2Cn1KXD6sc
v2SjIdrQXsjaRipouKkoZyMsw/9RGYAipc6bIRkQZnH4243qRW81cg1BFnVrT69533z6ay5uTmi0
092YvxQsELxWx0XfjES/DrsamZrIIMrVpnVFp6izY5na+BLDk45julgy+nT2YGrLbpcoA5ZC91hD
+dvAPezCk1naq6FTPIoicS+HCYt0vIwHnC11ZjL3k79FxcJvQnACr7gW1tcUNEgdLdwGPi1oz5ca
oKfqZfDZg34qRoiKucNWIWT1TrqPaNpX5mgZ++FH7LNgk77+ZdYmmkgscmVw1llXLrJU1yHlrx1j
bN0O/V/MirQbp6vvoyj//wdXi7PMS8Z06ApJXYpSjMcjydq2ve3UX3QnY8xCU9FRZpSYX7Q6JMyD
qivk/erKcqXk2ltVi+NUq66SItOszJUW1m5jxK5SROSFWMN2tPVloevvXe08rKmi+bKoImnb/Ozd
UDQEo2z06slwG6nvDHnvAzb6+sofwocdyZvnoSNt+AF6eAYyhmOegMYy9b+s+ehBHbDb2UaAoriQ
KKj7XRVEf9aUfoSqCcEd37r1b1K0TWqM37IS97xvf+gClhqOjsTnNQpshkuleAxaex1jFM5e2v7m
fIWpkriG1P/5EbuSHAsoIsWfXA6vgYTyWHjbJGKKO1s7JyrvOEygqXT7clRXiWbTqGo7WQbrqmVW
SeeDyCr6nlSYmPUxqZx9rtvgP6YfthpPr6SMSGrkfmqA+ApBd1PhxSA6lN5uqccsr9JC/A0NEBge
PxrpFe3isWutDxnzSngG5vODrVPu5OAhKDwnlbqYrpocZX2txPP02Mu3A1q5dp6lRA/fY7rShDw5
JhM42tDmQxinLkhWum0tU5voIDLHuOshjZScgCGzh4lCZ9aGit+WHjoidENjw9gG517JdzL34MSh
RNO6D/Q8qGlawWpL2Xs3P+LLFpgS9Zxfiv15AYvRmMe5/rKB7Ahlb/4LHcZwLQejkcAZQpvfdCXB
F1/omPzsH9stN2qY6vI/5Dl0Vj1jQswoJf0thb+MS7Jg4KRFiNEpZj0NNi0YXOUWadNKi+rVxPfE
dhBeLTnyyA8Mx4QgS1b3pC2n6t2MtkWruwfeLNgEISZ8+IYR3j6GqtoYMz1r130b7aT+BxTeYA/b
Nk/+Qb/nz/OrSA5s0cPK1po7VcnZ9uuDn803RwvcCf0kVcKYUrC/FyqO+PynFm+xVi2Rs11GxKoK
JsqKPXqEGrNm36qkH4m4yOFK676I+Q8pUZkrmgv/zWC8rwC0j/R5VT5s0jRc5CUbkaPtMzLkt6/r
vynidvz1q+9GYhnAtFk3OklrmABIWdf4Y9yldv5bBfgkERmGlIgld7LH/G3+2HU0WsxzVly3PWO5
cM5L5i+av5WW2jxDC5936OLwLeX88yWXT4H5U0FDOE3KidG5P5166z0Q7F0yVgrAIFoo24XerEXU
s8hWl0as7+ZvhqIBN09g4p1qfn1+zBgbcpbWq0KrGUJi8qblG9P6QSHoxRSZsmofQTps+5BILi4W
JsaiNdbRi+HLNahnJg6yri+JNW3ympiO+cmNQvAwqHfYSXgWy4lxyrbhK9/MaihGkIDtAKQC89H8
xpZt9dDndYWVenyBNoVo08PMxazYEg9lIygrFLanXfzW0KIBzMjxvZK/lGUGHkedsHQ9zR5pzdYH
iJcMngyEd4rpuCV/KHeUl6qMToPGL9u8GmG79ycgdIX3XmTqwcLA4ZhAP4wRNyedkeOgryoa9bUK
7omf7Nmsnz2Q77bsXM/vP0sRbxW+WLuW34PV3S2tdaOJOi5Ou7VWf2QwnZqg2pl0DFVu/jHSdNPM
9Xp/Tz3ql8ziFNXkjYu1t0y3dq2lPvy5Kxv8h6BJ7EFvjA6DGF7+Mpg2ZUz9lg/MNdFPIT25VVgD
yGviaO0H8abFszau/dLnvD/gnaaWv5pK3C/mI11jJd3oRE+RFa66kzSPTabjG5xUeDl4sVsKJShX
RXQdKrLtDB3/oofjwZD7JI4Pek5AjcMQQabJD3kMSJ05x8fsFHY81Snm/DnMKXvpM/s+/yWTweeY
UWjD1On5eeYrT6VslwZhbFnLFoGhCSmzuM9jmKejGpzjstnbw0ShBhpFUY1lARbK0pNvrw23CbOB
PM8IHVLlrq1RmgQFOiecBBWiUscLw/9/lZFPbJYsmPa1HIp9SwZUYdb+tnuXAUvp+ZOi2vkps+rR
e1ix+QlGE3d9Fn3AXwscNlEe4hgfZl2q4Vf21UftTI+muIkJjruc4OPUHC2xkm5ENx44ar1Za8hw
cjto3dPUOaH4GvI2PBhluSkEaumgUpDjcD0qrXackvyS6tbGA6uYMqIQssbHUSFCt8o1MLDcaXR3
npMWandV+ASEXaOW6unywt6tA+5Dx2RDB6PUmc5l0/MVWfDfqGxTJz8nafKAcqtX0XddhmsNe6EX
Vu8NWG+tgReeGt5ZYaQ+BcT0xk6surlpLakiK5ERWl7QNFpR9Tqw0it8d8inHSM0UvSm8oOxzEmr
OYV6/aLRscwlfeawL+MpDwr1gxNfJVbDQEKTTdOitoy3UstvI0MEmX34AylJHljzsP0KPP2aD9i8
EhZankiPGMXq+NXPD1FCEm6YnPWAITfWUKa0L2iQXgvj1+nbvdF32jKIkXIzVU7S8ZwjNdY5T+qW
iZcvmpeUf83T8bGmPDNlC69PtpBuI8CNjfUbTumRbRPzrdRynY7uPxm15Xsk07e+hm6qNc6lCzyc
Uo+qST70IADIqXG+ds8K32o/Ns+27eiRiImf34fZmyLBXZHsEyfFwUnrr7CHXaGqL3WPjVFjrido
g0q/7FDKdyu+4ERWL1ZH5demAiAZ/b6pw4gKqqsd8ZI0k5otU8YHDuxHhfX/sjV8wDtax6wOPWUR
88WNHY9B0JenhO57CuljemsdMsy3u+KryuYtUMeIMA+L5wzaQRLPmMA8hazep8na9qCfZdOygJxw
53R28j0mwTUKHPAmCPA5U9XfWYdh7hOlQ1foc8/UPisX+rzKZKGlJ+OrjnS+cZ6BnhOyE4MMBEmq
d/LHipEX1lPxJkcO9nLa6QUXR2rpH1nS4CSfmGh6yghbiJIA7qVoLio3TR4FrDHxBzCd9DV/X8xa
8QYUXWTcZIYRMQPH0qYXVfHOjQpHDHcSFMmAOzrt4QGGyd6r0kPSFfZCEB84VNk6dni1U8RDNAHJ
UhDg1qqswsyQlfi77Nh7TCEu8iHD5lShO5dJv4vrbhcZ//RiYj48YWu2OoxDWrPuY8G15OtMjOz6
VKOlFxz74ZBRSQATTCwatFaIj7xALMZrxFZoWykUCmNcdHh85V8iwfQ3Bd+aRVLTCB9qgFvLPRML
cF2Nui2F/JK1tbUQOzI1JE1cPtnBQlIajSuP/V9fFnNCDFdjWEL7MTT8afbAd4ApLUsvyYhMTuIw
FJIwKO0+15BZJraNIRAG6a5lmZRWJgwQzzk3FSLBWKQP1ejNeZv4F/soCBwsjBRiYRKil4qf3aar
vRz9/jwWrLZNUxDrzUhiMUqUbfBSrfJTor602SKOiv+ea8Gpa8uPTn2N9M5YOrb8c6YBVxAqEzGs
RQCSLghGthXmtVJcT/NOlVECPKaCLuYvM75hzvPz+kxrxxMA+tNrsVbV+XfifbbmnHzR6a+I6e5V
4fBv5nPKWP0R6OUtCjMX8ItRtO+BNrvJBIWmhv41U5lpNLytGddcKJG15uCauJ2GRNwrGy+hMF78
bnQJ2ZaNeRrt7m/QGVxPQMPmI13rbhWXcpr4EMJUt6WqHhxJeq+PdA0NgdOuQlp3z4le9RHsjk47
3Ab1QRbgoad6N6rrgfyJgGcpyNo/M6lJQMNFkZp7n3uqwRWc00PFQ3AyY43DhCrbDv91NDMTOtm6
tXcB1bRTRfeS+RoTJ2LGtGwlqSWjXad71ywYtok5scuSfw27rAbFr0a1aast7gmmHEFZfphKtIor
RuBOScGfxiezRoSollUORN68MFXh7VBq4MnMoKZiXHaW9SYa89+I2GI0QEJaCAe4s7GEbLlrbznS
F8MHo+WIc6roq2zMnrXU7q2YfvJaedqwRfFg1EbyGXrTqcx4fkFKK3T7sSDtthCr+bOY/2+njEeR
d0j3SL91vvoURg+vbIpH0EnsRwD2wnO8X2u0If4n13ldijrqtYvh2Cnhxs5+uM3WadCslAwr5U+U
V3vPAFLPlDVr/McwvQegfduBjBucRT7ktTJ7iREa2h5rQSOFVlT364Ert0BXqTS+y7AbtEpJHhLK
QQS5WZtcOtrWsYLBEBquHVnvmlYz0UpWfQcoU3jVwQHG0o3ZMuQC0Gr/26dwzQgVr+0PXXdg+xWH
uARyF79HCiAb33E1s1uzU2WpNGxN2yRdFDZKGDCMFdtcqQ/pWP2lvJuhEKsxM9apEp/G2L6hE74b
1uQmOPkUNOOCamjA+l3T3hadygh1IKRGmFwjNmxOtb2WnWRJmF4yXumsSjfoNyEaOcp5dB52kNDz
pQKPAd7rzNvidbSlOYf0MO5hn7/RRu3Ffpoy/hUxCv+Mt01VSRrkF+TTVCfU88LJHn1DHdfiftbe
4sJ4DkmMpFrTrmOHcEa/sNzYacI8OqYxIUEa1qaZnwJln+Qs/U1TRyfLia1yYSJ4XheIEkP1GSfe
eycQocYx8cIgB+K02LCKWZSGcmZdvdFUnJle9iWH/GVQCBGavBek0LvOwygZB291KkglKz4QMl+F
wNCCqwqjpNM4B9OAJoOt2WuLfWew+22t9lJ2BFB7sLm7bmaMoMvNHTLwUFgpZFVxN0X46Vut/WkI
7IKoXZeMxDTm+cC6eXR/i759xHGxCWyUnyF4cNWr2pVg9RIHZCJJzJN0wH2MnUCfrsNgr9m++agd
nZWVsrx01JPXd4+eX62R7UYv8n9eaqxVhqrcSAJWfDjoYETgRJZsr3Nu5/mNLwvzO0AcEkPEUM3w
0Zfmt1WiZ/P6OaV0HOgUK5pLp2bWpdThmyNghVFQDbxWDVeST5GJmfKUc2KqaX3ScFsOU7NENOZn
bo5usAqPCQe5LKO76cubHRS/WmEudJlfZzjd1Hz6NgVLP9L1k14WK7hVpc+0vUtql2XumzoMOBKw
+yB+J/uSt2Cv1K1EJy4O/D9LWc6e7Fo+i5yyim7VC2MmMgh6fIofFhPeZjQMV1TFZig9t0n0nS6G
XV7DLKTZs5pmN2Y+yugsZ+OtLyaq0knq21bxNr6m7B1ByrMRcakTOf3nOf1qkrxc/LXaAGyzt1n8
2DQEXWHtRvkQtzx5zFU59w7crkjfZaZxqRydQA+GKob54/cS6VPJadQcBxkfqxHHNMLbtPpTOFkm
xvNOK9APDjsHQ82sN8u97ah+/TuFeXA3jJHipPb/arhxJQaZBqe5cveob1mv4kKK42sxWX+JV+0r
jICMlNmC99RqAYGtJQY73v1BJWJQFCRdRM3J1OR17F8Np77nLAxyPNm17Ln6UxhGIfVGNgxYE1rD
nSeznfMZVuJcce7KxNhqiDWXOOxCx1kOpQEgMvoaM/RHHLIdGvW8jmHqqtKtdOg57bRGhLqeGK0h
F2NOOk8XEy1/cWK4+Y5z5Uk7onw+TmUyFw2HwRlck8MrDeBlC+009Ai8qrrg8vnzGRcAV55PaRsF
ecPs1YuzZUNrHyvUwBNlA0WBEvzDU9Yi5SCtQON8gNMelNYdeBPuszbF/sbQO6bSCGW6Y1iNrp4n
KkRH4byKAoleQr5F91JH5sZk1yudXWxOoDG9F0U3vswK442Sr7yk3piQuOwsWGaZ/65qT8OPXk3Z
/mg+sC7nn21mUCfsqVpNwnv1a0KoNJm5pSFoQNh2JBa+90xlWMtcbZcXDEDa6NAnDEdC+8DZuxxp
UTZdPtUrC39xG2YQL0S+zwV/Q55BHlVVRKmMrcpm4qBydPrGYIUD35t4UXzlUGvMt22B8a7u/7XV
JEn+U9/GKv0LbHLEJuW9CTNG41PKc0YSUl0NKwNND2dSqOCstL9q/4P8wDCYCcALodnvJbnYlgpq
qrUaIMsB6h6j2DlB9EqSjddgxG1sRlMMS6qefLwYY0k+mCgnWJSEU3jq1frhmZG/6iCmCKJ8Cnx+
jjYxlw1tHg4LBLODzyhsAAJZLSzAnFGy4SkPVrtru4Y/7JA3VleMj4Zhthx82UK7+rG2UPzuc/Li
ZRFWS3xSY2uTtGDfeonoSnBDKlhvV1kp1yM+0KyLXxRD+eCqXE9xn66QsLCktZtbGts6rta941S3
PACXFkIUtI0vjctzkGa/8MLLgBVl3vdtghhOTS1cS2MDnqvEZSGDVoKetX0HPCBJAWbmDUwDY2FW
2Wfpe1dpOHipv+niuKv861whFo34rrqPwmrBwJMZk5rInGZtHRQC3KU5eXOAoLNmOXgDG21Chn70
GJJljo6g2/ACQJqkK5Ie8TcygHsTUo0bzcXSNrH1OdLo1sAk6PEXTf4lMamYEv+KBJyGU+Gbd44p
+Cg25sgCLG+WVc7C1nzrcLTyBeXypawHHMrn0fI3zEz4j+y8WSfAuDLzjU+tDuDIMUwvui0c794B
Dd/B6j9o0dUejgw4F6LnFlK/2TwTZOWl06ZG/Jw6+ybctrgLe64tE8+CucC5aM5somtrbMOBa4El
l/Izal8F1AEWtNzr6j2JmRah0cK8Z51Cj2SSt8DfUiWPHLsQQpC40v9xSjkQuHp6LO+D0pYoJxUj
M6/08MJH1s8wnq32m/vr/tHElGtL1m3Kx4zcljcHFYU41JeUrk4cbe5EG+3yV9atRYgV8UPLvhzi
8ZyX6KkE2yw+MJdvyF1Blr4Cj+R9QtsFrWrBlmVo329wrQAbIwDDxLqC6SjetG8d9DHQPDy4BNwE
hAxvinfVcqeEnnyhRoycnLWj/qJ20turPqPY8Cz80zr+pfyeM5ARGbCLlXUtnCPflcovH3h3YBa0
cH7lKvZVGdxBYyMC2A6uS/9BDSD/IbHQKcZUZ19bJ7joVj0yuzgaU0GEVbq0AMgzX7rpDozmpUGi
QIQNYRG9NA0uLU5+ZZ00e/AcDuZ1poXBMSeBQ1l1z6jflemxiv01T0gBYL6nof1tgQGJd3o4zhfl
JYTkz8mDGNR6cOS2IwmQZxgOQdJuNCrEbwhKtYrNCe8ISk9GVfvEula/TnQQBMyWx8FE/ogn9Yuu
NTEeUcuDD7R8Wz1zfZt5/PNraEUKKLBNAIgRaglJ1hFoOlR9UPgLtCrdupkHgoJ0lcfe4M9DDZQf
0GZFeOv51JFPf6eP/CJ/FXxtTy9Fu7QZv3nQfEFPuNbbVxQfUEFJM2jNbUo6TcLE92BB4hk3iAOy
W/uGUBhhcfzevpjFZaZMFP/4OtPqkYg1u/P5LyPxsr3Z8UktXKi7WJ6q6khMBpR+/h2mVLpOofBW
T/egv5TDa9tejfZix+gLQZcrSOCwi98G6y3V2R7kxyrYj3zLrFxMJL8b5C71N2a3yCoXU/Cbj694
SlX9Lr5T/enEGP7XofhJ7JV9Jul5vEGqGrNdN5x4ANpyn17G76Y9OVhITHRjlAmUXovyymQWAwoX
kA/+GjDgP1zAlI0MBcZ6w7naQ9WoST1Yas5W3DrNR0PGwothHUBA0CyeQ+4Ew+RnDIsXSYZ3QLuN
Pz1ylrUCP2TJm8esJ2j2cGts76rkN5jmPQZd7CBOevcF3qtzQOxCyNjb3CXZnddgKvEb8Kar1sXj
lBuKp2Zf9eG3Ynndc1lS42JyURcx4ljI3SdHrCleWma8h+ITKSK7CZenFS0hQ5EWn8qXPq7Vz6hn
23pAJWJlGzYo2b9pB+qJnDW8EdmqwwRILhJanclYQwci6sHy7gZmsz3HFvYGLT7g2i3C8yqIUUrs
soiNmc5H+aalRyR1Vv6Ee+mtwHKZw5r8hsjSN9i8eFBqNoVS565DdcswLFqNCv3jbcD6HdGxbVm7
8pGTWMJFSXQez3cTuiW9cXUCLIFSOgrckuVew8RhDh9DcGfeinYnB1fNWSG4QY+NnRHfDRxOF6/J
YQHB/y/dNteGB/G7q3mWAQ5my1KssLEqD2JaYABSscivee58Zx4CUAFhXnJm+u8Ve3ZinBb8YLFz
SvNtziMCNrkkUvZnrAiDYASNeDj9h95/2RfLBKDdGE9bCJWkPgIw0BHMNr9qcOF/h5XjQUwhlb1x
VQbllKYTPxfwt6lCPwe2i7c/XjDDbm4W8KzyRM54/tZbLvdTyOya7zXE57DGB4YSY46zL+cOB6EI
burxbqIaad38lcQc8zpKkp5WEluRTY8cSWh9RfHMIyzmbxpiib3fPHxCvMHmoScjjCL/1dAAw3Li
Nh6ufO0COPyqP0SwdbS1NKGNHKZfMHhhseciIiSTkSSZmeD/bPOiBD8eh3kBfEFX1+wLYbHxLWKD
xKaMZcBCqopXfUEU5dCtcMOQq+kquymeiZMQsCDhQ+BGNWK7wcvk7SNlXxJzWqLd+KvHO78KH33I
nzKMFULKKYFz9Y8ec3jB+ok7qv/Sib9I9o15TBpq/w7ILyl9m/7eWWvwyjPBUmpv5I5gd6xHipg9
9Wz5yjfLbYEDGstthQmy3mDssV79/sl4AOkBCpih32cZFkpcSGSGrYIdwyRwjgbyW4NTgC8zAIcs
GnQ9BBuqT+JceFKcj8cfgVw17CKulg2HHftAPsR2Y/j3xN6y+iS1I8z3jKObckHPezbfVQoY/Yk2
zR2sXfEv5J1lb0reO1srhw9uAZ0IAoYILiD3nKAhxsedLqDnrQuDx05bIXLhm+OKQQSL0mjCk9+1
hMG0DG/mFDCSsLlxxmLL2wVPXdymYC3Bm3jrHFLqeszOKva4VYQbZkcgBn82JXFvzjdbgboi3G0f
hVsfKy4F8HrayPcoXKOlJvPrh7QbpmUNwSPQ+OLV+MYREssroeTTdGZBGK4JgVC/bNfvERK7JlRx
a76Ja5/fjuHTY6puNuHhJLZslX9iyc0NUU3uOIptFxGSikL2NpOyRpbtqAiQBfPzkyLWkN3WzQ8Z
c9WJjZ/vcohy5cwxW86nqa3rQ73lHSdfTnOrDwU+SrfU9xElf3Dg0+KVS6FcrRt/K49m4rb2nnkd
XMdMoO5jfc4rCVT2iWq7OHFkV8w1V5IuEjjXQtyJ8dF4LAAeUiuG6I3w93GVkxMIqhIwJKR6dY9p
m8gGImYwsaxgZhtHdkPJkWmOzhLnjraBnGi5Sf0d2V5rA9XrY8TifrxxGqXH9PLgdDAQLKnbeYK/
Mn4agJUb709rtiXdFCDsGGrYboU40KbzIvLoXEA1/BeSEMWggqpVX6fJQfnOyLTXT/xRZuiR+iba
O/9ceVNMe8GKh68mKG5gJGDu5RCryUSYJ3VeI6jlYDWzlE+wp2n4Eazwe1TdMn50fOTKj6/wz1h7
MsiZRrMNaeynI34j1HnIeuxPBck16VHcB/XFitb+m/0ZqFdB+Nmf/2qh5Soe3cwUh+h51Xl5mPbj
I9ul3op6OHhhbI2yBlgHSGcohfIfpE717CxgtDKvajBpkZfrasGayQkDGY/c+BXqJmQAeXRj3ZF/
S+1geh+RBSZr01bQcBH8XYZzcwJ5B+2L88fc0ncjYTIPA9lYydkEhgRG8qjL63uAx0wnO1vunQdB
dVW39P1FVPPZQ/MOYcyxHj15nDbK3QS1uzYEthTMVASGn5nE9Yi12iNC/gnkJxP28ZGOu+hq0NY2
x5gBk1ROo7qLbYs5aInA669hCClq5lXlzrfelYbljd7OmtWXxPpuRH9I9H88/z0dQNl8BTptKLvd
GjsM6CPG8LE7hi9lcx7kqx0RF2OCUtgOHQZoHRUx6lF6n5qT2/rAaaJTXJOfLlfBM+pOuHtsYk7A
MDPZLyFZqdxCBb1ri5JlM30m2zr91IMVplP1gMM4/SFz40okBhbENaA31g2F63x4zgZ+XD6CCjhS
MvHDpSulZfmx88RS+2n30TxuxR2+i8G/z3l71lU/9I84eSLEYFs3VzVkW2694R6wUTf8HwsN1OkP
8ZPtvXhnJ3Qp1mmfmOOgm+CA/+M8LVYj9kJS3oMfBo05Jo5+NwU73nHEmgM8BPPgaWuSitqtPmKB
ZSZEumJGbb7y8BK5FJiKw233VsSM7BjjzhsUJkfVWt2CQmWYpbs2k7jbAJKoxZ2xRX+fGb+R/otx
sYBTDVhv2Df9yePZJRYJzXO5w+co0EJZbp/vCvof2vb8HuXH2D+Gj6ZZtQf+qOAnkb+E0SlHKgUl
u+eP8KfTIMO8aRCfPerRG4iCdN25T0CGzhUgwNas3con/oD6DfoNGvaFn/42EtgTakeCSTOdSCrr
Jdgnv8VvtMecrj1U1+Ly1tFHyu+c6ioGhNl/puDO2hUHlFO/TJvXtD5C4OyuKU+6BC7anfJf6600
NijdI3Hjlxvc4s0W6+67G9E8LfUX1pXWWqsP+Y10ldkscUy8Fz9edQeMJ/7gxsVRONgBviWDfyQ9
rICJZoFCZboyOen6I3XZQGbTMeTEJZ1THsITyW/ejmUchTplh70s+Wgs21044UYp3zDO1vkdaRAK
aYJ7UpYFEJ+l2977Uw5ltdc2LYV/vK5gHwKcwVRsrL2jhMxkIcrBEUnYBY+/SXk5DezJ78D2vgfK
vKO2ZY2+8K0VFdrIVNVZN9Et1R5I+JNVyKizAxf2HpK1QtxJu5KkfPrFnr4Yqt7TcZPXyjpUxaOd
wVWIjbl0ac+V4bWIA6bPF+0w0BlOdLclkfT9h1nci65apFj7GsYFPgZFrV1ADah+RUlSZ2ceP7MO
PY6Xrko6LwXOaMcrCexUJZ4m8iEuXiXbzSaarVG7rrh0dOWDasGy79ljIC8mSUm2w34wjkGYkWCa
7mOU5sqE6oqiVokxHtHowz+jcKW+rnYVtEJNP0KDSyEqMmKXD3286MjgEYHkPasINFe7Yr6Nlc1g
YlE/gpRZNJJaiL2mneAZhM4zAiAgJV0qRyM82jbGftzFpYdK363pl+hVKPPQviSbqt5RWVnomkv2
xLMbITpa4os3QERzCB9ruCDZgPNKAqj93CjDT9p8iU7HpHcufcLOFWsxIlESLCKFAENJSVZyywLl
8yf4VhAoQLwCFVhI50J/RbIMgoihWjikSfQkKbJJW+jQElkmL1n6grsmDVL9tD+78sQN4Hudm8OH
ktQdvWou0HybbFo6CU17NBDy2Pk2ZIcSoU3JFKoI5Z1KX0T7wfuB2HH1fCISZcaoDHPOVC197Yur
TKeas8wrBVvGELZncxW/ZYygWExDAxWgRA9xzZiEQyy8knpnqYfYZ32CfSTOYDOfGXNR8DEbMvpw
ZyP0qxivatmxpHIXzGIm/PIRodBLiXcxx16p9PuOzZF6yFCsvGGVli91tp1j+LIvOLsOeoX0KoMt
fxQHKqPYKymCwGhIUSWmqtXWEXLdlfZljetxJ6ole2r63sZ44H+BKUQ+bnUAfsukOqEMQqm+ZIqY
v4Z/TbkS+s7MgQOdcyLrzBXneG7vJ6JzqFpZIe/bvWm4oc6Rr/yJ4CNs5hOSkgg4fn8unsGT0BNv
XEdXizhg/818rVOo04eycOUL85CAW7ffqtOxFKeYirUgd24bGs/K33Uu43UFs9lrdiPNoGRgqm9a
FWspmlistpuUQTlnT3NsfpyPxNl0J8s5Vr9VgegC0eeyfuVF67M9FIPC2wWEvNgv5SEAMR2Dtdrg
cgRx2bMl/fP/eMD/I+m8dhvHsjX8RAQYRfJWDMpZsiTfEC4H5pz59POxBzjok3qqbInce60/To/K
OFMUyihXa7ozwYwAI7IV63vCdsubKR2qa7/xX9NspHQ6fPMkcF2oKevRBd0JT51HdsI4hiMR74ny
NIw7YUnlU4D5K/bICQlzN4NrHhxk8VBWH4q/wmBvyPfaIKrN1YByAMeUG/IfriY20p7jYiIKeAkH
xgqVMAjH20R/UMtRcxwYjEfg7GtPIR4Bh8oqSr90YcPlMr0F8qxADHz2UGE33Qxyz81lODokwHu/
tGcrdLtLlsBCRz0HYpt3OH6b7aFpTswZClW9ACDxhwzgQEvd/IHMdWxTykD8zZTAdpijAOjUc6Pv
ewHWnVFTfoEZAiym4cZEhTWP7+NurhpjSVA/EX/Xz34G/ChcvZSwF8qhnlN983897qphsc9ewppU
/mZN4zAAI7wDQwg1SIyTcvNVi3cp+CDdNyeTjphdcltaly2Gth0/fuqnQr1GSBmUgqhDW6IbrQ9x
8v+QhGUajlk9EJ/Qz0t1KErJweKRLr5B/fk/AIgUyLQFO3lxveZfaXkcDGLXPjXpqnhstOuITbBT
aLmum71+ysrLbKAX0FmrCPO97rNh3A95jWvpywt5rwBIeqsWMZvjiryT465FO3W8KrgUtRB6JsUP
rAHwaYguyMgWYTzq8DTqBjsMyriYaib1HKYLq9MDh0Di2SFRgE2TVySJNSl+qH2ZpHuJEhUUWuWz
mZ3yADY6BX7ytG0gIJL438xHME7aIv8OWcF0Q8pEBS62qdjYddk5M5kRTtcLRviojNcFqH1d6YeM
TxQ/00puB9pp9GVfrmLtMMI/xz7Kgy61YlO3Mr4IijoQaHK/EY91hRLw1RNaYx6dyAXgBOQyJdcg
H6n/aVCbzgjTdM0B3nPOmLYKrArniKmRqbNGq83minB6IKJCuQntG+yfv1WetRXZYCVEMyxqOEwr
SteLtYIGzwe94rImh4hoGFzma9QNM1dmEMpt8YlKA28BIh18/HmwYlUf5a82vI8GWTBWO63FAnqI
fpV6z4sRFzcmYHBqzeQGEt6mcGVqhRZg3We7hauV2bE4g8tqWCageWmEmJevE45OfpQyGU8bLf1u
VPL19wv9XWVfhJ0hKrGIZy6Mj06mwkMX+FqAFYdNVTzaHBRNZ5VYEUyNu5c77wpuRLAm3AOxdgFG
r1D8l3eDQ3Uo/qFlThkibWLpAdSzBhoj8yhb/wA+Y5QVKcUhxt9HNkTnBbYwcLX4xA+o/9Q5TSJx
wIpn9eNm4ou0+TFxNUAH+NkFaEngmxmQyS6r8QUmQIfCWKymd/+sYhsMn/4zDdjUo+dlhYooaE44
J6G2Tf/W9c4cRgbwRiAcOA9ptuT38A9ohitbIcWvon6s2kPRXQL1iEyeClsWPLw1WndoDiUQEYfQ
TKCikePgJAIC+h68yIpJyFis5cQpUdld6D8A6x5loArELpIlhqdFdeum15yaic3rAJ7LL0hQUQTK
GQZ2O5L9TwqCop1NstowMPMYFLWrE58Ea7f0b1ziRblpiKdY7BfNkXMTnijUt37+KkREMy7q5Q6c
OyTo0qWqI/YPNFWQuP4XlAfAA+2nOjTTHZN0PYIM2OOaVLHf2QfjX3lf6aUATMXnxlWYjutE3mVU
RSgvld8txTyLJ6XzttgFMDI3Om09jtI9Q8HiCG36tarTWwo7ME06bwsUPmWmvCKEXiiJbxOvRpua
ndI0ML9VeehqxQPiKiP88uqHLt2xMjWqc96OqbM1Bp4LXKsJ10YhnCrInDlEryy2Qaa50DoGXZBG
K/MiMz+qt1R9RJ8C+cEe5dLiliaUzprY4kt3gCIjcgb3ygwa/U0gobg62VLDTaXspxNUl3BOqk+g
yEWzrtUvZeKhUnf8L57PIEZbgM5Lf8eSX4gPxjgJNyuFWTKc/3UsLj38d+qowmO8obwp3cZHTM1V
wME29zvldHoc4voqkn4Kq7CZfseSGO6riC6yXGa/RbhDzDixrx6ScGtArhMOQUPt/GjX7xqR1QVR
aiN9Du03Ubv7TL/X/kqmm7K/LsxlifIZUNAlKlYk0wS91lLho5IOKfJckw/qlStONt7ZQmXOv2au
QzAuiu8Q/ZuJZ8RyafrMyw89PxVgpvhyrwmIPj0axAbXxwXF2TwWvB/Cli9uJFb2ipAtfTL0AeTX
tLD5jiDv6+EBenNJkpOqbrt430SP4Uaqg9jdDSTsBpUp0anTD6W41cdd/qVJKAfmxmGSHXCWNvtg
dpzIvy1VK6ojChBma68gR+naaq5vWsqrzM+Fus+qzQg+S/GsvzJjt2hXDHtYCJgUSNclgXpMd7x7
uJZFW3+LNEd/oWHGs0MbLXGqy/qDP4+iVhCchJwXFgmiW2AgFg2p8QhPCOchQtXHfkfbJydfC2Ja
x6wzN0MiCpfY/jk/rjGGdUvGXyw/ai20FH9bCX9jyR9LLMJ0bZlOfVhdr5zWXLLQTzWT5qAcNZ77
kD8nSquDp0orXq6xORODw3uckGBnUj1DcUwOSzwsZb6pZHwNveVR52Gg02h/oWeabi1x3EsqDS3Q
USEKR1qGZ0dWQOqjYMyKDOKCuz8Iaxmyq6f9oP/F+PoUQF88OJEJ1NOPTv64Tw6K+gzUZwZekJWt
U86roqJAK9MG8t9V0XiR06Qg1wB08GcG8gjfDjWqLzXUNxHKBkyWhIcNKFEQbqmM9UCyTShu6pil
JwoRUVwyHz7XJ5MftpnsQ54jEbCf5RtaT/nyp/1ovquCCDbN9igwlB9qeJLwJ1yFrrD84UejJqBP
YUUvMW/wCJwHhJ2aW83PV1IuAG/ehvoTniobTB6cK+N4z4+oF4+ef5/7bJnTXsqBF+TTUkwuekSN
PYt30/fOGkpQIogNNIsgSMXPAa5Jc1eWnKKGYLg6ZZhKbIesJo3RuSFS6oYIVfHY/YnZaUhXOWeE
goZmL+o/xdfE/IS0vLnUFJkErKf5e4IjpClCsoXPCBG4V29jmkB+fZTm2YvQncAdRXdC9o6J7oOE
p+Jr5gixNvkbkTZx7QDqHzCSYcrHU7psBYZWtgR+Plm1+obW0OGPmR2AnuCj6E6lk/9HFQhQFKXh
JUXjwocW/mRgWJx7hbLzBzfuCE4+VItdaefZqdPctjx5eC+9U1m/4pIkX5Q/InESbg2kn2W3OFgF
eu1M9bfEN9qeWdnmxXmGXASnAvhv+HG5ymOX/rz8N46Rh56Ss1Ct+RhqVowPoBoaew350iSuFhZW
o/0t+DRiUvobA22SGwzHVFxjg4UtxUPXEkTDG+hCxcjxAWKLSh9YpYGv3keEl2QIEz6l6KFwkATN
q83sZvrQxWOJYQHQhR/vE01G9qMgelzIlzKzpZgzyBp/GmrICCmCbM/8t5al/Af/iSOJypyunPwq
Re7KqqeRQaBFROO8wrIT6oQEB1bM75+f0O/RAMLHW796JdmNsKPkVYOievA40l/I89ECEehhC1yA
or4T1z2HdAizpp7rZFpxDzeRQ5V7H5VWypjGoKCHR4OdHl/8AODIdGAUKwYRBVks9RxZ9gUrKg8o
lPVloBABXfe4GtGgjVc9f2S88RHzRnMKDqEpLAXvT+U2j8V/nF9UGOx4KcqJzQcmhOJ7jLWIzmic
o0cwQgRu9LSy/SvQR3b5g59sCo/zzO2x1ZVI+tbo7qjsIP2LsZ/sEO62i8B/G9Qzy/CxEH4lHUF8
9CFheuCEYzhmRe6Z4xXet14gB0bkyTuQtAPfq1iGRKgSE6Ww7gHeC1qgmIXIfET4B5jC2Ngso99R
+QoXhNeqzDDZASbEAEgL6CzboLhR8iuQqkB6tLoalDNFOAQdTtvoNyFnilUfFblsB2e6unrgKfMA
5kCg+wB9ETsSQUv+Jn6liDbQzdp5eai/F9r+iRVXwyaYXTpUS4wcaf8LjuT/00K7eKl/hCVOLmq5
xSeLpYGoA7DOt1vSokdX0j+QS3gkEs78F+lcp2RLrtV+rrgn4sQmyUdBSoSSnLMRokm78/Oaq6KE
g0EOPWf1wQzqjz5hOTu2EChz1N8CQKxExQbGxSfDH0ctUr+FXT+UtOi8OpgI80iMzWEmNgfZjR49
Txaw7LaBuyVBM12rjCpMFotDczKQDEG/HOgU38fasis2XbMh0UHQ15p5mtNy7ljLordBRWXpjtPG
/ys4so+zLXOzMI91adE2Rd1O+VZek0sKXu8fGgmZ85GniIq7tN0HoJy/KjMe2SPqs1UJfvYJE1wO
od11KyzRvNbiR/sZbn1+3BurWodNuqV2nNqqZs8uuWyIapu8g58fjU+DfnV6V1AFL7CMZ2D8zQNT
Aau+kN1ND3pU8JwyaY45qNUAhhoiHGXj9n65CqGnBrQ0gHkixw6LOXrU8Ui1HeAbcjmaZRBu8xE+
mZvYb5iVvd6GMQaeY5RNaKPsvgE8Mh9UAScu2F2/famXAI9GoP8rhTOrclIeCP+RidNuf6v0i2OH
CWFX8ND/zBjVYCGogaygoIl2sxcmJbwsqGVxGgre9SP9w0dYQjzS6fWpbFR1JQfUh4WGnaDsyRXU
ZG8Rn2zkbYfFGm8dyqO3FJ5BSvI1evymJ+xyOZbPkYOAxcrXDnr5iT8jLdkLhaXRMtwRfCq1h7iP
cBkhlFgN7SGrkC+wkXPp18jtsIXUKkUJYKrCBnMwnyTBA13A9bKSzR0OVoom6LNkAzKz/cwSjL6V
wVpgYFixE7He+Iw3YvNn3hH1c+gMaOqMjwU/sMIf1eNJAiGC/cHpFV84bzp9LyNiWCtftEQi79Me
ZVQwtmx5a7oNbz2bEYXz8BCZVVkEBqwhOdcMMgT8m04XH7PhkPxOhCCALbboLIia2NQTqYfHivDk
1DYo7BJ4PUEwDzH6Ms23zVMvb8e/OXVrWi8OkkLXlckdnOCz8dDTUI986dXQSr3dCH42CD+mwqKw
4szpn+pTDp1Y85fUWor6JdXvceuO+Ufa/AOwM7JdKK7Ta5htG9I//Q/mVBODRH4yiBDgCgxXmuqU
aBYsJHZAG4SzLFjlqQhBCLTyldDiLOT/RQYDufISlzpSR1hfdqgISInDZjQvM4A0bb3Iyr49ibBn
IC292oKJoaP4S+I9oey9+k7aV1q7BA354iYBIqjVLRL1vmy5m61wYAMG3N6jq0C5S5a1Tw9h55KC
mPZHn7IYmyVMs8W5aTvt/+meXd00oDFQm31wXbwRPRj+Fv4Ep/WyuOoOeExuef46qp8Dk6U27k3v
LipA7kxlyN08Ho0V9TUk00Dg03xesnlOLbZWMjwkv3Mj+ae/8DX7/6hf1JI34OxYH3ut3mn9Nh32
eo/SblG9PYn44X1okLpnCraWUba1SVg1Q8M1wB0W3Cdo2qbwXD7rdTC9EKG7tbI2uIRivlXcyIh6
iaYiVMJTV5T+Id6GPzhWzM+AqlBmgeyWwdtbfBqg4Z6lYndFNe39ARnFoSuS0lqdxfKNlKeHIweb
knfDm7xEMfsBuqsp/yAOnNP9mCJCKI/mhbxZDzpTX5OrYo6fgXDDahjHJ//G2N+TIGN3vzKxtrP+
YI1ojVENcfDiQoF6ZQ/0Mc7jY2hV2N3Ki9dcqxiRuJDYtU4c62qctpMBaiWdOtkKyD8CR4qPOtMT
Pz7F629PtMn7ilX0VWd43MiJ5VsIk6gu9fje/TspKGdcRT7rBOjmKP132Gr5Zo1z3wPMkLi+KjB9
n1UcNxe9OyY2XaaBwNBD/PuqWdzNZIXLdDKOeNNTq67OcvRXJrseqXWYXwsI18p7k59Bqp/PeTfZ
ebgenjKV3at033prM0ChW/GCIzKzhjWmxZ4WDQLUceERbY2jnj94Uk9mtYt52qk8iFe8dPew3UFJ
kanZXgJtpdB6RmHCPxUKLCdIiO7fnVJgxjo20XXGZJ8rfOeF00V31Fp/ATvbz4jeheooqpp6SsDh
kfz23hRPbdj7wXaS/pELXvobHfML4FC4L2gC0klCNQgX5fNJISBTBzxK9B3Q0x4lMVZLw1vzuRn6
ChosWavov8iVECDot5LyKIkJsozNVbsyxVfINWFdSFyxaRAwaPNTtiKHDceE3WzU7EYusLWX48cg
rdKzmBLijZ2SvZHxInWVLUJTNO+1LZvrzrCj6+JbLg5jv9PGdullJ47xjL87yFa+uUl4bTMHeSbm
ra8SACi/Cgr3MHpjYlDWyY+UWg3OIO3cF64SQTOuk1NwSpEILDXCYX69Nc1Nsy8VRtUeaiKhx0Pv
rZSW4JVLilQbqUxsSea/ytu0aWjxmfL2J9OeqE2UnwYRjyQhTp+CtlY/2ABuFTzwdchdZfN/eD6t
XHPxr2BxXearZGRK915efiGLQMernXxI5rHzzl3yixfVh9i7GRwkSnX1IUdDcIp2uadAA7EO0pLx
pAa2h9UzddAopNNuiH6O0JiJfCG2JWhxX++q5sxLgCfS+IjuifzR1655Fet3IRFxSJ7kmXZN+nbr
a7/YAei3cNCLdq0DAjsnD6bvalDOy9ritPSeD8sKezDK7+JjINN6sdQadJkiv6qgWouFNb4BaOp4
HwtzIPYYuxVIYL/VH1lzxl5V7E2Maqz3BFRUqz7aaeRoXz2uGRK+rsP2O7a6fMMdZepLfnQ9upvM
OUm5YooUk9X0ZKzs+KIOUvkPWjz7qgFKISxY+6pr9ZHvgT2fWDL0xT2XKCRi+oC7hbwv99jTisgl
aQ1Ehw2ErI9XD1kDkh2Q7LOafFu9aP0OmRPsTfDqH4FBdwFn1tLX9xqwQ+4oEH2O2LPV7bFK0Bsn
1phwbd5eeYNMe+k3IOuUAT46dSXy0HabZnQ74wvwITIcVNtQPSyAJctc7fg6VP+pP7YrQAY/2wfY
MJUrn7plbMXU9kOL4bXjP2/n8yLlmHvR21HVC7uDypLjr25PIoGX/0xlRdYu8UrdmnYHA/vDcrKL
+1h9G+i1sFblq6jbRdKzHIjU3WPB9zbZrlc+pqvwxfIvUmIVrBvyxbeDwNuJGQSuxGlRufeOCfCV
biV+11ZbGuIGbaLRsZzzKyeUQhPxt6RBouTK1e1iQ6d8tkMgzMON4i+en6YF/qIH4ftBeIXJTmPV
AmuPoj1jeSuv0U1k/QEyR2PMny9IT+SToeFBNZ5heTMSZ3CbetN021rZRtnnAtu5gbCnBDk0Nt64
1uC7ZHTHRLrh0K7BAL96yoGkFZWIc8eE1UrbTN+QIB3zIbXqZwJWA9RfIhjNbXxQy6y4VhgLdIao
WbTCtxTsjc9F9gu8Lc/nBsLdHJ8Jv1NO7wpMF9Kylh6gnCY/g37pQ813OhUXgjxlLCjFPRfO7tTu
sFOpGqJaOLHb5ExfHnwxIeh03ZILAWmHLZC+CvpK5Yiex7WYHILgD4h9od/ZVOmZII1uoB4mu6Kw
goCpBALmrRaJFan4cm1NqCNCH1wfdBN4dbZrPEZab4RXmH+TWab3O8Z5ZHCZQzS0INCgR/fdhki0
lJYdhzHVN5y2d0ouXazQsOohT1xZPaQQU6+TBnDbLdpiuH1xQzdjGL7okiv7Awpyd3YYUjzi178t
PyIzzwCvjO3oQAQtK4SePDLxFnc58ZG29CJ6QL0MNpHvhbYyU1fNnALZAyjRn19SF9T+M8pjswl+
JPUHEySnKgLgutojckR10umotmE+8rdfgHRuh2ozvPJ2nxdnhNeS8iuMbnyMU2aYs34H8bvkEiWb
EH9r9Y+/Jwgc5dt49E8P8SWV2JgRdqjZTqHyuVhV7UpXLD6FBecCpiv3sFipVAcdPfioULxUyKki
uyJFXZGfNCIu6S0is15mZ8UWM/R3yC3RvNNVsGA0C22Fw4X+VGoD2e4oHdNPOHpb6k1ATtdTe4AX
Ff4b+Jtud/HyLRBSept82nNIT3C7eAP1L4mH5sv8W3grIVsVA9AJOW3abdZJL7bIsRmSffQQ9U7v
VxNcXE0KVE1WOU5vAA+wa3Ml8UyKsj18xqRyQ/ds4e6IeUf8kAHzXA3esnbl4zar9jVzN00hqJUr
m+p19SdjrubOHKVbyfOz1tGagFTrq0DZ9v4uQAWh7pJpm8ApNXZAbFfnDN0laQ/QqFCzaCbGPZFY
Kno4WbyCmlSW9DAJ7qwv+fRsQ0xnTulSbc4nJr5EEq9LaE4bf2WZumHs+rcFEaUijkv4FNOWdReW
tkT2g0GncGr4pRyFsi+ZFsdHRPDNDdWbv0amQU/qGK2p78uVi3fhIOBtLgGbdAF2fVpjhRzQxoQn
+TidvSOgzGDsAWElKHuv3PIVoP6IFz81GUR33aBWZvjS6aH3HqFCT4e6x4RiYl9j0kFeuzRt6dDD
3BLEITgL8UwqSbXiTct/uvKjmsPmK/ft1HymI/xe8gzjhw5eiUDSc1s0BkTjWPpW3X+14neD2Yc/
93Pxn2+E6BUe9300rqItNhXKNpN4lTx6Mo5moH3Wv83xkiOYL60RV/1NMS+rpvbuyCOg4I2sZX3W
gEC2pYztHNYH/4uzrgXV3hiBpa60b4lQijWCi+kb+514Ha8EaBALTrDbM4Q0f/snHpyI4vZ0h8l/
r1Nw/B7epJ9fwr/pG4gmZ/6Yh32reSFEdGuU8saRbwCzLqDxHz8QJi182CuKWbxLs9f25k61yGbl
VQP/SVBr1q7yAh0DTe2Ls78bSI8miJGgAnWvMG1+UUqG0g/D0bInvXcJs9tUtvLST9LN+2RogS5A
EsI8I56zn05e8l8QJ/0HurrJis7Z2SDQh2ive4h7deYrw9r1fZdUYiUEx7LSSyFYDSsZ+DdFp6o9
PGN4JvTdGxjsYObPNASd8z+t/kdh4QIjexsgw0C4JKAhj3XU10CrqMXQld8j7KYIJvOlfigcKhhP
xGE0AUFh1niMQpsWGiu+xgvgjeXs3FyWwKQGXTQQG9EPAy960wVxzL6l0T3IXfPoc2v6Z7zFN42U
7NlHcJb2PNeZLf1LRrM0d3Z8D++FFRySQ3aRLoj6mGhW7U9yHL9rOE6Ak09CYXgC8SCT8ExKorY3
yAlX0SQRu0n1uXmFw6jv8K4/IIT1D508S/3Y807sieeB6HCmj2YuLdQyS6SP7V1uqAEusY1AjszI
UYEW8RMFEw8tIgkofhabOfp3WSR2aS7TvT6CMS/TH5Bd6TCS0zhnHVrCH50aeMh4Ubk/+Mlm6eI4
btHQLAAtn1FG8o9dc4JBncc02qzjYZk+FKQ9iOfRPKC5YNB4SeQvAA2TLfjNjlGciHEIFo5BRDVG
omucI+DnFKBrzZYqwvoc7QbIjodkJtZIbWZn1anSBWO3fJP4eYgNlDHE2i3J1bRePGNkLvVX4enP
DdU26L5sorVzuRZQoRaLtYGMhr/pi8Z6+U1KtxDtRxH+0y1hWhO3D0lnsaTS4cMmazOTIU7hSaxM
4vYlONqmBEEkN3J+QfMKNnNLIhefyA3hKkLbDmYAD5vVtq5OioebWGXh8NcjqFocmHn0aj0ZaHFZ
7zdle/WlTTDuZsGScABxIVMWUXk3HdPpBDVHwcIQXJlUEFlLhPbsQTP1N6Ng5er5eSJEnH9Htqva
HaiYFJwegT0f70LCGLXpGOlSVyIQJ1mHDBDsc3hAoIUBWBpX03da5tT+LuWk4DTzZlYY9x0qLqQL
Zu+IzQbLaccggckhtnwabnG2zPAFVt0EEmtTeQdARoELTF5VwSpRbLDSwlyZqD++5n630SWmaIlA
O8/mB0pP50MTWfksaQE/BtyuHZ3vvbejzBmNjSStYMJClo2Qxns+xyUPuWS1xhuZGn+TTVqJPF2R
9Kz1X+UrKDhuyn0hnXjcE5vSRX5U/tQUNCg+R0Bhe4ITmNnE0BEZTiweO5G3tzo8yQZwcg+exK3J
uV6uFuwHwxthd4JjId4wS2BiR1U+0fsA45qXT+a9kLMJ0i9ffP4h5tc+DQI6EuymqaXgSVHlB6IH
7nolvZb/IuRRNoPfYEhI/+m1egDqCM3JpFuc9dZOsn1EM4vyoOSSVIZWQ4SKEh4XHd75Vdp9LKSH
9iP8+B4e0PxfgOdDIyhXeMk4IfEZcGfuyC2O8gfuDXILSXDzxUeu0X8JnBta8WdiuqXhCLXVH2rv
JRgbc3EN/VczPQW6SvceHXB4vmaR49UUTnm6ZtkgkDcJHWD7Kf7s+OoaqTzqC5Si6Q+aNaZzYnfR
FfqkBpEEuvFLfpEG9B7cp8EIPLBc0TRLDBHdTRWZk2N9hTOQqk3J9eoa8IGA6oRVBzYlhqbBAfEI
v0yE0Xhs4pt+qiP+lPTXxGDB8wXhD7cn5kQY/EHPBNWKDhl2T46ImPyO5cujb8IpOSVDrKvTqwM3
r3wO6BnnM6mZEa4UM90ZlkVyn8wn2rAI6gX4kg2d3iPtVc/CFc7QzBZYCO3kVqrHRYO/lAxmFXBB
xWD7iCh8wDi5kzHG4APwOA0Ee2oHQKObzOpLbVQCvQNRuBPGZ/aDvCBPuFmUty8CeOQMFhLpOsVZ
LyGYuBYpDp3WSKQU7dqzAfGzc4N47yY5FKca94ThYGjmbzL6Df14+N2/DPgfMnOCA8MA3qfO1syl
9MK0fUThQijiHCeAnoWkW1sn+3/CQk0h4AzPAxDK58JY68SoeaekvCvZ20OQDA3B3SzpAun1e+ju
MOcortnPHATPdXbONgsNtSBnsPJHNAYHl4xwmFWZEH3xzOQRqFeFIN52zStsfhXgFBEaiPyAD1Fv
DiGvkqBIB5zuHZaVEiBXC3ewXZTlSvkDxcAPlmkhokjWNuUd+YXLabjLEPKtJ9MqdeyNC2ti+g+8
kS5mFsQKXbWyP4gWs8hsb6oYlFdBecdvISi2Ag/ZL7WNzqfGBED7DxfISUhvUNHMiYtpb2gfHjeq
akMaAnMn3AWQl9iiMHOrzRW9ouSv18XiHFH4u0D7hYr0QqdnJ2916W4yh5WU2LoDcZ3Ilq+zBw9o
ValJCrxoFblayKvHCMXpRZ1dFcOGoCB/H+irxS/RJd4lYjiJshOl2mW+w0glYr2S4ZyWOuOJePTX
NVLvecvmLtRBExQCj8KPJDqLEBjz0vDPUzbUT9dEqxXBbyV86OptZNV99EjFcS99qnSmWaT9bCh9
6NYwLBVc16yiOiV7WrJJ3cAMnvFH9wtsEAiS6FEyw48Z1RepRt9Ao3XtKtkgq0EEWfoXqqYXyD4b
GqBlUh6vhP0TPXfPZnEGWQ1wvYyqiBRRq0na3YCe+qYArTgaPFimlVPxMX2n2UvnLKa/3NxMPJTI
EnL56uGliVDOsqmQoTcSek4I7mbU1kiba43leGMUF2LRRkR5NB6TCNvupvTbX2yK4Y252extE0dn
c+vi37zoZ69or9hC+SchQtIzW0vQqzhdjdwGo6lbpVs/odYC3Rk2c3JJAejy74rC02gviKTliSiS
Bf7HrdhdmgVrFSEhX/shelJlSYAdxTmpw75TAPIum3jbCq5Eo2W/n3z6dSyKLzqdaw5OChuPdk5R
pEfCrqTk5hXz0uU+hvRNPrhDfRTkTeXkJfGzCByX+X4UmBgAFjZAB/U/ST0CQGC0GTAgjMwfuNgw
OYzLKV43xGluBJscljK+8wXjw5P/JdkWEV5O7YsXuH2CZAfC1O5ol/gy6WVNeTqppcTzp+JTzPYT
ckCsSLeFfM/TLURwtldcT3DKeKvgAOCEz5iKjvAaXxrZgk35KhSqEFZZ/FhgVxQ3BQFdWJAldmig
/sEmMADva0bS/hvoQiBaLJxp2OyOkMkD6sEhdRcvxl8BirtPv+QrZccYbQWCs9AWEY8VfU704oi/
gzJbSwk80/1vZNoI7fh4JN4QTfhFr1qK/whrQt3U1rs4QX3U8S8jSs8C+ZCik5lVNDSuOv0AQInL
KciIxMZpJiTHtDTIyLchJRM3lM76pZd/ZARde7JMGg+hI7DnHrxc/Mkgk9Ld+D0tuCVRn/31t1T5
mIVvZAzkTlJAvT2qbl8dgbCDacPTpBLHoa0FfiUR5Vjwz5TdDoVf0Z1Mcw8kwYtiG1hS/3jskKqi
hkTily8Z1PuBh9oC/a5rlk3cRqDyS/R9tZPrG4YQ7DQY29CjMF5RATKl2xadCCjlFLiUFAdr8i2w
2z3RJHTJd3kOaGlSP5SPwj+l9aqqzl9cuR1xWOJldFVz6b2C6V16fEeAfA/OUwdFhLZVmw1QAU+h
hChF5rfC5iPYJWcSZJdRgJw5g8nR+AySb6PdLej9Ppk2v0VpuOWa5CG8GTJuT1Q6NjF36NwQYkdr
Iq8sARIBKwDcIgGA9b0rD/heOuIltgTSkS7SWzJAiCb/YCqgDpqbqn3jCtd+Zk6VPKr+wTVTzooO
wLKFxvfMdnwWEnfRQs7CO5LxcAk/sER/1PIWSb8BOsR84LQokJss28U4bxIB6tQWC16Q+FfaTGfq
y8qUKZ9Xhp4b2oXH9ghai2YHEJfyic8Pr9zp3aVCUCuRjwGgs9SLK2jjonX/eHti4YzQTxvPWHeB
PHil2vI2/7O4KS1XxFX/QUsLcUeSiKc85rI54ixUf19ceDo4zKdybaLsQO/diyRFrSb8JQ6EUUnJ
GgeDAJvImjIrdo48KlvqErEWOCpy33UCSZs6ZY855oXbAV0isGoTUftpa9+qvB3KS+gdJe23abcK
hnR6m1KnFbfpR3lNClKArV5mGV4FxskXMSr/zCdHF4PheLb+I+fbAl48/mcgeokREWrdRqXvEdal
OxCOCDIPO+k5nvRv9PeRulOSJ/nGNTK1i5zcqZmCmWY82BCtjWAUInG8QTXJzR34aeQNVbX19IuV
GaX4U1+4pK00RzIA9d8O0kVenMZ5iiUZ2KPndHwkXKzZzWBBXPzQOM2t0vfEXeS73vvC6/Bd0n6H
SAbV82l8RV8ilpmftNzWJ1bmD3l0UcMmW7FYS2idSdvdTejkgn2qpyAL62C8V5+ogaEanQYdMjyD
lvwjLAE1JBqEheF2A6faSQl/1PE7uLDBTPFPUhIzx1VGjZkjYD+Q3WS4SK09J7Xcp+GQcwEL/xZw
RZVLWSvpJeI6B7cGYGWutaptvdewr7JZ3TIN3ZJllJfSTW/ktAWLc3qKQNRbC6sl1DMtqwhWlv6J
y7/fmfyKv0wyoHh8V6xhoJKegfmD6FkillbFFRkGqQRRffJJtyMzCCAvSD882ORj9ODK7kDdQQIQ
W1dIYuBByBH+YFp10IK02AYtc6JF+ab7K+67SKMFD0VUefKBOFlW5a1w077RLLXoBVYLoB6UPWqC
FPaqn/wPXz2Y1bqlP2NLAAgNQzhxv3Rza8Ji1v9azO+Bg2J3KA8CEfmT8Jny6mg8I/13gWDI5EDn
L1VtBeUIiro3yve5LcEVHcU7KJMLVriv+/2i2ncv3PE1ctrLLCd1JRmgotsv6r3Apv2hfWc2ZgBM
CThLGMGCMysRbwJnlDBvheCpLiAPNVYUEk3PGtt3Sh6qHfERQU3AnCK15kJz/S1bv2Gn3ZrnhW93
jm+lpcnWyTHh8/kfSeex3DiWBdEvQgS82ZIwBL0TjTYIiSXCW4Iw/Po56FlMxExMdZdEAu9dk3my
xmk5sNwV1Vv4bOnkakYnFyRQdFDwlbBplnZT+LJqtxlL4E2i+rp80jufFqDyCgJ9rF0bQNpxMcCT
l6pg5SU66ccg3G02bsNwzugjmbFIs/UfRmrIRZC6YB2T3Nfsffz4Gr829Al2Hs9v1jXCg7I4OBi7
YBPDpH7KS6Qk/Ed5FPtxy2+cnZJT/sVuZNKDEGAzz//iL2OLfnmd/Orr/iEdyGMcDvzejv6sL9Va
eQTf/LsIa9kVFJJb+Viv6qtwfk8ihWiD5+g6YEZxP8LM8A1f23/uk/kWvAD/BMcy+R8zhjLBJn3q
39P0g+Nyrv2jqueGcnXcJk/zkKypK/j4MDWKJQHMfk8IEStm7p1FeqvsJgLksMPHidqVlS/1NRNP
fduyFUqZBbI1qWZjtrFrNqm8JXQT1TfyHUKSShcvLUIoAsswvU2a2SX/B/4Oww+HdW4u5YKKl52e
DCFi/c7gjlWuSHyZtZCWceRo+T+zZVdq+KzMlWRjsWnPQ87pOUbSWTXu4BEMp4TU87f3lm3YnRZr
EH23+upXVLd6hhlvmjxBmDBHX95gIzD5EKQlk9l8IqCAaLOBBqAib/mNl8E3ecXELVQ8I0yyfRLr
Ms3OhnsN1vbHgLPKhM5mbd9AocychvEe+s7PLdAP0QjCgXSc6hhbi1fg9qRpxCi05nyMfveVXqvb
hW+yMBY3uiXq5gMa9lj1LVvdYlzbhfUx+YfcPDFD1lpI6D3MRz39YHcgWKlMbxBv8MJPwk4sktHf
5GuJVNEpu20LY+It/3L2jOpO6u/9CujPW/U5IiuOJl/TCcjj9kI/yacvd26mk9Y1z6gYJkcJCDSx
/weK0AzufI35yPMcrBqsLzqIMFRwwb2JFIeekVlJ7EbfTbUu8wO/3CHlVyTKjPolev3gBiR/LdW9
UfNrtJj9xKQoOfavI35PhGulo+0S5WLSOefH/2hRNkMozW8fLHN5lxkhxR5LGvYShogbUPz9aFho
qSxrxlHycBlShJYhxTB0qWZZ3ulAzJsyLxxu5km6id8uaK4Rykz0HRXXwh0PkDaeIQHkvD4ydIZP
DU2LDYyI5xsnMsvWBn+pvmuVm5X6VXckU/QKPCemg9rwQkj3EINZfwXtjETP4CP8pI8Aufw6BSk5
q/f0PYtoXTxE9seJTZHBPw5PDJtdORvn1kJ4TzimCeUxs/8Z93cMc4JQJb8Ee2LLtKwoh22RJUWs
bRSiuwDK659fXPmTDHXPs9sOW/RIkz7uEqYEBP+gekOTdE+pFZMl/xJ4KcjWezT5cHJ7TvHssHgi
14KNwyjxhdM2uGJtYkcp/L1jYpHvH2xEVCHDX5+4KZYYj6eYIEz8NOQbNEtrnyC75TPuA7vgfXyd
xBUlCr94nO3ew9PwJ123OpEa7k373Y9/Q9rYLclzoit+HpmHKjiDtpqCAJfooYDeEh0MCy76C5xo
SdNLc6AJ/PwvArb7baBvcGLpxyLe81JmXr5Tx8v4WqlshrBnMbfnqet99Te3WSeYlS2voB1pOzxz
zWdp9DC1Fo2l8O4vo8MBpEekrGjMVDzy3NLBRUKxHxwtgznK9DEv68JHN8e7J5U//DAKWK/a+TSw
5d9eJKvL3BWRaYxcUwkKK+CP8gPRBUD7km0JD6nVsQohK4fqwsU+zjmFi4JRJqubkO7E5jC24j3D
R15AgHDyml++8CSaoj8kYTyrxZ8untVgL0mAj7n24bvjTuagHOKtzkRnMXqQTVFBzrIdQKx5SJtH
NSufAlYamsdswo322e29egMYRMN+6pg4Oa8LjrtFsIUT61gzruCFcnqVmJPYOWA23EnLr+JL3YJr
0PPJpFY+KkgbtvqPbBnGMfd3PzOce/Wj4mRY4BsVFxic4UNADrR5unkUKzAY5R5VLNYz4jNh16xr
91TnsynSzE2QKX3nK7xxvRMlS5VF5YonEqUbCnHwB3P9920u3wSBpqvUpXjloWAMaPl1tCp4PQqm
Z9rOrJc8rKm2k9GzJZ7AVcx60yD+ZdiGsoXA60epcGeuX6CWMgZR/tvyDA+VlUU1k+R2ySVOB80q
b0ZgMJ8QElsxmr4ySP+PuvX7aBoI0qnuDH018j969Z/A4ZmN3yQS5DdjTqkrTTon/DQbZoGm5MZz
ILFgZT7z0PDVx+s8ynOrX8jcXY2nRH7/LyT5IoBpdTR1+DrHN5Irs/FjxnRoe6oNqfeyK9oRMzsC
kzg0580XHypfTnk3QDXM4tZOrP1Eh2XvzLucnBQOHMYmpcd+wVjmLJuq3WDOU/1BOCxDG88aAVTM
6XTZ1rZnkqE+cx0gF4XRXNgSAah497pmCqIcUlrSS1fsa1AARkLrR6IrU0D6S0dOjtXHwSD3To/D
Rb5F13hJcYK+DtrKe9agGp7nXybLLizaOGTOiLKoqF3EXzXxBrSDwyoxT8hQ2sxms+rLq5AMUjvW
l2/kFd8M9j9PS6OlwBKIU/2Oyjzw5bs1F/7EByIEFiG45U3IW3NZdxLuiXhLPgihaj0FBpAOCwn/
tL2rQ6JQCRa4Eq2Srhh98GSQKoApmI4Zg9sbBfw5+ZWFY5VvzEkopsorYGcbtvA6qUtL8ZZcxHGf
C539jtGtbCjuRz4EYpFeTgD0B4jkDCPg9i3N3qdiGzxe4Y8w+tBsWhSytnIt7swKuX5fKzrvoXGA
PGVuO65qtPLVyrJ8PVvKXxnG7mNzNngQXsFJMRHaxBRXM42tULB/3YOd6prRb7QYhxPNKA07qrgz
UjxxJCymPHycakVeeklzHaBO+mxa8gxEmjmp2Lc8ufmmYdoe3JLwO6aMZL9X7DJKPtYIlOPIRmcN
AMGft8ciGY9qiIEPc41T0VS1W31fXWlUoWTJPxmCg9Qpj0Dk0Vvu2hd1uLWC/GNe0JE4hDTY7LmJ
s4j85LvbvHFKuhM0B9bDFd7wFBzClIdapnOR41sZszUbO06KJoMekonNOnyOJJVbfxDy6UsiElEY
lOFN5YNwsYh5fJnZoTolt2ICjMU0bAigMa6bM8uyE/FI/R9vNJOpAvlsgHy45S3k/G4/LvDwmsTE
+Bgm+fFAYKR+uuA9N4yfZlhSPOBXtFbDg5i1gOsCK1zpl94fmyRknW5ApbJij4dE5QFp1tLW4uDE
fM46uULUE2Ht2LXznroJVuClU16zL4v9ReMUmRvy46O2SLxA9HBtID1KlqVip4g0g1t8f8vziWpK
+qrCmBCQurFIjD8IMiT2zOR/GEKAkm6UDdMe+C0lm70p4QElImhQtzsjFxQ9kCWGox1fR1p/1a2P
udfvNUY4gKSodjGfb4RLo1ARskFYNVfcYaQAW3y9uBjuecI0mw4aTIFwaAamBBsBMwZfEdO7rbzz
0KePJa5S+l5km7nf4/NEJFy6SGwnEQTiuBmzO4/yRlkE8VkP72r/D+kzWzIYaOoBJyhPC83kxE0L
0cU7GEqxP9BNjxjMXr/a69iyIygdYwuVDZML5FfJKd6rYaE5PR/Jql4nRCsdX3/9NuGzW1XAamfC
hjczp9gLfHJE1gnLbnTFGXYUjXny5oVaa0ARtob9Oiy1a0jEHmfVvX9+TnCTOQi9frJSZpMDmggQ
iD7blAEkqq7zr7LNGFgSG8zticaU8no85tIPazN6YOatx/ybsKdSUmhCnOiUDf/6/JgBPGSTLLsh
C69W3zXS/K9ajP+QAUmeh1aYqxTY9waVF7tv1t4vr3bglPvDbDQu+bcy4fnk75CVUUA1iI/j/Qz+
Srb3xa3BJgi11fwC8lGtoZY8Ig93IsIAXHTMDZAUDBsW159sy5nNTkG606Djxmnh7duFDjSGKoce
64XQ458Q7xgYbcqvzMVJoVrONGA3N1VrT8B5X0n3XYSDetjRpPK0WRLcMJ+QWKlcQzSE9Ex6nbyg
ltnUhof8HmfuLvIv+fatLt/Ie+eDnT2M1/yMPSmAlonx1IF8FDCK+Yp41QthkorM5X6NoAZQFixY
VoHGAqwcuyHCYaBx2mzueQCLr+BfwkJe2cZfyW/32n88glYnhYm0rCWgHYh0HcDuE9irIjCOjY/D
eUGuslO29N6cdGI8f0jLfcok4I1YhehrIV5A0ql/oQsxSGZlMupfSKs5XWcok1O8tata2Ybo2o/p
pqgcdf8x3bR3AJJLPDoW1rsmL9Fw+woIi/oyiAvZbUxalB3JS2HqtgZexUHli4F1yFkASO/Wy48X
KrDEIkaR055I9ntpa0pm58azKWhWLika/NfLjrS7JHsBAxhpnzZnwtgmgVPy+UpCV2Fi88hHN7m8
UHuuKQaQ8zYHeT1WtwhXsukKH6+akldAPFnW7RXbkgOUrfabizhhjuadADOeB0YPAXqavF3a3Op+
kNam4W9FFDLZNjVI1i2SZyEmmPrQUzhyb0D3xDkA3zD31JdTxZv65YMrh1ddHEZbV/+pmhNVW/bi
+L6+kj8sShhqCFvpvfYbHXqEhHVCRwZX2pahgnVChzjjXIMgPixRxL/XiBBlyuCTxiSroF2lpaq3
OnUl74WBYxqtfGvY3OFxaA9/eFFAZ9fHul4i2EqRw7M30LnfYSf4A9MVGga2pR073Ek0DMkRgmKj
uR/0b8gbjEU1Q9USo9+c66LdLCMHa6yO+Yyfkq0J8qoVzow2WnThtX/vxRWC+OGAgS3ZyMLqnR/q
ys+0azse4nSX1yCvyYj6TLDjM8PQIbxF9JJDfYHVoiCIfVAhYSTVMDhNNUR63gJ28JBQy2+fcT/L
DYHNcwixL9uipsaCR6CRTpHBXhzXNl+9NS8i4OHpPH+Bac0PwujRgXJ1OAT1sDN6nQMFY8Ifw0gW
dVWzHy5oBKk6zx0lWn/KlDOXKei2edwtupV4osBb0i1HGB66NZKrYUNgVbREEf7TiN9h60+u8alr
YNj6kV1rwKhtB3OBPcJXzHF7Dd0cdpiP6YYhKMyCGt24zTZz/rbgVtkJeiT6eRxrk8GTGjt6xtx3
gyu1D16Dk0RF00xqpVPC6qdQOiAh2FQYmNHhEHhkzbXiylwbXd1JQPueQ0Loj+/Ai7rfDIUwY1Q5
htxIbBDC32LbMB02QEB4AgpTwY2FJYyGZPT5MXgbCgHy1EpUoEuBl7G711ch+4YBmGpHP9sJJ1lF
dk5t/526PbDtc6tDQ014PajqXA0EiP0xvI++JvTx5aeF97LW+dK6drD/7J6DjyjnQ9CsLWPRkGlq
s4vvm4uGSiet/z4iV129e7+QplPQyusUgVahHBN9QSMnJsjNVb/6w1Kq117O3a+SjgkLFcoKnz/M
By3xPniaXAJfXfQ0nlkBSYMkigUx3r/xjGNRezaxnaRrmtdqWImQabFG17blp/0eCRkEmfZWy8vy
9XgzDpTvYQdTJrb5BM03rC+I69YsEW/msF4wRUKhTIrRvueSrUKobtTsPvyxBjRJ6hb/R8mSBcWg
xhcm3AV8lnFV3VDUY6ZsPjfyAefWnfc5PKEVZiaAngsWiFGRBoq2Ge/Y5Ioa1lIBp8gt9DV2Qwxs
eLnot3SbTIYR8KTM6Xwr0iOGTdRe7/bYmX7xcTOufcYnAjLB13z4zTlmmBGkVubjEYkb9m4Cy9xs
8UYToXHGyNW/wONykmUvxmrE1sbZtOW9Gqfl5wdZKLqwcW6YnjQhOMhHO2JNzxHEsjlFA91BBJx9
jIUB8VYtL+2kW+QYAmsJoBiOyWuLvg6RyyYYbiLiPOoG+beN73kPZkqdS5rfH/GsVq2fxRiaWeik
71+8oXK6EFFb5fWlRL/20rDNJewAf1J0tfExkwDoMTM8f6iHQ2WJ+IXcZGYVcKoQfKcL1kk1Zk9g
JPWGwetbvo/5U2JmljDghcpmvuR5Ufuk9BJvdFen+hfHLgj6EyZgoyAWEI0hVbtJaZG0Ba/HBt1B
H181yVbYOZQPoiTmeAdQVzcu31qJHuEBABPrQH01xR9BNv16Um6wbalVb2I8sQEJKkw0uIt4WCiN
mwBOaEoNwv8GW4E5od11k8OJGgcmi0idNbToYzh+pgi+doudXKGbi5BpGqHi/ZO3zeA13WG4myQN
9SCzkkNkFvNBuQLPaksAYdWVyKmqO+G5xHXAEY3OQYN4TC9lwGNBoz4gZwtQ1uEM46/2APn2rIAZ
JObWibU6Jkv1D8NxuiFAxHIljdj52ony21v4y9hZ0NlQfd0VNvtYoPlX9IxfTSTXPzUCl69Y5417
DrDRJT5xBFnqxeojJ+e7tUbXoOHplcKO+Y6lacT9Rh0PKYR65xZP5kXm0zlQetM3NFL1UJ32GXnR
C8H8HdL165LAX0LX6BfKM60uZogqdQqfhHHMU9mH2UJHBJLyFyR4lYxqLRPMMLiR6Q/BsudYLkJr
S4zTPJEv8AXUHKEkEiBvV44b+cKMI9x86G16lAHi/tXzu01uDOiFrJxGmP2RwPAi1kkxWCHWn86D
GFsdKDFmQQJpzDDQqSqgKYD/xFpNtnHy98KfzOXRboV/TfxAXOR9+MZknoqX+o1XMQR6FWe3oVgH
IuCMSQAqMzQhqyHi2F4BOuSvu7JGxtdVJVuTZ4t/9nMHpYrTuQiO7PMM9LUqjw769Tp9Akr4ABgC
avqv0v8Kea9Hfv7+jsg2+yO2ARfknjAS4pmsJXMgEwU/T0NvD6grKL97r+wOXM2lclJR8EDpr//q
9IINVSygK/KZ3LsZ6G9QAYJXv9HY7uRuE9Zf75GwgWfsxE6iM1JDcDowg2IJNsdtNyOecoh3xTX4
FwqLEnSTeTZBkjqtfgDQYeCUH+DBc/s+shWWw5V6l7LNcOXNVbcxBvKTQY6J14h2O40GJDg/W0zQ
XHNchurSCLdoEUzKDrA2SQAmEvWHo0cnFEfF56JVtrZStN2wMLRNeYs/W4oi9vAfmioWE87kFuEZ
f53emCxAb4XzigJJ8ygO5IIxP8IHZZY+XyXF5M9IUQD4bJhMxcexo8WZT0J5qo+XuiD2QJR/C8Z/
slHyaOMW+ICLofWXfIXJZHdAiZA0P6iZK/piJPRbtX9oyt7svjVjV6609yH85WHIE9pHKIyARrgG
2/7MFcSQn9QW+qWLJEz0bXRgWHa1/tTe2IsSGDUQO7iMk+uI5j3+Cl7rvtyOut24kWfFrHmjdbTq
thBucSyyIcXWz2IQoMVE3GLYT+WnXARzXq9j/ZGuQ2hIM7QAdy1ixPOVgsffxz4uRYFkp4XIRG8X
XfLqkE9rO1RWCIR/GC5XMvlhXOIvntuTzPThB5XlAGrkyACgdAoCzGFvn5v+UJTHnOUhRwr9W/Ql
HxXdZ405oMHlNdqLbyh+tgCjyC4NV049vsY42dSpD5IECHMuLRDwlFz4T5T/OFJEaBB3QVlXhftm
CzHTHLrq8DyVtvZ7X+buPoRasey7lVSghyR5xB1m/V+ZrT7czWxQHQNzFBYGyDlz9PnEfIT+63v3
q1rz6E7IRQGqBpwclt4NYQnv7NQ/mWf/jOsfmvjcpMV0qNeojwh67fm1om/9SJn/o5yKGzMWLBD5
EfL0B9c5dEeG1Q+yxlg+syF0Ec10LP/YFmbxXhzhoLPTlYhP+EK3L4PZzrexZk+A0twPfMBzFUJU
RlMLRdvSUKDTWjT6miCG15KgM7wqNLLYUoxHZCJjOCI/Ly9WeGwiIiRwuXeoDhHvX5Hk5jPpUrPc
hzF6DU6aV585q5f6fxC2tzFr74WwgVFFsm6KEPTEPjRwkm/UT9i1UH4wxPp7HxBRo22vL8lwYkX+
ao8MedQDe+nGffaBi7wk3MU2bQCMdvT8dYPOgJoCdjVpiW9Pg1yLRqg41uaLs2I9PF/1WaouKJ9p
w+TRrbmcw/rcjhgeEOQj7/vXQFHQBXpgAW/kIp8z8/AolXaNPg2qc9BxC3YikqPp65EG7+1UDyvS
fFUmx8Eh8HQ78HLJ4lLCpKyqLohDICA4VuChcZuoZG0g8KuDe4yuvMsAEHDi/+vukiTsdYLoIpyu
xoEjnzfcgheHhReaDCevdqbS15LLmB5Qjbb5MeHUfKsesmiFDzvIySiiqtZarLUYTJl+pZuJ7FIk
e5aLq17+6pJtW7oJ/aTwyNDhQ2HsFT9JHhNmBsQiapcBTpsWA5d2pbtCbwFx1kQdsnnr3xjq1YG8
HVxAC/O7JwR69lrU/SXXphmgdEq+mJin5CgzArfOdXaAu6dSdpel4FpIAC1oQR2bKnQd47wq1094
nBhXXtwxJJpAHmGpNSxrFJVjMDf2LeNhhFXFsUWtR+U6TGXFS3clBerrTkH8UR41WI1Jd6+F1VD9
sJRK9W9d9eXihqWtQ53T1V+5/h0jfBb57dMH4Kym3/TN6Q3QCA9cEf9L6aw+v1CqIphoXUgFBtLT
2H8Gr+rhRSJBkZzQVgmvkdile8LAZTIBqbRNk3osdKIOn1FdTkkjqeZ3n6U6rFkqpQdjjWdgh+JP
bNgXTRIVfi1rWFqvHQFyouK/zYPc7Qs28a4q+3zKxZfgIwMSf1+k2gAXJlBr0b+AFcDhYA68g4Oj
sgcIqglGgd+HnSqZaNwByZ/GD95GT53HUMP1gpNmI2OCFpi48Ad6/ilwW5HwZOVOYAsiBZVCUvjj
Zgnje4ujk/0exgtCRWeaeMtEODVMz8of05I8EQDgjoSRnJ+X3idmcJud6Vppjtlosr2Uf99Agpkv
SAl/97gmkk6gvNT04lIAFLaH8ImsS36TPAK4GqgTjf7vK7h3tKMwgLK/SI/9NwuQshHWdQa+4Jq+
4GcRPm23LJnLvnOsLD4NUGhBJoriw2w/OFWYXfxo+lVEgXmwcLrITpRB0Wa6XtxgF5JjgttqPNQf
WnrmF5K17lDByWio0aw1LU3fC247GGzBlnpsTrAjSKdpDHyMyTOpWMfnKxlL5G1AZSSjTqrG8Lui
TmP4z3oxMbaCdo4/l7z3gnE1xAe5dSSaHSc+v2CXjIwNEFqGEJWKX344M5SdLk8dC70046kPVBOj
JRR9X7QXlEnF6EkARd/OAJwEDzQWy47r2wPMlDITpsU/WSOShWlZPAVOxdvwVCb3yHAD1bH+kg2J
Eh/xD29gY+GPWZAPgXG3vkIbLr4D1rR8A3MTjWTQ7wBwsIHPtyUjY5f+pc49Ibk02j5SGWzqeeWg
vVWvmTUtHFtKUY5r9Ohxt4WeTEBY8TkkqrQY08xn/acnGTKkMzOwyLwhDeWd5LHbbetSBN/E2NRA
10d3EGrAf9MTF2aDWx3fddPZirjQKRbxuYZIfPbl61DhEB4vwW/DplWCBI0PYWfYVgvQCHrZ1FCA
GQAB+E788ge2FrO7w2vR8JiHXI0hS2W5F3jR5lIPVfFHMEc3wKmmzkWFd8RYBdqf0j5UHSTcD0YN
QJB1vJIR6+8L+DyznOXlgrTAOkEWv2CipDOUWA4jRksY/7B5N1q25yuUJKgmIyYrxiowdX1T3JvK
H8NSESQL5nKrWEr5KkGke9ZxrzD9Re/WEYPBuInUnhkbkJwl0JxifuSzIaCb/0L9tEVzlPvT4Cw7
XtBShGt2mWbwnyrScgghDchzYU2QNCrjNeOlLaGJg4/nwlfI5P1V8iuTmLi9MWZogU/MLTAHjkqm
ogWPTiC7a/mh0/djnPOi6jQ0UCkDgoR5rtQTE6A8a86b5oPUC9JoIDMARfWMATVnC7Np5YPE8pwv
QRs+tLzrOEZI9URH1rOszRAvX3E55F7aesh2DfGgNCSmOkPhIe6waOGDdP2V9Iyj6aCvlXJDD5g0
HH0dDgQ4aexdEK0z+40PCHd061dkG0Cfx26u09+OTBmKVDM7iQ/e9KclejLaLJyJkyzdG0OHrEBn
0O035n9lVj3D/USqs+ayRNV3K8O9qS1kbVFVULtd8j4ULFUjthWB/AKOF97JE/MxNZjGsYWjXJDe
RhsE/HoE/AR48byA5kWLauvmQtd5sgXnHn2+LWD5OJ75ki3QVmjYJDseTgFcja5f9zim3WraA6WO
xvgVc2NmM617RlsRx0m2rM94tLq/dEcTjrIkGzaMXT/4JpnfZqXHA8K5TCjqjqluw/0XbwRy5PVF
GCzRM4fgpj57Tb8FxoJ3jY8nMVF2HYzAyffwckl3URwGxpm8jPkT7wj8p91g00hOL4iwhKCx9GVe
uueOiHGCKUx8gQvOgHnwpyp5mTbss6WDFG6Cl23lSPmxCsdbLb2JJFcwF4qqhcLtxW6FVWfkCbPf
ccPYqCNQmxRzWKGv4KL8xiM6zt84PkAVEbOL8vLyZRYmc/AK8Za81M43WRwqDG7dbv2JvAH578c8
Bu03cKsxW0R8At3uI8zfXxqGsulyY4J3eIQoe+oYpZu+l7giJ+fHNWY9idlapncXnQjTs7ywmg2b
1QuB0RKP6pyBLeth1GmKKw+z3Xgh+IeIXERJv1wylLbGcP24KkOBLvQC+Tw6L6jgc+EWeBk6w+Se
LwokKTo0kI6eFNWZm/0TI9IqZdD/6xIaxZUkWPleWGc1JELOzo/U5lkyuXg/vE4KQEUkccHelM5a
9IXsiBxxY8ofEiLgUncR2/xd49hFonx9bdI/WolXt5PM5YsDCCYMMoA/iBm0TmuSVuATLxtj/imc
T+g2y2eQcd1Q2PICzwDOIIVTH4LBI3mNlW2FJegNEwm4z7aKd1W5KDo32pFl0Uus0i8AENR70PmN
9DvlZFFDfcfGnJ/2Gx2RFPqhO+zafzlQyvjUv5ChGiUD0+iAjKL7klfUcS+6TNOlj/y4ojeqPmwx
wgxgG66ibFdQdBzCg5qsjE8Ad3CTe/kX7B598IBRHK/GBs5EAOgRgt0JgzmZXfge5t04M08F6ihH
uAhRQBItMSXCTdAPNUWuwuyVyd5rSpT9VZOL8d5yUb+SWXCKCrvmrdPdkCHVMgrmffUV11Qic4Az
w7F7zXVUsZQbJ4u+4vMYxTk7M+RjOLTGJxKD6p7ihTXZxG5e3eGFHg5iefajvw/KMScXfEAojMiM
5e9UuyIAZRAzanOW/GNHeAnL2xLp9PTDMZ8LLvVXz1ik4b4xZ021VPRNBu+KTHXGlnMVnizYJuD9
3ZIRPNvizoUkU7EO4SHvhHslP4xfklAiaxk6tLI9NNqUGdWCwNnhoPvQQw+sL5HN/DAwJ5rBm4yr
15AomiMwOcCC4a9tbuMTNQYCG7w4i4i7nqG8k8xfKwXgAKFXEyjtgB/iSUbB516IqPw+aD5+rd6X
t8yORf3OYgh60/mVntL6keUwX+gzChf4BTtOQDG2PPr1yBIZswNZrQq9wcEsFlSRLDbevyQZnMTb
y0bYpooXdB0cXiw8OLGcPMCst/2venHk2hvuRYPCTXQRcQMmB7fYtZ6ZeQVjT4aS7DBSncjGq2jt
QcLPwhBPu/RnEAawBe70x9gzUT3qKz7TDzbMbYR4i8S5nqUcSiZ0FnuhBWB2S1un2Mo3ZPzw+aU9
cQly+e8zXnkG3oCnJo5/JGkz6mswhDgPxmd8ZHsb/pfKJX++cebD9yR8yo9oD4hzdXsQjDjc7OjJ
Ylqk+uKAWYeuCPQfR95v5LRzVo/QIyYDRJQ404ge/p6AVJwEColzm5Eca326+R6wCcO7pv6e6Hxi
/2Ap4xOUG3K7Bn3uBdBAa+nnhfISNOeZrYYjI/xLzJQZnIfNOj2o4ionVhQOzp++j7oLl1FCxVHV
noKfd4BDON1OTjqi9YUf+7pmwUHCT2qn6GDYOcT0lwpZ8A5ZN2HRuqMGxL8dHQMlFoPK+GsckSJR
S90rgz2Zjf8pAzZ91xoW++6wsJxS2cQAP4c/nUqzc5sRe4lbClgMl2JrdwuwLn8FpEEW/lSvOIoC
8yngIbTYSD1U5fHB28qllJpfUvHvo910dBnduOslO/kspIM2FIsP9G92gLpwSCHLt2+YBLw9pPqk
pAD/Qx6tLaXuXy9ylRVLSz8XCLRJDr3LJ0Nc6kyJhA/oe6cnN5DrO0B5oQTrT8kConAjGUub+HxL
dlburW/pELKHGmf6uC+tnZI+Zf135EkVd0jHvfAchHZFAhdchrnPow8g5QlP54+IGuM7PEyH1V9h
IxmBYQz5CBNxxYofzY1Kj02KRcWxsCxQf9anjDGazgYnuab8xoS1FQs9XI5IV66YyHACkfngU6UQ
xrc2fX79CHje8ZP7efwtc3jtJNgAjhh7pMGSVe+Bg8JqRLRDVGzy1C6/GIfSZczRQSTxTpjXEGPS
+Zlwpz5aYjZ+exZZoh/PLH+hRrVEqYVYxZdmNFP9cBOqUFDPVeeWw92QvmT6bqOkqXoW11LdZ5Hb
otIYQHkumysLBVJu3IJdVewTzGyukebgnC92rbA2lelzr9udEGD2nesnA2HqsRSe2AiHRXTNE7Bh
g+KOkB4hgW+7o75ghqJfacdU1ovXrj1W0qFR3VFfFJNkoBG/woadmk3QE70jk+zES9Urw63SzpmG
H2LQoVzEK8aflMiqPEfPOAW/wtsxHKHdhAislS+mRaBJS9MDvqyxqzkptcs0qNJW4Lrcgb06nU2C
07ry3jcGmT+iDR1GdmQbDaD6+4K35fCknvrPPHvgv5bAiMGoax1UN8ZKuPB4CQeaSqj+k0C/XshH
kSgZzbYuCNt+3ut6zY5aM0782m26CFGNTzt9HLNnaTjDqnkzISZ/i/3XrLjwuhKj9WZLB+GPganf
XlTTM2OH7VTrsMq0m9bNjtGWyatpoLl3DQyVfvGtQkRkK3QovrgCqxfBwugqOfZHFJx4W8ivwKgf
c0tAz/J+SigBO8T+WnjAmReJ8xHjMb3Z84AEtR+d4taptQ0KpYo8Ap+TheELT8QA5KmJTOkQPTIF
mqG5pfctDRaw1BWUrXggM79vzg2EhhvV9GLYDzfCbFSP9SKjdRKQakc7N4SToWN6A74sNsqPVe1L
jJEw3ly+spmwmgbYOyCZbM0xqd4MX45drARGx4bOjxyw6RrFBgTxJckNxvO1DhlSFX/8fCXrNYeN
XOv1OO35IvG7tTYXiyzaCPbJ62oP/ZpGmj82RrSmWIXHI/3LUt4YOhupO3merad4TQbPfp9AXKM1
dYsv5oYKsl6bD995+82WrAPDdDSauLfP+oV67ckHKHMgkUILGYaMkNnQLZTEY1QRAitERjbnFLlW
XjKvQTMugvIKlbQdeJ+Q5yEYXnfF3Dojadd/EVwIS6yWpfrXHonyPGv2Zdiz9dRO/ZUMseMkxwfU
wo/GApLPWUHVwlkQuxlmgvcCqKK1zOYf2CMMJLuH7ljWsQZDskNxQqH7XkGTY7gDtDySiAQka+5d
LTVC26JkL/gTaLnb6Cjpq45+5RYyFXwjBeNJQrumI3h87+CjyvlNnVB4cFzSrcoDl29AdMr9X9Pj
5To0aP9VSqLpSGFjZMCT1XYqOXJ8D+WC4oLK+b1PEhNXzKQhtev3tklZqlH2mNOF2nyNyc6igpV+
LSJLoGz/j6Tz6k4VDaPwL2ItpHOrNMFeYpIbVkwB6V3k18/Dmcs5M2diFL/vLXs/u1kR8M367RFt
XuBYGBkwWunGp82sjDFep5z5j2ZZ/BIlWhoALnkjseCXSIdBvWWxz5QNX8WQHrJoNXQzP+sjTn9Q
8CwmmkBeIEq+2nRUlZxAft0KKF69OJUtaPT2VjAX4jcKeubB8JD4kbOy2/ws1fX0+M2xR/BbliOg
Y4aOixVO5otG+wdDs9uqlTOYGxB7OK3gR2FbkqE6HiXc0dlx8dyC6iViGxUAwhpNRmRNHvEKR8er
CyLDf/IkA0F9AHTbYyfOnaAqz2iiOigC6GJJU+R9r4cDfsx28ZOzUWeDiuoDyws1/0Ef7OwIzFv1
5SJoTsmx0Q40GupsKmm24nL8lNn7HxLBFi+vJW3hDVRG/VoueBQa0+6HHWYGNkd8PZbSftbgM12K
7PhXfUJR9fPXD/+eKZuO1eGFte6ukD7M5WSF3ZGvE4Q9JokMxJvf0Y3x/VIwkyczWMOO3K6y+IzE
t6oBq8xTykhy/GAJ1p8rBMnfyQJTMkMAyX1Ve7Wbkf4h2hfzB0XQ+PK0b/AaAUhwD6td8ktGFayy
yCEfu4LBoyDnt/kE+vWDLKSvrCFN/Q4/hYUg6qdol7RvXBYcmlJN9gk6VBjB8SlOEcuDybtGBIvo
H8NiObNUYH29kA+vbDhzXDdc83QBsls3XizcqJGw5pezooDqIr1Fpis/r8X4lRLahVBAfDkSgn7M
24wyGRZx0A4gAtxsJ5e7PsPhbyEx+mJmcUVyojiT3XwJVNQ6uM/hZU/CwVTfh5mVlJ5bpAdHxgbU
VznlxHSk868Bqx3afp93H0Zy6O7VjVukltHjqgGCv25xEWfj+6ccY5ymJkXi4Jp2tFxTGLD7rH8l
9NNbVVljGI/61UcPzGG5w4aAKp519sLtJK/HI5B4vO7SUoLXje2C2du0bZGlWpwjXv/TzL9FN0Ji
VypwZNg7HNT54ibDQnHMmWZd8kN1fMO6pui+VPtQlDbTKUIoC4ISOydyBtTM8Xd2RSezfbTui9+s
t2U4RuGy32BQKiUEjfm5wjT2JP9EImFEcNDFspFUwD8BfqOVveoLe2DevY317XSPrTgCsLCUoaPb
Gcmkq+dlsB/DTS0OdOufaKCM1odDLxzRFgzmTR6Jujx1b1xtmrzG/Zv40ZokkPAcTjgLnuBMSRlj
boZVQmaTdq0Auz9o/wX30PlGvVbbjb5FYSeowYBWhGa9YaTo4uvSRy8NnSkNEBNzI4H1lnbp6zSy
+/JmwLrgGNdc/8hVtzSdTj3LzzV6mraBw/8xn7HZW+48tbXAfW8Z1znhXQ/XqBVVApsSpxjXoe6j
4V9shZHfxMaL03rsODoU42CvGKGA5QnM3C+j+3PwEzx4wnFxLVZvnRveqDUe6enfO4266qkzinQJ
WzN2ZGsA8kuoXbbswZ1etsmq3qJVnnce4IwiC0lmBwA79cbQfpiuEfCVYkl2hBnTrrEBcFDmvU1q
I8BA6OtH4ZPUVTp4HmgA5tuxAgZ2GpD6fBvfMANInNIUz/AqMKUyTEonhHrE/jDI2No8KAraJeNi
qdlnilNVblOfU3knQejDdUl92jEQ1MksXokiIEBnwjStO10WMDY0S4f8sWSErUVKqIUj5uBdg4qp
PdY9Hr74yqhjNuz8yvg9F6ihqV0L9mnAo5Wt0v0a0/3FZiwN+pY/WfntAYleK1uJz6bB8Ca4r0sa
Y2yZ8jrSLyh5VBJI5UOxYHzh9KDYQFs+cGKRe0wAA4rjfzHVIytcdtrjqjsJmccJCgaqmL0U5fMW
i4yLloMtzi7IFs3KZAOBm7LDwPi9R8+y5ITVOfkeP2Xhqcou6S/E7iYgj4BdjUHOFAyUhLuAKaNY
jXTD04Vnhpc45+/t2U/8A85zv5PW/iAYeXZ1hogDcC2/w9Bp9ZXIbUrt5qjlUd0TSoSgKvI+2/Ks
MZ+F3gNwhohesfQgsjYrze1RAGlEMC5LXgfOiYnRv4P9iyaKuYn5HGnpyXU6YO4HusPi+W36poAk
ZE9VT4TqqYQzM1AH2/OW7gZeM3kEnEJ8lQZzDzzB4NNP8UvzF9o/WvOaTWf+I6dOgqyb1vWJ1by6
sS7tIdvcyPkZkJzNEU4zQZYimJtI0z/m7d+WC7CfIbAYs55H/sYqwVmXBiVGP5ga14LgCuGNksmQ
eWIogqTKnyg7+e65lqS4pD0+LLFbKXf9o2B0tB8IaH5947gSHj98C1CeVY4mXFhAigwc0wcfgz+4
AJqnr/wHPKPKUF3KNwm4NiaRLjAprkdI1oqjLe/FfTH3gbCIAb4s2WAVb7PxLbtPzK6IDMnuGGqR
lSHmkhSP5fu2hJu+jlgPqfPHLF8YUj5wY4WmPdJWsNeW7HFHJLpZ7Zpd+h5ZSFag+RfrVLm8/kAT
QdyhRtWXbOFRsUYW8SGzjRDwSYVpVebHSVfDQSUr21xiijdVm2hF+JrDlk6wHvfMbQEaCh6H5nu8
i0OsgLy2lQh87jckthpqd4fFKLXZFVCyxE+vDAO12bP9NZWDdtWf57G2BOXUlBwbe8SMinxcvLM6
AqJqiOgVnehNgl2z0/6Gn36boJsZdsyY+86hU8fNE+grhjA5xvDQ9DusPR6XBkOCpg2m0Aqp0LQU
BOwR2Q0j6xytkDnyXDBPa1jrJKeEObLYo77eRcj5ueSIyehDKwfI+rgNDOCbCFZa+iczN7Br9kAC
uCsixQrCnVAJvg4pp7us8CVnsMcbiFRM5jpG0I7f8C4K7xjpmte7ntgJIvCH4gG4hDu0CCSYKMqB
uJiUA2341YVvrQlY+MuHJx8+gGWq3xL930HHQohpjaTh4osQQ70nyJJApXL+h/gI2AU7Iqpl6Yl+
qfpqYt9kwEBhSYlvHLvxInyI8UdHna75HUsNmCACW5F5tZi9d/htYymoMCyn41tsF64+VftivBTm
Br8rP2FeukzlKQw/QipdClZlOAANrWKfZLnmOuGm1lhX4UplVw/PKUNEou5aCAIRZdVIn9eBsLEk
aIrPEFYlqLCOWlJCQFKKm4FFU6hvS53au7u2WHRCbDCAXAsivBMo6N3bkLky9KXuUj309QtWPgtY
ZaPE9+b1ZRTod4zgaXpZcSv46kTEGLwLsPhegdk6PeIpUTstxi+Jy14x7uXjNAm2Onksulom9jyw
JXUOOvui/JPGswClCI0wSzcIdPCgDOYwjTfiPEo/W93zO5uHTC3t54dIiY29h0guiD8FnjVmISk5
g1fGJ7QWLPzRyuVb2jxVeC/GEyMHnhHGSMbj2/hIDRvlAHq9Kd5nGWoO5Ffy2jwt+PKbqwdtsP08
JGGwIAkdk8fthBUPgOOZj4nap3W0M5hsFOEXUJdHRIYkiIUfGnrintVzQB0shKvhXq7CC0uJ1EWo
RLaQQR4r7TueBdyZHPhf0KAorluaCukiNVZ0GW3s2p07PPm4lk+kgcuRR96i6GUVykJZsUg+GOX1
iBbjzh/S4Oqe6KB8RLwVbpOvQvJraaPnxIiKI7f2MdUJBVz8ds09MveSjOnlIvB2toQ0PY+JZDNN
o2hFs7dKTiKGG0rK1DHTJUx6VOm8Okay2oOj15LW0nmjKTafokD/D3JyIsNuCx0YjZkWBiTB0GHw
hFHI8Qvy++GxjQiZed1/iAbm+TQ3vDoegy2GIpNBXk5aIunrYHw1W8T8R2j6z0Ci+1p5OuoXElrU
JTjg/MePIe4AmyA/l2QPkiT0aDv/Y1IRkUHReJ3KVMWH7MRvOof5/ANbBVLQAGH7ESAvgZYWHYwu
x9Kb9SGcV1umI6mnHCVmKyynf5WXQ0kU79TcUoGrrXVfa13+HtYPMic8mn4ktXDF7TxAv4O0YQWb
uQGAuIbrUDgSbAOsMz+ZyxkTZJmXGcGDmutmEndJeAPBNO/jQIm9elKV4AkxoDmXmH8d5gD6R61A
RGdqMeYftLhQw2DMWNP5RTO17PPtdKUL/8MEdGBTz/toYJ2D6N1+ik+n1FwTlVluHl83PM8rL2pd
SB9bQbGfjAibFL7qKn9rYe4wOgKmjOIp9gV9zk0uEf4gD8CIoDLgIlExH1Z4OiiOtLs6gzlMVhOm
QxzLwNTc8CPGNZG1YuFBtrbPalfo2dvPlTWjBLrueq5xVjllanXNwKUr6/iqYIQhdgVHC5OXF2Wp
qysOxgd8jLRnG4OUKSYyK5Gshk21G6lqT21Ex0eTG2+40BmCzH156osrA5rV01Jp7fgq5DuDjcYV
tgzFQwWaUQMK/E0aWkXMUi/7FEAsB2NGQ+jgiUnJkROM61Z2zPLjQa5Z1Dv1HRK0uRZP+jtSeJRV
VoT32JMvOmPB1bGnANqJd64ArUJ8RJAeCdUD7vgLM6gs+jNiR4tviLq1eQJl8Aop3HJ6GZ8Vawxv
Z2FNFGFe0tn8yxQSqWBL/QbdQHNUBEKEb2W0XNyVKyqvDGHN4ISEF3WUzXYheUPvxMleSt+ek9vR
EefW4htTxfRuNN9Tua/HvUzE0nIkIVJaPXbAcim3QB1DcVuLb2zeyQL+svA5RJBp7ngsYPo3tEoe
AEeFUCbqjZGek3u+QbBROBOy/idbDCwMh/yPhTAtJV/M10msGIGZ7YfYXZE4E1mDlmZcVaQaYx1Y
1ipBH/ai2dPq8L+Qyw2Rh5V2IMsOb49VJx4DQASRVMJ8b5nCIZTAUsIVy+VrnuC47BtMQ25BYKvL
9zs8MYYaHc9gGUVqpmKHV2YTKaSdn6wg/cASLm2AO5acTXDv8vJJhqTwYHyJGgwRMIUxl3MdwBd7
+k+/Gc9NBKZ9tv5Apn97IGKA+k/6g4XiXMt8BagiowUn+urLG6FwCGATpHfjT0utI30xr0QsApfE
GN4W9GL6MfudU+iOUhsAI+RzhsCQ8i3Q2oDfSni8vaRrrFoV9y+1K0m8+vNItykAZUUehnLA42iT
GUlwaka9Xw++plxf6GTgwT/7s9FaL/J/PJIZq+2C5aRttAfetFfA16C9gVGQsKGybsa5mG+ZTj2U
FWJfNLNBvEXDucE9yj4S+SHcG51QZFt/MzxPumsnDDsz3YAf3WXk0CyLY7WtHfNXmxw0F/GXtoT0
v84Wa3iEs3eQcsZBRrvhqpdX1Zt6lEGGWUh3XhskYCAByGehlVo1W7ibW2Y+zFHQoKHJAO1hksSI
yhW5gEUTGkVWw/xHHu6pQsAeXyQ8tZC8fNSXzE9hSfKPHDV1IKpuuOqDNhBo3xAuKw6mZGos+sLK
mX77GpQS0e1L5pldZ6U3pIIEqU84Nk8CdFGrqL9ybT2Jn1Lv8oNyzeX/n9D9IChD3FDuKUZxHxlX
hnoWSp4HUVqIVVa1/TxG7DuWJL0bG/laQUzdRPppoBQI59FRziaFkQT2TiXZtEMAEoBxNEzmUJyD
BGvJo/bLQg9CkXApttBlWDZgnvWBBRskFns1Zo3PV+mzI1HPTXVE0FvfaICp9Tu8+cKy2Faf0zb/
rjh1F1tGXSJJlH+LK88QcKHzH30DWnGqzGnyABUwR2fpXqtuftO2cHceZO+hCIdMxWFNyuJ05A2t
EptMsieHfv4urOsuYH6D+VEDsdyweYTWZ5sfGboQ16ThZcLBoJTyWRV45FHfW6xNClTVnUT95HW7
yghAAVl87DXT0YQOC7XEYtKXao4b68D4MCYn0zbDTUUSDWd0m6+UDc5s4QLfE79MkuKTnfVNNEJo
aeaRFYrKyVxBAzBXIlPOB2CcWSvcUApAPqevb8hyiXuWS+QyyzwgwFgFK+8uEet5EnBAq+yZFuaY
ylQkbLKrsgGvpPcwv/LPz2hgINbA9gCEMmi7WQt3zoFfPHwVq+Ef7AiD64JLhargRfYqhbzg24IL
QWj2VWFzhZfEWbI1e4uGq0SCUH0VsEmIibLjrXRLGBXt1ScTmfdS5t1Q56EWEh6uC+0gSqtUtrT6
mMUsi1fo68p5gBZIXvmRQ71rt3J+1kf+1oFnj+PwWUPiR6HNpckvy6kH67nMjgXZtNQC+seKEcb4
IXpqdU22uFJelcUxTRVvMi957qQgo8+rr5O+WTw/JgWJ1htBEJzITEce6UXaVe+aT3KwNtqUTZK8
hZZpfJqMVjv3pX3EGANp1LkpA+yhjcvWndi58R1n32Pa1q99Yuw73PkaIcasefrXmhU72mpomwya
DnJ27+W1CN5Guv+7+8d+jTYMB+AWjgIwnEFD6UPnw+6QTOg63rxkonhFaFGI8Ed56dN8sdqDbLNi
6vaPfLLc7SoNfATLGYz1FEuRw+KnyvcyAaJbnJB/E5ECPkISVeYTW0CRwEsBDBlB9pVj1LgtuJ5Z
0JGYgreBOOFrtJOzTYVWDJWlTpGy5amv6s8nA/ZZ16ESuvJJJh7ms9E6wCsomYVSjHtYElNyRcnj
ydeGjW4yErC8MWCxKWEoX+X+8kKvgQSBGQe3JAURscn9vqmvXLZpzlCIswNQO+19Svs+q02a0RHG
CIc+gqvPUQZ1p/n83v2dd4WYZY3hCQrkiDBPXwTNgx4FhwJbBBTNjN8rhx9mHsbZBRuaQcMtytPP
8if+5Bh7JA7DC/MQMqWP+DtIldYNQFacOAw4VjPdcKm/QY58sXqy4kA9crxl9YEPzavYRlfOAjkC
1mlijhiiMZxHWRQsxEDRLtTy43s1Qndw6aIzHOrvWnfgAHw8rzLdqwOWq35tzB+67lol3ol3EUnc
uQC2FHDsd59sEdfCDwYNunTGvtAb89cnHYzG5LT1yflBxKGI7sQULqVsZ0YxKCfxtS7LoNsgmtEZ
R5e8xPKyWFhRtSNpdJF/GhgWLTwoegJxkk7k5bSPFRVj/Ljmwk3ABjovYPAmaneBsme88SNSbHJf
mWpHNDIrQpL7/Fuu9iISxC9qOkaWWBe4qxZBCBbBpO7umPmcn/F5Ai6a6K7QnxWJyiNQkHZS4CAN
ZzuCh++Q/xrPZYu2r2UnBDJFHZmac0fbWJ2QVcvTSQX5kLlGQcbgqQgbr65a5qw/IY+TCEND3xYF
qxuG18zTElZTfAxLBAyx5kaiiwxIAIpJ+M+vCITw7fHVFMjycEInaxk2wWv30Jk3UWkYls4dBqYx
+mwSzJ9LmmGz8Cq6E+xh+irqfCbrO5CYs6aPjJLXWnXHv7gnpW+ZLD9gxSyxgOexLb52NK3jX7nR
vqsYd8zb+AoiUhqyZnam8DrUBuj/Sn0vIrert5PAwYbWNuS7vVSYjMnJRllAezkmsVt0tsoht0Cu
S16Q+rhSjQ4oPATpV9fvZvxVoHfypgsT0Sn6ZIo5Mnjtd8/UncxjnwYY0jCLTY2bI5RDLyxT3/Gd
4DLUwSLM0qbzy3itIv7s2pgfLyZAidf9qbnbYoq9Ag0AT5Mx4FpYnUI2mWt2TprsdKbGmm5rhDJT
svXEmjy/3bK4knOH8kaKEF1i5uwCwTiOQcgMD3qzMAAWWiL1qKQrQy9QDezFjfwrK9YKCoZQ23Rp
AZE7YBtkDAjdaAPQIaT2OKvzaTUQUC/FMzluLJgwM+pMekIPQf/EdnJe+yszgKJ5bcTyS3m50pqf
tqDYW7DBZCK5Zu98nXYoB9tgHeOOcrqfakAG6/djaInVDy67FC3Luf2jwlcoMd4eZTDM9T/iD3A3
0r7ijEuXdEvoAAn6SyMPRkC5fXBeFB6/sPFwyRrUkITYGt/zfCVq/iC+R+AFCgxFdqwGL6rUTv4i
ILMBlQggU76G7Jpl41QIVv1yuYbpmbexZIO8lkgCqC5a+Kmxeg3Ftxes36fxpY3OlDPI+e4gY+QX
s/5e9NeX4T5MPLHgxNp3csZVHa85I9EZ48mk4UXsI6u6x7rrfjXzrU1d5pMvu/8TP412WT2P036w
7vptEbTRuE+oaG4adkmwm9kxj/yW9lwWv9pklzlaucnO5AYhcsaS0u8W41vZ72eNTsLaT/ngc+M5
ESO/vMbOQuFj2LRHgcskOuC1odWjJr683jrUuBUZUD33ESs9IsQM/hrfi+H2iq/COIesPNbsuh8M
MwUYQHt9XlInSEFjwhy+WkKJaZSemiOL90F1Ga4K5Gipa7SNEdT7btfVhJbuMtR1avyhjMeGMN9y
xVk13mrdZEGGA8/L1HWugCZzc1eK/Id2U6I/LT0YHyjTG1u+oVpiZgVZFG8w4q1rKVOmcv5r0ML2
LzoJea54cz/OrnIcZAPetOyCDqpmfcJrAQxSfDbNvppjj+Fu7ruY7hVpcto5IqjPYVNyqxMdEPph
aqW/v7K3qN6NFlnxEoPiiAG6chLm5K0n4x/X2YP0w7VCGUczIehrM//ojL1cfqZ3pCe6gbZ+pceH
ZtyJr1VLrN5OIlmn2Xf6D3nCjN7r+hv+B7d1QipkMEOk8+CpvNfVN0FCJWyI4bsdycxmOJKpIOQP
0Q7h/G8bnqbET1BIdyYJqAF8FaISm3sDZUY5J42bpqSRcolaYvTH2ZseW5fMBN30VLpH2X9QTSPs
obxD+sKW3NKvqPl5Mis+1IZZfjSbRF2jPrxEMrn8BdLG9g4pn2t0WU27lPg0YAzfDGnyclfHrNhF
t0muL8kdxQ3ZkxrzischhuIoOXG6V1XgX6w1t8YayFu9RESSKwej/BybDdKvP6SbCYOdTHtnsvcQ
1t+j/8ByQEJWSIbNCmoHEpZy06HPTXYETOrcaPE6w3jX+B1eSnWHdTMjhxMBTVJvk84rxlvSbiE6
xLhD1CV/UmmjVREV1ti01NMPZlnCpxTOX6Yy9KC3hsy3xVFPZxuDVZFxANGZSz4VO+beDNRz2Knq
vnApgAebXRz6ErwzEVXuQWJNysFLi6YC+kbOYRHcK6Sz2Ao1Q+kiHX06NYOAf1TLCHgNBnGYG8Xq
2TBKW5nsi2Gfpb25ZBnCIfG4MHZpthSQMf2vIuLJdHrD6foLFW60IC66tgzoWQ9j1bw/2o3S/obD
t4ybjKkmUWdYp4ScyS3B1WSpJG6WBgZuvgc7luSHFQmbjG1LrzkLafAY+iFw8HV/jhESQ4AUvJ7l
Vptv5782MiG4Z/ymEtdZu9i1vd9ERyb8ODCAZ4Shj4OwUxxGykUFxmO+iuHbDCQG9Ct9Wr+mHXmA
TFTeSd8RysAgmGHay39EBT4vSnshGg81MzUUE7Armg+d+FDaRSCWlRQ8DV9lcMraELId84PKY3eU
n+mNGD/IqZ2lWJIgvQyfC9z/4wLsLBcoIbGrQiTywNVRfeKzNC4hTmt6dQTGrJHiY1StKbylE2bW
Pp0hhyus2ep2KE96v6/ZaE3Qu3o+xzTfsgvBoq30fwvlRj5Aeq7NowKsuPolnCLDuhip23H4//+H
2GFsP0iAIdllLIDSn8zFT8T0LcdYqiVHI/eGh5sQnrT+jISNWn6y8hsZwhDORHFekwNCMkiccmYi
IJp19oEgrCdUgpTW1AeYCsvugERKZ+aT8TD8DIYdcs6rwhuw30o998OhzAq7IBdIOpUAlD4W5T1l
UFZX72yr6V+NTwnIQg2vBSoMW26eZinejyzBwoDib7IoeNG5qmuZ+K14Df9CHJGdEQGJhqjTahz8
QU3dciOhXA893GemCk76K/mMP+OXyyyV/7KUIWtQZsd4ffOalT/yCp66HK0pL73sD8/hu1MOz243
ocqALTZCRILgC1loTev9ZBZVgmBGigYWcfobAC2m8ecDStiSBjYYROIwTunodGCaopgtBtmG0kmD
RN3pu9T4jdUlPZmerZkbVDL6NFeT7xP6o54pi8qWQ0P2hl9jiNa8C3zoEljRZ22Dndq+6JsbiQuc
GmLsfsrFYKfQERWg6oeWFquDzfDTCl/yV1tsZ2apof9hzm/mxv369P50K1WcnE4IQAuxhjtTtDjU
9Q89uhYzr83vmN6PnwJftUWtLnXxD7+IJaEz2ajCen74n4QsO7gZU20rk1WBqQDXy/OeRWv+u6PI
7QZN1lPiFR9Mbwumwz4vRebfHIt6y+mld9twWpes3XVYN3aqnrMnMV7mpmF+ArP05TLDRT2RbYre
fTKjNdai7Ff5lWn0CHEehNkh1a1G/QboQpBRfiMmdbRGhBsxS0YHBAau9JziOIG70Se35HFK4eSZ
Z4rlx8KlNk77a7vws9dOwxAUfuoqnj8aIpvg09zKYRo0x7z4q8PbbNObow0Ew+PkHQMz3TQg7Og8
SmIuhHMM+UNUiYDQvTDejpuSoc0riFWGCHb88djJod+0Cyp1NxEPJMozPpUQZwN+zCw9/xqKK/6B
6YH06jhUxwbYtLwTc8Z3YHWZkz1XRK7SgWeb8rkRRQIdlJNRHnICZOQTw2h25LW8j/LUn00N7N3S
DixBqZCRSEwW40BAARYb0YTaL17l6rYnkcimXBi0U1m4o4YfYlVTpXP4RTaO+T0qi4ZVEiQOwtBR
ERLHgN6jHxxtVxspqheePuwYqAN7ZPK4DzbxsA21iwbOhzHlcNQfb7iMH9Zf2xC+iaZFISeQ0xaE
Ki38jhldr64599HDwtArUTIh+LB0Rs/0dcl726HYXfUec23wigSdUHzFl0n6lcW3Hn0zay08/Wti
EdPqWwOvFzF0GJyCn1TCrZsRZENv4dMo0IWgy2G4sfXQGEIJDGHfnABn8/HyRcoCgFuH6Uf6LIs3
IYiwq3RoY/uASAVdRKSzZBCRzxBect0niw6SvQy/U+Im/bajJut3wiGunDOjDenGjaTBJzlDSdFD
GqCVurQWZ0G03jhijBpPuwUtW0TuKVbvqbTSSMLDOk9ubPVjPs8v5p8mrQConzWj7VL1J9zk3Woi
ma3bLXSbsQpyjwQYi4LFooCMoGzj337a1ATAY3ImRCu04PRImMQ2zLyM3aStatnmwgUngVreyoHv
jie4ytiCGO5P+k6NzsB40+FteqD2w8jiMBx5fKMzfp1FqIOiC2qHuCqh9RcLuvx3wePtjLlnJxw8
oQ2ZRX6iItonZDAkb4hWUtAvWGORJiMmQjHAsivaF6sQrx5y2Yy5u4CuFrk7nExWYccRIQ6VZB7u
XtPWuGZs8KW9cXqJp+y1LVzcUxCu1nA+2WsqHvMkjbYS1hEK4w5vMOIk6lWWmtI35Dr4vXQJULJ5
fzBGRC5f4lH3oFwBK6epg7s9OFgbBZ9sF3c8dlTfq+YN99rh+cMb3Qc1MgUQFOq3oG44C7G89IMl
rtJdb0/GPHMj85RN8lH6HPdQEuM5wwlkVpBdUdzm3A6ppdC+QcsxyFQz/uHUN8MX/no+bTgnZ8JH
D5iBo3cMc8qZhV2LGgOv45Z9YJedmer78SNgRRIC7gE3IM6xXAza6MYgPdByEs2wndBxAxP8JrFb
22UoovCIXAzpErracVTR+b8PVIiPtxHs1ugOqtU1pAgixxnImOcORc9NZVozMicp3KGi5utZOhiB
qtStdFuGBU5UPbIJYM1ytyLtC6rNejrzvTCja6xtOExgV9In5vTZHw1bKvksocwuwEh6qcM2deos
TXZHhxAe4mxjZ8Sg7bO0M8OvBzQTWI4O0c/zNyIh8MsdlV8lvJGuVTqNwKs7IrhCClTbqEJqBBri
MZPIQ7exzTPszNX14vHz4PFiSa38Q1obMbolYBaoR4qCuxwfs0oqzyeRfp+CZXok+rHmFaaZJ8LA
FYV2/PDI030CA6kc5d5d+ZYxXY3Vebw5kguwYx/5grydd0FybawtVyWe/lWOxGzWODfiauyYUKz0
yE+yoPjVwevAIL7CLYwcTsZRYLLGsr9dsp6QV48vePSGuUNARk5mNeIrdOvAe94A57wvfAKJAc8A
5oNxDtEBYccqiA9Sga+feBFeI14PyzQCdMlsozKvqx1Ct/t7k7p8hxkN6hZ7eKJ4OHtQ+5N2S9Lz
z+yMQCP3yDbcB3BMxa3G/s7/G1h6lEv6vew9XBWyY3iyHhQ+P6VuAgomaquzwrd4VVnT4bHnYcv3
03BTthgOFtgsMK0YtT1+tSTTTcs/InaJWpzp9s8zIMk17zHLhbKymbr33uIgHcGaKS/7SUwH4+Yx
BsPtpntmGUvukX+MSBRUjIDFG6mQjD9pKFA160TzUuFZJYaX3/yuBNhOlvnl5Zj+Qf2aCf9EIjJG
riwohSnSd1tqIUWtHvMn5JYowrOPnFnoji8ByAJggslyM25/EhskESN14uLIfoCIyAD26UT5nl0A
qKvIfpVvlGwsXAULiqSIhgw9KwEbpIryyVmzjZ++7ILTASbOhWctDQ8SIjEWSowYZnW6zS4VMCXP
I00Am13YwLWGAGLFGaGNP73qQ29jJu+1eUADoK/z+7zMZSzI4t4SPpBNkaeXubHio3/WG6ddt8Y2
Qsmpk2vpN+zn4OKgAX9CSSJ7g3nxThw4yR0DW5B+SA8LwxLceLTUrxGBGicTO/zYIc+db5bgEG0s
JXt2gtrzFwuIoO04qHUwicdZ00l7WHN/dylDrkv2O4DDMhx6TF6uyaA6e+AVDuADEcoe555cHTLG
oV9QOlpG7cvZ0UF1iJJjsffnQ3pd6lCJ4dQss3adXZ7mDlk31J/C9GJ6+OqQ/Iydp0+7h+x3yk8W
BQZHVbOfSTLLheGwidOdRaC9ce5DSCNikQoEk97TmW7xjAkcNv3fI3eLtf7ekyrHPNbwhgRWjIXM
rtOJd7a6ye+98Ddm6KesWMFMjZ0x4kOmqNnKKjrFPbcPb+CfiQkIKXO9DVkIdY4krpUvdGB7QbhW
VKYVRxRWNQL8cHa7mmshxMeElF0wX40IlNodgydEG278vQA4Squ1jAdXZMcG7jH1HiDgTOQXOxC/
ZvRVyLheCfVZaqhf/pieVMjhKeA4G9ilsl2myugeOyEvrAXlosIKPWBZDeJP/+B4YT3BkxhuAW/P
WCCCzbn+3gmvxVjN/pUPGRrXC5yuA1Gq/aoG1rMyMU6xlY5W/lULm7A7Za1NwCREX4Uw5oKv7HqB
POo0PWD5MErf1Ri5lbOYBPXVfG3SerN4bRcnBucs197Z5CR49Ie3ig1OyZnUwmh2we0ski1uP9n4
6KGcoQDbZ+8PZmXLFh0GsD22KyQkUaJ/DsFwq3BqE4VHmpvIqnn1Gl3GoRdBh95lqRNPzYor8hlu
K2o+2wT9kAsAYMmlaelOKrxGLcFaZwmqMNAXYJESCgkZdT/+9wJr6CR7VUB/YeJ6PaKGXqQf4K/G
xmWmCrVt2zus5jvUycJbXvPh3uSGV75U76J8bn+TMxq4/FqiuK681LQHjcUng2C/uESSz5PKZ1hX
jvEkbfVacXDJnkmhMflUXURKeNK41sMLfsQpfTcSu6v91DhMCoQvliqNyxhvUDdR7bTPLTBnLAU4
4B/U36PfdhZebhHXDSOh0yDsn29EIUvI+BbM9ejQytSP8T6GnTM3Alz25PgpRHTRY25wjwtOysWL
NwEJ1/CzoI5Y2HLJyuc7BcaXvRukbCS6FyFTIFiPmzwiLJo2STXWxjbuXUDnQkPTg7AjIqfYlY5m
6EjqsaVOpSLe4aGCBUocL/K7ZXNP0q0YHxiwaGjPDiYo15MeBsgCM4Hk26bPD4vWZWi1NF5+Pa6R
6tCFGGRoNNEnNL+Dkt1UthMj3MILIzTG5AlkPPlmyGekfmG5MT74dsT/cXRey41q2xp+IlUBIt4K
JBDKyZL6hrItGUTO6enXx6o6tc+u3h1kG+Yc44+Ma+S3zEVbw7VfI7nyfn0fvo6nu+NNhMEo0COw
MnyL6P3dGShU91v/FapD72SOGPKrAd/CmHouCecvruxY6NQm52JvKm+O9970Dlhdu5vY3jAgBQi+
AgrBK2LIQPoGynUXvb7SqMb7aYslNbjqsWHU08VNW28y+TJma4Ux00nekThb1n1rMXeH1pD/63le
PktgdsFAF4LZ2BrQ+8RbUCdZo+AKuVEHTTFm7x6bSrTleFI8BAcHASE7EUJ0BMffivcY+odMujbZ
sGRdwbMf15MV5ybJR+HzRbQfLoIBGJJCGxYMdTsSxBjD55bN36z96pFBCT8Zca8UjPO1p2aTsFIB
bWjnst7LxJ7i/OQBUfb68PAN1ECMMQUl6vVGwV83zQX+n9YcYYlkvI9El6p/2eyiFdcWlcYqTx5z
PgueRVIQlsnbg4ZNHfk56cV6tG2Qdx45VMWOkIeZduLnigRAEB8G0L9KeQziJnldFTcv/6b/TIiO
jWqGvNl8ux7kxPmngXy9etOQS67c08ua5xzwbscfyqODKC2zaaDwXYIxBni1qtwrj0zsEXSpIJfy
a+BcFe1IPGX519Qy6RTfwMYYnGRDWCncXSJwBoAsrWgUfQ8U+wk72hOz3yK6qzBKw59/HlcDf0X/
L9fXBMf55DYHA05GPCXDBmaIHD8Scnk5xwcZ6aTaRzQkCLNlVLwUL0IEv4xYIkr1lxThOLp5CNkM
WJUYCwrx2nNs8QShZF89O84obhnF256/DVnDnvEJEwAgjEfwRsDMSDo8rAZyJS5ZCu1Yu+q9d5bH
c+IXtGY9Z0h6p9Dc/oVMGmTRiH6i7usjH3pINoIQ8JHwWwbOSoECg63A2qJwkKEhJVKbXOKCGTtj
U41h3AIek7nERCZBcNQH1I6cJOAmLILirUdqGW5SIuP9Z0hDIc1DKl7Mpyx9F2y+ITH07ugKVrSu
QSGoWbLqM4sCYwjdq9GKZPguJOULvYuLjhT1xKKx+/VgCqeKQ4sAXoLpWwexxbCU7HI4MmnwoDDl
J99Dh+3NY7kfGXBXMt+Z1odc4+/9MD1Dxu8z2h7SkuLaSdV5F2YF5+wDBGBWUD1+VNWprswqxYvM
ZZES7IuBycsv9ZzYX6xutLv1vyE/S1RWPiGChJXYmXCuZ38d0tqMrD4EDOfuJ/8otKeYxSRX2ClU
JHFLwxtCOz3wb+SgBul5Su/HXX7lJ1ygZI39t9aRCRLu1WXc0ku6INpyEAjtUi35c5UYSIYD+02/
nF8CDllACnWjSeYw/DCdosL7tG/JeIrQmUQ0lVvvPeW6OfJZTY7GKwhzS0XLyJzQhxoajvVU5+Vd
1YobDLeqWMAMYbhHwlUw59Uoc1g2NeS5obaihR35Mmmr28a39AOQAK71bAWGBNcS18Q5miGae6ZF
wDocx4Q2wriM0a8Rgkp2a2C3zSw4WrmBzmKZIFBg8BGoCfugciqnynDzQ+WCbOqP6OgnZrAfCR0R
1jU/b28DHyWcMRaM8p5h9g4kpnnI3xw+H8leJO073gGStVnP2NirA6wK6vhGhYi2KJ385RIicR1X
fRCY93pZfoX4O85GyTZv8jp0Cr1f5tzfYXXEks61254jBDH44FYDnniEnomZlKfPkY0JrF4d42X1
AtOlmR7X4Flm5oBSMi4JsYCOjMlMYyuw51d1iTpD11bD4GTEAPBV5ogLDui74Diy3ClPiolJ1INE
IRAniF+NuDR03u8pNIcIsqLfFCBbiAgyjhhsMqj0Lj3E7FJ/oHbingZARJvMgzFmOzTD1DNQf+Dw
ebqJokGXTHRb/4+Qb6zm3psNz2AWi00GAVl/YjDN7lSRQsA0FmyS4805szg1Sn8qqFwQH0ns1Eey
BNVpHszNVnQMaXssTIM4FbawQ0MNAfEqNgoqG/1K7gM8ZdViCXlK47Kb8q8fMKxV8pkYp3i+Fv/h
wE84yIIfLrYupAXNin/g2EX9Dv0ylKcMiQOyHaL/UzRfVnqvpvyhaM9BU2aH5sxtO17LCruo7W8k
09vW/a/02ZO7vidBESYKpd29F7+CK3PRJBB+BGsiYdX8TmyJl74NHkx9IamwJZsQO1thy5gYurX+
9D8UeGZYRb6rZpcDthgYk2puzoWiUQifQF+TQmaRf6QIW81YtY2ZVaTYm5jVMm+FHJv4Y6Amigug
aNMtC+JsRVPwvvtXIYnhmJB30Noz9Z/Av44CHHNJtMNhiojU6C084AGh7Hb/peiPhpVyyHe8b237
o9X0nuNPoxqZhzJy8A5gX2i7G/9KczaMi0FpR72TCG1pSd3kbwwJmyvQR0d/GZHlsbLBTqDi75S1
tdBh9FvO0JX8avHUF8Oghx+jI/JY5PVYzNRd32DhvM7xHVaLX+wM5PQBN2mJw+w9NaJ+trpGiIux
wZemLOcUemDGY+4YGLU/Gu7geyQj0F3N8Jz+VUee/cHi3F3m0Ekm3RsD4rDZlogWyW2/6sRFXcUD
C8LRkbbD2r74/KgBesDFJPbHekJaNc80Mgh2UfHCshbwviTecZCZjA8YmcrR1qJ1dQSDwuwi2KQO
hHvgOMBQDgwF5GrmTKUcw5nnHnQb1v7IvgwoQvzihE9joCXcBN0GgPeQ8xjye1QiS0uYyPeJgsOu
/Rq0EyoQFe4KC3tApseJ3jCSBs0pBJPhT6YrAHm1cSTZnvV4HvwqGQD9hMzGNz7WgGaF8cDCJM+u
/1l284PBWJ5jQQSY+pLRW89dFL2e2d2rdo+c22tecRASOb4jKxJ1cbfxw2cbkCK5iUpbiA5tixfx
gIdwRCKok3Da/RndwoHiMSnZ7GgnZuhJd038nJBm8HZO8wDMBWXSMnv2/e5DSzsqu+4rJZQaq6XH
tEc7AGlC2vpjXIGuN2T+ACTx7lymzKFmJUp7Dnke7Ya0FBB5YrSWLKwDCtfKLpovBdUDMt7EKmZT
UjUwSLBGIssgMYFMjVlDW6VHT3KD65xmhRWZOKHvjtJeeypPMo/rvbTnLCVT5aT1bnbPNrxE1I9C
hCO9lkkqEM3QnX/RdiE5qQnBmamQ/cEBRZiJrhVWbupd73aW+MQwAnNhvJhlwh0BT9F+7rv0UlTV
RZBuWEMoTibhErIBbX2lXQrlnyCtjXA5IwUGhBauCIpCRWnz04c/xR0UDxqTQIfepko2f5cU79xG
TMbfGlzuQnl6sAOdg5q9p3QYzDC8ApHcoSOx6CwkwjcsFIFdeUinbIceLcYP39jiHhHMgokDFd8q
wF0Thhv4kh7DP1MRdTjxjhTRwL3Q2xma8yfUeqvlMMeA4XQisu6KlHSzfPKl8rRDx05jCaaKLlvL
0k8wfRQrBx4xDVkEhQLp5fs4MRiQNWxnQAbNKn5jEeGVqTaQZMiF1MqZ6qx4jQaX+U15gr3ThQOY
5pGFYkNXKgCvBJQK7R8gN+GcBZjqhSDbcndByBJfghFvKD6AlfQr1dRFH5HJCZEJ7sQKKoGA+GT+
o8ia/CdEJID0GvlqTuQ8CoiJfAAG8zxiZW0xtEEIDWFDmTP48qBQArcil1ZygONh1/zBacjwkGzh
TzgH1KtwP+7h2zDrQnNtPYPOgSW64zmkujX9/85k1advmhhmaqd18gg1uujM1uYtwUbH5ucmFxH4
tjnOG1rtYRBMAgnxOgnKv7G9cs/OaIwn0wDlIBqlDsUaEXqWgm6nY69qEXzj1Eju9bO2yCOdoijN
LnJUzE4Mu+UmV4758Ih9xCnYgZ4psXDlUubwwVppYRx4jxAGXCTGO8VdQIgqSl6+9P3Er18MV7Mj
SqnpsDlA/JeBk7r0Mm3EJdXw9dfnIfCqYce5K7N3ylI024QzHIHvIV3zoMf91WOGhz1Ju7Uv3YB4
ZXWHvl+rn0z6COCnk0Ne808pdMCATiIR4LWqWwdKDzKH9LtfQPQGLwSp2MPLaJ14tu4RghQ7ZsgA
1xNt2hRDb4Q7mq5o1cCiDF85kGB904dXxBO59BHwh0/5PlIWFuPxoB0DP5D6EzMrxqPtMxDD4m9q
ZIhxg2F/SVMke6bMA92NjmectAKhC+QZlqt35m91ZUqLJaolGf5QEPA06iCFMmJrpVklqNXCORsX
baSCvEnRhcakoo46ifawb+LnT4jkZTV7atW/LiF7gqZXmyeSdtOErF245XU6+5LBwpr4WvbXT+6o
mbGQ+qNeuF5AoIYKw+tUCKKTuWxSLdNm5aqOSOolzFY9xrv2PeezjFTH0JJFKkqpFdByoCk9Vckn
SGnxEQlWLYaUBjMaBevcICRykxwE71kY7brJH80lsoqLRDwhYt8C/2iE8F6v+ZWXWjLlDLgs7mil
IxkXItwSyf5cRjPfRYCQDtccqX/E5RG9ioEHFPsgT5wAGImXLQ+qhQqIFXhbtd6I4ZGgCiswtll8
ML4+iMDJNup3GGADaa29s/o+65EDoVwYlJuKpCGDUhbJqGynE4Qruo9eifr98f8pBk1Kl3jav3VX
3WQt79jw7DFCYqZcSRsF3fgcuTMfnYfiUy1uAkquEvN2Lhmg5PRUE9unNjWgCWAI2XEphtpMXorx
RgUti4KKdZryAY8j+IF7kXdv3tEpzMunhd12BnU0/RFvMuxVmAfx/wl87UW2yw2ToChUQHsSOC4T
A6wvx50x47oedpm+k/ht0vgX56ZEbGmLr0DreQ35SnMCKSLqA7z5ZWjuMEaBb6Bl4N4WoA7kGcsE
d8k6P3sUg/jkwi9ZMDwsECOBUBQtduEtok1yPLamf/w88EzNdXwI5MXBtbc/Yn8LzglA6JqgCd0m
BzLMXL/8NzDrfXv+pvCP8nTdzq2pnKvYo9tXsK63GL0TjwvAVZATC7susMclqWNkvcFo/uMK66t3
E3Exc2bVBBnqvKpgG5LNqhN7uK173lF+faglUtNwe5tzYoyVs3og1DVIybnFaV8vKyAoIf5HgEpG
3izJrZLlz27zgTMiutGuQW/gFYsV0jhhZs0/peVt/IYWuV+Wg09OjAG1enW/Y+KTkg7kQEB3Qowd
P8AsO+XUHvQ4UlPlVJIPxwBmKjM0OJzAqoR3/yUiCdQJnCGH08cnisEYq1RGTMRK4NSkctnlEyHa
jvY4m5xghWmZGi1Vd/RDwc5BDIrGe+P677Z7Nc2zIFCUQQaxHjEFht3CHDs8FcQIS1b/NclkQYMs
7NdzcGaPooPqPiJFIBXaSs14cNN/iTLx3wSSKdo0SAXNgWObqIHx/av8gRMmEMrDSmaR1X+kf5OD
Nj1kxdT+gkKRlIYZ3CtYjb+r1vNv4r0wlItngz56iQZczgFgXSyFCFSgviAquBRYiZfSD1Ibaa/g
QeDcEk5CrS0QnWAXqSdjhmT8CiuesRCNzSUE9B0IX14EJ2IxJlDHkuo/7hQFx43FJGewfpjKi18u
luHyM/+W78obIVn877Mqxc0HLQmnCrs7iKd2xRzMf+nfneJ0DtaUwjjW20xZoaug1JXTu/apmZeq
PRTZRZWJPGKIo7eZveODkWiST+CdCneRcWr9P2gNmfEv3FDHiMLC0b65qdntsWNhPGSi+gQ7WJVh
Wc45eyENjIumrh8oqLAW8RzXBoA0Gx6nHQUNIYsMI7uGpNaWrxUH14Z14y56K2Urf3/os0EAv+Dk
NXvew4hdBIRuRk6MvBKJhQNWIwLdQGCPP38tw7yjTQhX9ZbKxrQWHMEnoY/0AulOcEHa0oG0SaKr
XN5zOIJ4p/qTdHGQvjOBdkrgBt4uspp8R+xO0aXtnp/hSxoIlreSX3lbMAZlr8ARdMiBSZhOE4f8
YrkigDnUexh+ksnKoyIcGqFftTQXWd7Y88HgfTYD67L2jCVHeqiOp9ixvi0unOf+gcSdH1S+oUXS
CTUN0+Pzy39kjv6jyC76D8bghX4rhylsHRQXHQWDNxfCapqjIAoXLNOCSy/Jw0pIx+hdRH7sMNoX
OVp6xpNK+t5S/oE7INhK+xP/dBohAW/7M+7nYslRjhd8F/E6olTAiTO42HQSvtvaFesTwSHDMO3F
fwqpfpWjXNAqcx47PBaoAwlgTbEB+4RFX3hSaf15ZeIvV3KjwL+AWoYHYROkX0E/Da18BXiqAi5+
hnK+4WeKYW2y19k4cOutZ95ax42OGXU/s/gSENN0P3W35odyimAGOzPo2R9CpMRrQYCnj+cblELS
+AwIXCL3bZOkO/EWOuRXT7Fdn8leqELjYqeQ9tVsG3M67/4n1XiYmacKnoupNAtXDQ+VntiNsulh
YYltojH70ePAsrFItv5K+8LBjrrBFM6diayQ1cb/or4gmR/AXlgG1D3/C8ZL6oKuiLVYcHsz8cmY
JnQ2IMuFbRhXmYaxyZ5a4vRDStguvI4MfzL8krTMYaeOW1YBNmOqXMIbvaWOBsAOQgqFqMcPdQ/5
1oP0MLZ2Nju3nzPtuG0IBkekg8cztyTl3H/EIIXd58kWQTxLCwk1nIsKz+/Fk24twVwdT5D3nZF7
xExMXJ9w7Vpbe0997QDSEt16fHAQxw7pof+eYX1JtJNa7SsVb+4x8k4CIqN/SOtRWMOXshHoSEr3
LRMw2Ci3I1ihw0LChovwyIehYyPWiJ9iGdxDc+lF7Qqwk+jqCPDYiMp+0F3MjZGMmhXso6Z/D5XK
OpXvhINrr/kh+awJ86WsR7+iwsQzMFGsx27xNz9iOQMXJ/Uupb2AAxqQVKQBl+1RqQ8kDXcOhUUE
pGjRitxCiey5S1ktOcpR/Fbl5kLOQXvw1R0N8gkGCX3PO1YR/sumhzD5LP6/0nyEbRrZFTmanz0n
6nAG/Jh4XvRls2OpWwMM8o5wZqncliQo0lyx4D6FxOpe2I41VDpP9BCgBtEdMQ7lJytB3DPmzJ68
aE3q+NkvtXvJDyw3QRgIia4sL1K5yZLHMKDxDq809srJA68bbxl3RoPeHin4jBV4UTdONK6J1CSV
+TIIW49vXrvEjKCBY2Jc4oJ8zMp/HmKGKjoJuZ3je+tdNLJA2Cc+AqJgkgep6+UeWpU7fhVnpMsS
kf18LO5I9eyPWxSfpF34i8lhHp9RQoBb41nzuH2ao4wSBLwv3vET5TUljcpgX5o5snpFwAT4QlQL
Rx4/TfShjUNUh8xh2n3h+hM7u4f7fSK5AQJn77Nuz25NlD+q48+KU6YiqSdsr5PLYbCJVQTFqCbP
XfhOJ78z16G/BoBlj+f/+ICg1R+oCzMH2lz/fQ6ElFUb4idRLStHuhmReMS3ya4LQ4MNM5shlMO8
jUhrgQoTIIeQRnHFMWPz2H6qO4FA3UZ1eM5i0zhWG8p1e5VnL35PoIG4UtoTOZXo0DuHtRi5ZkXK
6Lm5s9Hk0Rdhj10jLRx0y4pVoXXBnayB2YWnKmfDF2haZMIlLHzlnVDotXiVDlgJFnhi63iJKN/t
2C5eSPz43j1LXilQOR9gIG2s5mfaDilxe7Dpu4CZ1LYOd870Kd8xAjdgHHi3O46gyxwGGp2MEF4J
euVU8HRMPaS2vhBCBy6fm28vmA4mVip9EE3YQmBnyQ5BJwL2FMRnSRyeU/PP/fP4zbMXzyAHygg3
BSkCictkVNFwvkWkiUWaUZgXfxWSYJ/TFkYLE1cnjASu2xfvnRY4887VlzekOZye3Lt+cs1C7KsM
iW4ybl+zGFqW9ZEvCskL3Fbjdk7B/EndPSJ3E3OwAvqK4wjhafdE+TLON9hoi/5lEO+zjy7kayrR
Hkk+Sj5ex3wXrQrwnm/wFrE5GNEGGU9BZpOOvoB2CMfiCs6AQTjvi5WHOa24QI+h5o1Rhdsy0d83
xBhcYpvQFikazm8NEvkS50Rhz6Kj3n11rGla848SUsYjb8+Wj8ZHXeJji7KjQlrFjvHI80UGmKvB
+wTYXmroZHjBdKT97kzf6NUaJme25lTg81d3tlHDI58DWdqGpzFCNc63nH8xtkHRZv4fz3Ek3uhN
TV7ckhnL7X6u2Wlvawm9Us5g8xZjjUWCV07R45J0wMuDiwsGcuIbOIDm6hH8DeU5ybJDfUoQVSpY
S978epPuepxihklBcD4dU/Oncvn4O2PqemHpY1tDqbtCkgAyK/KnEK1Bp/4iB9gJ2qoCmacFF5Jp
QdA36ABnKfEgWfuKP6/ih4/T/SizPw40FlgkelC/LIKW/iDTtz9pbouYiAiyhZA6rfHWgIotYIc1
JgzKZLTfYRluRxrsSVglfV+iso+TEauDMneFa2mPnY1ke8403++CG9Hb83XLMH/lUZXkQ+Y9dX5c
g3fllI1CV+ncCsaAM2fMz9i00zlxit2JEX2mLudIXSIGW9PYVvJOQXdNbnJG25UXnbhkCIXJg/fA
g5ma0YXXPCc166+f2LnszLKogr2hcfcf89meYL7JBY9GM/qdqpHJEsbbk/yogKRsAj3tr+/p5sTK
mu1SFBwWn5vZCqkNmrwBg9CCygmcSDe+jgKe/8n7Cv+K3Bgxl7DRkAIQLgXhQ5miYFJomrkZCXv0
5BKs3+FjFUeWkSp8jp2D0JGzYpMjkCzv0WwT4RallJMTv4wgSrp3nG8nwB0ZH4e7/J2yfs56TOPY
b+UZ+R4OG+IzFXcx8jwyeUFzedj9xJa1fxO8nfpX7VvMz5V+Kqp9NkmB2uX8L0bysALCFbcKWtaf
Nt+mN/q7RKCn5kfCKRl9ZcQBwKWaFSGZgCbtd13dmKGADKOHCBtApjK+sumLWnbMSZQc2rzOPaxn
RaKRmrmetFbmk9NTL1dC1yyUX59dpRtMyQbnrmgmoHx55fGo/PE7qCVD3XWaG6RV3GSiJA7hltzZ
Gt0xixhbEk4uTXrpZAXHdDeEBqkZbj6LiW/YfQLNindCeaHay5MPHSao1SzbziOSSYGsVKoCf4z+
SWIuTYbygVOLv6XOkoWiIkHTXDIJPJzc3S5KrjnBp9QlKTmyEdIldJRRWxWFCs7tVwGdJPR/Q/r4
kFJK3APfxmHbljBphJIwEwejKZKaoFuC9kdwEOkKsrwkXAj2Br/+UNoE1hLNYrrgQwLeTEKUCjdD
ItZalbG+hyOpD4tUXQyMTKgH+EJ4MaBnqXjiodeWaHPrfl2QyP2xCwz3hRVxFHSWbtAEtxcCaPb9
/P0CGeaA5AJtT520/sCQU0hC9byLh50pDCDmRKB0gjC/pRVtIQe24k4JS9+/OaoAY1mhfxzOnG7a
yGiDKPGP94FtZBXvcnGb5a5P6dkmZ9/K3Wz8ncK0gydrZLNuSVr4/37D9BKcMnVXlfzr/qXNWVXI
htmL8ztrnoYt3ZvuJ0pIiF+kwmx+8fv3CAP/ImMglPdkgxA8UHdO+x6DC+MUzWRheZv6kEMXzUBQ
/OvlfTq/AH0bOHk5tQ4kCITkcGPhVF0ME4m87pp9kbtptPwwSTsTreOww8MfVY5ITj6iAjJC9K3x
5VF2H1l8hxvD4srxZptUsWTVJho0nROlhKoIjc5NFX44YzElVMKVe0HaoB/GIsi5OrUhKnsGAorz
4h1Xgzc5MbhDGK95Y9kY3lPX9sIYcQZb4gttFQE5xH3Maf4QqXYwm+qIpb9dp2RVo01ckAIKngTl
gZUG0OsRLE8B5QML8mdNfZlld66gcJekj/qdDe+ocHOIBpBjNOh3xAREO5Ibq7Yr+CwNCStGf641
HA4kITXTd3EXL4d7rBMa+Jzr5D9tMsRX+qmVNs14Jux3I8nrurzhbWLGBbiJ7Po2KdPZFiu8wk/8
LLkP2zzVEqVmxaygn0j5kCKFoL/p08t74f65CJtoBIFSnXy4EqWQ4h3eBfDD/vjir44wJjKh0EQ1
QIKyp9e9bVxn5GOxs3Xc9+1bqO8AayMipeAd/WZoq1lV5990rtHfxrGKbeM9JfuvmPY5S+efXwz1
EDH4AkHly2+CPxsXak8ZbXyFDt9Y7HA20hKkXx0+IwppeG6URWZgprEH3SmQX4EBqTDzbs4Pb6jN
XH/MEFEtYgxsboRTazPo/1szKqIaJhC0+ayMo9E8YUx1bYfvUx1/5OjEVxHSZTdlzxEu2J6VdIv4
WEcjRt5rRukurhhzoBHym4tT0wgBNNMbdoQKuAOR80r1eKOWlWbzEXGgpr/BjWHpgl2Gbho+4j+2
VCm3qmytxld4VeEIKF2RsUo6nxESd2AFWAzD1R/zRzY4Cm+8tmpkLLx7D+ce0fD/CFljhaSDFnME
DAigzAauCoA5TRy+NmH25M8iyuf6zFNrppuht09Bd4ioon6KpP/2LC55UmXK++xm7pQgE/H0rQME
RrdX+rBw7jjb3rfcGDmWVqBpedkKB77lUX2HSQtUGIrrrNDgF6ZVf0TM46DHqJstudoazYJ7KsRm
tjYsgv2UDc7ZPaNGau+FDK48yhui+4tN3vETt4q5w2nTr5VbAY4VU19yU2keif+xFhd3MBQWFLDa
8qZ0axzgNmYvTNWcR8nKrO0RNP2zajFpWp9LilAwHe0WUSSpsmCbCOmAFIizp9RhJ0ZvCL1uU5fc
gsjxmJOFQ0zfS/zNA4T4bRIYQ6q+62HH+1VLayhOfhTQLgVDtVffk/reRhsBJibZZcqBeaD8TBIT
whcOQ39UKYyDaYDhaDTAxGc+t5ur+N0dZP4S1Eirdi+Vu4LKiCXTprRWf1Ec7Gl+QICCjW/8CgxA
Du/SyGY1bsD+wzlBIOTgLb1DjxeQ5GByBpsH9udmdgjaLVJO75eDflbcAPnKhJPPzXrat+y4ZwUM
lqXgfF687Ox3lGhdkkMjM1pg5p1yh2tMRjJMGsHs1dojCZHRDp6tQIRCpQdq08iwWcKUcC0kJh+X
mR7mheU1IWl0TSIpzRckGZMgIVN96SCa0wUCAE4TAg6YwWrDkpjuBhFMeXwR41lPRRuJ8Y/ai+4V
a0f4BGYj0LaKv21hZGcwwxnPXEAPT7fDe8EuAAxdmKhrgnNDBjd3ekBOJ9MhRyTFNlC/kw7BYmgT
OBW4eCFCdbtgdnDhKXlF/+b5N48f9zhbli6ijrNkuV/4r3bZ6qY4InhHx7BDPsVLLfUrZlT9kV0Z
U4PUrlne6H+kphHJ10X9FSonBD78WK2G/P1YNI4hutiOCsh2ZmUAcELarLDaatJ1VKbsloQ9gZXh
mEHPDkcfNtO3hGZBcLlC3YgVdDe9X5FNync8nbJKHZLcyCVrJXySawbVfllWP43hdhavHepBnW+Z
YWrZkTVo5DF4pIBIp6ZdeJQn85zouKVFa+jvdb6ZpEvxsj3lZ9JJPPUn/yIlKqt3TbIihrVtCC5G
/T4VHMbf4r+4BMNdeK8CTxM5iT1hOmSWIDsaz/ngJCVtky/NzrYMTspeAIrUVj3qvJLHbilACGLh
KcgVXdb0WcasTFT5TRl9Dcub7nzG1Tgss9+eekUFNpnLw0QFhZtmliD5srCsWXD3qKwNJFb0/lI0
hUaZkKHyKxP2yh8cDaNXgCLtUhkL42/eI4BE1MP8hjdxgneRBGdLgPpemRZ6RAGtSNoImbWmOKmO
lgUhjvzAhyUlj8EP2lTG+kizCSKCuyDVqqQHCCf0BHDwvFRAkRhQeRgABYmV0ZZYLEdOoW4Zaqbx
QtnJL2hYqEUuwaWMDIGMEqT83Og9/vfJn5ISk/HX1jYOJQ+rAEfMdPRvPjRPcwnFK9gtBv+MDwsd
TXDmYwwXp3aK+NnUBArBwJGJjkstuJC1VodW/NlTcEsRLkxK3HIfK+YgWJqy5+IR428c8whkuKHb
U8DIElg3/0i818zmvhV+ulOVIM3BkzFhYXxXkmzHwKH9gW8BaxEhzKWOXqLul8w8n9q02BIGwpOQ
Tyzim5H8RHi1iNvqeY/hsyY5C/mjeY/ezpmuR7LXFaf2Xb5VLckSoLtkcVrIe1CYEENA3VKAxZDX
/T6QkGzyC5CGpJHSWNItXILCqsbmYowJV/9QHrc6aU+UcLLgZOMSopQfryCiRvqCOipKaEuyMWx+
8jQqppBZZEhADdtw1Eq7Zi3navpwT4+2VH6l3f5TmuKDyi540fqFJpYkevTsrWAimocQnivLsoOE
0S1aohMYmgdOEF19+CMi6ANhnkZIYjoLGAlP3e+cqF+tsuPZL89XMOMS71DOAQ+OwDjjfK+K38yb
uvgtB4cCs4F+HYm6AFGeS6BSPXnCEkYFNJlRwt09nqc0s+CdZUB+yr8wJERgpxM30MqcVgneBt41
35+GQMp85xp6Ljzc3Eew3nlx+2NF+lyIip5unrn40NhBWST9ED6PZbKUiNgCKojnCGVbDnbqDzr5
6pElHP9qAv3f/G1dz/2Qn/vwlbE2qiRFFz2vIFPhcJpqzykxP9DSnPjbfHT5c4SFicOpjo6fwvmk
p+jz7DJn/HyskkgMxfsKaZUaNh3vPHCwZ/FsN/hEmfIQY0lMzWTJLRHfGOrRIEwNXQVPqKheUoVm
CbRv+HCIntO3ebTB1qXl38jLCs1OQlQx8TWJ+IE06BoPRYUJbXCj2dOAeRb9PwXwSqXL6x8hCf0f
udagRmV7iGFfYrj+AEWlr9wq8gSyHskMAMMEJ+o0z0SWl05sOKAfgBELShncPe3EjW1XiUnAYOpy
0KEoK7bDJrU/B3J4PgQSxK7/8o/4dTDjTpx8wTl0R0QS2zVhaMsOnfOKt5VppFgJk7oMujhfh/6a
rqR6ch3DFUEcJPiobOJvGMIvQ8cRdm9JNmIunYCccv/hrDjyxSFBkMi/uCrdgdw9R2sszJdA6pmJ
/Q9cnBgN/qU+XuYRujugBRzjuuBmlGeDTUxtA9HEhlPJscrBXAq4pA0dxtWBKQxL+q0iZ3tKU78F
zv+y7ZG/rCFFnHl8m6f2OHfbv9lnqjrVxn+UgyO+U+GkTQIKvtEMERABJFr9VHeZagIQqC0R1OP/
amPayhDemDB3R2+D/XxmFRugd0ozSnIlTO6GOVJpPAaseuth7Vdr+nE1NLUM/8Bbs5y859KakWln
l7vxm6U+3CTJSYdZKlYRQcb91NBX32joCE994LpUyWTbARWzCRCHtLdWn52/lTwylTFxQzzUH7cA
MedM+8t4vmktXrOpZasZtl1ak830i7mV9/l/ML34waMZ7Tr1BI/6x9crG4fuEp+QRRhnoloQkEne
WhZ/JxhsFU95C990RBLYp34wQE8F5foZziE4samyAUK0Ay02FvZZ3oMZtllWM95nygh84nD44VYu
kv25W23ZQ7xynU/vBI+WXyDRoIyVyOR5g7+wHFxGFKI9aG3TzN6ef+hmK6hN/W2GTXQsJrZf/J4H
Dq2TmkuUba/ZIIiT8o3AloNaR2bVHbny5OTKy5ohBnUASXTdEWW3PFXCLw1vxPnQlihRfqne4cuw
utcO13qSr5URJznT+RkMs7m2Iy0aLGuEaqB/6Ryo7KunvOTWRQ0XIWPxNI6x/3NIBsXxO/5R0tVX
fnlqXsRvY8l6szFhoe6XoU6HN35Km3OTm3+jWgaspvpbUZldraYRpDDL4q+4aqe8WiVXtLWdsQaH
XQFu6/t0Zn/ma+2IFVPPcaGgQPLlHxUTxDor1h2xMpQsJuDG3NH3kO+hYvOKcCrJP9KGI2qKblS5
HOn8bhAXSPpZQlyv/0rxpAdakETgzSmQSxdP75cpW/4VNAd3B1FI0W52ToCgKkQ/e45fxD1m8OVD
pvrLpkNWSlaBg+oFMWNHicVKvrLkbFPcXYYFewMWD/bbqXa6017kIc0CYG4In88KlIPcqm6GQ33K
TkTxKhFWO/XuKP6KJkzQe29mRQ9POYjBWiRRkHWcWnM8HJNkoN3m+u/HERK3fFXU4FoZurD5+ROs
SG+Q630mfsMklN1T8sBzIcSwoFqTaJydXlgIMgpEFxEoCbJJbkWrC7t7uDLYLaPqqX1FrVs07lOI
VzWzVnEW1F0GtbUA4ZLHr/Zs0E214ruU73xQGzO66vqCZSMAz5h0Z5KDJDAdyDAzPwUG91PqNrrL
XS43rk/iCB/+P5LOY7lx7YqiX4Qq5DAlQYA5U6Q0QTUVkHPG178Fuzyx23Y/iQTuPWHvtZeQnF24
MQk/t7rTRTvIb6q4L5JN7TGiYxO+aUY60gWP+iJFPA6UDBIdQ2u4fCshXHqIRlX1TbNU31iAMzrC
nMxTDQb2RABQ/M3MIP7MjuprrA5GCG5tWxxb6ZkjNZv6ZBHhZkePvFKK32yanWxklUqrGnNrEoCw
eDzMt9QhaeiJVbINNGbjAyM3zvsOzaO6AdBOLXoyydHbJOBI/4VUPYH0YQU7xBSo0fgonPI+9Cf+
L1yi+iY5eMV2TC9y/rLGbR3sswRV5rr62gazcFvdzIFVmR3+ISARr5Xd2QQW7MhIxje70Poby/EB
V+RJft9K9aEmdxAtM0ZwpeJE2hDxEvzweAuSzRCXUb3ovVL1lWH+puwgTY5vPaMgh/rLDc0iKD6G
JzZAYX+MGO4xtOEQ1+lU90wueDeAqcxZ2eyKSrQHS2XD34Q23ANGCrQ326FpE6/8xN7yghCJOet0
zthlYfaOztzhzPusO/E95jW0yaGQGGzn055NOjK66UDXWKj8REhs2B8f8uDdEFgSDrbJXInjahw/
Rs9B4q0K//R02R05kBzCXR9zkSH8oacvjGWkfTKYDQw6wFW1bMuVRaUExJraDR0pd6MlfIQ0R/KK
XyLpr+n0pMBmbRdpTzY5wRornbdDvLjUZHcqzwOqMQOJwjqR3Qi3ORWBeBxzcC78rkwS2nk6jcJf
pPtagq4VqMaCLw4bvmDrXBE9w91fdJ+A7q3zbZ1ctqVOXtueHxJnjbbiiIpfRDFo8bkHzIJrpQVr
9osUjXk0Kp3e35HaDua43IglsyYSRhHT4dywkAPH6Z7bp9rKTznfMloP2fGBRVfn1sbCkWWH3mfj
ryEkUMbwL6YhRLqcI2aHtgROIBcugXnuEfwwkM+pAdJtfYdOkxMO0tuTRfO2rYuT4t0K4xUZ9Yp0
kGjm0T1F9U/rH0I+1xlzyOlf7HV2g4kyLi8a7zeLba1UmJIe235XDreQlhpG9UomFjTumKsp2ym4
TP6p5RWg30fmmX5H1EhSijQSrlq3xUDFbyKRc0a+J5VQ9sW3CadA4alhlgtIMsbnhUQtyJc+pwyK
f+nMQjAxNjp21q7fluUMw4KeXGHNpFW02DqlpxQgtGbMn3ZX/TOZeqEX5nNiUjIIH3qxLhSiNsI1
kZwhVx8+Inh5MDGpbXR8gr/C3Lpg5MPwxJi8fGrtgVEkdBSULDLHXLWtiqulH5vmQ2fBFrYbmdtX
WEbpu3rkypsL6hqq7oQKVgUPsKGi8hAh1ta3IR2s/I+tL5XsR1MCzO6pPZuEixs1Fm1s+yQer+n2
WGstkkSsP0sF9860AAuz+JUHe0opgC+0+BO+BgyEi+zYCec2XUrgqGzYvAwHCTDvMawjhylwbMr7
JPxl/cGQMFqLOclxwls3sN5G9C3qUhbnqlf0yUL6CGHAdK+MQ1JvNtSQ6ED+SYc8vQ9wX8kPYj+X
CCtknTgKUX4MG51ZaLDz/R2qUEp5DGDaVlRPcXeG3w96PRguEUsga3qx72+WQb4a32JuY6vAVVEc
4MqyjYruEXJHwh/4YVbFPS6XSCYP8L3YfGfRMc0Jf0LhAb2a237doy4YFjVxfMglUGde5rrzxxrP
aHmo+LtyM1o2/XcA1jfnu3Es5jlbGvPI2HhHtsreiuR38x6/AUx/CrCrsXRkoK8YZKrGEilDKkOG
fuB+1LgPKwbqr5CxGIsEdtn6I4tc9Qp84ZanLgcujK4wX8VrLKzxY45d9j+hiI4We19jQZgKVNSU
h3fVQqVmQKus9X6L8anv1n13CLWzD+gg1c5Kts06gGffMl1Kg0SjIcsUfn3KGgANHfXPQZ7ccDft
68FmwqhBCXeKZoVXbnoBu0EZz8jilDP0/dbdYImL4VMob949mDlxy9I6mfLeFLYTfRsSlm2dPIoP
ZjjYmitwsqS5hs84uNacGxiv1vNp7IJi9Z4VRzac3uneqyz9+DWOlkfU17Kq7FNRXtLU7qSzD/dh
BuXzsaf1DXcY47tt+oF00Zu2HQ0ak6Tm7gefLACLJRU8pyrjdtQMGMgWwgkMpjXciohN6RLajqwe
MmGtl6zZjln0MYsB9j+RdyqA06duQixndiREY+B9XKEAhDupAKTAnnUB/9XtkQQYyLEfPY3bbcIh
BEQs3gnDBycqDXS9G+jfsLdpyWXiJEe0uujeUm6HF/MwWT/Kvnb7h2U6/W+8EpBjgkxjMfpiqyTK
a0gpAFbE5QtUL44CIlWJMPHll0Hls2tL6BeL+hJIoHvb+QO7ktOsoDsCKDpiPlpK9SVcF07wLVSu
lAF7dnr/0hQL2JCS07yzW0GaOQIAh0u/XKkXNeSrZBx7zhnY3DGzAfe0pycz5Xh5elfpsm2uE5Fl
RDI50DGIMyiXKE3xO7QuYGt0BSJJzIBLF0zXPeXS/9PBaLhq5JrCd8BUsHkq6qZUn/Gvzy7tS9sB
98XzspKYXDJ6uqX4d3FYqQ95vI+KizvNHrnLQGqj6AQ7+shICrLcEvbVaiY7GLbc23L9Hqf1RA7c
VL2aF3oJJfyasQy56qjiFutn9g3wzNfmORRVD5UVClyGfmzttAUiRKCXiqPsge/d8l+ezlpxg1f/
23Zr1CL8506k5t34OgNOtmV+SHe9NgiSo9rnCKD1TDeRycKlPchEz9B/kaSM/rb8EHmyKSbHk8qC
y5zPUVyL5qZJaRZuigjZ+60yyxzINY569OrkQCx+QxbzmMU9p2RsiBXGs1VlK3OrgP0jIWMJFKti
93DsJLAmjsbige1ttBy9H036l0g4qlfo3Ft0bIrbIEKKd5X0Dm5hwwwKYyCHr23eSgevMLdjf/rm
lTiQJ4UnNzoBsZ7WcCQA8eA0ng2YoF4SXmEXIZ0KgGCv3C1+BnTA+lYVGBT8mzwwIQaJAT1WE44V
J0sQghTEMi2S78ZbNJ6D+F0LsMEdtfYVWZtqOhYW4pGlybwncQf5Fi13FlE6dHZAwNA5v3BwGT1u
NTIQ6HWiS9n/ALIStxarSjtrbumvHn6rn/oGQDXO3wTJ0Zy3xTH4tJA9Nk55RaKbI0AA9rA6BTc6
SINIVdsn7ddtAMrb2i67JdFpeIdcs+pxyF75sOjY1QAhVPfVxst/e/nioZMl6aZ2iKGD7gJit9kb
3jbZpHwXHXcng000zbsJG4Ji5/21C1d67nqYe3924ZEt/VJ6NDKtobbnEJwZR89gH2obvIXI6L0d
WSvqR1rf23uFmhmtkK2/o0dJjgo/fS6cc3B30z/xo+LR8EWurNg/wUEOgr0ZbHPQIsoO9HPqO4LK
rPcz5TutIWjWsCrHRwaNvvAxX2wwo2BlWbcl2jSCGOcAbKRFVeOy82bpGx91VF8yZh9YVu3/eVTM
1TvW6U6AxR/rKZpG1LT69G0md9WHzlHjGXKShNiJp2ybnYsohVlToZ/TW2ihP8CrhFdV2ZIdSrIn
rrp5uUkCUbqM2HJQ6FXsC9RTbeMfYfRg/Fl/ku74gVsxSu43HeXXNNI6wTRyasS/Bvb1rENs/p1o
d2lyhX4tPhmiMArEwlWqpwkaKrIhUg0QNevxdha9D0xQiNUjLw47OUsyErh9iSYNqmv26fGsA1Ay
rlJo97zNevDLWdpguaBFQP1CaDzJXNdKPHfad7uiPf7WXskdgspWbU+9i3yTwEHwqR8KR4hKDhgt
pKu8/GhjjpjSfyAUGGjb2DnMt0lLg8XZXpNjxSRZJvKk3xoMj4r8EWrQl3dEJjNChJw7UDFTM8Xa
r3hHVjjXo9Wt3FEtME2aI5VLeyourHlNui+sKsDR1VNA+8rKIc238aJBHYN4tF/PDdJPbB75Kf6Z
qFb4E33JnB2cXZSdyA0Nl/qaNunASVq4Suao1xn2RkYLS4FlfY4FyjxUKh1mgdU/QtFTotGXhDUu
cyBeS7XbyfecoWOOU2PfG65ErPwxDlbsd4et8CGhAtkQHkZaEpw6Zmu44BgpFSfpryp2OuZq6mHi
M0UUWAOpX2SiM/EyjWnBqRq9AUhGAmAA1r1nBKCejXi243SSndJ/4EGTPSfuzyyifHL3VIaVQApb
yw0kPrM1j03BTvdBkZ+jVIh1GDcO8WRfbYG4HStHJDOi8VztX0bHTb9CsZvSpzzk5MSyoFNItbSN
/jSvrsUfwnQ65OkNh/jD2xmaY1qIpE/hQHgnI/KNIkF+/44J9pgQTK208MbHxqoJ9Q2rpjzFUZ98
+T0qAdzvRxXr0xJqQoYki/8RpGbatpTUQnZOjELAFlYE+rC/dLoLT5J2ycXf7siQNg9cg2GPOKcg
yRol0xwSy+6f+TFxxgga0RwwTbCW9CSUtOpHficchjLaYuuyEOsLow70DZl6J/Q3bNbz8B1U5Mdo
a/49EFcYgFhv43iqHTyzbLxM2xTucNMi768lsxyTgRWdY1o/87Nm4dPOF/G9p+5Fihx+CGgDKW/z
duaZktLpmuhHHyr7EkZmGLcZvOZ4lSzdJVw02rIHa9csQATzF4nXGNwj8CAgAauvyVvX4lvCmipC
9wxt/12uR3YzzOZJv4CJx4LZM+70xt6wn8799Fl0N0n4xS2JULUiEJKxd3zy6rX2YBaN6Y5WGrcw
wv44vNfJIW6OMORkFk1MVYPpHOBIcJtpB6ksIeKaKKtDffBEPqp3qhxz7WyxKp4NTGdZOdb+Wmw/
5W4lGXcvdwrYxprJVIDJ6UNBEsN1zGo3QBtIEoeAE8GG7IVElWWmDd7tSryaRwEbdT9q9G6av6n7
AVxG9sFbplL0eXM64EMNexJ0SLvQ/x2EVyDsVPh5sD65AOErEXrLF+SEaGKZG6qPKkDDwNCLKFe1
/i5bbNOk9xIHHB4B1Vdvq8Voz46OnnwJWy5MQAYsQ73lJyESRIfo0rwHGnopP3VoAqJ/8wasWZfk
8HzIiHxfpQR7FB2PsUCOLgUf7Plk8V+oE6MCzlZfZQe0lqHmasNaXofjlQmCwfnYtufaw434YMKK
1gJSxpb8GiCFIXx5agQm7iZ24dxphG++XoESPXjAHrXaC9tCL7ywe5uUZ2ivdQnO4FrD7yrF38In
RJ3hnB47tClU6h6jBBC2wN3dGtTWl9LDuPgd/QPH76qCuePt8nck0Y9pNnZfBalToBzBu7CZpbHj
qaSviVhEHGQ3m4UV+kb6yYYLI16cBlbFuf3OSZNR7cH7YwgAKpsBqZwfa3oECnb2nhjQmIOjJwJJ
i4sakY8g4CDnh6RDIikgWLKHw7V79LIB14JKd8LjPhJusxTxNYGWD+7mlhpcZfzMErlbm/jH5sGD
3QbX0EcdRHhF728g522GtY5OBMakbR1aRkKoj7gP3911ol9Zyj8wp7pFjCtgpxunJj+L5gbXg0fS
L9u+pfiQt6SuML8EsszJE28Fb6tZD3o9nHwSr+UOfy99JyUy8Xkr+mZiwgGKsHp+VqpbrAOckOwN
9K2Sb5TuzBIx5TmjWRkvUugyreU37pcqgD4OkcZFMAjMZ55VUzkdWob4PZKcnwDt0gr3MoJvM4CI
yLiMoWEf3UnJHjFWKZvggLLKYulZ0V+VgJN5gJDorineJ2WFzSo+YZfEjYc2w7oXfLk4hJJhhf++
WOyhg1CxM+R0u0/UdGzUOGzEtW5hb2dxvFz6m/Ll1W4s7opnikuDl3xD4TEgjhg35Q6BxaLfTXzC
rKsANcDJQvIkc2j6y3xHCevlK3mrBCxersgIcEoM7alGT7anCmFwgK73TWmGRK62/0z9YMqZ03J3
AtiQNmwJ+dupAf+1VHATDYE2n78mBf2uJgT+HGUfhQeskf4XzE+yyDciXm//0EQA9xaxcCr3MZ/a
4ewjf0TgQzF65ssRerhO2LjXzP3oBSmjeejMv5iejl3zDnjmKjCRzZBMi1GupPrAHXKouQOtPS7s
+uIxKPspylM4LqUSQA/6ymNOuldIzBYRBOCLGMqMSDScsaMc2QKtCyVEM5uIXZX1aL1vGDat9FHi
DwFACYQWgtLKgrXzKv21jNLdEcN9Rxb2iKyDibiW/viMseEpjqMzXVrpBzEYwLpkJpY7KDaVhxSf
EaX07ZbrDXVSUy4Rm1BZ7rSHMjFGYxQxITk/KHiXTLJ00ThEZ4uYbIQ96MY57KB+ns27donzZUjg
SkgAT38u5kO1WpWbaUt3NHIsgGHL1oDiAZmir3ZKXAmnDC+pA+ietQxV4lnn2QUpMg8ar62IpMz2
Dfa/MD8/pPmwuEKtIQm4tAlOUOZYO+sZETebNwRz5/csumjaNkhf6e+c51LQOrnFh7VNHdqComLz
RFwX08gNlTtR3yalEQ9JSFTxvCo2sXec/kKs2nY5K3WZg1F69Pqmzi8eD8CbzO415kb0ayIb1mmW
q/AxpuB/soW8jllEPYevrvyNymOCpjCgTxtLUEAo5WcIYIzCCDED/CrJ1oFxX1pKvgKd21jcAwRW
IkyFDL+LutKzeyWx8n+PdJk5as0h+7B6NPt2mC8HUoak1XyzoEYFfPs0joQEQdrjczfvxbgSDjS+
iJ7wrmktRYa3VWsuaYS96YQHoFBWMoJ3AyggfxRI93I4JkTh9PvmSdrINNmwDA/MqmZxNsHMJKEw
ejJWsXItEKBLTCxXKtm/Ikt5h9PDCGECIJiHUNFvJ3xEveCCHzm11qZutniB+b4qQgr9FU+SzLFk
smqFL7PwUUaNwtvY6sOzynYKTgrpNyi/ec46OPcr6xKf0++8xBxvIiDj4aRqKkaMkDcrBMFxxPAw
bJP+i6u/bVhSXCu4t/KfFzyy5JaHX8rRczjIm7cGpUUobgaZW8vylUhILBeauGzARi/Sh3FMg5vG
Bo8gNm0ToS7iwjxTTnA8Qx1lsNH8Tho2s8sQ3QTWHKPdvCNGZF50rJuTjqtcfPM6sl4ZAPt+SeOO
tNok/vJQ/sAnEzZYiG5Ix4twXT1izZUEFxtXAV3f/NdXV314D59IQvO5H2SuiRTQQGWcdo7CNbpA
3DtywwEGmb5ohYjtZI+mKqvxhdfxs6RBSZlP2XQX7YG5Fo7ai3LrUPbru5aRVwZPdNXcpvGjpT7F
GJHFM8q2pCPXNpm8TJz4EhJ/iOvuJ3lKNNXEzC91HkC4GyjYt3p5VaRjqN1HPOUTo7wrHXknocim
zN7S0onZKogexN/y9fsrkdli69iktvJr6tk2jNYVb6fBk4cuAlpLvFgBLIj2uiMuloBiT7RZofoV
CGvL+sWRAM129uXm20Sbcwa7cK+aNxwy5aZrl2X9nioEhuBsmWPY/rNObWttkNlUrL2dasL6dkrj
qigX1HjMh7pt7WMCWoYHvjhGqOL3vPfv6yMWHgUxS75WQFkPLnkFbHRZOfU0ZYx1aMPg+c0yAEjC
OGj+GgYe3/4yhVyEoY4RF2kyPmvHmJTs5mrAiUIA0S0aZhqLmBE89MDyIrPWja95tZe5NoKV9CLZ
L5n3ebYwurgxesq2kmDMi9ERl7P2likFbfJXM1rls2Q6aS3zr3DFAwc2NuQjstFJoxjAQqyssQb2
h+6pe9eQzTaCJZPZEC5998QEGxH9kvwIZRGwUMAIJm64HVhMw+87s5NSz/4Y2eK5wg140XiEcA4I
v6ZPWud9lB2VZIXqXwkXk9UWd5u+ktRXFG4MdlVDidwsJJZgBZXBfwweZo2GwfOqJWQy5MgWGWoQ
HSwgivQchf7PnPqFIvrOqJBSGrHkI6rnoapEr7xVKqkKAZSydkr2b0dT28lbE8QbcGnRDkF65+iI
hHoXbwcOZvYQoa3YJZeoedFZ4TMWq4ytojwEcraQH7hM6bOn0P51DNtTlYgH3s7EJjP0RCYwj33R
kiNNYRhIrBI/tXRcGd5DgTaPzpdQ9/QBlFn+K2q0A0APq3k5WxId4WjUcztsOtgwWuTUX03wCbM3
u7UugHfpnp1H9ulcnEyvJrd1k1uBlImLrHKZLIfaQqsOlbXuiQgqHLl6JLduLTLp1+xBfig1S3Gg
Of1BBX8JDwrfNBNlJjgcB8x2HtxLXDUSfNKzxOTZW8WcLRBYolXOanwjMMVN2DCweCSW+Rq1f0b5
FKXdROpXzstVc6S4vNiZ5CoD6VKQ5x8DR5K/DGC148Vf1sVBS9ykOZegPgz94svUnBZlDX8Bo6+T
Gu4AtJkSKPgZDIV8dDl9Tyhn3Qa68zWxtgxKPQYjxF5oZxlF6o+oUzzwJX6OtEH6qjKcfjiWaPup
7IFIU5gPzaOBeEa6s937P2P0Rl3b3HzUIzBKr5Hx2YdHuSHwilA+gM+/BQoGf109u4VsfVTyv1Rg
joQcElO6uDfB3H/BqMP2Fiq2z2fOUshyyqVMwKbAy7cnKZIJd082O1uVijw5dgVV+WzGa4JfnJ+w
ImmdkIW7v0J+SO1RUzknzWasuJIxlYbFX4IGR/+ZYlBCum2Is1s5BpaIXzfCylfdA+k4B2KR6njL
FSBeHyxfczLjeE66duVLXyS0KKzRW1vbjy7rM23x4pQ5jcR5o8BmRY/gaFx84EkC+bgtTgHM1uie
fbGrZEs5e0fL6VMtdox8/fwvj1i/Mirp/8VCt1UcCW2N/CcvDzCf5M+OO78mGRAI2TDshG5xLr/b
1gUWjQO0deAbbng+yps0V6+mAjmE9UR8oQfi7WclU7KHXiaMHBzyAyGSZsbbhw7WOUn4GFjSCWyl
n027aT1Ka50CXsZgxLG6QBQWfMMWBek2CfBLEdNGvv0n8Bz0VFaJhJtYWETlV6jQn2bIWGCuMRs0
f1t6J3KKTXb2rDR+DWtLvyfLa1KdCtUOGK2WSGTOqNgRj/wNQF7Asd1qdEJT53BOcYcJK9Vbn02B
EYbwHalfKvMKH0EY2lt0mxPC2aFQUa14629K0fluNA95tteRXCxJY7unkT2E93PNkRXFr6D5FTkn
zfCtzXkLFF0vsTZ//PZgEAzNzill1NAObqa6+t1aqT8Nbrph33J+BD4pCcwPz/M+Cg0qoT3luM11
su6P9bQdml07LMdaRKXA6DKuYIxkdivwHJHsMnROQHc1IUErQafCy5woh4ybKP2VtWZL0yGEY9R/
tTMeZ+fzOGTWTlOYYQe+reh3gfGszrqJY7gO98O1hA4YfHX1ue4uanevZYSGjICRzKRkK1C/RJQb
ABNoSXuybq8WGzAWcfKe4DTWLhzIfrSb1NN8qrbRMSNAx/iXgCLXaLflc8ZStpePSFZT+piq+Sto
yD32n2hlGUEeNEQa/cX8NGlEyZlMKemTfMu+xPSYH2905hRigmjc3+rCGvIqTUcxQcpEjv1lobwe
95V1N1iomQIKAXwj11RltLuRGYhPJI+yAcIu2xMA3Q/kW36GyC3k7BlnN4+2p53BmWHEjedqOLcy
Ydni6m+PBQ4QVliDnRnDQZt2ofH06aMY7shf4oCE5uVjrdRdth6W5TvDzGdgr+hd0gLQ7t7ogBMc
tWJT1g8//Mu6HQmE3qUU1+P4pXlbC2pQ4IbqZRChV+wTtpEEvdCuzyLybUOgTXMoFcIk5czOSA7K
QVo9Oc/Y4nGYithQnaDdWOo+gy2TlJDR+Y4QRWR0yo9EfYghje5Cj79F/TkW/8r4J+rPun70jeOQ
7stkM7DPQxwH4dmUXHIOhnjfylsUevWVhIB6PfY2P2MHS5nZl/WoyyUkO2NyBDJD/1L5oH8ob49z
z+fGpmvpd2GKoAUIsWxxFhN1sm8fYXrUKTL4FQYugnZvJpsOy0NEZ/vKw3PPgJwHFWxny9eNGHsf
7/3mZZbrBpy1ugpI8fwODw0BCbBaWTeKZ4UgoACby6YM/hX9I72r37SyJTtv0oOQMlH9InypkEyd
xhvQ0oRFJPnunlt8zYvon/Zs8A/6mOY/PuSoYP50ZrnCgblTQzFnuOMMLGPYuAePgEa3YXeILwed
nrYxJLKD9j3ajIkgksuQr4Yvg+zC5jbe+vLUEUjJHd6+GlR+tcKN8YfWX7330lnqQ0ixAUYXu0i3
if/yW5wixW+k3Iv0VmVuIBPMwpoIvKP3qRFJk637wck+2vyzhaL1aAqHwhhOnU89LdsyJqBORJW6
luJD8BZvGRPom3gTUCAzDkSQ0GxlA3H+wvoXJOsudfsXcji9dgW0mHvP3KZnrClGyoTTRYxviAcp
24n1Wj+F9Yp1gHEZif5iP0pP8EnPBhiOFAd5B0tBwKOpO565QXgOfq3nXRp2xt9UcnP7bqQ7AzPQ
e/oD5gtcYZRxRD2Y0Bojrc7I2AAl5jfIQPHVEL4w7AKEDQjhGJRxziHKxase2Fq7l7pkIT0QB7Gr
axnLoVLJBGKd8c6ivRRf3ikC0ZpwQv3FA9mfHexGYZbPZgZxJBgR17Rp+TknGgOjVYuvPUlvnz04
GHOtpRg6cBNk//pWWyj6rleWfYNUOXbGsxWecqDDeMqBihr1cbrm+UkojgVOFsFRNOSskDf/auOK
nnjbF3MO1iTMqJ+OjORsjfPfBCLlIXV7yKGDoTIkp51o3AdW7qAT9w0UntojAx0XoYr/xZWHGxox
6CpdWywBL+AbYAOhBIcYNxIuzaPGHh2hBvOGv9T4gZqGDyogpjb/0IwlxaaFzPAcpG4luQ1mpmfc
nJgToaW+9N8T/TjiIMYwtNfNuKJYF/FFn1D0EPpsgainyM8gcS8r/74ieYlHkQdo/GSulTO+u3SP
KD5CGJHQ4pM4JLB/5L9w5WZXEw8RIVl9dJi6K9dvnjkituo0moc6QAZ1q0DlVYlbop0pKaqL6i+e
NXLpQ06/QFwjOYCUHm9CFjVXryJbyFNVR2cSEkDzZoIvXerp2Psk0d9QWOP2onyq282AnZtMiVnd
FhJ9VTuxsa7SXyYA2NXA/X6FMW3/ovxE1s1TX/zSxqXxKwRawuTqBu0LHT6RjSXaKc4MygJ9b4Cj
+itIW+ZO1lwZxTT3AAjDp6U9WcdZmVsrtqDvmskFm8e6ExiaoOzoDBT9FVobqZ4JkChsOXg4qqq1
up/5HB8mtgEmZ7vyXfVbhs7oGzFGmA1NG6oFl3ET483xNuOQxkMSckUi5j2yYhFPpBl4Fulijh47
qnVAAw14GpcWJlIzZgFBKaKBKMFTo15b0EXW2lRX/BtkWd6BbWBZcYyy+l0NV9la5N9q9q+qj2O7
CKZNzHzQ4yMmailp9wNJs/JhCC/xT7uPpTOiPR9kbUlAxqPE/v7dHASy6li1fDL2BZM3fFrDOWvs
ig4gy/ddd+APW7QR4mHOQJJdDUpudFXh/THE605007xMNL1GdQE5mu7KiczdOUkmejX8DsGqyxZ+
CQqt/6edBma3mIsfNfV2RHl6VrgkmHooTNDM1XBH4RLH6Pi3COvb6gk0ivEdHO1JcCLM3yZi3m3/
5M32cc6KO0my5QH110qQwXIBuZEQiMw096ZB+L+Ke0f4ZK1WfWGjRPkYCueUoSDZq4TshFdU/vEm
oetrwaIsjb10NmezOSAhwgTxepFYFhDcZ6DUILsTXz1LTyXe9GjZKa2l2yhtGUijtFMEO7yKKaEJ
WHYJS5pxeBlmP2PPIYsovKWIb2zgPOoRUPd0a75D6wiDtKc9lOnwz/JXASCovgzjLWrpd/lsrzlc
tGZrtUs9W1FxACkU86uJ/WYBTza2znyO/A79tGKyx7zB33gsPEl5AtJArYZqw+/3EXG6F8KQ+38q
HSrUtdhtM3b7G+oClbGucBAleWl+UDwxg02Iiy5XrbkC8Z8nP0PPVWCnJUzz3NRIQUUrcRQwWMJA
T9j93xTTKa+dvO/p+/XK8QiTiB5EWFDnhH8MohDvAIg7Vqfk5H9Z0FYU2GjsntEmLPp/xT2D8F5B
T+Kv7IWVtx26V5Tsx4+Ek8G6dTCOv1kzhWpvC+yVZjnENO+TDCgDeKMlXPUL+YD1et6NsuohZsV3
q/oexPCv14Z1ys2dhV6lZOKMmgp7CwsXU7qI8ufAO6LBNWbvinfEsHP2M9HMwmKBz7JziQlSvvoM
ZYrjwHgaFAbsguhOmcGBCXpd49PmyJmucMFTFwA8gql64mxwiCEXla+Y0SEJaAQrwu3VUW3Bd0SD
zTOFgT9JVvlthnQ36PCcpjiw7KIprv/GP3lkXTbexJF/5sJAbIuSisqp1GlWuiUv2kb5kfG9wFuq
uvWY20V3GBmOG8Z+pEc2v+q39VNvY/lee2esjSn5DdinZk/VXXoPDK5V8ETAkkooY63t9Xz4J0ZH
peIQyJYfcoo4i2U/ZtH+EeYgjIOr8j3VjLxqsK8sSU3XkP7qaVP0T6XcZAmFgvwjKKuBCVgowvKd
20Ek79rgxq2jSpzZbDGUcI5bTssB+dRJji4VtpQkaGkPKY/ot1zmSC1DvDTYEKwoe4jUgw00CcwV
2Een7B9cQh1OImvsXP4Xw+ZXnustv3+rb3ndUMVHbMfSejdlE7u1O9BhWQR3A8rZbS7cDPJS7kg/
mwE17ZzeIMeHWetu/aIRYSbXwFRY1QTHMkgptjegDEXy4du3iq0VP2M7T8quUGyY3SbGHnsmzCL+
uf1Tx7DKV7aCmc8eHRrQ/ziDY/cDRgGFRYbkrwOTSKZfT4gzcxQQJMcm507asUsnQDBkLEe6HShP
m1jHFnnAhDVszuEDXoUOscMWMVOYv5sHk0IonIAZRusT0BGv0SbljTqSVYmppHKBwYrJoUY5i4Eg
3hR7jSE13q47zR5CeGIPl9NDXnNNZdSKLrUN/7b7EgSWDovkC+cDvmvEUlx2uALpl1iQHIfPEPve
Cnr3dfoyoTPT78E2FnZIdxlYIw1HlEK5CH213cS+y7sc092e/HPHcIc73VZPabLEX2P9NqA/bOMT
lFrffbCuNsyDdS50RguvcV7xCrtEI3GQCDzqrYN45OhjB3UwmDfi8Rt+0+hU6ofswnQmTq7zE0nR
GNn1E9PBGtegdf7wViJ2lSeuEmtHTLEEVUpALkVV7QQbhMDCjrMcbFSGy2gVDjseF4O56wqCHkt4
z02pHzjMujNCPrwojYGA3Fbp9vHPDAFyPDjuTnW0/sh0bbmh7LBa99YJPk2oLqO1uUuC+dlgEj9B
5rKJI1pkL5CJtXVOupkdXsROxJAm4jl/CThADHtMtwbo4crulS9YcFP+wMbGMTeOhxl8Jd1SFlRt
JHGJYmwwKa954b0riH4o5OiHVYxk0S/yIsxeHkfrtZX/eWC+egK7ocWmFbFXyqOFAPOuKauMaAcf
qQyY9vWfIsE9E1qzXaewfcPXGsUfH5oKUTH6DrpTz9Ci0qWFjII/in4kuUM+vgwDvCCIwtjXR+gk
xBx8gk9+Ij/Ll5djWu7sQLu3WM0tB4K18ZtuKqKSnRD6QoTPDbIQpwCZzXg+FewrbCJLYqZbjfPq
hPxhwLoJyTo9QZhTdhpMlBjUdEoTrkvXuHYrCooeZ2r6PWIOaWqYPsGLUIe63c3q6PAA8ljXT72I
+DxxUeCYHE0KOBlkB8GyDv4ZZGO0LF12LOHCs9q8UvAi3lmDEMSitdGReavOfxyd11Lj0BZEv0hV
kpVfregcsA3mRQUYlCxZOX39LE3VzVOXASOds0P3aiO2JdQzB1gBHPYxImVr0a/qX4UX2R4/5BL1
ja9SnVHOzV2ETrV1zV40TfsscVJPFb9Zo00KmU6ONL9OdvzLWOxp3xEbs25Vi015ycdPocW5Fmxf
nnIkOMRqwVIA/8+HVbuKLwJ7qEfBt8OSBnjedVy15akZV0R9eID35vEjNBAL34KK2+d/Th2chr25
Ns/xEsMQC1HeLqJGq6vCjuAaQSae3Hgeym4a2BOb/LWRGY8Die82qeY/vwHCqrJHo5Q1nvrHS9F0
DAKadzV6VCy8DNRfUOy4y5h48Buhkx6YAs+aI9wSBLaz8pLuWHyI2VChMM/mFwQcsOmUyBXIsVN3
qGFEn3V97fcAJiBwncQXNgwal3IOpTq/9MUtDYhJy7iPEwp2KLzq1MCrZojSssO9T/EGq37wCfx7
FNFEUv5f1axxcc4p8mdYODEPtHJU+q0GBtCMoNy6r82CyacPmoYHVKKb3uuIhBg2EyhjxcquSCDf
7INe93NBttFlEV2MIgfuHUPLjq3xY05m4LQZX2thYGksrxq4+03PVY2mNoO4maoEFrZ/EJRYyJao
hEVHAcMyDltl+jaFlVZEFsNRTIDsm/7f3QQssfBbNclGakCv8w52uD/B0khzg0CUPYIl4381bcLq
tjrkFqpHcBMCkojU31W8qd5jL3a640aZhZip7OsDclpYlz9gFduEObCEzZoFp/JJja8PJ7xHHNms
7iYCz5IbYKKYl5zwh8FDVLVlGAAXS0q4Jp/wxJHmMPrqaFAuZfWmmmjiuGuy7355ArVQofh5uSH0
BVBKQvLDAi3Pz6CoFtI1QjMs75WRjV5DxwOugTw4cTnMXJsWA9meo71Rj9y2raSD/SDzkaeEbN7m
aEzfoCq4m/Dk9u/U9e1donDubtw9YbvnMWxQfo/In2TMOaY3stCktVa10eqEv1FjHhP8leMWmyf7
0LlNeZGdCweCA3PhSygW9lG0rlC4Zs8Tdqz8NYFA32mQMjs3M3Qr4LfGTS2ox4ZHd1FvwkMSMiyl
b5DclkNCwWxM3YoYryCGNrCS4YRKrm33XP9wdKEomckGp9pI/p4wKyz7WSKgMqoTNmK0R26jhZ8w
XmZ+Rc2FieLl/2XMDBiWrNB72Z+4lipHt3m0EHmF+i5RSu7eZU3FoHoNjiuAsQDB5+MY7enLWFaf
zCYRO/E/DI8c9TUifxzo7slcES7OcwtSBtkSLpHTHdXz8ya6+2Ff7BaUSsywP/FeJVsBLaitbHEP
Am08DjxmHj40KhzohnhOkx2zll54L3ILR+Kwky0diADgafq8nqwrOFTtN9+ByOwKiJgTPxbROWIh
q29eDaUsIuWQu9Juznzf/GpfK9NeMNp0YKjPybcOJVM8h2ld+TlZ8chzBM/csJfMypEFPPeKwDb/
qoCQjOYBkhh4AN9N22QyRjn2MLPZrDyLDdLrtEOSXwMapxtCgIeJvHBQAK9IB/WGOx9sQgmIBBI8
J0ZtLXI5B46KPLd842wRySgbyQpnByHNESAggIVHxbZjzMAoWMYZjAYYB6oz0TNK0o/ZFRFr9kLb
d4qZYcNHBGIECnqmgCCDhSXVRQ94HDo7MowB37xqrBSNWY0iq+8Rn7+in2JuxZKxTuekzxNZbTON
As65xE6rY+ra4PPi2QJeek5oceFL0wfWVpSipT4GwC3ZBEvP75qsuqOkHgmOoRU3C74yEnQr5RRi
sXwC3TEBALjwGVBjmyGGhUwiTtifkVOwRMuc8bD7zI7CmswO45CGFCkAZ4HmITUN/4iha21SkKr2
UAYbuqPnjtgJcpb5QIT8itg98rTMj7/BiAr3PL49kVJYE94nrHHlti7W0rQeVxqnC3HxHLQA3wrX
TB2j3kT8dg1XiI+VSF0TM2VFd4+iJiMcJVvxVrOo1/RTzSSP2heDFf06cfSsfHUiS63+LaQHv1KM
9xj9L9LAyoHenQmrzyw32VCR6sk6vGR4mUklQOmD3GckfoUkDd4e8puUc9S9M+tDyx2wZyd3fqZp
bNr3HMOXpy33qk7wlf+EF7lt17O7U3PZTdGo9osvET6Rz+cJh63cYM8M02uNjMFqSeChZSs/O8h8
2WkurJEvcluifrrybfMBfWt4JlmSFdgJHPjDKOvn9RdPACqcfkmPy2df/ELXOld76k1aSXWlnfkQ
YIgyjUEbGSJXgKnFT0U/Ee1wr6Bt4ynLrwttXaUb/Su+qHvTKt2rr32TvcYkLY2t5MHW8THxGLLi
OcKm5gyc63ywN7NJCHe8FfU7LbVGNP2/r/yE3Dum0fYblW/8SWLQqWAACqXiGb/Nk3juTIeJ3Njs
JYyD6F82TMKnHeo+sXDoPNToqosuYsRWdCt9uzhzmKJRxP8KlZl7Ybpi6xnYwHQksTElDZ+H0VUT
uBYszYzzYm9YwZd8UDInIOFqkDif/7I3doEx4t7oAOiXuhCdUkABzBBvdHBqM5GNM0v+K570MhOz
idn5Ezbb9glahxxZuwYAdyJKneYwzPdlsqKGL1lpwZNiaDEpJ+b36Xd357dveFNwxXZQrw3R0p4f
BUtkrzsBxd72AUOAmQJtbJqZ9snz3Vs21A8sku0akXqGfs/nd8UDzKOboEwk6AjNtvzOnJCwB/pR
EM1UoHcRD2pzfR0iAAzmhhESl86huIXdkuSst9E1Khu/fu9n38DYUW0yLGQeQHMRoIPeC48x3yya
q0k8kA8BOLXB4gmIX/GUUurrTuAIF44Owr3mq1Yl6FaEYoIeMt/PSzkfRFxlHDNwW2xJV2Gzn95E
JIqohG3cyXj70vdkV0XwahdXGrKJpALmfA3vygdC0AK5MknDvnoyK3cWoeZvhKnM1sHEy97RrfMw
VyBbHT5xfgpe6gjh8gzVYJqO4mmOdVfWWu8CCQ97MA+efI+w6y+zL0H6ZISOwhWNBuAA7uY59RNj
9yeX85fGJ7rUwdLbxXEeNibo4wVa1ZcLveYZrBNta1Z+xj1R+TWvC78GVpLJntapRYZKt5jDLUEs
z9B1FaMBy0/dpyZiMzJROPivfGPsRgJknUAEDq1kLnnoiISVFeJq6VA9LcgnvLhd8gPRNRzQcZ3k
X67E5kTG4avxAWnIM0XtDEUKj9g6ndzsRy1cEhmGGQYCOQwIMgJixDUFShBX7vyWUELS4Jk2wYU6
MS4QlVV0XXDqcENTjDO7FPamF5u0U6u2Y6rkwCntfSz8T0QjmOZe/DHguv5/Ogd/Mzl9cso6xYWP
KSZugdKPaeIVJZTFL3r3PCXFF1c4xY0t/Sl0QuBC6FKOLeBmcKpIyWqCTh1phxMh+YVZC6kwJ46D
1WJz6Z/b+IhmkfW3whzjauIUcdlLMiLW91SV2nHwWcJC/sLPB4A2VJ0SfT20hZGUNYeMOvMo7Ui2
j5f658hogRcLkh0bm9JiHsMMq7YZmq7ld7bs1NMWm0FlXghiW13lMGnY9HqE3iUoAVQ3e20YmbK0
DRj+RTvtC0PaS3REA+gT9mo3BcGqHbBANeDViEKd62psRcmlfeHx+kLqIq4Z7AT72LayN2AgGSWl
6NDrorph2AV7ol7R0dJ9LXNpVYiIHudKZ8rWwtPvx42C4HwVaLhnMQkSbstdRfwXKwfIWnCyQsFG
Vndr/nSy16FxdOAOiIFhldW2u/FQIYhWHVBchNmA95IYZp6iNciaVbQKdphHeeSoARZncLj5HqYT
zLdr+04BnR4y4Oxjt+ywlYsPfv3YbGTyj55rIuie0oH3FVQYhS8N5KV9pDA0zrrHnHbi0c6sRWlL
zju+46OClElliMVhoeU+1mCKhWQNHqC8KRH2RZ9RROMCCoc0zEw3xyffRpxgVChwcKZ0j0l+Ub+1
sl2ckZGlzFPI/gynb3ol6bgo3RGIGzpZBZzJBqURe2RmuKG8ViXgMDV3ucQ23X0pO8otCcFSY8uc
sCZSRJsAEfQ1lZuUu/Bd23OmUhS9EIrBWEVkTkFJ2xYae11wnx9IjShjFOjx0jJ6NJdOWOGZZ2JG
iiBuUoLtEbk1K4W3iC+7zw85WlVt8JMDqqy8sXQfE6ZbLk6awcniS5Qa5Urt3zuGKWRg6G4onnD8
sQZYrJVP5RMPtb5i1RH3P4bpCMXH0HuM+EAtF07XXUIu6ruI+C1boes3Te95eb1+uUps/e25nYyD
9KBxYhqdrzmeUv0zRwjAsoSwBAWjSSct+dp58iNcgPFi98CMA2mAkSieT3Fxacxz7ze/aopjYqmx
EiXQ4hSqzNnA3TP5chRUAUwuVQEfIU5Eh6E45hoAea1OzeqITJNI8lvBgQTmWt7DbkMtMl7KFd/s
joqD3b6ve/HxxfYSuRVEAWJM+UzID8UFi6hhg+4hHWYAUZm44qY/6Ypjmisd2xQVfPqV9YemWKLh
3seir9CAchO1gRNRlL4Fldvf1I8JM+WH3F5YM/Ftwwxm6CCYt5e+k0MfXDD8qAILMWX76IaJTxlP
tp1S8Ui52gmRtrTsf7F3Cs4L5Sz/qKFP8KnR9xLZEfQ/IQamDPrEPHW1lbVskNt1Sr/q21CdpHLH
0VFMe0GYHfCtviFvSCDLndVgGUElZS290QlsdYUDRnY+l8jByC3HTgICESn1a2sOOPZP8p71dhMw
VrBxAzvy1gic+sYOhR7BZoSe6ehXrYDMBMzKHm7ICLcV3HoPM6FC4bBpmSjtZPFHGLY5djtl+Y2p
PT82hh/Wbv+FSbbvD4vXOWScYas/wODrv8Yg/pq7zy6CS97SETFx9xbrOdjOBn+o47p+ceSRw8k+
Y4ILd0Tmo+oX406X/1PUu3jCYLKv2j3xRuEvG8XKN3ovrzZVDXeaIsTvgvuUr2h2BAb1GXF5xhad
Rg1DARSj/tEo4CIgTuD7YXUJhnlxSfjZqV1v0YL1KfMd3Hk07w6Ly2ulWQ2lxq78zkQvYFCeHNFF
FOXRvNH/0vTQ3BNX8J+NuDbnkG6Ux6lV7ArGrC/ey34m9fcblL6EKQGMtdozkABiphDybJqZDYD+
BmYtXDUMQRPvo90T2AIf5n8k08xyBwlUXbKSjIlVVJ+m9HPYSvZFZ4mGVprBGJ2kbB9M7BQ88qDy
RZ+XI+ISt7VrsFP4WymhcO2rj6B2i+0MwkW2hoA0RlPFOoC2adbzYRCnzA70XfPL9a4+CAnP401w
xY8e8v/fqKgVFZcVOkeExWJlgc4+9ckm/UIUKtcbafjR0QGeUZb18CBDcmddtKLYwoRlbTgFwnQ3
APE6s5HCbb+X7Lq0+j/MzJAnmsoJSLqkrGYNP7pytZZwGhQPA2UnMkrTCm8UifiYVmr+EbUbdobR
R8qxBz3pIPDMN37A1RiIh0X8NnGqKusSixESfUtGKLRmZ1g8qYF2ceyXlnItWh+Br6Q67eDHzBqZ
UXSbsjgzpd41P/kdRkEarQTVr6MQCBXipyH6bIQ1wun5IO4OuK55vTVnblWQTFiIa3uiD5k87zQL
QVlhrqKWhufR1hSmKx4M0E8vsIqZM9Urqn8noXnCejlt5IzPcDH/nOmZTEMJ05/P96erDtD8AZP0
JT4jjmqpWXcyfwGo9OxQvm50zDUhcXcCm4htQKH0F2B5+9HE01Q5FIYvV+R6PTc7ToU5ZS1beKJu
AxblAAwmB7fK84MjYfrkXn5+ALAA9MtvMrN0vFTy34IRKLopm9OJGcyBX53Myqc+j5VbzFm3CMux
GhNuNh3KG9MqEBussvV4Wydr+aGc9W1EGna3nH4gaEz6iqkourzihz0XfQe/jMyTyD//xJDZzfj0
HHNvI8++sj5D8zBtc9q1QMPGdpb47M2zMd21U54fuDWBkvF2Cj5a597rjMNz3D85IB713oQw5L14
bNly4EyydKwlkdUrux5AgRnts9GPGKvWMGwXGZJ/lrpIqP9opgcD4aTgqcxMXz8agmP9TicVIhOc
+3ibf4WJECcHwoq4/QMHGgyBCeKV+SDTl2fgi/ElB0xx6HH5wtc4xC1u/43W3Mh1mx607qbuBV/M
N4orrQWl/kv+lIN5d2cyDha0mwogz/xlxMPyj8Zbv9ckw9L6Pa+MuBmbdKVPxPnrj+uMAyq5VizW
r2DYTBtilrqi3UrNd3HcLdgw5fE2x16nHKB3NzyPJpHnIqYu/ijjPs3mYSgOZbx9lcLxSAusz051
DK0Xmf9U5/DfQqQGuHyHBv0/6eQZEuWIqRsT5oxPrOQVA0Yf1oxc7gXpeBh248hO+LKvIFvVAAdL
A41R8Gu0fyYI9eHWKoemu5v3sPBVasAYl60UEc/ivFqfNV7M1gftQX2epC3orwWbCSIzibQRP6gF
KBuZv+n/i8cR44w02cq9wRQdoWuKnOLWSWsiMyATifIW8HG5+GYiGR6A5LOVY/JYsRcy0z2tldld
+uE8MDUWLsAEIaA1J1bnApe3elQojClsnnNoDghagOixRJdoggomb9sfEC7OJkPM5A0Q7ecaYJ+S
bgEkDamnGcvinAiEcgLEs/D1TV9kDRWr/PMNzzB2GEC6zuvxYqA/2NU+AHU0LzdfLmjOpN+pFPz7
9ANpWfaGVT6AAzp5SuzUl+OiXhmBR/CoQi+9rG6YxhgSP70W795d/muLy0s8thJnCoZHYSaqf+Xo
VpBgA5vqqCEKRLtzA6YionvnSRCFDWFqxBXR/OJyef3toBnIa+GAzDmn33tec5VLSktgpmJr824U
w335Rw1a3xgzdFC6spzezmkBUS/I1aaF9yTjOzwDZAVlNQcMPEpf5pOz2IaYJWIEjORqS9iOLdig
vO6K+DYb+p/WCH6Y4rzKLX0Zdlvz6RKAF9kpJrS8WVPAI6el1uKZ6COXBpI1T+UZDPLhDAqaS7EK
TBgcIRU0OgyxXEuKPY9xmE6zldwD0ULPqDwLnIFckna/fEvbPduhBSynLsK786En2/kbmywTbx04
QSjNd2o5OdsCIIJj/HK6O1e6sauoqWCRnI1+yzeSdn/J60ptOi9hSjiRHsg02ns+OuFCHDKtMJEo
+gNLFCsasqYm6MLBL9i8AImzAX3DYezaxccBlD8riXSYp4/LYOFPzEOkDQ735BqjH3osUsh7m3Ae
G4frB8KhCrsfwVWvBYOG32gXugxEAnBNFlseJqsjQdTz4JA6HwX7/fWt4sWIfiiGgQQSVNJjfEip
N3+VTQDAlHGDNzcMaHZ2r+8Ov9wsnQcnXTdH0ZuGPdGyzLJEaDZQZyzmhuYRuzdNynnc8N9yywfA
H+N/3VP+EMEXYQZRPgqdj/XK5UoaGua+Kj2CAaYbNu+LZg9geUv5LNzx+5Jp3LGb3ufxX+nWj/Qo
ZzZZV8G1amgir4O4o0BBn9A/vq7I8LsZsMnrbu5ZqaLvWtgoFenziWtBiISfGj803PJJ2Ae4sXof
aQrapfK9uMKJ6JFJA99DiNe4eK/o/RK3gmYEJZSa4w3YbHukSwS5zriOdQa7M3MZ4f90hqP+POak
P2NAxIqCbzy4Ge4oEZk658FCF8xObBINCGrRSjF5Bkm7dU2f3olBu5v/sO4aqWPYpyG9AtbFcIqG
0DcJ5sHSoFrNIbch+/Ld0g3YrU9HOZ5l7jvyg+DoGC6vbPTJOo1rL9TXsKZzW/6JuSTd7DvYF/PY
tmb+fqk+EnTFD0FfFR9wwZmIZOTEku/LA9SDzCARmRm78/+vSXrA/B7pFKG6IYZVZs2iHp/rsnJS
mG0gJcEHPU8ZpQb0DkotJmy9w48JXIndeHFaIJvh+l/MBl61T5cyHlcDbyMcHNNKd4K1WImHe3qE
f4iZaAazLpvnXrzgcBZ+Xz8LAW48A4xtjv3RwwWBPYyzpWHmsgInuuZlrKnX2XSrK/DGwTtQYY2a
Z3AkvJGvA0JvKtOlFLBo2BkQON9SlljA3ffB4YecREJrbdK/qTlYe9pQ/ZEB87HKDmEXW7n+5OfR
AZSIds/PyXoRId9X/ZhuBXWDgZ3lgiekO4WiiyQUjDi8K0t/4szkONvln0wruytESbb1xdNvzrUB
14dE4uvcAoRAzCiAPvAipDdKCvgXAwYBNvZ8frMegzVRtEZxAG4HKDmv7csxle98+FAzVgk+RQU6
6DmlsPSVT1NxytdGu85TRhYEzxO/2In9Mi2pcKgxurlp8jZC7mgd/BrDRsVqTrCVb36A8JSMg7p6
0truwCdEx+j/aAHEpwCoN/bBzhsNfiXRQJzvQopAeDdEe2EWp9rirlxnhWeGLONtEGOiHdg4duhI
Wm4nOEDw8mYnk9tjJkpIxS5I+dwkPT3ARjW/pPJjtIhGQFt/66YjojKEExH18pzzqJcf4Jm1K0bR
XNkLlwrNkUxFCQUwia/9POf3eR0i4Vy/3iOCZjvkW9ZkMPJI5mwbWjMybBCvCdsm9timA6+i1eTn
Go/FFgGfYB4MZmwMvb6MdZFZZXtOmARvJZNkocuQIrHZtiIrFcbp1ZwugPwuiXlNIUsns2ehWbQ+
csSMM8pwxuulXOPSkYyfadtqRGSsYMgbyAEY3+2E7P7citQpo9VbpCQhfX02Xg13LnP4+6KYIa4T
NMyMPH51C3XHU9uvWCEsPoAzFoYDvIghK+ew/NBD/Ey0c+xpRR8kc++X5omzaiy9Tn5nTcFbRBzq
kjsWKQemwqumrFLFy7oHgUjgPOjlcXHJ0yYCqb0skai5tbyRGXYf6DAeYPbUej0yN0uvau2gZWzs
4pKIbvjZ0PRcFQaD1wWsWflbJujguUveMoBmjEXUTfxVoJdyBX4X4VqILvjqE+VLAgNfbhYAeBGk
2zi38p//Ch3m3N1G57U4qb5aY0j26/G11G4I+Yz4LSy26QlG05h7TM3EWxdBku021fNg9Hc1BK7g
dcIVxAmN/2IFYgBWd7ImGOi9gtMqocRBPGEZJJpkhMwUD9FkWcB+R9xzH+hWA75jj71fhGbTCn52
ErU3hQy8YIWcFJknZe5i+DD3+RsbPVhPzrQaWYSMqb8QVwdYyMrzPWB20DovJtaQlW8htInXClw4
BMVv2AEszjJfAmqFLQH6T3denPgdiefxbyLZGPnd+zTRdVfIIurVYNDZUBhcTMEaUy/zQ1icM0mv
tl5XKXKDFY/egtw3Hn8AHgyKnjqzZeJSRvelr9g3pyumoBx42N4ZgkzoK62ZAhkd2ntMnbbW0LwA
mI4YZxITkQJtWAr8uUiTf5Xph3O3uNPV7iOgCHsx/lBYNL/8dD3+Vm8E0zN+Sf2eybZsy1QIWmpX
bzU4jg+lPecrWlSkO42PSBLnzyC4oESo2DjqcZMtZUYq21GGus4dTG2F+soZ5nWT5LKesXt1FaAk
3BnQJiPGUgsrnoPX7IVXsyLlfV5iMjgWPK0oaLFbNUQ8Bh6xJGuOFeacrQctdsFtn3JtEmstiUtw
Jr6u+4wQej5M4gnYbvDW775l01dZo6p7JlWd7BuJ7ZmOWq4vDWftYlnRprAKuSGJwWbH6IEhBdvw
4h3cNmABHoMQICb+2eQYeAwzFqgHZHf6roQNxj3Yfpi3lc7vijX+U2P0MGgOwSqfIynXubDeQY0b
jiZnB45mw5MyAjJX7I6YFrrBOo1Pw9tgguo/RZo3tBsF1tcxOmBbPeXP0xOf7REV0Ggnsdtrfkr/
berWsEAWFvgQhoT9syHxgUkJdZCjrfrOEZDQmeE2652uRqu/GRjiJu2K59LWy8NL5fOKgL8wROef
Grj7ZrpVpRPyyO8aMNEig2tkmbPxKPBLBPybKdtd6mgtQU9i5GcFd4Ybr0+IhEgMgm2HvenYojEf
SIpnakAYNIMXBhsWxD2qvYUDNo6ZzLLcRWTzqpRY2MZXF5OdnXBeRDcuGbFH48qj3bmrya9/BZQ2
JYUBA+5unwCR4+KkIYereaHyZELlyANils8Ja4HwHqSODq0n2/W/nHAaHJxvc/EtXqcVU6qo3mkG
5d9ygfrqCiuQUdTRXNIDNdaAdfx7oVpVaiVMvpG1+Qir4DvPIel4PLC2w88bx5M+4Txkewl/LPVe
p7Z0B9ZqjJNVFglhbhtfE2N5H81Ptcl2hMy4ibEOx7VylYPVqz8Qrs6zmRJijEKEXW04Mr4y4P18
LDhJBM4BouLwDTHOzQjC1XWc250OcWiXJPlelDi1GNxth5rZsfKoF+tIWMdIGSrzEBa3hIeifh3D
dGb8aw5sIwmk0iGVznRKprptQcguuDFAFoFPTQkuc8rxKlTFUshcnOzKwgueTGQEenDqp3iY61tx
pIdTLF089sJbFCCgWbHKQZjeEg9ti7+MJuWtTmGXaL/P6iCx3KtpEexqRL3EO6pBIBE/6+LXhNwd
rHvqLekA+CHur2QaJvpNOy2AZeG38lN8OuAvOAectjinBI0976ZxkfttgbqFxR+XVltuppE/Ga7P
dESghpLD5osL5peY+OAtYfAO6EiwNnBV7VNgHUQ9qWtVZ4eEmgn6K7ZB4U0kD+tvAPlN7y0tV5du
w0+dj+f2jl9rscauBEg3Pwu3Ce55Bf8RjZPVw+OgjWpRmVi8pzPJFtng9FHIPquHP3JUi5QBItnd
89nx5LkXMDXBiYKBfsKrEEdvCoPD/rdm9P5k2BZEa/C2xXPLxy6pW0W9JLEj5fcFIQ58ra8Bv5RC
8pPFTmeiziJieZuRcBR5ffWIcNSPY0kZwkPFyF/GMcsDyqIXgGO8yRKgJzyVolXVO7P7mLbUP9oa
ZXqnno3yW2RWNS5BuOKbHaR3EJ2ss16gNuJZVYZRAnPwmWXEot2WZ421ec5h3fsjYupCuD9zHvNu
Y+45mEIPT28nXgd2EzBaVY/jdcFPi3fgJKSWBNTNE1AhFIcBThIP+JKhZ/QQls97IaAJZTDsYCVn
qiXhP7uvnq521+7mZA9vzB1c1KEEeeAQktElWx25U42r9ewsWErARjWgqzN7KliM0nyQVVhu8fin
+L0QytsMqpheasJS2lZgFal94WYZ2z72sYjgww930sS5vS1QdbenNrEryB2kRmJsQ6JoDaUle/2R
eqBClfvOXwujUHTYvcV4oFxMs7W2Z6HuZdOea7hyppM0OHCRWuxII4TOAPi0nSEi4mN/Gz+7FEQ/
oX2a04cHsoWYHf3HvSm/r3E2nPQoOjzpbJoU3Dc13yDZTr5gSwTiPpHXEm0S35dB/hqr+XE18G1G
Lt9LfUgJIGHNpu6izhU5sYvqbSHbw1ozvHF8I7jGMA7CdBLja7RXqlUdf5n1T5FjVt3Xc3pT5fkj
2ZPL8M6expp+80+CrBaKT6FZ1/x07HIcEnkiemjKUcYM87of4zJGl2wZcbOlGC6BUy4z7RPUMBlO
lRe/9TlUbC87dOOJZQLJNvWbNOC/xBLvr/lSGmFf20Q91R27Kn6OyFHhsKTQuXc1I/qFS6vMYKOn
X6F9ZfAk4aHdVJ2T9z6Ti2QdqeTBAKRTsYlmczjVcKWsx+JkruUBKegn/xlrwhN7pynTrnB7jJSI
HwNoi7+u/KkXLGxWYbzPhnvzTRjaVv4sx7eO5Jv6Z7rR1zJgQt6w0pn//pnoCnKbIn2WTrBEOg08
AgGU1gOLy+C74PjK12pLEHlnVwQv3hiLYHchHmRgQCPiakAzrl6ZL9NezXvvIt8yh5zYEGSbTGYi
82NU9zHgvsXdsH4J4O2ZWuZ5ALnZb4yCaTrTlg8JLO1r5qH3yhbSPsYLoipRFqI0neVlPSpiWhOi
sr7wXMotyL1xYz3Jj3htxo+YEYcB8kVb1Egq9jLQYTy4AhAgafQDDIQShtvSXBtm62v5teJCM8Vr
9Vqzt3H1sxLfDPByDLl2uD3LefrTOW3qhTONGvMC94D8bRSbEdXYipOrlqg0Tnq1e3bripEyCjEN
9rzFwz9OVm2gJHii0UI2/fd66WSGiUv9u/19wcsAk1bggzoO+S7DaM55sDgwoA9/FQGrESci6vsW
gmA5+MNjip2yfuQGVhYWVDYG+eFhTg8xfqt3XMAmQEzdijlLXvNpSn3i1Sv5a0qB3T1XKK7Sepcy
5MeFKAIY1j8M3ERgsKrkvdNQJy9BA3CgJ+h/qIoqsuAOJGMid8CELM0W6INK3zA1+lKGOKTyY0YK
y7DKydE35tDZ0PT7CNZJ8HKNlWlV7C+102S89xIUGDfX7S2kdKnZThTd7O7q12cX75Qw9MT0q++Y
LWBHRbF+zKjVSgF62VLFGkPo0kQWQH3pzqN2MPuD3G7DznOkFERD7ixe/G8tg1S+pdEpGUZQCNXJ
1lTxCqYsZ5OlnPkDWEqWouEMYBmPpc1lovBQlOSDkyNHeB5tVr3r5JMJr4o/o2EQxs+Rkz+6tXSb
jMcau2O5xWTTkrDFU24uxs2oUYG1xOt8VxqWYXKkk+abP06kdeHgEQa1P7nMV+xc0sACfVCtatq5
H9+LBeZCJ/lKtW/czsQpDOKpnBsH2crhG3G1ZxC5PYwa2LXi7lRSsXajE2V/FX4ItZa5MM4RQquC
aq8O6JZjD0Qmb2H7m5vMbXdVcWuZFqrZUYk/czyqaLByNrjh4E0j/6ZJu+p/BykTC0dnv5Gt22ij
vSRKUEfsix4Tm32DKWBk4vUC3yi5+p6tSQkQCbmDgiEEH30/DhTpbwUjv/aCZaG0h5PY0NEuxYiq
u3wgWY2hQcYASBnga4esXoer8WnFDCL2C9GNy92CO0/EDr9Opa2BgkP2KDMa3lRqzk/zKrycwHxg
qDVQ3BKMR3VcoCnZ0yAmfODV8qd2gfCU7ByH7RPR35z6RR8HPDLtT2rp6h3sJCKtuTNwVuOswFIE
vBAis13/5Bsl3+qEkUK7CzKivFYauFYYm9ZT9H6CLaoBeCWGzSWW9isTCuAvZn/+7gIIZ7wpBX/Q
TkL7+yzfdJGnr3pLyxVqye51VPH9kTdZowimJCmRpJCkILoNFrpqA/63LIjB8bSOc+MY3Akfhn4a
3GhwaLLABxbGm7Cb43zRuXvKD9VI+5Xc8vFQ8PETNablLnjUPvSBFQnPXYQgJbjUWIBJ+sCn/sU6
WnJfewoO1p5iuKs4q2DG0Cat6GLUc1n8uUnkaKJHhntvS91HCRthHrCjJ3PGGXslUVx1wto0ruXw
mWD5lC+ZuML7CVxVJ7MBbZVkeGx2TXgEwhXeT24HnuRihMXZnPPgNHHnDsrDlLchjJlbG/9BW5G0
Xb9rLui/Morw+PneRF+pvG6Fvar+1l9KgjB84aVnXX2UvDRlZwG0tfpi/1pU7lDKllBeAg60ka3T
ExJoQKEzxnSCBadIh5qqxcdIGCKvGaXy52ip1cXguKi4xeq1GBx1YjID0j0+A1SuuKk1hlD4ZG0T
2tghG67xPp+OobZMhbc2Z1H/mzI1esLVVJ9uLa5M7hd6GZU0hpHORJzrLL5nOfhKn+/QZ5sssYbx
nbXGAEbCh5BdEihi4BTUSAJ25ImNqkCdV6nLsaL7OFSYyv9msWhknsvWBSyb6afcy3+fDvESWxyD
4c/rG1AkN0G2UR864uB1Ff6yKz8ibu5POS4OKT7GHEMDo+Qr6rnUZe+AebAfyRy0s5/nC2jsFTWg
mcB3fF4YfM5cwNPAmp4BbsvrqnJVJN1BB+FUeXV2ySGFxl9PX8fwFN8WcPoJqFnK87cLQ1Z9WvIP
os6ajFzI/b2tKpQujtEw02rO0E4CjxiiIGQXgqQ9POjjBh0ZppXX4pSGJ2XiEjOWgviPo/PabRzL
ougXEWAOrxJJicqSZVn2C+FQYs6ZX9+LDUxjpgtTVbZF3nvC3ms/FLhLQWGPTP1qL6+f9XxRfqP5
LHQb4nHj/tnrTrkANbwms2BoIzn3T6Lo8Vj35vvQfS8PJ6NS/4HUzwlIBPAUl7VcWj/b6F0Y3SLG
4VwD1/pgM472F2rWeCj/NI2ISvMIEF7PP0h0TaQt8DCTJZItr4NTcLP2BakYtBDBt/lVbWt7RFQq
XrObuWu9+QA+YWu4ya5dFQcEg0d/ax44Is+mPX4A/dpXWNMZfStb5p22KJ4UPkAc3J6ub+dy35Ar
TEsbAPu5ZfpWQe6aTb2LCYtdvnaVQOyEIKhVSgIkVqvhwQmk0wYvy+UDQ4l6+ouwM74NKjNONoMO
pavNZNGmyFzLbwlZsbemsc0lzubRsoqEn5Hcp4iAw37D04o11AcSFJB2+pwCu/vMnnSyk1s/TAud
D0F6K1yWumuunDI4WulyCcKHXjBz3PcsZIbrhAfwoGlHagdtXl06aO12K7nEdOYYVNjJLItaOi+b
Z58WzljEWCjBP1nqDE71MFoH0ZFkoFlc6Z/CP4AogYBs3u6OrbmKZadhxoBccHJVc4MCExzEnHn+
xRztMQZncdBqT2La/yQlI0biqa1Z/Gu/y1BnelWPeGC8eElRHLO2W1nb9Kg46hleLFhZBFF3bqZg
jQh+VbJSWdlEkw2rFwtW5NryTZKoMK8tDH4UPpDe1tm1beFk4yu0W8+8qhrYBN8h4fvH0HlwX2xg
bgWDwLBG+rGeGEj9mJ+8lQGtVuyOH5H/l5e7JPCY5VVfPlCCCw1TyR+FqhKalbYPOSZw6SbKJ8QB
nZkzKPkVcRD/z8MftvpVsHQ8GfdsTwQeJD1QCfwH7toXJKST9QYIC2m7Zeub4ac2ISk4eInyNyZD
+Czz4NIK59r81dwAeVPrVPpecUPAey4pK6L21iFmbH9AM3UBc1Hb773ga96PPwiY+BFjXrD+af2f
ajOwg7K65rY6l+U2qG/YvZqC6cba0nco2OhTo3ffvcgeilVEyVXzhI8141lmeNluGRu/K0cePzrP
eGKES8EM6jtyVOciVrcs/unEN8rREmUqYvdFm73nPuOs3NPFNlkHTPAiMas61Fur3EzdEYxBbrrx
z3j1VuMeZt2AP1AhCwjE4UnC0dc3e+C/+D5jsvUg9AOg8G3phyqcSThjDoZv835u9/CpCAJoWJBS
iUOT2iE330iIup3sNN8t+tIniyUqQ2NPrg3JGGdjP4DuQzKErZ+7mLL/oWTvCJuK+RPQGRCu41gf
cRQDfUOGWEu/YkQjSCcPlEaEiSGdyBC8CyjiSq5UpxbwBLu9F2fvvkDpaWIMy84DP5/g/4zkUXsR
7yFp7xpwkB7JGDN3SgVUqDugAoHlVLv0V5W2CRItYxFqWRFfn4pmxEfDvsOKp/Ft8BOXQx4Bj3mI
YlvJObkqH90/ljy8h8uPZIcYJicSEJNzwvnmP9s3HuEZn0GXbXl+uNkDKkE8bTyhMINQmvBjL9WD
ijoapsBwYwrJHz7WNNvsRGn2ugMbhBtfPH8mYpRQfMtuMt0uX6OIjDp2SSTpasZZeLjnQ1uhJYU8
arhxc8zqfz6GNfDy4nmuiAt2QqZu2kBhYtfGOcv2U/UaGFcI0wfXxUhC9kyUD2PFhFV1SZLPKrlx
AfRIHfmIcJqgWmJB7VkLlUXf18TkIDy45p22Mn41lTETAFVhcMbqXnwrxMtq/EwAYD+j/jvm1Gzm
fEXUBccurZCFwtH/tt6AZEyIozqTq1aytgFNiAJhqXhRXSSKti6n0+BQdGbMg1yyKkQDu/qtbupT
C8rdZHas4wKotmVr+81I70WfJjlFNKwMYZkru4vh0seeFX0myb01F/Y3/VyBkARfptJThfSbGYhr
5AwDJk1aGuaNBwl9nU2SwJP85+CNOLMQGxuzZhKNoKOt4gmrOcOq8hkixIqtF4ZZ4a5dDLQywQ7t
gBp85vABOQ8IzuAXef972t+jofHaMq1krQ++pj9H4aVg0qk84+Fgml99+6XhEYUGEf0bFESG1wKm
JFbA+NhDUu33nX6eTQf/W9tihXzhY4zFPeYo5i+4YjHOAjOolG0JOpCQ7/zdVM5x9MDkCn6wloh0
2jAkru8+xyV6A1w3RFYq35a64U0P2X8rb+VbAuwT2f6prs+9/p12bzN5ETEaVHplRtZWux3vAeRI
4k+viroOya3BZ2KC6Iu+ZOMg9pC6vBpbKpA6zgrm53yZcsBE5BITug4nlc9Ky+264jEPXL08mXDp
ufBFkEefIfh2wBjZegqPbGPZichLeJDNKO7Roh4VDhZT9wHUBoNyDLO7qLwZrFbNC2P08Z4AxsxR
wpY1EElKStMCyboaWiIl0Uyi3/NBEYuOLz/HEiHVAUh9qyCU4tdBL5d0l+0qVTxNZqaC494DKlkz
jOlPOnzTfK18QTCqDlFENPa+a7YKz3cXObJ1xgn6hO80S3f6jxFthsToqf9NsK93fz4VR/KPUWMG
u4NIP0n1ANlqzYeVgryh0yO1ccSti7sytFxdwVnXe0l5GNGXlOVytlab0bo2QbX1NaISv6boraXv
H5J/CEgNVoOne57e5cVLBBMefiVLMFW9ygzoUw1/t0WRL5zj+Hso2etwCJftNp1AWTey11BflOWn
kZRrjgpAZQxeBjxeHZooy/jNUxFoMbNmQX/1hs7HuiDivuZup5BGI4RUJMZwEOBioQ8N4L9RSy2L
nn4gkcfk0X8s9/XIEQZf1F+RuoBgs7I+tOhHlbcpoYuL5k5wbexa0oZhGoag/I5str7Al+DsoM1k
A+sov1a4KYNTxnggY33Ho74SwDse0VkibDJotmOPNCCqSkdpHFZYTcfwba1i0w3waTspY0kqPVc7
wATGgUESnLgJ4O4OEPezf0rhBODHG8AarDEBLgMR1c4Zq2GdTf7giKQsgrnrnIn1WrZO2mW9y6iv
OzxK7QWhJ2ZRgiQoTd6D4GouexymB3RbBMFwqhSAmKqjziC8Z5irmXCO0C42TpaATEJwj8APNOK4
jxh2Ti8qmWPnmMhE/OKS4KkZqsVPR6pNthCPepd8HzbMjwkRfOvgkkAq3hQndVxUEBSM++EFcFMs
/kbeAvOHn1bLeFCgcTK5EnvUjzrDZyOgnFpiGVRGqIAuppHwbUbhNRk9VJ8F3QnaUAhQuUsKS0Q8
REZDrkrpusq5BsBX0TMOFKNAxb9SZVPV9zh/U1GOY1TQHMaWs7GvjVPx1iHcxKVBMKiab/naRYmU
JMptFgDgURiO/i+GZQ0+rBg3jfGClZF5+OXtoso7LjkuCu8IYOeFq0LIwakT1wMy3fQNf1SQ72O8
3ngwhks/4IVaS+Kpv8f+byNuaVhjBVInt4xqntrJLcd9HHWrKd2Rs6Sny9ojYH4qkO9jTdiw9MFp
sj/Nd1Fgi/uK/IVp+NUkqgXcuiToal/CcPdPCIYG4yvK7hYnqUwhDz7s/zHVPK5HAgkIPtIupKfj
lfazbRtjGN5E6VGebAOlmxO8Ui9ALlzW2/rgjiTGrw1c8uCLx8xC5fJhDQ8fdsOHHJwpPjifGd2w
NKKVyDpbRo9CFzGMpFp89/lVSm4TeRDnRDxPxb4npgXHCDZ2GH5ng6oNlXTmDoydjkSQjZuUv4lE
A8MpK3Lj1iCMgUWjwyC8VGPbtOG3QMwdG1vsf7KOfdCpVQ59dae177mwk4+qO0RQ7eRrxzROhVGK
mrUvuRL940w9IM1Q0DFESU8/As7avIXdW4pUYduC7eCRbTzjGfN50YlODAEY4PF+DsUfrbEoJ1cd
3lOHgBLyXlGBp1ZJEAuWOZCk7VJELkKJko0Pb2S5wR1wQ3ioyhiMYjCyDH/VLH2ETPd1S9tViHR5
VCwvSM5ig8skAv2G825mzyRLaFycPljaejqmwVFRJZTjp7pvk7/xmDpI2ZCbStazZXcgE8rpVGR5
6SR5D/xehAWxcPDbTWRQ8/GOhtUpYnFhocTAbMaMfiP/z5QViKhdrEzUHjaSTMl6TeNNDc8pd0v+
HSNL2kcgMuSOIJZrHMuLAFe4IPoibp0oV7x5JhifD4lvraeoUdMjJAii18X4jtHe4pcEqLP9Ee94
/a9hnHWsmWZbySWo4N4CMPAL3qR610JtM2VbEr8yFpHmew70w6mnrYHHp/ICpBr+N9TQCkXSMeXd
b9gwLPCjwrgxjhWKUyxtiIMkvh5yR8TGo0SiJ7xmeSlLCHuDBcNyIejeOuRgps1ImLAP4O/De4qs
j8KHy3MDPoqOUbBbkDrWg+i2mvgOzCdV9UYRo0w74sbCFcmrZMsEj9HYahZsjR19hWELqFuoGThW
vwy3paBFbMe5Pu1ZKyeiQ/gjOuPOOlnWUaBW4sPM6VEv5ndVfSMwYZsuEFnJEGZ2MGwxluyOuT18
cUjkzOFUDtjG/eIZ0Lgnb0Z2JOGpdGftXP2bifFht1GRPEXIwVke7/p8DRryu2e3YF0+qiGbHQRW
1cmsXYNmR0NIvBS6JgMrP5SJNgMvpC54GR5H8YVmAFojsInZ4UmcAD+hGr9Jlsdb2yQ7na+L9knX
0DVHwGJ8fuWB1sYXNzHfT3GssFnEdhu6rDkH/yEyWM2rbYZdX/qaxVN9UVxd+io5BlUsrhOvrUuJ
JcSf0ngZgsWy9M6SOUWxUwL/QozBtx3+GaZHOSakX8i8imTnKy7DS6Y+cgc7KncY4SkNJj+GTU60
E1hoSO+sFm8hIrpVbxxzV9Ef7JNJ0OXOVxCwZ//4bQpTJOz94WcrfOoSUU0Ao76HwZuxOIOEzj+z
+smsWEBUbgyPGX2IpECNiV41+hSDT2oRoohs2Kue3Gs3gdIrT/e0Nte5+R7TowHMS8BDzItC1/jB
sPTUMaG5BnlIgLicSf0Y8fNHl4BSHuOotA61fc98AWqWODumxryvm+wxg+f7ZNAbB5eYBO1U+2MD
b8yvNP4shIdiMPFRjoVMGyajJP9sDW7a0F4+ehMjPm5bab74MtmkjNOSP5bP7JuS4Kla3KpHFTs6
TxwSlwY9+TtBOtnHZLJ01EUv1bYB86GRBERB2BPfpfystHZfKmiwD2bz0Lsfnig1QSOHfA7qOhNF
GQ/2LRL3LJGa8GKRChfUnqayFoaDSuD24m1q7gqif6ZPiHuQWyT6b8JGlyA3/HPsILrgd5guTcsi
VRPX3aeANJhsBiSBem9XGCzw2NRQeL6U5N6R5YNkE8cw1UulokU9M8HG3KNjkeXCj28xnAj6H2SQ
ATxjsXFj31PTncaKuVhW2sQlEkr0TaMuikfykGdrh7EUGFq6RKly70NWesKvrqK/Udv2ZIV1a+hj
wEcImlzysonWRIRPLOFRLrFQkrtF/iv8zJxNLJoDXAWIpkb+14zckMKJ0ivnqwuF76Fq9p0jviyA
lqPCm8qDIui9Aw+ampMDLqREW9Q2H3V/5U1nNosrUgfhWiJSqACEoQbpHBIVqpWd7JXK4bPeZz0l
iPwxjrcAa2GHEnNNFFsN0YG1UnZTwB2W4o+InaY2r2Fp91p2K8FGim0Dcx8L2FBuzmF+7EDUpv5n
DuWT1UP5Zqlbn27twyJKYS22T/KUJJwdVxjW5JSSGm7/qjYZJ3Dj0cB7FLDtDw8FxhcRJ8maWVLD
u8UYiHfOIiENiDkfgIFFxD/k3ceopg6dv8oQQqb770TcfVsBKIpGoe/zbla87EPPkJowArvDxq9Q
2wekqcyU9DU8BFkHdtpfDWwe2uQu/5njI4VmStHBf5mM4Nrkq8zI66Y9CvprRiSG/4EYyWnBu1mL
coJON/yfpMypW225wZgaLobjq2DhhztWUeAKJSFJvuohoswJODbWwUdZGRxKADoRTXfFycxWV73i
TuHlLaHqMiUQcIdbf+KXrmwAX5roJenGBenPQHWOiZNFAhU0xQZZm/OUr1PD/5hg6FkoEw3EbTjQ
DTP9jFVm669Qc1pN50aZlAMlfE2kowj0SJAfMv86oroamDvmMW7auDsOc+CJwqVhCJKU+//Pv02p
sOfkTRx6fpjGsyhPC7V1CQ5j8m+KxwZWRETyCGHZeGkojDRmWbuOeGXTI6NYZ2Kib7jbkCZ8RR1o
v+YRXvA+yjgdJ7R0rSMhZUz985R+kGCOGY6neWKFhHGSNGrNQzxVR99V+iawz+Xvzk4smQLGHCwG
7Lpb/2T5nrMeoDIE6uaXmi4q/qLahTYa/i2PSNo6irH1lU8GUo3PmpEsnpGv0pMQdqJvQMVEQB7G
irtf7jvho7zX8wf3mvXWPhscL5i7/98bJMX+uAy0ecD/cEc2bIFEW7QeHnPPAKY089jo1tdX+UUC
e1pfuedZi6TjR+mJOw3LXWljuXiEy/Q9uxBdM5se+JJIucZ/nCUHcrZVyFvpXtmqOz8/mUgs4eLu
tOAiEPMBNt609ce9Pyc00w3AC38+K/4PdCkYwsa+1P+R/c1MyvS6Yl9/puVuiV5npilu2aJMTLpA
xDMPiNDvYBLa8w+69tMSr3sVjybpLow4x/1Yb4PZUwhZIBzs6W/ozlN0nET9RW4a4ITN2EpSuLoo
7A90f+RAIMcP1Lsg2wLexZXUneLcY+WEP59Occ1IvLgGm3KLBDECXeSWXNQmTEP9g96pPLPYk2u+
SjB2FyOElu2NXC8fBtQg1pDJotia0r+mepUQxgrcH2/YOfWaeZ3T1x4aLjXdpsUnnxjyScnf9JWD
hpgeFDaQvbS5V2Xrb1xcmTwJYkYqEmWfh3sIcRF8zthj60fDXgbc7zYOLBYVjFajxXW7wp7MBp8x
+tLdKqI94tDgrE7OqkPfqr5IbJ+fGnzDbSXfJc468czhG1AwHJIrIU/teeCVAMiesPpxs5tRnCEN
D+/Vxigd1s5leDJQavzm3QbTuZafsUvmI/Y0YuzP4XvxIVr2El6us6oGLRoe0avBJki2pfyqD1Ql
9N38NHVkR6Ud7UKGn6g41gxQThXgW+C5weIKL8BZ2QRfNXbCFgoQde2pV/Wr/BXrfY+tCZvUCClm
M90SenVuc1ZfmjvDU72w1+B20g68MTmp0RvN3yzDEI+nWyIZiLEjQzU6DwQZ8DlQSfn5pa7u3F4M
n/lMGNkEm+CGPHojfhsuHVNabgtioTzOMuzIzRJvlG7aAy+/Ac6iJpuagRs9YuzmGNmoguqnbOCh
rRjSPvkTMzZz5hZXr8LHiWCpcvJmY0GNqddMzu4M95k02UTDKrvyEHrNxJvMftXa1ksacL8ssOu/
6RR+0kyKKPoZeEHVIg5G785mtM6OeENTfK4kqe9z+hEykJJxdbSecr4pkwOdn4Lvru0wR/ZYc5K3
WHmk0aEG2jAiojC3qM+wqly1u+aJ8nsznofdftqFPH/hhmkWOLnlTpcJ23QmeMLfOP+TYyvaQQ8O
2bk3osO+SbA2BHcUJCVteTiVAL/lrike8rH5oW2HRkax9en/U1bjL4MTXI7MGA0oekjbmQG48trf
BBCpI9bwADre9DZaS/UWZodgfusEOFPRVd7AvCxzIHDN53E6AUMMzgCd+WERKoQKJGWvx9GObLGl
ymdiQt7tUkI0j6bYYH8hPJURTPIPwQRbzr/kX3VMfVe4TcW7IDnaPpm8Irj3fymFvsM3CPW5NG/t
naJDcMbmOLxLok0U163fpaufditJCGzQH7GVBrUMtJ0tGCljLPrKJ+4nA1I+P/TP+Qf1/x50DIA/
goFfyONGVy0BcDjzOblhqOd61xmfrzX/UtPUMhH5QhehaEwc9km25eYSngiGh8VyrgD2wffj1CCp
yGZg+MYl07u+BbQc1e1R3pjZ5im4wGT1r8rJvpnnzgEhpw67Fn8HcpppWvjWM7GZzoMEZZyWgEdn
iVhcrgbmjOo2Kl3OYBYb2POb+o+JG9eapuJ3P1ukuqt8pQvW1g4vhL2yMuXdiK33eP6oD9n3iAzD
8Cb9TkQAz05+Y+6LMnTY5Wx0R6yXqJcOxcgsbGPIhxL1EIc6iCvMX0yp0GT09qBcl5X5fOEjqBvu
F4NPuN4q5nsE01vf+v6HVdzH0f0jZov46JXlqfkOyAbdq9hcilu5RHg1RxRilXDrRaYw9Gr4uQgq
KU7ZSf1f6sCFzN+yTNtsEwjf1ptOMY0ETxAjmXtSXVhvKNviH5o6zB7gxT8HBgMlW1KoPVdqakAT
NkTMRNkgo4sTd2HKaK41wF5bIy1jy/hCuf62GLXKbXWDR8PpbNwYj5tf8y9BlYxbsXLNG/8VANdx
xNkDTd5nN1jiOulzO3pBTsAEA/MMVe1k7UOXsdG3/q1Ybv2HYrrk1bnmfN0IE1snEJdIOVpftHMN
bELOZeFAHtJ4RlacmP+jLXjUxm19RgxQ/SPEWPpfuEpUI98kdoz8jDRB/5xlEjh0hwEDCF1bg08D
6H5D1IXVfwtEOYHFskvrk1CvB5pe1TwselGausgp1q4F2QRXkBSeosluqAdZuueUOJehfI0EXFWf
rQKusdjoxMcAeDB2BL8QIyMe+P6YphJvUwGcXWnGitsQiX//Zljr8qcY15l1oPA3DIVTaSeadozq
p1hG5Qywh0Wh/maJFyP5kggPCDc9e/fWoxXP6BT5hFPiEmR932MP8Wi3rMEODfyCf93o8PNJ+SoL
ZJQuwzVpOTBdAna/AgdmvbINXZASENG7r/YQ4V5/aOEBXE6zxdWXABwfbXEBvOgvXwe50Hh0bhnQ
E2duPeSVpCXiPtmjoWeqzS4kFM70cyOx4Q3px98FvgOmfRYIuIw1OeeJUt9F5Vp6wJyVe+6fqbwt
hE7FXqrJEyvOJbdPz7L7d4545pl7hKztsSg0dGChhCBpQGRh2DoCK1O+xxaPbc37C7eDOWSgi/w0
EPUDolvqiE3cbaKZe4WjYXLkAdv+AFUgJXKMv2YxfXXo2ltmmERUKuG3PtgG2369XNdPHtCKYFQe
vLA6+tYbeT5z+clxMGu31vjRcCfynaWYoWBdz2jgrQ31qQOz0li1XMUMWn4NUj69SJk2w/I01J9M
P5ieT+UemTkTjS7x6kUlhXuGtIYDcCDmz3zVXKplBy2DOXKzqxqXOee3pfyZ0l2ezhB72PeyKlvz
g85ui4ZDYOqRvfTyoVlHLT6Es4vFiJskBBpFTam5vDoCisiR4KVwqRRoLagqRHozeoHGYS8qT18j
lnnrOE2MnuP3bMnK1P+Qt/Y9NEMAHxA9HxxqLFtAJGB1pziC+f5SNyIHdZb/o3xbTsyuW8v8qHdf
TMiVa9a4+vheN088FOMznE803xSspFGXj2j2+gYFx1HdSOz0h+QNXVhT/cwJE9X2aCpftGl1eZzN
4wgQ2Fq1zKyk0ITkqIM8Yu9DwcuKJ1aJhbO+k/JXUH8LfS8WDzX/m1tpJSZvYnOIy/skfsbxoZT+
KfpP8wI+M2KM7L4lXzjIZfuuw8hDtCpiDggpyOXsBUekQPqOXma2ECo/CsDYDYBi1PV8crzB9bAf
ccFUfEY8WRLP3hhsOoZ3rNtH9R+HmsIr+hzHfavfUoZ5MJ8G/9RQsf/mXC8Jfo/SazvGI8ivtF8z
/ye8DVhr+DIyyqjnxABTYpadxEhB1d/Z30WZzZZKbw8F6eMBco8AFUvy7bMiQE3X56AmKlbodIJt
gSwhfZuYtcUedRtfes6Ai3uozxhFAUgDSh/eBp5z5bflM5gYfLbddmlEbRPHClUK6xsjhqufbIvg
yh/D9jFjz+CPX1H84ef7nlgOmdhRqjANMPLKgA0xXQuKW+nMpLCmEZyDn1E8zczG2+W504yflq8w
oU2lt6yyV678UUVwzkv5Z1xd26F0TBRlsvFGc25TJ61CdLmlBGStxiScv+AlmYa4/kJfthhRhhuY
CEpH5cDAGw8RcDHFo+eIAWMb5y5EVdeA6aNfQvKO8f7YbMLzLyVBw4Q7OVakGCWvnqknsgW23iCf
Kf/QNJBZGZAVJ9Ub+FTBv0iHJWi32O1zNHWACJWjBRznogB2mLIP9vPNr8Xq0e9uxexIbbOJ4t4O
sMnwrIQi+bKTvlRy2YT2ZqIuBLP6Pk18yQZM357UuC2KTYyEGeFrJIUS2rCN9lgO6bjI9mUQZB6j
coOvLFw2pie9u4nsZnUOeQQZk7WerV/+7oa8xohivWB3FKDvZsCVAWxGnj/62am1jtTBtSN01Rr1
pXIsG2JYymMGhC3EQXxtwnWEkjzETj2KDDXzc8zSjYgOj/HaEH34sxdLl/jCRz0DkwkaxTVxnMaQ
EiRiAgP/cgxoYMBJjjI4EmjgkopN5l1DktAxbdKBFQ6sWdBP6cioQZihKmQohwxceA6yJ/hou9sd
u8puPkONymXdgd0zfZECALyDykgq7kYNKh2a254SXJEOFoPMnC2bXzwMP9iWbCQtFYNAftFbRpjf
QHgEV8SbjXQw+zdhpWxiD/PUgUgB7VdgxSRF73JzkAkB7TCU9naKJ6PnYnDmg+EypRNhQnOdcS70
60iqCSPeiDt/Pvb1tnczFqRMKyy2Xz7fjc+DDQaorSgCKatJf6OBfGZoU8GORiiewvmiYcup2Oee
OgHWTeCotNE0jop1loY37bdl6FXVDwYRM+0Z3EBSatgmGJCPIH+KZ75ffdpI6prOWGIkZQWTs2TZ
cT23B4FBpAmo6ZHPp7wE5/ue0y/M7vhMZg8UPAUif5ZU2WLIlOdbtU4S4puRaVWMg1KlpWYfZeSF
2z0eEeYE8nBIyNPDBq3xgprf0P3M4a2m1eKxXc2E3MA8Yb7eIUYL13xrAwlUHaEPlnkuXk2DBNM6
Nk5dXksGRhWCsbbiZcSpLWvY0Ac2ODV5gQBiaN6I2lCK9M8QqSRkRJmY2ZK1rt9TpgWxzAtrEmvj
FdLS+FFepiY/8EeU/fTlNqdgymDeiQd/+BkQeNClPYHHFSckGaCjij1IKSuCphStx66ylWdSvvri
U5bvqGCj8V1WUXVSJmO9BLBFR9KQF2htwuCnFBjF8Zn1BuoFzi28CBqnf09/pGrPtvgcEZAo9VUU
3pj6KMEJmGTjMqUaWEhLvzXQHW1vip9RcQIjw/gY9uYlV3+hlyng/KMPzZYpLj6UBqAmuj0gfT4D
RFQW1sDpIkONzDZB8hYBgx602uvRjTWxf67QKo0yBaRKLEt3H8XhwVhSh2xbfoUwmKsHXh41vbDr
oDpMoGVrP5Tgs/ivhvoOFwYhDTmnyPjXDVqBS3y0IgjBZPH9jqSOyTzZLd9jDTvKJ/NNm6q9FnyL
1psCjLXjapRRMCWUxnn4PRgQH3gHuEU7DcslDLB8YsFA4HHxSFAImEjlU+YS46Dgl6PV59sa+fcm
C9yevy1N3b68SwGqZexEBGaFkJbn1rIXJhfJPuDKECyI2jMzMDAAQWqXDNvp5LPjzkOfEL013Yac
qOx772WwsGwA34jlzuKM4yDPedFHZR3pmK0GPCSJM2DhqOG7sG4WuCuY1bLN430yZOkACxJyJ+O7
mrwVFLc1BXxZNEhmVo1iOAVFBwyyEXtPz+2FGBozOgEnaDFokAYK0BK1Oey4kYl2fRAoH2x4q1Sg
AjV6guO7Q1NOTD3/xgMynxhc8WhgVFg0eIxIRu1GjUyTbOlnX6JYs/oa8S0OBT9mBPuUxo8MB9ZA
TQcBE5Sfysla5u8DMGP9WjL7mLijZf0wyzKhewZuW23ttyQdvKlrAqcAkZMT1dQ/uV+gIl7NDG+m
7F9NDXiUm1MKv4bNPH6ECvKTweLe1VaNtGnaH7XUmIa+BJzpSnRrKFxG9QUcj7VXfBExBlDTVOmu
8VHhYeVJ32TwDDeSkvgM2DUqlaeQqc0yNecphsSWYUUQr9DVBGs3YB5BF57QNbJSdfAGtJxGpnwt
Ae/L0cxH5gwlJLyQS5/TgonG99IkMtCNKEaMTcfdwjNZInfd9haOf/kXhXPt73pSZAA3sAgfHt3G
epaWvx0iTzdBWDKS5h8OG4nCwmX9X31M27JaTT/x6MHAXuSASyrbSgf6khHuC37vrHWOwB/d6wcg
0zUb4PYzw1OqxDQ95AlFIgQGmBVQFJ3AtJCX2Npf+8kpaBjMn7riUlvfy3nJlYhygt41ffLyYQm2
9tipgR6poK2B4gr+H1KkGtTQ0HDPFXfQrnPzBIUvStF6Nh55iGIvPhnjhky4IcYOvBq6d4mRaU2d
NYW4he40FzqHtTVdxuppFHjLdkYMSc3aFSy9RmC9IYopflAofBLpPubnsf+gwjNkRoua4Bp+e4xk
ayt1eL+PcvwBAY8RCB7nuTy2sBKyJkGe8zT5mEcZfrP0IhUZAdAh9I8dr0/LZdqDJldofdkyoPx/
UxCQ/t9JsddCNmbqi6uHHoIppz5HLgJbNZsZ0TCFlza1sZVjax1xLAi0QOJmyjCyPbXy2LOlD1nA
CdIjE3DKcCcabIQYYjcSPSb413KdsPJjr+csMWkVD3Sf4OtgV0DZXnU0ZzTJ87j3w5rUEuhduD+r
pb4IdhrF3dL+Se2ut/0J2+CpIdU0AtTTKPeSVQTR6fTmKQrc8V2n82GikhiX4oowNlPijUYzXHvp
pZJB12wwp5fseU0TD+Qmg2yY6n+hfw6UK6eBadDpctQ1L+ONTAPQPq2DCsYGBLpP3OonpePF/MnY
OYIAoCPlVdCTRrcyunUMYBj/6dUrgDJZPjKutOpv7DaF8KHSKbBGEUF6xjUuImqVwK7pSizqlc1M
hwg8kq0UXhC+Lvll8kL7oqeFGP8Y9wV8T1i8OXURVC6iXQ7qTwphwvNUIqYJYW23kegl+T4lthFY
ecy5wqW0irkFJfjfuO0YUsZgcghPYE6Oz+/AmdgfODu+wzv7FFY4u1E4iwjRYRRD7XSZ03TJbwS4
lPhWzu8nqXVN/ajMtdq9L624kqzNdBfoLt/c+N56d4gBLZE/YEbabS4uIvIVrAgISZ4Gb0VjNvuW
0HXv4kONFcPBRHxnEMIUi0ZNF5CvckFVoJSBTxIUy5KRIHEmYRBiQvVQL6iT3+zVOchq1zPhbNJF
arY8p6wNqexRF5Dv8icHd4NRochQHEisHesea0Fa4bUgXATmI1K6jZn4vHv6N4ptNju+2NGEQIAb
3zV+I936cvvNXwNOv4QmckLrQZ+vB0ccTHrBFAhTWLPt0u6sZwxiENwShgCGCbs8cSMVeu6NuAe9
JZANvcJlzLKFB2K++7YeXsTPEcEoO5TZNQg3CdddSRzuvmZ8JMIoF6aV1ZQrH9GuyQwOiRRLukzf
s2FJudlJdjiYOH5NYiacBqsGn5N0sp5ouykh03tKAgSPSt5wvv2FhM5M/glmREsOeutVbIm2wxdZ
A+3aclUHaif1HMnzbC/LzB2zL9q0aCux7o+PU/PQmmObuSmZ8FSr2GJzj90F/19Af/gTO+DZDA+Q
nXF/jC/mVgNL5XjEg+bKiwqHY4/SiTNFR2HOc20zjHMkO72oJFKvjQXgvQ6njzE9VCd/gx49+2Z7
QjQNtHBWx6heTsqjlbaotFKe3g80C6Pq6FdUUfMfsHx/fIxs+s7Cr0J2PG8QLJOaKIUTSk5E9xqD
gtTTqk/e9WFc42rN90m3HtwqZWJpHIslzhrkSLUBOhBPB1aC/An/cXRey6lj7RZ9IqqUJW5RJoMx
Bm5UGG+EJATKgafvsbrq1J9O924bpLW+MOeYaC55lOuPKwb7lGY1zt9sXMXzxr3pfnHVozV/u6CE
lAsV5m9W/2tS0qHt0TpNtDuC4vSalOvqjKgbdx/2CcLADDTtrDlOHZkZP2yI/Ve2b7Jl/f56/nGB
vvef8Ols8p0cOW/QyUBiBFBFsZ8HNEhMaErdI7WSSkihfJu9orDdAe6otEBBBaMdqvwil5tO+on5
u3JIL7pL3V1xhlPjYoL2TeuXOcMkxSS1kOQdeUYfrI8vGiBudvo0Wv5eObB9ARbBqLCBpyE1F0k9
AbtRmKGBcuZxX6r4uoTzIvtTi3BEdvKCeIZGULx5lSp02NAWAPAmuwpSCZhsutjOha0Q8k8rbxzQ
rCRZKZXyCgXFg1rX/I2pT+6TTdvue97LBs/B6SVCcVrb+oQsE4QWkZgVwpbHt0BSb5GcRBLlPIxb
kJrsE+kIHpNVhE0Nowjwv/d5esrYvCI7D1eVhCj9b3IDNoMyJ16Vbs284w6gi8tbwtvpqLduFJM+
MPVP+1T+lI8NB1xRdXbP2R5XR9ZYBs2q4QO8MriiG5d98i2Nvo/4O+hHE6b6pBJwY1RHdEOMCBBu
PT1unjgwT9GumSKZRhDBLZxitB4Dpb88Cl4hYPuw364qGSFS+NJxtky/2cMaCsLpUwezn2MGZ2er
cdar/ybDgkOIFprmmPnNqw5T40adV0CFMaMNuujWrXgOM2pghSsUOAy6uvSB7m/JZEuGfiCcqzjK
6ca5wTI5HFHQMysCOex26Ed80NEUkFzBU+LLrRC5WyytHtTeXkLfFkwOeComwdgBqL8UIefXNPgs
cCyN/xKXjc57JbMHettMEvVrshtRWTe2NCVc1pGUi5EJJlAOm+kyZYi/gCCbbpUhzAbkaW0AkEnu
1srAAwaqgxfdLj+XKl50S8TSCAmcmJrRWUS7C46W/lhzIkb+Rvb6ueWSaEObMQ0Mr93AWHwgoGN5
EtDJZwh+lHk1DTPSP7g53WxRfjfmDlFNNHDurRBRBO9kbZx5mSLP9HEFDjIW45Tw68XoVEz5RlJb
HCKLnkSesreDSCK08KPM/mvB6XEH2jKit5OJZsAra86xn/OyMyWg0M3aW6Udp4v8O2fKOsdptFW0
Mw4/ZqTzWsb06LDrFWGw6v0RL2T06Z9Q6tnW4j35Y3pMY0QPwB/tPt4uc68zRpXx3msHAHWVtJTq
W/5+BmXTewPqXQqDl7ztWFEm0mWwfrtJuxyVsylQD5sq+87lUJNUVP30/F/pKT2X1ThjJQ2UDPWk
xwZYkXeTaEV18ZYF9WyIWCDu3y0d5LjL3j9WuYTgTozQtWrn7/GbERtyDN/y2+eXOpnnzzlbL+Vs
jCR+6PtY2ujRivkJniJWcVg0UgUakG+q1WygGZ5grJviHoDWUXjF9GCdwTNO47OKddJ8hR3BlM/j
+O99YUydP36a4d/D9GvloiUBhPmI7Oz0uUmGc8H3WHpJv8Sl5T+wSUzZfU1cnXj5yRVHsu6N61p3
6NfuAy7efqO+iZafBjmNtrUfzL9mixj0Qdxb2GgyWATUQ49FgmsssbHlottEhUpl0mGAg/7L2doy
ls89/DJa/gU/7knNXhySQGwrOf9T6w/9TrsuECm2Mol31P/rF9AbmBn69mHOzedBy7aSua2+yoY5
JLY+RFrc1tDgsiAmfHecOqZ1a1FxJZj8OFZFVdjzvfDxR5QaOjcpO7OAvwBbWgMNYnA37Ad1YXpb
8FOOhaeXrKjVy8dODmet9mGgSjcDrgjpM8yHX+VGsfETZyySXulejO3bgBfUNxwwu/GWkY50Iv8A
tONnrWH86lEII54YdYdmP7GjOwgP5mLt00eQGf8zxGKr5bu27COoqGemoY85pIyFT7W6oxh9hYs6
3hnj5WPsK0Y3g4L7di4dAYkFr0Aqdz0mZ5LFiB94fhUgH7Z4Z1APwgZE0K/N8/UrY2lN6mxh/0Iv
wob0HQPK7A5qjV3Kyx5uwxKa1iXdI6+Rpqjb0M4gOagwgCGoeKMLfXoFwMmDfEsf33DU0bTREvxP
AFi/3ujRAnA6i6zwqt+OmFpjXjUL8GCZxsiqI+rdjnYk1BCUNdlnEpsEprCOtnswdGe+qDQDWQng
P7NdMSHygRpBJVjU/hZriR/dfpDNJbtMhRBBM+FwkO1vIGbENz22yQ/qvtsF1GMOcpSwTf79wS+T
/YnXjTney31OVhN9r/CK65N5kS6Z//GBP75SACQzKAdwYhPndaRGjrzY/eAWhsvxuMbZMj2i+mMZ
cY6wvX2DadJzVLEwQv24cZTQ+Guw89KZ/RvYA/LX+Rk7Kc1L9Lk6bq36SkuPwSz/IVLp83d/e+uK
b1/YtNW74li/qNyRrQfzet5prsawRxIkWfkY1UsKDVpPJ/IgexQAmiE6QX5AvYKOUEABwjig0M01
2OSLfNd9HF2af+iU0/3AbpTez9OGNfXK22VB62ePudEd8lVKUutom+atR22h2Wx3p+VBrg6Tm/IJ
esZZE3MTi2EdYhVzVq0gJr4U37hpo/dgn0YvPf1X2QiG/1VsIhFOkRQBXopMV5tMMm0G6k7gEHIE
gJqt8T5CSqHDLI6GC/cksx++cqFojgh96y/yQjnrrh/PEeAjrPKmTzdF2urxqEuqHw324bmpTw9l
9eZGW1rEC69gm+QhyUIgmdwXm26hX0JqaVDjdBsQcMCgnTAmTQMEABytKSUgiIQINijKFFbXQj/I
5YWBg6Et4PB49zqYJwS1MteXmHLRW8SoAEHQMaUhTCMWeAC3XPdvl8azacXNnr6W0feTw9EUPrRD
/14jrq65sxZmCbWEMQdpSUfEXZcWYwBzTq8ajlhVkI+xNV1+ZJ+BmOpWAd0MWno+Vjoo3vv3sQLH
38Vh1y3ITHrsVOLbd8ALnvOpahucouieUvrejEgAl2nXkDi/6I/s6Q9Rv4zhv1V/kvuYZUhZ6iAr
sp6oNu2VgR/G1QiuFQaFt29hMzdPPUxdacty60WhMyuwS85SB1ddzkwIeQOB71dxpbKlkeeStIqD
yvQfkT+t/xezGQujuIHfJHUt9msVP71DJAkL2o6xIxtjZgoUm29IAdgSiy3xLy8WhHBYo46KDZHA
y0WAKDr2teE3dZBbuI/QeQnGg8U9NOs8uLerR7HEh7JzVpvmK3kuosJDo6mme2yWNEkVsZLYE/9X
q/XXPAuhxsH6gNF6fBH38axdw/8cjH7FoqI4jhyGyXBld2lgMEI5InX7RA4jEHDqnbkcTZrcoG5C
hYdmwlUXIq6COdwB7TZyKGRokwaG8J2ekg6uOnMZTAXfFhIPBMLNhOcCGaxcHlXU3XD2fN8joSqu
b9qcinzCcpqhTDx+dzX0aDsfdbu/aANrWBfQidAUsqge1Lsh1tZWWEWbop0bnMUUjnJyLfgunsae
sf70NCWUxtTDsfRw7NdZEB0hqyHg0pCwzFmeceUDGsytN2ct9h6+V/pF3hZOgtTjcC1STOZYANV5
NGdUFU6lPYTZqmPPttC+I+KNf6daCOJU95JglIOiPreG94C1dR3rb/aS2LrfWI0oyRjYbnh8Uies
Cy9xqVizt8+rbzEohoi0Zmafc62U+KPR4aOLYRPnt/Ru1VyLVZfPv1535WZQ3frSGj8PgpRr5tCW
IRAApTbTyY3PsEp49V5HJ0J7TRtU53McXaJQr1kfIiSyAiBZVKs2nDLBHW5xAsqFF6ursjDtHiEF
gnXDwGzlYYJ6Gcw4sdP9AruzpQdyTWCeGDNsJt8Asrq/Ht4lDAe986mEKBVyhhzpCXZD+a//t/p4
ar5hF42Ujj1qWvn9+F2iEhxIAfBYWIYi8blN/ybGZpIJlolK4xBN4Fat+pQhHyZ45BLw8bb1+jds
neLKUhEsHknRaXlrWqjxZ4uvWBjfZDhdxYMN4AJ8B46Z6EtpEhwxHXpcl02AWEYIgQu1hPL+S790
fT4AHbCN+5SnlPQBCv9FQgPfucAjNbE8EJFi6NdpVQ79ouCPPTATNO5PIomgaMHNZyzGVIElv8sW
F+2uBlIGGOB73vofNhCQ3LmNfYpHiX/nLsrt2mSn4VjGlslAvsPjjAQyDREVMNYnG0In2Ri1H3h0
yHMCnoF5hzwL4zjgU9kOITIp4awHNe205bc1CYefkRCFlhl8vdXPElrZtxd/mZwEkTlXlpr2Jyzg
nx8Cq4j76tBbUrB9698UCaZtHVD4P+uf6h3E2ox17IgTEB8hvdu89B7zu3lOqkXGlF4z1z01Jz8z
HOUG9t+hevhEyZjNqe/AMM/5klMeQ3AaY1AlgDqIslozheJ8QcPGePaEnps1CB5fwnbhlSzIYdXb
VSl9I/fJmaAr5BDN2Nr9ZcO+SZYq+VB4C1kQV4sImAqZKrA4wW6hdoQ7tEvuCmzNGuX8E5zFgn3q
ozxTwPFMM+yS1b3WXUeOPNa5cxrQYrrKZ/iBStGxdRa+UtpiC2OUaQh7QKGwumG3cmeXC7WPl15x
2YaCDtHO1AMWfkmQjYiBFMTJYPrxGnw2CJs6Mjc9kDjAKX+GbXGKc/yDTl8eEVWZg8fudzs5Z870
KD1AbzJZvpNMYLkaJoXVhLD4BI4NW7TOuE3bExp5hh3Wc13Of6f/C2bAjCJGnOynbSgN7tD/GGzS
qP5YrCLRnMMAbuENGcenx0Ge/wLCNv49K5d5yIx4DUZ/vK2gxvKr8Y0xEtot3AkWe52XKIue6ecM
pA08VUbVMiMgldX481ITEvu0iR4jmo4QZk4u695TCdAC48tMrjSd7OtzWrUd9IyZTmYcbQlhYotp
GH2PDNX5/4LVvqKFReIEZuDppyTxobFoEWbyY5BzA0exFPNUBgQtccLSPrpw5TGHQdm8pHAlKPQj
VKCUrwAfXeukeG1IyTOfnokP4guLrjk2ezamRwb73nR1hhBBJ94vTGcSMLrI+LNZ3eITgyFIwAvw
JPysZLWBw2vwkrgqkBaFeay4W4FJtMwBQGK7/GRwI5pbXfGrMq6R7mJkzFSWx8pEAOGhUkANgS2S
Jol1K+NUflL+JAwFDw0/kI8dl8lh5bx7B0kATp2Em43dsOkxLz9iMWLDJX4yAlOZHLE2wTiB7z26
d4cm7JYsVv4hsaNiQd45Hvuj6lXcEaVd/X2WbDvGu4rCHaURe6EbhBq4/eCaxFwIZRvS2Qf2mpo9
LzrKJ7CJictvMpTkg3uA518oGKDasR7sHNSmCmwYxcYZj3xsqRLl8/Bw8aS2tpLWLIPZdD5p1XsH
ywE/Z1SIz4hZP0/AZMOxteFKY8LKVQWrYwJcg1ZMdhEObvDCtWiOthTLhP1YxJPa9Y5AHHe8sl2g
bqEmQ5HTOyothPgtyBjSDGIT3Rc5Q1QG2BrnBPIccpxXNgM9yqKjUDzjhfc48AIrpB+BNRf3Nisc
QRHZ4F9r+SsigSb8UGZUHjafkodub+2QUCl8P3SRgGjZpCzbi/4j/+KzF8LM4idWZjilZMJQ+ach
jT03P3hZd7XvwX4kjrBxU+TolLctgg82X3ZMiNyZUTLjGT5wPpDqCzsBycLssRH9wGowZmig+KRL
hvZMg3ld7nEwwn6Wg36FTfBWbZttf2n52WwFYz0FDa4OHG6kbXFh4lAF4kfKVYNPbsFbg7se2aBB
PYyGL/+i/WVYUGwYfrNJYwg5GeFCETk548ye2MgocobbkGk1AlS4DaS1If753NFYkMnHRuHObuPw
xO3VoHKAqm43W2IDGGbwaHiQWmySF71yBkkDmALL3ORufdeLfAO130NodTTm4j3gpVFBmog3YJox
x0Pe6PT/3jvVQwPi9Zx4rfhOa5c3kCh3irsT1fuD7+P+OAsnw6GmoxGLGft1RqA9smUSTTBfOtIy
HAweZw/RdG8+DSYKe4VvBw0rXahOXTprvijlOaH+UdDx9VblQZH93pyBJa3/2N+CJRChqHtrZeAL
5EZBZ1V7wnTCYwhiADrWi7YO1jdAnICaGFOt7nLlNo3LtJn8xBeHinvhkWUdzlFAz86PmCLkRkg1
s0D78cOJu4H9K6cBwVmwERGJwhMFI0GlqDBu5VNFohvdWS9tyzsHAz7iYovPMDoi1WTGRFqAiv2W
mFlOdrC1WGYJChz5QWlPaUwOWIup43G0tLC6ZtoRFwsz83yn/iKN0yEviagSFgk2KALU95PEQ1gi
RkGa+OTMyp6gbk1Do3JrVqSE440zFsfMKFSwY6wDK4eQ3T61rTXZXxruatAEOCIyYMVu+wrLqfeC
0lC4GKt5seF90dLGZBBR08QufSKqaTbQbHGYmopjA+PAvwQtZuLVSI/fbBb4VFyhG0KSgfYBxQ0J
rQlwO1Q7nbNikxi+g+lWYpsV7lqCrE2HlGV/8mXtPt4pP5LrxrX+ZqzMgw9gvASoxFnI2YNIPb8o
m3yZ5VBYHQtdMYwxsVq0iZDihedzxqXJxTll6M2xS/fJZYxA+kq13Wzxbog5P43unYX+eJSdDd8b
uEqGb+MfchudscaeqAY2O3yosWEz9uK1k6AdQKvGPK3b7IVuyTjjxkmY6cJD7REXMPjjSOJdpvaO
eMI8ZZ8TkDVLv8miT5PZX/+Hj50kVosC+190pe+kvIh2/DttN3cLFym2UVYY05t5QqPiticVQQTe
T+ZTRI9iZMPAzQuKZJ2fagJCgIW0eEo+hduncPghSoqbkLeddCgUDdPWfciOJbkMTvmjORPbq/7T
/JrrJgjBOESkMyGvoSgmsJUQ5MGe/rKILM5sUz4MUmA5ierGNoNUxKY8kDiKpwtcnm2SMMWsdMY1
n31piCvP9YK98Rc8T6db1SynAmqOH2UlzWt3Ggxng6OYjSv1zAvxPCZIMFNcs7b6p29GN/dTXA6g
psh6uOB/lI7RcfrD8FT7py5BXcN9DNqjOVuxrOARSdhNz55/2kW/TT3ePOmb0KQQGTquP2OV/f/Y
8G28GA6L6QFyPw4e+j4QREBzdogDScuYZcd4Lc1Z19ThitZY+v/mAxIXH2tEBzZHOUcZn+cEUQsT
FvQnaYBUi/9DdyESBCMUK36luXjJRIxgDO0Qx0ztIoSeEo4HsHMMOAuST8DdjDLCIDu3X6By6YhS
xy9bI8HntRBX7clEFMgSmTLBUcGlsrAmJAywG2QfMI/ZoYiu8nPixlO0m8OfxbrL/4BUsSlpMIPi
gaMShp2Jt5yP6HF4LbkAfWfRnMfReb8dZCxvtE8HY/XmKIfTK1OrwI2waZ7Rxsb/qtpmmA3TA1dk
q5PMZxdcFrqTciiQTR6OR4xgy3hubMnBXKJfCmRQiJ9FsyCyactWPi45YPBzTWg0Z+Va+o54NLir
Vuba78+Pq9Cgzka8tWuFR+maXIRkBf7ekWRMXBqy7lm3SDBb9R9OeuEHI5sKy5Yt/ePEq2T+nbNX
OwIfYsiPJxI8GvyEOdbnTFl06+bfg4bkHjV2jj1uLp30nV4v3t8kC7lCi7Rp13Sa3+mt37N8rVLa
cbvYxAvlCJVBou6i+mKVeG/VRbUZ1yRLLcALwAbEP8Ui6w1vEksHRwJRHxaRgLT2G5lohyL0MHCK
5jg9mV655wXieeMzYMzPrId/fWxXnNPMXx452kQ7vlJwQ6bomCXem9u4Uy6VJ4H/nQ8n2qdTfCRh
gWwItEnmIf6R+9mOVnH8ZS1M9FbC1vxY/by3jAzLwkn/cTpDQWViHI/sgiWCFLl9Wb0BGLi9OjeP
bKYSSxyrX0nw+KNKwU7MKU7pgMSPyR6pX9G3/KVjaJLQZDa+9B2v+W5Qwjw4sXGCMOpjaAq4lp+d
M42LkjKYNdTjzAiQj9ZonTpzQGzwmCPtmOk/nKHwAjfNhmWd1/wAjZi6kpfudWzpM6txktV0/SHO
phehpgVvPvE+Pw9mshSstcAG72eoSSdH8rCQhiVMgEi9ZY/M8hOcRUzrgMIXgf3LRd8ixhvYe1HL
crsc6p8crYa4ZtCKfQmq2Iqg7j9OxvKqerLTbJuDIrZrDLWocpHHR9/UcHxcXPcU3KV/iPeDUx75
O4bTuK9COSj9cs6jytAfItW22HYH5jiUDCBWRbkC1IPrCs215RRMnZABdEjvHXb+sifKLjqH8HnQ
0TiTTYB7B70IsBvhW1N5/6A8rELeC+1MIQF0Wd6jH1hHQXuj/EwpuCASzpp9s8tvw7pEuMFgDLIl
sovZMGfaNs5aFCoGlvHZHNXXiPwazhWuAW49ljSIUKhUv76v6b5kyEXBczc5icDrorkLDXiqZTJb
ZuEUEjQnyBMqlbzWIS/5WDII/0Vf8/ve4Uv7xzGQ8tTCsllX4eBkwPiQ7w3MdI/GcbxHK3mJ65C7
zJizT5+XK3YpOJHeSDEvAkaL4ioD9JB2eAUh4ox0zYwIyIAAEMA1xr3N3BgtM+V1OXJF80m1J5YW
CiyqxAWjiEmRO3Jsl4Mgn3jVZMWgBbhIvgfuWO6GJWmkPl+hjADJQcGBfkNkQyCQMq5gU6Dv4BEn
6W9C/oaTxDsV05L1y39mzFOtpAYvB01fpVP+Zy1md79pRBPr0DtW2l+VgsbHjA+9Keuu/PAlhBBe
BQRozBljzIZ81cVBgxLGaA9TEop2A9sFhR2fiOytmsingl1y/+0EK3U3AfPHQDPby9KySJYd9jR8
J0QbEGH0P02Mqoaqh6tncUoZEJx7iLDpbJRcjpIU3Q1Ts8FR3nc0ktWBE+ZDcqvi5i/yeyGd3/jh
1XDq7NJ/j4foUY1Lb5tIeC+vsFVZcotpNRJytnOMc5tqhZaRPpek5EvB18OFCLb0QySJCywYOT7E
YYMqXXmta0gl9Y8eqn9sgcnwlhRf5reatEETXdopgKeKoHYHSQgKW54PbU6ubvxjjt7rr1yzYn7c
YJwPMytM3McXgF2nuln11ow8QHYOxQRRmsZzVRCgRBCqHgsYBbYM+CTIVmdtilEPzU9NBPl18mBu
np1g4Ro9+PAw5i+UtwPWVCoa50mtUnRsUwPEm7al7ySeH7U5Gx0qRYOnX91Y7kfWZ4HBLRI129Iy
7ZwEWZRt/dGUF69h1/BZ6dX2HbyvDCqqDLoN020Nm44nyXgpF/VPwdabauOjLmjFJ1/whSfLp29E
Nvl50B/ww1mOIAWIc31s7213r6TT8PLojpJfqx+ByniZjKp+Q0J7/6l8HYHQotVX4P5Sd3K2X9/F
Y55eDBKdmmD6cofolJh+t0rncr/Te8zfbHeq5O8xHB4Mmncxy0UDe/FwZ6gXe5Nh/u6ZI1quQJBV
uD1/qtEv2HiDdHgxuyFukJR6VoKvIDcZpox7k/LhY/IIAMpmNTGV/4Zids8ID3kcnnCNiKS3I8zy
GdDV2YLaEM4VDzqxQ56m7z7y17vZWtqKPKrPGW2JzgKWqI+YHFDI2iwu+QL5uB9+yZdZ4iqQkMdv
ZLFeYcu/ItJOG0MlnVulR2rlYzlsSw7L0OEvXD9Cpv6i2ftQSP7+yV/oNKck7yzjHxBssEqUCz+S
ysmCZwktTGTHDL4Q2WAoI1VQ9yHJv0l+0BwttA50Y501I46GYwj231v19IX2T0fkWvtCZ9I6ic5Z
Yj+/6PVZQ3DZQGGIEdtH85Spz12faTgOkZrKKKF8xONxQTiCWJVx8+JiBndogBwjH4sFAKPeHStq
LssSO2RA9DWBrQ1Jsh/Y4raIazTgHje4bBG5OCw9J0vzUAdlIAX9YSRjIuJX+a0uWlBhRJtp+wGp
2O+4p5OJL+yUfz5MOdlt78ZVz801/eqgkc/yI4OGivk2WPUDbxCDGOUYCRZoCU0WfycsnI8jN86I
Ahoz6WWF5IkvUvNow7COcCjqaO3goP7SLn5Ao9MT9mIERh/NCfVaUg9TMCfAwVLEoB663AbpYoIX
JVDUUCbQAOPPJCigByL9Eqh9YhXslC5bsxEU86vw9PFM5G+nKx0ZiSlD4s57lmgu3Fz31c41oe/A
7sV/wRfvDCzJmv1A6sGhM7aahYAlSF+bz8RDcKQbNyYTOd9b68G3plOlcCwOE5T8dzXsSWuF0j+L
15YwL4n++SHBjXHkxOMUSBRPLf3YckFnADvgqHs/XQbCyEmAAnY0rIWLooLClh+EjuP/8vmBym66
wOEcYHbZT244N5BbFY0NvuKhk469VMzts98O5gpVRp7Mh8b+LTwOe1ZKg4F/Vex0M517HJ+7i0qG
vc57CGg6R2YyENm5Etx26k4XOGbL54JSvRznpjFXuN961E42YWtPfgpQQ4Q6tWzROoenmgs7U7En
+iApm5SXidgPpzB8xjYKo404BPnS8TQxqkOVTPBu5uA2ETmLZGK/A3BaFCohfzapLJ9xaRDkrG+y
ftXT3BHSMPVolGOyPvqVYmxZb/E/8N8U0ZMNv0kfvse5zOJtXAIjndIrSzQ37A/b78KahXyMg81d
wCyl4Ie14ZMBvwCtIb6JjvHk/AMKRQtIwEtRNHHJ/6JB/UL+wsRUIdP245hvrLceP+YTIjO/uuKB
QnhpQdsHnx9qyyjknmHiTrdME8HAnGqfgTIQAH5j8QHQ3ds68sqSXDvoYIBBxXCFH6a8UEuJFb/d
4WWiG0I3KTlEfAE5bKf288ashW6JrxALH0hCfiHjH782fZTBfpYqCYE1V5bGynL2ZPzHhfzFkAtq
I3MaJg6cYgc6D/p9Y+CRnrHd4O+YSwk+/oSSdbgrBmNPJmyu2Kcimn4EhuxRYmX/qLQJRToT8chj
+eFtnKW3V0lECzMiLMAhVSlaHKuAsBoMP/HTJcHvs8MGsfIbth+vE4/mpFlEDAzFu/FM3JjaDyAa
+D4mvTjBJrRhLK94iuTfT4Jrzy6pniPHQx2BlpP3680rxmlTgshzydxhNxkhhUvEaI/+h3IcH91b
25HjSV+LWBSoS+S/ePRWwGjWHhB10jNV0oo8ABq0S2IVWQcw34BpIVyEltt4/Dx6gREd26Rol6T6
N3rgWyE+M5+4Xp2EDgQV41KAa89+MSnSe2A+5XcS0KxZxchsOObW16oNnpdU8dJV9sUV9NFRBG1i
mR3yFyNb7DNYUujJyBS/tyZFHENU9PEcSj8Et8u9qxAP4Ezf/idbDzEd/d/Qhc9+95IxcwQN6SBQ
dp9+HrlJhI3JixlEF3zKNM5em87N5UK+VsWVhewzPabY5bDKRjNWZ3ZeIUWB52dXfWiB+mRBrQYG
L3nLn+nEP9lv1YWmtq6HJSm1Cp5Hk1WBTbNIqu2vwdY6iU8v5wns0J7gRuFNCnG/MOGLQijr6Q1o
c/ndEh9J/vuSIQTjrS+2+kudrSi2MW21eJUHSfaRK5GUCBENJQDoh+dnGWoTF0cDX7GQTqLOoHiN
GAsB1vxfkhirHpUKPX65Vxn7Hcv/mRSALjBXCOcmEa9sHFHiRaAD7axbdlxZl247PfFPGS34RgI6
/IKl/XC1F3IZFyOIWD6QiYJDTlohX4no9S3DK2TRPA8kA/KwH+CdR31okqqKJpRal0qL4V7uKUz+
H+GQotUMswvXd1OJ86head8ZlEMJE6WNZSnGk3OlR3uQahh7KidzPOfIKQsPLX22mSCybewCOXex
ZE7BS/zoEXyASRfBhcjlgSC2kstKLoXfxpIO9A+1WTk34yXb/iQO4zhE1PX84rceFb8mO27YweqD
0PRPydx69OkxbWZC4re2TCdhTTjBzSiXK+psCkixQjpaLr5exmSf1CXk+/2jKMFbCWCUURoZrwWd
uq4i9HaTxXtwDd2JUEtv+AHR21UqDHEPBfrU8hoabtMlD/fVwV3xQjT3jAupDl/eb7anVUN7QV2D
9Zs+P2O/q7lmFSQNBHcSjz3ufkRbTM0RvtKmHl+3IXZH27roODzwBoykQmMmZEwy3fTqGb3qyPSQ
4YoefKgknZXQLeK6DKxx82mCYqueWBwbrGp4TO7FDaL8Y2NWhwFgQcMsmQNATDe5YXPLlfHWfKH7
jdknFg5nfZ4tpryiLNx/6Vy4DjmyMDEc8Z8L3SKqarL8Pj5CPwY1/ls5VNNf8DNp7Uet015aEYsY
8Kehp1WeC8Zcn9RLMnTav8uPoBAyvCCP2HQKc0+EJcyd0VxMPx6PDVGUSbUvnvsuviTlVc9PUn8o
uKS2G1ykuXwa0xvaX+iffN0PlVxJpKHlnDMViQgq5EZejzKSh/OUocRrWCqgwend8OKvZdQ8uIPX
xQNUzhrUFTZYr9vkLMcf1l4QqCmudoO+5D/igAD8PxjXyXAfoc53w72ENq206GEWssmI2NMBnOqH
JMf7wU8hQG9NdahhUeB0lb4qo/UKRKoGYFgko6a2aeN/nXpV+sPzdXq0C/NFpDSbFr6YZKd3pxRv
SDeXyuWQOKjPVK+IF2p3aq3Fx+Q6ZWbQoYjrXv1Mlm6JsiHcWZtuuVAQslndL5rRtroTxRBPtzGP
Wmqt4nQuyYFVblE09k+ijzbwdUdw8myXpAmK0DXSJaldomXpk5PV78lxi+QQSaSBOB2oTGjIK6ZT
kGwlDoEtVlHEdPPn1OcY55GlLDf8I8D4QnN6PMYIBoi72uMnmvSeyS3PpiwLhFP6hmxZjnaVtULY
xLX8FMQ6yiQ9YHiWe8Xzyn3Pq0Vgwis/1RB2XZhs4NkzHzVJMVeJufQfrx3pcu/Rj7D0bfGnfJaT
Yt5MDxVs4K9W8RBJUDygnRlep5GCZsGpWO7bty915/473vNhaM2FjaDEQAiXAHXDMOdtlczj01x8
AhaNn8Uz9RAlveEKZG7JXDpoFPBgftyviAtWkiPtOMEghg26kVKW/+1DxGmzkce9jAfZxyea9V8W
PNFY+xpTvyy/MRl/UUGVnVj2Ug5R+mXdapJsSIJ813+ksFPCUr68gRZ8PI/zSWLHOi5U3mzm57To
Kpi7S9y5KIPMh/fWHMYjFHBUxbjX3y0SbbamMyhaPkQ5PnhhsX8sdWPD8wbWlNFs2QUV0pZmmxZu
3QVphKoDc5hbMOjruEdPYE2dhJClZh1Xp0jbv+QVJpnR3MdwGj0LjVJGNAZx71+t/JWm4YNnKMNv
Rm5obSfAg55ObNzyds5qq6GWBtO7Q4umP+eZ4hTx6XmcXEl6QLo+IrWdliqbZd7NqaNE6NKw40Tu
OybbE4UuGQ7b6ejIlsdEK8FFlD8piZ1+zzQqMUUVLwpFti7mKM805RLFwA5sQv7emPuUxch+iYzz
pv3R/k+ub7MFzzD3D7MceYWZLje+umHJBUvSafDGn5Kskueae4k0HHowtoMSPONFNnVXDxA6sY/p
iq8HKGX39KyR0SN3FmOzACt6V63SP0nwvKRii6KRIR1yGXZpNGy4xEV0ZFBRdXGGct/vsbhw1nE8
m+acKTvaTIpZXvfEfgFDG3Cn7Xs+GTu5ZCAOmfjCcUkJZ/yfACTK5X25WzGviwPMUrgo0Z/RzhRb
dE8dRB+nICqBjBt2t68iGETTi/DaV1PvITbhLMwDbiXdArziaSLHp+wDCnLuSWoL1t7jaqTAZ2Oj
baLXPrnQDyGzg/DT/2PWhZqlpvyZce/oOIRwJFf2I/MmggG2VDl4Z+jmqq9sLUFJzufl4HJu/VL2
Mp4fnJbVJFI52QoxJXBOU1QgY7gN1jwafUvjv4h5MVTR1wZSN7/Kmb8A/W6e85BjC8dUM0+qNaMy
ShkdWgmQSrbIbCUHx5zMh/fpTavJhscf02OlBMzaxPlSbTn/KA+QXyODpIJmLizlRybpnBAmlzVf
gAbsTLojb+0aVLxAD2YbTncP+zuDJkybfM4frGAVyi3MGIb3mZAH95wGUbaGp7flUmdS0SVXDE0k
WDLEi9GxJkFVzsfV5CZpGjvzFahjfHkAhNiIr4epoB8btu6xi6zBJ4KTfTkU9NLLFcoX4MnTcCxY
wgQNBDnYY4GeX2BbIHMDvkJ7gPgjI9YbEGgKk6UJ0dttiNwhu5cPvdyxmS61HRpPpbyPjcdXjWY+
QZ7kx6bY+fPRMSMnA07hiZSCCQ852qsXt6PPtgdw8ouptqEgPyLTzzF/M1I07HRjXSOgcSJQraau
JAl7BuytLtdmETzNOWF4NCpQguluYAryy2kCEYGHjY9QUeaYrXQ9eGze1ZpSF02B3Ple+fFlR7nK
H4Kxxe/GVjlZEAM0hPlrfljh75xG3/yxNDxg06guaI9YDqDL4bYiZoiGrA4+OjMLn8aFSnNShPmH
IVxI7DlnovkfSee12zi2RNEvIsAokq8Sg7KsbPmFcGTOmV8/iz3ABe5MT3dLlg7rVO3agYpOPiWw
1RJZFbw6IGf0s2C6cHiZ/ehKqjd1AXJP+B9BeytBxiMW0GMWcBoP3iXun/Pd3KwAMKSQpIz5YkMS
mBMWy0bllSnLaB/e2Zet+CrHxI6HtUoGi609hysTfgmwkK8akso064ZnKsnNyW4kjJZoWlvqHezH
kEul5o5KMJVbJmqWw5ByKQPFSpWdSw6EAP/CHpWdiVqPLQMbc5uPUF7MDFvYwSap3z5DajL8wXfm
Mefq2AzgPVApUd2GMCbsXAF23KkvHh+u5BFlEzwavDHUPd8YAj2xPalEDTBfECOukiBvi/669teG
brNKD9foolTSUarFRxKvuEEh2ryF8dwroPljSYXPliy/yuSpi28Ba3UBo6mth56UO505GqAk2KSK
o7YWRU8tHINdZkzWiwNQAeGi5IGhQ+gdpm0iV5nPZ/4NbN5pW2tHahAxL2hmK3DZxNaMbW7uMXrv
kaY0kAl6lIztvMPupgdfUE2r5qHwVNhiVSRuqoyq0/STtM8YVLqFb6neGXBkZIZM3Vw/zTtkf/99
AoyPuWU7dqwDGt6ie6/RV3sADwidVOlD4MjXrIEEhBMlsDePocyQpPrvCKfIafHaeregXYyA/mL6
VmUz5nuD5j/gF8Tis9E/0Pdk5jnM92hj/PLi04L8pOFvTPCQNCcdRIByKgLQu1gdxW6Pa0UI5evI
qA8Pmr+VQ7xlgvBc4w/J31v7kKASNfvF38gXgpjawO4XQgvqWfY37MaX+FankBWJnuqscCcjoUNg
wLpLcNBd4uxGBAeo9hz+Z7ExQQDCMBONptOBuUtgPli+EnQ60V0VxF0P5yS6VI1dmfck2XeLeTVC
4VBJmZXfRtx/0+NMaoeKhcl94eC/k7ia8dkCXondecKERN2Q/VKZtz76TrRqRfkfzBu3vbAgjlJZ
Y5tb3ivvFQ9nfaEvafcBSOpyH8cwkeiFtx3TXwln4h5iMBEwpgY7X94QSEY5jNsLd4e8JfmCBijY
BeNOIj2HxR/0rsjczIe0t2L9nZCconpV4tNLt7V8wD0TwfVCORMCxq1jfhvRJktAFDaMxrAaypQ3
eSrlW4qddwsSeBD5lpkEjQcXel64AI44XurxrWuPGUaZPcxLer57/BFZ+YErVzAtIcMoCsu/ZzNT
PH4DWuV5LazQqW0Mea3HjnwYaXCy9dj/FumxKu+9sOuVu5aeIA5l46byabEp7ckh606m/KFNW6W1
AmTc+Jyk1yrZqEQCxhssUbPJrn8KHIyJpmZVtVT6u76dEPAfWwo8gTTQv/R1q2GpzZXzlAxL+TNh
1qKOQHigrPJN9ZBomihS+LH3lqk5/DfChQMOknmXEfLjAnLkVXXD8qYrBpJmhQVO5cbFukm/vcot
MfCYXHN05RKvbmvouRjXlpJaQXkxmjcJqHDXALnSyss7CMv+qcAlWra92bds2Rg2GzTwcjbvkuzU
Onm+uP1sohnlgw+/ansnTw+A3AK8bHxYHTP6XnjYC7t6t5GVdQT1HnQttk281mkQkBra8Peqj5LY
thwDW3tRWDrDvDv584IFpiweVKemTt1QW5c/mgFyeTDhDXs1qsKbnv+u+BQzRATgCCMlzwP1zFhI
xk4Cq0CA+gvRHO/LbVA8Ssny+ugY9msBd2V06EwMWH73TtNa5osZLYNOwpMJq6gj0dcMsb6U2u4o
EGLxrbds9eGV5wIBLeVRdaqFExZMf+hpPG7myHe0dr9At4GmWygfcXLyKRgwWbJZWq8cIyCxvazu
OkgHKaFiJW6hDgb9cfM3qd81oB4eWj81IN4iwqyLjUCGXipqYT+BxEjtizVmDcbd7XL5OxvPUfzI
uQDrh8S5CgHncx+bPZYyFSQW1EMxhhNJv8nwB+qucY1jko3ETIvXogyF4DDxLRvVNhSJUW8Xa01g
BrWlYpeBE2DI86GXTsvyZDFi1yasvRrHK3tsrr5J4spxCr8Xw3ecHuoOw063wEsYqbKsHlJhJ1ZX
RdxN7YZdGax3ViKBO8Rfk/krGZ+lsBddL4Kc6rTNoUWmC5EMNI6In4nT2tEhn2f91JB8yClEopnG
lbKhBbMmWYURskCreZarr3z6ILMPIcPikLSHYo5cVt/EbNuSytzIzzQgzPgxEHzd/AXEcrEmY7sm
6GT+sDb5GLxLNGyD7NJj7ikjbDmHrKoQwAyu+UON4CgC71516mB/GHF7Zuo5FbHFL8jse20l3yfx
MVEZXLZ+tlG89SQ6+qxGGNujHu3E+OajWVbXGez3Ysvf56vrUcRhAq7EduDORENBMBnqBHB8Yc1j
FFZuEVBw3MDEamoVYibR2yMcJLrhVfFBStMEKOJ12z6llUP/VZsKA0KymggIzGFtdfRR4y2r32T4
QUp07uABVcl5+JqT0jyf3aJ6kqZ9LuL8v4CsGPyWzPtA2B02bttJ+5WBPmqoGc1WrmGLv7ri1TOm
5SK0nRC3IfZxEQudCD8WQb2NwU6u8NaDjurv6I+nZyqj6Qw+VekooFMx1mbyRE7P7+4gl+FeKvGP
I9fWmJ1oV3Ws5MTyZtaXZmPqf6M3k3u+ONGrReronGg8O1qiaxtXQKqvSe/i2t9IDYPkPObWtwp/
enpi5Wb6tyK+Glzdbb+nbIS+FYjrySfwhKxukAcBolR0Kr1X4l/HZ5Jue7R8wvQ+1vxcoDgAfpte
O3XDOYgxxms/R9UxJuAxO/M32JHgSwZErfhkzO5YYcbDWxf8huQHughoDa6qe6quC+1Yy5+VclQg
AoXHgdjkiHtizcMYYQeIhqDILjnLGfgsuXEeu9/dAn5rfZ2k3ahugvDHS94FdtlrM+a2dhdsBPQP
nz+XBy+xfGbsxwjYAYFxKqzH+3WOFnr6LtJtNWOzPeYZbwlhgqWrAR6o82Of40QvrgaoNRAlAbrx
5VmLKhCqhfuSjwl4thcUCyd10ok6yalVF295sf1VTPKQlme/Az/FL4IwQFufVeHB39g7QfUoCogW
PpxPaK6BCreZkt6zAmaXPFPnITNVNBeoVbPLmG0wd2HVGT8E3gdDGmsiLv+Qp7oikZz162k4Rv4h
RbS3qCAptW4R/VbZN77OJbHQhHZDFv6c6MQK/K+eonKnIKvNtVLcIfrp+lsFb8x8NMU++6ilN3ku
n/ioi3pXbIMFjcpscFQeB2Wrd/uCaLXsHPUvbXrPpc+ou3blu1cffWXDUloI1pF4U7RrmiKeoNIE
MTvHm4gxSHGq0TBu8sY1kCbTxIcWT3ATHnGNCI+g03hjGiVw2FcAVdpvnmNzq7qvJP4zjeLXoJjl
6Dox2fxTR8/11GY1AF9ITEpkjUBthfkEl4bI9bG/ktPJBpABnbgNU+Ezpb/NMO9sgAL8u0KfOcjv
Qo7wIchXYsHEOnt2JZK1qI81uVkJS1o9wC2SFZ3DRIKPcRyg0Tyrc/KlzTqvoxzFjzramebs0GBo
aCScOkEXsG2KW4vQeJD+tOSzhp1QQ4bAbcxXaKoRD7YPvTRtlS1Ch8dAx+XkMdNIvcFWHwgSvH8v
xJu02taYODTHcrRCw1FAgMzb/HdMY7LPsRvIvzIDbkpJJ2G+LRY7IPuIRTUQbn5ou9+cnbFrLqjn
j6G/LjI+YSLJCsLf8LoPVWgurmgSdLUPs4Mfn1thj19gP9mMTJSyvHgbgQmE+EvzoCXpeyH8bj0P
CWu2DHSm96WP+22/9rjNa1n7ikkLV9P3phthOtC0CbCIDSY6pGSxFMCCgkFLFzVCVCfTJXwjoK4A
1FssoGz1XD8FpOuRbB94DoGPlWlwppalA8wINNhisG+U94XKcgsXVxGhWspuMQU4Z2KrmIH5VMIB
kQaYXCt/poRTFCiR1EM/X2T9RtXssed+ZK1WE2Cm0BghLaCkjVHPHAGzRM+ubf4qoN2YICfeAlAg
vObBB+E9ZE++kS2mJLsM5wqmIWZDBgwl+VO972QmZdR/Kp5dBTvv9GdU/kT1Rx3jlaDhb8/RM5BA
V1dJapYdE0s716CA6YpFQMdoDRnDXODJIc4jy/uAunmkNRTMYqXx0m1KPBrseqgCMoOSGczeS8+q
QGEJSiA361j7HJhrU/Wrv/aseLPpU6v4cwoHA/JlKaiQ8oGrpQHLnWxVFFg5QXov2Uk1vJa8+I3Q
GVZ/yqwPo9OCeqshKB+Y2aKvcvoSJSA/SoqWPDzS3KULsYgMArXqaPRtWwz3VqGmujESoREG5MRi
PIETi7uJMs+gpxiZuwQ7yxVQNmOgWaxb4wD9ApI3QA9AdejgY0LmeZQ95IQkQTyq0aRF6+k3qS4x
DrUOfV+0i+kPYLKIL1r1TU4K1luiOCJriEJ4UAks8kcqLIiLQ3hKgnUI3dmcMzQ1yLjT5MpQ/5Ce
sdoqiE/IWME9pmHc0tKXW7mwlR+oHIVbuQPXumo4IWVLR57eTvsO3RsL8RifojPUf2Va5psBib3l
famy3XYB9llgyO28Kg62bGB92IuxhSSR3rEAleuOAV+4sawC/AdBEvuDAqel0Z65Twystiwm6HDP
FJffsN2ZBSQ+pP4InPU4ZlXAKJYyvamkhvVWpCrrcYEvQrOABfXxByGbuQKHBmxJ8RfkuXGE1BoI
i8c01TxT1GTtpGSqNSbKdoixuhHDpZYiqAu3TYvCgSusQgipgTGjrq72Il7v8AkXjheR5HNa8H4F
/a3BIMapCfQCX+eSyir4nlAtJRN+G+NyOsu4//Bdrgw4dYjnhMBNWxRj0k8Mx0f/VGwchiqZSTue
ncg47D5RPAGrAIAM7EL613DULxhL2nvoOfgR4GplFeHWg6doTN5GpC8T1xGBamtO0oq5UBP0neGH
NE2M+yrJvXdM8Rru2WrY+MKt794E3ouqfdLghzKLvsjtk5v4HOjii4vCwcCqdMo/vUsn79AN5SwT
N4Q0L7cke/nTsyBB7dWbrGQUSAzsmDQmRwq1YVNgIYUZ/sGTtpCM2MtiTsGKPzpnH3gvuKAOiwOZ
Mm5wCK/jTXtIDzxtNqYrOgP/rzDKW5K4IcV1IRw6FHlk1s02sGixV0hN/BdWDHI91ysfNkSzzlHz
skDhn8HvIGzCOGJIgKqHXchSvKmIyJBP/YBgQa8cr4t3Af0h75avrY0c0XO0wepyt8L7EfHjZtBu
JK1O9MaQdugGaMoEetpUx3/zR802tPBK8qXhg98RdXNRcseA/dmR7cazBPPfJxv9oLKT6DYKgncM
JiDVwwIUHgkEEsl8GNjj1MGJoRFXtGib6F9Ts8XWMH3A5dTKdxGZDEhOjHcTt17c/YUtdANFc4M5
OaV9w3B0Jrf3+BjN1kUb4try0RKPhkzXii6roCtztQ1K/46lJ4bALHDEAvsb5BqNLNo6hAVdQp3O
BXQqoy1+SwMXu8ElZYbfwa+u2x4PNwUloforiKGzgJSuO+cy/M4VggqWDDBIcWgrVQqD9sbUocwX
hfliOEI1ohCDiLRhpiusNFqKv4FkjNzZmaG16PkpXahtC1CthtRFaGP4rlABAwj8mQwT7q+AugMp
fKIk1pAkw1can3IWkgHf9vIPny+XT59vJ3T6XctqQfI3RGk20SP7rTnJrVUSu5zjMAX1p2bsaWFm
6cGfz+mkFjLua65ZgWjIu4VgOBWVdgCky6SWHV2JPQ81c1MdRnr3EBqeUI8WLi8wDXiW8Mm0si0Q
RstzL8IsjKgRHk4SsoZR1sSWZHKV+I2PShvcB6oQfd9/qSm7S15gen1uFUT9zPqPmOdMWThgiys1
RP7M+GEl4lePsZb3N4wW3qdMXz46VJd1YgVBiNu7R+G6koZNNsw4jaGs5Mpq+PnRZXs23iQCbgzc
aaiP2FWpdu2zusLz0wp4iConEOxiwq9jVYPLIcpXeSMJyjZ4W6HDyFnwSKisBawOwREsQawuuX5i
gpewXmXxQ+s9f+tGbi2+2ncAUPDVKHXzEF9ibEVtlC5gEsDnJlMACVEvLHhY9eEJL7a3oWVDyz6N
Sxz7gTMRTtzv+Pc2cLZ9Wzvz8PgpwxuL3VMfXOrIIK1ubkAhss3SsupTizcJASMGjLvvxZoCLHF7
OJGwHhRkDdy+wzuE90r48bWPUjk1L88/1SQLZWSbfyfRXfrW8xsAsF7tGCnSxlKc8shSS5KxhSV7
Dt4bzOqZeYKWCbNvZESoFuW/FqMONLE0ErNEr6JN/pLYa6GVZ00JlTNwwLICdakTA0ZYlbQ6tzmX
K3oKp8od5ii6ODW3zNBNkJGnS343hHGNPEbDMVigeKsaIitz2AXsrzWcDnDLcHDw9kkoJnwPPdGE
ixlrgNXM2B7g9C/9b97NrAOERIMVAgA6rDUeYQBWf/48ZG2bFnauuphYE9KYs7FzGCOygOK9onvE
FIC/pXFnBlfkwKwpQdgJJFrpxIORJJyA+q7gdnFhKqilWYZ1LmOwsP3MpmWrrqjK/ANHyUCgDVIO
uMKYCk+fe4v4PlAAZDj0JbiYw7fD5pKH5Emrxu+FUBog9QmXDb8dHThz8Eb65CeTn/mVSzD9wdMb
FSICdnhoSFYRFWXQpiyFyDUMEWfXBg7sMn0F+AqGVvrCjVb7Zc6jHzMfi2eC9ozW5E/+9xJBjVAT
G8OVpjm9yjfE3YSmd1l8Sn9gow0BZrJlBqua2LctnocehmfpiodHZ7mIOhjnUzg7qIx9mw6vQQms
OVzcJg9kTRqMNTIS02T6lkJUHrce/8PhbUMq8F6l8t9g6v2MjdVDncbQ8Tv94U5qf3gbuAXxKvyY
E1pmZN6pnY5OrazwWaL/rD4LwW5ZP6Kr3Uvae4O9AuIpKOK6hY20phOkZfdv0rFKedYgi1n0ChSE
FhQFds0tfMkIeaCVp7sQ/3ykcWxsAgcuttGtShSt8NOG2dNp/OnQ2mHLyTJzHqmt6Y/5QGCk6LGH
YC3vykjfApZdLlNAgxl34PYTvLUlIHBJwKC8yoUVZZLO00NziNU57c2wzOESI9plx8NeENcSnCdl
R0MpLcHHBmCzOObE1HEdMX8rkK9UFxgEe+ec3dq1uHNIsW41doCtPvkHVegtceOFV0fQC1ahMmyJ
tWe4w7TGYjGsrELHEdBBk+Zz3acYAa0WgK7AQbOaaAXyTieU7+n4dcxQWCnzd6BPxQwG4zxGAPxM
lS2nPf6hsHCWsAamIoJcZqt+LR9zW2czXwDUr4YV9+LiCdQS8WPxg6Kb6+0cBsaBc11kFqCJj9FT
aGHuTtEGTiS9k356MpDUgu8dPIQ8KatPZ8gsk7uHvxyv0slR4z3p7BzVmC4Jy06WpyRIok4+Atru
QaHxJLIMlTUGDO6lIe5DoAwl5gN4+LXFS2nxbqyuoDIaOORPyKZ+re9SDHzZukkwEqygnamzMjbS
R0oFzQqkeMNDAW0VcF9je4jcVGIeWgU2gSkmtH/qBFQTh28TtKGt31TxTF0Uo2eiPGYZl89hQLOz
H0MaZSzuhOqgYcaC6AufhYo9wGxP6JvzJhjDIhiLKP8IUSSBbAswYl4NhNFcRx1XAIhY8a0TiWMh
1GTzyObfWrDIpzOAU8y8+WsCzkoQoB7ZSLm4ChU/JsPke/bJUw7XHdMecwVlgGFDC1YT6RQq3DUr
M+m6VjI+VrKVsTQ1lwGLdvwolEdsupx45jjMvpmzkHNN6+4PILozAYXYr3JElsNnsB4DS/DsEQo+
0iiIsZQ3IgGQRCMEBa9R9r6wRf2PD96G75K4WIe2U2uwHeXKKwcnUN+z/C0ornHHGuCmfPQ64iYb
OXC3iyJcm4C0n4hEEyVwwbfF+oONW1c//7HPCOmCJwD1X+0uYlNvRu/3S+XCw42cXS6nAR7QFmpx
jwKfLXhhgQSiJ/+enRv4YUGOFPAGqBgrOJ7ebBSI9tyCxzcHi2Bn20P8OmTp3mARvoR3gs8QxGPu
2ZkqYEd0Cx/o7sP7VB2wjGiMpYLGZhn+VsM++ULdDKE7uAqYLNM9SDbnDIY0TgszX7ocXSjv0MaJ
cOS3YQOE0J8NAoM+8glIWOomesrfifTZgCfiQtXqxzmYgx/CR8+RM2XZTXLQuD9b5381aSo5JCsT
8oVHFlITHsH6zitVYFEXad4CJBaYPE7EfbdfTDZZVBhAQjqezWVY2ZXcQEvp1tJCMXFhcENhmc2x
AsQ3eAoQyEBCH5dSsOrQslIvOVKtg4g4IimS3BI+E2xDWLByzIcNi1WCRgMernnBClNhHKzxA183
XgbdKgDHStzAgeV6ZnNhnoMr5CY/ssRyUwhvev3ZklV50kh6r/c6vOUGjaCEi4L2Y5AORVqwBCnY
1BW3gDcryGdGnAAShvaXFHCU3BoBhhS7cnbTkl+jxpMQb0cEOt26HhzT3LF24bLinilxYGk2rcDA
EMAPT3mSsJGVw/tiKjHLlfgN/3youIkU9b1rLmm1adBal+sYIQpWcj5bBHrxbq0RfiCoW6FwVekn
Evaq/9lWa0U2lkX7Wd7aCo87oCNY38uMQupz9kb648n/64ffViOj6zTKdlUjGmTfp72D6hFEuca5
PdqYoMDOgpRZwrhU8zOLG8sLLkN/0oTjiNcf/GSDRkR2udxy+THhgKhQfbfw5nFoSfqdn1vhp7a4
ROITJkyATrfZF9p7xgcnWSWsTjzUbpr5WRKghxVKvJEgsQznjuNYY+4yuYYjqvuyOhhNicKJ9mT4
LDrMu3F+4wIwbPFVnsMeDbb6VCEbdYeiMHdogdT8EEUEB560hTVd2IfIGeW5R84D4QMxEuZ1JUmc
HaEnDJQ7gzy61Ct3Wc4lQ0kMJv6Yil8FVYRuojw0/rmseBi+pU6nRQPsetAmi/GHwVS0YFuWqQZy
1B+ROBgCTWr+DcckUIF01lNee7zcoo6tfoDOvfw0k8NIvGK21cnxpiAV5bcsvhULfGXksxbQw4m7
GLFWcK/BcW2ofWm8xxKhtSayJOCJR6Kt4uWOJRwe+8K2ovPDoB8Mrs9Pgupwgy6INki7TVoiKLC1
2TiGxT14nZI/W4wuIF+vcgwskKP3+kmHp0pzEwwFq7DdWAROHd3LOYKnZNXLpY0Uyt9xxXqM0SxC
JWWrKAdu+XlBk2Z7vvgsdb3SAwq9yAT7jmxlQI8hq1DCwELbbtv9G3oYmCNy2V8jWzhbwOOrmtY+
uglep9+LmApFNgrdODvxXZVOIVwm6bQe1BB/2RJbkmMbPGNBIo/rakS7EG6Zx6rlklUXBUbVU0cw
ibtAwabat0EjFyaA4Rw0CFni5eUnsCt8S5hwvS89fVYyXRvfa7BTR2SnHNhLZ+/l72bCuZzvazlA
nuMqxBr/lOAdVL6FnYu9RgO39p9tOcMVtmSGW7Erqxa7l5Rsm/FuOMVhwZxvsObZi9N+PaHyCmE/
IJ6pOuC44H0xwM0r8BjKgWfXMszJ1iAA0ANS/QgUN/OlVf4GrTmAsshQAs2IK9X8awa8S9JlhvOg
1G8WOlHfvGkIXXy7zXnRvdPqeMviMtZrdcLHSflrtR9hPJXhnYqWupmFZxc+wAhmLQOJ4WyAQYdW
0dF39xpxy1B/Jf3dKw+jw3HIPlN87ujcJhjunA7eYe72m7rb+tEyZM4S6Xda/Gz6ywT0rKXkSNxS
+suRS1qS4M23GzVeeegzZDCvTrMqCL9kGA7MIxAuh571BloijZ7Fw1HpXcT/PmI9moLZ4eSz83B3
Zb4dvWWMXVnES+ebIHb/xh2r0Xheb2vYkywjANCQf4OgEIzb7DfhDxuwPqqBklPeYRmYDIL+KR73
I4qARGXSx2GAk0a8H2xfpXer7x1tDZwbjA7MHAsB50vBn9IdfgzsyxAgseE/yPPWAG8MIJ9qJjEY
zU7V4GbSO1NYp4AexEKe6MH4ZKfGCn5vPk1v1ZKAPLxp1+KnY5Cym21luxCiSFWeIzRJSAnP8n3x
UB+QSGNHXweEMO5+YdBqDnTB7dqUn1V5qPIbOF31gzlLibcBYE9zoM5x5b5pmJu502T1b9o2u3Bk
2TbzYSyNI/U7vXrr4CtjK7ps1r5ylUrCrUllgx9HftT7bBjlFnuBDfYp9nbyQWexsRTom+4oq0+J
M7tcNIgSccsAMsdGSpxtDjBg3sJU2LFR1HqMKA6ldhiEYTlCThsHcjIfBB+AmHAOmLyN5OzZaJKE
Ytelbx4GFsQfCPsU0feWy41zqN5Y3CqLHchYXVFSgiNzRi0+NRmDZMqDaAt84sWeRTqoCM8nw3d2
IHQp+BGfCFC1fsZDhAASWHNK1Y3ZnCJO1vhdw0mZo+9o3eFAfYbeDSZL8OHrjAbqslbBgfvObdeq
bLpAt7G4tOrClbs7dq+ypHCEfwykvgl5N8vFq60J5DZc2cMpOr0zcvbgklZoI3oLcHuIALfnF569
HgTYqKYzrjzFBSHpGt/1hBwCGLDKE328VqPaXEFdLK5w3lv1TfUuenDrBTdSmZfVpVlYlEMih4UT
JHMgCN8yaBKY67EDO9agO0tkNnfCCdDY939YPmneR/gXJM6EqAxPTUomYQGJ5UgdD7CdBqe4+cUP
pce0cXdtRrihAPw9xFi4LQ8sIw++ta6fImxu4z18z63m3rT07pg1xcl7W2ABC5F4k5gnc771rey7
tFV86hDvnxSHV2uKa6BsEn7kG4HevM1k5fuH9m/4ZkLB0fxwQ5oFVRshv3lZIEIyB2ZwvBlr9ryL
24CM5A57kth1a2m8eQub7rAWLriX2Qg0YLQKSFCfXKB64Jr0BzyMOSt5gv24wbf41L4C1e6f2sub
UR0xRae0byT29ssz1UfE78gYXA7Jl2ybSyeZLVzLo4+YBCu38CuI5878N8rWCwgG6Apg7ckvz/qt
ngsMhxwd+h1WVEtEMU10gUse8R4E2IHf8RFFIqqPYU2nqtCSxsbRMuz6K0SRcO4ujEHAC2CF029P
OD0PFCrNZrnGo5/Nt42tU9TP3magdDQ0DB+ZQ+YxizNo7168bW0+SPEjGtwhfET9uTfxVzaWwQe+
A9ESzlZ/YxY2b10EjoIaG5xKwHfrAxM/WjqSGpfax2LBvPwemn+9zimnDCyjg4GcwplElj4G4lfa
44h6iyhxvWqQrz2htDXqlfs+ALnCr0tC089RWaibq/CCAJHDReSI4J8Vey6osAlM3K+yb+oH3tpY
soYUCPXYUsJhTXU2oruKWg6visqBu5y0ARrXL159Espd/5J5S6Bq3xTR3iRY27WABCFeY6QFJg9I
ab8lV1c8cVX2FO7FCnquYPft8s5kaVzN1WlAOwVpSthPCOTjg6xairhUnp3oJNojAP9m/fgNdbyH
O+/0yhbkeUPug3niQWD/1y5vmQMFdiNeFRnbhqNgOrDDYxsFR4Png3EmjAFVZrCwRYADOEI50ZOr
BEDI938CxmD0gFK8N0/4y2j6faIvxOFxcPQKpQOvuRNAjt3kkHDkMrYS6xHrYrv9UmnI8+4twK2W
rcaAkgQ3H7HYLqQvSXpPzqFgGWwEteQYqeQd/SgYHqy2SM1/1bbiR/4wYj6Vy0SzCkRzADQHiqRh
7pzszkEz5l+OHQOmrrSM8shlKww8iNjlFew0AmPA+im6sHY5m2sNWQIq2J9qJHeb/KVNFWz06jgJ
R6xDEigsNiP4FYSBITz+UfsVl4oMHG23eM0wFN/xr/hub6p+GQy27ivehTRA0HQWF5ow4QWEJABB
iRdwzfZmLO3iEWRr0DpWMF7mYNY1A1UYciaojZ44AYQcRtO/V8LGy5Hz3fNsI80ASOLSZ/QeLH1n
ZFcY4dC2nZia/J8Cgv7ingQrkMBBdOt34vrkL8hYZBRDZ6DGw24Zz9LiKeLobuyUkrdgkfSKlvnK
ElJ5vIzxCmqln7Pl3a/X8T4knmolvwxlabw4IgOyGS4ukbxGyOHcDGsyidFqkAcj2gfjDZoFGUaj
M62YLaaTiBAYWMaKN/ydq8WGpTUTxnzqbAixk7jX6rOyLyDgM5Jzlc0g/Yq1NZmtF/h9XfmmmcYS
2yOIJcm3j+YiPhWITTkH+Bbf28qNxq1g0SnBVZoZajyl9NRXE+0mpRE4LDmAhf+73NJhr0HK5/lz
F3+S5bSXSLpw9tW/kWYEFgUq9hEhCq3mijMxoKOjwaSbUF3MahM3Jk10nuxH9aqSXOL99tqbiCrr
mkg/8HeEGW8griqXHekLkz5o2pL2ifwdCXvanlLlWraH0PisvTVwaWnt0SlDO1N/Rm9bTsf94p0l
IaTNUoNnMQNuzB7DQ0Bi5Ka35gTdqU+3/zvU46KzmrMBphXmTN2Gvw1OnI/eYq+dGR2QDulWDkqV
HY+IES1Zwpxuk6TPCbEvdswC6dKoG2ConWX82JxCOvkt6xDQauzMsX9LsLG1wIt6Guu5wPGtu9X2
sxeftPiqNiwb9exzI1cYNQYjW5Vkky8w7V7YPbrfzxFe6IjjTnAeze/c+BHjTzFXYfnzX6hd5Lto
Gx1EVAn+TBIrxpTKggNBcjZpXsevMX2XoSXi+j57aRXbLj5S82sQb5+7JAc+u7K8GFlFSoTyDlul
u5XGrcs/W+1UqusOGAGf0Q+hfwHfMitA8yjuLU0PPIM2ObP0jJU7uCEMwZU5oHGVMVKbeUw5foTD
CyOvE7ga+mEI0wPLFiQAXJ0II8KHQvrDDjHda37f7PFZFsYkM9y0YK1Gp+QjZDeoYvwAw77ZBQc0
RCW+YrTKwp/BL6aD3X9q30giXV5UnoMWVon/Z1r9V4FmbJVLrHmA/tCbdZvw1HgPrT/o5XILVExJ
J+HM2XDCOqgC+habNP/wXdnxt7yLNKZRFujeS9wtatwirGymI7dohmaAltsQoqcofZY7gVRJ7lqy
oSi7bP+gO/8zIlHhwg+0ufGxIOfoXeletfcyb8ICLJRYgdW0x56BgAg6ScAqZm3aGsLg6NKVNerD
iJA23GiU4Tfr3qLope9IVfAOinoMUcSPqAIZu2n4aLl6FnoEZBlgV/D+xnVfX2lrFeJSYVebK9EC
khYMOIJW42JPOTtUZofE2HNJIAOITyt5V30sOtdEmT7uQyey5XV9lWwErG/qiyLSjluudGEVuuzB
2NLaiL2Entwz6HYr0NPvWZY3zsEkWOTN3HHwMHD5BzYE8RHmBO+m1z5zcZ909hjhVwl6mn3KuH7t
exQ3ya74qGZql0MY2VMZ2NHPP8Dc/U9Wm9yq6Ffv8W4jy3YnBi9D/C58vtbvEU81iZH8zauuzXAb
BdJjGd9uU0sVPSvBNfsQXslvG1E0y5VxSfNtLaIbxv0ZKd82mJ+av/4rhjd+vzZ40gu/E/te8Cul
54IfV8nwCjnl1W9A93gw39A1mFb71HKAXyjrd07HogG+Ve44G7CJBhTzs3s97NOvupotNRnZh/g3
1bFfWCzVwNXSrU4rKcjuwMT2m0wGrYsO6/hopvpqFL9ZtgTBtTuIX8lHJzzQ8zN8aqe2mrAcdQ2I
FxUVGNieVSiAP/AkwndedKlUH7V4EcyH2v94VKXZH3OFBlvYgG/8x9F57aiObWv4iSw5h1uCbXIs
KNaNBUWVI8756ftzS62j3uv0SmDPOcYf4zO+GeX/5u5IXhZfDaPwlFSMCic01oxqYYpv5S9vd0rr
6nC368knAPRxqsV50bhgH+bMcJ4dsvR5eapl/OGLXlxKjsB9uouJSqM+g6Zxg4/t0EEYDWtIzqqh
rmzJVAuyn/609cKK9tkFLAsQLpqz0hoHjwrUG8uTBb+59J8kIvyuMWg5KOfeClkFTmyjS6LPkmZM
EO0W+w/ycqKQnQqJNGQthKu2xH2rzSrryt6mCrSLzf6slQIByjy+1+jg67R3YJA5swb2bIR/Xb2D
gzMnmOTQdBupW5gzHGj+qe2/yj3iPdnpZHpW0n8RYiddwkxUEOA4QFiAP9Qr2d/30PFVfRrVE06i
DGr+81ObkQOslZFLndQ/5k+IiRphisQWOoPxfgfsGiikPLAPPV+Lm1S4gbBVBko1guUOLLesT/Ay
w4wzO1zE5ilQ7yW0b6H+Y7amVP2rWVPXPaJoTA9m8kcMLYl9GDlfuQGKhv+SfKNz67mfwI6aa7Vs
+ZpmWoqwR7GgCN70GHsuW2hKcFGs/qN2eZZhDoAJ/KcchnUhOcQmUJxL4TWd7ATR13ggSApA30ZV
FLaR5B61c186qLdDiKnjTnwA9ktR5ytDBZMipvmNnPiOFA1sYcXPh4OABAwocuVOmPJQfJO4RI+y
negsZhtGZ+qssHmxitGe3W9cw5EDVE7zblW2W3EbAwmp4iU015M7hlfc1bWdx//feihkEfqPatii
TqEbVgp/kM4ObgJH/bG1XyRHkBz+RlVulQrhT5CLo0MDkKuA4bZ3pOCIf7bcgBDGgDYkXvUBOVrB
V83k65azpfUnAZB/tqH2GjDkhlfCzN002rDgM5CARB57a9sPDw7YUPgKj0xZLVBI9oO5gygS1e6G
fUK1leGW6Z/0l6SksVer0HhH4Ukl6ps2oH/VfQw3hoBJgciZ7zJbqmQhrtFF5MJdNFyaaJAOEDa3
TF4+/+Cl/BmI3Ba+Bo8Cnh2yZp+Mweb1MX4gc9UILyWj9B8Z+UtE7URriC9J26nx3nuk8tNgmQqo
eVl1eFroELIOpOGmbm3McvczfNOkhpH7X7FwVHwBvYXsej2eZWLCqUAkGZH0wFt+M7MDdDptBuSm
jS4cAmDCUQ/3Y0FtDN0fSXXBz21ZrgGhbdRXEdSHECCM1OWXNv5+NBZR/YKXjJQKnbGXLItmbfBO
0QXXTTV1ie6gU8bUJWPi67w/YTibxpYcKf+EYLPYoZ5iMDS5FZ0SmiCY3yLPjSftTHXs/uiKIgkD
wvNAh7zQvoVbBFhTHXwHjngM7N5nMhJPCoKSUieixngo40M5VXA1B5jJ+XCPiLHy12iUOH4a/9nm
f4r8IGGLB9ebNceeHCuAvOTdYMPkJtFvaCsTCEucRsW2VDYmC5J+n7i7S6VRmQCUhCbV3IQJqbbe
1mOAaCq6/HYMgaq6NTgACZ8EzO17igifpv1pcI5/pzmCWoyrSKj/jD+gXEpLtVV95mxCVmy1Xz2R
YcgVWKD4IYSL/T+hZB3dNuI+2QN69/jWEQ/R9mIDOaN672eBsqHPW32lvx/kN5bthw6er5CuG4KJ
FGfS62LB5b/DWZMgkEsXo+SCUwv6BSleiALgY4cMTkOxK4aNGX91w4VbYiouppiyX4b1BlYd5KyV
+Z9z1KTJXjR2Al+b+Q59VNeE3HXSvu5X/C6omeUR+T16msOHZGPhMiz6/DiiULeKNwJ3i/Ek/tIr
AnjhNYl1yd7VyFu3lw3OyCwntHmfqWc5+xeGwPbswZTcyuu4dIPStviSVS775C+iRSjdBx/45Xs4
7Ifw5TSdU2cLTXq1mlP2yDH0fx/cSyQb1IHdEKEAgyVs4FowcoPFjBKhA29QWLwIpEZOAUpT4jNe
u9rYsXF5JinY8ZKdKxeeLRhMCcTA4WjHgPUWjAXSy1noFgD29dJHMsKNVjxw38vjaeh3tEuQk95/
f2TX4oth9vuoJ4hS2trofclw9aYnuXoLjUMLA7CbbT4wcABXZ/+qYiMvYXNHE8UMmyolUpBckPEc
m9S/lVcimQkf3X938rqi2jlVbgriGrl5xuQ1LbUp868vWUZmnT+7Rcx40U+ImmWKwGdwHSm4Kr+M
IxdSF8wSAuXmWbcUBXBMKM7ZuWCOYDdDoQ96ps+BXfGp3PFtsD3V9NCA6RKjCzEzwxY9lxM7ori1
PIl4+/FT5w/a0lrlgc4fAqrCO9PZqkebscOu9OkcXrXm6FOeB7ffjBulooEtxp5b7pjoqsqlfm52
il9vzi00g9KxK9l2/7j9U0cDl5gJAblQqLK2Bja8dZw+JxZXhwghSn+JmGYM14N6KAZQfdJHl+h6
EQ4RBwLLzNHPushiQLBC/KvcOt4yogAy4CKcFm6bLHCvbUxjJ0lukm+bZs1nho/Uak/BPwRO2jo5
Z53tF87ngMhJzR2x347tJQVsgoH5HJOQaum1ES4C5Xe0gaVJIDU8tPqLhrINRgKMHBm/p0v1DjUx
H9kJlbVPuNRfN5EpycKI133qCNoGgYo2go0TLSDX5zY6N8JRRH0kQmq0n3/JeLds2p6xGQtOg15F
3vIcCPzG3m4UngmCsS7cmQZiD2KU8c08IugeyWlIrZLXvbYUlWvM+PXV+45CQhFl4974L0XfjKaC
AJCaUKeFEtvajyq6nrKeWmrRVOhUhE1xT9T0FNDo29gBdhsBUsc7aSYffU8sVCl6s9Kn7aHch/L3
WF0U7xpja0QhZGwZvLqG3DwS5xw9dMxgn8E8MFNyGdIhOqLvcRNr0mdVdAnwdRPL50JP9rkTC4jA
lh38LeN4SzzU9DgOP4KFD3LWKZgn5j2p1R16lXm/oejpdyJF5V8z2wntv+qnQKVoXSrDbdcGmd/S
n3w1g80n5W4XlA/RsW6oQlHdkTeKqx9/J/x+VkO1arZVuRvbV4Ts81sYlqH1UrWz6q2T5qv8ox0J
7MdaMXPJHJm0qc+SZ3hEt6ucsi0/mpc3psQGhyPpIaeOYVlf1DOHTx1M2VWLldltkuYMEbqFQ+uz
mworRKxGvZXYelAKaTPjs8HnwsDNXIfJfc41fquks6Q49cmnjKLkKzN/pPxYSg7goC7aOplr/CQQ
StQmZbjzCH+aUlx4vLjAL0QbowfTe/gq5SEaqOq9ZllVp94/lYI4SZ6wrDQ0RxmbHrA4JL6gH+cU
iWTxtta/2/yIrpdWL3ScGOnMHEsRdLfl9DWPtwGKwoJO4nNNa+is2tKMRqRDMNdoH+oQDeFvi6g0
IXOGBAzG1K8o+9O9dUpKi919t8pJP4hg/e0ibua1tNJtJjNNWquWk44HbuzA/zZJJDFQ7K8ba+f5
T8b97Nq3X12+65jLPn/sgYPAgXkUqW6VvvJNAO8s2D7ahSa/ij/CMLdit5K32tpD0v75V1mvoplM
tUisiUToZ2HlMuhH9TMjTqY6h+qW3N5aXEXnqRWIZnrxnqYXTbcFRLrioYmJr3uY/p7/yfraEW4/
5w8h9GfoLs/aEeGTczcfm3DbwMNiPcYHUXkHpE7JuAp9x0id+mnSCUukIvMuYvDyEkGY8Ch/9kLM
NjihXHyNlKwIBDXpxPHuUtVmhVsmSOC/FHINzf1gk1ZFV9NMWSqiw5xaK07FLs9aXDExnrPATvxl
sivn3WHMHKL9oVlonpwjqKsYTKAW0+hu4QwWiEZZmM2uIq2UT2OSvOFPQzA/SVmRxshOk58kgmZc
9P3II5B0pG5CwyL6FJtRFm1qAjWfOR+K8HpQLA746bs3qj1J5a02Ww8L4Ab5HjKhv9FmYH0t0Xux
hpoR+4SbrZL+GfH4BeM/jQrA/t4rJ48o9yamHOmsMRCAe63aejv8TNEP8QrpaArfg9CnEQ/FyXwU
2oCTepND8PZo3Uh5QNS4F6pXU69b9KflUs6vg3oWOkKniNkrdqb+WcDWGzju0Y75/lNteRQHnwC5
xpEBE6V+RIc63/JGh1dzsLNqVSl/JC8JLO0FklU8XwRTNeIxgd4rSFX5IEgKSfnrElZ38+VnBLZf
m8aJUNP3IpGsx2I6pCGip3JF0CGRiLIzfYHcZjnCFf+p5Lf29uEZAdcrr4N2LuJthz4s97AtXpGL
KVRWMO3w5livpNhn9XclL3R2hqKhmq7/4nk1DfBzhm97vPU6hhgqwdZW/lsxNSh/CbqTDhmkz1pW
MwZY2SbnqpGeMcVx30jmDHMe7ZU/0FG0rMAC/IMtkc1C/Akm0e+kj/H6jfcjnDwLXhKNhDCpfSbl
L9kXzPPgC1Op22T15bWDhEpvKiIg/niAfdasv5HC/jka8WoiEysQkAX6XzBSgK97fjbvKJO5xcMH
+yWnwdo/IinhRWPp4ye252Zl/eIgQXbBO8TfpLj2N/9YkX2FzzulBBpidvznJV8AHegKGsQ98vBx
QwP/5bwWkGe4UBFK8ScjNlYKisjOH/KJQ+81Fjw0KFZQkCksm2tQX5PpSlFOn2NOr/riwRXB86eH
/JVjZttsS3p2etNxjaEroSpz2RgIqo5MoQwnOasxnyK1ufx6lHM6kbKW/hBJh61lo2LGJ7lWiGH8
WF/5OK1kHfVznTWpfHsM0ZgEYjTu27hxLDqjyXcci59oj+Ya18CH32eSphgvwenzfbNtO+4atlR+
ojIpbm8D8aRAIn65im58gcKutvZG+uuBNVElEMknFEBFcNZJNLlLJberjYnYeHG2oJFBUc1DwXLS
NcKCd0UAQe+XcvT1IwOENOXJK1cKuk9ixdAFGQ4631anW/d3JP5jx2Rpze78coynUH7Rtg4oK9mN
cD3RXqfrWL59Vj4T5GG7hcfwnbtQJtRJQN+iuJ6H75kx7kAgvzl7eZ7qpcnHBVznTo8jSSCcJeah
ZEIvTDdXTrKwS/YhEc68bkwPVB/K/CVjbHLyon0yVk8seU7aFw9hdkVBLuMpd8g/ePJ28wfMn5yI
4GKGW6Cl/olwTvKf0h+AHu8BISaMB6l+SXPkOfVt+qVT2hHV/CR8zbiLikVjx1cEy1aFSPS7FxgI
7J5aM5VwUm8drmrJSbk3Me3L5PTAQS+Tp8/XpzbMBTsE0wgNVBHUOXH5x/wpNFwsfMqckcmdUDnl
wXXEg79cIpOW1XMt7jS0EMiLVIv0nGOPxGgmF1ffcpb+lY4cE+71n6Ts8iVzMCVoCyHskdjz3E7w
Si64oYDuG9ukcAqHe8mBwXnzF5yHwUapxc4cm+hqZpy2lgHQp9wYhWHyWodJgcY4qmCmQDiC2Y5U
sbCk/BvB5/SKVBSaDfgW/fyhEKSR84dskwuE1TBs0PYHTNDs1KhmlXUcbyVhz+y4Z+V8f64Wj23Q
GZxPKKYk/mg5AxCHkeaowReTVeM7+AAi9TqlVuR/ZnWiCbt1en9Y5dkm4qDulymiggnP4LTwuvtA
QlGXX+N+M8m4ebFrQr9ITPR2gXDsUDJnxFNnD5X5JdTe3iWltXGF5YhHocgOIv8BNdntjUEwd/BS
4W/Fq9j2Lj51viVGbu8sYxjlMiqXyS+aCPwn3JhtdxqFZOn6cA0ppSp8XGuSLBDU5z2J6NvspRDB
LoNT7Lyl0AIyXYaBWxNcmKUnUheZsIB3xb2JtttkaIOH0HdkQODv5lbnP6A2yAxdvFMGKqR5w/n3
ksTvboMt2fLXmFtSYUW2pSacp1rci6UyZi8I6vl8Ti5/EZ9ohYq3ZUELzqB+Y3sxQHcX/EkD42gM
k/skG/5Ey25IsmwOQF6MMPkGZ0jidDMaq6XjFGYwg1zErBpB97TDKTXxgGPWSQ6ZuNgQ/JIiVS+m
nGReW/EtAIvBo5qubNHOaG5qRHmCQGbAHy5PgQ3I7o0FDSGTQwgPmbgU69+Q6xQjFjYioooEuzAd
6ZQCsS9yFOrb6dE6Fw+O94/pqLRGI23RFwGl1LaK02BSixOaQaKNCjxLP9uwVKw7TqgqQPc2vfOZ
gF6FVrCRP6S3/uivUVrn/Aw2t1FaaCuAAfgZtt92aVntGnEtNo4PwqaaCElut/D84TUds2Normr5
JElr5jzPW1FdEy3KAmyC5qE7uZsUzCSUoPPeIzWaqbqAz4s5bFZo56XCwif2jSv3F634QXmk147i
gFU4ISFowyUjtCeKkPVobzYP66/B18ftRUIP2Y/hUcYTIZovk6QbuJHJUHaYDkjxODJhKO1THQwU
DyvGtwQd/JiR87orhPVknP4Y51CnyGYaVAeYWGwWg7gXK1fIcB+suUFaefrF9EmAnHnWvKudbc8V
1KYbzMIakIB4bWoHDNLMryjuVeU3T53xVHSblFkL+56HIpFrBhNm4uolij5tWQGLDgvtT8mP02wP
jmsuJCS2QJHc1aaI++Ff6QQYwaPPRvBXMoGjtpRd4pp00mi+Xw7NukL5zTlPml21yG89mQaj1S0C
2lPpWcOnw9kZIvPEt1PZPcrV6tsEZmK3DOr9qF+Lb/VCrzpKYMCZ7splnjeIPKZK3wMuHS1fxpt8
FVLws2CfC+AWMRzM+GHhXHK/HY1yawISMdfoAUjZrrOZeXVYQ9LvSbxzPnw/AhK6sv8KTF6tI6Au
o8MHC+geqAHbHVosliNbbjeJ/KgWXfnNeR3clto/FnyU26xVAJuzHCsYcQLYmrT35GkCRHXzm/Rl
Uua27TAc2Sh5xn116TY429TAtq5AQM16fAvaD+VaIcCz4C6kI6URCF006xBjKOBw3vSsb/QeMPax
RBGNaMurFPPxFinw50S2HKZe767TV0xZyRQm/0BytFOdiBttV7cuEA3tJT4ZkoROsecvGLMzlpVv
TCkW0UkEZegvfcMBKnaO6sIX1Sfk5qKjnQRnos9Z4I1HSO/uzzPdg2igpKhDNMmzmluuW+RTBIlR
PSQgtmZuXX3i7zKs5gAEJCjaJOml9rDBlthQ86o71DAGALlIZX6Fd/6DKUDEXUCdw25Fcc+s3Sbp
QxSOAZEYS3JLvgSE3xt5g6NUxXR84CCpAX+nVimEMHN8F1m/mBpUFh/4RW3ei5u2m6zasP/Cr9fe
tMjJ9J0ocl2RHHVRyPPT6B7KtorgNgBImPU6/GsDNYTVxQcGMqGhC0ZBGZ6tsaRfub/VkHZSOtgt
NYA9zO+Id07mKExxxgdltPb8lz9uMkRI/oMoKcvYCGA2nfWS6LjBJ6fb1XXY8liRkDJs2dUFXrMc
sAqjElAm4hWF+5QxMkGXczM+KNi1q4xHp+Y4HOgC6SxX9zdavRVER38DqdALeyhBW9eavEsoqh5t
wUHwjGQ4COYlTsltT4wgiCxZepxL1WJYVD5CmTnbgmkBZMP+sOnxBbLKZb+ow2vwWubxffL6Jeix
PSKZq9EazMMVa6ysvimhCcBv09WKleCz9X6CDyowYssXmNdFfdkQAqbVfAX4W22Og1FxGs55aNie
GKiMQ7SmEpycJGk13sq9zy6mcy40Mstz/htRWB700aqMISClXXnzwn8Cy/fxE55jpmG/vyTVGRcS
qATWVe3kD3shO9LKE8Nc2zg2+GvhGjmPWee0wxNJw//zIG11bI/T0UWKyrALhdcokIw8KcLpQ22Q
35XBVUw62Hk7qG+KeiLzLWH6UO0G9snAy5PQI1h35wCH+YhlHgMOUUklaIpCppJpHbApZbBdTE55
zFGCX5kfJVaFEZt3pLKYtAq7k99ef4yhumbJXTvj7uUXiC6H6pfsRMs+oHpYi/MWGfKMJh/25Ail
P8AV7DXWf/WfiAgkF2cEvkT1HldeOdG8m5pWJwjSKZ3t7nlvDk0JKCDgjGVxrjhGOd059AtsOQjI
C5KFK/XnMx6z8Ct4RZOPY8P9mI9EcRFEvxhS6IkvgWsvg1HX5shajT3FXoJKAPesZkVuubWg3lxN
JyeaZRp2z6thI+GQ0uFHjTY1IkPSBZEsSEy/B9FE5WmdAwJIcDJV3fWD7pyv0+CbLm1ZQc0xdR6A
BesrkY+ZD17xv0PhWbZ4QwxXgzOKqzVzalG7Cdu0ypXMEsm+Knd7RAMhmd1XKd5bHVmdK5B8qdv5
AxNXuuqnxBOypn0fVwS/ZfA3SYctjlId66J+GIxdkLxb/x6kfJfFszJ2Hm9Ffq71DtPQll9SIyUz
3mAWz+IvVBpe+p2JP8jzJHOZsc8wRFPxLRBoIL8kEl3p8BhuZnVX0ICS5auap56U8VHeZKgJSHmC
4ELIk/SgePDSQavOOtX1GPUKsgE8NvGUICaBzdmPbLVwmhYAKPn2zKtC3qxSHyBeByZ4fq6G1GDA
FQFOrzxFagOYJ0KIZvpodOkV9Y+JQkDc40s/yXAN4OjH4jn6K5EKMzh48lRIEbHQ5ATjw8RjqlbX
vn/k1Gc0OKEvgmSr/LodcC2flYw7OIN28HM3J3JMGkhjImxM/VL4GwwAugqa7h4p+KA9A1IWiRNF
TsS/6T7mHPlbQ0nciVsxX4nIthBbcQSk2pX5nl0QkEBQ4A0Y1KUfs17V9TuxNh11yuZvKDM/9lyv
R0iAKT30X5CjwrGHSyAdOo8X1liC7HgZtROn/hf9pDU4iTGtgutwQOpgHodwCfQgboFSAC8APpNx
h7qeqfbm/0BgCg7eQkB4ctavYeAwAQXVOf2DBYJ5ULeizeGhV2uS1cC0iGe1BfrJUlJtzaZm3KcI
NIE3z7yVCpA1fMBjv82p7/TXeKqd4AaKQwAbOqBIXHXAPmy5ZEf3p5SA5+JrJCDAv3vcOQMMZUJX
gE8sLAtLVRUI77k4fjv46FC8JXA1V1xcZLt5F4+LdKt+j/lLAYHLHukSD4WCEV7fsWK6AWYEzmI0
aCZxb/Rso+Kae3I8+cbrCfFrjkhHpWLhQbPhepBkR/Musc9QsBIJYUYn4uL2BvW5xvkstRB8tOvg
M23yxiKSdgQkmMU1Rq3SP8VvgPUScaGBQRXvlkvPtZYuwJ1E/6vTbpbprwM1cvpnRp68Cn1sLniI
F+Ot1ZkeCVxi6iPNpePWtxyuYQ+5dftZFcQm/2XH5lpnko17ALkcIXV/ffbKiTxdxj6RrjSjM8jN
s4cePw2dUPpgs0mW0yGPRL0J1Y2KrEHmIBJ521fCAgG9+E68bYQRWCmPqkLUmWwuYkL5qmvY9pQT
0AQBFpog4SoRhw0FqUFX8McZnyGgyAc4EfVIFn35JrkJi3GElJiQ36r75v/W/nfQPXFSe6VrqN8S
8YcdJ0QdLB3zIPPjTfBVWPhVVkFAWjZbJbLX/oURrs3ctn2naMjxZ6TJqeL8+O7g2GfSNwkDRw1l
2sK2Kcw5NBFo9EJhoZGmaArUhMq4C5FwKbdCIU1p4VFHHb2aZpWWtq9sa2/v/RgYiZtvPl3yYIBh
FScOlwhku3quISLzLew+Ht6Z/iwmqFxXmoZOl+pXrrt075Pv0RGxVZ0y5cgHkNhYeY4Ss/r4VX72
n+OY7+Xue0wvIGYe8hteyEi5QgvPcV4DpImsLD1uNqs4Vs13+LH95J+SoaBn/CAVkP8C+LOXHcv6
FoSL2JLpQNYCapxjyEsr4R4Fwox0LDOE4hFiDsyF58oY/hFrA6w+ZQb0KhSVm8f3D8pljhc0bPjL
hkNHBkz2riHZSoKNCnoIdnFFeNeLuH7523CAij4t0XfYqf19G+w+wbKT/zwIHmZUthN1dsHy4nV7
sV7ibu+2BDfASpZflKVZyBXJvUdvARzDO0dlENG94g0O1dNuNVmzf514GXGt4vK8i8TeoXlyPYTd
/pT4KnQcLeV96j6/3GJ7cCPtMg45iCIn5EZBDcw5I6OD0wjZom+uIkV3iqccPjs85iZeDTwttHXr
p/Cz5t0mf+Yjgl08Q5mYaBdcEiriGFkQDtcCiFo4ZGyJxCaxN1rf5JHjbErmSFIhh2lIK1fCpZa3
qrn3iAXkxTh4N+JsZhILoCedTLRzKEZA+lhmmOR5j0dS29dQ26J8LbNHJKNwJypuJpZ8y5CN6Zo4
6uZXGt7ZP38K+pgaUmJzI6m3sTwh1yp4DUgTogqFtLdaOJj4BDKD/BT5mAb7BK9TwjhtFnQodtSu
oHKf4HJy+TsLBY6B5pBlurkNeNoxpbdE5rIZpNVqxJHErGghgWZdUjB1VDz3QD6MxjERXrSOnS3z
t/BwXeAoOoA/x9gPoD8OOLswFxrywdrXNIETmgqyTyVLsS6IIfqntJsAjxW4UbkwLMdSkb4eQ8ph
CtJwviVYvXIqmhUdrDo8iqaNQlXw3tQIDuHBrPnr9f0yWTdIrO5Vs8KNZR4lItDjL5ZVkstr/n0Q
ZiQlncl/wd+Ph9wO0NPjvQSBkr4SK7DlivPJd8tJtNPuol8BOy/ucnrhWpIC4XpNKi0oEmK6378X
+hmLnE8XOsGpuEraXVGhNOmhrQggNLe36f6uNxWqS6pmUVKHkk/bziG2O+4kn/St3BUIzyINltO+
nN3u2cNDthfvWwdQs/NfhDKgveZB0Df+NSIjgiF1d2/bZ7biffIRCOk7g2EtR+gZ7b3ocfGJmaao
BRraSn6KA+tCoD9K/0CgMpPg8NsjR3Y8ctw6ZRFRfkpsFPEqEwzLTNFpX1xHPV+HKe4nPJmUB4C9
zcdcB8o3otexW3qvdnx4Ca0DtsW0ooT+UtUd6g4qnM2z0tywDNXaFUXsn4hih+fEmpFcEIn/PKB8
oN20+EVWWZ+AUO5GsCojae73e0Ijhewi0JIw3p4cBltQqIFGIMi4yrZOWEilYk5sVuBSC7iO9IWK
9/8ds8PFDzFcNIXLXPs/rzD9hMpyJXNjPIt2420MKFC8NMn6U7klOTKLn2IVVksGcNwpXWbj1Odf
Qr5JZR48Qfo7WkhplmKrFO9c4MOV34CYFwv5j86HyIeBnrL8HWQ0Y7ATIJHRKRhJ4KRKfq9Yc9hm
Ip4q4ZHR7val9I6Ixzt1J/RSADbGCbZMQeLu4ueEH2G4Dwj+qrtXwFmRVTdlzL+gG+W7zLccvYuG
nA2Xowv80Zf7pTgl/W4K75UmrjIsc2iGbkE6Ox04BulC6T9Gj2adk7rLYJ3TzFhg6y8uPt95zpre
pj+ptW0ABAujhvd8qSOBbvif7b7dkTw8bLrxx5NeWf8umfUFea6mhtNZV5NGBXXKppdfkQDQxG+2
8Cqc/BkfWD2nXOh/xs/o1hmVIh5+1Rw+lDA4x6s3Rb5SQPY9c/1BpZQr1jIU0Z9t5ICgnBQsofJZ
Bbg8LeVVrvNO3/qKsK1POennJSEYI2LqlUQ+oqnfOoKlYxCqGEmWJrk1IG5lTjyKBWWizlIioCwe
42latCa/h4YuleQ84+213RS71ngMlLNPdBb0b1i5bjvJdOiyX6TAwMClLhyJ5iLnTshra5sfPufZ
yCTYmC6Zu/5bI0C/kI55cdPzHUk0GJPYglibF9XHFu1Mew2lq4k7+pRzpjAOJZz6KwRsvtMvGdlh
VFEWVjaQFbEpQnqBjUXZmxn/LDrAOCY6mWLnPb4uPh+e7ENxLGUA1A16CRwkn7s0f8q8DZJwkdp/
0aZ4AyejBxrpviDAzytocNi1JVckxTuYymIyw6OE8q/ij5eBarb6BlfW8GaSaT1Zf4dqU7GkDD1+
eoRnKPHhH738u+2fFMoKlDu4AfmxM9KBB296vfqbSdrEmbCeJNilBjJNDcPZW9d/PfVmUp/O+jEB
ELkPLAOO4zFvZLzK3jTH+fziEQxNVzxqWjZDyEW2X/p0kJWCKbRoZVTjwO5QIVLui9/YW0WbdWE4
SvNPLKlnnjBuxgGupnxYWTw0WXOBlTPUE//RyE3okfRL+ztfhf4XlhWLFeJL1pSYX7CCcE4Qffrw
wEcd8HDUHiQPwY5rlmc3/EDLLdlqjwKFo24HGZIzCmwQktNeGJP0l10btHOm96WZ2tx/xy1BTzF6
I+gRIqv/SpFUvbUwEpE85ZQAnJYqXnn9jxmXzNSQzzlJybEhjB2LnoAwkI+wfk4PbxUlTn4eK87h
VX4G+69uQ0+xJUs751kYHD9gJK2CGxhQZY3Cn5DsrFjU0mGNfIsOTuLijb+GVBMSyBq+dJFAp+l5
Q3lAHDOvhElYUbpPz/PpFwrna28jaJckWRTQEELPEc5jc1TkXUgVleYy/384X63f3DzySMoEFXyE
EiWNYwRusmbZ0rQr+0DHncilxx2kblCFXDpzXasbXbx3GD1pafIZqNO7pazrzy3IJcqZhBmYDs5O
KPciOteYBVHN1y6ggNavQo1yvX3Ubj3+MuikPwfB/AbIq6PfrrnL8lmKa4CXo8TjbaKxxCOmLwrk
t9vR4yWtXWLBkGfmiN0SqeXvuYsYWplgTGUbpYv4J9PpBeWxdlm+MThZIP7osxcxobkeQDryPmBF
L6HLJDyLzNNAr9j60Ea+Sm8aZTdZ68Q+/Ky25RkT21nF6CQ3jslDNBGEPnqxFjoZbF7ZmgHQguqv
DcKetLPGY552PhwSsZlRakfe3j8awNGFxADwhPSV+w2NETiAVeVvKK5Fxx5kwE9I+TLM27lOgUej
4+JHDcTdPNwlkYQgLyMENUSG8rcmYkCPozmIAqAOxHXWb0SEMSjbYu2np9qlQEPNliFZlxZMzmoY
gBoKJALwVBlV4b9Kvulo4POOw30NVTOxv0b+E8KBap9ftVq3fLijdze5EUGzBkycEvlMg/JOySUi
Ak09twSDeURGExACuhwZ2aYuX/IHnpMnNPgZjWsk0R13q9Ht5yZwrm0CVNkVFU6ZLeeEEIHkybD3
mKGdMEJFTZl3cUm8TYnXDuiRCjOabMaVASL5kL/837pFdlFtco1mwo6vXEW4g9kNQZos/wshGXj7
BREAfjkG24xLnCYMybND8y6H9PGcsMkVBfJiXLRwRxjDFuHnqaU/yk4x7NYN7PA0Dr/W8A6o3qWg
4emvhh++UoRa/m/YHvATCWcsAP6X8HGRoYl8OA22bwqTOVj4NNDwb1tMpUG3qIx+P/IBSMZFLQ+N
91711MugDnelHJPJcngjlqlzuItKWwzZKSSUrGFu7m4KKU2g8L4PRU7Uky5fPvGr+xDvhU94mRAn
1W9rfFYzAx6GwJ6WzggsBuXFoAN5YwpnhasXN2j2jDM6s6g+5NWQwYNR7tSzj3+V0h1KXcU8UWFH
/y91kAMJlbRFkha3VmWbTkIGYx4grUS3t1dZo3jXZdglWEz+bIgt/8W/U0nvXWj3Yg/Sy2v1DXc6
OJrq9pGNc9vqueaHmzisKQtlr4JlDMkYAsbxKV4hwGopBmykxboiBgzjQgsBegM2M/Kll0H2zzjb
U+WZ4xvS+RQq5FOW/7C6G4FPwtJbqBo5aggtJ3+zOkDomPcQlARw3QqvwXi29HXA4uc9BvRcBAf0
tk7Y1QBuPBW6ES1G34NOVq1OPlp3if/j6DyWHMW2KPpFRAgPUwkjIW9TqQmRlQbvEe7re9HxJh0V
9aqyJLj3mL3XNi+p8mIlw/h04GChyGUzUn1HG0h6fnk2mMCGaBdnYJslap4GOYed7IG5CxufTL2M
Kh+X+8GqbNFfleLWiz+RbjP9x8nui5wuHDeFlaHkSYMd0Z3jksH+4GRo7EF9oClb3EcRX46ldwxp
vWqDCk70XBTAr0Tw5MX6VJCE8zeB60FAwuDGE6rTCTmYvEKFYV6r4ZoTr6Jjd+K1FunWeFnYXyDK
QMtjLXBHIGvaJSEktCk4j0njLkqKxvBkBlTeq4gru8iYgmO3abgG9VvR4Abqfvxdzzm+ivaTP6w0
qFvZ7DKmQOPGl9DwkHfQEHY189/+1RrdHqUXfoG4e68m8m6ckC/7XllGYPt5jAupcML8r4Pt1iP0
0VWKhJqg6GmTlchU4B5R69slVZmGTkTMkVP8ycUjfkRAU0KNFIbVTOPhM85RESPJoh+tiYlBbtOm
dsqZNdK3iTfex2Bn1PaEg7+4+YK8TASSwGsMI9S/A82IuODY9Qktw+E16A6fRYoDtxrg2OcngVM3
jxgJUQ7VEfS2miVWNG0CtM8a+B2VBglf1dBBFGT0EVcJQWmMQFBQyx9R9RwWn7OTBjGafJILaGEv
Nc0hnFC9DUjbpiWMLBJamKTExq1el+0BT5iZ7I13A//zmOmpN8ofLdVR62+DexSf3v3qIkTI7Ppz
J92ZX0V3lv/oa6L4WwVZHXZ/jQFNDDuhbzHXqBjbE1ipRAzlUbZPzH/UvUncIMCghJhIfpmpCx4N
Q9zRIlfStZ0D3qMTqJjhI3FpqyPWwm6skZjninLphGxJWlYrzTaVv/iL0w9eGqaU2VOZjZDUs9qd
n64wHrxrvk9H3bCGp4YfT73KzUtTF/aonti13eXiCVXArD9GhjnFV4pBFTCF7IyJ1TC8H9R9K61D
wUoIU1kmvyRKdtotDvegSbcji3bkCcMZbfdHc0pDQFBECBB4bU2/zVH96qk1HukDezMWTWt8huqW
+LCC45dXEW1nsuzQp+zNaZ/tPmmnl/GFrQ2TbCh0jo3kveHLpCxdvfWzwQFOrMJAovr9zVLeFAHP
Oe8wtiMp9xRMKeiSZ2fjh4QC3Z9+TINBX8fpoDvv/mmalLx1SGaAvKJmRiIoZnaB5Y0JtECc4w71
xPCQyy1RDsqRZ5B4s9ajt0Rfkl5YiHfTJm4vY/JCDFT6NuZsUrwPHHK40p6SvBJ0i5KCjvHaX2nO
xyuESUJOKW/VvdZ7ce3K+/ZRvLkE5gwLXsfRjgkkmN8vGzVFRVbpSjxzcnDHocSAa8SNC4uMEEpA
WruWE4Efdo98V6MpUjEWPX2Et3b/j6waIpJMKDyMtycU3JwANiIJ+bXgQ0LyFjmVNbAxRNEVSh5m
K+MYrtnUrOb51lpS/oJZDl7xbwOqJX6grxbB75HLbkFTiwDDb7L3uZ29RGwfOa0/fdOZEDbeVvAz
HygQjYm9JjwIW/HXzJmQLZSVt/hE0TLYxOtyfE0rv7LiL1q7eF7LDp6pOIHA0pzG6ECEAeNmQDL6
ml0+3htd9JrGK0gPStesSIqrhi2cLmEv2rJXzQf8gSswpMKcNfARX9+OD1+lGEPoQGjS6NgI65kq
C7gUHH4LdEubjTRKkHqwiUkJ060Z2+JjrPcsb4gC4TESVtMdKWu1uAqZyyvZzwzfqTnigQDVrWzD
fhfSOJOFuVgWRw48r4y9mt0kx6cRvJFUiMxE2bEyGlrXAhYDi6Urfe5xXKM2QJ2gqRth2Pj+OY28
sL6wuiCqQGILEjFzcsuDCCN9IC430ZEMputTXNBFrGRWFIg6xALIjwPtuc4epbyPxU1JbmNmY+2H
QnbEaIWbiyAq5blonqyXIxUsGHRHzl/Urv0PgVgKToR1la/Bn+RuuccLGb5SziUw33hfJCdZzGTS
JibnatlczfjH/wiYxkXwg2NGQSIY/Zw6qdbBIcPSCnxyoOd5s3ioGGl8qovXJO6D00RdinbhckLu
utjVSJZ4XTYqzYJP0Q6KlWFjQl4lNjF4PshLySCClFjf0sMnly0zFhSLYbIW/VPzhEoo8eCaRz0a
L41KEM23rFvmuXj2n+xFJCJpqQVhEH0jkykY0DVu+Ndkn2JWk/ZBNOuywmL1hZEAo8H/LaXCd1RF
FxZikGHRoMd/4kuVjrPPtl/FwrZgHXwA6+IgDUw+p32LCYXTmdA/uni26jPf0ApYAiRu8s1kSoOy
R9GpXDO6wCs1NQ27PLHBQHDuiHaTQLN2i27F2O1m7uFEkhUgI+RmCes02tonQosn3j9JzDTe+oaJ
TwjPebFtPimS2vwHHMK5s9uD8a9KbytlDX+D7gcm8apKgWciw9GaJ8nP0i4/M/2sz83PPKzoCdbG
y3TivTPPIiE9F/85SGcEwRCRGVfShvJG1HuS06/kIbG+6SA9MTxCCA22Wr9Jr0fU7LhYmYO1yDtw
wVDxJ4d5YIY3X9+PtSsZ8HAZ9qaUstIeshXZOoO09WFHiJXqpKxsy7HizwyWuL2r4a8nnD2bMZoO
RkKCz9wOzZfC609vrTKp1dyBuwEXdmK/B7643u65c5jt+qUXVV4HYjFl4csKjIDs8pKomHk3AIbf
2tEYkSTQO7G4NXKTvTPxCUSS/YYsnRgYcC2+P3hNtZxr0pUR6RT++W0Uqzw7BNmxVs8LmAbqvSBH
b98fg1MseXyqbPqwcFWMwPQ/zJXRwBUG9dThQdXPKjspNKSSO81RcLdZWOf0jOpjIHoPpYEshemX
wgqeOsvaebeX0RlrhxGBL9Lu7FUwIEg1R2MzVEVfunQGFpseRv8LWUs0K1nNDdIczC5M8jHbKL+y
/lQlb2FslOrMc8y/FUHGeDTJR12m/yTEgvXHPIsx7BaP2E9Oqo4tHRff2nf9MP/CesXUGZAIP4BK
WrC6UVEBMe8gxyGGDz1ugCfFkRd99xvuGsQ6Jrvusvli4IWfzoy80gt+6kf3NyCL4evBPvDdIzT/
omSkGW9e/EFvwjwDK95SD59YczHbvUhkhLMUlm3seArm3XbN/L3LcMCTGwQl0GsmfB+klGAiTdr1
LKA9Ug2wykatT66Kv2UfVT4a1WbqSmwPLvd/DXpGpNj6lpNSZ6fpy49YAxJX77vir33kXwjf6uK3
phNXR1jQBTYmrD8O0nW47L3L8qH4xWBWAfNZtlv8X+gjmBfy8zbOLJd66mfRo0LOfhDBgXQiNYnO
nj5dil76GfgLMcvvdQ8vJ3AI7WrgBDMp4szLE1xH5oaYxXjQV3P1jJnGdP1ngpGSJ50Z1CDYOILZ
QVMvd+MKYReyhE2DC8k1zC8NIAUjDZK1sJgVXyhWWEbrpj1RdxS0v0t5LhWIp5ERZfwon9SQPoLq
ynsPy1/5H/+e8ZT/YTug/Adl/EYJt+t+ifJqrtFTa+fpYceejHXYX1n+GLzhOCLvi5IcEFf6UV/S
d2TeCzgSs0QntJI7zxVsucLjCB/OH+myvHDdUnFxZ0x4/q/VpzCBYVqr5EMSmtBDZp0fj2SH7FS7
ho+YIA8SB20My41d6fdkx7LT1rb5K+UT28AU1QltcMl8wfBD68ACFrpl2B+HyjHBXYxfhDeoZBqm
Msg97LZoFKmZy1WdfSe1hzMZRyLo+7Xx7latyZzyTnwWgb188KGlez0WnmpVFy6RgujZop/olgt2
96c0TwSk/RMkrnr2j+kFVeZGPvGtbkluOqHNYswkJlhqbVwGkf/FdcI303oRdhrINf8TikkSLu5G
T8qkl/1CGe62PNUX6YgsSGGGO62ZyquMMQfm8jOQX0YN94US4X3DF4d7lRhJsafirxk8PbmxcRxA
iU9Au2r/wmlDWkPLN51tyvX4A8JHP1c71OgoQjaLjXErQan9tJ5xDb84fqb+3n41NwbN04OFP/sj
jpctNohetJh20BzOrF6CG2j1Mf/Wbo6v/s2kbOX/VHAN6d5fDLH0P4AkOLtAJu+He27rHr8oo8cc
r+JfdsOIN3PpXeRrrKy564XX+8mULaVa12hBIOhFVqGckpgFItlQmEqtbt1+EN7u5f5Z/Sf/iylF
0eiarGqZB5383HDlS6Hb3+ny03Q7mzePI9XrMkvf5yyFtilZBVTXEcrMy3CWTn3sartvPIgcj/Du
V9qnsok2jIXxvNjiulO5SCBFtpjbWEKItvYjrHKS9FZ0ReeEeA5QB1hHrMy/gL9k7YvSu2eS73xg
LViQHW7zzFvlr+DKB5oW3VaO5JV7HInSlgzQXxzwHpNQPmU7Q3+ibLlUJ4vEicyyiS9gc8Qmb7Ab
q/4w9wBJqReBSuJP2vIevo88M7vmW7WLbp0v+deRYL9BegiZQSy2NhcSGliPlujJIho9lcqLw/TF
Lfs9xBkiCSxq7d2YOf0RORxkFHfWdfED1fhtH4zy9uOH3qPqH/+VZ4reA+wK9smpfpIHKvTl9ND/
MAPRMJTIGyilfzUgrK8K1XeJPurAGrMZt0yV3zcEbhjwv1NprzKw4tH+yi+TDkj2XgRb6FXMteN0
Uy9sFDsDmZFDg6jzKQ7nScIARGabfy5pxeJxr4VQ7X2nBr62UzBDIaPUm4fKCm9xlIQvRkD6dwmJ
ZWBZUKiX2LwWOvCPkQKovjC6o57PZewG1Wuc0S10/K11mQ0RdnzEUj5QxX/DmuT10ymRBlqT2fs2
hyOceW/8kFBmZ3KTDQJosLArrIggudzJJlxAcjKc2w0i343gYfUBz0R0j7xRGYVCoKALtEKJKdw6
SL2LjB1pLUDlWK7XIVaefl1Ga3o5zkBuLjZp+8Rj7McIiYlDzXFBGwD+Yl6ChWsGsUiQQcBcFtuq
xeHktmCnM+wBtIU7AtEhA5BzQEYXUihlQ55tO7rwRGT1QMk1hLO2DWKDlaJ4JQkQcTapyMDqDf1f
l9vm2Vy49PmahseGiSg28LX/ydhL4uOSK1dgiFHMdS5vXqOc0vgM5Y778O1oiVOEdnWTdk1Ej72j
kYxfE6NXOJ/6laYEYQEErOp9aA2biBl2HYZv9Qghxwl0FNZTD99/MPyUfOXqJgh24sj0UpnsOCSj
gpZJskuMIAYbe6P7k3kF6g85Qby8eFbFs1KOI7sL4HxKgxlpObx2FIXjJjmCgWZecGMT3qP6vaJy
CIQdAsC3/wmMTFPd8i79a8aHoJ60D8wRu45lAqxRZKaSQ+iEBGt7AmOCDDFiqcIDheZjWsPuxJ87
gw9mR0MQWSLWVz4yEQz9Mj4zRx+6Gy6YscCXPecjx9EmuLEHW/zzCXd3ht8FDvI1YALFoYJDklaD
9z6pSIR51Q1upBH+8KoWt7OMESs59wBuRYdJkhjsGReOodtekifynu8i+ZCQd+mrfnjJwR3QYAbN
O1g1rYcpsjsT2iCIW7owNi0aEsQHzzAD6hXnuwkLwJt++VfQ36QY5leazYxtrn+PdbqLLr7i6L6D
30qadiBo+e+RUhVZCpamJTorxIO19RUvP2HY6Pzgx4qxYShf6m9muoCFERuhV2HAnzN82vQAfNG9
hEcptaaWvQSu1kucHMCGDjoI4Ife2Q05Mvsw/O3DzzT8FbEcYTm54zEdwXNql5CXs9jBwOLHJJWa
JNMB+K/V6huumwZVggVt1tAsDrzFB6u5a09qd2iXB20tp3OUnqJ5KFGqAh6BV/82JcO/ozZto3at
qk/ejxyUJKTacUfXTiKFeRzBtBHo3p4KuD8DXE3uHXhJluaKgGm+TFbQIAtXOn7BL8RDjaddGHgR
/fw5nYw79xUVE3qdzOEdHT0TuTXaAkCxOt8Cdq3VdGIDXn3mLL46C/WB2K4KVs1LIhTWnMErMDjs
tvhh/nGOm9gADBfri4S7Muf+daryMKicPhAVaru0pINGdAFD0B3EoBhLAmiHZBkB4CQnAUXNAZgp
rZW+w2kVfNCjNPPPsIivi564IsSCCK2JzsMQo69YsEQQ3BJb5dr66jDEF6xUq9uI6sP3Wn39TDfq
txECqd5mD0k9S68B754O8AJbGal1s42eR8TM72JHj7oeWW8TphyIZKFc1c9gRJ+8iv6wPgKhzlWa
ACcn0+yzY23B9wsE41QTa3JF8URp6LvV5RUchvEQMO1hTrwMW1jBgD0xPDC4wv6EefA1HSmGOXbj
A0kmGu7ha5c63XiNwrNqbHoW7AYmKasT1vqutmJOBWw3ybq2MipTwN4aQ0XtXuf3SbhUiD44J22U
RAsqDQdSvdy5fGY8FGC/TK/FFXkeqSlkOAO0JqnVfTL3IRcRWwQJ84SCDlaL2naFlqTWN/0aPUr1
QYk//jVf/p2MjspmK8qda7g6Q1aMin8S577yPTwJ1EGbkvMwugp/ZodiiLjStcRd7ehsH8hsUyD4
LWF1/unpqmTob5tHKYIhgaISEs+hdzGZ1zyL8FopB3o6NYaKVoHf1j8uFnsFd9a7/GGrRrAiMQ3J
CpDA93TT/iRSX1RHlKFmMJvDcUl/7/hiAdfHLhY3UQBlP9ntvG2IbrwvOqYDhgiFF8fo1i3jrPHG
rvaQ65zgH0TeA+HB6bNikNOAl+5/i99sn7xouAF0yYgJ0eWhMVicsy/xlsH7/EHrTwooIyN6ciYW
VbCMAFO7zOmYutvIvozV+DOipfVRHdjqVgnI4nIV/WkQAP8m2Kz+SbF93MR0J+WuaC5jTN/4bLBk
/LK64jibnA71Fc/DxQj2OXn1PK0CyW/M5q2xglQT7YR1wAZGDe8dQ76OZQ+vmQgazA28Zh4xoGaf
Uz+G3YsHVN419xDV2B3p72djeuyEyEZb11t/rpADO7ZAwm4Eu0BJd8q88ppaCkxiUiwQ0wBGC07V
pbq8WeyHyGIBvljxp1RxYz8CIpgOun8nqh07LyPc1IvHbdi5zZf6TDS0E+vAP2RfEvrXb85m4gXw
0yxlgYHfXj7yOqL5YDiwfP8VDySB+UbzskOfbNA1EKNjfi8U0l1XQK5Nxozegk/wpLllcRyclAmR
PafLYIZZct6SX88NDdet5Tv29wN675XCK6O4gOpx9isuL4wtj475HTNhKHHfw5D+np7BF1sUFc7Y
qmOwxB/1jBhCE8thBwf92GIFFl5zLTDwm9V/hF4QxsFV2m9rIfEyBXdqmdoLbLIYuaJ4VfXfJalU
FbiXvEJUbdiR8hziCH5c/ohkAHLo3FlrOMyOJFrs5g296FxwzqRGvlI5Pv33TzDMo7hmW2EijgUG
tYWnJkDq5U3G65O7eNuPhsNGGyH9YiszkJmZakcTIc4ni8BkAty5b3Sn5aON0F2GH+IzO4iNW3ZY
CWDwXELAIiGS7R/ylU0Z4OGmeZ9QE1TjOrgqIGQYs1xIWEeYqMsQSw+c/o1+BesW/jTyeqIEwxfa
ryneZWHJzJ3zNf43ARJVvmBPwM4TCLBmAc2rbTrCj7rRxnU7nRrc+PUqjW0pX2fpWbhB247IxGSn
RGhGseYitkheKdGZrSVKwEktacpcmfA5MhY18T7quMnuWgB0UD0l43clbMl2D/iBl4KArh2X21aN
cbra7yvYRIuznBIXcCNMbP7bjzbkRoahrfPF/rCCLqIdJBuMK/eg4+5fpZ+k3QjvVVrsgVI1751I
tFhxIAFRO4dcunQQose3L8hzJfbjj8iRIaqw/6ArvUnTcsTR//0T8yMwDyGxFK/jErveYKXcmvQG
CKbK7zbwKrLqz3Fn83PxCTKPZvzK9dDXsN/RpXCfErj4d6WI/ahYNXNKj9TkbgjAc1ZELQFZ5h5T
vXPdcXG6GZm4UOtiVzwuznh+0JGaP8K63UXRXjsT4UjR1q2leqcQyQUA5K+FYniJkfUQR4p6Q70Z
tvJ24ju5lgb6UDdz8CUceHPgpm0kqnIslIBhEPjjLdnXZKCydjpELAaWVrmTYGds9Bsvxl3XTxT5
lWlNMWNxt19u+XHCHw7KXnL4TNHU4LFbTYUzwcL+a28jXFvgwldklQhDSJ12Bhe8lnwqLQ6B+nvq
obKHO5THC7SkLU4CN7ioWPv6C4EXqEwld0Gf9qkwdRH53JER1eRdrnsDj/CrRzyIcuWpi9w2Flq3
0WF1nCq2H63H+NyyF7UCtARqBEbU6c/vysb4mT91fSOdAXGyhkJ2JpNGcH4vboFu5QKSgmWrYhy8
psIZ4CmmzSGwMW4fG9id9bVTP8yTxIYh5oSRjC2HDYEO43I7iE4LsIntRkZaT4vyoPCSjzGzBbYa
PJGlueGoTHy2NpzyS+zcOJ57PEWQP2z/hWb52qGBjsoPOoUQb5c9nTgxusACIE6InLlwOsaXLG2X
ug+wA4c5O0N2Tfv62TMRPPIZppSvy2wPuQUyKqel8r7zd9ZwllZK/29kzLHRsNy9ZBH1yJJf4DhM
oo06bGNYYni4yXttyRdxddKUUZfByWCgS+GQvHfKyKCECnFaU/PxS2yPjCVZNndN9KiV9lPkyhuW
xsGymizzU9pjxH5v35ENtfAwHMlCM7lx5wYDg10KgOprHFH9IoVAG+LI3+/zuK+h2WwQh7POwI9O
kbGjwgXwJm4rKLOe1t+6bC9SPkdWecL01pcnuHL+PisOqOpr8ClX/8SLr+dQlJm3W+riEphbwrJg
S7TI2oOt9islh5qR9i3unsjpF/GPSb6ltDclxgrsFDOqF/n5BvqE3S2w0J5jf4L6+QficfgXJzfu
InmrkVs14yM3UOh8Gk5p1ocjlOChzlW7xqM5slIFglHFljwd1HmZ0j7f6AGTGfQHctmEoIDFHvA9
sVB8sznOuZByV2r1w+Iv7xq357EXTp1vEDuhr01QsKkPtpCfTPnlsK8EO+MpVoHyz8L1XRcLUN07
VmIVzxZ7FtCqpO0W5SEEQlaJoA/y1orrW3RgvVOvE35P9EYAg6d/kblxxFTH39eWeaVT0ruP98Jt
8Q3U0cvYR4u9ZCTr+Q1BpNhPld2JfwkP21Ry5KS/I2hIHgj5xSMzSddgukwh6iSR6YKHlCQlLxZW
6SkX2BIutgUVpz6cTB3/EqibNvjxEyJocFsIqKrqayTI9gJEGIX0I+uCXaOVFnxXvTt3PVFku+kz
7BjtkPMaeG/Oyr77yeTNYvElLh5IeVnMoFwG+sbHxaDa94zMRScjoU3MT2nrttB3gu6QatKG7GIL
teDGzB38HZ3ETyHH10aOrJTOKVsYzqJyClQzC+MaAZALoQ2JfzlfrIKGKDJaXM+SpfLyVFRQXvaa
v9zcIKFkRrouia9tfwP9HAPlpcdZiShdQKqhkZhOdXvRzRNrY0VaAYaH+GRUJAfAYLDrwWIgmjlU
CB0jMHgIhSqcCHLw9ylctQ7BJPNDw42ya4HA5g1l5RTWa4PtrGQX4WZQ7lOFG7F7b9KRahZdROtM
+a03n5PC08xoSUNOIL3z69QDP9RQ/vkosepiN/D+NvhISjIdMJ7IrVf03TZiaTK33+jhQsp8MRER
vQErLyf8hBStpmHnje++gz2n+CZIr0M7rhQ1+ctofYqEIwXdjSQmToAKRzsvMCo34pyY3fLQBSgO
havgh395ddbbwTGq2ZoKTUXCS8eYOVZQtxLLkX+aAOhwGuX6unlHjrHIeVp8cvnUpahVD0GSNlHd
WekzTkMnS/664lzrX2YQnATwV5kRM88qkNv1vM4EBCEBhc8imAdDZvGqoLzV4Fkcp/8Hx0/VZyP5
3vuqBA/bjbCl3sz3p8lUNTkD3mWiIn+kIoqkArMdkaOpSDWjG9ag0qlnRGsQHZ2RlVNsFJ7aQpzl
BB/ETkoMl9PBa/4xbPAVGs7CItMi3f8xXtPPCXqbfCeBATRyj/kV6E0h+Em5Wwg7xeom1M+I24Pu
0hQ84Tj+JdpzdlGP6PgBWrVEDVGHN3zsGYxAQ9iVBKMNJey49FevjyJyi+jUB5/hPl7goJTWgeJE
AUAjmipNAssNJkXpnQ4VpXqTN3ruTPG/ghvbENhkkYIsEugVPVTq2QHqmMZwsyPFNU9Gr5yeKheY
ANuB14YwNC7ecM8GGrELO9dB+K2SxC1ldakuIvh0y4h4r/jRL0z+5pAl0ifcNQXGCpEplkBC6EIl
fUa6aoey+FLVldCftWwzHBHdAc3mzujRMiin9/Ddq/w1D7lbYC96hgh0ROXQAKZvriG7pI7xpMHk
SA484U1mkAA9Pj4sEvj12SxAw3pEQrFolzN4l865D/GHGjb1bg5RvcsvTf/QKtQBFTIjJXTJgiAK
OTGQhzMLxM2kUc6m5yrpubytgLT57Kwj1EWvRT/OSDa/6/T96oHIDeKLZ8J+sQs5abpfaPZOxGZ3
RCplodyB400/6XN1C/zXtiWHPd9p2nmQP+K7oWLaw80Yfsr9Jsv3xfgDrQKvyELagHPW9R16E0nz
6n3FxayfFgm8B+5eYrd4eFDI0fig7zjPnTKqbid9JqgStE2Hg5+RLDsXsLmkUp8p4KDAwg/+0DdM
RKZuz8uG1n4bOHBX5L146rjnD9OJScNEGoxI/U4d3hqs5OV1Bn+IMU92VkQ7ytyQRrAbD/JI0QS+
mikhznokOhMJClYbrM0batyAgU1IyzPxAXB8g8YDylvBKUJ+ifoO5C/2eTXaxcydSaHoHoITI7ZB
ayDtFvybDHyFj7Fz0PPuF4wOwk35/U72tf7QI1sXf/N5vijDYga9rozHkBKB07SmVWJQVx4CfavP
86D3JalOC3hShfueXD//t4B4QSLUhlIL213PBRjuZ8ioOTJo4v+BLhwG7pA5XOHtwsKxxmWF4Ga6
BkCJp2ZdwnGQmTqjk6GI7pbJIUUHjfAb7stIXcag4R0MZKexNExBwzOiM4n/3FL4CUfCPimAhdZV
J1aXz+GN0UJbI4MfXmJEZhCbEOlPQW4ToLIxRHYUDHwcPxtZikGTRhpMSuCCgVoShG79rMnVaWpn
QnfcFIdFd09bL9NZYTC7JgRvwSevcMwmDbQBSkFSekxUxo2KL01CyMTajAGMqWES98IGSdCh/PE9
MfynAfejgESCgTdTw+Wpw6kZtjUUy7ph585+XVTIa8p/OuMe+sjY0BcszMMwUYd5BQ8VmuXmo7yO
yZZxSfVsoUc6KRlbVC1AiaE9BOup/xHyxkl5D/135QYEN4SskDnEGWjwAO1Z1/ePdKbCvk8p2u8t
VsK3ueuCV0fuz2JAnbRSjTnKmblvcDC84qLPSCHhij2LVfkbTEfE24h0asFrAX/wpDNFVpSbMVgB
cqyLgq4gl0BecCGvmWNJ7bdy74619M/EM6KcBc1lAoJMQdzKCx6WbYwAtSX3ql6ySpEZicYE0EO7
4EpuF5c2PnY6p6cCEhIcG9Ta8RtNNS+QuRP/yYt/0W8G39NWblO25d+acFTmX2ioyesqJczDbAOY
niHqSeGXPqRwo6Rvxqe3Sd1k+gKDz0oAHgEpZKFc0aqx1woaarTkR+pt5MR6g3znVsbrRLHN+KNA
FQn1khrFn5YhHgcEU5o9EzEC2vpyRujH2vrNqesNhKi+mQdz3zsqyonJVVW3QITZATKpba06iG8v
LDFcXkrBi+WHNL/EHS4CLnf1TUcn3jQQElVbuO144nACQz8hM/FZWiuXQrz75QerDD0dKO1Q7Quc
uA1GbfM3DO9afoglcMCv3PhXVI8GHZY/f2nFryxZIVTT924GVA17Jlwy8r0E20bikhjN6ltHwm7u
0PpNwqearEREfzm4dPr2c+5EDIrwr9R8g63+EtptOjhNyjqLEYPk6vJuYIA5R1whNC87x5DR7tJI
P7Twr0pdc/r1k21qQuw/8MqRJlg3n4Z+ijsGiT2OFQqDozac1W0jbQLkdZ0lvY+6dB/gYxi/jBps
GgsemWmj2KO4lncceYa8Lc496ho5XvX3sjvkxqsFcaFZfCzVQUPos2OEJr5G4ap1lwZMypDgz8SB
gyX+pbNzANWariXRJbw6t5Ass9BGw2osMeyhA8xY7BUNmO97JrtBiH2DwAJX8caJyFdxXiBkuWuO
22q4mwCvPSaYeA6cfHGg+2JWyzjP4CXBM+EfNfkmM7zlajsq0Jzk6ZrXN2nltNDTxT3vHGs08UOH
m7KiM/3DcNxEeyXca+P93XyXJssmT6LrHBKdHCgvQNX6p+v/SIaOhNPwraMwgTEK4hCZKwpwhdno
XQlwZF+iAxRpc8nWLWovpJF1LRs8BmwPXTxJ7ws2DT7LUNr1jLbmg7jEe2Cga976qMgNyLcIdNio
OGbj6ZyzYCdyO0MAxWq0mmyh2SSaRelT+pZspf6yPRItoMwX+OXln4m2XDfr7sjozwaBBO5zmx4v
mJ51uzB3KrQyfSunu4Am2o5J8eD+4m4Y228M4YvUw3pdYkytLkLmDIpopbh24f+j6d62oZVVP+Et
8WnYaGAD4crOR4ZltqfwmJNInBsXzqhe/fAcEiH2COkM1ownlek1oOXogS/SJLvFeWAbZ9O37jjY
BIRK4ap6KAxun3sqNqznA1lZaHYLOsDjGxGc/OfTPYrNU2GZNmDX7VoPCJIdISEp34SE0vyv6N/b
6UAHK3C8+rWzwKUGnxEp1fztyDh3MFkQAJq8P3v5iiDHQL7ANgvNftHfavUYk/rCQGgrFZjs66vJ
ochu767uUga03EaluZLNTTMuILPYdW3nyr/SPyO5WwvSUni+L/piKaKrec9HbYD5CQnyObOpx8Xl
kcsQX9+Cof3b41UJbh3gqCuyOxvHDxHJLTPKNS6iciV89O74APsgWfFJ+WPcXdUJkLE/vuCSLDie
B/6XqWdhSZLShs8+ah0h+qoOiXrLwqfo/5PQalMh+HzJlA9kvRrr7VB9BsZTnaEpo2mVGxxF8Qb+
u71ga7ZhWjM0a7Z/ymqg+WegUa1ZXAxMbTINFTj+xJOSuxKt2Emj/sRFbU03Dk8FqzLyJum9bOtj
KmO1ZnizMxYcv8nMR97WG1z73FL8yKjR6I7HJTeUk5grXV/jYuoRgWUei42p3gvthsCXJe95iOjo
SZytcHjxVBayC84jT+7DDbda9XpfGB49W/7QC7DgI77HAEKfsSkMi7UtHUdqrom83ME1eKbhFw9j
J9yz4W6M9/zWPFIBSwLDTJ4bH54v3Fy6uuRFGQE2LSi2VCZVD1ktRECH3QXb8fY92fTzFaTm+CLo
DAP3tTnHOcY/an1m5J6/t2SoLmQvW5M7hHwHx88Vy1ayZVwZnwSgbZLdHUN9b3xBVGSJVspWi3xg
iZFRdfy/weINFq6l+lvVEXz7bzWjcaDfH3m2nxlQvEk86V1lMVznHQhtzjFZOg0+mblW+ibiYDtW
DhmNE88ixZE6HQzpk/ztnAea9S3Vqd/8KwM34XZCIDHCFKcKMV3KugbsaVN4qJaQSKbJjrF0/ygZ
sZFW5L62SvJRMzDyVaeW/8KAImGCYTvvSge0LrKKYm39Bptn9Qcm2PmmaXfJfySdV3OjXBZFfxFV
BJFeJZJAOViWXyjLdpMlctCvn8U3Mz3TXW67LSO499xz9l57p2g/oMiWi7lhwHcE8aCgxqzgQaqM
Y5+25sJCaD7DrGARDdibWQQigN4hgrc4I6SaLFAvDb9rYrnnlpQcnokWB3y3mz7U7EtlLWc8d4yd
hggE4aNjRuqNuB5R+kmOKXsEloy1++LZNz/q/Mh0+2t6nf6b72ELy47luS9osHN4S3w9XC/k7YSN
tU3mfKMQlR4ORvGredNjxTWJgewTVIRYBK+hdVmResRNnFeT1ZAfFBFk3b9huNfmRaPvnVqDXdHc
6U/1ulc/dPEcitiAD6+5k65+xCqF05lUCQ38ScvaRpOE5AD18W5xhjqGr87LPD3rJZhECuAUXhGy
Hw7CJ1QHtE7rKCgv/J7BEzEsJaiICY9dcWXEfs9Ob36RrrZAg+oKE08unifX+GsBj1ivHRZXWtUW
ixlTxxrc8oaSgZnUyvwMfe2boFbiWSW6ones7hKUKE8wWB+37MNv+NotdFaFinYVocLKMG4Lj2fv
G/0jaj8aXM1z7PKjNZaRb7wcWqSUYrSk3u8bs91KGamCrJT26YKRO54xvvHbkbRTEzlYeorFXe43
5WEBOTaDl1Hrv4BeJO5kTTMAhDFre9olSiTza957vAUG5EtLLEXcrSlt+sKR9J+Ot3DSg+0Xczne
NJfHucluXPF509P+WLMXTDzI/HyKlqquZxim+NstgieKk5xQJd2J0YhEpsL8Zq0gZtbPI6I9VmBi
7Gns2NFXiRQDb4I1IA7DmiysDAsBbD44kgeFM5dp8B27nK05XFOmN29IJ8hM69onLaLu8Kmw3r4K
9JRYzJ2QkMzP1/tLLgn52IfyRdJ1aBP7KNmOSKZAQAkQjSAmIlUS6osG5abc93h8ost7sZlvKJkO
EPXvNL+zEb0yxr8fe9qkeoVvA3SYzOmeszujSIM9BE5SMH3MdzVN/4JTwb9RIjAkHlbEuxRxGahI
165GequzL5N5DH2dAnIPUyBGtAnxUrhsXrtBoFTHFF7dS8SN2dfiDct2mf5q/wriit5nDT27lv2F
BOLcW+FIWS5+v3lcory2oteZRpamU+TyJRHk9Q569bU11kVK0iytNUkHvw2rmSnYd3akQ13RpTV3
4W/6wJqZouSCCkVQ9JP8w5+anqRerLXfoe2XkrLl4atLzJPe2P9m4Qn/rZJ9TgJYOtj5waDMUYIo
ZdStVJ21hNzNVRieJmJkEo4n9GQ0/02eX2e9Jh/TbM+SThdHYd/Oc1TnX9GXlJPjNtjU3G9Mz6WV
HSkvaDzL1bXnmcrGO6nC85dQ8wPc0Q8achmypJPG6mZkmPrBB0g+1vB5y6RS4nxAnlFcxfneVtuz
RnxXJm+7/pR4MpsyI2cnTFZi5jLhXe0vCph0nOYr9mkq0SK7Qc+Pz8Y3C3ccBa1s0SkFS359fsaH
jmwoq9hyREie1pcCNWRZIAL6Z2iB4nwyzxKxcbN8ZzAJ3g5VF6s5ZziGIMRDIBSFfcF8AOA5ceIr
jWgdeBucxWj6HUtnVgAIpV+JmPuRM61ncQIPEmO2t1t2jLu2LTuRjvy5hulnWD1GZHCenGok06lc
VoI7EFYzu0ei3b3vc4LkFb1MnH6b2SafMFQc03tHivApi4kkwThNf6ODtvdVPC3jfenXHBa441t4
FIYfyltpcJJ43VOE0BIk7kHascOG70stEaNwexM3sOo5x0cfBXBibVwp6Ci1feWyZlZI62UlSD+j
WUprkU60TbSzRsOiaJci6cYRAlGeP5rVi2htwKPUfzJu3ELg4B7z7c7VEebSeDQJ7VO8Z3cQcNxx
/KYQBVPHeqWx6a873EYRbpIVD39trlVF4oC7kb+pJDIOhECq35i5oJeQS3I3Yw4Utvr5JDwgW1dM
uLaJV9dbjQDa3o+6TWuut1tswVYhbcNtRnf4k1WV2ZzDIaFcx7/lm3wxJ23XGiXWk2aT+G8ExS4c
ngq6V+vdkYZDHxSttJ9rJ0O3KLvSuaDoXvb0p5K0WHyaQkBxhWLmWeEjQLnBTG8UTQwtbo92NcMD
xAH7n+GzH8Xi2RC9ptoooRtBL+nmzaWbvkOcQMLuTcxG4zATllwclNIUvKTtQrcy/M+TnSmXmIKY
KcwtbIGrcar74CTCYlcm6BB9rb4WuY3QRKwC7XnOm6NuPDLhLM9TFfi4L/5NJtmKP2anCIFtdemI
EZQRrFPO0mUxYDFmrLtIyod9CtzIeZZroTu/ECNryaf5Dnjna6g6BWEX3OGtjtev2guoN+Z/uGE/
TsC/mTHHHKN7aIsLkh2aSvEvta1Jdu3q5cvagei1DkFlZumtF8HS0BQu/yo1/CT7iyPLEOzmQ8eU
md/eIvFZwMxR7pGeovoaJ1RglnZGQslnw/ExZlV/WzAPh+uUn7MdhZqwsEWJhjRrp4rNj9MgbbuQ
Im4+OYXfpu7lGam9DETqSlnlJt+/v/ZvQJgoVemN5+cajDYnLtLeJLyJklNmm76VCfqD8EgSHll8
0mGy49846SjY0A/pn9QgIUZs/XVvhmtFbSbMY5jxvDCbVU7osk7QRpqcOCS+BLuj2KP4i8Q1P04x
t3fFDBkBCzpDSAE3C5WKsskq1Hlsrjq0jhIGnnxh/LqI6Wj35KNCa5FR/73+KshbPYbJmpTUsdpq
z3bzbhaY05ltICQmNylriHCeR8Lc9/qbxjKY7Wr1JXwi+zEeJU0lasqyh42NVLmxTbm224ifHi8K
6mRJpulEiNFItPcThqvJRjb3Gvm5GaIL8XfKWazOWW5CID3/EthJ8M1MbMbZvNYx8V7gM4iiy1wq
GcvETf5qqoHMBs+M5FSjQbdeUF/SmFI1HvjYfUePISxX82M9DCQDUNj2JwMwPd1yKjIG2siHkYnb
aX2PpHVFgyS8ZSljHAvJEIFuGR1AmFC4WGmSlK9jJbsywslS2tHsK8bjsKA9u4x/5P5EB1RnlOqQ
/JT/prGVD2vWXx6sFwdpnvkIOiK6Cn2l3/TdYi2hF46+RjwVzUrPTnkfVDn5diSfKwxF9+UVXnIZ
yLSjp2sPQ7FyuHfnAQUMUBSbJZMEyMioalz1ue3iT7H/EglGniGbJNyZ+TpKOanbanInOjjkGQGm
2liwk+k/U+kMKCdyHQCA9i/VMTGs4Hs8X6QdCOckORuLy4Qp3cSCsdabY1YFIbZH/a+ZIFUdWumg
0HVEPAmuD31ZZZeMzgfkG7ygkgyAhpSkCR9YD7MioMf2fgfxuGtNj5m2gZtWXqmxU5tkmHRxvYpS
etCSJOr4JzFaP5LmML0hTLKqexWaGnU69xwchX1VHbrpGkleMoLKsjlNLjjU3VUa8GsW0ZYDk7Qu
kKeEbxd1n6BkyFgBR4iIwAOxws9B1/6LpZnlo3sY0rb+ZStJaQcjD2aC45XUfqqw7b6RCFU7DuwN
IvgbSWQLKC1HOmrRaInaZ1jYbycVtnTU8nso7ADjyf9q021KqBxMYBBo0eGQfdSRb0eHrof/ULXb
xccsaOD5KuEkEmxKo8kZHZqhFDMx4w5T+Yu+6TBzmKaXYr6h6tOgQ82kfFbtY67RV3p8ovTrre6D
sir3uPKv7ah48CRo7L3GZUQ1OXLEfrqL4twvNh3PlcYcZeDlHo2/7qhN32xzFaetkje/vhTkHcxX
72KqHnCT6aqjrMRp8ZJ+48jRfpp75uZWYtoC+5u6eeq/nCU5qBWe9sZLse9R/CbfBkkl7xXLJ70u
ibEOr9wIFsWtaD72EmoY+NLLbkw8xfDorZTRzuROexgoT6UKYQ+F4jo90H6nxYb5nWkKKqK1DMqy
V4hlRXrDez99l4WjiVuD7BfmILzz40igQuOJ0RGi7SH0R+1fKKD6t/lV0UZk3TWH2ImFLeXzVES3
QQvemHPx31B+6/sGEj6yEx4mqzqypNn7EMXeCfPBrK1UgSSKnBFEUPnrBq8wnhGy4bq5eSKuRxk+
xLKFI8xahx93MuH1ycd5t6ejqPyOCHveSCaZcLNfTeNVarxXdZDQtL+aXw5fgvnoORJIbJWVDIwg
oLfcgm0LTNbSkCCfbM12/EVDQECmn695UBAvBGwOCzxsdbOmLU/Tk94rP8+EObi/spjrXBTsrtcB
WaBxluuTKEOyimBzD1/96DB1zXG/L2y99kbxMGPT8GJO9OHZYLx6lfqkkr+Hsww8HtYFUXl/hG7U
MT8VdjUyt6bZnqu8nISxtX5PIDkwVo1a6JsiI/4BaPI+IV4TO7BRn8s/XMgLDfYXN2tAU73haRFv
MiXMvtL3QjpsGkLOmQG7zYR132FmLWAceH8S9QWDiHQQXENsQ9jPJjdT9+PzpKurIweS1hJLGjcr
fOD8muB5++KywQn+hfzw6yWein16jJDCxsxa8VeLJFghjxYX+zri6TrFsUcuvJeRnr3SbuNXnxwB
wWdtoFU3C47BX/MYSQ38xxGPCiTftBaptStCeBs2MUdYZ4x6y79/YvA7BVdsIxUW5j+FWfGVXZgB
zwqqvH2fzZexjSeCva+lXTx4oPw26QteuvP8eRG8+H9f1tbHezrDbjPw355+R4gCBlBHGKcVjEM5
60O5ZzSMuFygo0jsAt+JTqPOXBuHMlRyLlPF8YcOYHTBItK/7BXiGScC5sT9QhqCGwPi+JDS37dK
UgnyBEtq/PcCg4z96oJFwlGReIAWojH/CMN+wu0LrAYjwY6kt5F+8mj63X8BpwNMttvE4NcMPSRP
nTq38KhmoLhAeSRz5V+p7iYRkf14hGH4ep8Y4rHJv+DYYb8MQo52XoOXCJUaYSGicBd1P80OqfAP
Qcf4y5eZix0K8fNATugC/rnFlJ/+8JTupwC7VItPsNy0fyzYjEsyN/VXJuAW6YDP5cpos50Tq93F
Y7wyNOXQLGGWUtxWIBO13rw1xtj5JeM8QM4JYoZ8F77/RIZsX5T9qrM3MGMMeoTXaFaW5htuS6EP
kPeNL973oDjz0qvsnvwwHdvhx9xVhxfkRVIu1UMHhzyZk5eyw2jj85ZPSHmBF0yn4sFD016Taq0T
yPYx/KjHnIwuWn9Y2gH5m0WAihHN90gkfc8Py+yfqgGi5PRR4KQgHolq45/6ZgwQrYy3U+AKSDdo
Gwj0SH5QNSb7sQESTY+JRA2LyOreXfwsygt6CTvcq7QiUXgEnTK7dJrF3lyjyFk3Hnk2tC45bbEg
+VR3vKP6OAf0RSr6NEeoQees4AwAC0PGBhhgnBn1i/8swIKNKZ/mdsv0X7LJ0TCIiAUFh92ge1sJ
J1VqNGIqvlFA6ECRGOCPKyN1JqjwNtlwnOctnMfRzxuu4csruRXl08BslPAbJqU0mXbZrFNFoTZi
ipd0/8TW/5XYiuEk5DTp00o/TqSsmasJrp7CYV+CVC5zjyx82Vy/8uvrV9zEbGkXGkILazaWmvQZ
hRsD4dedH5RvQ7VFNoZeOshBvplJNjM5HzIKMkDaT2DVl7BOGgK0X36N2BbDy783pOx2U7QkMs5h
8eCGOvRhJpFhQudwvXgUiXWR2sOiZTh2ejJYWHgCyxjUPdakRLJgRL8Mt5ixLoja1hpElL0A7RNt
F167YZNtY4qUZun0h0zydSQYn+0vuzAd6NKDplKPp5EbAdBihRO7T20OlwwjYuSOgO4QYyzFbGNU
9kxTkmz6k2ygCvLdmrCcpXxSso3gc4Z9vOAUZCqyblLHrQjxPVFK7w0RTNVzLbE0QhiZo0lwoYyL
Q5QxKMdtK8h0cWnKlVBT3pimEecBDOLI/vz3Nq7FRPiQxS/E1HlCRp6wnPW7NXKwYt7f8i1lPWsS
Mu4n0nTx42n+dXgsUKlRvOoEpIPP5kQcs8IqN+3KP8NhQsxRRCC1gVzpx8rPIIFzsXM4tU3KSIye
Cvxf8cpub3brviFwuby2kc7l3aYDwbUYGhNKcmRWgJ175AJjuanYJeZWszH/iqQJJycWFpZHvKsi
N0gkWAkNSxoeCfibBvotyh4d8S/j/MX7Z+p4i8LL1NzqHIxPc+sYtpazIQBOOXczS5Dmh+8HASgD
HSwwE7Priz74eyP3hx7znjJcuv6vTnUmhUxDxE9DmklafgZDlXXZLOGP2R28CtSFlengXIyxypX5
hxheUtokdfZbR7dC/ICsbkbrSnutZGbW9NUi2jP5xXgzFPo1RBgfjpidsvBHbtzC/Bqp77kZ6mqT
RreJPykQnxO8HMdO/a5gPHTp/Vmewto1sr3JNxLMjUmXX+uC3k1FX9RsFrKUzAzZOEn9ZiQHQLwV
9V1nVEqrBZUtTJgnM5WJ6mYKH4LsZgSxorvo1I93v+np7YTsTCFnBWC4Gb8BQb/1g0HWx14YjwUp
EC0xVv0hL3G7ZD/sXQbeOPU/dkcR4bIGhTZll1fOhLSZ+32pGwnwxJxXJZFNdZ9uBn9IafWTN5HA
FTJIBuA9VpK/OP0DDFny6Cf5vhs/UpKBeOsm+aGXG7DIb7ANChSTRbEtuA3056OjkK8AisgROrKo
h1d0DPO9gRMKQEdfbab2pitBgT7v/S8EWscOXeugy/MD2Ax9ANfKpRAgAj2/Cgd2i73wnl8lf67d
1q1diCos2y75vej9S/dlzSjyySOrnoX/DjnAFT3xNmv2CdZ2ZP5Cfog3xFLaTfRwVvNB0Sv/6q0c
4EoUyemZAflM0vzUlz2ZiBP+MH8O4u3nl+yl/vNLDDKn/uO1+Gi4+RvO8U7pPr/YavluqT3+aTeM
9i78YU978AluceZVeGKAh5SPLPjf/Ln//3yZv6GTNS/41A4537V0///3okduEN9R9HC5BupiyY9K
VA9fz+92O399RiACadU+VEcv5ktfTu5Dn37wmbONBSoxfSg6vrb017s5X4Mv02U3daFcPflMZCPU
9dee67nwcn/ANehV/PHl1F94KBz+PXjUxo33qj22rsRX08Fz5teQ2/NreDlMMvjokz+Pf1z0yaMl
LPIWCOuaqu1GqqzkA0SDCT1DggB5YZPvT/hjMbLjaffSchU+pKsm8LP3I+9l/Zf6Q2Cu9bVp4RAt
lzTNMaKvAE54136bYt+W/goHQyXXBb7I08/9+RU//eSzdTH10zFw+b/k5+kP5+THcLoz1+DlaF7v
Greeqztf755rt0JWtqpd2gP8OPJcZuc+nQH29Np/Hl9Uhpy/gClZxg03idvsmVXzmWDCVwX3W2Fx
8uRs/0WR3p+4lvP14GKdEUA4V2pKhxPyEn4tto1hr3yneEGdyjGc2FPs2AvpNjhsQ+a/YfP+SL2Y
/+p+7FVr1aee4VPX/EacsuDOH07u/Xe1xq7sIfj/NiiwvCc4MMLp1swhnvaTGyXfljwLE78zHSfX
BEjIVkD8ybF+N3iCBd2TnGMieE5vikxwBRw6LeVD5eJWv3xw/tFc6a87lzD5eUMIj/Jok/vjnxxw
WcSAqxH95P7T5xLadJt4DDNYWgtP9iBdzJ+M/QHBEUPbffSzCOYbZ8sH2m2zZ5zBG7zwuJOr82vP
p/LUzb/zSPsTUOIAnhEzLpYkbs16i+HKwasRZMt/Z3l5240+pTtRmvzXYv7/x13HQ+nzktptv4UJ
5/UsfRwLFqUFr+tYb3k+Q8ZGBv80vwOYT4+YGrNzco6P5bXYc4LihZLHeAbFZNXb7Fyc0wgL2WvP
w7XNjxmf0m7nV1puxUAMVkhFjtk5PRZIxXnvJzfZJ3ts5OaBaMUXzRwaaudoX/L5XSCsn9vkLBxM
PGHB+Xktt9FZ7W0i2vRlgsr0IKwxneKpybdDEJ7MQ1P6/1mE1IN+MHYR1ugXag8cRkG0R+1+MBni
bflEDpAHbWfs1IN5SLfm4aiv9YMqIBhWkVW5CP3Rm/Lvhifj1AWYqOJrekUVc3s1q5CvQj4MJ+qE
pDa0Xw9ObAHqUz7f2DWoGbFp88dTxJGe2ybdYuHehnw3YYMHTeEVqLy42Uv030ebIOP4qHjxtgmU
O6gAvqIhwmw+XCJc5gXVw1LYxNv5Va/BG6GNXncBL/VQBel2/iGg/ROFtqxuMNpP6PFsUgf/+1YK
qpcd+yRAjy17aZY46ZbLwU9rdcvgnK50vD1WCz0E7PuNUwZXuqNV4YcnToBYeq/hqWEruxonVK76
c6WdMFGrd+GCW/3W/ff9hsfzynYn3CFnzKx4ZjHXTlpNj+7GUWi+TCYU98DyjvmV+3Gnr3Pe2vkt
ZciJypFXqh7yrbkGn/FX0kXEgr0XDtF+/pjXBbzD/CO757ZKnGi+VYTDfM+QqABw8iyV3zMza+Kw
2g74iRc3aFstnWeZ6mcNKQIOA9k3YD5cHp9noToc5Tp0nDE8eYGTbpMjKIs06xn9Cgb9hpRm9X5k
DNh0APtSnklOetHUWnECYmJBv+LRaV+m3FgSQ4QiJgZzFJcqw+JkIqByNBgthbYyDGAIF46K7rO8
TiYu/XaPXlrUrBfRrtHiPkiXPArwGzHcM8j7c0DHZ8om+ZU0BztdD5ZBZbGBCesS+VZZtzT/ayli
kTTysC8BBPpyaWOyRvjipMfqHQw4ANRtWX8PaLkXLQPlwZOayW8ZSk/hJZdTLO4LjJr7p2jaXHjc
mUN9iUn4MwRLgOlWnNUP8pIKEKO8+8Sg6htqvwzkl/LOccxBgKV0e6qO2h+VnHi4FDXDC+oEnfC8
b51J1ZeN6lJjryK2eatCyEDTxSBEQnLy5PAe3DqdHXoVzW1l2dc/YNqqXf5ZZOs3NrjcEu4N9SKc
IpJ7h32Sb0fzV+1KbPKMOVJ3ksCSQD/uQdkxtqRng8yA23IgOc1wG/SjLUauOuhM59lex2+5+IqJ
r3BiDeEuE0GlQBOqsXZAyKhATCs7g8NM6LF6hcSH0jLBYEyjWvEVefWBOK96At9or/SI9e8huxL1
/qLpROoWlpb0ihWzZD6SoVIL4TuRjdnW5HHtXxi0rwxHlNQjUab4EWLVXiwYsKIRLLhGCoJaPXkt
CYBMdsP4wy3OW0aqh4RVUeQnqtbh+4p4XzJtQE95sxd0IsbvDSMMvI9EFzCw7R1+qPgXxrzbb3Ew
sECLQatRadqgRfJt7CIfwDOweu1MNIFvC6Xg4DHuD4R/ZCViD2osbvvltJY1N/6i1UO5a76+oZXg
mWWAhEtvcjXaqmO3lzmdPyma8dYNa6h6Q7YnyH7qdxWOjErbP6/cTpe5vgpEhwvMNP8s7oW/91G+
/OQpOXZYJQFVEVhehzs2bxYkdV2V6G2cxZf2tF5BdG7d92g9barP2zDaPIkp/U0gRC4JKpyaDupP
wjiE48Ky8QcCFlb5H1ZZsI6MmgDcQSVGOL5VKIB7oGUwKAijRE8C93M4aGj6tosDeNnagxoGYJNi
BqrNETsCdL0r1OuezqbT0HFYUpDJa4FtJbNZ7qTexpBRUoxxYGCwwGUmK5LSFgkHr4GOBVXuFaIC
zENQzLzrS+AQTr2DcFpt5vBlapHzM5iGVR/ChbQSssOWSIg+UWIiTVs+//D3cB3bF7Z8Sn8izB8t
GoXpJDd/yugUH+ZP8g9NEKSEU3GihYY6BsP+Kvx6AkKMrIwgWzWIPmjXC3vG/hyVN/T3aKmIisdD
/JaCyDhyP+GcoOWJ1Q3DznjANfkJ9OSS3xdXWtmPat/mayIkaNJwltG2pWo14om1wMvQSWaHKccC
A3jXQrynwf5kAdf05Xo6izd6aV9dvA+O5ZLwMgCK2/i0G3fV/lVagm7TvV2ovGc81y8bunu3pKAh
rQXkYB+dq4Kz753tNRDdmUhhrKOnTXE4+1VRIB3j4BzusltBeA8emzPHHvvgYgGSL8kGjPxFvNC+
qGqfMikih092uE1buGIlsRvSKoPVSaqvR0AN465fvz++9k8VE8q92MMGhp6IY/FFmXLljsI8Ohc4
1MLhQx3I1F5zXKTu0abNyzziHzbjZCnTYq5jzhpvfxy2sumQJdjPG9eWbtQgADlfUwb+UTBjM0Zr
oA5bbnSPt3TecEuXTBkm8XeJ/pvBA2BhGSJ2HI4eqkoG0sQzFp+kllxOvEROoAyuVsk22qZMNiic
5+euWT1XJb06q3A5cXfwI3EX/wmP7tp0lnBS7fFf6GgWxOoeLMhKxtXGDYFk120WNqgjbOn2r7rH
L/RQDq0ruFl5pHUDSTB633SfhlZIawsxWITk+ONOuAtpEX/ipv0gB1H7FDK4z9g33475b8o38Zsj
NCqfOcY5/JyrrRC2jxicLsa69sxmSTpK/w1n1pVARvgzPBuj1jRXzjbRQvAASktNvAZ7X+XAKI6B
0r8t7i4CtZ8LprbC0qAzshS/1DsUnLnKU9ngvXJrLPYNAOJl9eA0MpGSxR1JC0yxFkH1aDEbJbvX
v/8GCniC4z+c/FiRON4V5HZQBdMe5eBDpze0KD6uZbTmQcToLopuH/tqas37FCNjSCRAnejvbKj/
YDrFbFvCkvg4rGKzyxT3p+G8I49WboEUbFhRpOLTYtXAklUPXlHygnisyq+h2E7KfmLEgdLkMUFa
WAFBk9Dd0CGmkT0sxXJOGEt+lLk92NUbhgS0bymwqKJI8H52xIhYybk80kzrv4AbIVMmVm9sHdn0
InCE3MSkDalrWswvfrrE4d8F+IApvlqsQ443vT10Dr86WkbcIMOKMhaCDksPjW9sTCxudTZX531n
TVwZNBBoN9OZg5CcOSHgdQn6k85ESkIZvcRSE5ZeTEwdjLXBo4hk0g7whzkJnnXDpNNGQA+E0zna
FE2nrC3jS/oCp2dT9bapW0h2KjlYpcg9JprVQBJNk66wed8q3UI/DAPAh1/QeVzKl4EqyQ7j/7/u
ueVLcUsh9HpwIOBvuGvq0iHGYMbyOiITeonrtwpv3G6z54MW2Sbq/RSpYjrje5kSDarLArlAj2PS
+mYKtEpuTPsJfEddBuqDEac+w7jMFB4SwyFHRuP6YKVgpiAnDssqC2rjcUqQb1yyt0FOBSILTzVs
+rlZS/iyC751ZAnqaRFxTm7Iq658hkDkzPcceyBtc4yhyiIOh400NWwNhzZueJr0Wronp3iQ8NrY
zy2vdeidrncq3Z+xsdOm0H35uRZvc5LknJSlfqejLWUfeWtRqajAhoEX9g6LsHmIuh3gIFyOOWgy
L+1YFbPKfaK9cKfozlAGl8NrL/XbGvz1sGSGivsKHwisdy4FjgLwGwje+zU4B5Z0/szlltp9+PQV
BfeexVQsZW8yCaPCucnUZFVKAR5FWB8jFB9OTUzsX5s68qMFqsoTO2q/5rjRQy5qD0/SI/v1m+2V
aSBUCgp0KBeyjW2Vm674WXAOnX7a17dI/V6YPE+ABsLuXxLfn1SiNafVZnYF8NE4Q6YOyXE+guQl
YCg/xSNRedKM2p3HVQzGuuHfovTpcVIgc92MjS5KqEHV9RNlLSwM2S7fvklsO6XK86TVt0S5qvzb
bX9X+nuboSnYLPJjp21f9ESfD5VTx4LzujDcRZFw9H7XThcFyBjIttiP4VHByuB8JwRGdsGz/EY3
rdiv17rpHSkPaHTSsSPNuGmoGhlVoaoB2nfsCbvOUfVsGRexUDFOwrVcF48EJgdpCJfyu2H4s1mA
HaU6ZnFtEBUwQiPSKxbt5AlWLxgEqzCIDaGAQ3WIygrOyHZ4ZN1SzxCpHEVwXOw9SwDFan3ghPli
7hNihEkd806zlPWDIze4KmVxy/pdLZAW4oUmn+I1+T6+PmEguWKCMt96gnVnyyo8INasuRQpld92
p1b0xhwP6nJIHJbe+YCIGyrdg0Y/EZM+zr07lnjDocSiMwYrG+2KDJ7JotcIZ5jwNjHbJwtqQWh4
FkwA1ndqETeFn4anl/JzsExQliTaqjg58Q5D6z1V9NfozuL8uNcBRFUmIOnE/mnDjWXExASIPhC5
oP1quEwX5tXoY7MDYVhVs9X95Je/LQoUs7YhLXF2ph8JXPmVQfUGW5FZyItKDwXIN3mqTncRmVvB
zBDsSvhODatgqfktaoawXoTtOmtjBo+y1xXRXhm03TCBB4MTJ/acKLAOTtzRb1h6sUyT45zQLxYh
0cE6n9krIfA6CRL9X7ncANpkobAuBE1azxP1+IYgj2ivunVACPbStL9Qkw9bc3Wj8mQaTuW4yrzG
/SLBhqZdAHKeOgpMJyHP8cJNCL0DqvcRflJ+qz6fC21vhVgaqatBZ6EFjmeFmzz/1J4AfC0a/t8U
C50DK55wqBKUF9aefi9mrIhesRVTEJVuiSYbppmM2ZjdL/K09CcN723iFNE6ZNKzlWidi9E5ldGD
zikcDqY13GgT0afUY0ewbPGsHLEogUxgiCpSALxKwEm3qPzlEsdNTK8LJY0jgvA53BAnWON4wg7e
LWzI7k9kDYSBsAldY4kA1hqKfo5CfoNnNvud+10dRxuAYv1GMKyF1/7xXD1BU3ZkmcCTshZY4znj
XoGsRq5hNcrOTUt7ABnxFAFa1Quwi4EprpSTTrAB4yOMtBwHkFFZRuuJKq15r5F2ZBjV0j4Nok8O
Qflpau03OkCDqQrPGkbgtdZhP1rGJ9JSqXcVqrxPfSUeno/LM3SxuICE6ZlO4ZqgCjoRjbztaGWf
mg+UbEg8Jvw+6HNOb+GK8/DNRGQn5y5OGuITPwsUqZ70KO3aWPe8kS3IjNtSOzQuZwnG0x4zG/AV
n+kHaSOW8gDtw1/oNmjCzXvOE7i9d8KcBuZFxGIxb1usRZBCFgCA2B224fry9Daqqx6HZLlLFIub
XeWMi2/2ZZ06IHUQP5byJ7ubRbCVnc7GWlVZcw6E4+EiQ8LDtcIRxor9CC+4LGXdVqK7Tjdtz/81
FC2kaIw+ZlzpNGqWsc/xzp9QLsv4qZrvRY+1xwZ0TB6e6j8/aA665271WaHi92KNm2C1pF1NiSJ8
k+3mss59NpsFY+LWJrvefH+Vo8WgmdWTrGB1ltmuGlLF3o4Mm8+q1HZ1pXzgCAc23Va+kUcp4ZmD
BNldZFiQxC4vm02yMaxDCYfY10y3K1acpvKVldKmf0+k9c6vgkPh+NpAJ2ivzy3nvnnyxspyndts
03KD0PdlyY8cR4LH+X8XzfPPZb7HqfILdpchM5cKugLP+XEs7XH8STYYwQerlOiM/xyAs7CIxEEp
FcsEVqKQBK9H1oQe5d/47cb8QGLyQdvCNWGaH4xeXU/LnC6/MzckQWCKH0ExsTg0uZVpfzFoAqVf
rCLl5ipuTKetfP0SmjXw6NWTnX8QdGVPM7CZ/yBMlNrAdGtfjjeM3paA5zdcIcYM13Fr+tgK1X+L
R2gLjl5ZtP+OzbBjq2LRZVtnL1bftJ5jyBnmzIeSytNI04VIz2+cg5627sDyMAg/KF7ijVhMN5U/
QM5dimt9l33RBNyOa+6VB5TL7YBqY9lQMnsc3ZciHAx82Nui2DW57VyWs0ibM5yDr+j68tth1x1H
+KOs5DxJdlgGi9EiLgbMxAopk/gbuuzRXGdGO+w7pmp5Xjbz3GDY6HCalYtK/1wL0M/WTISLj3jd
JL4INvrta1uh8rN/E8Otf6/sjmL+SLdqOOSQqvGSOoxlBa+O18dxcXo6lwKGUff1pS7b8+cnzgLt
i9TMyLbKT5y53//j6Lx2HFWXKPxESORwa4MxzrHtnhvkTmByTk+/P7Z0pNlnpoON/1C1agU8N0R3
kBZMC9d+CUJi46GIZ9NRZE7Pm/QKpg7PmEoNwu7ROPbTIvOUGv4xZPQ4gFy0QuwOaxczv4KheQGp
i2KuGt6bVldtfYk678A/rSww5w/40ehMkdHf6s25afa/suOFj1mfBtC5rd5OSH4n7vmriAGZK81+
jOMeimqj2NkpOyrqEs3WFsoq1AG7orPa6YwyA5eYPY4wQVlyotWvCdXvYKsxNgtYu7jQ2/DpFDMX
qcNbwsxuUb5gdBvWF9IJaVUyMxnx5UapTa+0nNV0t/EXRFLrZiVxbUISXTZv21hLOxbOtEGUl16G
HcS+rt3WF6h/GIIUO3TaEo4rq/eWbK8IPlHxlecOWj0CCpCB7hTBJmIYMjecAumW2RBILQKcs8Wq
/Ody6sMCyTHL2DLXL3GSWEpYsDKPw/9OW8ekAKmz+VXYLuS79GWhJ5EeAdMx56O9gk4QS9Sf663u
5Ag9IF4mhbc30+JHn+B/Les7U+3+Is/0KBuRKaT4/BL+JD+1+oleLb5g0xRAuGBwFS2Y6kJLJq9M
X1bpErcj0YG4DIVUTbyh8SDU9s0KeqVRe0UA3fpZmjbGj1hNMOAhInYdV7/Id37Ux7Z15pug9nr4
s8KRb+AypzE6RfWej3LaIT+BzcBvnu2yPpV2CcVxQMFF/AcmukgqoIbTOC+DNdI08pb5IPAo/RwW
7wFGwTJcRk8Olb2nDsvn6IKLb6X15NvSOkO8uGyuVrGh+kmOuFEIj3gTxK4fkc/21V/IQw5n712U
I80x2JifOa3s5yhtORthkWLXujSPk4m3CiKdpeUEG7gu0hZ9z0gdNaWTjQk63s3uxDu/pGf9RdTm
xu2ZNOZ8PdNtiB/lV84mbaXdiY1uOSESvIrUZVuNxEVAiaG9PUJjSGwCgLBB0ilbZ0w+dUt+bQAX
sjwr47+BQiNZKbwHCxJ3+BonqocKi3P0sBmKXhsbWRyUhvagxDWhghsooiid4R8cU8urcIwvI0zo
bOLZcWqqZ8kEPh/OHLq2TJ74yFGbDLQWy3YLMc741IhXI+NZWNApRsWuRQCce1a3T32iuLcK1XwB
8k9iRe6JNDnvz7S++v4SN7RtfYORBdoZaL81z3ZycjIoYVE2T0B3SAch0Ch1xRyYMuByvHDEhelw
n7FwQV92QXmlkeu+m5Z3f5AvWYtchWlxbkviau4BZ2vbBUN9BNhMUXRoEwtFemrF6o3+HPM2Pmnm
GqtiOs+5n2n4L4V5eG0Sd0CbY5WXzAc0xQ/bJhZNYvz+vsp8KMZLxS3UvBSE1yuLMfsXbmUMP6Gj
TS913IIl4aWyUDGCQRQ4Xy3QbP4EmFnlcs6vITYgk90RdQ0ASffCxNESGBq8/MWrEri6LQ8GH8DA
fPnXt9ryYKL4C0ilu6k8MUXukPP/FYdNcSj9O8bieJTCbCsODaVMs4FMzjUrt880OCzHG7dYs9RN
kmrm1JLs0rDtymVUU+9+WQod4y+tmPBHxk9fHqdiWzdeSGhsQ06Haq030nRnzQwIyUkdGP7d6Xtp
Q5SZwQa/k8smgMua7e/knDaDU7ZbyH6tv8osp5TJ4eSZ/GTD3pQu0z0Maa9J/5Cfo0H83qXNzj2P
SZjnOHQY0GyApZKE6EUGAVBH2mCXyjxIrxNwb6TXLaERwuAmv2oIvUhECy99M2BWg10Co59D+SyE
mzZalddm6hi12oQgyXRZEhjvkHzXPQKoTVjfq5TiIkK3xCnptOPvBO0nh3OYfSm/pAbUxHSi84WS
ov3qhacxetXngV0ocFsJNimKU/Lx1tA04g41bRoNKTZeA3M6uQ3VrOxnDBGaC6QsgwbBBviBgImv
D4fpHdj2Hog7od93iH9jeBY15IRoJaczcEwmtfWRjPsX/wH653aULvAaCtzpFupDoBxQVqBeX4OC
6v43Z5yd1XeQI6tYwQ9L4Ev/ElcdDZ6MIi07JxzOuI6TWiDzbaXuYYSk6Us2ga96wObwfHk3/OyZ
B3IRfilXqCmdssQwCnoj6HiU2KaOymbNjUHmTI5EGOpV9v4T8b9AemTs4XoANifKKmi3U7gJkBlw
H0Ba8utHiVbnHP4LHaw0GA3FdkX8GTDceWZC5+xGDD94859NgskDVxh3P64wjPFDa1dG5D3YnZuf
2tm/yR9+hXge3XPBhRsp3KggCyIIO14mAIxAZ2b2pDru9jWW6lCZicKxHF+AsIYitNyk2qshvUvz
yMhhOSi/eX+AN/P+rs09H+qSOSFVfFAdS9y3Dbf7gCEHM4Lg3i2VLESZhjAXaNTpqRV3mXlKocFx
si9SzEOIf6lbElnUBbRS/E9rOyB+J7oYCbHug3p26hATLgyDriNrh4YRf+81gAK8y+YMWZuHwUMu
zf1mrlMTpzh3LHVlVYKblw6UC/Za4dXyEj6LCRkNC8BfEubrI/yYH2sgZ9udk42XhbjR4WIFeKBi
GZEcS4h72d5/GCyJ+fQWWju1Catg9eRUfEQek2CKbz3MhKsyoMLhdLqQg9VM7jVRGHTgbYgAAfdn
EDPYZ7gvQSLRXmq8DCqH0PUG4IqMcgQX3F2Ty7iazXdkS3LoSsVKwr2aGk52iCriZFC/QvLktE2y
TsVd7K+Gu5Z+37PB6/ZQr1kxfFe4uOc3NiWHdnqY4WMdS068YI4q2wcDgt7VnGlPjsoveUyQgODs
/XIGVcf8BGBANx3o8FI5KklQwUSs2gM/oYPIXWbSg/ns1WVIl93uuP8+Y8u1ODGWxiaXTuBbyt/4
BP5A1CQ41l4fVjBTGcy2zLX/yp34zZ0GDfZvaBhE38VhG6gsFMHn07VPAwyxeSi2rydMAR2aPGUp
ZY4UPPnZE545XBrkicPC5rZ9ET4UIksVjwqXHBMInDlQP9zevkvwuBwcRN1Tm7UOlxY0hSRLB3XW
qO6yDptbuiyPzFY87k9EgyOJpxTCtXkD0A6DMf2sf4gzItOAgdGRpo7feMj0BagR1FzjT0SIvQ63
DKz5mx2wOQQcgihwbiTBhqEJnO1Rv7S7Ed0tv5O/ju+JaYfW0kK5zRsmHuGjepOJViQPnixfEde2
Ju15spBqZwIBYPdPmNmjCm6+1HHBxxOYvtaw6W6hEhMKbbxwntxTRQCkzyapsB0h2gL3Mokcl/0s
tKcb2zCAQDGAuYCK8+ZzzkbEx1+n7mDGeNap3FO6teX0QR881yzTUtFnWJFriQGM9cHjmxz+jTy7
vwp/X6zcxiUBkm/ZJisjICtePPEfLcRBYT+GthjaqrKclsMfdgJk+LSEXirLngS72mnLG9QMgdDH
we6wrAlt81t9EtyBTROpXbPbsz3HoFGp+Xv+g0SxfjpIaExlu+Peh/VN8hTqEaCH2RIFq9f5n3jm
6CLI02YWwJNvpZP//9/w6BHX8rtMTKgEp/mYPwj/pRUniNjNB006GWb1bcCKghEt9LWzccPJYN/+
aMQL+KwPGWY8dDDkmtOxADVxzelQiiccNfX8GKIqsHMsXg76wCRzmV1Clr3iJg0JIQ6aWwYZh363
hsWD2dJa5MYvf2TLZYDskoFp3I1DZ96C4u71lNCQcrGsdYOFcQCJhO2JJolb5CV4gc3gYgh+SC7k
AdjA00flgwXNEhkO3R5cW4Wq+v+s4J9m2rJNWMT0j6Qd/wi+iYYXZiQ5jMhJODRnpzfY6HaNDm8F
GZ06ioyVafVuHQZPMsfCn/hdfSixF08rVDRgVSARHFXxJ4QgyY0ueUNAJSpsNECL6d7sGX+EyQkR
kTLeepLtigsHqTLs2UYB4fYJmi4H/Kw9kfmkr8ABlnAvwdTzlb+FR0F2CqEXbqGsODuZTVAug9ss
Mv2TQSVQ++hxFi1RIbbIz2aMZ6bnX7tzQlQmtorwc6TnqHkF02fmjM3efFAlcBwzOjFmk1SyRoTM
iSayGNlc+sp8qt+BvDhFhxqQkISnhZlwr8Ka6Bjbo/Qk3I1yqvZGmzhlwfWvmHMh6kxv/rY8ajN9
waaPPzDshBr4neZ7SuLgyefRezxa9Gcc64WXFauJbBU8HDym1T7gN4PjcAM5nhukxGtRnNM6C0IB
+iu3iB66agtZf01Ng9L0bCUnsuSmYtWq8HM3AgRHcxELyNO/ChHZMJ6vVBfhFtwBX1VhrZwqVkO1
ZTYAJDh5wwbCsN4uGY2pT3oDQcOm7xx4/YkwqOQBgsfuzL0Do4f6lFebgDr+ew4eyZz2OKQHskS6
zjYGu09206v+ibC9pazUypdS7iqlWOg9E7k+WqnbQLiV8bEwTlxYfIpU+POApCPvDtUszEWAWzuE
q0wZRGQOdSVPR8F9iWXLkGza+Jgcun12xsBcl520WOfQopmvwSMV0m8WhabhWrWGVD6KdmTM07fR
BJGxrfEMe1wIPRY31z+DZqKpP7i/gZ0ULjVfQAtSGm5Q2lVzN+HXGctG3BSikwLdGcpKvJEbI9LK
gK2S5bTk7qWGgJEa0twiGEGsrqKPgalKqcP0nFCp0CbB7kauJBoj1KYe3UjFCIYeHcslgsWYeHIn
4ORQneYh6rN4cQIp2AweFOXz3W0w4g3gEmZ2TzsDASc9i4iFneYMos/23mgbfg/H57/g2eHKd4Zu
iZLNlog7M/+hRDGbq4yK+Z5YCvUnYeabnNLaPFHMtCVQbrhLNGZoS/OBeGhwpf5Ik8Fbj8yHj0W/
eJVCT+TOR/QirecsYK4/7Y9jTou9N86WJgwIvLhvHMTyinO8wuGEcK1venEkauYNpIHFaucg9J58
rB6/4lUHL56JbtCBOEZtETxUBL7eFGtU1/PIHw0QK1zGmnUZ3NiQV3lr/eqr9427JDiBgefrK3mJ
7S6H6/XRzDgirCNNP9CsUDjXR2isu2qp3esTZ/PJgNZOV4No4DkTDQrjOnFNUpMS9ybbTsXYEfk1
QwzXAnadFwL3YPlJdfD/h+xvG6K/gtUGh5jP5GJSZgz6iuBOqgmI1cYfTWOSrNkzRB4jg8m3JFea
z4aEGaKGkOH8zUacxD8sspeTDtvmD4MzYGMH2wvR5WThMsk9UuH4CrggKKizD5ncjgMt+ZvLnAt3
F4AsH8YVtsDEv8TyAnbjmpsYiyym7y64u/mUTLK5HAfCFvmxtaN/T/jYMam4ay5iQIU5uo3e6pNH
23qT2xC2C6yS2GlFCBe9CDFwiIl4XXAAZo45L2qYT3plwykHMzFIl1TeLdqDCwsOJgTsKbiRUKlr
r/VdChGscxAuLooz2yCT52jde7DkbELq7d1RYBzSk+WCDrjUEuKKD44KyFOou+bZmWwTPaXdae6A
Dkg0xH4g8GDmU4rSEr2BjMESLDC2BZ4BCyoTac9NQ9kjJOuYi/djvPIVnYvGk7SfEK5yxQ2pz6U+
XSmq3tZ+6xQ/xCIfKa9hltMmk9bNYLuhu0mPiYbqYSk/kPh+5UedhqmcWxDEaB79obrdVD2E5mFP
icP/n5grg58aS+kXG9AtuWHlmtYPN0W6DHNj0QQxwGScQiW/Z3hLBDITVAuImeq/g+CSflvB4/0N
Ygs2PLd69VE05pl0hpTQJLdnj7oKQxlxMZYlj5DnEMFnwbQaXSE8nInagD+JpYxDSsK1yrkDZMlY
rjfIlLyoSKWhrakqAioYdpJI5Vtj9b1uaNB41OyAaMFTB2CArVfb4daCRfUZixDrtY+Kz46ZpMoT
pTGNf5CJYcYrAAj5i0MklQRhj7sakzyQEnnHxVmY2xCaCZPI+sehXBVgKLgHnDCFo+AKlLW7g8IW
2Rz4Riz8OreQEUK5MWYDqUN2J5JvBG29D0lgLa4gkgpPtYNSjv+g1Mao+28pvWh6s8ajNO2LAWz1
fYfHv+xwdhCbTfGRQveUlp8FWRqGnUjUE9Oi9GZxmkFwGChd8VGM8M6SjdZzdeMBghEZyF4V7Kta
WfXTqcS6tMSqSfzVbT+7B6ENN9JCMnlu/cYLepx2Cgz9ksWFsdXwJLJRQkhy/Bx0DFs2agrrjflL
lp8E1q2vUwojykBIbcoYw4yrKsJL6am4kAlSpuUBUzhGwbDKWa8j0nEMtxiXPGUmPtZtWmASQerg
MYXXGEH55cVVSr1JzXtPhN6d2Nwqgl6XDtcJE4BhE0muoW2H8fj2MDTDGndTF3ueVtOsQCe9PMPg
vbffLb9xhaCRA/Ea/4ioNFu3YRSEQXI+EaC5EtAbM1Gg8l9iOUFLPjF2aORqpTEPLYl7+xPlnd6i
gjFEJrEfPlk/6BD5CDqqQcu/Fn/hx3gcMVsgV7OgF0WIqpEftJ8c5iGI8NL4wic/JFemnjyWehfH
/yioYrZ0eKbSn4BPA1wzsBzJ/k7Eg2dbE6cjquocqG8InlX/KhW+5hRO0GJzNw8AYn/bem3NCxGA
OcZ2oZdOYnqrdae0BCxscZeYHpJjQNQSCMoqmGBQjjbozcBSdHI7IvXBVW0+P2u850Ssb1hWs/tZ
5uapckrZvIr4L0uTP9X6EhnCTP4V7xj8EcC9i1+zdcPL4DTKTSaAdIzYgT1vVFuG6riuTCLIJjBw
bVybcgOh5xny45OLQeCVQSq52/mnAM5pqzl8uymgN8b9J/kXacHGghpLexXNjgfUB7gEZ9A/5Xlw
6wSwMNM6XTc1Xj3gyUbxAZEwLbGVzrc+n23tNbgQZEO6q5mCsXRpf67qOMfGgZQ4khPD36eqI25Z
luy2lRal+ltxibKUTOmjkDf18CjiK8vLv+ohYROthd12vphY78eMWCRjvta4vm7yQsVdCiHx+xa3
mJMvpHEpf4Nfc69hB4YLFvfJX/UysN4+pJAU3jvrD3Aj+yd9mN8QkePKzl75rfQX75ucH/tuE0sn
C69+LAfa09g6/dv2JUe8jSoioY26qm32RPss4meuXMb3NmVsVQm78UlgJImJlYnY8p9fwiEgdGx4
6Cioku4+mMGyhOClSbf+mbFkh+pgaOai+yviDaPUuL9SqCV2e2x3Aa2GitsvZhmvxhGAY8BgEVKS
V4hVkL4dMdeG917spewXxHzyBEIMKKAX8ZnYwuqSY6dvffjJ9k3c2W1svEI/oR+YcEzA2L1amd+G
CdgI5orMsvRGY5YlD70tdg9NOg9suFii8252jWOCN0D2tVGttvcKf4kdjZe5+DYpy/5lydUENylq
sjTXzUc7YPpzw43UhNJ2bsMTuz4buTBad+QcbBnYdri34YD9rrwK7l1MhO3MdDNoIdcxrvfxPqm3
eTJ4qrQaQCrMfROx5NHGDvLLchg1lY8EdOukRXsxyfA4JvT6omnnKltXMgtRXtfV2l9p5RbWM8Tq
jFq8l/5aepeAGNfW3zfVzzu9jxz2HXWAw0Bfc6KATCQ3Mrcjw0v1I2M+qq0Ucf2usT1Yi99dfiId
uuQ+tns8Usx7OV7N8jZFnj9PNfdZ6r2jQ4I3yoYzrErd5jDqR9KVBf/k1670r3LmonmXXIBkEvKN
FgxahlZYRN0XtU3GSyjm3AkKNQhvg3SGLJivjA9icO2itzuDsdaULS3snmNOCcAomRkUgcmM/+10
XFHf93NE8ybEPSkOUwIvfy3dVou99i/7iy0sY1fKR2p88zmK3ncBwZSyFMcZelUpdTSOSWkfWOiA
2+dUf5UY/KnfY/2kFePyS2R6Nbr2ctdrP7LxxR2WbkaGvVF5kLULuWu1iyHmsjhUZG7KtvSazFOp
zxDUK9Z/cv97RpooKQm+3g3IJRE5IXVxaQtp+cxLB1Yzkil3AkMzGW0MlJn8wnd1BABT9iLVaLh+
cUwzEhE22E9lTvwTr2BeKTufvcfRFDdOp6yQViv5axo8CFyC8UQIh9uOuS18GDIIlrK/sPwb6i/g
IIYiE3t+xMqdStOKH/hpLLFHNPZVvA7J9IHpDwpJ6rZRXgDz4iA6R8WPRVJMCvNquLYroyXd4/0K
/SsHDIBRRKYvN38gon/7kLmEg/BVgY3jJdNN/2o0ps0XXSs1WiH8wiqL+ouJX0fvDsapoQ18c0Yy
w/Ctf4j36b3nagnh7Yy8CUgdFiUGWqRLTDC+Ntrk0rEqN6CCIcAA4jp2J6pgUzsG1CfNTdV+DRNk
r4E2bNF7Y66VnH0gEQVy0xsziZRkCGFdDrt8mgeyCsZ2zOOx+2oPb5IdSzAEJJaEwJgHXIgyY1fX
p7R0yepj9EmpIa9Q5WoHsYd7VWHpma8ZGCTmTi7o1Bij/SgNDaaHUfNIdDPGQvqyV47muTgUzKFj
XLvJKaMkZQ4HLcdVnA6GsvlZtMfkH1RMiEiNcPC3KnOfaJsSq/tmBgsR5b1VPFk+Ys7SV8viuY1o
+0iuhs6we0dng95sDvrZjsy66y96qjIAZXaUfKc+9HD1lm/04nK9tWzIxKUHcbdtTh3ESYEj/l9f
f2XDpiOIJtxW9jwEKs+ga/kKhjI5DWpMriWOdli2OfUamwxxbfqkQxAdCa8bivSU7fBKWAyYmo6u
hmQLfYbZHqr0ovffcnuAVzvuIVsPuJ9ytFJeQRdYGfYPbTDH8iwWCzcCPoBQLGpGt4CLnoL9OE7N
nBbfKSbWswKnnCnVqu/pkHGjVS85iQvuJ8KZt+UCOQlORcu2gOdOptveZ4I5ulND5uYcOzqPScGI
3i5z3GbVm59kI8OPOwCJkVEEssPHU36pCoWuq6CuovZ3JQUHxHX4vlerjlA+5ICBQF38Y9ncBBom
1xY5qtBp8RxdhFBhlukXi0d0pcCpfaZ3OL1xn+JAwefgMjWuETFOfAqHjmAPjMIgAy+beGUe2Aco
JdCpbwNGc3aw4hOPNgSZtsMXvsqZcMwXe42MzltZ4sfPSxu6tX7BX1qRdgQPqpBttoYH8zvlbWqM
zFCqaLy0+DvMjtu4/lJMQP6LhYOJeBZSSC8somiXKETPnuQNzwkjk3UPvwrPfvzUzn7+G94oheuZ
V5xhRlTEKy36N9Q9wz0bwIx8FmYvWncTWAbFGUvFZRxvdG3VvqCTyGfANHFNYh2BZQx0HmT8iImt
XNs/33cKygm2AfAXGOIEncVfD6bbVWt9XzP9lFy8lMfUCZCZ6UPpoAFykS0SjcZ3dRfkyWi14fCQ
KEWKAvz4DArso90QxSZOXlqv3v1rjB5QlkL1IyLz9k+wjqSrlOh1+3yW2Yh0U/tmPCQiENt0nCXH
qw6iWLP5UNC7DQxqi70gf/T17h85O/v6wlnQp1TVuKkjgZ28sfiY4wJ74rX6V7cKyd2j7ajKM3xA
f11n+OuCHjJegSQfLid+j6pxaC5HClHsxsYV8VSHyLhD/mfylbOFTubewsKsmK4x1YCD+do/IdoR
paJHTEu3beL9K/uXSpimDKc0ZPej6843dbqNLCgpe9ZgXxxk6VOn3uRR030w5rMObICK43w12dNs
dzhnj+CkNpIIMh3ql/XslB3+j+SpUe6GWPTjnDfov9Z0whkeJ/nMFX46eu1H0Y5L7arlIEQOlowm
g3jQ5Pf92a3Y1lFJ3g9seltEYkGrCAv+DXFORf8J7OcK1/gVfOi9/dyHRCuQ2XYU3QjHXNDKE05V
PPE832ICXi7NDakRI0F5pBZW3db4XBsgxtIqzyFmBJjJ7wv0yOxFNnWUf+ZrOut6+5Y3/aYf2Zjb
Bn+ceMMZv57tZeYza/q0PBxGAgyi0R9jJJEF67P6PqfAti1iIfayo7HEv0mq1VmAdF7qV5SswPdd
hCTtaKsXYYdXCs5w0pyjlnpwx7gNyF1RD+qlHukLtiZiHmcMVoR04GzC8sV2lKC9ocGlk84E8yTS
9gLFXOjADUF0U25VvTHx/33FfmB38gF2WL8p1acMmP+dd0yqLZQnT9NRwtPHaG1j2FB6cZUkchMf
pfqPs2bqboW+bgTXavYTIbmRZXhqv+uRlHglLmL+ymCsHqUXPip0nBjTGjdCsIgYxJ3FBzFRLiTl
9jgUZB8Wsvf0Z4Txmdbg/RSeE+FB6rMFe5JEmD78+qTfaHYhPwT/t0YvhyAjEVy8DsaQihUQcqXK
jnrodkoDzsD1DJplUVjYRCtDBGM5syRbMrqgLTkV9Od0PVHd9eYj7+2yInWC6T3NHYPM9GdoKZgf
lv+v5E6S9HXmwTXHAZ5TWL7xv+IZ+Rd0l4ny0ELMVA9aidVWfRwnrnebFnoUNFQ9V4BpQmjh4hhn
CMZbGc/zbjkdYwBRBnan4VQSjwlcw+QFxfLoSOXsBCkVZ6H15AjB1bFJ0ZRba3FuPJY6QiNWaLx5
H/yRYd2HpO+CS1AdtO7/4yDkEBmOqkiGJcbbUE937drSd2QyyZSCSyYA0ime3alsvGSCYx6QNE4e
a/oQcUKAJQlvPHGDFzxoGIvslBhVyxrmQijQaC8ErkDcWVfmUh69mUi4FHaG0pJatK2ajQXxPvnD
TJ9gvxiaZg8nxVJcWTiFJRGzNKQlZU3r5tUqoWVlRdvcNFBpQ4Ig2mUMNDmtq9tINlK87rmpV7Ww
4/xqon8x/E4f7BwXMPirCXkxfPbve0Etgdg13FEpTMIqPM13EO7yg8OFq9njiFfMbRmNh3ZrkouT
7cg/wiQMxoSwi3q2utLeiOhAc1pjDqGerKuervEphYIp1UcCPKXqiL2Yn3qSgVH+QiagwDOURT46
Q+exKQjxGj5x1W7sEoCQu5UHWBffBc4S2netk7q0zmebx41KXyszWACC8neqSogopQXexjETMj0h
KCF+ZhRrVvrKCxKXl0L0p67Tr1Jj/ugYT4Vk6mTx/uuQNBgAWaiiyKH/1P6YadLgfZWPChPef/o/
6udt1B7DgZHGR2Ptp+/B4m7zKmyIC9Tm+jpSDuX7USFkU/C8Q0bViIRFcwRKqH+6W7uZwruvbeo1
8+LwbvmXoAD8XNX9T8vmnCyIGNWqF2CAYNwRcBfHXwTcIW4GlBqBlKeCgwmtrqqurZ82+MToaZCf
SWyLMOfrS6vb6V+pO/pBYKJXebiYETaF+lJSqKwh5G0QfcKdZrfxsxbZ97t7aTQnpI5SnYjdqgdD
O2tAbxRG7xc0yQZFHBxPohfawEkBqUamdtmNgDoJjex7qU/k6akLdGUpccT4T996QP9V/N43pieK
Lk6NebYdGm3xFHykZNbgkevZgxLOWO2jw4sGZ3XTtYqzBgNd+iaLvm6+fPPQiYcx+011c5EyxaIx
U3FqwbYxoHfahpzg5horgq5eN9ZmSiAhJtdSuXVzsARzrByJ0nGMvKHdCKY7jFtSZUsfawOYSLOt
r8I1rS36zljWJFcEhNHN9WP+O7zv7F0r3OHiAN3xx2ieRDmb6VZlFSg0Ji7H8JhsLGs/cHAWM3u8
/vLTtTEepNKb5f/QrVlC3PEi9zGJOkRBEOcRF26AAZT1pfRPqzpHAxudQ6L4MciVLb5DgdmowPl3
mC/LJ/um0b+ILxHojKNTYa2nHQlMPIWWNBTtKwb9HKWzwYxS54/uIUiL8c8XGXvuq/eJ2Mexgiec
roPcDi6jBBea2IFEB8mXSARxQggxg/ZXK08dd4WUvGzzBstcsB6M2vENSonVPgjTl0ITbOMpVuhg
AOdWPUmFo0S37svwCfP66QTKfTdq191NQyAuzeRBkxHLZzC88oEZ8C4xsEUvu+XQutQp06GAckLj
b2I3bDCcx3+zITaa/ePPw6b8aM1p1vqKu7abMJ0GfTS304irVbaGu5yfqCJkcDEFpyM+RooymXje
wZkYaObAYpZE6OZyOOWGjcu33KwCjKAgtk3Bv/K9lpi3x9z8pKsav8quIhwCgSV+Ti0+dPhCC1Gx
ZmEo3/vQvDeUnwoethqS4ApPrvKDaEasxeW4P8CVc0IEQqF1UZM/HyCb9Cii3Ee9WUlqR1bTl6mD
ejGP8pkoLDmyYGJv3qVuT1eLqHcL7oQApje/5jKlKabgibZg2QI6UG7pBxPVguLnCEtDwJ0Pl1GD
SLearnU9fjFPU9H9cViMX+o5jHcyzF0/uk67kASEQ4KdiHIX1GNIQ4iGaRVw42flXgVPF8VNG/PH
9IVItaLKJ3m+w6sS3+FtgTwO7Xx9iRW3iI811gvGvcOV0E3MtWK9lIGRNgpYuGlvl7FAXAPjL4V8
00J97GRcibHOzdzRycfCrkugyQC2SENRrdwSJF0myEWb/3Ah5bwEAURHjwF3LihSTTDDrLIjfALk
n7kL/p4QwpJzPS8o3Frk3Tv/6JEhJRhbT/h/ZKU79juj58xLF3EI/Xu067bzSDshMnA4vjWOf+GZ
orrS39wAC0LAGHXVxwbyWybdBbLw2rXhf4P2UkcaK/6CnPNBELeSifdxhj9hiHmrGW/fpoL5y3Bo
I0aQ/fdA1GIK8zae8NPSMZTTUNUp4oFA1AMLmbq5W6c1D1fAfjepjkOhHzq+zsIQJMl0wpwMmOaR
SB4EuIOcYuHh8x46w9Ercp9G5a42KeboNCJ5sppy42HCnFI7YCSpYp4FGB9Od6mVH5mIHhQnlcnY
mRxWTEQAHkpH97da92kq3iDgIi+XlyhsHkn1Ly/e/6J8N9/pAy1XOFvBm9BbUZRZgkFWHqF8fV4h
jf0Z+SR90/+uJAipnZLffBXzc5GKLYBHAZHYwjFeg9GfxOp5oMlOiTXXM+Wi+hHsQbWBRm9Kn0Ib
X7T394SxS2p9vvPJbvm6FM5EYQ6PFr0021zh1GuRMBn4w8TtSY5zu1SPshGeSQeX5tpjhKlgfg6t
TxCPeexqlE+MRgvD4n38Emvi1GOzCcbd2P+ECeekaN7eZvUnwB+1oubxToaDiNAOA4R4mLai7yPZ
0O9roVG3oTWAhxeoPn+lzDzn4lciJ4Q4ImpJhV1OarGFU8o4lr8trxr4o1ehdfsOwmIx0RijQO0k
fdRXmA2k+cmky25NcVdO6S24JrJ6JMNzAGjSN/lbszPf9CQEXKxdpCp8XqQswAiiUhHkjhG4v4mH
HzS2UNJlAeP7qD7FWXqan4yulheRNFWRw6Pt/vwQkGqKw4JXwFHKiTF+kzbym3WA337gKChBzPIR
JunVj25qzPybJpXGfcwqpww4zYmNEpRrOpt5jYyKyXD3/3DlKgRUxgAGIow+Hn/SHLUaz5wqf6W+
vKxMR5PyCzp2EYZbm1gIo7DW4MeXSoUgmzO8YsAuAYKr5S6IjpS1hqB5a7SkRpfYWkG4BVPZwVdO
RkiP/Rg1eHa0vAHmbSjQARhp2kitC9ZYDyg5tyeBp7yYVnnlDSNVXu9E92kArRVxt5F7yNrDT0My
4Hv4ab9GyNS8nRr1oYbd/k+tGWAVRHxmZLTwcjmoCmGOicUeh/ZdWU90oCqW96oIXCuSLIsCAzMc
cWSiFFQYQi51iLcDddc4v0OAwnobg3cHaPVF8JHgOlqE/JDShGE573vq/aV/Kfh63UdGBsKXBdBB
cTCRpI8sdrLhnBQvS+92GEexAhf8gP84Oo8l1ZEtin6RIuTNFBAIVHjPRFGGK4u8//pe6sGLe193
FwVCysxzzt5ri4jfHjI/X8ocG9p/ExGXCrkYIOOYxyrEZ8S8Hhi0T0vgwalwMJv/XzYeFwPPP+xJ
mhHPgTsB7m6affPPBAwbHrdcAYWAV4jEwZaD5xScW/L5vYJpIpherYHeYC35N0GOpBLLCC8wpfwS
f4mEdGz2kYx9e19EcAfFH9Nkmu3DSoNRq7+Cl8j91/LxpPTEJwhgeljKWWz/6c1u+qY7xqRpRPew
ehloYwk38wnUUNSdZolEjGj2sec5rkXY5QIS32bSRB71/HMY2n/wcgMfh5o4EFKCMImJf0HpK6c4
WSpSaHCT8p3HDIymW0JQd31nrnLEon5iC4taXiYRBwPFEfELTZ828s8ZzXkBoS+aZfPInazyImWM
mAdvCinW5Dwtar5yrm8LMUWF6aJarPDTTV9m/bzqb34FcGxx9ZRrMf7Gw6+sfCcZ8KyFT+u5FoLF
RDLhaqcgVqPy6g9/SUzDa8o5rvm4lWxrFsqAyO15o9yZtc490V8aBKvR50cfm2WZf5Xv/J01Kcri
CxaQHC6JSd0z9vTG/c3oRxs6qUAPeH+elHK+IdWQz8xHRVIV54tUpuQS5OmX5RbupOGHoVhCSo+s
7dX4gkc9z2J++q0ic1H4K0hu7h9umbSb+scw2pf5W9cwXVLH8lsE1lkrWvGzQwofxgwXJVeppDWD
odEnBpV2pL/RAfdF/cnk4fMm/EU8rKQoX4ysBn3821CBArHSOohXb6z5mUxXuJ8ZCLarCncvLG2l
E6nT5snnxzeY3Ofo5fCkYMZJhAL+r+h4Wb4yh1+8/WV8i30BoWp2mNr/Bl9BHrxrdH1adoIRUnED
g8C5iXAMRVrVfQJEQeMBvoLhiKmD+oAoaW4bKSdUbuy/INFMs0S85EbHROvOb+3c8H8y9aCulejm
8akbPlZskMmQzE3uRHA3Eg5saN2EMseUjYwcXImrUvaXMj5oNH1/bjkQLREvJWKOlhjvWds5qfjI
GABQCqT8lBJrtlew2zAw86AgB6THnsXuXesHLa/srILaxNOoYl97gVLpCNRMYteVeN2qpAPT2S3b
in/OX7p5nNYIqyEzpFFZ9KyFE5PeGrsCERWBv46CTYUQwQyX3MkeBAyF3h03LyA3teuIpmNe2ZRg
5pmUAKhqY0xZpLP12j1OdZfrmX5+jB5QnnbXuVI04w1+T4yv8gZKHOrDJ1tLQMxptscm/TBerp/J
UXEce6ay2gLouJiR+LgiQBgBUhT9ecOv7j193ksVwHhm+HBI3iOowrPSOVA5pmWPTijZS8iKtA5I
m0wTfA0lIg39TVK9Cu6UgOc856N9tiXJYcAPy5ZFFfNzy3gpwufOzKOjK2vZeaQe9NqlrpiT390X
qwIbId+eWp1rMFyCspWCtwH7LkE44BNXmj7qbqt0TxheNRGrTc3sjD9lrpo4WYLSDEjzVW1GB5vv
5kaXaQL5joBLctwunb7Ue1LFq/FqGsGq4icUk/TiiX409G+Jq0LdrgTvgSTl9hCU16mmcw1mq6CH
OEAFuNTQPaZbssDEcKlxawrowqMaf/XcCGN0nbaOLrS8inclsNaSttMA1HAxouJbGjaphM7bJssK
uG7m3nilnsGhRSsCEzbbnXusaMqX4EonBlmMPeaYc6tUYCoy2gke32wc0WGssSyhqklDHP1ls6pQ
okQFlmhIAqTAw80J05lSvSAMZwP0Fsj5V7VEB6x+x/gSekIAG8rEAt073x+86fmg1BshLAl4QRHU
vz3eS6TfCwRHJm0E9Iu+vob1NRzD7BGq19B7lr0jZCeWdxOuibysdHxw4dI0y4WBSkLgbhALOngu
/W0eKvhYBi8/hM+R9biuXgorkDhltMf9u4MWkac0AzqfwhJx5PRdMf6T6bMOi8yY+kPIixGa/43S
o07Hc4lzOaMzrvLBQ6yVHQLT4Yug93Rbkf4Or4BM6yxUbS9zuhJxUirN2o8xl9GbZcRojKzGAB15
Trfl24fDYyHpANZeBg5YnngnFriNiUWmSqGaqNBSEpKHBHfEtM2174QLJqzB/zIz4g08EK3cHJgO
Mm6bycok/RBQOf/obKvhOyboRO6RVAd4gqKlR+nOg4Z0VRSeZbCBQi01+4+G6gvo0nATuZA9cUop
l4tz2krkgYKr0oGxslAoMFSbM7rvfiZqLtcpYZQrcYTKmvEqkm2QA5CIJ04zHSZfIX0RDErH04fk
nOUCAXT5BtuDuYkvKf1IexTwPXLYqB0WpQyXhSar9KEQdSBSGOUKpOM8YVmQTipGHJ30nRJMDcNG
rX61b3Zi0IU6CkWWzf6J7aplJ+xoGH5gFIWisY3RZZbx0vJ9BPWcptD80aFJIgDjrv4jGMzxl9zv
la+4MsaIMLVmHdPkOlYPBvsuqP7qDrUQObnodkzRGIGOGklx9V4uSttnvF/n/b5lZOJriHQlZmIF
VqedwlMJria2AHDjSMmQgwjFiJZiOHreSF57ywyBobfZovKnnNw0OMuMj0rrPN/0KTYoBCb5QFMN
tkDNFNH5nE3+NLg+uX7vQBPSGFEG5pPc4eGHvhXP6Ac6N1uejj6gV6tfwQLLUkr4UqCc0qlAAc+3
Fdb30vr6ZA944nqpo3iM3JGvgE6IHX+MhVFeTW7rzhjWpSgufTFzcMRpyU0YNrCWdCIbJw9imtwq
vC2R4G1CkqI03lQbrEPCIPtrSMxJznfNsvZZGsMlYnSOL0aNtyadyFqBo8VFUfiYAtyJiR2tWzBY
4DhPilFvYpOEEzS6yB3OeVa41WiLT99qyNhRIXyM1xZ63VGolBB84okbtYVVVrYQMGHPT7jBwoaP
oBGLYc764gsRO57E8R3ZYwIJkkMjac03qlNU09FMre9eQQVARnqMi7NncJPLj1j86q+R0c28eG9y
vbFJIvmf6KY9MGhxHdkCFBqFLWUM/oXxkw0IZvyfkJ/K6N2Mncvtz1UbgP6ZBI2/ZHz0DCMr+sdo
ZqzkJpHAh9Jh8NF+p0cD+h3XQzsLNLW6Q8TwoBa7RfW5QDjiWvBqPj8qq1d8pAKs0RJAoyhcPBbY
djsIF6VBJpQcLGBIZO92u8LccB2Q5bfyIzAPQMv5JsLgKxwZ3Qsc4Gh0R5/fjBtD6W3Rx51cfmOB
kONnF6A/xiVsMkZDPZt+kJ3CE9DHf5l461P6fOUmUR5J+5Ktlw9jxjwM+cPvR8whB53Xx0ycgSsA
ERQEdyM8FygIkwHVyoeGLXMlQmtAgTSYjzXt0tXHaLx+xHMUXD4WCmj/FmV3X3cqzIr1n5k/jMku
TKBVzAxWEugciG9yPnR42fVfI741pLee8KOqPyIdJ/ofdbnqjLeXm1RRVy18SB0n3nth/pnazSz2
HY3tsvqrqz+xfcjGXwhPcrzm3UmFb99+0XNGsibLxkKEzpVmSD+Gq2+eivqYMwyXFwCxEa3keF6q
IyXgrBDIWNzj1CumJMRLP1wrqsLxVkWnXMg5p39/qi2iTKX+RYNYeFDADkZHD+Yi+RfZOMldN0tM
fMj9T0YahqwxJVZ/9Gp1ReFtoD0qyFKz8CcUuFoaIiFg97K+5KcuWEnZv08W7H3tZhnm7JDTeK8b
xEc+rjGb06Uty5gyZhnc345WXb4Xgq0co5EoLlZ+mARX/eQgK/nMabBi9ImcSY6vBUJIuE3dlcO6
h5zNkvgqvqLJR49Fi05NrS31jkzvZ0iXuo7WNdLHQQYyUnLSYgdlGx/OOfmKg3ctaidgVlhuqyLb
qB5IJF0kOoLFwXQQqjLIQGwl0RveYVm8J2BV6lMtb1Tlzf9vfVJuUAM2HCnafzXsibIjN7PeaAQx
dTXm0Ozvg8Fl3FTdvYteER12qfrJ879Sj5deIK6aXCMx7cRrFaRyjvfWcDsf2+LdoNMu4uBHi4Tg
Cik6pkFvXwJPpL8o0RuMuRViuoM5WqgIW4BSnVRmdZlk6/hJ8vyWSM9xGrAg6/1ILETRGeXwJ3r5
a9B/XTGnV+wLy7L6otYIPkzbS5idYOO9TS5dEBTT5JrV9SnzPe7tfzJ5NCMX6Vhqj8xwFBHVCkuR
dMQyBrk3+SdqgIs0V5ZvGY9l+UFcb/c0aeUNMj7MnBHrBFLTD2GFkbyihhgMJ2xp0LpIrQfYh6b5
3cChVOiaiiX2HRPo+FWxML0w2y2Uf6hEOdfNcVMU/ACTQ74kJJtmuTY0Gk7+lJFxp0hMyl9pfAXe
LukUdkGqrPyAP98PGY2r7FVkOOqzr2cfymynEO7Aj0S8v0/1MJkvmr6IVZEjQ7+sjJ+m7MicvUZB
vB9Jxg3iTQRNRggRmGbMF7+szM0sp+HR4l1TjvLQnkvPlk3ftYZ1SCfKuGRzYCFpT4eZSDEZAbJC
9Pu3RNkiEjrIED3vSdaakwxLu9NVE1Smxq8Jg7VF9LlvTwgh8Uigrq/TBfE+aHtYfjxQV95s4wWk
AJFwwS1xsxr6OLb+kB/jP9R14iMCnTLYGF2ha+KBJCQFio6IJ2I2oIjDYS4uJPRvHF3TsyHYbbUM
YI3f5p9fnEaltoDnGHvPeNn8cHwzGIa1SxoS1PJFYeNir/s5yMFlPvcXc9o5urYS4ltT3zX90NFo
6LZDcuEIzymXKnOg5h/zq0qxIdEdGxcWjTsVNEeBsy/vjzGkNQjSE8NPjhtGHdS19E2cKnPqiNRR
TrOtrQmOYRFoIPQEq+BVmitIkzm/URMVK+QryJZo0AzxUaClna0FejpJ8LeI0COzO8UeOudr2j4N
gObIn4InVAyNYrxS8aZnTvXT4xMStS3vzsCGBNt5MzWvKLyIph9oytB08WmrhvT/ZG60GDtKI7gV
ff8+v0rBX8chleAeNdqL9BWcpEDyGKGfu3jpuqR+4pRJPWV2/Rf5w7OI3RlQucaJctgAKFQgtXHm
rbtjhEQ7A1cSuUg+ou4p0zbq7mb3HpgG4UAGz4jRnELbwH81Qf1QHX832ZqrjfEbUBp0jq1CLaZX
0mKsvrHlFczMAoXKKFlr4daC2jOyvQPpL1d8lY1PWs2SRuVcIg4lE2eS+uzRGpXHIfjRCjaT+Gun
lcviAljS4Mhcis0EmuBXZPCR/MvHgEObLjGlSBiDlKXMIS3zlpJF8Yz/ZAw3XvrAAo/VspuwDCaD
Zq7HcLHCNw1aZg+wagCgeV+wx9FuR5JDTOMUJCn/BMjiqHscptOa9xvUi/FPRTDZ9OkyQ02BbZNT
EvMA5giNiaFCWHOWayqsimdEi306r4ylcoZMjniAFQ2z3NInM3UVXYaNuooq263DVyevfaSOzZKb
zmP6Ry1O0h/OSiKi6Sxo0cq6UC5Y4bAEeU8XvVtPnUQ0mFFslzSkVPwb+mmMDiYdvBSrreiBjOV2
zntxWaG/uXvjKWsP0yk+oV8XHNOpDEmsgSzIXeF/Cdy6+og9NQYvEi70Dz2m/tKatojssU1I/YuW
RowaYs+oDhLssCHzh2PyNNrh2Nv3c3UiUXDsJbwBuM6kG90I/TpPdh+OySYh99PRuNIaouwXZp4i
tNmqQHBhgIslZ3xt4i02Jab0uaTpvAFQFlRUAitzTkU5unJ19BCOMCUC6Orp6wizRUEaY3+VWYrB
pyQW6zBaf0JQQItTEP6zUEXSKqJhiBKooQPzgxUd6Xkt2GJ5bFHnsTEYD9iVrOnMGENkIgXZstj2
V7G3T5RnNxDhh1mZjZTMcAQbXOeAmFzvoKQc58rZzDKW1RVb6z2E9SaAYlmM8Vatnl7Pqgio11zq
UCsZB+MTyHDPfAGfq7ghYAvPY44iGQZE/JtI8xPXq+dfwQ2xwKkOmYUcG1p6kaPWG04RwXeh/n6a
bWHeKoRFd3iA3lKkMn/wMKcOzeMW2nirOF68ozqM9JBCCdXSrvzRgme1XXN1EBhCbU7puM5AIsb5
3OoOJl34Xe6OsqOjJOtXfEBcQE3ryH8QVlgm4CSjiLMxTDI+0hZr2t4+RQrryxzGMHz5Z1GehY2I
B9rlMtOKIhjpLOoX2CcpU1mODto3aRwrJs2sCej/Vn2zpj6VruWuTFccgTgC446ksf812V9EIu0j
JwnvUJQH+BUmhjl8eSS3+eeGYVC4ltYIiqmzr/S5JXXTYRDM9mBLWZI2COiD9iTRLxUXcIxMawVj
QKXfKi876+hpJPLQ/BEcRvoqHBMi9hpjP/rwUQbXm5J0F2xDvn/o9elmQrmtQCqfRDeolJrZ187X
fwNz3vzqdOz3ZjuF0ESTuhisCIp9bVxzpCS9h/IKNd2B/3JTQQfkMcLXiAXIYfkFb6ufGOOxirCO
gyPVgj/2jODFRkfUCDzafEOHORo2wI9pjfb+Gl0kGzwPMi3kc6av4eHB0+3rCcUsXmC468heNmgH
uZOWunHktIMhWkuQ+Lu4uk16AQMmwgsDnVUgnFARoRFF5VUl21S5qxLdmEWl7hPM6cmxpyeo9+gJ
2ARoojcLEgyy3LEO6NsiwjodWo1U2jHdm7p++SBNhNuQr7tL95WTeHUesG8x1/HcAPPaQpYgZNo0
ZUcVtuzM/GFStPhEAGfJ+IKBRlf3IAOmAfFCb5sBApVrvqy0PXpsbdXnpxYnAQR1sIwHPtyAlnFF
L/2zp3zkIDowBt/UhNItyhsdrnIe3mS6SVvyCoQ19ko2bxZpqiPi+aJJkp0epe9UPkrz7JBuJKbl
nzmDORyCc2mfPtKOa0cuE+8FEMAOdiAzoG+onegrwNAX2lVBsOCiWEYwpI9QaGdgbpm/0PvQ5RM2
CAmZHXp56q4SnTbj8g0UVbo+kcHz7nKEAtDCKQbaIl+MdTDWqOOkvxZ/PB6CYhkSbBmuBkgL0d4Q
HKQ2XrFq3/SuypyR0isgHAtty0iZfEZHtaP9Mh2PnKrejVu9XflsyPVCkXemiNeIEGX7kxw7Nwqc
v86iq8idSt3e7D75xtRWFSapuAe0N4v3Bb2RqjsUrOM1Sxp94Jg8Hmir6EQVoSeTdU9yR9LtE2CI
AphH5DQs7alp+7XbMCvYt9vQO3Z/A7T175yJ3/Kr/YdOhsUVW3nilK+jsOYNWcJRANfRkts8ZfIx
s2ngbi+0uepaHmM+dOKcvqEud0QwEOqFIg6u+Lz5abcjjl6SdrS19AcPHJUTbMJuoaOHX0EthwGO
wGKJ0ihdKTQbiIvcmIwKLASDWGnoPS50W8HNRHXpMJ7xbI6i06nVPTaO8By3RCVURMAGELRGAtyn
Hv9EfqrHDZwJjniJm31VmLDAnsYL2LoXhuRL5E2Mceb9M/7W2N7z9SQo5Oy3hbdNZo3+KtcVGsiV
eKrcXsXE0X/sb9xnSszsrXJdzJ5L4y8lDAkTLXoMC1LaSiUzeiQnwDjAJB9bx9LuuMmnuCl0FFtU
d8ihMhuygbZuMc63NotKWXAMRCHDswV9QP5lAjwbeKDnwbf5SEjamNIJSHRhpgMWhbMBZHvSZpHM
LK56hJa+cGWIZA2hTXROzIFLxnxZWfkL2O7lkUvMf8Ne20NMjzcw8ScfDXb0Q/czIUahsvIiMYB/
50+beonQCai7rphbeu6Y1Cb9zuY99f/az8KfA4TxgY2rEEhoH8Xu1FsYyT8n0XcxLJkIg1VorxJT
HXjGaK85j9IGtiQY+DzgYwEibuaAN0QTEEfck5s6OE/tcFBGkIbSjj5cQB+cXCz1UWN1NNYVbXgs
TDhDkiMZhTDH6QKJdBCsfxDwrNjREMxOIFPu9WbXAcKohh+j2V7H5Ge6sGH0pFEbr6xnckW6yo4X
HYbiTA6wdiDzQcRUw7JcXC1SOY0Q/PwS584Ed5GjL0mfzIjWO1z2+wYKwxIRSyN9yyrsyCdJtGwV
4pwKQ/ToUc9FfVOT7xm8cL8U8gmCPBtegDv4S/3SRCeejjnWTmLqN1fxuzPennXQ58Ql6sddZ4EE
NdYcfDUgSScTww2snCWSTnpW1jPfUjX+IJoYFMw5wQHBIrQbz07qNdocFFNwSPVwrZUbRTr3wW+X
2yQQVCIno2XwQjEjf7b1kaOP6ZYRdvo7c9fGIyoAAyyEEu1fnb+HYQkwLwtRtju1tyiI2Hat8RqS
SzBFqV2Hn5CIqA/PAn7T8ljy/GzbReYILSJakhsiuzDQB0AgOsgPiLoMP1hLcaxy4xsH8gqYH4rk
mrOv5F+UAahMBH3Byon0hWEewsB//YNIB/axHVyTM1bXWblG4CPRe6AacTKRaFJXk//iDM8VC0by
OQ0D/dUFEcyUiajSs/joN4cPGEHOoYPg8uUwAEnZDr18w/5GmlWtnFlM48+jHlaKvyF8ilHcaDYP
ptENQZi05ytg7pQ7wLQksGxVyTZLj5UJ0tAD8VrhmpoUBj1HcgF4EUlG0yiwZn9gzpfGv5nx8rFv
hZ8jFWXBjIkFSY2eAReU9GCWcbxT5KKQV+Evw7N6l8YN9+Y6ZkllwaQmEx+S+AhDhu7wbAzsiUTl
lCMYCe2eBA7HeGpM9OtSyGAcRYTX4qUFY3v3lf1UbPIdVTwK6to/T/PhEqEs2UwlpSYXKY9uUuRG
/tvjFWjANZgwOHaKWP208tUi5AHNNhUj6KAwfAXM+hIyXEhzSIhnLc8J48GAgJ/+j7ggYVEyClWd
UICMj+OHGg1FQwczUl3XxGKQdiCsJZUfYvUinthXvyX8ch/j9WE+0IFnoPJXy3tPaJVMiRRKOh6F
mSDuwTNTySF4Z9gdN7tsyr/BOB3tGvnKukU+BQFh6wIte+NOY/6sfQ/SteBvH0JTa2pkSJco1Rdt
9FuyK/bshcKambPk9Y5oXZScrjR1oLaT6hdPLqelmHymPnwPcF+n3nyDfsSyZXRpv1m9Ms+wcfRT
ddaeEKI3phNemEsitiRaF7eaLVGJApBngDBPf1HPK7SWtGX5y52m2HyzNF9aIAwclBhdrGSoYQ3A
EJD5OqoP7hAOPwEF0DdBQAHGao7VcF6/uc/VLxrHfL8wo/AodEfBsc4ZsdboOubD9/jA+RFg3WSI
QJpUvTT2nItu/eGMP57bd90/4mAvbuCBY+JjM1R3HkFH+dKzkRrqHhEDiAbWlaN5p0kBxKJG5z06
pEzfVVoI9JkqTlt2wwP9BCu2Lv7YPdvdp54eIiW4jXRUWpvxfKsj4kPHvJkKV9dKT735hQGVyTjP
5bQvCRD6rGfrUxpxQp2bw0KaQuKxCEf/y3m4cRuijBkKspicEKW++P2chU1jYx2GlXeE+N7Z3cna
a/VTcALTGc/SAWEegQ84taLN1bq1uMU3Eb4Jl0VJzUuuyC5wSWnwbGu1y57c8pqxYj7PzDCf9ktI
qmv9oqqL3NbhA3TrZNK9leEK9T2ckdUtuipIBkUCEIt4iat6z6qNmN28G5dqHwmkdBpIYv531sHE
4vzA5qXbZG0Qkb3z76pKGrmD8qt9UQdDnhOy2cLPHGRUVXVmOjMHB3gFg9WdyQVsbaPaFz99/ioI
3FYcugUG8S39qpVdHayo+m1RQHLT4ltd4R3J7hzKdx7kedbQufgPsjvTBIuV5cJnZI6ySNeGGwAz
squbNlPO06o1hTDQ1yvuFocqWm6TfIh4mG78ZSqIDqnak0nCYEayJW4IL7cDbdGPjyIH5z5rCkTv
C9Y2aN5z/EeHZk2hg8jWzph7LqAbpRmawjllJG5fanga7fyMTzrlap47yd08xLvsJNEuOmF/dpS3
/uCwfJJ3wRXWtR1cky9Ik1cMWMaBThaEyBbaAbRnaTWuDvkUFLeAofs7YvfFsXYPww10+s5YJTd8
ClsaPp97TmEKTrf9rk9UzmwVK836SuM7ow1rE7mcnFLDbhfhiclolM9Ch7dkXBo6WAd0uel6XHw2
eBfyjZrOaZYe8N7hRk8eN9qH5UMGBzWLuQn8vfxZB6x5yDp8jttZh1NzNkC3ZJ2jqwX83KmAV+4z
5NcZ5wSX0CVA9QPnv1V1ASPMTNfYONOxS+nnJD94Z2WcqU+BemhuXIE+IbqOFv124uvC/oHYwjhC
7l2ao54tvnjux8rp5Ge69t4K/Yp2LYQrenQQluYez+CckNKA6DkEFtpBufg1x5F48nyLrwyOaLME
v7Yd3hoURJt+H/nRo0NdvfDdavum/4+Mtwb+fpFBF+9pODZzF4MZx+RM3SLs7WnOPZMHTiLwiOC/
MGJsNSbxT7y/nDIahwqQGDFEZ5OiNEwuZB1RNFIChiS/9tHNQnqRLTt6Tx9zFbkIaIyl/Eqgsc1K
TghffbHV6dOzEscR4p6FmB0kUGa6y5hH5cQ/60gmxULnb9r24E+Yd0YRX90u4WRDKBqNEBb+P5HI
MGr0syo5Q7polI1k/Ha36qZvmHBK4F4inhu/DRnJLgLzpxSWRZYvc7lihPtqI0x34EhUqgEt8edS
CR1HeqeQbRkw4zmCIfjyETZuTGUf1gep3goifHDpWxftgt9foWyj9y8Wq9i6YPZAVmEtUBYVSHSy
pXyyuGUpA2Pa+RKN6ra7oI8Xgj+1o1zQ0Op53bJGJ+N1PM0NE7AAjUoQ2US5oFwb3Ix8PZp52Llf
Aot2joQla0w0MUqz1ywE67t4RgQylYOM2JIqQh9/Bh+BSHcxvGIeCi5FbYy22sOkWtBrmzf1rqE6
ThF91SSvsSgjps3unvSNetUPiSt/kspDHz313/EkKqS3bRzYMcuziqpYU1rCqScBNmxyetrTKpIh
pVVJW2WNN9RdQn2GvpSisvjJEf1JU+5gF+R03t968qhpnhYQCCu39v+F9EFArguTghJ4Uk+xVsK8
IQ0nMaD7afv/nx6kcfSWOKMlqHhy6BipGu+aARSsCOxsgD/JcTvcquO7Z60XsFt7D7qKmjGsPs0D
hE/ewWr2zlVDmd2fK8qasv1WMD9+sEhQWsq08WgEl0s6SMyxcusu1LcQa++PhRinnyFiKYKNcK8d
+jF3YTeisPE3zba/M+bVmIOfo2Xrdu9qZWBu/IFv4eb34qq/q7ewq93onnt26ZiH7PjZsLSD3HrH
7sdpXfkgnrWX8bKOxLtsdYa8c++LvmviqguQImd9rh/6Te3qpBqoGPuOrZu4ypGeqLUFoPnbrdUf
/8yF4OKTI7FApJFc62Pw7cP3nGRA+bZvt/yjfkbvE1MDB3hNWCMVCm1t6pR3Lo0IWbxL6dmb46O1
9j5WdmLeiQUl2Hivg2rgHIyheVkvFuo/Fvc/pDOU90B/Kb/ArdhgpfIpVZc8nKWfLCd0RTDOpZvo
aH98O0p7bn4Q2sDhk5dCtlNxnVwL1/+pCfhdHAn9yieiJIzpyk5m3wSdAoq+yjLCEFsk+lRcMkSA
nIPWHFkDLYwPUwcNgiMqs3zVo23pcOt3GHrlZVsv6NE0cwVWE2irP2Qz2rzesxwWAz1XJv1fkTA5
mv2f5uOKR/PEBcm3/2QXsAWZwk2woquTrFxURQ9O/lVA+2TOIzReAbMzVW/OjMgNTnTDJLyjqQT1
kjoVPVp8aSi1GYSsIuGccr7iCt7ZKMH6wQcI0wMtIGyS3YB2/LeMgDOSUj1d6uTIIqnZqU6Xc0PT
3kpcHvr8F1O1Qd5egKEd1ccYEXePL9aHbgbnmRHpkt8X8k56J/5B/0svB9EoistgvnfV1ZCTycBD
ixIhQOO+nTw4G3ExpZSMNp3tIlszYRs0xgBz7JxGjgN9EOccIejy10duGDpd0vNDH0SbS2s/nNKB
eZ4dzP2QDOQX5TITHTwyCmf5xC6FVaVtOOiX0mSIro0v3uqnPQwTfw3sMvVGgA4/DPYRTVLmF+3W
yibdqmLgk6lcKo0GQVRIJ7Flt1n3Ky4cFCAsFYCDyI5CzUXgpzkznrLlahgVY1tGljmsg03GiuIK
S/KQ0DjGjreiY1MysJEQ/k4+RHYpFcdR3R5j+ho9b0U9Ta5nTqpPvz14CGlRm9H/MmGEy991fLNI
k9Nf9dtDa9rY5in0caOiavlOGZZxPKCXjBc402hlLjt1RYSaT+0AsqSxEarif6IHPIY7M12r6jpg
iWzIDNSw7thk3qLy4pROi+ijvoLol1xg8mBadq8HfVxGZaK24qAxBQNxwgVyyvQtjpwRgAdggZEE
t/HE5a04fgn+O4R1mPcXWocEZpbUfZQ9EsURCuPx19IOBeAedR2HzwQIYYK61WSVNg3JTqMb2jTO
hVl1ZicfuwsTz6i4IvFnwKhyhqH2zEHNeTdVoUap+ZbO06LMzhXEB24eWuN8Dr27KS2m2vafwKuH
d4GxqcLfdHbGjjkqu9zKUkAUs9EuOyTIAVK9aoRSTKbX1uJsPrakTREd9KeRJmTQCD1M7ocMGS8V
DUNBzted9Zy0pY5j0NHaMR8ncJs0M5kNCMW4QPc8t2+JftA7eNXvJDtFNApRDuvItGuNeNd+Ti5k
NOcev9MxNxZooxkiTphygnT0amR2DJ4HgarctLZIMeWv1XA6H5NmSX053JnrZbI1R6QsM4ej9UIN
3vAWEe6nH/1L0MQp1w/1brolkJwQr0lG+0FK3FF30o9tBTA3/Zx+n8HtACUdXRRCZLTqo4mQgv/l
1NYNlR5uonR6U6GxiHR60Sm6MQbQKAwXzJYDAO5j0h1DTJ4EOIz598ixQUEHLvBnwgauIuTzCLkl
qTJnxfjwrjPk91x1VTf4RrFwEqee0rcFIg382+T5m8ickKqA91UOT0OUz4sWNvGcWM3MYUgwTUG6
o4/C9nNDVDkSk4nqXWDKybWKR8LckIxYiPnIOQyKk2+hBlzJd6D8xDtwJi37pwZov99O82n1Zxps
/z/iV5jcUSzQLlLY2kUd5K+t/rTTlWByHl9CSPuqNKzH4O0Zm/LNeSGNDzpdqacR/qWFvyg5NkCv
F1Dl0g+E1DLpD73PMRtvOVMyhcHyWFT0ruA5K+B2edsqj0zBUSln98w33FdYCix0w00n07W6mwJj
MOZw/bFNDvHDqMm6/osZFHUOHWajO0p0hshdbPi+g8GfQPqMYfRtou2aD+3qcBGC20ExaFjhWjVp
NDUbi5zZ4sIcjeCdNe17a0sqdQpQmn53JTvJlaEcx+XmjgOlUteq/qIgA80y6LYJo4Kh12dFVCp1
LdykcR9e4DYZYLuzw+eGGxFExIC/bWdEFIcnkGnqdELAZ/ylXZMXj1URLAVHVTYyteaOtqmJ08sC
f4E02DXyayOe+v5Iwwl+9085KWu59+EGm+U95tgVIzJAmy0RCVBemV4TqfNGoOdLJ5N/i2LBiv86
phZ9GK0E8wvF0H3g2Q4R3PZkjhCf1mq7IHCmeEFKBZEHiFWlgoiZ06MbZvSXKBwkIJMJroKAM26y
gvB1N/myJLrF/N4gPwXodmU4nDISX3z2ISEaQn8ZrCWkVvMQojfOhpsFLq2cbPhKu/dJxkbwY6bE
kiOz8+9w+ql3mGhhiWTo2BMDTajc8tMvR3JLLP3eDLdpkDK1rAKwBqU9yaSNadbvhZGTcjplwhcQ
YFn3LEsAyGJW6jrm+I5mVW0DHCQhCmywnUxYLJBJiJ2g9rvs36Z+9CcKNy5NPbgMHD4wghZVb7NZ
VMOvkL985qgK7CIWxEdBDY6inQBlRlLhkpHdtLh+6FQz+duY3LUkBY5fMVrg0iaPEa5v9UENv+ro
enT1vU/+LMkRhN0QC7YffMXVvZqmo913FKwE9cSggnfYERYCGwj5JEOaNgIzssdZYXEYok/CoDpf
47qtdn2CEmv/EaYwXfLr0XjswBIOpH0d/yPpzJYUxbYw/ERECILArcyIOE95Q2iaMogCAoI+fX9U
R1fUOV2dlSmw2Xutf/2DCtdnMFlwobULN8BNTluYLxkT83QdtWs4/uPU0lZxg3OtnX/Y9ez0vMdn
oM0w8QcaRn/FmE2e988gI2/16WX38D6ZU2rgSEUhX7g68T6JNVgmkG/4dsfMNlVLyWjmmVsj6XsI
s+eY0S1kHhYWAzx4/eLdov/gkjqZnWoNGIb2kgRaxqt4GvEhCnZCqpTa1zEuwsuvwjHclvJ58z1m
fPUd2BFLJd6w1+kpeTWALCd/R+AsJn/rQQKeeWNpr2GlM56DU6ecB9Wmfu+b9Bcd7Kjc8D7mb/Qr
dFouvjTDWAKtXk8ojNM84cnP1EEHySz9TXTkWFjxrAHYhHY1+ZiTUB4MqXD52XYs6qBhoCk7IHK6
J3jKSQge3zW1I0UAMvn6yeGtWtn98l3y179jSJd3s3IrinHlh1WUO3iKjVxAoHqmyJvk6+B/XYi/
gKMtByDVUBSS3YMBEVIfUq8w/jfEDeAHpQoY7IWf/kaQL6J7M9EbpqWXiEf2zvi+ZUMmWZYSTCPH
ATfyLccbB2JTBN83FGFD90Apd7x0X4uwI1gv7+nraxHe8EEiI3cBJoTY47/WWEIRziCwipAhFaYW
cpzJD686UMy0CuwTEQ+KEgOzRiON6W+Y14NhCaxc+Ff1BoY/EwXJTfKZpLvUiLwNMZxZK4qOH/YA
Xpc5k77Mvd9Y6DxCYMf3nuGYfk30/TgLGU68NpDwOqyKcZcBxS/8mHmnmxbuuDNaIlp3dwSv+H1O
I2VOdBpoJWcxA+l4g6SrYuScimuIVyPUKIoJ1Ma8vWGkxtfR5T+VA/0JXZTQkBJR/7CnfFGK0OqC
7JdzqgFOaPoben3xbcqYNLVQ8FEfoVhSZEgw6FMbSBv6FVymxo2RU7/fShepnmlMkiE9MnH26Dj4
wZxF6xchbKb8YzIkerWuksLDi02YtMiVnx7zLbw7WtAfzDVQ4ReHBtF3XPrdaxMDachrv9f242Wh
bXmVG2UZqSu9netPvPVO43beYnh2kfFoOzAA00lhHODvG4Us1TPMayqer1kdWrQYtZGMjrkjNnRk
xAq69SFZSRITGQGaNL5PuB4xl0heP+p10iwnTL1gT7g4yc9KqsgnooqI5nsSKles7oZM6GwbMWHi
yU/2kYJVTp7Y2OWkBzwirteE2XL6vrJoGIdkDqa/TikytCGVrByPXBnkJ//4HNFAVZwUkNuHvfJl
4VpNmkEuztMrANBZSjmVE1YIE65ujicQ8b8pZoqNG+U2GbEt3p3UCWHdIlL3omY2uuAzHy++1RBl
TVURPBn4D3IuaWgW9jDVQF8yKG7OOKXvNhM8pRNDwJmY7Asch5Y4P9S4NT+s8Y4RNPV3NxOyED7y
HrSZWTkcWXwLKOm0WQU/JYf7YX6wJF4LtImO6tEKYs0BEDrcZKph/J8mBR4+ewwzeLJs7+J7puBh
i/wBLwmOG6sc4D+cCfz3VbrjPdFTfTJRe4Y5zPdqrsZnLU4MJT4zhBy9Ie3sh+Y2ZZ8gwJag1nG6
FO698R2HchRoUIq7fUs9InS+ltjj1ssBFXo800kuui871MkKI2FBxlAFhJz5bPvGLgb2EvQ7IDG1
QBQ2hCC8HJz6P6R2/UFlFe+YOVhtalIKdcyQXPyVRmMXLseXRxhAz/9ARX3/AYCRpu09Xo5DKTKj
asLB7eHUH5MijYa8uigx+wthJpvO6H+Pnb6JRR8QkhOKgMCbUltPr6krunM7CaTJiknTRyJLQyYv
Bjc8iF9OweZwGrwDtOamtpZaKWaESYX+XrE9CBkp4GFH0/DB0p/HNd1TxqWb28u54e+o/WA7qlh4
K7FJvf40HGi8fk8GwrkP8XEaQ5afPoMRuWfmAwyoAoEYWLXj5wVb+6ZbcZ5Q9qo9Jn88ZFofAQAO
Xz75NcOsrHvvE/bCx+vweaxQSN6pSgVYq1mxZmw66iDTg/7pKpb8TvknM7FcQI8qqTu+7FE0FWwa
DycJNq2HtvFj6l9PGgcqxFMMPGAVYWYHaNse0iHP4AGZZ8hNoh77TlGOtRdIweJVVogQBhgwlNnj
61c+K4u4p/uNGTL9Gr1dT/0D+4kR1k37WsIxXte3DDceOqS3Pb72JPWI7AXYWIJyzdsDnVrWmPLq
e/zcXWDhiUi8mzPYLcIIEg+lYLdkYmJY3PhAO1/cAmC5Fg3DUJFXIhnUQdOWnWI16S3s5lR9rne0
9gwLovZpK3B9c2yO4OFiQYN19iaVzpkafNPf7I0BDuHCOK+k8JrYnx8/sbhtGGqyYPR4PdJhZs4x
BKRR/Uob7RmWWD0nFh8mpZYp9M1T2ucS5oW4KWLPCeVIR1KCCZm2EZ8YfnYms8NxGqjiX6EctQ+2
LX4x2lIx6Qya+sc55Wb13OOSV7dJeN8n6LIQrDiTf/HqcJ/bell/53j1YIWivBYvLKOTfXSWCHt8
rz7qqYYwP05/oecIp0l1+BKA2K9gLCGgw3ighU1YClf9KsL7y9E9gyrra2nk4FP1wBQe+yqCD8Pq
fdYFrCg3DAY0Bxp8eo64k0wr291X3Tcc5W1rK+0cmJvRGDQW4ZjhfwZzeIqetNExqARZJh3GfeHS
XWy/2jwTGmNWFKZwhR1C9CBVk7qlH4Xn9Tz1zHnWau1idm1EwBGglQgjtxTAg83EPYPtgt91jdel
GYFUQV03UAsrWNlo6wdSvJZpvTOiwxtZqvqTopYm5HMrStMSn4iEw6KQSBcMo46YwkC05VuNFyPk
F2X9vUMCfWGuTC5MFHEAtucsdt7AlCfSNDWnIJeIqhAfTzRBX4myJrUerwk/G7wjhZ7KEI2BaNTj
S0chAeLO533ZjB3y30ZfvTYXloRXWxhiXlUvW41AVLm+qAuw+tOapfC0R8liMmEZezW4lCwcMQbD
p1PVd1/GIhp6S9y+IaO00umxh688ijAy8WG7aeOPqYm4pPdTZRGpHbHyINxMC/yBFRBjv9D9qON1
NB4ZT1ZfN0Ky1GyTuCB652d4hlKJTjbiCms0jI8zGdb0QmbOePVjIn+5Q7j4gFs6dRdBuI9g+UNb
kBdVRwJVTDWCm0BsYwOn1pAOre7CjGiMJXZLSFMD1flFcCt+Fqamz54kVRUSVkcItfofKcf8jBJX
n4+wuZXgxmLS/YixBNq1HZZtgt18lsDVvZ0qFOIQwJikCzPaZJECtaLk5HISTM/e0cRgNlNBJGik
jZ5pl6LBuR9cDJ5DTUXAHKi7k7qOBFE3KwDi79PuRmeJVZ4gsolBoN6YfAy+NqPVWwyEXnJlAnJf
4p+8ol3Prfe2urRtqHsUiV+ikCPJG8c7dUTK3rLCKCb/gMsCn8QdlrCtmwi/NL6jYmLLVKHwO5AY
DXSprl/L99gVizmcn4nVwlhPHKndo0DBdI0BIy1Zj0/k/di9Zs/HOnqa73b7ak5DE4FzADyierST
uZD0ftRGuyitaDLZcYm0/oSpEJstnj8xb0323ibSALFuv5OgpsiTXExwv6eUSWCBzsKjJxGlTdKe
kthnn9NKB+GmSM4QflmPNTjp5358RDN6AEw8kyzkKEzeHocgJFVO4ZixGGHePewaGwucV2PWBAuL
w/RIGnvqM4j7QOUC7iSi7AXBW+VvvLxd5ksRXSVjaFhEMYR0t6RvAXtuYGNxCnmbex9U0YxuI3lb
HHvYGWXUiNhywaVTjJpDWNszv4phLJUAmKH2wmPDb8ceDRCGtJrs8PPxp4mYfUK45FRli8KyHBCQ
ISJdvOyMyW1HoPp0E2b0GicT1gzTHhtO+A7KQDwZ2F4Tn4/75JOdON6zzoXgOhBVKit6ukC8dAcj
OrRJUMgOlCeK/4x9j/3h6daQ47AYiW7MRfDMSfmkY4/bBCQOxJtINmxXBFlsQkCI9JdU4sryc0GC
Ekwoiyhe+UWf1s7FcdjxCBK7ACVlCdaQhh3ogRI+oihTx4toEI3MeEMppr7VD3cUMIe7/WHAV8/o
NnVSgfrB9zPjBIhdqEA4XTCswVAa+0/l1B5kcqI/JvNLekug3Dul6kGJ3IEs3EID8xDIVE/CkbwW
sy44PkSV4NgqO3dlXihz9b1lgjRKF/JnfZcX3Hc+Q3EZFT5taX4P8SODfMIPAPQFPpZfuHBRa25e
fBYYpwTWQu2AdatO0awJLkaYL5DGwu17n1T0D17JrTmYOCtOLHsVG8jgbBhrNhZ1vNU4LPbibNw7
HK7wCwkrom4C8WFigUMrJ438ZuZtFhwEOoCgd6fzYVkwaGSHh4dLY4yDSh9wJ0FeRtGMZw85pJr8
3PUT7fo7C99M3K9cHO8BZx3Lhk8JF4Wvgvtexj7CCwRJo5Cx+0KA/kFeyHHFCmTKSp/SyCZ9Hq2Z
tBZ/JwxREdWzZwiO8gxUSDPRew9qz/umRu777eYZMMZmXDAa47HyuomnHlOLz5rfVRgdF/0KisI4
mZaNBoe7wnODiMnv+tUsLvEC/EC/FpfxUrg+GEljcZlZtL/AHqhisvGmfXrD4r7QQ07W6vUNwxH6
iXDlAVDZClugA6Ct4cfxQqoM6Wg+t8m8JbRs/PeZZYa6HXqvK/Qp7iTr6nHpZqOhC0SOJ4XNbzHD
9xlgaiZdjDtccXiwKHSAXLqhgRQFcIQ9j3hw52xQYI3UFsMXSqyB5pUfY6E02URYuEAcEMZQhf8x
36rxl1St+lBmuKPO3iJ5q86TyD71hAUwTfVyBIU0MrWoWSkCQBWbhcuyY0yXCJDGLEF7IVpcwFrO
s4YZHWg3o3Bp1JjZXOK0xXnOFBJcdfn+lOZwe+gsTkOV0lp4W9L0yCovtEtpOAKdWOflbkxXGMOa
LWl9RebgCkuTvJDR0x1xKRXlzINEQgEsjPdf77Y1NrbaSR2aHb46T2UINhhNQ9DJ2IwHA6SvhNMp
HIFPiZr/TVnEpKiU6H6gHuhYqyN9ckaoBz5KanTD7nsSmOHF/I0eM7FU39YMPiT9xPQKFEBkdakM
9p/CLdYB5CBWvR+tN9BXU6Y3kBWeb0jwKUNHuZrC+hsqrDaF8LSm1x8La1RSkyeoDsIri/lKDYuA
kqywy9hlF71SCsnJKQIqaeQDB/ynpXn/E8cbAER2jZ5HHLuCOAPJnmjQLQbKNfKOMSYTCtowny5u
6OZZuIBKb9IWDfrjgU3ydlFeAFQhENCwK07tL5wfGelbwBCSjzC4N72xb/zNPg6DCTa4YcP+rsfP
NVsEH4B9Q2A0xtSOxp+yjN4WhIxXvfM+CpaAFh8PNAczEoBcaJZ8NwEVYWaNoOgBPVdEMxOTgunv
inIGKhE3gG0CP3Q+J8dWXgzdXtIhMF0WwoxrjF8OakO+Vf5xkHSQSMLcU499rojV+cpxB4XP4vYy
Z7h1RxGZwMXfPWVac2Up4xbHbE1xoGNxwdw1qhG+V6ZZ2uSHZG5qeM6+VhzctNiM8eCBwsfd4UMD
QT20gcNJcwg7kxETV/uZ+KgTeeP/vb/thY/A16XN7AHVUiKJctiS+Ms8FqZq/DAuCJSVFg2OPoLO
T2Ry5/ipnJRqxhGL/eOwgQxfTw9a2ACx6D5YT51Fj5oRIpMBaWOa64w0u4iGL+RGPP8YHHKT73A8
I/PJTesMbLwY2aJp0RtsKp3BZAo/DAhpmCm9bb41F0qb2v5bKoAgSDGpK3k03yxkUswq4gK4dHQ9
rCW4RoOKhMttlzxTHhDnCa/w57tGowP/Di8iPkAkL4Ruq6HAArkerfk+XLYKeYm1955zU7lmrgCs
GGs/3hxkdAMHH4nXnqONnYChMAcjEDx7Vj4H8IN4zN/hQ8O45xryzsVzASkLNxL8i6dAbtjw5wAE
pTUWGARRRA/3GBqZwElPC8F7xXQLtgZ6pwfRY0Rv4nmXGWNuJfcchd0fLx3fASST/4gmEE4l+h58
XUaX9qKeoH4pmC3WM9YotwzSpVjYb17Fu8la5F6DlLN2WU7DZaMqQ7PKSQ6K+ce7lsDPGWo+Cyon
fZQWDSVZe8GKJOkpl52OmYjCI8wdbKEZnIp/5R8TdrzJzeGEwaqKCTFeMDtG9iCp7O/Kki0s3+HG
XthQifnFROfOIkK3xhbACIMBPR0bnl8cNbAW4Ezh+0HtwEVD6btQglEB8jGAT8BdBYHunSGzxWN6
Z0t8QXgrKVG4dyxobjMsBS5UYrFqTOxwK0IjaWKaA9tbOD2QiJY+SxrUnpX8ZplQ8GFvyiHB/8H1
n3uKQObl0BNXMlLvYYUSZ81t4rnwF8EuMeni+ySEWbPNMLPuXO41rG4QrRcvOrpnZG0dXEuWnhtR
L+Iig5cLoxoADZyzRAM3IBYHC7xYAPkwORzLsGiX2Lew2VZ4xah+JVks8Ry6Li9s6X+xcNEsBFbM
P/iM8C+QcvCECAJl1cJOfDokBHwZbicuHF8s4viImAl92TBjjyuE5Yz5LCMTSJt4n/R39pWh0EFI
wqP4t6+aRJJ8taAsg0p25TYcVKtloFOssU6/gTyZqx8fKI0r5GdBgxhnToPJe7tQ5Y32wIF1O+7A
BzcEfyPKgnYvMXGGdr9rBVPSBgi7+UOs8TlQOfOpuO6R7GKvpZJtmvj9mAS9Ul2+mPq2itdKLF4D
pnw2HnA75rhMcbshQgOfH7YYlANwibtRQJw1i/GrmDkh24pHoHjSE4aB4HHINlGxJkncByUfg8TS
1e4LxrUQKfidBM+3bmG48FIR9+ASCX3e4OhuvkYDTvs2Pi8ajGkJzfs5PTP0I+CQl3wEfQlOA7NN
xgkeUZaK83itEBwSpFXuv/Gc0Lk3qWaqO8ptInCKh61JjLj4Jr0BoVpnrOu9nYZDk1kSCoVBhlFs
SdLBbkKGlYLyWPR72U6wdJchJJkRemdI3UFrp9BDmeRPJ1ML8z4YINxVY7RoGR8SK5RJAIKmVFu1
6uZTnty0toGpRALzJgBi3U4a5IvT3MVKQJsG7BpmeUv1xR3Ph8QCUBVJ6vr6JLQtSlexRp5zYPP5
hQ5sQASyEDSaokPuNgE8KO2IXhrCiafsPzMSGMx++ttYr3O1vS8F6NtIrDGCusHqRrHDlDoDFIFh
0tL9TnvouHDQCUWASvybh6LPQFSkWabeM2TcLnO8dowHmd5Iu+werokGwjzg3Rm7zJ565gE7YIYv
ybK6apfnDvX9qrL9aBqknvCn7rAIYPJNhZ/b8E9ypmkvtz62dm3fvbfBTX6dXaa67sdBOzVlH+d+
HESykzHcXJ4/zFXx6je71mFaMIPUfF+gYHlQaV95jpAgcHFhrQi+4GP3gtMES4TrON9RLiNcByWa
qvMHxC7ELXczPPO4lNV49THHVv4z7OwEJJPe+POcE+1gJI5uXjd+NrVC1tWi2O7QAoNczJDbmMpy
Eiarhpx7wVf5R9wnoTrHfWLxWEo20aKrNkGr9fJJQvz5/CorcgyX0owYITYMxprkiPLU9b/HZrxj
SYvouUJiqRfYlJ7V2xAqbQM5MXbT7GFUgaPNaieRzMOIbIpsibPTR34wPWvTUz61DkFn7jb4eU1X
g+8ovK35JKwOr/km1KZDMGi5j5cxWKd9t4VlCvuQ6PGj4Bcn/CnEPfFXzOOEa34sj48bE4mpQadL
DBalOB0JMjfECYgBqZtMjo3iAsmHm/jC7YgKYvtca5d60+w+vEnOe0dKyeiinzpuseY+FljMzR+D
EQNt1dAbMHLw4E95+hbJP79Kbhch0wzJKOKRTH8H1j74CfJNCs4Rsy5OMn798xWEZdguC1vf8xNn
1ATMaSprYknzifVZYf7PTJI+4nolTJKEA8KecS47wkubvf4Eb1By7CgZobJBISwuJJv9tRcuJFlt
QMQ4TZBgNYPLBHgvUYrxHng3PkMuj/7Q79GBQoIfA0anTkp+LMuOvn5+xP3PRvrlwHnDmqaiG5sO
JCPV0eb9QnCLGQO8YXp3ACOAgQk34+mCuJJlorsjZxR+ebHOII/pLd6LxJiom3TfHOUf5conoScC
cq0IzaNloiHn+/CHDLl/0O3BLuaPC/c98IT1k34Fuu8uoBTthTNfPQ1H97oHzj+Ml48LZRLlCl0S
WULFQVzCrcRvDDUfEKhqUhagxWC+B6JAzcApyZEQMd9Ztd7Lb3bCkj5pqB22/ZLBUk2bvB17vP+s
jfHQnA3PkjOfOYDEw8LN46BnTJemzx0rg4YLXsgOi7MLxF+c3YQTTh2nF6gaeBtEo6GooNukRJ81
9mSe3sCYmfzDwmBIrsB0gNBr8HMfIjbyFr/zMekEAVdGH/x6UGsaWj0ds4RVtAC3lC0Llw1sNhCf
4iaC/9/DIXNKm6sbXOurWxYwIVHt9MAKGx4YJfb/P43FG0pzyAMO+i2jnnKcnymOiGebRivipgxm
JWbj4Td+1ladlS3HASYsHlM1r3Gp6RmcE+bez0g+La/f7djFbdy+z4kys9+LyB+D354f63YtXuqd
PvsGICnWfU92hLb64Ht0i26qW2IwdEgEA4z/JC9HpwmazgvCBUegKhmZPZ/p41dORzH31/7Re8Ku
Jx3ljhnABd5zN5f3DL432UaZRV+j8B8wPi/3lf1c1Ix0MNzBvYPXkHWCkHzfIa9BtTzlq4iG1g/d
vDxV62qN3tbA6XZV+dVaPRS+OLvvkJpldrp62tj8rPNrt8+Wqn1J3Xqfb0VbNKsf7HbW6Uy9PObI
65egXsty83AfWNZPq9UYLjtjks1jBfgFD3ajx9NoyT2r/2p2VjClZhqvxEO9+/z1l/hH4bGo0794
XuK6gDYIOuWmw4Gopww1VXhMruiWi/d1smeu8IXA3k+rP2BUYX1fFXP4V75s5df3NruKJm5hkV8b
yuGxeg73qJ6r5Bsox2g1/kXZOXGK/RO9l9MH+fa+xppqNjn3Gh6L6D+NJ+p2Wv+aFhmWD3NG2GnU
6KSAzfidiRcTyeIL9f3cSHsVnD9ZP0l21cP+uxwpx+qzYPopW42pMQSU7ZKAI7IyCSHQkSLyEv+p
DZ5V7kQLayGoXzaeeg/xVHI6wiL9LD+jVabiRASgZrdaSAZXVq6YQn1V5qdEtpnxh6rTSb9uij/g
K0B2BjsKjLtlXIZw8My0AB0lU2VxyoahDsM2bZcFjBpJqul12L6YmEzh6YB7V0+IXLjKT6W5TKRZ
4oAgVSowozCDGcVrxc6Hv1nLK0r9M1WODPkgWYjDZsz35au1sHIR4Mcvm/cQDhddA8absGBVWI9A
yeyFGRjVjCgkC/slkCQoM1PowswKGKUNW+QIQIejJoaoB/NqeLE7dmF+MlAgomGYosdhA3bbQ7m7
L5KVFj4uz+Nn/fq9355HppSwRtgpK1dEmI0BBl0LgA8sUBxzkdyvoz9pnl465B2ZRbM8dERw9YnD
qWd7TDKmUCOnUCWm7LAG2zOvG9C22eLC//Qe+Ry0CgTyKWIvRe6mM/qsS3EGlgt4CxNGnFUgM881
05hOs9EaouaDOhyB9ntyNAMsbkSkRy7ge0U/o66SZgEE/yUKAK4/7Hfa2z4AAv6IFqB4BrP54Q2X
gOtxNygCc7p6kLLKScG+XIBvMGyAQQb5UJQ/AH1sCc0SXS8/TeQvAcrLZFOQ+jDlGfAwWQLl0CgM
HHyOPJo5bDvW5Ewlg2zp1dNkLbjMO0FYcNq+qBn5JiZgAeAt0AYDCDA+DROat0tDWBw4r/UAHuqA
zRmMAbqUgFCDg3yim31G7LwN9jvADeAmmv3AoZZtaPCgh5HEoMeD9dK2t+dzPbC9U7Az/CKhhLPW
MIciRUBXjc/7DxabIqyl+yqBxQpiy1CSnnQth9/rZC14X7QH0uzfP8RSVjgKZD4y/3WG/WM9G/4R
AgHRecsrcOllhBQwdecP+0PgbX3sjuU+Xbab7If1F52hUA298IGmAgdPXgJDtMAnD+CayMUJKSfk
rv0M7LT6QPGCHBBspZ/WLocutwoPbpo9ABQ0DPd9QxeqEWXNwei8XdxOLCkYzWq3b4chu0rPcYrW
xUaVpzo9oMQAzatLF0J/RrbdUDUBEHQoDJ7Jjb7srsJ9dUrganSCKwAOIqQIFx0/TVQA94ZkoNV3
xG5hRbmhzuVlORs7UFgDoisopSn78QR4XHO3J0K3Ytg9dCGyhuGAheuZ3Nta49DXVGxNoeKrK23z
DIlGdHVHNu/Gm1MgDdLgTfX/MO9XZnCc2PdzdxuFAOuU/y8/3r4h5NSeNhvNnvhMEBUeMgrj9Pdk
G1ugsR8Ztf92GK0MhZ8cJgFGOGFrt3Z++IZpkJ8TCMl04Jz+jIpNeF3wXH1cJggfj7BkBb0m4O5H
m4sebhALIizC2MbQIUzm2prifd0SWJZsdTcKaXp9rADsrz+IKfqfz4XsPW2XntmzKj6w7j9DfHdw
rRlwEYY+6FxsHnA2iyHiwDxdjtzWo/NAN/kbL8kR2YyR7rGLxRtSppa4IOZE8UH/P0gujQRgLQY2
f3QjzblcUScaRDXYX6fz7puCz8pw8owyHu3lywVkNHT+S0QBvAWTux8wOdrzu/PAF6MhizaaGu+1
+4KeSr8eHShindr/ctI+wsmcmBdbMrFWKUzCh608oLMw02WxQCdECcNL56qhBlOEOeimuIhLPcid
3nn55SpZUWsXM/HKO8r3ZsnDrWSmhlM6pO6gpKRnQGJX+4Ye+Yz42W49Wj3aertY5D4wr1VvMh9I
lgJOmkt+5CuUp1Th2muIZCMukBdBC2G9X9Qrj4svE08QAEgFvzAkol5fs5V/1ilm7PAuEM8w2SoO
6lKib2jmn0O0plbEKF5yYxNSrRtzFzVKisSemNDj8f3jvfw4+kbAaCOxJFqNfKehE+CgYisC2z8k
VmvBowx1k9PVIvtoXbk6tqqNgWXSsPL4xuRsLkhOHFIWBrRlPuK9pvmZMVm1eeUTzG9zozXSdRl8
f7+LzzpnbYD4W1AEfydO5OSe/FNkhoJ7NCa1RkUPCXUVJ5MPz0ldJEHmYYvrZR7BLnyWzvVpgX2F
Kyod3BusGqYj9nwzkXkZ7Lk1HOowdwQc/6fZuTsS+HM3S0fx8iDFBokFSyzoEsetfJ27tGTmxMmx
/z1nHmaVLqOJKU3u9GNocD+mk8+UCYbuwsfMdORRyqZ2NYtNGmIyr+Fi4kh+Y7IPQuD4+BOntq7k
3RsryeAjm2jw51dyUB2EMDOEoj6QB/+WBwmZhYqdutGqwJwJecal9Jtw5KKddkf+yNlzv7ipUki9
ZLaz9CCvh3Szwsz90tAwX7qbyIDN0VoxcW3yxht5VTH/u0o//bHxqjUQk41wPpAdtGHu65pdE0I3
9WM8I3Ee2sSh8TBBe3n5soUM/YsLq3jp5k0Q828IWBlgBX3Q3ZASPcKnndk9NsSgsYZO66EwEuOJ
ACRQsnjo3Qy4GXwgPLUIsaL+Q81gMTYE0yndyqS+3GpO5/f2yMLe8+/u8yG4/IZtovwDvFS9UXi/
dbdkmXj6r+AiymbNvbzUHc9iv5rnZrbAycx4BwwzMXEbYFJ28tzRA2z8HSVEnmVKfsYSAYo3MWSz
x2Z1bpCJP7nFpdc695+7LxlMRxzV7u3WBx1e0yVbhdUaAPNTmKAWAdnTcZDOSvvtlsR2E6VD3zeL
/FeQ7lXBhsglxk5xFjDxUNiHautjCL+va51bMv5AYBXYQWKZ6KYz5H5WtYMQo8ze13KRrsAy3fcm
XzwcDM7QRiKctdKwCPvhzliR0zkiF4uPk1Py2T/8CTCwk1CAAtNiiw5Gf2BA5b+2z+tnzh5hSCHS
L+YQU3XTWhi+LR4/g5f7tNyy5pZMNqhK1pjHYp8D+nBJeBxQzB/m+Hdya1PjNbHy03OrL3Jn8K6v
Z9ColhAp0HTTJfmizRJdEvvHDjfvjcm0coaP9Q3E7XvDMLFZ5G/jzh5Cw4iDI7mYoAi78aEKKfaz
LWc97mYPIAHJIXaG4tXCbo6F33j0S2ONwAcS0/BknNK9LjWPrmREYbkqwuSYnURuNEQyv3Xey9cW
TbL7b1GF8VoM0hXV3vq+blqHybLkgGgvCgACbY7HLgSjxeNAANrs48drFLu3HAfTcxUSvceqzvHV
5r2CdjWv3G71ILoQBe8qXWB5g+iZ/abjL5KcYatee1DozGWn2vcBjZ66aAliYQsRPLrs70n6wUsY
6Se8Fwfq/V78xfrjuRWPMu8QTBiew6nfZqfIKT0msSThTW6QsoZthswaFBNgFW6+ELEzuMo7lN8t
zSC3oP2pwkH+uLzPkHH50WrI6iXnbo3ltWz17sSrnGyZe6KJCasRORTDVuRlG1BFGx6udHt72nl8
FBc3hDSs9Cp8hEjgsVJcE1i8Z7OyiDcLG1heD0NzoORbpKobI6dfaqt8y66xhKrabGlKYPcwCZiS
n7gfESw+za7foJsnJo0yv56b2pnsASF+mee2E8ShZn6t98Wt9WWOiN7uLFgtX4oOelIz4Q0MsSd0
vjPoPWYZfPxijxuuAyHOj0NYEDxAbaXB0sXa+7db9UsoO/AemtPr97O+hRwHPg0WxYqtAAUUTjmk
WzvyELHLlkOmq8JoUdq/jp+VEIjLlpM7dUf7OAS3oIN6/4IM0GTRng4KstycgKU3ToXCB3LaEKsd
c+CAhvndSr1iUBdM4N7zSgu4N+Ix8TqKG3ohhOE62kLjDnUFNyyaPTyc9MgD1EpHZxizGIDQngG5
6G7tz8QlXNDRqiXpqXEmJWkEpMmOQmI4UfbCcRnjyMN0BtDY2o/bIaCaxUUdIZ4g7j3JDYOCh8rH
womTH/5qHLQOdGzsMXhmEgV2AgYDziLMqrrQRfGdAPn4N1hs8KUIB2a3pr/jBOkOsMBm6SXbxXa1
ef6AcjESpU8BGKL7yP5Q1FMoGJyNhF/PTE6vJY4tSGBISj6SKSBuuFiupmbBQyFYEVNiwOIE9n1a
IJPTWzJdYdrD6QpYd2B+DpD4xdvLxWvRFL3vhqLAaDyIXoYcFofU7v98OUgXlN87crdsyMRmsTc/
K3O8KIdc37D1J/xZiUFVYzNHdUbGZH4dfC8YpRCckEyvL+MgGo9AsQ6x1/ujKRuMIc9hVRjvY+J1
B+UXe91fdVFuSy9bNidWy43qacEHzVYgZt4L1e99Ae3hkO3aizv2IFkvP2v1xMryGXzhWYWEeLD3
Yjdk/xpvOfSETXzjf6IfiKGt9T3G5zhcjDEzhbJOk/uljga3hld/zOJpsbSAmrM1NfK/phwiBaPT
bDm48pS2hEUR2zRehs5t0R705XNFzjCltOAolDhvoDNTmyWz1vvuaYM2E9BMzRUC4nld5F13C8D9
vaO3YSyIHIAhocEMdn43SfpbNMPEjU54Ap9xw+x1mvwh+KBa+FALg/wh9otN1nKfLW+KifjeqFwW
qql7zB8rdxJmxq3zmAAYN5ppIaBbOwhXVmcrU1q1s2HymQQkhRrm6FCiDSP1kNVJJbYAvSxJfogu
tFTPOaAnfsPKdk/WAM6J2KN6bDnPpWRBobFqwLs9t96V0U1YqQ1GCak4/HCm4ZlCZZlsH2xi7C8a
BoEhtgeWyqdFbeKwweNhyE2iX0Aktxu7Jdug5j8XkAyfm9QaTt36LBwVzl6OkeP4WIRtWK9UV/ZH
e8XFRHvRb1612UrzdtXt0h94sNiD76CCYyJy/ymZR2LPy3yNT9PjYYo+YjpCNTYrdjUnOJOz2Pv0
hlqbXWwTzX0fsupMTKEAkDAVOU5+eK33spNsJysWNAwU0Hkom9OWN6TAyqh1a3cY1kTz7/EuOT2t
QhiHWMJxp9QlM7/gxWYJvcYtLEqoYxYQNwx7L7NSkFwgiKEByAIcIZxXwNHlpvQovCPO8O17O9nC
tnYeexWPmED+qf2XjYA77Kmk1CA+AKaLS3iQRQtrcwC3Xr/KBvLhh5KcMsK7X4RgWBeJB6rjC8sJ
ySdgKFOy8Awu3xIBd74YyOHbEt+ULcR9XlUYc/x8zpqPBS7LmuR58R73djFj/Y5CjlAjRVi+yQJ2
Hic1iQo70XRRP44hKU984KHpjGOP5SJs2ODJUHjZctj58ooS3UqCiP16OBapgvycql537wfirJki
mPfzUFj+R9KZdSmKdGv4F7mWTAK3yigizkPeuNI0k0EBZRDw1/cT1evU6a+7KssBgoi932m/zwBe
Y1pJ01L8J5sJCkgW+EBflDri4mIG7X9SXlLZoetiWhydTOOqi5E7YSsisZ9k19b7rjYPAiP61bCm
AIc02DGtNHiIsDq+IUWC/Vwktyd17YRwdxLsJi5TSrlC9ZVRfHQQxcq83m3mxVuJw3GxaLbMjHnA
c38NoWJ9gsv5vu9CjUzMKcgt8CzB98cMrYQ0Uwn0eVoIlYY9v+kR1h6VsMzXeJ9dSdkImx0g91Yh
/U0VuRoo87aE6fZjUYmVHGblLNmqUEOgwe5kpSA/UKdkRCyJwXENn0hJ4c+hGiYcZ1Puy3UaEHPJ
74GSUBKYwcAAqmx2B3THLUE7ydNZEw3GcC0SDaAopjxjOrKLxB1jYP1BQM/oFvOkcD7XS3V/9xqf
jmpH8QEumR7yQ85/SZYStGFNxqPAyamrYjY0KqzhgMCS9kmf4nEjPgJKG9PLtLo2SMuRdNDmEbyj
24YCMz7V4Dv25Q/aRFfbxL+kj7Wni8cgeIJZq1m/Hp9Ll1EuGwoj5xXKB9TCIUdzhHTNUS7TOkz3
qKBRuRxaR16Zm9c6nU9IzDJnEiNQMFQ+SUSxFI1xmZgpnbsH6s9VpW2qyYsA/vefO3mOzNXGR+hf
/JIWoqWVgP6ZUZZt1VVsZw71tl26pNZCW1x8zUZ54jT/0lDu80/QeJ+AdExPjBoGo+1nieloH1QD
0wLrNvwRc2fIeQPsR7//tIZyBmJ//0q/+OmnRE01S2jZQDQYVvKb/97DZ4AslKLxs5AP8mH4prYP
sqgMYbDDZHuHVOiwO0WS53+oIis+AP4pJ3clgMeZxBuCBzL4LV+bgeTVbrbtMa+uJYsu4JvRMe2h
/n7u4m811HfACrCwaByy9ZpZV64oiO9T1JMzIHBHOn6O6fy+frGd9vWWl65/719F9NiWewpHzKos
UrR5LFKpnjXoqzgtIt2bHNTvbsm7B5CYc5jb5xK7jk3+lBXP8021He+lI6+GvL+WyWPwTJgIjk78
HoajGOuWpwPlELJmwmNDeg5EhJdDv1NQBOKWq2bGBDsyYkwru/iJYo0PdAX9VtrpBK2wHzHao7Ya
UEmF6QKsQ4LuFveNTuegYNGf8lPyZ/bc3WH/oZQ5+whcoj5igs2fTMcVe6+NuHS0MysVB3G27A/v
ZWE3SwZa9GPv85jXLWNeXLVBbwNZ7MqYNLBj0W6pcKVDOsuRlOdyOBT93DDnzFg8NONL+AD7bwF3
JnanUHIXq7cfe7RCtPWGTxwi27A6o8Ux4SGW70XsQSW5LfyVllj0+8vCT4OaoI4pp44xvx8yBlJn
Pqrl2WdR+fflZZ57xNLDf/5+OI5ZtneXET5QVXSElxfFvVPt8g3BVM2qXtbfpJKDp4DlSKeP8/Rz
O/fQDrk50qIZndqeJGUyQTe5W/4ObDnMMtDcDxXv8bV+VnbfBtzvz5Ud4L6XvOQnOUG/HXXcOccq
MJcsj2Q72lRXKLtdGo42o2USmUt5FS9E33wP2a3oFEtiC/ySWYUczlYV8Q289le/Qo7B4DXHdM1D
gUbkF3KMEeOPI2ms5oVdZcpcnDcqcChXmFUk9p423OTOrhknnSDYtOHWctN+jdHNzSrGhAIQkLhM
1XcqN8NXcqJVI2KHm9XkDq1u/CGqw2OJlYBhzCxD1jpVTvU3jvpzcb57BjGaqdXjJClQuiIrtwvT
pfWiFeGhehAKP7Krf3FnefnbSS6/TxundoRnz6TEescu02+hzd7NSVIOyok/LOG8See11PnDyr3L
XBBwtJNMZ++56uUvIQfp94tgYmZouBCQa7JzNuYPjVVGM2zM0GQbF+hfF7/So3UnqoNISrXVNQUs
Ta4gzuX1JNS25pYoFXYyWr7cbTuL4WvUvVS6ly+8TQQ7fii0ZSiXRS8vXoNwk8cS6REz6gjQMX4l
u3bZb5vVHRPZyMFw1+W2Jln9z2jLxykSTANkezG3BsMOJLQ9Zpx95gO94ZIFJKadR0E805n4xDRt
8MBh9qmJkpm+VZvx4TmMO2NP+JfClQai5C24ODEhLvPTjOmjCPqdOrfNcpdWzoSW4kAjiDO+AjQ2
p8AFBy4bWAMY1zDYPdqiwX4OzqOMSnmOeRNuTm/m/Wgef2xSWrVs8cz2DKW/106JoAgbUuV8+P5g
kYabyjgtFjkPFs6pO+avyHytq8/S/KzelxCmswcR4ufNMC6CmitBniMNkWp34AoVKWyzugjGlWN8
PEMmk+Z3LK97ZhTPE0zj+Va6RO9LJPO5Lku12fT/Xn5U+Xx6ZtAMDjcVyIRLw2GrE2bcEvjgMHq7
7qNm4plAYpKFJZDrL9X2k/k5ygK6dcj8wVx+nrtXs5m895f3/m3sy8e2eiCucj6Vnzf08JEsrH8+
S7NPxaOgnZ7MaxnBwIayWyxquwKZqLzEfFutdK50zyyihsjmIpJr2ugAHyIhzWOG5miBKS1ik83o
emm/c3nXDpGm3OI4LAaMndcncNbY2KrGlusEvEPvfv+DXYXi1XtHZ4xQbStseIduXrSzyxdtP8+G
+ve4KQuevu4bQQEeY+yi+MH0GYM47zobu0uSb1OIdC6lcpgeMFCe/01+SCNevhyVnlgOx0uKTAAh
hpv0L+tRzyVg7gkBQv5ddS4EAkMOXFjhPmGCrB96eeyXrCl5Ysl4WHOeizEbqvGNRbFQeAv0Bvf7
VgbeTxf8KAbIZ4MrjOBkl+iPN2g1C3HkaOzzEEF3J6m8oguKZ1g9Q4VSmXC+iXVHtZbNuW9SlHXA
biADMXuCjQkyZSZ8Xf4YPLQpvRl/6eVlqk0kChfm4epJYLyCtlroPUFP7kUhYmjZNfs022Jd1ghW
Y7SBAqko2GTmmSBfwRhOP9wtHhNPJ8wl91N8IwydfiI0ZXz59LNtSARnDC5GZUaQl/aI+VCyj6qn
b22Z6IyRj90LBlr9+pC5ge93jFGSYC6H0lxEnPcCStHzBcQpv2Jqrwe0z+zTIrhG5j3jN3Eva4qF
X5sYRw2FBN2cHCUEBcHmIh3CzqufietCppKkwZupe0LjZEm8P/s0mV0JipyV2QlDJvNO8Gp8UmIg
XAwNuLgeeJY59sezBCcCEGcKEc2cYfGbZeH156eyJJ2MeCzYX14Ae2AGiNTQq59GJsRuMDSwiOZt
BJKerbv2wvDdzvq0u4sSqoxNwTvENFS2P+h1YBDT0nm3t4g+geQszM2IKhDAjX5/eU93OgAsBi2s
KDG969PFnxcLf9qyKfaavGxxvgopsseN0FO+Nyepr+YcNYui9Z/koasO9wNWQu7xOzmPxsX6y3yy
T+srrTeR/aabS7z1BPeqDVTMXCvhrMMSR7TZgpfkP1+5z4sZOEKImJO2VbuTu0WKDe/frTRMRHbi
/huKywek5exT98l1bz0ymRt4kifEO5YMW+lc4fFpPZp3hETp8X3uaRKfcIQjh60V/AJ9eWbH29Hu
foQ+B51KlOWlXl045HmtNEBGAK8AylX8sNZobPlIwGX0oqMxamSk18y9tJBW8KmE7wTzXdzBwoq1
gwQLYp4PkQqfGmnn4srzAfhkOAjRHNAw15kQQPH3+TFyE3Czi7VJ5EVFCWoZ5L4hSSJHMgv5Glkb
ZurqkQYs20TefnJctsyTI5tBElYmHp5jOWwadTWku9EIWX1QSAHeJ8yRaeH3jQWn33JU19KerIDc
cHTSUUllKdnQp9CjMN5J6Yw6VyNOfjHRHXA8lvgIOGg8QwfwwIOfulyPUaBvNShUcpYX1ap2lSNT
sSh309ZyqDYQlpCNgXLrOpCYDyY0L+YqSGbmCZSHxhZ1Aq4mDGxQh8LIBWpAJjCd5LC5oDNpigUf
FqMbD5qSfw/3MC/nZhooKa4hC7UJEX654uFjjPmncfjUEU8NEgm+GBijTIRThnJshnpCk7fIQMjJ
CDIsL3VElnzP/aGky8l3GcEeiXuJco4LzotJr6+McQY1/rN+0YhoPKHMwGGJCqPDPZc4wrEH/YL2
HTGAvFXbX8x5msKDIXR8vDviiLIOUFhI7x3/zruhZCuQBoyQKOKS5Pf0G2sQNUzz9vQ2xKF3UaKy
/XtjFMofJ2EWHd6Hl4BWRzeyg/lL/AwhDxh+WsZe4LGgIP9YiTrlwzXkP7zXdbZDmMEfVW//TfE/
asOhgUtEiZUJnyL+Si406c1VPO8KEX/OXc8uf2WzHOWEIXtGv6i1UGLHI9TfIBjcxuRzYXcSQwXQ
ocy5WOXLxU45UV0+CBeElYUEBw0j8sA4IvYWVw1B6ZS0xkEltAtHajyXs538ub7RgxDPwAgopqro
MvjAhvcBLsbyjoIEZcnwtLkcDT1sRloik+kcnKZ4VD9YhBTSDGwsdnxtLFwf1ir+K2PXEQ4Ye/xw
Rw4O7gkWxWSOL+f9tp+IROqAYSi8uBnfGsJfP1cUMyAqGC5ANvHjoUlE5iL3i3R8vXA3RoznxMNE
mC56HIyFuJ0IbEUwSRCRxs/ypDJpBiAOBYTO9GeCZW1ifeDCJWEhW/Ap+B2QzZywlcmc1LUmO9wJ
Ir7v3qPNh2Dkfo5XBnybAHp8FmNSfPH4O5W6bNVIl8ilWhHmywC0Dk14FijkbkNXSfT6AansOA5I
nXhLAbdv/HKZSIOza6J4KFJYC6TkYP3n0uDAaY/YBISZEQ3DI3yDa+NTyFa8ALYarEQlylsCBTFY
kh2H3xoKsFs/oRFL5XvURAmJOOMrNxMzFL+MlzB3ZTETkdDxodAg6ZFrDFJDkuVWX2WhgjuTWa1y
wFTXxXNdhKwHNtYGzWcr9mbsuMBe+M7RJZG7IryP8reOJmGEPnPGZSPe9kUNh9NLwl3E8xaBSiPp
RQeE0KkTf4B1hr9Rvv9QFTGnzngdE2azd8KthRJn/HbwVuDb4VPqUBX4WXG3/bNl8u94jnkcW9xd
hY8153+pE8uM9Oy02ibK9vE+Y6Rjc0QUxT1GfKVIwbNbj3ggTW3GkhVUBvwFeBwyYRzNBWGaKOAW
3CMRwtTd1NbJj1Q2GKGhtTOE6H6GLKpZPd+UIn6JkY9tc+TiMGQTQY2Vv4TaisXGE8CiLt4hyzat
g1gjmG+OgZdnzCCsCvWpEulAgogj2H1Y8hdS80VlJBR1VHPcTBAvzpaCgBcsKXMeBZ4tRj5gOyIG
1HB4EEW4DyarNOCfRRboeHqrr274YYWil2Y3QJQ2KhYqRREGP2x45zbIj+zUHZT2P58Y35d3YElx
U1SofXWqUpkieSWEBJbrd7iOdvHhdVDpZegqwEzhamDkgXUJBkP/gTjtmEf9vt3CDmCivrVzmgJ5
jcc1Un7eDq/P27F0OaepY/suoE4mMSQnmQnBH2cZie3pEnEacj+Gv7/xcsDI4+cHJELPXDNAkB3F
kcu5fH0gBGncB57gMmJYxrrzGBe3YawHsuzeuYR0JB/nC5kVMaJ0gGEHqYPZZ8O640ii3Gd97fnu
PDBIaIBY6yvMPo4n84wdilUm1Glk3AJDav+7vNg6SIizULwg6EJ4jtit88DJoe4evkK1UfGJVnev
8MsDA5jWOJdY/qAbgQrPqN/Iq0aoCI5+2RMyI85O8a5TOCyX0g8uDFUSjxlRIYyomxLdQMRXe4/Q
iYmInSPEiF2dSFYcRMLQ5TcTMRPOB60wrK0pbsAESVjrE8k0RnsBfci2UfhvVNnt8kFaGIDLfYdN
jQBgrHIDbsq3jwlUeftCzejwvVS0lOTIlrgXsC9kAaPvGjCvzKkjbZ8TY4rYEPsQudd4o8LsC2W4
umhvJQT9lkE3rJjhZXPLUGPxQLP9vTwtmjC2IzAJU8rhDqDvmVAD0jFPIZnHc/i9NGfkM+rgxcA4
yirg+CFi4I4rkSKIsps7dIUzZK8gw9oQ9yPdsnIxuGnz4oeGrJrWf0ormODnqt8OzOwTuB8MvwNj
kzCofFqd4PMW/BWOnHe5EGEFuBwRsfyQX4t+VvsxkBEj92f6LqJHxnfF3JzHvmaWHmUbqRmIUgqn
QQ9HTFq/ocz/RJVT/tHsEYdzYaDIa0ZbCLIAwPJR7fhQesme+Bd32HXRK0q3XBHzJijl+zcfCPCB
j60ClwOk4MYZ0FCFvAAhO4iC6bSEWIj1xKw6sD9Gz90d2kO6HmrRKsaAI3TBfMjRjj2OjaEDGWcw
NiKUp42FLVlTmdVXqijIXmZiwLc8aIsYxE7evrlIQoyV+zy4ME3PIUWLdrf4Udegdcti9WASHWqP
eD3CWIu/8mM5mOYcVHcsZlSqbFv6DtsBIl1mxVDwShfyK3Z6668xV6jMqULvy54FjcBnec4RzbKd
cFzwODH5LD1hZKl378OTEH7cIOnqfuttNFLM05DgSwybCHbvE0026XEMyb5Lostzam76gLbBhUU7
oBZxGOGzfKOwaRblks0XaonAII3QM9hkGx3EiWsGugM7gH6IVmg2niPPQChVwo138EbdvEXvxMiA
6Wj+BCoFUdvez/Q1dsOcL9ia+HjZ06Ki77yDLLPJoatb89wSELxXolGg3D4RuoF9suBO/1JH4enn
oW2vL2aRPW32YIpAxHTd020pehnvuxA03MDCgejnVcL4cNlPviYaQerTButOv9LQk371AF/WmEEi
lc3eiaNkY+xbhvpsRxHsCLhnN79DolEa7ghr3xYn9uH+R4ukn/dZXQ5BFzDAKqyhiWCBcPRgQYMV
ElgJiWdcC1RXOK0O70Wzq3bDX+JfZkSE7DQGqxMo7r4En8W9pllE0PgtZhgczJ2xTCP5+oqksCNl
QPcnG3K6HD3mwZ3RIYyifAk6w6Tww+cknZJdN/+seuICUG/CrA6o1ipH+VFOuOL+6FHh/lDJic03
+ZWwkjxd0hJRmhYhYaMo5Iwp22GEVRB9JKj4V7zViAoUywp5uvzV/Cg/2U7bMjTBnywH5D6MdgvV
5R30HXaB5zqbalu8nT7sqzEdQo29mZktnuAAY2GUITqEBiyld9EjIdIhvuUEJTT5fpzHduWTiLTo
yRicvhgIQ6UN2FPtFAdwhUgluL4xiNGM2IXjPaIH8PtzGcD1/dRzmRzJYsHtSvj79V97yG7vhdCU
aWjVmBEwbyOkdRvukytFVBoWYMz2+VX81tf8OKzLIAnJNl+giIGTVU75plsSNPT46Rckg0YxSg3M
Lzr8oy5Cilg7k3DYlEd5efkWX2xjLI0N98nB/eUoMwT+YLEv73NjjXBOTPboB5ePGbJ8OrDP+XlS
IQuAgxHAfjwJlSWjsv563Z3gKLtqNzod5B9vUklSh6MPZzQRfszIQPhQHWTn5VffqFcfS+yUONNM
colUlBIbzMm/nKSXJZIlh/OsDXiovUFMMJY3Y/fjoDQjEF/96tbjNTMwBhfrNnKmKmxC1UtoJsug
gsxVXSHkw02DOKngDj59bdufLmG5xCP6RclgCdYWKd6Kyco2O9OGOUEN8kYeqPFcnosRG0bIJgvj
irPjRPg8+lDDxUryWaRLREmo4JhcHcnr+IBCcA7MGKez8vBYPNDzAejQRseoCoSKlUhNuSFFbuyY
6x6wjsJIDO0use7p8+bAuCINs8StP+w7+GMyeRLyobhlm/JgLhDbuHmUBDiH0bEyI9NKvI+tzShh
EPSChSGuTB08g2hiHy4l0pyqD4h5imvcllbFDzZcf5h385rHJGOe12ZEGkd5JLPplPn1X3nQt09z
+j5R4KffqhA8RkjybcavLaCJff5vUSMV/fd5NhCfI4q6Q8vsKPahSVhjjxD6uIzn65AuX3/DRjtL
PubxsIJqyRgix2BNLvYPcWU86VF8BE6TQyQrEQcLUPbwh4MHuSqwPGKn+oBhCNl3Z5loSjsLQB19
3JiEciwpxhIEYo7gmgDO6pdJnvYYxr/yezSXb7bzfpF7Ggxl4+VuxbgG2Qf/9aAqvNStnXgRuzCj
QX+8f41tdS5uIWEhXrzug6f3cYX7VpobP/Fusu03k4W2RELt5+4UPb7NGWiZbmk1uEBrv7dRj1nC
vTr2yTA4ug0FGLcbEhYzFlUE/twr7zNHLCMkXcvP4LDXaRGa3OFPOb3gRNLvGqXDZP5eUALMIGNx
Edud9fILXCPdLLwiV5wyetxlCOHzoJXLEdMWQWJ5gsXcB69EjztMy5OxgGBeXRZPwAR6R5AHyXlf
4YMFYU8BhlseQVhUYQaFPm4ZueNBihlkrD+RWqq/r3UhTTvT7h52Ts5IMdPfs4k5e7AVnrNzjqY7
ndWMkGZ1b/CUdaU7YSWSlyUTcrfoWIuJTfD63bCeMOmECf6wNHRlIRcuhRtsEMqSZhSaD0chPnTF
MqALmGUX1DVuWQM4iCgjf/Raa7rXlYFeE3dud7mFAweEF8Iyn6n/NLw1zJOYIW99dI8Qvzy3NBB8
3uIEkcHGVjXzLvOtSeWMpXWqORk3H/biPofbePLuqg0b9JQXd9BPXnyw8W/Fy8ma854xDJRSqOWY
4byGwBm04EP4W21/2LfV8ZlJFLV5vNeb3FjeETJNPOop4HkMnMbYBQTXtu14jf1Kuwh4OGtoot0x
iyw76cpq/P4BWa3H+xGa70JEcdHy0dZTcOWyKHlHKwnTrOmX2x5Lx5HxrAHZO2G1MXkgdiOfzrWa
y2RcT7P5QB4YcIppUeGslZM6Z5KdSC23yn4Gd6gFndsu4T+NP05VwLxi0Zz0KDSj9PvBA/24PVaX
NTLu78kXVQ4cDrpg+g2xCcIK8gxv9NNrqckoDWwxJY7KGHGA4Sc9blYXxkn+kBLFyDAmU+InxaXk
TiaWVM8hAV42GU6MiQXxnuT+2ITl8nCqpgkgKOHiFgMuqAVBxsYbJrDuIKtqKmDEjJQZXQAHYfQ2
Zw0SobE+Iym9/KMq7v406n8K3c6C9Xrg2oeHZGAbzJ3uQo1R+aDkgQGTn4f73Xv9PZWZAYsSM2Ta
ixHPcQCmh6KJJH3BiAdgAvp02sHRDXyF9Ise1d89yikfyeL5h8YRq0W7PFXJ1ec9oRAGJxvNYQB5
k6qIyo8PKUJE6ZuE2DeRFQwYswzaZaIrwgKeqkbErqB6JOYUDelnda8XFN5gvyCSBIxhXn1DSeyA
jtiPE8SoAc0b9AO2G937pwFCqBDKR4ZnLHWyAKafn/FXfqT2oKnAs0W5KJoK7PnlNHutkQvvnjsI
9kUpBK+Pmx48t30wWZEsjqgBjQ2OVPyRJeOBDLJopwqnZctTQQYx2LzgDxO2E92CskJlaoRVF5ic
aRlwp499Dz/dCzNhTxmk/8gIHC44SeGFiKDwqhf7OIIwPBa5rzUhsD/HHtM2aCrFMRYL7k5luXw1
sFfmFP6Qa0KRg2eQAkIV0YLwPzii89w23hZ/Dnv2Grxc9ohYhUvQkEjjYn4HLC1FIZ2MqEobgich
2oSGwjXHTkrc0Y26g7/5nniV7hM82pjovjQfBXxMDhPaE0snZUITLkfUpUwUXTKzi3k7El4bh6El
/DKLHbxHQ5cEZEpSmSoytYl3BzChlAHW+x/eh8V5MdqH5L02lNVwBFwNMkPZqU5xN4MQIFaljh+I
VR7dKOvBLFASYubX/8cObJbd7d0Jv9Hjn4cZzBB0GWDww4V+2qPJ4tG7RbqC+IEN4o/wgAMQ37Md
2JFoDhSvUvDOBAJ+VHx6fwAasFeAJ7LwgJ7r1iF+EogtrWkoRZSR+IXdmHWvO+SogjXzOmBnPAzg
aR8meUBSFD54EJDDWLKxJxLXBl6RZEGT2WReUvcR+oKH8rIB1NK7NZE0ZA6xcIWh/ghTQMUH3AvC
JYB2ziLadboloC5ikMA+PhZ9MwgTCBRxOHxuPlx9JcgPnBUcmWQcrgs4LqJNoK2YvG7ioDDn/OuO
RjsuDyA3CBZ/LtBWuBDAkX/YC2grMYd3xQPGBYAkiKq/L8VIFODdjAiZGZ8GsSDTbhhQmF/5VpIu
4qEMJjBMC2pxAE/zOeWffHly8Uig2uJKBOJNt/HLrq+tt2ZjwOEO0sdFQ+KMP3DUidGbZCq9rkCU
NLdYyIDQ+UO+BL+AhvhZsTrIaMXKVuxZI489kM8eQz6r5IvsoOwXf1R+TZA3m75HFhU4JkFLDIUW
A7o5thFPMfeTYWwUVJKw1xMH3PyOmXqZ0YjzkTDGJyHNy0X2wNvRYQvgH5gDDAhlMc9IiE0vysLa
o+Yi/wHPK3BNO22wOOBatswziQ5EYLgGWw7pF/Qbl1CL1LW50wV6hgRkTliVW2MsyIWNadPOxptJ
+M+0oNzuVy7PVZhhsPsjCBPhQVxxSAc+E79YM2LbAmLALkKq1ZqxEPxc8Ss+2m+yLrcSqDHKKTS1
hB39cr3+5TLIVxq8VliByeNbaSvzDGO3oCE5aitAphVTx/ZIRmESffIyWXSjW3clmEdcKqphap3t
3ap6NB0iqAiorDz25yx8ulDWQbt6MIWC1u8d9vgTG3JJmVbJNOqf8S7zmkO5kHcMBTnGC4K7hKFx
mrqXxQQv4otZBZaJZaq0Uf1FHNKYwjuLZvtNPUcFa6yr02UP9atsh7VOuDhi8y0Hu92vJNwqHd5f
n3VAo88g76O49Pvy+FmBB9yRmL4CqOzFfZdtBkvowglHm9PRne9XelfALBaLvkt4NYn/1+mQSsIK
AK1Pys/IA8dBKLoFXF31P1QxaBelqOQth2MZtav4h+j9iDkNIhUNJnL+WHPD3TYojwxJIYoUJE2y
RndnMnZr5KCA8ogc86lwzpENxjgplsqGVwuS+YQBot/MTGFE+YB+x93SeDsSjQIVBs0Nktpk3wbk
IKMNF1afc8xbfwb3SRQH6uBVd9T5XwSrc+Rk6NZbT1nVMBUU9Tg5PZjvc3yTDhI2Njo7spIYSRcY
+HxRwToV1ZFyI7HXh1xE9l3zgQxhqsBcQWOyfM21gEJIKDnj4DUntABsdXo5I98rtnib3tuUy35D
0oxeiaIiPtzp0knFIIoRi7pqEQAHmE9WG/XW86v1yQb61oGtaz+/TD+HCrEpbgJ9wRZF/yQKJDQc
yQwFETke6NYgSi0I83XtxrY5y10yTAjjQe+NtS65JTfK3zljG5LZ+EnDe4zN+zbHolKui+2buF3S
tUiM76cN8v2fEWUyn/ZcEnaMRKu25J4pihpZ1VMKcrmwVcJK6ilVNl6dD9omJF+V9SREX7ZeI/tt
+AMTGkkoMLcoeSpEPh8PLRFnMKUrn/ie21S5Wg9NxRvYyb9Bky5Dwp6py3hFZexAuaOoKPCio91k
bhHiMgxHsgf5ndMtKj4VDYZ4sjwFBwrieesYaktuBy0q7AVJcUwk66bsi+y6EzJXjR0cU0JUYO8C
GXPm/TtJggmEByFfzCIKuyMWEliLl8a/skenDni3B7LPWUW+7QurFHCORPAt/RiICoQX6muC/8he
E6YQKK93OPLZ7Yvfzz5J5q8AvBeKnTOpG536CMpB2+KNxWbCiFmGAIukEBED7FK2EI7iqQ/smeaC
4gdkXEAz9NTpPXwBw5AIy3AhVwGmYuwcoUfytkfEk6YRNlvgyecWrQHfFsbHRMpwbkGaziLcJOHw
yNaco5zWfCkxFRy+QPTqMDtcBujhEtKuEykFpNWOMcYs+VfSQPMjoDYsGrF98GRMjRVhLaOdyM3c
caxz9r4awBu4JzJtWcPsFGA8lCyZywtke8DXlvljL/NcdtRkVIN52dg5qu8VBBsvg2WXmQowO//o
DZwObn0lqh4FgDgBYk8nZx022ueAvRkb/mvFkMJOxLtxnlV4Ytf4cF2GgkSGzTcnJIkMUWalxtvJ
UvIpxtbkL8hLHjAIMw5AbME0+XiSRhacCXQYj36yh1kxz2w2HHKoMEgKwv1zTsIsZCkQMurAzHrC
WQ4oDYUgf6VL86dyzN2EsGc2jbVxSoGAjb3JDv3gXtIjBHiiQCXRxhN3MYuPMizPC3SKKSv7z145
k5swQ83EyNYno0aOHGLVvP9qQnPFHaLGwOcZXpbmKibucgfty5BfngLUa9uJzSm4xL3yTWf1x4R5
ECum8QHUvLBJU5jkwmvF+0/HVrzKnwTgi83MNcbTNAJaEy+p3/7dP3G/yRf4lTeU99oZIps7ykH4
cKkQwP5jB/0elQksOraqF9l+nBtUNtKK0k9ekjuEJI+gY6H0v+nnCS+yF2dsSIUIqswsDTHgGTK3
+OVS84Jc6BofzP8FAjfxH3wKGw+DjHQhUr23wJX2nKKtdyG2fwZ/wO0FhneGI1SZzZ7sNeH6EaJy
XJR8GR411h11M76LsIyoikALybGmzPktXBIhrk/CHRz5+JwX3+aB8ChvQYHmVLNt7mRrGV8OSjWW
7Znkka+mJWuIbYPKXeQQFbMDhStYLfWQnVtbNgP7kCGF9Nqg2lOMQetNmWQarjlTr8DmouQiKA4/
pSi/p/GVeldnyVYbNUjWkOZdEBP2tTau5ZZ533xPHgAKFxxJVLAkPoVYwHqHFmXA8kijEgLG92fC
WcY4LKj2CV6BuJ5NaLD3+M+psrncX6oYm8eLgTh3U/2GTYUUkfQbkJQy3vQ+Zx4cesA9zxKRz5NN
8raNmbQSJU9AXJoYNyGqVERePg+Ql6y56QwQ0C36Dva7Cw59biKRkiu2l2zP2C7aryk8KMLiLcPw
GrCZOaw7wZCUr7wVaVtZlNgUZZ5yY1QGe4XMt4QwZ1S0dhiufE7OPtomCFWaJNisWOMxm4nluN7X
AaZbdBlk0IjcSdMfrcgSKKZ7lcLp6TJ2Cq5sS1IDtB75F706XXIRggvJp5GK6gzu0vTY6kGRgbDB
vlGpsfX51Pyo65J0ATqKzJp1uacJZs0jzotZbyuYeQrsjgJ6+uEa2XmzpIS/X+80LH57nODC4mml
hOKE/AXz5hZH2ZqhbQ4qB8zQHT5zju/Ryliu2eDaXDRCMMTkDtBFUEP54ufbG7U0PjZzZa74nw/j
fH/HRxTvX+Md4CrE71nW2ZH2mGKJ91vh0iBbjKgwpteImngE53EbKDtQ+aJjhZehzKVfoPHUptUy
PSOuef9ST3HV/7EGbHLmLUPnyAhl/McAxK+ZxF46Wr2iwv7A/yHz/+L5JMkCTZzdOM/FCXQEXifS
Rd4JT9P0vemxSO4aAPqnO0wDQns8wmdDE4XxguxGH/4OccQ+jV43NlXBnImi9/PdLEkrJed1I6/l
NZAuSLPwIpVgFea2ArUusYJwvvBZYWigwXC1Ahxd9jit/o2dgr5lAis7m3LmbnA8ElinHotfkmPi
2RCQcv3y0BuxXdJCPi05gKGZk/o8JZc2CRE6UsJO35i/kdrpN3gFdFbLMoseiTcckcjEEMPT+7Z/
TZnDOlAhDqQF6pwOAfm/O7gAHoSAHxHBuRdLxnTCPJUritbW4tkRR+99jTSBS0cDJzOeBLq1dcor
4640KSBPhy2dhlLIeqgWCNYhTnMnVV/GJYCSZ/o4Esf/Ny1XQkjnEv/+ZkQMjQ4CH8RGo8tGxKXy
2RgoEf2lPF68ooLpkr2IYUG9vjAJjNOKb0JvgZPqZstMJZZQUUccxhfbABahJeTgvDCNDRoScRTW
+3KTElXTebTEkkiwpzvjueL9SGgGJsISjAiG3q9GCdCj0ABafnvq60jxIzM1jUmsMqODyVblNvBD
IC7VNpMdnvqLNUDLk+2NlcyigeY5ic9cPhpLFJ9rht+95iw3CW+jHHDdm3imWWBph3dM/qlIYeVv
JvfVv0Z6CvdbAiEI1JSpV5ynfyrhl5tanpd/QDV8rZEjkjuk/WiYmi6TEB9MrJ6iD1tKez5eh2QC
MRjPLe8pB+pVFm6zOZgegXvwZTppDCgwKGzpx1rgC8EGM7bG2DTh/UYBLlvParbXfmv/8w0wOuyY
4tB8xzt9v+o3F6JqCsPKvtsTAVwG8ma67vhPIQfn574BNUxWgivFwQlkg0R3Yn0MxvHBWQ0Bvb+f
kalB8my3TWumYjFuadkcOiTkU3BhvAPvxO4mwejhND4MMr51xcGTPcwvvVjXlMBCPUI9949ikVCG
kWLN7FiNnhsUhMkHcO0C66B9IXNtMlOBVtbAusP2osz6vb6CFKFd/CXLtA85CFH6IC1Nfhv3ntqf
r2YttG3t77/aBc29IIlnCO2UWEw+exGbGnKQkapPxiwhQihotJigmWRMxvnCdO/nEWmkaP3s4hd1
DIqJsvlG9QtOxfYrUVfxIUXTGtV/bCT3j60/I9yHZPKblryhXrijndqWlUu3Xs0vDOsVQfAIeNj1
HVQ+l2dU3phapuDwEJNb0S8sisYFpUQYQhQqJw0+E1c7k7BLoLNByvV9RhXT1xElhlgOFyomY0rd
z1WqJxYgVcxw2FDbM+nVPFTqtPka4JIYAfPwCRQyCVWhVzecMYCAAt0EGzDCXpHMQH973Tf2IGzl
kb2XQw+5KsX944RQXotpBuf0XgXh0RObQQGi0CrJuxYT3J8JrMqUgFzigHkISf8fSET/J3tUTOxM
qLeSO1Rpz9BA+ZsPa2AUMWwmVxFklbcrCtU6OYvp6bwr4Q4QBCB9OwARRJQC20LmieIHlesReVKB
fRlI+o774QL2biFKBd9Cuzdm3u7Ayn0pTLdm8vJlEzOZipTHFQHIQ3d7ZMJPSIDjC9ib1NnjR2Rz
B0THvAkcdozX1sAXUSOy2zajzX8k3dduKskWBuAnQiKHW3KOBmNukDE2OWeefr7aIx3N2ZrxNk13
ddVa//rD4t4N+xgf6Vli+RMmD4t6ik+JivwyMEgAvM0lNUbNHQ+ZUjLVSkROheoG4cgRdCSyMY69
7ooewRkdIX+sH05FuNmvVbH7ZJ2IJm8IHP1bf7xe+cQHeFRpjxqU8ctiAvUqShI7i63oit3Ijw4X
8byR0U0rd8hV0ve8PltZqzeMK7O8JAmMa+1gSNay/4DyCTF8QWNrEUgBKYSnbSsI5BuDAtmbZgPb
orlQemKH4paNsYiLuP2+9/09pR0+yZXw+l54D22kGlqtTGLdfWPwxRrJiXRMSthcsIEOW16sQCCh
gZ0S4R6a3J136/IywfNcRgV7kqLXDrH7eK+eeSa1cguZ3CVeb2ao6yCGyHOAoGtXFsVQzhLFzLNw
Vx/9ruGapk6ZQiB5ox/fOlTmMuG22+LxWbPZ34FyjHwexStRIbVeKh83/TH4HG7HF5JhGlbqZWgg
ZcMhn9SwPpjwSb7N5++KhLEtMUyGoL6Roh3EUc7PYuFud41xSJO2Y8KOQ/79LpzJ8sCIukLyWtw+
1CmnY7KrTE5veoT3zpVXn/YjE7oFpH5C8gh+V/5xD22M3WVvUn5oEznFvnTcAV/VG9kiosVHusXv
7C4jEf9HoypBcVG4CsJhHhy63WBDSNY00VBrtO8grF0JXJ+bszCfZD8ZMTHSd68fd5A2gqKKSJSZ
J3ji4snCFmFlCb1Zz23pAeZX42i+jSuzNcVdcP6UYEp/swugnDIxtNF8AbqPpcQ4eo9y9mxYJawi
sq1ue+LUgQYJBQmKuUG2kgVDvICzgXB2wNww1ceL/JV9+xuqO8h2rgjwjvvZGXAs9WXdWGTzS8MG
vu7ehs+ZmeutHflZfCfm69/FP4MtZKqwcP5xihOd1amQGDvk1rvybiInEyZ11Y4oZm114u2edNW0
FyUDMyKMt5KqR4n2XBZff2heejEnor8C+DFvxdoqxKtx/InMwGsogWrPUUQtrXSlEKcgMXmavBrQ
6UPw+QtVnKVBo2BAlmt6/EEJcCzFZ/znEDWA9KicSS3Nreiohq2LHzpg+rJswfB/QC3FtRKXJQsw
h6BYwhs4/vhEbZA6LPQsmpKPGP7Rt7J6laknwHhOg3xchVBZOku+7v9GJfpPRXOQkH2fp3Z/Ytc8
7MiMN/694kH1m4qj3YcMiaPyEb1/V1hT2RhWt+P0nTDdv/cXfEbDYgG27fXhhA//Jlm1VdjgZC9/
U32aAltAtqEMaeAWAYJz0Hmie2CIVFs2ns9Q+6nGQlmrWOd8+3vgQ7Phss1Ue5VPDN+xypqwY5D6
xWJJdan4DJTO3DlhvHc0DFG65exkMzrH8QXPk7Ua+pPE6fnj2i5VFXvCBbOi7oQ8R6980AhkP/3q
18++p/5C9y+tTUO/Lj/J8f5UyPSiDeMzD8qm5MV5NU8mbrqIFHeV/EOHNlkkCukxLNKBpLdSYDKh
jxZXX3F+DIF4m4FsZAorj4MGp68RDue/FXBdFBd/wgSuukQGyvLk5HjYyjFslef6y2NdZem9jcrR
ycg451B4/knETMw47aqGjLLU2HjnYduGs/4xM43QvZ1qpuQcTmnDDuuq2WwuOjpExlPzwGSyRfNw
liya/YAIZg1yKPozdbzDJbsJV6Iyy/k1VPtlmJoCNdhij/ZsMMMLSlQTnYCiiFnS+lwFqCSzI/1m
kKKib9qImJ3osl86lH3dNoUl8rUMpIX8dBydWeU6XImD72buzv5S3op+XpvpFQ5wUzKf+vZVQCGZ
0UW7gwFwG5FVr7NVJInHkw2ottE7E+Gcg45HrErHE5ie9CGmNqi+qWwxuy2fT4WcghL576Va99/N
88VqRBFbv+49jZFwXyAfScj7S8/7OIlbLd5QAjyDhMjq4vQfloAVkKJuSdcdgedl/WoAkygnLelQ
L56L67/lshBflI72EEdETrJ4/j3U5uaQfXJfsfnhT0E52U6u8kLGj49XbduemhbPtiKJ3vwDptdC
qkKgUULT+zv+BN7kvfKWN5lP/+zrqsJ/OP75xxdtp2eJ0de+mh2camqWh9bkXHkPj6yOudZgGzJL
jeeTcQoDD+w6dGyt4yJ6wiLX79yQs0issXf/YdOH72gv00Vlq61YNH28GlaYdpV0tbhqRr4f3UfO
b1n8GAw0N3/nH5vdoQqWec22v6dMflt7lzPjjSHJKP63/zD1GFDHfiZqeIeJYPtYic+OrczX9cuE
Ge4S431t2aySnSd/lcmlTwZ+yWd+kLMelfQ3ghKSWPJ7Wrmh4NZuSshF0UA6c/MWxwZ2dCoyyxHb
N6wgH/uP5UzRHkofeppEEE0FG8sMuO/wCZr5Xffff8mxrjvXhEplvUBdg9DJunfs2bQf/I7NIAr3
ya6LImuPHP3LgN333PvVR25CkXlsO59XX5FiaCn+YY3ZSWaw4NGT+zd9d9zNtKKz8y8VEpv8n7Do
Uvm7iHBfC1vs1WCJ2wgkNPSPJLLganaaTX+nw3B0ZOxD9gY2p++B2C20QLK1xuUzWpRC2OUW8b0D
GOaTvbuRkorU9hIo068e+tLU+aIxk6dbow9+y1nAB3xX46vPFG9QXbuaBPvnwYugnUp27Ul7YafR
JIDr06qB0wDuIRJYJPndtIt0kHi1EzwBpClE66eoNK7W+SQbtqEdUTRrbTC2Fcf44LbCsPOm228y
9Ri7LEOwbvB+AnPXqAnrJH+lSI3qrzB+jJD5or1LXStdE09n9FJeGqQtu5hJPMSc6pFBdpKerGbp
ofLhzTdz8bMrX5rvv5fTR9TqA18+N9hFSjm2hHxFWOmxa/vM4CoLQu1E5mdWcesWXUnljVbIsBBs
M7lP1g2v21S4gTiK4UDXX5jv8kCMVV5TFRdz68wBVf6u69f+rXlFFj5xC4r9IBENXzMcxqZw4ZUV
UwkUyFf/zU3HV49iO2bb6hQnRaTBqsoAzthSLFcczwKe9HMnBYz5utc+HsFvyDfbdIYDsT38Tcm8
paMpT8A5k+iuNMGgYcodZhpqtrF4xrx7NFBRYFHxPoHqegPyOxYFZqQp3RzQREV9BQaKSI2z+/gX
lTHLCtMKs166gNzHtrYkBPQ7bmpVZ7PmD/jxqqnkFJAXXY5pfcuwSnuUZUkhsKHnEA+j8Ebilze8
F+kxi7aR5PCSWpkaPhoJKAu68mvA8j+ed9lkspcqd7Te4ZOL7SS611owvEZzoJ549LN2SFvH6VPd
CnzOaSHHKSNkRkSlNPZots5atml7TvfWX5doTcU0fTpjS4vZauT+VCkAuMOk7oH09gDSoevpUv68
yoohyPqTH0WuFDoghcrkJfxFOojNOp/MFhQu2eH2d/UkTdMr2JK1SOBjIDICJAoD/CXCjiYfGb6x
ykWbYZvF8zmcWP1UKV2N8vuc863urDxa5xUDPaO9adAFsOxwUxecmoIzQ/76gyNlQ/KS6HfATLHf
28dtZuagNuWlhVmAHpCeXcwczQogW/qeB7MU+729zgse7T3VbclCmm25OinTjf1mvq9Dm7Fz5Mbh
t+lYPxvqEqFyybbzzYVzicoCAkBmJdrkIAelt0xO5YZ61cTFV+0mnInHvG3M0ftq2j0snk7ig3Wh
OIjVIItbkPbpQtHDnU1zrXNb0o21G7IT3Z4XGPi1+lPIRfB134Pe7nPxtxq9uZ29PgVEhPl15dWL
/rknJksYuoXNV7S57UnBsUiBkO/O9Fvlm54dmdOwcboEVe7yl87JHATMdGbfcClPM6CNgjTS45GB
OyuOzCytzlgU3sciNX79/RH5TCRRhR+jR9As4b2/w4GQk/z+CtS0hYFw5h8/p62bQ+54lP+f6+tI
9DiZmtDXbu4jPhHUq1xkoO59XpSPdf2gTsI7rf3JzLeWUQuWQ1Nv5uC+b81td6Q3pf2lGou0eHNd
mc6+daByL8kh2/dlZfvhGa6XJdv4meF+cKIOs5tbDapJ5CQ8nDD3RLsYZyIPYC8G/jsvOrPAX6mb
Ouzuo26QaT8BFZ+sldsMxgeiqVp5RCTokKlLPdKkr1WcrhrJPklZDkXMaZxsq/JDLe0eZ0ijIkZv
jUc9dareT0UVvM/dhUBE7wup1erzNLsHloaDUqajMtwHiZnScLJQjzSp4p/OJwuEVB5tybbAKfdV
sdk+FYV0Pv+r2X8THz6NdP5anq56hhYPnMNdx7Q3VQAVPTvxNJpz4Np7FZVFdjvSgvHZMLS9vtZN
ulmaCc/UF2dsNCXFF5Ti2dFpaaywVY935iZFPmvmhbTNC3Dl3cKcQMqVPOo7lsHvbvDlZPqvatkn
bZqvu9Ramdqje+Xcchx9vlO8j4PhbtjYvta9JetDBgubP2NMPNzfd8dxc6puK1rxviuhgnFTmVzs
1clBLeJ81r/hndM8B6XzozD3A3umzwaJ01KcK2SY+bmbbu6bqMbuvG6vH9IlyBmgXJd1PXcu3R8D
z1B8vRDtOCqYjF8Ojx3sVFfojxrjJSHVWnpHX+vrWcHISDeWxx76qrl+Bv351lttW3hoUHSzaxJJ
f4AYHBIKzeoi3ft/Z9Az5kQarZ+tyyDCgerfHY62zwmGAoPrD9H6et1130M8LE1nYjC/Tv8ujp4Q
QKwEV1llvaaZoOLTziTqKsqXxwX+gmbmz33+3ufy+TF4bOhv9sPnu0J+V36sJgy0Iu1Fcw/Q6C9/
p9+Kzmkvl/OKM2pmTQT7e+eDD4Y8KdbX6ebqPkoPX2IVsq19tpNrUkAiVaEeZe/5gwNkYn9U2qF+
sYERPA13oNMV3ZkVM1W4v0u5UwGuuu7btd+hE3w7dLWt2eo9HJ0m7U82Eu8gdgp3FmbTj/Ztb7fZ
gm0FvA3xcBEMqJTy6+oOdfIXPEoyRgnzvNanlDfHJUeX2o3HwbdpHMyD9OfWfSZU5/c1FpV+YrWr
vK7NjIEFhFM+2qI5nVmdnvr11kuWLo8i4doteHBL4ZnlutPvabSEM3DGgV+WGUrkTEvSeUFXb9AH
39xs2I1iRpXvgv8db/z5itSt+0NfzNoLIrZoPveEorXNrmC/OrY0+ObuvIcl3jST3zQeyJQQb5rg
/aPG/N7fi1azcPj41zMLiyEUL8T//W8ZvIfKSaTwQqKlSzX1OtaXYSm9eukJgKPrKW7sW+QpPPsc
fIq9JTsvKefdJEoYlTX0mqxK7xdpKeQxZXBbYQNRbXPC2CAsp22FtvlOJp/XqJygTmmncBjoayKc
Ed4ssMn7gBbhcLWziYVLfWCxrbD7uqDoTUcBAdjU5dugc534q7TOVZ4/+/Gj9+rbDow/S8fR8U86
wYmRzuTyAWpHYBs+u4I6UqeaMiqdf/y5S47u891YBhkQ6+dc3WrMWey1TzPgngr6EKsvsx24X7yX
epUPPOWZPPxkh+8uRFmRF78V6N3cxMuy6C8etMl4ugkxs4WEyqJ0+jSoXvAr1XBB4Cn8NIfWHuQw
Wc79vNpwLG172JrQBcUh5VDRdoPd3G/d0xJe60vtWRuj+Uvvc6juJ/fRoitovXr23b8Fa3l5cFiu
Pw4mpG0LHhrsNrNH14uqvWJ5uBR6tFFZbLDED0SV+xfkREifrKbepftIf6eaQRzuD8+VU3dvNYvU
DUpEAy6v3Zu9GjJZwxiPg9OtEBk89GEMRCBTmfwUtr1RkwT5rBqHs0Tyn4+kKn/iqYEytKbxWTRV
zd4qqd/rqrXbFTbzw6YZL5rIVLjd/oPilLecFLKF1754+zZ14ofkW+lYdZ3daSaPnONgmDIWCHGI
5WfFxPsTgRlLJCXA5+bjnJnvbiOAnqgFM9l32Vz5TTqbLscci9BZ7M1TWQuTYAWoAVp34WcJewzs
UGUlwWXxTyWds+VH17UzTohZPPTMURZS2THlm7cTNLaIEJcONiEUpxIyU/cvqIDdCZnOSGXbE2L/
juH/Vqe8Qt4MvqpTcxftkm0l0l9uKjbTHRVx750tnBXzopxM6F/RYuBAZFu77wUWSD8Rz7spl3XP
ZgIBZgCxj/Rh9tsn1F11SaeekPy9nQH4AMPsP6R5OJVCtPa9etmxfmZLZtK6r94XPsCAGc4fb2Q/
+cVR+KJDwOvXybbJhvdy6mRi+WrA/c7vBNk2BDgv7u3bp0TzV2y4NEJVqqfrys3NoXrMNheDQBw4
1pNc8U6+RjY92T6lvRbOudJm4COxfbEucFPWBR8UbAKMkSKyCz0HippbcY5nnUTO0nVsaHEYoh7r
0GrFUC6hMCqsqaR0N1JCg4T7vamsX5WruScm7u3xl15+yfI8b9s4DtthEnpWh8Ln5lbtITQZZmcO
dsB5BqU6ii+0Yl7orhhMpwIy4OU0DDI6eveFpq4D48uEVxX5uJclRS4Dfode/b2PVEPWyqKexNDQ
9CIfx2KNN+qVbhEsFC9BDSLPei8VgfDGieVeeUbthaGsxVh8nNuOjr+sdSwkoAua+4qV4muYW3Y3
DzyCOxZe7RhrLGi5CbNxRbe99IvrI4eVy+B078IDEdrk0ebWyiMw1W9ukS2mhPbF0DvMD674KGZw
ViWZBu8UufFOQUxSpLZU5fmoiteMHQR3ZRnI/lh3q/d8XbpdG5cEQdJzvlAeO1RCaN/2lyh6uqt6
5LjtwUwAie7WgQXGllVclsOjvH6W9CxL097ohxUk21mNjemX+WLD8CzfcsG9RRKNFW/2Cesd6gIx
c5+bik0YhsvTZSkyWFitH4oWxNSa4esdkDymn5d5as8vNdBmsNvw4tZ18UmE02cF3yJ//HGu7X/i
fTm9DEaAds/NTzZTP1wLmdx4mkVU7qcbyWo82UxluytylZ9jREjKfniKm2LXHDES3OzhXbWPmlgp
yGhmc6z7njax6PqTGi9TuDT08k4S6NYuWtxOBPE+VSKbr8T3dNrJatyTwfgl5Md59zZ4yQncjBpW
1YPxKATFROHBUOBUR8nBo2HigWCJ73ssbR8f3Lfv2BfPwn46yqwy3t2izekRKVj8EkeYHa2Cu09s
XwbMpvBTX/XjsfyIiC8q23AiWK/7WvoWz0foH6L99z28BvQGxohCS4+MlRwB5fW2QX5aVfWcYnVF
qoITXKb4x3Xm58y31Uv8a3v22IPwX7FqBMYtf1mk2jFmi/a4P/XUm7pwR2V2XT1GgKhBLbAagDBY
Bz2lqDuUSYdsVFeDjvb55y3DyrbQeA5T7wJlxSdipyNdxWu8q5DZVdjxgaFIGJi/3muZe8tSsZca
Q583o/XqN/Ew76luosWoRJAQEF1caIbSuPSrdjToOJXgDDpILTKLauQZQpptRMbFp2U5xhrImEQN
Horbf7IWoEooEe5hinFyWERCKgym+hL+pjMy5iClYbiQY2GVC9TH+7O9CBojuqjFurrwJ0tWnSa9
/JHocP54JwN/g9n2nY4hH28aMqInYP05LJ/d4HCAH5ErZtuxOWP6peLeppJ7jj1UOgo72fPXYbAc
RicMWUzskvdGoh4IMwziQFhv6GK6Dx+Z/qIdoOr6OwkKmEI4srXKq/Kx5bVLTxLZ/OTc3DQu0/6+
Cj++zlbpwoLb5Sd3XhrDU+lj/5UZM6OG2uzAWQRbFdzE0I2NEMq9YiAz6GyY2PbuY1XtP72XWyLX
4N581sosoe4DreXIqBW71VhG5c8S36yUL5xYP7ZfCkuHfpflQraX+VnkWLYevxLNV2vPw3PbOToS
Ky4Mm7pxmQAdz8pP/+ymxtb+mbdltJW41DaRgUaepuw5JtPOVNUFMuCW+II83lcT1q5erX/wP3oA
CoLU50vDnMiTM6yamupknP5oaqm5rhrAxPJk2o91USU4HA4uvfSa/rnAILlOsXo4G2Hm37v8B3fE
aMaQhLrVGpEqQOZknz6FgzCgLUWNNgJ1yuz2H0GGVOj+Zf5bX3KqLi3nh2+EbS0Fm6VsqpK8GONk
Aln9EgISE/OkzINbSwXTu3bOjt9TZYko31qPsZo334uRqB2UGm0Vt/TahbdsJNViMLzyRuQTEaVN
8dqNFR8g/Xg+VT59J+sC1cXKvOrbphsuHHBVmdPxLWb7n1jNhC0aqDnZoSFoyzBz9+2O5jrTnmji
gZdw0web7b6TWHBU/LVr+TG1XtTpvCLMC2E7FsmxSUQYJH6Nd64u8WUAh958v8u65XXNyjg3SWUf
Je/8u3znnd65js/jFjh8/8O3DwBgJ3nU6bh6j2dpbCHnqnQmAdeKV1Sm9/GeufiS3zE4khS+tXu0
eBqbdkbzL/Jt6k8r4Ra+JD+FHnO97sOrO8oNDF6nPa2Bsj1AtgVQ8upd4hzKmTPHjT5ZAu8kW9He
sgZCrph+IprKjeEWAXFgZU0rMjm9gh9j4iNFT944JCtKNifL4dPGMBfAidKucYqMA5gcSJgyybx/
pEiwwXRp1zjx/eLSXrBM+CG8pI1651/AcWAHKin2Z+BEh4llIww230IA+yi4y4oKmQ9QLvhspeaH
6sPi39dOyYpJVJju+iAYZBApBcmiTQdRlpYGgDu3rQgMJRdXXTM7ydSC7Am7IzPXSDqmIh9PXtUh
Yr2Y1qgN9k+TsApQk4nHw1iLD43tHZ5xKeV+vHHA9ainXUDsU7Rum4x84InbMhYVcNmHKI/A6k7Z
cA4ZVLwhtI+ijfQ4v0YK2WyBoCE2F4lkgG9eDaH4MsXAVWF6GOvG+/CS3Uzjyj4DQ1VnJ0bAlvbP
O7Zyn52e+fgIt4zLJr16iuncZhTaejGGoo41z01tyzxHLRi85Za9aefRffYeH/KoOKpsRtHC7lo+
jLw1hz/aifJ9bG6yBgf3lq1TGdO7e2ynvWsTlhHsXZw2YLdLffoL1kOCaQP6uinLTLU7He7qaxOM
tGyYZ9nc8D2wQs9N3aqWwq0gOXSIgtnaIBj7gmMjR/XreVGiEpZ1FQAwyGOgO1ZILA6j5fhYc+rG
K+sPfm70MbHCYfx48DSG6kZCh/Tq378ujdPMI7RHEBIBv/Bkek/xLwaG8iEbktnZr7YwsTJfnmHI
5SKrepYgliyCs39a0aMRIOoK8pjcvs9lLcYFt+PO+0SG5FxsXgB2u/zuL93bVJeSghYND/8s/WoX
liZ/DUeMACN3xbZpUORyxEGh44KvQhY9K43wbM3QvL6BME5G6KH3c90/Co5AAb59Bu46uFHL6L8H
3ag2yvrXyNuS1WeGfkM/QnUczEd9nIXI90kz12KKiK0TPG4ciX4Ht09cxVODUZX1iWU+Tw8BCtwX
Hb+MoG3plH0Vbp4+ymcg9gW0wPR3M8MNRyaySZ+q2X6qu67YgXM1zcO0fcEosDptis4xaPksbSle
PqdthHZLdK67Y4mxy4/Q++EbqxAPiOrCIEhP1I51MdBW589AQOUFtvxSy7R9iWwfkrQoqlO8suvK
02duZyiEWXzsa3tEjaU2/EDW5OSJqHGr4hzBhAylSANTEyS2vQ42x1Nj3RXX5tVliad1VXmDvmRR
JmmmcqNQW+tqaTSDU1/h1BjdGkoC0DEnhy6CV9kOVdJdRe4l3cr81hj5Ki5N5rzNy5KksFjWjxWA
QB3MkpwZp3m7Ue6M0TjqYW8cPtFpR7niIUlIjvESggsGuWeFouRBpiliUbmeDX5akObI1wr0OVov
ykD22hMO3HoeChqnEch0O5SMWFcIP4UxXsav8m5+6/65cHdVrzAka2o9BrCN14+4+bDEkXp6NyPQ
UyhO2F1MyULBu6YBt3zslyTvk7fHoeu8QS18CrZhDy0Zuagcwek25jebe3yazPv1Yf0i37HZaOCK
PX9xG5NVFfEtSBX3LaoITKqeEjzP/K+W+Us3tq1MaAEig9QALl5fkkGiUvLwolBgY8Ry9oWamOpy
/3NZnh9CAnxZNUcxveo/57mx+Awm97V3h94bAWolgbh65zJnTOwZAafyKqjicW62fS8+t+UTU4pt
mbFBhZIi2Zd8fSzFNJuTYa5mn0cq5hOzy3FKKDhKiHEV39zHLPj8I+9qCtfya1WzP9p3nDyVd2EI
TDOnOn0hE5WEzuzsp2oL86FrhUOH2RznBbwKnYZ9TdHS87LaU+wcBA0RR2nXrNPy3ljPNg3V0TIe
5uwsd++ZCt6fzG//pDQzP4CVkSCNvF4jt4RdIrThUl3d2kNd8zlLflVNiXWROU4+LxxQtcSYi1te
Mp8rbnCdpzG8ySIoOkkaFitoC4ECBAlmD4trw/4xWhTfX4tE7f2FmoW0rsrpj/DJvWLokiiyYsFm
m5l3IlPTZA1fn9fWcRgWWf514R/WgDnYHbC7Tp9+6f3e8prjnwVUYR2cMUf/XCqvz/q/x6rXwH1V
PNqsrq967D3GrcyxbDjWHKnPL93FYnBtIeBs2QX/3rG8yy+QuefiuP/YerMoNU+lqEGls1lnQ3Gu
UkT/pks23qI7R2FPDnzxZc/0b8EcKlnxu/35dWuDKNZM2fRMIYpdGm2mO4d7oIe4fZluZh4ezLYy
zZaDBhug74YQ1CKal6Ize+dw2TtLYTDfF+3ddfNcwsLPcNRVTjneC7S5c0p8aV8JKShtyd+2ZbwM
5JpU1/Y1yrZHBg0u5Pn4QCQbpanWrw3o8q0hx8DjO5YQtuo49aKsubTgGBaGiNLZYzHxriB/asIi
xcujzEgwVn7BAUlkrlR+29IhUye7iKqKGSoJLuXQyBhytm/Vd7two7HdDa1uRYoYysDgwwcwiNSA
SKRAI6vhDLjY3LuLV/Pgtcuczfgy9eH+FU6O9PojTQbnNkSMFzN1PmlaZLIFqw7q8aq46uEzOp7y
Pk239kii8WHAgFKtEaqv+QZo2UUlMehu7cO2Z+wxBJGtBEPpw591m7K/93oEC48uEOV+Kz7lGa/m
lLyLv+FeHhmJ+QAcsnlUbK4pjetrFJ9+gBRX6VL2oDjjGCMhrBKMuNINNLzzhGSrth7dX9TE7z80
fDdEiQaUcIbZwnLdwaORsEyKQwdWhp2FlwVPO+wMtqWiPpfqS7WTaWJ1fMc/PbdrRn6NA2ZdGgEy
AAhldMY/TahN8ev5pfpxIrjFWZqHU2ng200/uXkU4oPrSGIEA1BLT79jLOFvOKqBYv5MnY+8Ooy3
4m0Vspf4WokiGS/KUB1Ew5WVyQrKd0VpRICC2XDsINCtotlq7qeZXrr0/DJ3VM0iUxNtnhoLaB9m
VCGTNudVQ4XtPtJwhoeRa5OSPdnOzPFxQ+974P51rcSbIZET1tuL9iEYV4w+RpgWq0F6prCsq0+i
7RhOXAUFuJptqQWnpG4rAGPh9KcQyrKIvKMAgnZS45OK9pkdJqWQS4aIQVvX7ILwfIsr5SlwjsyT
L4J0SLmP8hrw1p6c55KhvTmPTW+YDpQSnWvZY5nEUT8Uz83w75im1G71cygJYt3XpsfOMoIucKtH
Q/SzeJ/aqRT3cS4PxZ3zjbEa+5D7z7UY7KwcH4uRnzkrJeN6hSyRq2rJQd7bNs+R+omoXfGA+nMq
ATdGi/BXCSj/FqNbaTFyfTV+xw7Njq8dYbQXXMc2wZckmeycZodZtE+t3hExeCqkX/n0tpoNRBAf
3gvXnFI23kJOoaTMaA/MNrNi1pUNX51CFLUCGZBd0WfQtnMuSpWdZIfzD9MZhoYGGueiMnKQtQR9
4TiVZSNStmhKm08WmCTB+5QcztTg/pPosJza/ZndvDtGOzzUdLBufqwGtf+n0TU75n0U5r+ACcXy
s3sCYBacqYo6ynOzihPu66Fskca6RJ6fz45oiVheaMClxFdo+26jmkwZLWL2KIUxdw2UkpWk4aJ+
86nQ4k6hm2Nx9wHYSvNS2XdCYMTFhOedf1/HqVxlz29KGRYk33rwNZMW3eTJIfb5/ECOiAySlyaV
SVzgCaAW+mCWZZ2sm87pHsDuXN1YaZcNs9ZaNP6ROkEqzuUILzyO+oM1lDAfOwutV1tLCgm584vv
7blGKdpCIPkjhPE+DKyUR649rejk9+mfRbwS6eQ6+nRcpfur/NImv04/IeaDGPOoQm6eD50X4s0l
hjd7qR02tVS2hnccOn8TS5xlrq4wnPL6KxopLUQob2rXFKlFn48O/yCMuWU/tmmmM43pqnDedg5M
IZgNVHFLSBoMB6uJVEfqD8jf6Mrs5XRttk6XcvbPkD6XbE4rB0cOEZaIotQfSsQiLfa8CmRZr/o5
NkUj28HSdqcUbT074aV41VOKKdPdczv6ZDwpBqPIfJNlT7QSojdilV28HhnE62bs7sO5GXmV3bdE
troXXEYFhAn35JiIgyefToJLyV2ThxmNVV57hTmcorwbpRKFKB6P7IbpYMvn7y08oBhPFQ/Z5m5y
rcFJ8DtQtnoUB2663XSHeXNqZdl7CW17fW70hbtoNfZsMD8LN/vRYFkVe7fZYF2YGrK+8jX2FSSR
9ZnzDP+pSlwQpnmcCams44VCR4dSyF3rYZCYCsvVJwpTRLOI9q5jU8H9uUeBeBUUs552Vu14jjf5
/LgRudC4NpPTwal9bmYr095UKmThFetxatyGmu6lebUgjjUDNCNG1jxAIB0oHSMnrvE/36yzolng
G1Xho56erJuA3mT99ve+VSI/mSxbhUJ6uK6oCg+QmOa7S2cYpq82jXhbXGxzFfIgtxD3zoNi1kJ/
WaDZffv+s31+spmS1UL8Sf5TFf7smLgPzuSW/sCZb+By0s++gSRfB4TYHwxUWAEF07Wcok2pSRQ5
YAKECXppmetI5AiGWOs3giDPpvpyUYI9LtAyUwUjqPeijjMEVdEtwXSopTIZ3sBQoP20PqVQomLo
gYWcXsC8AQMstSEtRSG5b1zPRdvD+lqa7WKtZKwyw0qZseZpm/mFc3bDtFtpXZhm24s/z8ca53m3
7u4dkp4ODa6Q6RoUjZ2TysbNdoSDenN1VhNGXEjYz9Jj9C6HvBJ3r4xg6y5hJ0f+xWEkBszlAgky
k6vdRZJLfz4YgVovMikeDYsvneVtW7wXKSlQMQzF++BbuTkD1I9TETGPDMXnyEfKhJAbdopssM7V
xLm23mCGSFXIM7hISogtSDfiiJ7fq8I/2Stvijs72K18/ATDnir7L9NcQVbX9N95RaTTiCYqCXlD
ETqrVSGVqyXoOHZlP3G8s3b8FyN7v/j/B3V47R4vSk6N1NeR1kmr8HyVL9c+OpUYBReFYkVxwwME
LHerwCY80udYPtAx8bv6jixKTFnide/zGkZ84ooJ/DC4fo6RVteyYp6fgmkiXb9K0qBwYizyeH45
jjV2lZTkYjTdSwGH/GuTqSWQNEgDWGo3Up/JQnJkj55dvs6lnE8rvb6WxZ90d/t5PtSj+2Yc83HU
P5qeWkikc1y6kCXq90bkW1pv59BNN2RCQu8+ph1O26n8a5569nEyi8uiQUnx5/r5k+YFxPm7lwO8
1K8Of9j0qR7LTm6yjafP2i1eWz4qW4ZYp85tW9sAuy+tJNJcUT5lf5MunzfD1zNbvL1LieTf2Tvz
TP6+DcTjbDPraXv32+EWzxSvzHjBb2Z8y5tmPnDJ3IRl6Y0Gejjg4QG1pqV14u8y/WT4FclQfh5G
WbYn7vkNI3geEZq5qizaMscOIwLuo4Q/0Na5uhiZx7zYh5mzR34u8a9wpOBYXqFLfOpMaZLmr3Ba
FUlIcTqXF7GP3YuJHNvOUXoXQobIgx7R3m7ZySwANX3inBzZBZqZAPRp/tE/Di6b0qPlpuxTrrmn
6FHxIGA8xBIuVjWD5vcjMO5Q1raqocGlsR/zBEtOlBTvZGn/o5qF8jBq0UZ7jd7x4jPXESI0TZY5
BV4ztdWiBYYG4O8d9PcKUkpGihk2ZlC4O2RUREvfQm0oACdqdRcS6Sr0++IgyPKFhx4VRNTFpSEC
lD7PVxOW4nZZ4RdK5/pgKvPY1CUJCb9U6OYA96vmP86W5noZqcf3Da5s58xQurv22+sLod6VwJqH
HZOySipTwdnBC12G02o6XDOOOzscq9Z1ItYkp7qG8mr5a/SeTDaI1FwtPcftX2xXKjlPvjm3Va7x
0Q2zSGm0CnogeCEZZSJbATxmp20HPeQhEGkNbjyf1LhsH7JFyGWSGVpf8vZMBLXLog1N50GUqZK/
Sk1ePAswwUUfL+c2yhkRtffx4uxe7GBbNJyFBSfx5FnsYLpG/0wMUOGagI/UqThthdpq/nHvSkQX
UXjlXRj3U05nYSyz+qMK8k3VEDxT+T+ydnt7LtBt71+xTiyXb+ybDQ5Ntq/8uvkQGhvw4QgHBzjP
NTlndGDfVqyR7HSexcuxkfsJPsqkTKeaWh0Suyjq4tlynAfzbQFRJnDDomiG5NiBbVAEZzUekFod
dYMiJ0GAPy0F3hC0EtYL8/k4gAPzr3V9z3JAYmXeSKw4uhc9xygwq+5NO313ll03o/Mq5Treg8Oo
I+B1nweQsyDn8AiQHKUrIzHXpFY8DX84180cFlXofelryVKEWLL0Z+P3g1SwoTd7NQxH62BzZe52
nJxknCIYQuJJbyWlfGP1Hf7pcHZym3P4+FnsYxWeVOlS4Dy0dNXnjljtDzVTolx7LhrL+aLf2X7c
i5asOdI/T9d7rnXh3+v8r6Ayrqvuf3KiGWj5vF3J7GFbfI4bIrn4shcawtOWhUM+eiykNuV7caQs
KWV7o3SvEe5LJt+4FxvpyiVVZjvRWLQbz3G4yPBTLqYYvoKy1165pawO5/t8Opz+RjReL0UHr95X
vnOsdUxupr1R+KvXsXZqHnVpp5Kv7RN9lD8EphUkHLD1LMNI6iO5U2iS3l9FjuoBSnvXMWQ6mcEh
Hy5B3Rz+z/W4wm3Nn13ttpk8FjJkS75my7eqOKxNs/Lz7GRF3ZDXJb5aj1XNVItta+EuCLcRXX2E
+a4TvH18yOimg6499+Xjz3mcUA24JBtl536pjldtA1Dfeall4T4i47GZ0bRZurmEeY/bz9C707IV
yZHj89SJFvyLNBvZ/AeM0H/3f/6XrQMHLRyGR2OlpjuBVO76QFVKLLaIzdHtzz4U3xU/4OMmlX8y
10vnHzvE5j+WzmxJVSULw09EhICA3DKP4lQW5Q1RZW0RFQUFRJ++v6zT0ad37NEByMy1/vUPfDW8
jXNRgl7fc8q//BmRPIfdDRxHHn+xCoCKaKAxMwEUEuvh77///0SA28CliGeohWgKrJEvisGSvuxw
FJ8JQBdHoIHVBHeeAgvwAUd9Kr9ryIL/KS1GBNgOY3TPAMz+PSWwJ/67I9y/GxSMJZ8Tasoe2rSK
brL0jSKK6y117pfxe2j+KcHhQ3KIAwBXcqKn9cGioHj+9/7i6u8hfIBiO7wi97So/Umk+zHVRAzk
4j0jhjCFqzm/8fHD/DqvXdSk7jeTLh/IiZRivhPXkSeTYcoOyPbw/y9thDFDYa7JzD7gzQOjlxQ2
i2fl7gkbqybPt2QlgTTz/ItvdgzvOdf17Ymht0WpZAdwsLBj6ohDAfQFzKBRh7+FI9LBxPDMEGFq
y+nulxOINbBqFfvwAVi0UEPYSlDtETQzRUnp2FcnqJJc7oHBFE/mK9ouAW73QNrALlx4jQuA4JLR
R+cBLmhe9c0ifEbslkx7mSRyMvYhMDM8acoDISZiC1H3ytPJlCgbS4zCbCrSt4ckY8vUTNyeSygW
mfhi/Iz4oZyl89/y4w+n/t8fUpiytlhjrB9+t95uOR7YDDlS2A1/uF50R8SW4jXMM0kSLjxQv7U2
D6uKN2RTUADvjHiENgAfDm1dDGbPTksn/S3GvJWf/Ev2sy81gBuaHjlc4CTAI7HYm2fWaGmEG/Nj
sCt5oRtr5mbPIEyEVEHYxrG2F9Moe0CFXZDE7Xo3O2vTpy9N7WGDVuCMJgxs6jMrFtkFVMGSHVyT
0N7pMFh5RMETS59CckzYinyRTkzmpgrVtbA2JXR3BwUa9TZ7VaO5Yqmq3vGLpNQefRq/eULWRn1D
ZcWfkLe9lfdkZNL6ZdPoh6OiWmVSlmHjzzHW29wvigN2fvZPhuCMfQES/fflq2a6PuW9xa55wt2l
82Bh8CSKe1RyewKRWsxWxkC0hz3A74ot7HcS/bIX8Tv8xuUhqghun7lma2re8/9uLM9v5xGjCcwk
dtVfsUPzEMk8meJT/N38mEkYEeL8QrwQQDF4RE/Unehi9MkGYjlzcOuas+9qztPW6kQfnCUcFj2E
RmRkU/hYe86FZ0SAIDRdPqPYgustZzbD9vKYYjtCH8D7a+ucUXvP2IIvRebgo/+ApFH+/6vrf2cf
A0P45XBSHhHQGM9wzmfl7OEsE48calYy1wk1hmVnV0xRzy4hxvfOWuCrvRktHwm4XTh+7ZNrapmc
kDxNdx4u0y6tBUUB/7/GN99vCscrLbKNJ+md31O+a2LsBoqYe+39SJ8PHrJPbf72vxaMutJqWT+I
+qVsphyiBKISIamzwI23ECUJGzoIx/nmnmGQTI/LFm0Eb49wJiNDm0nrrmF2EGPuTYYOK2ZwiLQg
vRrCBtunhLonzPotbhfbKVb1lNeA8wc4fxvx2lqObFZ/uQSTblH2xWYWE0RKBOUO4ImN/ynooSpt
W8hflvMLz7I5xNy2UUXQ79fnT8SAbFD0yUmxJV5aXLczFLEzX8V6fnSZ4ZG95fK+sJPHfb2tKps3
9qBjiKPr7+thm7cZHbHWM/CjjMLQm753bb9CBV/N846tAQqSYU8wlfp42QE0p4y+g0NCzL6e1hSL
C+okKxjZqUDnVyPaHTkbHBEA66g43DsUFogSoeuDg22bzoeoDHyDmvuIvIKO+F8poeay0QVOyDTG
m8KVyJyhcYGGcaDOBYGt5zwzQpTeka2MJvxHQgdPHME/UohXfHRavGoUsMTm+KuJJX/dnBYClTEc
8CiKvYdbsMvSqr4IHMlZe5eEowOzcMyQQim7LBS0zg6YW8WaQgtZmp/0sjjpL9WNsbkz7qTCpOBE
BovSryY7ytcyqvEOWhYR2b589CSIkB/PBpkO4BbR48SB2/cfOgmntbu15iH61dzdEfuo7Opd4AB/
KCZCTrvAFSTFzCaootKqokfawt3CYEElLDPAOhU9VHilVyKUda5fDyT1KkDLrMYcVe0WVEEAq39+
y1RSrogT4HDnSg+cLEBDIbQleOF84Kb3SXxVbjFOki4P+tBFNDAgFBlQLTo7SO1waIiNcinMtzT0
HArsHrHG1sEpwkUT+4mQJ8H/wWIXnsRf8Z0c6h/Gqiqiz+isxzFI5wUqB63NZEF38pB9UBLDyuN3
vhW/gIHy1k/Wi8ZWAB74+SgMe+LnyGNJyjGixHt4WXSbMlBsWE0XnGWgbGxHZ3SMwoL4V88RGXEU
kkJ78FK8Nuk5krNBxMTsJYozYBKONMFkgU9gvd52//2sbMNjgx9+b/0eUBC/fNA7rDnlowuDaHQw
JUcxpHmbtGaRs1lTKhFClY/emMMwItCbuh50oj6HF3opIplpkN9WdnVuS8P0QDKO9GH2898pu3J/
j/ZA0gRU6VjR83o1JBJUkXvnAjGB8XGSFEtARwz4CWtuNo/v84p9ybmtjiUBCmCZs8MLQcwRWvhH
OyOmGwNxbEjvAoopZJ9VqkoRaO6LxTIkJpwn92indL4MMjhJh6DCBYL06zadcuZW7gSBmQeaa51h
gWVqwddwNuPVKs5knIp/0+Gv4vR4ngK4gjktqhU5ElsW+lP5ovKh5PR2hU+fUl6CnR5dAMnwR7Jm
SkTl23U5OBv0OyAGziuJh2iqXgOELCwoLiUWZudz1DM84an0GLeTxsz6Y6oCXq87pNjeDuQUMpR/
yMDwXChHsyjYLwmCY9pV0cUX7xBkL3qiWqxtT8oIO1D8+m3LvRDngbKio1QIzY444mURga1RD7Df
vWaAfAeO9194qxB2RPHGsS2tadZjYbtGT3Z34NgdOPRmH5RtqD5nTFkGvGQqPsmAWd5e3oON6Msn
BWiI1dxLWlxDgT4vKYBRySzZNqb+OPP7w8vOi53erZA4FwzbiVeYS3k2OYjw5UOt+KoRjCDHiyEB
xGNIcZ7rvnJoRagUhYOgB6pZDIduthMSUw++EJAqoZ78BIMl8rPpWPFY8i+gOgZI7gD7EaO6iX37
wdwQJfZ0xRDWxegeOfPRoWyRvXLV3ZcpnKB8tiS7+hSYAQQMHHwFT5qTAQEiHoi/ZPQs8GkUYzYp
HvYKO5zuX5LZ8kyhbexBe3JUzEJhi8BZJpK33fBVZM2Vu4i4CPahDS5okYZtVcBDdPkFFfCg3k3s
54rZiZ3xlVxGDG+rRGFWOzsz59ydbHPR9RQNLoUJHduO1S6DorvMjooxM9dp6+YQAvvbXFapmo28
H0nFDEUZ9/aq1RQe+Tlo+CDG/rKYXdYPIJ0/h31v6g6ZPrWgod2wnoTTFTTwm9lRFtCmN5MZH5ZV
zBZcgmjFcv2HyAIjaivCSjhsU4wapmHHRJ7T/7w0f2QrGxZF9Jgr9uvQJOU33eGdLoFjgWMr0OPu
Yd0/9LkgjqrW9piQudIJwwqd6ZdoUupDL84QKLTlQdkRssyAasUSoPlckznvbvkTaqgzXsqDlT7J
z8DU4YWDChHnLEGI2/gJc86doGIw2crb6XLXzt+YP4gClAL+zJ7N0ILCFeoYTZ89lMnD3kyvnEnB
G5unt0tqm91ipuboBzAejwREyD0Z4NHy/Qmbhdm2W4SAgrUtmU4BL5AvCdGR++Ge/dXAOdVaq3AM
hk9+kIMpfD1mXlebpI+4w7AroF796D/K5YAsZIyKr+noF4sqFduPUdjDawU43X5U0Qv+ExA2GeOY
5yC0mFgbuLZhvyvgnOp+/XI0tjzVaVflNDp9mWwxFImkgPP9K7dn5XkNkTmJhOntG1o317V50D5o
kIx1XHNFpT2nlCqkTwZkDTDAdYPLvr97NfPT23vDgYW9hA4Zrcm3CrGE3wGiNf1KjdhhARiJtFOi
F0/8vd7d7pwt/71gDXmVkxM1mlLm7OFCluZoeyJf8CoJeWOYk+3z2zSCgVoT5k2tx8xS3zk3kb6N
yQSZ8Oylcu+bZmEBexMND0+yCTm/GDs8kC5+k77DXsNAHn5gu/nhWGMQV7JtfEHIYGxBTMxzrWXD
jKaZs5ojvj/QhOdp3ylEqb6OK1PyKCaZU6kyHGwk9+WK1+ewNRilS71tEOclM0/JldZWFStdoo6E
NKpGPE/Ly6JpNy1uFA3WBWfie0hckvfGIwLNI3JOQbQvlbBEonpLPbfcLHdqBlJ53XBaxOElue5f
K4bbhXunz4fCHZxKTBbO8wuaA55BVHcCf+M0MEOKt3euQJ6iHqaPYVNGKmtveIInwUg8ms0OBm+A
ojeRUDizoaW9aELgKFP7H8Mtg1yBNh5RAl88E7NVJcIDPGHYU3qKrRY+dg6NjzxRF0UeCt/C5/fI
U+KicIH8E737JHjF3RfSbuYsO2ivaef0YCulhxthXgqH1OpoOec1kEkAVOCUAAUrM1ZjBsdnVO49
llqQnMvV9RfBtH2nfotHQqRhs9cTQXC+k2YGGjslohLDsfXNn+p2ZY0/0rwAeIIZAzMhphov5eCx
VY9OOzdzNg4YQ4cbNlmFxRpAnV/jwGbnj62WU9GBClG1MDlotwydaQvQyU0IZZTW0LqmIptL97lf
qBIzKFalC7bOvEmJNAvGadBfMU+vtyIJBC4YfIFXJFG2atDq0ICAUT0d/ToflX/MAN3zTexNaLg5
CN8mXu7ErRCyw6a/F6claSHcPC27EqKGiJ4eUBMOJ+Rx8/4EfY0Z2CtKRYkAIlcMXJ1ub47zS9JW
IaB/k9cH/kyophHjSR41JFRynTVxmoG9SGRE/56rzx4pAUC6AUrD+XboErZEwQumMgbK/0R9c3K4
Z5n2tS0/YSnwCXqDZ1twO4Bq7sZ3BXUKSLI8NM5VTrQNKUEQ/4gvU9cj1IWJT0afgE0SOCoEqyvz
Gb5pO00Yr+PDrux4xcGMFLbAu0dKnQoH5s8mG2M3HqtuC4Fc1YDCRJTMQllyam/pjI8hfwoTYrLi
LNA6+4HsD8PfFBQbAp8F5fx8XTAwQHdD51/1nkNQAoK4hGnGDCUjm/NdwOrsBcxhUF6hYjIIpmBx
hFghjNkUyMiMx4VZJzCp5Z6eZbrSXczncAhwtQ2qgfyPPAE2MvugcCi7fyjBuUSKBzx3ITYQM21s
gnEYi66LdyKT4vUimpGmTGOb0LIHlgAw9D4mFzo76qDRSamtZcBzTnlRWVGeXr8mH+zM4kw5VQ5b
Ck8tTjPsZLMrcRyQzbz7hh0WIuVC95ltzVIGTJxi38hRII46Kjt2wP75JpAVsCbH59FnEH63nJ0S
pUQnumnsYQzVIl9CWVy7Z9mv+rNLUg7Deo3USP6BtuYRhVHFXs7n5FQUbncWz3PDlIunkGaGnoOe
MC8DjoTwhhPfw3lrcOZvc5oF7yR/QiGgI2LSQWnMf7Xq+woOTdoXb/xL1z7zn3SczCURhpSM++CW
OyiDEq2hFQNvAmp6EfZoHJ1ZBGDwsJp7ykQ8R/9hp8dNK7orlCLAR85tqyqJSRbl88CQN5czoi3d
elvO2wuIJKk9y3zweGQfEa4Y2ANjX0C5LGrBKQG1CoCp7E22zRC/vceBQ0hx6pWBJmMmTILYZzMJ
4OwcnuH9KmJEyeeUZj8G9VKbtZdAAp/GA5mtBX+a3hel8Qlq3NV9UasOzId6ofOZuDdk/iqBFgY0
La7j5Mps58bNusb4h6xROb/urMNjaJ4ZIPrKC+vSp4AnXVAqcT8ypoYtwyX0yR69P8NyndmfQVgW
/zuFBZ4LHIBYEY3zjL4WMcsovvXMFOu42fdwFRsikRgUKj7gGsNBoHZuLv0ZDNbsteq8F/F6LIub
m3VfchtgsqYpNuFQ0sThQlE26TgWW/ezh4LcPiadiN4dbsu28Q22MDnBjE+IlBVqUpHEhQL+kmPt
SacrfGEB88oDyxdmUykCsl7Lppy4vIN+cdkGzIYOZuK9loQmGbpLxQzvl3UK1wAtHbtWfEMAAfld
D4zrhtWP2wQAFoYffH5W5ZQGj/ERtDxeEQb9CQ0/7cdrwbbKdag0Uqfjn9pdUYsmx7czQKg3V48v
8spb7z0/3tf64JozrwiTWWiWlGFW8QyVf0+fV2ldLb6cv7LyhOGrPduOExKIbO+dkDg+YCbkH79u
K9WTXusUQ57uVzY981P/hx2iNtBa86wDh4HJbjD+EXQXhqqrXnKN/UjTuOXBpuA+6O2e1czQllsM
qKf7mCiaa0rZls6Go4gRzmz4nryyAsum9Ah8hi/fIzENn8qNa1+fU1KLcLpdHQo7WCKrIU/aFuEz
D3yjxAWFXbeNJUypoftU7hMZEWsXWsegul1Y+I9zWM+p59gvepVEOT6FhT0ZDKa5ZFpsN/QNs5Cp
K3sF5QKcBNoKPjkWaunjssa0aFPsLiFwB30U8iVQCDjVR3u540SDQnf9YppbwvaCk3fnyX1Ovu5O
xpEI1SvWYYdEZ7GuMY2d1P7j9HkS8iq0lIzc1Cy7FFE1zcE+DCuFh4GrOFgvfUeJAuHzLnT7wEnM
gHlDjxk95C8CsJmGeem2SBVyTjlxOdtY9Se8WNld9EBdg/iyrsCps5pe/XeDECRnziSMSho7Q0Sz
3J3Yq1DbMJMVAZrI8OETUru4E1T/nOTcm1omCsUbZAcSEz7a2URKjsYHfQ2y4vgvowhfuNuS/47k
3cBM2WEsyJfSYbCdt0+UY8ycOaMMjOBACjXtR2bLFecVI1dNp+d28UchW4/pLU7vDwxoxSm+FJm3
xeEdpk/3vnmzbZFWSRga7ieIo2hCTyEnmFse5CPsCE9Mrdjc7+6GItAMcGn7zPqJbwag5yf2VTB0
EvtwTXtgUOsSHnJUV+fTmt+Z7DhLJVim0p/VJl6eLL53zvjSMXOTBmJ0Zv7g3PFTNTKIKd+TiLtB
L867PiPFZzP1b66yI1q6cAl4hY12gWBtcmbVkeiDZotyCe56bJz+uWl+6SpYHOCRDV4dU5EZ02Ul
UtaZdV03xJB+0cY+puv27Fvla3OfRdeHfwZFQHF+wzcV8PqGiu1FpzJBntzNfkxtpTd1KB5VibFb
+4B+jXwSgHJ6/S2wMcurYlGPWX1aMux+TmgFA04xp3jumnsI5Ua177C/Lt4LZhxhg1VyRHCZysfV
hVDNRYfIqWkyumh5XHOKtEjmlS/2VgSaDdAkctuTYsnYxB543ko2NYm6z1ijE6Nu7N8QSInVpD9h
Qb1tGguEqOMTr7EHKDG8OXMOVa2RkyGHDgQCeW0yjaJoomJY9CVPcWyPdIBxuEss5TIu6sik/JXc
axeld66eATnwTV1bf+cj7swAIo72t551Ab0QxMwFzoFMUBti6lpE/fcF41rBphkcGoJXNPUn0MNA
qS82IB6XkTXgANkYFmiMNn4+tyQqft9REg0EymALDGYIyGtJDJCgm0xtaQ/MDtVPeLaJsMaaLnuE
rIQFystjhyO9b8h5ZpQIyolY9MwC/PZAaDUbiMsOBUssqST3rOe31bDomZzA75jz7pN32Mpfb8gG
0A4h39yKhd59MxVGkcKIvrzNxUlJViQeELxGu3uiRvpglfhNjoudHqm/73UBr0bF1rBuK/siY5a0
wdZDh516TVBQoVc+ERBwY9EwZcYsYvtOVOdPDjfjVhLGqnrPb6Z3pz6c/CvBdRaMGojlZPejGzqF
6DTF96m3KgidljVFdIGKNTutj0rCHPTEApgApICDpIqwkudTaFBTUTXIuE5kJmARYKvfNI7+dC8N
A9ghgiV1+W1HUenNMJ664ipjxMMUOrdzoXg+Y1T1Y5yyE/qAHk5B63Avrr/y2+vJPAfb5wCc/qNu
mSmbrmsdeVqJuQ31lgLIECP8YOoW4HhK5Xx40AMYWNkdVwNOor17rRqQRPoxRattyhZF3lChyICM
lwTuQavFpoxd9r5IGblzLsOQ5ix/wlVWuu9J9Tl7gpnhYsLA7oZLIA4bcAjl6b4Et+1e84p6F9L/
Ozy2S7WSgimWOeX3jO1Q8Ba5Xw3ccK9gGfWv7M77KZvqfoPQMSPkoMMDgcAgB0wAzmI5Cc/KMm3n
EPTAvXen337LhHVaAs6gtM4a5HMzD38Ec1Nx/V/JiH/cvjslnYKWSP034dth5XemejyToWR+vhuQ
pRu2UB0mIXyNDqjNACQQmVMTOGBAnBR7fUUt3DcxVBNmqhlo7ekkzmllRzWFTwm90l45PLnOv9UM
rhJxsxV3j0JP3SolB7U0uq+mcvAAUNc3Kg4un1Q5AgkwreK2KOQls4f+4Q2dO8AjR6gVqiNdZ6iV
VLPGfoIugrHF6wmoMFuK9kJDVjV11RmdCNhnkV2vWdemwq1JXkseltN1FYKDtlDndwImSN+Mu975
nQxxCE/P58rM6VWooybMlgcnpzM44vZ0cYacE7g0qD6o9ykYpPEYX6VwasgBPmv6cjSfIQyehvEy
DDXDO1JbvfjXnWajRWiHLYbFV4rtx3jKxq8322s9+TDxLMV/s3+a9gOMoPoR1Bt1cS7Rk3M8j9jQ
HrdFv9WF/ivuqhhj8SkwyOw+uiNWEvD5OsjUxXkOo4o4Xg098zPpYD7wVw2OGcGFVn/V+8R+6Q+S
2KD/d0+kfsKYibqXMhd6CPFalGeTFDqyQh/xQf2ZGHmzOa6L3+K3xWXg3bgajvkUzUcxgAPlQ1EC
YQRDio9RcYFtdPt6/0StM0JPQUdETOeUroap8eO07qdJt7x/YF6BDmQrJAnt4Xp0oS8zPaDHfPWq
BfQ8C+pLMIEuPjKk6KMOj6j7GE+hGFrEAd/On8yPWZcUZXfnbQQGM7rrv8qcq7B5b78ww0eP467L
IQpN8YQQenkmBGjCoocWUxc3gKtEuydqpmB5eFS2j/ZHuSf9dXGWI0n+fb0AGG2QDL4YgfdCvvJY
tGaMJWHXb+QubYUs15uiZriT/5LwEPCYN2w4jeQP8JLpQs/XpJbZl8qHR+/ek2Bwa7CQoqbQXz9U
p49i6tzfx2BmxhPDUxhEot04PTzuyBmPiqNhIhc58bnP56VkrpCnQp+zMH9IxpLB+tTnjkrBOANF
vWJDbtf/icwqfzgxbTvC0EMaew1I3lG+KUDRjHI34JOoX7qGj/NvXQhzcVTlZ8D821EVBvkkeOr0
E68q60DrDg/t6aHi6UDB5hAAjt6T78+D+KtWc+1NbInpmBMcJPAoXPEDPtNXPq/wmhsTElHlK1BN
drvkGPuj4MI5hU/EAQpF74i0wsbn5a3ZPKI4KVDwSQ+SYP1zu77IcXGGoGwkWpeh0yabt2cUCXm8
9NnEiRGeeE/MnWdY/6f9Y6vUa3oVfHnCQomRY7xO8/dkBWd50F0Fg3VQaYShKl86YUH3+CfQeT+f
1uObGuH6CBX7PO+3/Ly8rieTHQ8jDQv76OXikXD8PDDdg+r2hu9MZjXW9Fp866CPtZUTU9EwYkLS
eGTDlNEsnHjG6MsjJjHmmkEIONc1gbS6w7xH2BkO+ysN4mQprw3RPfCHk0ijkzcxyWO6kkm4MqJu
v9AZFKBIxb/7XsT+3D2h2iGn7UNeK8tp+vIJu7oDv0ggkOQhBK+ltqk+q5/pXN0oqfirYALRG8jg
g8JrljaJKLU5UJqcDRXZ6DEsYVzdc9pT6IvEIEd6ekzgH2EeYQZS0EdMfJhPIghXmO1gGBmjWVor
/EW+4W7Yj3sMQteETkaGHr7QOpXbFx8HqJM350fDA2NK3+tHhJlmdEdChJQBhGtCAAa/VMMnPhux
mai/CrbHdSxjm/uk5ognK5xDmM1Cz2SwpKxugb7iKY5N5NUr4BQiH88/fCYPf5uT9YiP6THV5yJv
lFSmhJG9aMHNpCN6rhUyp5W60EItNAicK2eeCuFKIF1CxiDFFPWMG9VQCtCVHf1fDK/INvzSNiN/
jT4cEclOXsOjSq4ALqeFSOd8RZCMt1Vw3ejReQ4Mg5QgLb8FfCzmXw3B9s0vzpSkar5z2K+bezgj
tH6kk2BKKmWENi3G8Olfmd+bP8Re4gSFw3m/Ogdj0uF2fNkIKgL8grddBkj6QXGZ/Q2A04K6gHfe
meHwEduQdoulwOZxoEGjGkEqtjQy2mhpPYmYkncJ/WyTgHrdE2DaNU0m+C6fCl4RvsikQlOUmtkZ
sgZU7wPPBHHizB8jWA7XnEcqIuCaO0l/IFxFIGuO2BPMhPPyMTTWTSIvcJdC1sQItPjSrrRj5uo8
fHXuZAikKc773oPyXEd+jVFs7ZrLWXYOJ1kdylEZVsnbLxM9k6IHvwYayh7pMUOiFUspyFDSzFvs
z49zKRV/U/p4ZToePPa4wuHSvVEWBAyn/HF5wRwinIbG/PZRp3VaplpqpBJqM3/gXcgmCbFHi4tk
GupJGfb5jXUaaZEaSehsXS06L86L+/d4qENEVJtyUW0MKIKbW9iLWbB1Do/fL2wtMz2rE3U5Ruew
o1PeP/MqHJmvUiwmY3TaXrZVqC01nwEg/9fXx22ZlIn5cTpMskeuptf4Esu7h9fRb8yfKh//QrXu
XmJ8bOd0nR9jUIT32ExvicT/b8lwqBi9AXt+twnXa9MdeNm/a9eghucvvKMpHU0y2q9c2XeHB5KW
5RmRq/XKL9v7AUFQUm4qSuBtsWYm7x3nKj4y2zEyU2lXJ9OsZ7qYTdeyLy/ffsWnlZeT9SR74815
A8BavX6fi/6LS30kp3ulzotExUtIfF5OlbmyUMLZ3z18L2Wui5E+9jfTenhlqGRvXpHrMLqceNcY
vuGqSJTF7LcJkLivJmFLWYIZ0wpD2bCJX4gqof9Jc2OuuRVIRxVXgZozsKcYQ+mzYe+liJ3fw2rV
JRKONcIi5k6ObdhgkMGUowvhzHlaMnWLGXKkcTFNRZAvPby6gUMZIE2SwxFjD7TBODek8O3TCaC1
STcuQ6Jp0xuq2mj4GWJqtQlfrfCK31lYfNVpEUorac6TjfqJJ5RnFL/VtbQa4zGo/56524c0P+Op
xqQ5rf9Jq2Jx/mCqOXwaM2+IoW58AsCNAcPKinlpuSsjOb79q5YjWtvwjcThZp8/Zri3AU6lvAr/
Pq0+up+Oj/P+GYMWyhmVIu/GH85If7eKUP8C+oLnJq3MFQ6fPPkDvCFprv/9XP5E1xaNeATFKpSz
c2rMB+wJnhTwlgEKzCssED6TuFu5jHkDDPtCNZ2GJcqfk4c7mVNuXgDri0tp6UyK89H+lANsg/GO
ZjZQe0X0/C4gy8AA/qMDzaKXW/EX7ot2PlvS+g/0D1txsNWCp1atrov2u57TEpvrK6eisX5s0RUw
fUcSk1bcBDUoItPDFS3SAvF1xbWW5kN8/ySCZPLVOtN1n2OOoYJ2YrRqP78W158JjNlF4fFUurrD
CPYicrkxeiDEEQB0uuwP1arZjGFrn7GCKu1y+ce+A6+0dICv1uXou7CXPC11De74baD7hKvwUR3I
KOHgvcAuqA6cYPPb54O9Ttjr4MxSzKWvMpv83H0lfqxnhDC02ZBiZr1W4meg/FyRqU/iaSyxyWiE
Jty88xrJSaikOgcxoF7E084gTc1KINQufHA4lMF1oUc0RHBivssVYok5o416foGedtm035CvRrYu
QKhyzmssJwgMc2av7VaAUPyjOX3EC2dXzJDF1AOCKUNldnLKJYD75B2/BZyEUyhms6qgIhXRNRRi
SeaHzGPypnMLn08jyIHQUO4JVrZOuwUGTelOm9DZnTZNSCWO2jAC8ETIw2kFC6qwmg1UTF7Qnx4e
WwhhuDNBQHh+IIgsfHg1vCbwjMes2EaSwGl0IpNCvOvrgLD2dQB9hTlPm42hHHRWgPx1T3t2qLan
cPvErYLvDHUD2cnL2g1M8MBIABjYEPCbo8tLBAj43g/wHfsDB6OvI9+36gChKclKlvrzSunxYQZ0
m92d47jwYbBBAHMgCzOZKVeQtN4eP+NS0jXPBSAh0vIYETEiXhQpH4mJfwLV3ZIyI+MkRcl24IIz
Qq2+KQAuIT/ACYMnCQeMl2ZMy9RkehCG5RxFggnbb7XJHMsveLEulKgu6beyx9TE2HO8O9w6CM3Y
nIvIDRBZaFPzaWvDv6D/XaI0rILbSrJSYEkCxynwxd+Dpsl3sSEh9Nvx7hCSJ1S/mGLhlMVsdgvy
B1rAqqOZiYRR1oGujrYN8AUsC5skh+lxqtYewdMFLyV4dMzkfl9btIwPOHIv8XFBJUPuIkAdugRe
yNhTXVzDB9b8oCfvXKjPu6SenwWBFYgUqZ4HyidELcgHHm6eStltzrf7hqggdoNvI7sm6l6wFxTb
m3wLEvc7IUntNz0hFcY7rRO0oO2D8V6iehO2lhSxESN8PeqJEJn5M5/vLIgZ5FZAxpDyqX1dQDvn
99FXjc4PQ7QTDwLTRAZiAihEOTnwFnzg41QUT1w2ULppRAzAjFubXqG0FkwnEcrq/vNAy+G+mS5n
wtmZCws6swXFAlx/I7BAGS7+PbOuoIF0jjJgnoPUcKJDAEhg48i5Q/VTwwa5C21t5xDhjS9H6cKy
qandedQgRwpO87CfMkCgWwWoht6Mc4xzXDSb2/w8b4hNAa/C9pmZNjMXn4ulH/rt8RcgHpCQiWjE
RJDHkscZch+jTo13O+A+KiZ6rMkXrwe3jrXz8sq59nB5OachjsvrrRyTHjxW8KfHsUBZUuRNQp4n
tfqgvl9CowRREo/eGV85ngs4wRvAN3GRvOLAkQtUj58ZLGH4E7EZM+7H1p3cggcWgk/WB9vUzXJo
gLjiA1SugW6qx3wKhoQujO3o0pll3nlF3Jx5Wd/IAY0IPqegIwThOlpO8SFIcpBHOEy4hxlg7Mj0
YTsibyN6M0adwmUcvLOBNIuMP4aqaB4hhu1YcE/BkMkVKBt8De3NBiJeQ4ibYrp/HHjqT4K2j/9M
PdFXb2yY4gfBVsERnxpHo16QApJznaNGKjvflK09qJh/AnPbs4CFb/p9Ui10uFmHL4mdl1WdvJx+
8UFEmxRySOhQjv4sTe5AikJcdvl349hBm1LHd8dB08pzck0Az4CZgYiNjGdMuFa5J3Ai1YoxtaJi
Z/zGzogd0eFCKrsgleCIhS/n9AfFp13gAfiBQ6tdEdxKfJrXLOEvgO5ieeV8k7uEm6IR4QU98U6B
an8bB4rer7vODP/tnlaFJTNRt666N/UQKc9fTrsxogmYJEqh0ivzN8NWMJd/Rx578Z/57363IaZY
/QbeGibdXAmLoWNhubzJF2Fbo2scNGivzivReCo/SgYFVgOVFl9Ua8B5wZkSNALU7pdfitM/gB3s
foFxFDYoPJEM4OFPMqpaPpzitahsifibtIfr7JsgLUG5kTHN2D/59XV7rZ0iw2q73syfUH7e1n6a
dW6LGUrtwLjAMlki7BezlxK7GsORf0sHGxluzUr7xZ8GZ5LPgoEUChgIfngo3kNWa8zPVNPK81ma
P38OtSe+ovHCkd4GGWFImelteAfNAxVgk7bbzcTT91jpU47j9x2Wv53O5eZkAdW0TxHRtTSaLDpm
Djre35wdOW3WVADKrwjVMy7yz22mLyjuzDj7mdrnlXzEUY8J05UWYMtZwknLKT0JtP01JF5jXD+G
74GsmlQotWbxeGAFvXblosSn9PmNMTX7qQ4LwR0e9F4jbPGf+17DqJGJn65ARXp1nkw0OLs30HED
jNkKLRkHRd1TYMukVLtHGVDkrkEXuBnxZVEFR1gJNGBl3BpxjTwZnpSGU0HIsX7w9AgnRo44BIUu
VDbCcSnEnOd8ggedT3gXlA9MG1whj8T0AgIzfEpQYLL0MN347m+ucfSnV8Txj+kG4rXewmsPjpXb
UhopMrvz4xIBY8PjBNqFJkJbfPrSFM6sevVWFvXro1TTKtDYIJEqDKbfznu09kds435m/4ZZpJHt
shVcKXwAOC3v/IByXJA+la3B+XQU6RhLUKJruUBb3xRhOjJbAqDugiGhugF4BsbC1xadP4SXDbIC
BV8QlDvOZWOcVlBC5aA5f7++79q2wT+/H1ZNWM8cbCtU7+9tESU4lZJeTyvGfAXKqOf2huMduzcB
eUBv0a1fAZ9DQZ75TIAYTvPxsAwYH35XLjBNzUYNtaNdl5As2lXz9S6cHrcbedWzv9LMLJ/4h5+8
gY3fOGfnCAEBxtcO/iP/4+m8llRVuzV8RVSh5FOUaMIcTizbbiUokoNX/z/MtWvXcjnthAhfGOEN
EyIhYmDAkmXnYl4oZdNXNaG5AhYtR7aZ+dH4SInaRua1wIcGajqumdj3VSCFVvX+ms+byOo/2zS1
v7s6JDQpd8mmqHi6OoNaAXYsv/2Nxn8i+6XkN8kcwOvTYVBB2WBBpq92XWBEDBZLhDpEpPqlVLCQ
KiAL86K79xqqRXSrER/xIY5RQW69b+58fyKmPQTr5V96fOOB+pleP/YzCeLxj9D9jvmhilaljVDp
NTYVGq7gU5BLGlnRc4toBMlWIUzaDiWfAwaFA7qzt2w1gfPCmVKY3+Whm8f3lOyQjb1OZlV1DKMz
lDM9Z3dbaeImQ7zI9K5TIbOkt9kL9FN+0w4eYUry1VAEF6x+ZI+09bhd69I2RAhTCUYjloMQvwj+
onVVZLDd0uE2fBa6jKw+rVZuTodLFm4Ne45RiDRJJ7hIboe2r46e+oRaOroyMbqS8aRSIJSCK7E0
aRUfOxbYs/4rntFqX1T0vWhXAZY1lu/Gy5t1l7rv6PBudp/rJkN/hgQKNj0PwkfFV9GO6BzFErdD
Dn+1DcQg4J8M6dZ7UR2Bv0fAsX6QTQCmS7KY/fBUHLWlsYwW47MCkMPszxWjcK5gcdFZxk14AR2f
FCBuPlOtmBUz6qvK8rmQjKm2gYi/0Zb8v5GD6sfY9IIpS2Y2y2Ycavg9bSkHz70aNEeG67b8e61K
RwIozC1CpmJRzRpX9bjy0YJDu8WshhHTT7PZl1aHYJbc9mWONNW5mKle4Y7hYP5UbrQY3uFKQUJy
3vPaBufmlbZiUQmi7FC5HHUGJtxPFlcbRCE/5T8WCO9zz9zXjwo2uXC/4Jlt7FcchPX8yKtlq6Nr
zDbtD2WZkX8FiTMv709vKKG8T5k7VEiK4f+ZtIyPkWBSQoGSAXwENVf0ZqYxC6Rk1fewsFNwgxCE
WH5pn4BLZNNFX18O+HhfFIxI2JCbgSTHR2ht5ukUM05P2jz/DGMq4LmLFltjvQedfkcVZ2o6r9tJ
j8JfvNPkRapcwgpJCBALtR2S1xM7x84YUyYkuBtvrFlt52hVQKeZWp1uy1fXKJd6iwYWwsbSNNIs
PUJsdhqhv4ZnL8HK49VbT4YUMDr0bpbEDuWYqecIBIepM6KSROgEdhT5Sub1F6xFUOa62+vXrdwP
gmoit1eMZqNm/2SrYV+zNqxxT0tEIwFaNrgu8Hk9IK6/z/z5ORuYfSjmHzIi8/AgOZHADkrtS09s
/8/HJTMjjww782Vuv5OQKlfZml9iiKl+x6/EKO6GYgaiPQ8MpL3BmnwCoSW0C/SV9JD8zuKsptyQ
9kRfJH0cM+AbmWlWoLcn6aEE0sVOBevL7PDPGK/jW9XuHUwK6ESWSF9O2d/3/CMWa0w+tvl4enyB
Cik81ZzzI307qd7OBt4peEcMYiHEjKffx7kBgY6rydM5vnepsS2H0tNv8QUhvxh8xTT3sytETwGU
Ysam6VD9W08CQ5s2AlqQQVFt+pddUwPuxruEA35dnU7EWimIQdhzOB+aHxPn+9hlqSOedDNpzEBB
aO65a1EtmewpxprXu0DYocimYzhBRz7f4zLbAxsYfny/3s/BMzADLKws+W7ITA6uddqbEzqTZvVI
PKNfsfgRfWkENMJoJ6EwByHG/PrL+PCEcOVXhT2ZFIXpQ1YyaQSuMmsCPaK8N3432YmdXUtBdixm
MizzP30K5O+ogJ+YhEdcIoYYyyAhnSpYoh3bAP+sx5KSrk8XmgAsRPvtJizGZAKoPXncPiv7LOVs
Ub7P0AMCJgx4K0emwBujpr8aFZOE058+MWgCMkbpNIHoa339+vQG0b7osG1lCYPub8/79qg4kkMH
7QMTZHJFA54toGEmvh1jP9acNmBKC9IllReaRQGTeP7SkHpCUj0k+bqyEq/G4QotSZOUizil8O4+
0B2rPk3Qblm3hPQ0uJzsweBXFk8kLsz4581w/1M2lLM+xkNSd09kbh2p/GP2Ze7T6dDZBNphviun
tinTPokDe66ttjDUaQMkvCCn1BzpgrmCORrtvg4aqW4bOSj22yarje8Y4He9jIjU9HU0qTVP1VcN
UnuUy3UC6/do6lfoaqxZ0sfQJ9JJPjrsMJp5/wYNZCRADvjw1N6zcZPYEg6KNklQ5hClZVl7wkX4
K9y6HnwN3+h4wbK7a2zy8YXBp10tItF2aiCPDaiMKdsB3iznOQgd8A+1E2VrA5YdZfv9EwyF0v2I
uMeGIw0TFbj1IB8whdAB/aPOQ2N+3QmElC8yD0w/B5X2ccBaGejvm1TM2KEsUI6j3pjIdbKJvlhH
09soLm1/Uq6zigwmB/L4VFjUVgmssQ8NCn1kyx9b+1JWah6v6KylLliimMwHX+EzDpkEuAIPt5C9
xjX0c0p6/LFFwNZ2r1mjbg7lWNjIofrvr0bodmJ/DnldP0dUlenOuzHYS1cfa3YOi8bYiR8bGIYq
/I3av7QJeGig1yrS25e6GkuzbJV+5xHkASM66/leQiuc7AtFIVrrMJAByVDTS0w18qHFpKjy8bH2
r22oesocsQ8ZlCBw/soBeNdaxS94M9QH0mAARHAqIrX57u8dun2z+sT6tB54OmjuX9ocyy5TQT8p
Jwf1KsmND5h4X7tfLfLFekg7/QoVvPF4Og4RFp6Gqo3DSndr5N17jDYwNomjHm04NmQd8kHl5jr9
1nwlAa3BTxhX5g5lpB6z4jZQemdEf2aNSwzOR0uAUOZLn+GCk6nT4E03+rVPjYm40xu/YDEoJgH9
ZvpkFm3a5xJTr6ti+brukqlKxkT5axkDo2VfuX/oNIV4Npkx3j7wgiELmhSVrvMYaEV7HtdrQT2r
prOSw0BPzR/pAqPoFdqjZVYf5Hr9plgDjQixjvsNtjKrSTtTMFcdTR29mbEbWH8C3ZyrpSOlCCty
8sfNqcn/iMFjO+lMHJ/2xLzA21yVwjK7bUx5giCqiFbZj6HZfxpi5dW0q23Etz7Ydln00OmFM+on
OyzoM8448kM7V6avFZJXwoQoeAbPffqhUE4/waWZQNcitOmzWU96Xk+n8sEd7UCYYitGDBLNI/6t
/NIGWGVdbSYTnbCx9+VHeBa3LApmRkBHCAGy8BNCIdPXZbsYXadtZnMGmkoShv2qMG3wnKgXagB4
6LMP4YjA/O/2EEEHGvtkI28F2ZbohH3u0csWLuWUfT3+3OunxQu6bfyMeawjTJqxaKnjX4ld3U/m
LBOjtbRuT8Uj3hTGtGSrreYpwQ7cD9hhvwAgCIS0ntAs1aYJuZu8q/CtJJiUM3j8xHbR9Dun8bJh
NsN5bv+I02t5Cn1sD4pBP1RVMKTBrnGsia5S6yoHWkgyBnQsuX58dSdpLehnsSIN4EqEEiYYsWlH
FgEz5J1uQqHeItRZGBsC8GhNG6cE0q8C53LVwxO2yVB2d1IkM/r4V2h8lcYoheTiTKJXCb7YIwMU
OoWwIpHPOHkLWsnLXMxyczEdUAeK/YMPBhkbWRhYwhwGy2b6XgJ7LsGf2f1t0Dsk1kPFnrUBXh0A
wnz2iWaGjT4BaXV9ybbk7oBAlRPY6Go0B+NpkJdYFVvra4xbI7jlqd5OUvvdDp5AiBRdxBQ2JGE9
5XLSfd6C8DRCdbrbXuEIfS8wq+PxoLIQK78CnW19ej20X6d4kx6lm7EG8sW/+grF7F7OCTdZEagl
0FfqwTSO3vKslRWoEyhxpbs8D6Ce6enT1nvwaYD84MAgwqo1Mxm2TIQo2HwkOO9mL6BwRTE2/fuy
bCYYooXK75ueOAsDv/Wq7U6efzPqdv0NrBZ1LTqS7VLNZlzsRsYznM/gfgm4/DHtxSr4o9PVbRMX
MmkzWrJai9vP243PA1+akhWFwPyg+5ldXt7vn6/4U98k+8VdSMUAdazR1UdSgAHBJASaLFrvPKC6
/q7IGl8+gnoywCyin5iuNOYmJcKGK3iizP/mJ15JM/n23ii0C4zV87nISgg9yj1S8Rwep78gkdTY
16BEPZs9sP1xysY2iPimMWkgoeI3JUNisyolRMo37THaFuIJHyScxlvZzVdh/DsSOVMKclhYSWh+
bhLl0jXWU3Yrwa0AxAWF8At85kkKIBLff+wwtij7i3AkTRjLOLR8jNkI2P6jVRg4cpAXs+xuXD24
pl3plwSg+CSo7xnt//GwSviSV9NlQZbhnwHO21N2SusI6uGlg2Ykpo21QwLeqvp7GQngHarDbL0Z
yY6TVvgB2WxIGrRtwLAETSSCELDimY5QI7ULFGJ26bJO5unbLRb9rqUPRiKn30IojaqJJ9uuViEL
DqZTnyPIf45dYFdTrfBfuWKUAarVo/cy6LydFaAZOlw4HFd/8Y5+IlcFirUdWi509zDREB26NajA
gtRVSLxcDbHiqXBMf1EkRSoTqB6l/crLwBcWP3yDHlP/3Mn48VHZY6nLFuCC4BGNpIeILgBSBNAv
dxQNKzoTvSv2Xu/ExBnMOmK+v3HoaMFsjDZnR9Vo7BwAluJUHa+FqRs6WIJSUPWEH0RrXKA6DqJp
iDKgrAAkBhjhyNMXcIaG5WCBREniP5+T5od+71ErZ9El3SYWna1uBxcZymOqzGsIrezQEyiAmNt8
xj4eeKVyerYs7XhUMO2Oo18QYSJIPiyd6UhS5WKkJ5TCaNeDQ0LN3VVIKLMj5WdNm2ehX+cWQr9j
uLQItQMChT5PKIXYkPXp7etKOnQATGGiMEyUAVEIeY2BAwsG41pK6lIc9D9qZIt0u2U3pOHN2H/Q
IABbpSd46fl6FsDNRlqhoREF+lA7vaPJm8o53H16mOXtKwbUxgTlHsd7ZmY+EVawmdB7nBNWjget
G4pM1NeldB61ByHA/dMAZ9H6aexIoLZEE8nrzJiQNy+M4AVr6ksBRjel3omuNvard7yRWX8OoBmp
0uR/Y0tBIwWvYcbFEoia9Ft0NkiC69i9Lq/IBS3q7f6jzJuN+oNmE6bmtBiW3INkgxjCMkdNgDp5
O4fEg28ravVYMbgZS9vop7yem3aB0L0W+lK7KDVfo4mDb1TjgsOEXAkYZxQMuDzRRHUVBE2Kj51u
dWxuIyvrJg38dOzWPJTeWyqlTCKJAvzk+XElQtmni879KwQv59YDu+SfOQEmswj/wyRsxFmF/ZBo
c3oNZAGAB4ju/kJmBtQPRpCrZvyqG6wm+tSrf/Lv8J7CuUUyHgPNPzZLqZ62kBqX3eEVTSR0ClMH
0cwpARpdhXzXHnGxRqdaxm2nOo0XyHaDFTJckcbXC0z625LANNSL2M5szGGXyK4cEIF5o9NUecUO
MZbPUu3ptBoEs6qv+8YJ4AesdjY6zAwOr911DTjkTv9EXWg7bcclQK2ygPxceGCs4EQtoT8QhHr5
IrRTnD+WjG/uTLPLN9XO4A026Y6uNcv7bYC3Uonm1jPMSKz/6Qv0B/xZosFMiCav/IDcOEU1c1/u
lVm5LvBN23TbjJ7FhjrHfMzGkbiVV+2y8+ucnvnNdb0Rjt12vAcoNquXWfDZvN0miMy33+8RmPvj
eT/GZmeu097b6QfK5VR1v7sQjyHEgjh34plLdu621Y6+76lgg1teD/2lRHuIejG/AAQ6msbnakeF
uj/oD05cmX8hYaKfsLlCtTqxX3ExqcISheHskdhQ/3wwG/mtXOcXgCjrbva51Psq4JDZLxcIpeYR
Ve9dsUMVw9Z4B/AIFMwRC0l/u117a1hZB4f1KhghY6MA+XhuclDTMBmgJkabwhtwOOFdpHU3rXby
odqJt9f5OpxdMnLHqlkuq0CZJ6L1zGcGoAZ0whQbwHWy4Ym1lFPRH/rfP4Vb0DzNLxcR3ZRbeUMb
CW70jmSRVY5oSOReE2Bx11gizoRj6HgMb4Nc2K9wNHA03qOylG4r+mGW8kNg+6ZfgkbjDxE7/+rB
e67PcGtgQoEeZ4phd8j+/rznQYG7LYtP9ffZthhWLHW4ng+8RVHzpwoVEkeAXiSUIFqY0CCaFX6/
jYHSLEOijbVKVsmpIrfgdwf5NOrN7yPcUNm5tXPBCWc9NuP99jqLefU8v4Pot56/DgO+RQSn9XWu
c2VRWNR9CVipBFSIUExGx/YzefpIsWz0X/WMTKp2rMG8j4ecA+nHISIPzTJHIMd63VFv6S8JbjqD
nBVDhX2KzrgISR0ZQpB59JNGJQBPWjaM88ag/VgeElc66h8bEQaOTjsq/wtX9YJMEwY67PQXX5A9
/Xz8/q++jAeu37BYP+iT0J5G1CCjIU42QYdQngDPoikAvqT7zf3wPBB1IPjy+2ymFZI8X/PCrklj
+Uu7rfRKdZCXoHXDLgRqIGLPZzdHd4DKIMEpAB72BGQNDFMF60vXFdPydpqwlAyAY5eoAvFPVs0a
SgztALqQeI0CGO1g5CBWPkF/gO/w/H0iFDKFl85z+ULjKNANC/YXCyh//o3mNJXB6b7fFoSY93fB
n9OqxYsa/hkUTCR5oqPwKwX9RgECmc4bYLDwJdCYihx1KyxGG8BjVGDCg+zpu+tOWb5h7w7qhuog
8Ie2Rww8BBbpHYhEKCzIB1hlAO/BCqKKiV7q2OTT0/IG4UDHmmvAHlmACfnH7qNTOWgC3xGMWYNs
s0KrWKrjOWBFDSxQZI7RZjO7B31UapAFIzXHEM9sHpRm+J3sVpV2snv+fnbL6pBR19yopzIwclNh
s+W9b0YPT8VU7xRzqYCWNXqoU6pk4dcr78Y+PF7n+lxaPHkjqKqP8hTepHV/H9/J9XKWmnt7zx7S
Czcgkrv2HoqL/kSpty2tD0EmkpWUqiBsmd3TpIexMfb5qTxlj4RGJJs4qEpOOSL0ySZUELE+ae8k
PiJUSj4P3F/FpPr+erweuWHKpKLA7i/liX+iubK8etLQ/8OPG6rvwCYEpWcV7tWlBMnfJ2MuTg5s
UlmQC+9AxNGJEIPv8ruWLvqTMjCuL4vrXFtqADBDt8SLAsLmETso9Mp+IZyC3slJIxngDOWBngqZ
S1UG6G3eD1w39iMyghKTaBAwYGeAMxSYlgx8Tbg/+dVqKgc2XE0j9t/OCw2/DCeo6+l4TNQTxFav
OSnaCy6nhTvPCCBVuEESD1oLsB3+srxauFTyBk8YNxT0gPdCMEPLivopiu3EiKR+SFFRWydQJVkh
6oWjwbw/sK+wvH42MXqwsj/srtxaYF0CsiVDfw7CDrZGgMr4Ev005hwMQIAJHJfPRJkXtnWLdFy7
ZUrp+wpwN4wyP9m8fnV647f3Qb2gCsgpqZ1VnEIgRyyLMVaN8Ng9Tp/WGtsQhEw8utCwJMzJTtGh
/syAdSGIiIIEkzxmsFNGRu77NWHmjxnKOz7NFxxK7KuI2OJtRHWSLno1ASBOGKMXaJoMVhwQKFTs
VIThQXAp1vYVlUzcIKijc1EX5Qyfkmotu4AWYOrbRoAqKoQStvcLGBg6BqCuolt/+Hr4h5J60W0t
HbbTr6ne3jRp9wLmNWDnsh2IuaHHTCpxfy+HK/2A6swkBqaDnhCZA2vriTwBonk6Lw9gt4Rt9Mju
UADd+PS5iH9ECUFyG64HES1AmjGkF+3EPWp+cWmFqPlbGtb1gKzbaN5fChwzi2DAhAMFEA+g6Sas
pi1WIBTZ8MW8kQ2SzzLwuTcA0HfRknvJRR2sCEhKwFQ8ots1t2lOLmQruXx/8j1C6IA6dj3o5mGo
8GkAwRFwBfKekKQ4yzcF/iI4DVBaDcVW/8N4ouKPZsILEjR4I7vCtf49qDdTZ3yhHE7Ja0QcBWJk
GOOZMZCes9N3yyvWW4R64fgyQKKHvq/9nhwnoW1IadOLAw39h4//SaZsM8YsC77stFx4gnxWDBQh
vibpDbvKoLAguvT/y5v84Jy5tpw/V4RBSIhHrYDXQLr4RGwkZH06JW/QqExRhKORPrljSFHeqnl7
uNQH8fHaYcF9IvAjzKNpLtzDXxTzYGeE2I/oIGTbv6cL2WXFzCofoxNvFv5yt6nncJcZ4kjljFGI
xkkJrel/3hK1Di7kn8kEYTwfD/WVflAv47IxqYHjUQ4BBDIqXPLMQYv9wU9iQFL/EH2I9bMZo8zD
pIcVCguHOgOZ8/dOKMapPb2OTCw8FGz05PD4ndJeJu9BWOUKqBYYD5pVBOQGQF1XZKKMTFrueTvl
gdLLoAr/D4PCeYA5Y5VibqGkAeOchg4emfC7WU2ZuggNwHgb3OlhaiM28N8dHaY4l5bPzabCBm38
S/TAavL5BorX84FuRnpn+eWm8wtknB90XaKBnc0vMzhEdmfZFiSreVoFbGQNDukEbZeQPIIaF5h0
WguUq6UpqRbAXMYMp1EBde+H4cXJQE/gyGQu+ACRGJ1YdpNkC5m8Ri6CNdcYQgHWiIoNAm8HBwg4
giuoLxQwcam2mvLH4sDuiBLs1YXvQW6XIsOjnbWaYhHQqiUUpi/2FC3+orvCLnUwzSgpoYZzvUXV
A4t4CtoUWUpKI3C7+rE37jbIUcf6463gUwYxisKvvvjAKrLyMVxOqHXvcon6pQIj5z3r0tWAzv16
Um/Hz5mGLY24GCvQSh3KcUBuKWkB4BwI0i0xXBa8+m0P7VaaH6gg9OrsDc5+8/xe5ByDvRVL6IDy
ExeyQ70JUd4/VBVG2ZOO/z4sXUQzsUnRK3RdgGEeGjKjIaFFN3PG2qCY3uieH8oHwQZjjFCe91ZP
3RujMvgKkakMd5INbaVAuUFGMvZSY1+is2S3Lx8OvITwSJpc5AHNmMZ7RIFW0MxZ++VPgNpeU7oE
5HMRT5O1mtLVssZvJDF9jmkM1joyHHJAl7B68acY9bYE/lOf0Nd5oGIQewMmEZmTWwEysAVayHlg
r4J+VQuK7nNgbuWvrXH1M9SouujWBdg/D46Pg9GdcsavZHydwKaKUSNdUE3RpGnpKwipIrobuxQh
9QJ61kpD+T+bYLKzKsQRGjNwpq6Ri1LBYCuDHfkYs+wpchChMQBPdd9OAFJT8nrZHWBC9CEAWAJp
BjWMKc4A1oKzfmDV5eOTUkLMD4OqdEmnkaEo3TVme9l5Xd+EZE9F+DNbj5OjYE7HBypSHDalJp9R
BWfKWgsx8fFHoAdP3oEITQnkfvfy2KkmrBWU40IEJYrx/Ckcv7o3Fj2WPvDZ/HJSz08MfICfhwtb
je68qcEmbg8BDho+et0CoofZY4yS6mHgCNst6yP7LhAhMGP5ugcNO622T4vimJygtKumQGJvoHe3
BUOIOJ5aN7cKDG08JzID0Q3MCNncOZRMCmxdabV4XW9XWs3M36ajcLIadvILMrFNBtrxFRx2xLYK
ynljv8gAHtjsW4wjEQyB4Be6+9vSgoQMiowvTnKICqFhXEwB6a0NnTLa8KktlegJdyPI08NyQmhB
bAbFXL0MhczEHpSlJiSKUw1gyqAOeuA+MZIamyfp9L2zuIrGkQSGdTksh9VwRb2SqZ881EWnOdDs
WFIaKdCUOcmgG9mz0Y4YY/PybKIHvFG96Mhl2zWgDxC3pX4TrliX9UsZo1aAQTksd87M6a0Scimk
PSyIR9sZaySBFrK3KENkdwW+HiEIgxBVCn3BnLtGnibY1wsrBsk7qOE3YkuyBSK9I9Zjb5HAYHjk
SkLNQn6F8L5jol/71bc8oS6P/hoCJV13hDbNVU1Ej/nN1CbWeHU4LAAppmvEpcAIRXO7+3MTgs+6
cAvRUDpw74hLoDtzCU6EuURlA5+bFRX5TTAs/LgPshO+WSzmxIUMGuJT1n6SnMrpoBkCMQZaAU+g
g3QDa7LvB5s0PgN1MaT1c3H3gfaQIu1poWoeytP3MYkn2PXwQ7RCEPSAboaB+Ke2W9EvUdnCsgDl
A/Ya0L7c1DX9AhZRQNw9ZMclLY8BzugxjMAfXh0g7BSEyElZWwF4alOj9CW4k+wkn0ed+oSSKBVg
ShDQk5BREkcEuaNcNlcKh17S+K/Lpl/0r7APpQ+EWhvgT7ZcESoFimygyUB+glWj4V8QzIJnDE+V
MH2KzjebNnBoOq8Awg5niHBYtUhHkO8x8G+d1KKlvn2VgS4MAqSD0He6UmlaUZ6Ag82SO9f4ljdk
x3h+sTIONZgnIMTKDX8sw5Lph69G5kmBN4IS69stIZEkFqHqBpVbAIlmrdMphPT8g9YN0pnavfQH
ecnKo3ATT8dnvKCYqeh4CCvg/SNgJFR4TmgwALiUAGSKB9pP9RJU5rf0kGlNUksqmCw9ENHgDVh4
CIhxgnGEjWbB37JKd7Tq7kSn/9aM+kbJcwjrh8/QLml9Wa+D9jCW1GlqDkXNGGeS3yGYtZjgeLeL
HiRwpIE8Th/goywuBt4k+iOGCTZe+7ly8mwDaEddYI1ku+xrU6rHOQaB0Q+Yvhd+BGZTThHuIdoQ
puj2jegVly5jgJld4xm7rvd9PZXQ5vIQJHGp/z/6w/XLnmqhyQRmBRgere/yQlhc/Ii7EYp7awy6
6OfeVcDT16Nu179n8NZm6kcknr52o5bOZoBMrjrFstAdASVR/M9J8ott/bJQTiqwH1Ut9aYJU65Y
edO4dElHkOsAZO25GVevVk1aeYu4pC8/lC5xMOrKyejHZvYAFiAHRKAT4VlK+f2DXeX6r2oQlbbc
02Gf598VQP1wx6JWML2s9/pKLvqyi39C2Vw37h2GfGQnKIug7g8V6I7xOQURmbYIMb10v+JSyD2H
SmBs2QIqDFwIQCA1pBjeD7oUWIMTtaCcQMzAg2akRTDGK5aI/x68Jn4cIjRaA1MEkPkDvvr/x9jX
VuSQyDP2Jg9SOxYMGlE8E3HyTIDJegij5ELOSZhH2EoE+gGR8i9lYNZTMuHBd/g+cxfeAsI6juRB
HG6Hb//3QyLHjyVeCHV4IPEAg5npyLu0/zx1mQ5khJT9EcGIHKC30Q+rNiITlIp4J14TXPKCBYyz
4wVJyxAJc7h2IIqxuP+nk8ALHhz4+scJsxqTEDCVeHBbyDkI7XkOsyFF4DXfZ2TzHVRv/rtifLOx
Z9hnghQj9aB8xepEUJL7NK7+XTwuKC94EOyysPIe6FQx+nlwLHZ5ttqee00xGyFu4riPeTlwI5iC
HJx8hvca9tLHCIbZjr2+QviwfnB+F/nBERhI6MrTjYOy8u9IvODecM945tPzuXhzXnAvePCCS0zc
zN0hF+COcCV4lAMThIudtcMDqCnOTRwDYPcQCvw7Bc6FF2wh1L84ez4vn+2/y8CL9w2Q64LUBoQc
A2geOv2MWlazHJia/y4Nd4MPRWL3f+eG/lO9p1O1LW/saZQaiEq5ghh2mxBAFj0rxb/yFyA6yl4E
m8hjcLc4fT6EcucqMxPe5uCSgQeOWd3ZphiA8EiGocgI4Ov/LkDHLvbvksy4A/yM0+XB8OXC00xB
yYcfI498gHYCciw21wzGODdpv3RcqZ02ff/AnbcqwiU6Mkheo3I09FgIrtFp4gURA6yQWrfzf87E
GF7R7BFnyv6Vm3zBgXjm93gxvKbGCz8UWgdDF6dmoMys3xTMj82+ys0MXhhA6X/vwG/zmmcOz7Fo
7YCU5DvisXXFnyfuA0cuC369vHExrHV0hTCZQMnAEt3C7xzdFckIBxI+AfkS/5W14QP+g0Fhjs7E
Vq37XURUyGML0YADFaU0oFBwfVwPBsBXCRMBxKj++iX8pBODTlyzRH2Dz6DNR+EAph26DwfuRmFh
s81VaYGgLuJdcmuRwDSNeVGu6ERFW+XAImscImk6gg0Ck0EEivHA/TgYBOPGy6qxaL2hh+pFU2Ee
Ib+iP9DmwEASuDP36xHPh9qQ1Tuy9Ybziy5BxG0H5GOjJ5tEHsF96SOBSdcyxJIUaZLXQs4dOnXd
HxbxFMN2xjlG5/wYQ/fEnaxwuGbyEjujbxA/8Z6cdOcQ+QAaZkg4YdlFd+EvAc3jlyuOEsr8MoSg
nDj1bHjNItry96MzbVZBnKWNiypBi84gGEt8UBHrRARaX9eWscUpYMnC8rnpIBw84URqIKOcsCWa
clQYnjDm2GVJmS/GjjzXiygkzwixQ494X1i9YYI1A3OP5V69DpGjpHk4fbIaA1eEh0emMcbxiOtB
khUHxOLo8CeJC7t0kuVrxIApAjIHKfSrqMUOyAgUjygskcSVsYc9H60q3dz1E4DaJBzdREaj+JY4
UBauE+ezL+DOQXUEVCG5yQJ02PENRxngv1cxuMwKA1kK/pMEYku47Rtq9yzFmXW7zpPYsV7JujtI
FIFBLuw6CGl2c/tSC0fly+z8zNoRLIFdHgfgJoXF3QTrzGlDwRFt5tA5XyaNF4VOtKjQ9pfBylrx
j0YnnV+noWmA68BycthtKU/r3PnnYBBDjfWNGS9sgvFzSkOHdbO1uwGy6ISwHs8Nhy5W4r5LJrVT
bUEsInkJj5TLg4bHAdWlAvz/LsLT1oCTMBE7Grf+YAM4L1bRHw173fwei62iAA1Uz/nYLutpktD2
JkSguB+v8nqqxs7Va1SfNg8YU9CC/2xNIuzA+WMi0qfXYA70l25zh/AThUU8fV4o4LOtIw81KDZ8
gcCyXiBIJpmvzJYSK0ycsasTWtAZwrK2nCBh/IMyiQ+KexYm1qtd45p5vVEWKfC0h7eFPAzYkg7J
Ovq1sPbA0YJMgGCBjco3xNbUBqKVj2Y1VvMZ0JOlSgM33gmSpyCRqk6gQSC0Kmn+p1lxJRKm32g2
yGTxIbIp3+FZHd7YbtAeea8H4CMaXEesiym1flxRWeCtKoCpdmI/NKx3dfzMCiA0sfNNHFF2R/UK
t++u3XXcaJmqgy0BZIbVjF8fvanpl6VyVjauNtqPknWsOCgXjRq7gbeNiftrmWqLpFvgguKWwqyF
WhMHz3KLEYbZYBQubEavdUnjdg1hX2QPnBTKig8EuvMZz+jAUsrbIIBvj370xqNf+1oZXBxA+E8r
vrJBUOUQJv32E8Dky/7kY7p+tdhdTZ7JYFAdovRwLgH8P5PVF11nPL50SqaGHQn08T3s31/JMqpm
6WfzUoNX6xVq0CKP7lZTJmlmN+9TKO3JTwz6xmwns/w2rLD5WvcJInIayFt4PnVIwXtObJtceIrx
OKwAtpkAwISJBt+R1P65FcqtgL8zXs5etJROqNOOdKds9iR+ZHraFr0ZKuQNftorvTv0XivRwxmg
EM8JrdMDOSqD8nPsh2wPbHs1+z1QXww7ckVFoq4KIpElplsj0A6cCIsUdlBqPxQa88F5tUXjLGB0
dJOWQdMs+zE4UFNIdlnhfLoJfQvIywc4Wg/yPo7k8T8lFwpIiEHxXD8MNBYAk3vVkQZKfwHD0WGx
0yvL6r0W/9oDdVh9PYibxShGfElen4P5qGaKm2Z8kLJ11x7R8elOVWePr/NBFwzNldZX4bcy138+
up1Cqm1mbzBi4SH6MTrlJokzPTWCdzsX6c5pqSUws9DYkhEFlwM1P3+++iKdjM6A3ZoWHd0UquMu
Ual2vvAptHt2PeRrtKFb0SBNTd8Y5Sdgwc/BZj2Vl4RBNyQNoByomcU2kEJP5zTwzO7mbCS/wm7A
0SChUeGqyXaM9EGZWYx9gFHGTvp9wZX6HSmTp+Q+RxO1OQyhxw8R3FcwX4v+Z0yNDV3oxnsC+hxZ
Gkrym690FHUbvBdo6DodCmn8vHj6huAhtHo1pk1jjWmtSCsBmE/s4FvAKAAyf37WwVtb56OJAnsI
pYvvFNgJklKoOOlkpfC5JklkA2iTYosXL4UhvVaCTAlieYlld43M/2j2FGbldcrn0ggnx7N0bDP2
BfRBcivKgMqs8w9auLgkCucXQtSzFiSnOISchOgKhd/HA2QfO9Ccfjls/Y6KyXB6HLB3C5pMk/Av
o1VEHOqNJqK5XoMNsT7oIX8m+VYe3BjW6duM3WU8C2nwXz2dFmRKHPmcjtii7X72juxxZoW+Bj+t
n4OPApbDpGV+ylgQy/TisDeZJZCLalwsfWVY0xeY5Mmi+fLHRzrIe7AznZO+poJTEMuzUFkVhSAH
8RhssE7/4+nMulTllTD8i1iLQUFuBRkFUbRtvWFpa6OoiKLS+OvPE/nOXttNY0xCyFCp1PBWg4Ud
zPsXPsXhFdVFzSkSNRwuZk8Hu+8Z1n8hji25/fqRDIjnqLl6CDMnbXgYpcdvKj/+aPvB9rWW5wSr
fc0wnUuatE0Hy/dCHlZThR9hJLFuuKHTh1fBseBz/7cvpq+9vizXr6ha2OjMQEv+w50Zp184C9/A
cmGhLZ6T+5SQrMfv/CfbNumfCwiHZP9F+FCAdqHgdLo+AsKlbh5fry85Rqu0gt3sIxGH41vCzvKX
4YU15UryEzMo5PyfRJFSuHCw3EjwhFgjNcMWOkUX/ImcXQqJ3IgMH6MkfhLZPincVCravXxyjy6m
w09kw/gLuT43fOWmQIWJKRNbPFz1pwZSWEYn57Hg0O+gai7X3Q/k4PG0VV4egoEygwdxwRK1CF3+
Xe+wju9hpPH5mHtN+Ecb++fuDco9Ynu4EmAmGFrOakggsb7H0AUt/bxVh7Fsn2f56rF5w98I/Etw
eiAhq/P6luAYjcjnSMbLRAP657SDCSo4OEHeGVT8ffcXO//BcP6shZ7UukgsXPPrvcZi1NgbGx75
3DG1aB2HBPy0aUaOdPVzNOi6nd6j6+gr+pkPW1WTMst9+oefhJVeenLu7mCbbfsLWdjGj24T+JDp
M2XPWZzjx0hPMw/g/WkzaeHRsWkZCv9zqUzN9WOTf3OSwNzPOznXlA1u8LfsnsQDOG0IJQtUD1sV
SCbWK5+bN/6wmNpAwHFP3Z9+biu+mvvLD69Ot7UpzeVD+yj7qByufO77Am1utb6jq4cKfirgxW8r
OoMh2dx29fw8owo+N2ymOcctdDSi39qapdHNr09TePzlR9uQjfF44145Oe3euXMhFpBfEL3JoSPP
n2PXc1dG5gTFT74VlE4ewvMzj2kbN8zvARBkRAs/R+xWmBr+oljywZMKnx59QJbDwugh7mn2qBqu
8Eh4Vz1OxrDULRm53BtPxqrP/p2BuoErwGCk42R4h99ob4Gs+8bVbTFEeSu3jWEBmWejM0fC2GYY
NtKziiWh+jDG7evrwvkAz5ALS8NmJBLZlkOwa9hvptV6ED8NhwMjzecwyuo77DGI+bwIr8ANr8Nx
sU1ZAWbCIZKG/3tP3qPL1C0S5hS5+ZBOCsVYat3w0KSuU7pfz6rTWypRb0wR1iv9T07IJ/fHNIdb
Yl6KNDqu3He/Hk0x0kwRfuumZ7eOaXu3mvlK5fzKs1irtJcZxpXi3ZVs/No9iNr/qyckmHT4TDjt
f1rfZeLalWm90wQICr6QnYlKE8Q9p+ZbPgYTICrWjwXpTygnSkgkhYAAOXWCRdjfl8CGYOf+0udF
elr0p1IAvzFGnBED240592EtiG86yIYvARdxX5drMVAs4/Xx5/jN3F0bm3bO1qDAio2q2MCQ77ca
NuNyhlEMaE2cL+wLCoDvAZEGQOzZDvJh60k2o3KgF9zpYdFsGURO0oNltRCnVtYS5579Y3bfm3P2
/hNCEfAoEEHssTJl/jJ4XLuRhziIwf//IHVj+cAf5LN86QlWbbd8+Yl+p5quk957snSDC01lTXUL
g7Hgq7os1u3dTW+9ze2Ewji4pIWXE2zy6xFp1w1N1ENtAbWCVpZ7fS1Pr3huoPbiLGLlFnrUyY7d
AQk/sFSQNecvYfrCAHDlHRhhWkxruiZ00wdEyZTvDDJggswTJhLjColp0974tKUY2xGyJ3nNX7qv
6wsydvVww4vx4UZodz6iG9rzWnBhCtJppPHYO4ffLd/oiZNzSXmAiuXYWtAy0EaeQ9m7TKiDh8AS
dyuOrqaNJFKMKy1jV6LLVCYUBzcsoZCaTbChpgSj+hQWMghSlthhey9kNY4KaAbdc5vnhC9AOIaQ
6mYI4WbXJdygcUZYR5QAJHUFTmx4NRnosv7rsC4nI6Sub6NmStuqPYI/AI+BzB9d0zOAVwcXnm4w
eycgidqF+3AQI06kef/7jRxdSIn//GsMjgFaQSN9fR+93gjwNkcE7wKAaY74xEyPG21+nGE2g3Vg
/7uf6guJyNvIHoHw/q43SPyRpyHEQxBhCDkmsglEkojW1N+XZqPNIM6EfdzIRLmoxjogMzfiaclf
ZXKJBxFsb7nviaDj1ACWPQeLcEt9fJBuGOFgjeCOowkWAEgntWp4GmXYDuCEMr0gueM8YANb62OJ
0wn4eDLMNm0S9iDo3iYkYypxxVdbFc0iohHW++xHWG9w8keiKNB5/hOj0nLE8AUDg8BSGGz0AoTU
K5Sk2EADTIfZLofSjxiazudzvIE0KoYD2TM3b+TQGM9/RpCzN5ORqQLfzj2JmjacSpXI3U34bvKS
o/tAaLmBlJNePSb/7rsbrqQz2NoqG5GJOwqITzfpAdk/LJ4eEJsfItBdmfKHPeCbBO+JtZWR7Ewf
KadWYKAwPAuz+jOqcoskpjDTp2BBsMqYsZ/6WU7dTTfHWYM8i2ym3V+xSVLmuc1i/nQLoLuhxL8b
yvFoNtIoT5XCJZ01fl6zGLoS1MgNWbj+Qt4oW5IZU/QPwTulSD71JfK4IqqeQJoT3L1a04Pko21Q
ONojHvARlFIHv7ef7Huax6JnI+ER5EBcckxpOUWQgxbiLx/q6CogE1khB1xJ5wpF6PqDFd6ls7zJ
b644vXz2Etjuu1u5FSIr8QSq4IZPV56Hw0FBg3CqoLoCp7xPCrVww26hjW4OOw/5OCbty323U3Xl
vUPwZ4TvUYvA8Vn/SBOCgVtT0/4N0oL9SVtpvgbCbRn2b37fJijvtloUa+zl+NC3XBlIPjRLbBtX
UMrEU7mmvDu9xR3N5Deu3JOP3Nyzp/CVK3n4ypVXJoWX4G1EOi/9KdJl6CqhP/ipq+1fJSRit9e9
a/dW3Veq4oZsXYMoSM1U2xXkV3Gc+fQZD+JXns6N9CHWfO1aQpGuPXzlQ/HuSm9yT/1ih/skdtV2
beba5X80I8aBDKSQmUQaw5WJdncPAUn8zHeawmO4MlAdo0AZNnxy05SuoeSklq48v/KV4uLXTw1k
FuzF50pV3It2Y0W1ZSDguD+nt99bSgE++EfBBvNg8lEXV76y93evxZmvmGIKRNZJ5Xav1DVDqBU+
DeNr1xK+UpQ2057uuVTzryVUQfWkU8lhdJ4qgxFf+NBQ6uLTvRvVdS1O4XdI6gqRRAWi9OchPArF
A79yw67G+bVrDoV5OEW69yEDBd8D0X5uyMz1wPuI3vtURHU0nt7jdUnpErlSkoq6m3/N7G6ovcvG
I6kODoyc3KTlmhQqLKatd0m753XV0lY+lCJDL1Q9MvFdhnfDRRtv68+wcc9H1Pj50ALSW6+K/iVR
AU1Isy2/UXHXu5S5plTVdUP3VNKen6aQkQ+JlBNPhLBRKoOHGAsmkkz/rt3bdG8ACaHYmxPWp3tN
THKYjBAOIHI/KbI4ZImEz5u3n2fxFHI1n1xcKcpDSRQt/XwlP4n/rkfM+T6VkcgBjvSuLHUznt19
CzDZJ50aurdQt1dbczGlmK/eI5xPCXTzyiF6xGF0L9XX605Iiww1urBcQaFxlG0+91OGWNXB5jsn
VmHPed4i7M17Q2mBkL5BzW9zer9gJGPBKcNH4kYzh+jR/1TdNRIV2vszhLSna+2/ZjPjSaSF9Bk9
N1BBHheDQ/9RVjDo3XjwSvzAa9DniP26nieR6riSh0+mjrjnp1wb8Tx6G0GBcsaD7jMWn4lCDTyb
qjGMEGUoz8+qsFwa0nnMBQaEKym9z01Xe/cYqusGgbJ0s7jC1rJ+Hri4kYWHciVLN9B8pQRnY/hL
qiSRX/lww+d2H/EQbsjPMwui36H/EGkUogORZtBMyv1Xx2dYyZvmP11lpB/ZGHOR4TnpGm8JVhb+
DGt/4aUmXoMUc88DeNITEaX4a+7RaPLT2RS9TTPNPSUYJXNPMT5869pG43lFcjx3PICizY52kYMK
P7ccv7qG9hHDkBUJwJfK0YzOa3ZU8xT5eSqfrmpzTy3UZexJooW1yGXuzT01gV/XiEp4XrOjOeTg
2ohW8xPlP+/CNzJ0zeCeV+EXbj4v1r3/f62KVZt06v80hd/5RquZoH8b5DZf/cV1deFwg3YGjvjg
9hF9E7AWS95h72JpIHC+AlN38szv77Pwhc3Gw7siX8eMl0BGThnrF+ug+jWinj8bQUzvImQWxXVU
g3c/IISVcH+8HG1ZqMJOBImPpZuF1+1xpByjGis5sL7tfAVMzi/fyqNVJwZG1LCknEJRnpkgnMXl
JZCxCKptpFENYHsghl7dQo2eoOxjdnCwXyUAcH6j/zTHzYGY19q4B8T+aXyePbPhA78enDKwnDRR
LQyPSYGLAlz67+ntFLcEOCEVbJZydMc8ioME8Jsg9sC7T6Up4ABv4vlOtaBxYGxARDn5EuD7P+9A
duTcfoAd/wN+9t0HbkACMD9AaFng9nRONfwpOB1dJxfDU5QpjjDN+PKy+tiJ9fb9oPAem9vTzVKj
BTHOfhHH5oWjbHQFpG1yGxsYrRKf+mKfwOuOFaR/6rR/TYyowtLyp5oBanh9ugDTFIS1xp4C/yYA
Gvogq0gLGatm3oAYoMTASo9McyQBG8mS4mMPNeBpqs+PLujR7DROOcEXz30Kn6urA5bzSJv1bJoT
KlO8NDe4Jl/s5yMAKOhpDgUAC+e5lb5TSytuUs1N+lMBeDHkA17G8BBnuKNcrBNnnW8Akbzz+pky
SPfg+P2nEwPGEp34+s0m+PmQ9T26y57y1au968U5gBK76weHWYlK+PsP0aOTayBBjI6J6Dw23Q0Y
SKAs1iCljDUXTyJceHDxUbGdYQ24mMqpbu0aOOzN1JePSQYQ1fOTowSDHwWL2tn1PrrOEbQNJu13
ibEM3mwgxuDbMT6AmPerTHl3cwoUBA8zXQJCMt+tMmC763kvQLKtvw1oS+dzkE3OQDzE2gZ8RhCW
rqsehrO0xU8RlwcytmbERMcM9+6AjOGjshyhj16wYk+revz0MUq9Oqh3NgOMfX6YFFefJmxAjEJo
OGvt83QwGD7QwaLjdQ6XD2lf9xfKJvuBBlSGRdQN5Lk2S494EAcMUYC8waXOqvC1ZnXpzh2EFZbz
BfQS/KdtVvIrJq3UAtaOiSD3BWCKIxk2mqFmzrIEt6QgLsXVPc8UrAHxOmfHU3G4AgEivB1GLBIF
+xjU8Z7h0hs1EidymS5WM9LAOiJV0odKFtPPPccgdvfsViN/lPCeI2jvL1m1X7U3Ov82iWwS2HfY
oE77rS8WKxrLfFfZ6N+aO0CL3vpC8ASMLx8wvbCX5avA8aTLeVjzDaTTzZdcPDiIivy03vi8BPqk
2NLhfSLYiYX74qxsZ1j4opY5x1f/D5OMpwt2FDqPB0rSsY7t7AGA2mExU/oO1YoZdnb0gc/EfHzx
wqxNNKPG1JjyBywcTvo+mGowCaObPQIBPykgrfqkdS6+bENsmQIs+Zq3wElqXiMf0xjqCivYOXXy
4RX+QLCEvh/sex8s0Zv/9BuWOw4aLDIxFA/cZHkusY4OVg80YMLt5e7xODuU7osV3RJOyIXAyKAL
KENYDQUvb9wmekm7Kn8RvFf0TB48Izw4TeeOCOU5YsVw2gOha1Pj84hdSUB4g9Zi8fDwMW61mvVE
pofnV4aSbYi3m7HuqRYkI1MJ72LL9eq8vDTYfRPPQE3qRTXpLer4DZTi9y0a44xmaV4Js3KJNJvo
579XtNwIIdaMK1FtbKx9zxO4Vju/zU1OkNMcB+oUs0akzMj1Zv2NOn6dxRHib81MVuDMJrj5X1PY
PmRmWYyyCVMblCSlq26Rcv20bwesHZkBwbSw7yjr14ioCypCa0sdFwFMyWt2d+ud8ttMTAZNEZKw
HNxJT9vfI0RzCLZxyUjq5DG7JoOlmVvl9DVlt2anoocAPXt8AbT6IBwyQ4IsSXFv+Kv9giGbSxEu
jvTk2QPGFnsJzaUDcSO8+MVGnqiTQZo9BCdYFhZYKKayyOZAXNrXCZr6OziFluYTO2WIu47/wLN2
IgsVhRoy5VECBkQbdAY4Noo3MgIAa4vZcaXfxfQ6x3/uAwFwDWWYlvERE/6tgb0FgQNH5Zqekpfw
jtINRzarTksqU9lOry5kAIi1bvqZ+KqgtTAVh8MYB3ADRhCHCk7nKGf3CBGPP/KYOYqyZ43M3Olv
Xu4zPNl62FZBDyexJhqADeBlGVb33um7mh1fbp0cz+PLTuzDaEFjbURjb4SfEuv2PoXqD8LGN796
zs1+uGCTSRi8jKtmdCGKpA5+sYYUzr4QHEub12E2O6wZDwgb+z1boQbAM68K2wIt+/tScX/DCt+q
Yt25TaCnbWpsdNiCe1TGWbYY4B5pC20Xqlj2ohQPTBF3IwsHITa1cFXPntXHAQV7AdiCab0bveLL
HEp4xBlr4EsAUQHQAToEjkpgfi1ZkpcE5qB3xuLBrcdZ7tZ94ndkeNmDQgWiHx6DBI+qfVKOGJJc
9yVRCWnBVZBM0Nia2pOf7kqmbzS2eGuBuVH4Oz3H0vSA5A0EGytTcCXwlXNKAUlH/Rxkh5ms/VZE
ifnqXVdv7AfekzNOBzXogfgyz9X+LBu0Q6MeG+u3bDUgCmIaDdQ2+zB+x0AoODeMU9RwAMwm+Iat
rxn2JkkbDPwB8kvuRG4qhaUY8UhnZ7HPZCpb3G+5r7ECdaRfFV/SEUbTQD+PsKcQ4ZqcbFt45eYy
bsYr9ec+XJlT9PsOqhoPEog7g8BUhlVmnNO+jcmXAxPADGa0brk7Vh19uNeC8SwGtK8+ziBBAww9
ExOLegyjej99t7VREwyftorXtLspv1QnSW8Hm5pnv6z2PvjMIHZjBnmGQ1KIiQKaKeDHIEO+o/6m
gL0IiJDgsEth2pEtZQI4nr1q+po9/cscdbynvlxQIvXhCl/jCZNm0hD/ccTQvywtOBioF2yCWcIe
CK/iGlQYNmf2/yG0PEkO25tNK9j4Vng1CHzOnwZ8T8zLAN2j94DoMqc/5pdAsz76+DB8Y6BAYfyL
OY5YBKh5bCB4mJJxKrBxgsUxYme64pa9E76ktvvB29JTtjmQLmx4T/YzjOVGNMAuN0dc0mwIPCrW
VTVS8eUL0OI5t7GgpYBcj1ga7uLmEEPYh1GJUTlOFSrsW2yuFiCiTuNUrDTJB0vFIkjb8DzkGNza
KFgRMzYpUivmOAFbIhOgwr8vfXkOYCSwsPNB6HDa5V/Mno1iCLOzSbGBxrHh3n6w0huaEQRh9x5V
Qb18uIs8OYSIYmnhfYZErU2bsJhasmfaxTQbldYTd5bHyf0VUr9Rnhpz3GtbxLMllpZQInP+DK/b
1kMyWscNttWe1+N45CsrYaVCfLKdUIXgp2eZgPna1KLQiBgnK5WQxokIlWHlDmLTRRuW2PWqIVKd
hR7eHJyLUTWc9xn27QVqBhw5Ru/9u7FSHPcWGA9Hj8V7xdofl2sDMCkX+WgZZeB7bY9IUf1zYIIv
koNkf7caQauC+tccy1tjxRu6uW2g9z+NmpRVMO7D9F53hxBqiPB8BZ35eZtY4XhgodRYT9vvjfJ1
TfIdqIKala/KGJS5P/sV94mhG5huFR8T2KOb39pv/BguCSck9y6GlR9xFJ834xe+02CfwH5plixF
Mu7B0ujSG+cDoFwJ08swQvofX/CV5ZvozlYBGkSLeodwWzqcwv3+w74gO68qrnGuewTlV/+cwrLh
jE8GIE1rfPgw/PYx0K92bzDx2WIdM48wCblBMN0LcQf6DqlnRleOyixuT2td/Sqrrzx3yyq2+piX
3M9pISVNi5O4lGg9IjW3Ew1TTtZy/ep7Ghgkg5Lgnxh4Pk4sggeMbDup+rDd8oOT2m9NjfjRHnFM
eN+AIGzvePMEb8IuKQFEEfjzzBtg/3+NL+WqUFZHKNItun3fbE23HzDSFGjNTSEjaMjZvsF/fAQw
KVccNfA7fLjXwwyOi5tbvuE0BYt4PwWXLKoU9159KWastvEfcMfvd6QpgYr2p60D8wQil/OHrymg
q7ac9DjrHq7xo54R/REl3HUO3tRQcx93pyYeDNAk+SELK7Y3zUzUtLqgFlu87yfMQNcSHpe9amr0
wjtOlFlSKVMdvwyIxANWWcNQ44QhyLDG515Z8aoNcTDf5vKONP2KoRnLg3d5Y+7zB2YnpzR1rKd/
QS8zLfDxehODYwIIB08wAgYQoRKHtVd9xIcJGxaMmO4c4E6pml6BLzIiZWpGzXf5+2xSzrUnDJ51
DxaRTslhSZ1XoKYogqHCbC06CC8GZpNDaQ2zDR6DtCappwyX2NWKcJ6r9ptDAyz/rQatWqA6wGEC
qcrZC1yG4ssQaHz4E//A1dffYO9KazZtDmcvvCvYRmGB4HcnACqP4UqVafH1/IGD1KJ6lQsa9kuz
gEGsv9k1isIayilsa4YDBqcC3Jhh/Fqnl4sj8ruyeCLssrKGdkn4TCGy06wTvmwv7DKxs8RbAPAE
8M+G0ubyLX+6m6T2OWxYwmPq4I0YBSrmhmTQUdvJmQagj1sf6J/GMha188LTzAZ07FtZA+9rLNSU
d8hg2H+v5hDI1Obm17ndUr9zPvqFMWxw6XhYLQTkTkykMw5tyNPAYQKlSx8dsCIgzsXDJj4WMLA8
01wYC0qBaHHFxMu/fN8UDhQCnLo9umDVVcbQxGU9pdMYEMRE2DIiJwNEakz8pkrglz5XpNzBCF89
CJzYs5VZdbblXSY7D4O+wWYT+ZTFb7cjps5MtmIrr3D7iv6Ip2gN/KOLH9/wBaJibbu5LycD++Qe
Fxl/e3Z/pIFI8fN3tv9gToDDWkobfSyBL6nYQOJyKAHjGRjqa594rUQsEGDUl54taW5fti6AS72m
immXwK+2AsMyI2r1MXguzk4/fCJrR5K/0IxhuW2RUMBrYkAFoI0L92OA7RdTBz11b0EbJJimcytG
9ysxnIdlxhS2AQu/PZBo2NXBAVf22LOvxA0Br+mK3551KUZ/PHlJiTtGw84TlR0G/QBkIfHa9eZP
Om9Gb9BDxuyxzPfyiiz7hqgYTDh1dSdCSAZGHCDRVgtSk4QZOR611mDO+IFvW4b6jq/K1aaDabsG
1idgQog65r1d19I7EgQMDfpW1rdOLqKvcMYoU1mV4ZhvPWgkod+K+RmlK77l/hkV3rZ423n0nr1w
1twetpjB08AboKurPDLjfJ/tlJj59I4h8YSE03cZRtYo3vyDjRPZ+IdwdRwnVsWyt9PhEYBdfwz3
9xDc9jbJECr1hvuBT6w4+xTtsUX4rkbVqGfvQUcH3QIucAUY5iIbt1ioraQRYD6Pbb6/ScN72LIN
g4n/59Z/Ltb1WeYZQGDiyAq2J4BCO7UaYlevIsIlLBmKVutIQLAnCBvzPvtmFTy2/C1rq1Is82oj
vsJG94h/NLqBtbJUQuzoi/Rv+UAZixQR+Y/k5UE+fVNn7uNWh9rJA4wE3NICUNOrewpKB1y96DFp
OaPwooQx2QHSAKRm+4sniQEGo3AcAdOBSJ/nHWbAj4mI83ll5r+vhC8YNrwXziCF3cf4Vx8r8I0o
1Rc6ww1Q0sk6DkTzMvvoQWHN777TuK+0752xv15iV8k7VGgZ097qGIGq7hoLKKUiW3I1PF+x/B8x
9C4hCdqGuD7OYC6v1ETftYixsX8uBJy+cgSuV+Cnn5UFjwYlvx8LO2Tu6b2VMQNp9LGkChPo/CzJ
iN1m66uMmHePJZHbgAY6LfCIQKyExn9hGsNL9AoPAxEJbgBKfU3vg2cPOL/ID5plmMMEn6z38phb
18h/h2zVE6xmp9fFcXqeFOk7fEb9kMH4OUv24QgVwjP1NVeRWExqdXU0QRG7Eu5uYOuH2TH5w2nz
sMqSF5Hm9OSxpNsGBtBJC8W7Ld7bfMpEIO7cPludonxdRzWobddpOQGyLtJCDUxa0GCfLlgU1749
6HM28fCh7C1OZx9vkxcRMoCXsysHhDSZqA3sgKCm2+cfQTgkb5C8lnoiYMiUEKgqAwMEmOpVuy5g
P5ncXunkUyMGwsdBqNqPlThzWMclmJIA+AvgHrA/fdxKZzIGY+EjkBPyGTMdm50tgLlhPyRkOTAy
e6zoPeB2Dzah/hYKuP8nv/odC2htbMYJEpATA2uYE6SRSmemwAtn4fd81g1zARhjaUjeSCO+1qpb
I4N5SWSB67eIV6iutJlUudCFcok5P7EDllrcI5jjPYS8ExJ7KR6TA+pVEVCgDP9AHRLIUMQhSJgq
ot2TZgUVgvgbMY4coewfkFn4hJYIwZH+GxL8LxQGK4zUkaVOH7Q7EVJRboZE/wMdnkH6Wx6nivd+
w2Qxi/TCvkQG62HS7AGxnQrz+Ee4rzwRb5HGRIC3EuNQJ3alFPUJwak6RVxjV6ZPyi8zOsR9Vwmu
YJK9g8s4S4uv2jHXGVhK0hekF1+y3/LzJm+ibGrRYalFFfjCIqBjsa1C+gYi+lxp8RuM1kRORcAF
JA0eGeN+fF7SuyBjzbRYWGIjl8kcQLMc0T0EHsjG9BRDc1iKrlRmLDjdL5dilSIXiI8Lc4bLw2OJ
OwxxGWMR+/AB8nfOVUREzPwL8SCPnoigOgCg6BlfCC4oJvR1nyUsUTMW2cGLmhPRMsaNHZMp9+1C
ASKaU7IUjqzCx5ZgotPTQhs4j2W1vW/Z/nKOll6uW/0ZkSXECLHHM4PB+daJ2/FCjIydzC5fNDAf
MREkEqSBGB7wFjKEg7eFvwv/WO2CnqsrFaYiqZbZ/N61ZyevgIVmri7ZOLHrT8TcYTY+BAWoRtCb
bGfOyHwZDhK1YcKygkLa9Qrrnl0oFrSIyCN2fwalJlzHzJgRMaRcPkJgynvwTRHv4b2WpwURJ49r
QWeWUvzYUudS948LeGRe+8XygMYzjXJo/mAFEQ8Es0FUyj07GLtYtYW8P/ArQTchxWwXFOMfLaq2
bLJ0AhNTZttkIDOPEZ+xAYqO6s/+DLF/ll4+loE9AlcARe0UwAxY6JgdnXgXylRx1YkuIL1kQr4S
t2sC0LNnLs7hKxDRSpEYT7RpLy09eSIt4J1egUJ8jzelTkTwQBQLq044VlxPJ4gFH1Y/egTqBIjj
+hvFCSLV3H5f3PYHOTIBBC5McgK39oHihQmEcx6k6IoGKFSoqTcZHhDtTqX94ZdpAtHPxnfPIB6o
NBuA1hoBROwRVJIYInA9sHcEmUUAijaF6CqEf90I1uoHBvsmnvZ2aa0KQjSD00ug7FwJgkBoE9gc
wpVAEOZg/0cPT4F+CMIH5CnE/TSt4LcE2bqHmiAeY9Un0EgI+8IIM3AicEuW/DGYZjzw32hdgPoW
QUhyliXON5CYzMFXzkWgsOn5/ZgN1NPCd2jghxiyHV6iIhW70cA3Z3i57N8hr4ZzT1o5OA/FALSm
N1YDoVBpGI58M2mWB0jJCNLyBvDx4hnf17gvGggVgDJ4l3ykpq/gjYS7jIHLGUuBhuLl5qAQvQfn
ESKAySCspr0QwGJXlixhN1NFx0kWD2YndtL44GImp8Z4Tjp6jJNIhLUkMlrEF/cIi86gWsjL1sPm
1c8ng5k+O0ea/17JnOSW5hwoVEI+rw4LBWE38lXZe0TYeoAsjAAhvEdNWBKBOM15nJHgwpUcCAXf
m+rE1TY9lXjSSqLPniGCCSzbfOQOMyBnvCIQ7QPNFrmGlJwjyS8XzbIRYuNTbRGEetaD4kYmLUII
kRNlcah6wDWjRylHRQAwsPdCXmBOOSWhCItvHu8WEXf0K5sKQG2c5kDSJJJdtjZSKbx5g7gJb2Ed
InN5Ais01Ge3rR7jQtpYJujekca+hCkRrh84buCcggkszzbxTFMsuqsOD7pl+lj1hehYsN7rN0g8
jaRYnCOs0ZfZTDS1iCjQLo/Y9IB14OieUBYhUWTwpMhgUAqiYxOVO9TRDRXe3z5PRZ065hC+7Oac
x9EuyAEmoX4W5xM95rHA3DmDGPkWPjUawJltiNvqBMDeAFfUNuhN1ejqKQTl7vuDGHs9hkhdig7O
JyLU3TNsPeJ9+81WDk+p7KmfnuuFV4d+9J7+cScmC2W8KsAKzgFY2q9DJalpBzjoyQm4V7vNRmCE
eHKc7f8Sxa8v+BQb87/VhYjgmLWKzhvMaoavUQBj9tBv+c9liSiKKHvP5WCGceNh8YBwNRbRwueY
Tw4MYSCYIdLCkldE4jugts2R2PENqy/YH8SLkZTwahM1khzAeHmOzox+bhmRknl7Qj8a9fcy3Wn6
evwGhO50tXEFM5C4G8lgZnqti984tqL5UkmMneJflpflbYvXF0tCj48phow8mtm34j46B+hX0god
A/9G2v4cHIImFEHOb8v+iunt05OZeE9PiP5erjbSRk+/51QoMe5gYw3YLC+xlEo4QQMOPwZPgcWW
zYzk0GNayGEVAX9FPUT6Zt60oRis+6KKHm4vLMSaTaWEbsEmVElatyF8fEV0cULb/kqhygkjPrAi
6hAr4nqL1FAs8AFpfR8/hCJiwUp4s123N9pZh88Qw8sc92+f1i6yWBr3ffxK4yzGISBqlixmGsHE
TcxEWEUv+v4t7M2aq92bMQMK+7ygLcyi5YF8oT7DRmis+G8mgDSuw8Esn7Bqo8HsSu+Afzo25131
lIuZ2Ljs4Kzx3IplgdPaaXuIjB0AP7XFGqzDevkHy7XjNYwVCYOZAQwFSwxR53zA5G/pZj1+hixT
5EA7aUcR4v6SsFRjxQeiPGnCZtm9KwtPWFqL7rhtMaE97ClUL5HX8/+wEGW3YvVjoisWgyAqT8jM
AkDK2WAGIVoUkcaDzflteWCQdKa1PisiSCUV1BSRVuVCNA4hbgji/hzPedHFud1vhgW/ZNC4JyJT
6CDN9W1GRBrjGgCdWWqJaDuuKqsz5DJPie45xcUskKmA2GYJzDrjKminNL6JUJl+EV1DbXIY8z2k
U2nNDZtxQQ+5wyuGOQSFjN8rcScWuehkHs1g5ikNCc0EFSPrB+vzVYnrb4sdq+QfhuKhYs4J4ta6
t68WNBF1Wo0xvNZZ4eU4B5+NgCcTyWP2+sB+iPFm+zA5CIYNtUn20RG7wGkiYwdRnwjL2AsvE1E9
b+ndQpAprgzUH+6A9BVzyRMTi7ko1jNTzwX/cC7IH0FVwGNvggvePKKdjVdCiI5UBY2LBl7jayPc
kQJ8/dgx2DWYKsmTXQAFNSgyJZ6DdweqBPkH7p/K8WymaEUv8Q0KeogkSIHmm14TSB5marYCoXjy
mJersHKhUmEbVOOWhVaMC8bmvMC9KMR2J+xBVSXScF2Z9tHZjo4JwY7GcEETQq8Igu6eR+cIZ56a
pYs4vIz6bH/0NQT3M4B0ptiJsuDlm44CqC2g9DMBtH53TKhZHeRfXfT0+hcckKsHqUt6OEEzS5kP
hyjjrZAvs6sDI7whVEty9F8BzXCwR/DbQARw77N1HvEtOMbmhB0XTMqSmJNqkMctIaUHPDqf9RlL
lKF4kjMnmCmc5ZFSCpc+Rw11j66Mz/Fxfh0bLgHJ/Bxu50oYccQNwSEsMY1+uFXUenmKJQ3OOi1h
uZ8h6ok8FXMYX1AMJ5pxPZYiofnvJ9dwQED4q2cmUHPfFssO2uSBbzcVbABCfv/iV4HQS5j0kZTm
YEJCxuCzAw4IU1FPg4flA5rKI8eXce3ruL+9IpmqzDHbvAdxh7Ky9omdLk2ArQ96UbZ5jlVb0MRs
hj7oOb7H0PSFcBaR0ZaIfaKYXr078e0RfoDfXY4vX+VYmfTnV+8GrRHtNFgXpt+yceJnCpGNlURZ
aaxRQXvV2S1kSYul3gjYD0FGWHCY7y2h26zEfmL4bN4rno6CKDxMccsxAhvQW8lBuwNdxzMY8CI6
sIRJY2Rt3E1t4R4IzwCh4QfB2iC1G2F/4xATiC0Gq/ugt8Wv9E6PDBxldACrTkALv1DiY24hsREx
lpQz/Q/xwOqRLywZT1BM4ifgin4kBHIvOPvgBnk1XADWMx4HbXK0Lj7gbXDwxQ8YsHu8opiFTzhC
lEV3dE2QJl9yLpybSBUuBJIvSIDq6Vv0pDyWIrWYZH3/RbhIiBRvCXX2PlTO491ar7OH7+/+R9J5
dSeOBFH4F+kcSSi+oixysMG8cIyxFUiSCEL8+vmKObM7u8Nghe7q7gq37uUcR72PvYEd201o45PD
HGekF7ByopyzUUyqFxhcFq8OpnuF2YFWYIDZAnPFEm6/FK049eSXErbioN7ZZP4fDy2rT16exjKe
XGFE/oPsu/jx20QnbJgRZRANYEA+/GSDS3xc8+hQufCTHC9xE+bJmZNXT6GC7flGcP66QbXfUbWg
rsROQv9KB7EZk3phx+PdZdTz9HHB9S7ZYJ3dMT1QWZaRQUA3aic9prP4kdGQOXRJCLxSsudkBJg9
9ERSM3lz1snWINMgZiDW///5VPhIeDnC7QQou4yrksi/fMOXH2Xz5JUpLTJR1U8jHAwDOjRq/B81
Kig0RLQ186ZNpPDrHHSxGHrJs3DWM57yVDIsF5+UcpzPYGphpeEr0+aNpCCyGZh1IlB5DkKZE7aX
NB+9d20ehP6VdoDueXhBuRFO6KiXviC+wSuhWhfaCXO/kvYMhcvgmSXsmS2bv1jOrNuJQ8NWG+Kr
MZ0W2W25nJzSrnwzHxm4NVxDZxukpBXaQIlxpRgF3lYJtaQOBtkfQsbRFdOU1SOvwznHn2hP6eIa
D41G49BlnEz8Bo6RAUVZzjIyFIwDOywERu/3JC8kN6OtrgwA70TyvliyjK98CggkFoRWDfG8zA1j
zlzgI8S3L3XThOpGHFVIQlkf8gD8La8r3qL8vJyD8jkkaRRWcSox6vfteGamRqZPjLoJi7+Ot+HV
TK/moGDL+illv4e/caimDVUp7gHQ5ovzjesdMJ//K51h5KS7/CGvFvIVGY0LdfNe2qO4arCbMC2g
BxMtEgWrK1qcqHgytPIGeFCJeLQ3HoTtjRRiAqBG3lmJZCsS/+S9jQdH9nyFP+EHhdWPxvPheP5/
HZdquYapdxiPWJ8Sy0qXTYWBfC/Mt10bbI68c/VbceQqiQ4KBSNQQlnCbL7xw/Jk3co1/p8estx5
VRhgYsDksrkx7BZs3IFYBptsaPAZ+weP/j5AGUnkx9NmcwzEamSquBcjwiJivd4HEA3lowcEfrwo
dAcsrel7LkqOeosYBncQYxjL3MmqfY9z3o+bX2jHsSU5FnmMATGtmBQonyRbyTD6WD14WkythxQZ
s0/8S1fVAK9a/EpWHePc4c5YOxDFG+APqhyisiLk+CGkTCzINYF3efI8U56HBcTuKkcfPyheNZsd
G+x7jdp4OcCLxm8jFS9Q1g2hPA8twy0XlJGUc//0YA4ZNLxfMOsxTaNMPHVmj8iL6yYsO7maPLrs
JtbuTrT43lVij9OsRRqKd5UpV9hMZMxVRjnb4UVi5rL3ylFTizGYvLVEHS1cONyqGkkcJU8nzyRP
mKccCX/NRfq1GG7WH1BZfsnGJTOnxoBTJcrHTQUngivNyql+ZU0RF7JubTlx8Pd5XBkXuWLcXuGy
aAdcMk+PT6/6bcSMOiJSrsk4ytc4CsTi5LXwjbEQsRK6YA7AiHlg4plfQlh+43HFmORh7UTa7Mhd
I3wjERZe7dujNfHbJR7AHy9HxEFawE/hW5JM9OWQl7/AsMQIJFLCpmjBYb9hHPmHJ+n4stisDDMz
QdDOgzMZ2Jyz9bAAorNxS/fwL2efHKHKVDzbFldMngsD5TuEH7Dyyj7DghE0BwOGR8LXxFa4JXMn
b84wSYQkwQMtaRzh8nJZSL6FO8jwYoNKUkxw0KlFKV5evQ+G/3YkI8MNE3oue/znvSfLupPxljOW
oedCEnQS9kAXDEmPGCwLYsDDMTvUN2XpvYMXNmUJZOhHfOd2ZJLIrbA//n9QcS9kCFgz/MJg81Se
n0mXezGX0pgP7Sd34LKnK2EYKwV3kGtMeZdiklW+PDBuKpX0Ea/L29O+z4gwJrxpG7tswEeCNigF
EgHDMBf8zZFZZJxzooj3MXt+j9E2wG3l1vHNEq4UHoUlJ3PJQP/fGHBIInp6eFDujY1rl1C+T58W
n3LwsXXJuhZL4lP2DjlY/kdLWD4PzyO8rfDxy2LZ3DihxfZlgP87Rrxu2C1lwTGK73OjZoOS5S2b
7IU47bhGZQoD7ijIcUvxZEAWyYDL7iULUF7m/2kiZ78LmVefKXMIqeThxDQYUqyDP2ASsrInmJG8
IPehScTp02BEzGRHV84JbFEkGjhsWPdcgQ3JIMEkCxQHiN1ZHtPl07fHwhS8cx6Yg42fLLuSiq8h
oZPMNuk1YmZGVGZNTA+7Ev9NtlpxE2R98BCyE/L3snmxxt/meo8xJtk2entSS7wAmx8/infLFshE
y7YlobO8ONua6ZGwk40AP4PtgwiFfzEC7k5YzsbC48r74pO+w5r/G788l1zX2ULmxQmEB8exst09
OFbQ36L1hEWGtWOPIxpN/q80dso9WQwf0mxYbt52L2tWrvQ2uoFOACp7nTymbJP/NwJs5v/7FuFC
jiuOM1lKd5T63lPzjvXF3DFiAnixEPJkssny1hyo8vTv5caWJcEWGz9rgANtQKpN9gS+fss5uLjj
mUZgsUn2/FaClbfXhOHJchKj4D/iwMq5K6nRM2qN3IUpfp9edFvx+hxiMu90+rE+fpHUgzODb7y3
EnA+EuPsmvc0OjsjxqVi5MhRYySyKnhSRgz2DNYXPyMLT7Z8GUhxGt6jdv79b8GPXzl1iQf9I06N
+HPigZWphEUUrxKYIODxypPuGgGxngEjnXLwnhARMiB7gXiOHDW21Ywaqu1mvC8W5LPxU5gf6bMW
vgNl8Dh8ksqEf/CykgOYDPQvmL7fc5EaK7AdH+6S/YZtFVENJBlZO4DT4Ub3yeAdfNoqPqHdIpYa
qs+f2ey+9c/pCe6SlDkEstTatIunN0N8DnOa9z+VB1xggOt0v/f5PUX9201wzyp3faDmFL0+acXx
j3RJLbJqffPWdFYdsun2HpXf1qQCfzp0f1U7vTrpFokJGvIu8Ezmv/ASwLTZzz+qj4YMBfTmC8pD
kbVqFzRR0PdyQbtKNKeb9ODfV70EVipYfj8qHGY0cGINrZsmvH2X/Q/OTraJLf6Mb8zyH7i+WPrQ
8HrQNI1vIUgaoO5eOcAEwTQl9Reg2m4PQZDibwOGh7hXdBAmFYWCrifB0DSHY5ymDrqtAHjTDFMP
YVAXaMSdRM/zMNCJpC8LOk10sBBfkMwA8xyhqdMBxOWALML1dv7hqIHv7lOymz7EPa2XEltDpuBE
9P/mwFm9M/g63Irv07czun1p1LkjcfjoyozVjT47Tu8fYHV+tz41+WJ2fQTdhuIbWM35EUSj6k3Q
yYAL9pNOSTSWw9cPPOgvQNg1UKWAqzEHRaD8wBxcgb0CErh3DCAZwME+z0mV+9c/pb/nGpvZNqqR
46VxEcIDcOwTZV1Oq8Z/3ILuEFOF2EApgXzcUYkZrC5C1QKNRVQ9XM8FLPUaWR/m3lw6EEex7+Fm
720aI9f6WM/Roe/XoByQvHmK6NQVYqJCiCBUStQJYgEWlOCeBTkt7QbHwDyE8A8AX30Gx3PwAbqo
7B/6fp7AyQ41uOlnkHGBD4IooUUiZ9KaA9UDO9ZvIxjEgJ/D7g9EEdiBCJAcuPGKQCrWx/c+axAx
A9HAMKnUvQK7PxpliIl61Tp/4hGeCaZJ3Vjp7PhLKjQuI2OLJkT/DmkcgsvkZ0Csor3wxW9bKOmN
tLLC3ucHdQCkuPvHDwgYr1BCLpvIqoSyjNTzQ0hee/B9IdhphBkx7sxdslppyqQD3u4XxxlNA4BQ
wWHXQ9V/jq3VYwN57tyMzp/ZsAO2jxIkOSePt3bCYsEhddQXZKgrIbjtVC+7+FYdmgAwwRD3Er9Y
nR3UzL3SDkotvMBo8XNbMB1WhM4mLtgHvAIkChCHAgPdwkAZIYJ1/SvGsLAzr+jywHWhpT3WJjyl
fjlr23BxjP4o4Nx6ooIEq8YVeGDtnxFCRTdhePo7C2P56RhZf8Xc2UCaCbVbBscXdx3XAKV3B0op
Y04NgvPmV/yIUVn6n+5S9n/SNbjEENJBy7UDgYwJnegBEvbo59rNInWkQSea6g9hZl9qgEuGbkj7
HPAISvvUpSlvbx5kjdoUZVB7/5ycf+rB+WM718fHD6Ix84vbED6pUFfi1G5s1H7PIex0ZPZfples
+AgGNhbRqFFEigigpjt53eMTDTtADVGL5o2q8BK1d/9oxoaOgGyE4Y2uIrp3GVe6jxDMoZpqP0W3
gWN1O6OxWao3EhdKxMHKJ9DlAABMDn51UroTADrX7wkc8fVc99gTALpCzQGnZ6yoPmIU6HmgUcaR
qizvuyoig306gLnOfB9YnM2zgjclovrQK49phNZ7zR4wqX7OSqjPbkOGVEEjgHS5WwSd14q+Bqj/
ynv4qOC8oJJtQF0qwhV82WmJMbJooVxA1l8mA7gTK3rDokMXMOMJHPpRA6vXmUhDXaGZIQQg1c1X
WKeiF8SFLd/ZGKy6cbWGjhOCw7EyeaLiRAkQVdTcER2gWzHm9Xl7+nDQGJ0+vniCqgzMRYk10qxk
ouVpM9CoiGDFKMhYowdCUilCQ3pU7NrepFdMoQDfFHZk1YhfwkQaHBY5dOCctpXQXUB+YYf3oMj6
94D17xZjRt6kq5buhrKkVazDQ1J88fFB/Hnk5Qf4h1ooPMGw6TwnOnWzbvAH0clU2/s8+GvxgvJ8
cAMzGGxnHey27DTRs59z97maDtAwmW4v/hMQhDNx1AgsmWeG92d/BxJZBepWQCCGZuI9m8FAfHCR
gD6MszEaX+yHOk1JLhKK8MlCI1NBsUsxGz2bZATpOdJ84QNEl1DNWA3/i+YXKisayj8fjCXO8HVw
4ugLiZhgZp6+FhDNPETqFiZO46/WknxfJc2whBl/PbhxGCyxEil5F6ssTI8fYPmfU7Qn7qkyFM8f
cP6MzcSNi4m5r1FbZ2CE78YMOzi29agcvkNfnGYJygjFcMbKVMejEi82T3HE3w4mX5A8C2rvCfXi
VErFUtiQbGUGV9Aj2abqt/MH0THUnNnJZ68+Dy9/5+FtKMnf8/DwJ5p3QxRk+EOX6qSZ+Ihmt9E9
zYeSr5E8mmRc76gbK6STcvKSx+ERcT54g4QIuYBgkiRol7Lnyg9IrqlLZbeCPggJCMAtM1tEcgeO
tizOg7ZcmAte9naCW9RoQmvGfoAKUQiao0zJHiHgg1ya/6d9Ub54xU8R7QWM0QQtAwh6nZ5NusmZ
63k2f66ZtckDaeXQOUadGtxBpfYzLYAr9EpFsOorS2r7r9JXqjvcUfV10UD86rcoQnzAMjnzr+TF
YqTaYddPnryaFdsI1rojK3D9GcoO5y6szUHrTsMi9yZdmT7J0NShUUV4baQbGlgiPW6Ff+PJCte8
KoutOcBugqnOv0piye0tKohkHsEWQOUEPdfB9keJHOAwP0A2CMOC6ye+xddxmcF7FM32VwlorFj/
MWgpBEQe0lcO0pakqdYG+tjuN0v4mMqv81K8CMQMUhmisLQCmoHwVBwPuRb0J4Y3gAqjox+iq7yk
v3u5PEX2XCXIUb3umZ4B6EFc1KVgDO+jq7nQdqePPLx4SHbUBntfcPl5NHNQxECz6KE8eJkengya
x0KolE9OUILli1XWWbc8K75d+ZU+z59jw3NJFVNodpBcN9KbMqFdjxa7MQqoxdzFk9qM1L/GDE7j
6xlEZD//Odf+hbwyuu3IQgFCRpqjSpzZAJEeIz2R5aPO9HejIwQ1UjMwWn9g3IYXGJv6Jh5SM+ts
PzHrkbaGKhpHDV1W5MaakfkaV9uP7BJoQ3WkWl5WDcEs4tAp/RnnKN11r5lxCzvgMteR2cwcpE04
uFL0cqv9lpDqMtdWy0kzaQiIRX64vI40hDAqnr2PUHvDfnqwQOGjuTJqKB8kt/Cxhvs1zbQR4qVD
KxsZr7hcmuKIDvJldg5kopaUVwemmxwcf/1YKod5z4k3A6sa63+4C71lVS9VJRg1bPlWP+9CK5qg
KnDLGMNTlPtPuitv/ScMSb/X6GpPLZr+5vZ9XdfTx/AFDQ1tyM4uU8lVowyVh3ScONFDx8bTcopo
AZ1l2vJ5Z7cCWB/YdXQdHY77ovGQWiaAO/ZD+gjpWur6t95nnn/DDzJWPVSnHusiPmNrX/mi/LGe
nC0wNz3xyHA7KlDvsJB9m5RsryGCcds0NLxicPQje9eAOTtELX0YSrqNNiKICJ+xX7kf23RXro1P
53vDfY2UAxTW/1ccsjE5m+15PMGVrXz61X5eGp5vbWz8lNPU0uPDipVQaEjxyI2rIXI9GH84MFQc
aRjXRfXAirbXHZpGoIjNuRGx26vUatLTHwXC8xTt5jLBAxCVyWACdfL56/BZZd/HobtoOfrxfJ8u
j6FAXQx6mc7aBbJvGlz9vTlTU67dwscXRWNn6w6U5RFHkCBUo3UIFridPj6f4QyfXIDiOYDv/acO
A2B8RDCCtjZ6jrLRZ/FtLnbUnFGjS2urj/DuQCGHhQUPDqhfQsxF78DiZATbEFD9FEUy1egXdWg/
POsS1WffoB3NTYB0o3AGFTv6tC1HGWk5jhMCpd6fkyICxh56DHe9+EFnbHTLgwy5dilfEStZdNRV
/cAl/vP2lP4gRfAv9L5ZA+W4OXNcwhCgTDQgo1PG072ub5cJZMBBAT+J0iR3nLDnpb8+veLi8f04
hmdIuV8TSJ9fxPDArujsJ877oeMDCo1gZEtQgkoNlbTrK8Bzaa3+gGTCLTDt3QvFzKSz1kXhWSjA
E+XYTtR2Qdn4qFidh/aEiRbrhdQzhDpOe4aqYN+LVXjqmEKOPZbv5Tm5OIsDlIQ63M/Fpz4z8Mlg
/PsUfSsXenUo6YiUXhOVtsiVo34rlw1Yk9N4cl4TNl7TpkmQxfM5j7O5E1m3XYthbTtYW9gFQj14
LmAJP0Z0XXjGL7vLBEY7BeWoi0LzT2QI0LHyJiLTZtcJMVJDJ13jqwG146RZIzNKkFefgo7eqvAa
nNfFGcDW/h43xRQvag+LMwbWwcjHiG//DH30vCYI2KI2D8LrOuxp2GSZ2BPtRyyVHMUkT4yZu3An
5+F2ZlHVvQfAOCJ7ghTc+rk2Ztc/m6o4ycXR6dPk0+NQBMTLYbMm4EMXwSasJ3G1VmJj43wQTmgL
iuojNbqmzofAycjdDd24RReXc/DxBTnkTp8/vqh/zy+gOi5g6QBUgVe4DO7kDanTqPNKEWkX8co5
XwEbIlSuTU87qQZkqBOw0c6tcY8See9LcDY25XJz6uLU8PsSeNFSGQLPYp2DM/uWij7asxNUCLM/
5LIobBGGpCpleHNJVXEJtHD4WjQhNOiD1/S0eny5uCLnn2Jl8I3Xl/K+5AE4j7kvSHNcqC67Q0gw
UxoKXdBB6QBnJ1VneNsH9FtGHTeQ176mFK0E8TKUNzT9vTJ8guwwxuQ6l//HRWrY2lTnFd0lM6gM
+c0AHGDMtWkd8/aHlQHsmJfFb6MKkLggeU4A915f/D8gKLj3FTJU4AWmNXUj2jy5Bzee20NKvey4
MqYMyhgXlPF6a8kDkrrs8B521hxQy1cv0ecgjIjFlAFjQIbTHRpzqucC27To5ElOwBfIKhCJnVaO
7J+HlVQuDjswmiA8yUfBFk7ea27QfAiaiDjXXKpzDf2PCB+eUVB5ZyUcgEPCzytBWYgjCFYGWyTa
vyFuBtV7l4o9OiM4RiNtok1UVCnTcohFDe/MmEIeWAWwQmahnWErXeRc+34PRAFQgYInKsBzqeNs
J5DCE7s52RsYXuUN9gJEU/Y2ScqHQvwvVSWQRAyrNiWOWZr7JuQttC/mYn7avaY9Rr+mtEoRFrW+
hBI9sxaTJpACsz5nyMYY6cMEhYjfSHVy/pyqc+JUsiwHTI9XlxFSGYwXNnkZ2EvcbWANAMOMMYYc
SdGHWWFm7OVhx7ORfxhY4/Kj3pHbpZKYCIRHoJg1ascUe8D7kagB44kz8SFQMOkCPu0E1qWEOZ9c
dkBux6wOFh0rQBkyz+5enTMRibkn2CdVLXbFxK0KInlgB6DvevsXKiiDYodoL8bn2wxGD0wY7ypY
UG2KPEyMAe5Jh4jl5qPnFyEvJWWKBnLvvT4H9FdTsVLPvDLPsRJ0n4nVMIqSgQXbWa/gs5cJAFO4
etICl9Q7wG9SAOItSeFQJsV7B/nMkD9hoffEDovV84s1Cu5ScE6498bcXZoVGSMeHqOcu3shsWdH
/hLICOweDMvri5kHUcpqfn65Q7Fi/GqpNUnQc8JGKqm1cu0p9DOIV0jmp/PfBlXfmdwbqa2pEqrj
3rKXEL2PWW8kgAmIz2HHWL43wZm9eP3oJbZ8TzlkgA2IuuvingLpuH3ZQ0F0HPE2gEu/+iSAsBKx
UrrTWGNnGlRn5MpgkdXHHChsgUuWMrsli7lg+Iw5NgZeiEVJYomEC2g+jFN4P+uYgJyEV0XCZJnt
3quLL5FC43cLhB8zvxQk4JW8xPC97hmTVr5wYQsz5qBnyaooxHv8rWC5gakxX1rFT/Oe7DrQmm49
VizAPRG2cdgfW1qkOYizeTFH1XOqDQ1ap/vQfQd1ShTswyf1Oan2aMjflqf4FBOBkw0Hh34da+gh
860beHsaFvjFnhiqE5BvdE6eQcLTQTC5AK3oUOF5gGA9AiberilUDR3oCS5+lWrfbmpH25AONYBo
bfSKldE1cUIQSyNrYkweIOnxcuiVG6h7Z3gDIRjf0goWl9hJeoMq5FiGbINgFY0dTr0fASl1ZEaw
0ve6TmTCyTyhLpHSsTV5DOBzojA32tIORJPYshjRb0abz9SaXt6AfFp8kseukBaMkhawV0xjSkqj
18V7xRqqMaPL6PTsc+9JPcvIfsZEKY9E/0bGenwGATl+DY1vN0R8z4JOLCHI+MXlXpBv7kY2IXgb
lVq/miDFuMJxu+O7cfXDR744TvC5U+3d4EBrwdyinR/RLJRgvqxpQesaPS87aR/U6W6i6eGGJCn1
4ThLzECnfc2lF+4Ru2Pp2yHfzOhLa4c9UtBXP0DX8kqzBKBcaJJu8tvpayZtDeq0iKyEvrzHoJwU
DFH3YQQ9/0W24DSHEX0MdHImm3k2LpdEUviOCPbghUJkS5WEwgnWOqZzZvCiG1ZH1C3tbegswhyI
vWKN31/xNqFFKjkA46KZo1xUi1NKyocOh3N8GGbc/zaQlojj5PJxSO3wOC1pJarCFq2YQ4yrmpIz
x5D1WTauSDKI46in5PAOY3f9wBDbcfmjrFz2mPg6gguLDqRhEVMekJ+nWwJY5YGmN2mGNGPJEwwO
7DKxG9qxyS8a5si708c1Oy9Os+sH8mhMSbah+Si9jM6LXnxKpQW3mZDCb0cAvuJrxMVmhYTJc94y
5qdpqtswKsdJMZPGQNpUZoR5i9MhyDY1BAH+My4n9eiyQTWQWUaACQ5qps8MbumR7rbe3KTbA+r/
mBmhd6370uY0cdE+dlvZ41tM2x39a3Xb38ZqYs6LUfFRfBxGtFZxYGpwWPm0FFZBs8pGLT0/A1bI
8kWbpbrPRrQZZyO+V5EKntJV7AT5QqOBdKLFJ5RmeT2Wxo3+GHv+1AK6Tu0xrbk2ptSsbjtl/lhd
mB/6Hxe0RVpT2ix5VukTc8f4qRGN4AWtR1mkwOgwpiEJi4gtPnGGVqJz0ZtNAxpLjEc5rrb7406a
7sxR/qkd/Yo+lh7dXGwir9U22Sa0+O3VKauenr6MLqlml6PBNJJWNhrZMt64oa+uN6ezc3odndJ2
dIpNGnJ+aShjo4ifacXmJt31P7TnF8NyZTceS0N2J52+uFdEw9xQBYhm8XfmWFqlaFGkR+uDFp+M
Hh7apSbP2SN1JlmyBQZ13HWkkEbPPOQFa3rJMNhCBvXdJDzu2OynTdybswEaibE8x+XuNadj8B7Q
oDM1x/qUViY6hhvaabPBFp0w5AcphdCiUcwP9EATG6YlI0B+hNRB4Rt49+5X3vmcv1s14KBx++6P
GpDdmV5Ry4CV3Z91etz2kk+wfOw/9MH7pSTJYmpesQfgMR+lnH+0rmh9/em7u84NnF+LFnttYNfp
9exPdvna4ZZh2fPhrNLIdKYdodswcz1zDcuOYxNkEwQm1bK2PZJmYDJIoa9ua/xglL19srOwKNFz
wXtDZ1AGhY+zc99x4gFJyUiq9SmlkprMqEyBoQBmCvTAWmhsi3FGF04ZFnXyOiAWHNLbQ+EbgRfp
n8Cdw8EQSJL0Igho2sKZwMHLIzwJ8b9w5OmAAE2E20nPAcC6cTvrZvqmnSkDe4g3SYqW6jhQZgFo
AWJoV8jKgQCXbKuUjoUiXK5LfgpPl+wq0QrO+lTA79IfAyQ4Ljd5CoTo4lPjRlvomYIxE4DNU0hK
ac3RQbYDZcDfrFAimotzqo9RhpB2EvwMTnq98w1OYmKf0tNt/HlcNSAPU+mYyEevKf5EDLHKH8Lv
BIi9CQfz2uRglsP5rQBKjlb7IetTgYK2JyILSsD2TtqSMoc+gvkkBCIXYS+kHeROrYbc/UU+7iJ9
RqhJXpCqDZbmpMXAZbFzyAyu0Ymd3A3r+WtofdphN6om10j2wtew2suO2Rtog4vslwOU8EBQuwtn
Rj1g+Rzaoc3JeyhJu84oVzT0Pl4HLHpy/ZbS800qCB19NvOHOm9htKqGx7A8LC8UtFmDt+NMb79u
6BFsv45VomjzlhwtbCwbpfm6HwmV10+KnY50LwNOctOtMn5B5YBl5hkBEQxclTo22g/L6vzM6h+u
4b3e2xDLnT6yYrY9B6dj/NgOeKpLO4JeouX4RpOOjnKaPY84Z3A2YY55bMPqQMrpFXCAZ+AjTDR6
+2RXoAjIANAjPdyBT+hwDtPM8FWCAno0N1aiDaxhDvUP1aOzV/JKyJzVoDsRm1R3ShV01vQF1pC8
zK/zSs+nYQkKiwOk+KAXF8ofGkOQMT3HOZWN9pOhyuAMdSktnkbtYVzW6WnDscKR5IApCJoiOLz6
Nh5/nYU0eD8m2y+arUuPptUjcIFqcQcgP37VUWGuriZchZGrBxcbbODK+MDLeEE9Qvbzl8qW83eZ
0a4dZ8foSWLZY4BRKdPTHWeBbg+FbqK9eA/VN34ZIlSYEUyljHf7fX24v7fZZYKCxJlCGsES2Dtm
aKGvtquXAX2tR22UD0n6of/0ylIS5/cyxjooiF+0mMKwnUXIpiKa/sipq4aSh6TsQnkWVigyy0/S
UPVIoXWRAy9DfQJVbDt1DtMlqWdKOgXcgoy47V2zsHeDBgoSDw8xg6T+nrl98qseCY956sDniMVH
e/u5BCGnGBxHPsl7xSTtmbTaaHvluRtPbedbnazhEv+lOY/YfLORglZMuNPGKQwshyEKhmNYaiAR
GxXR1q++rqSNXJt8wOiOC4TlABCmFRHzIj2gov/8gmioZ26Rr8bqkhyYD6zIi5sVlfnQcqZo2N9n
998HOS3vWSIhffx5TI3P/Mv6E7IFFK211XlRLjgowBxw0EBmRTl2dhnhZpFmP8AAE6GyyLHzV4tG
sYKULKJs2PgGiXe3T2vg/dU3B+B3N9YzSijP3oyowLeZo4L4WLmdf3qg3BA2kOwOHe+wY6zqF/0Q
1py0GP+wSRUVuT4fvU+2RiJLgk5SC8SQm2wMqwM5OpLb3Jsyl1v7jwyquujmQivGqdT4CupwECs+
/UM7b8/+EzkUA+BWXO2gqxDHDPnXJbKIO/BIUnjGeXjEyCOy0CDKrW9xY3vtHoZnmKAvfKx5BJeo
ohU7AipwCqwClZQEodEVYga0LpdV5NSRCWsgkedtUt79GizRK30cB89jBINyS319eoL3EEHaV39L
lzIVqggKYFqfJB3I0rp5FOEtC76kHlVgcit3BCi9/BE4ru9Ckcqpfw90My2KSX1J2dDri2/mfSsA
A0ABSh2TKSOsIlIlXDWp/MQGP3gP2npxU6BassmRvBZgL8jwo5vdc2PKGc+HtwWR8I0wOWCULbJ7
6OoyeXCU3pIHdIdNqpSh6wIp/Hj4zx/kL5DXqBGm5oSmLeEv3zd7/fMQl1Sk4XRMOxh+n+OORFEL
9URynt6/myXIAMkwo8/0fcePPtPaOsq0qOIC8Jmew5MO3DdxPutfvEseav56+Ar5zmao71tEA7vR
ExUQTkIO0y9t3CNb+K76s2ug2+48JpdnYpW/NpLceXLq/Hz740Kpd46otVLEIXfNpLNy6/GVw+LV
tyzi5iCzw6yKCCbOy5vhZY0n5W8wUaR4T4w4yZ2gRwn8tzj7bi6C4sYfP8ugUblEmV2B6kLvU1qp
hUXIv1Iz2KPYWoIXOiTPa4yNkkFmr6GgcB3hfpIcQQCXBJ6FFwP/ZBZ1F9rnfRLuQAXKI/FhAHJ+
CzVdM0NlVS9XAHQYaB6aNPpbthkeLVZYbeP/+IqT1GD8aGS7Dfk5pRrZ9M2zJfxc/2j/MMywpOL2
TS00T5qf01/XsUr88ytsbkGjjo8AA7g5rKzPASWAe6BmI56m493h74AyGA5XdVJoo3a7eJEQar+1
bpU1nwYHrtLzjtfYKBPdWl/UREWi/TKgQNMd0wuU0beA6hkVpOoR6cDsr7Oc3pRXUJ/SyzE2MfNM
J4JGozd8JQXpZAtnwt/OsIfTdzO8fjLvhHv4pZUe2BcIAqAIvF7nJNXLjqjBU85fLaCarcN5M9tS
eb0N3R/nu+0NHHRpDJzvChNRQ+vrvM+XBdCIcbZxbyEBB664On2i0YMqIVy7Tp8AZgiPnraqbgMs
VH3EJy2sjQCah/skf+2Ky9B1lqVL9d7Ln+FTh5Ghf/zT5hchV1VrDxTfqe1DzeJoA0RDGy934iNe
2qqO2jnnlzYk5CevRp3Ha55oKpJEwj1VTkMaBCEPwBY9t8WXudPjVv8ebO9x8HSu+PR6Zag54ZWS
qDNEzb4ZPrr1cX3/O06LXlgfps/lswsvkH1Dz6U7kQLRHJPb18ASQf10ndK3Azmqfk2OZ7ihHpWP
n93SFEJ0+/LbuUWX3tSA/ZNteiiCwg0gIHvbz9vwMLhiGzDIWv1LFdlwaUKwAH8ZUAMAngPyO2AL
XU6Xj1No43HUNNzfNXCR50v4LD97W9JIqj2r1piqxiwfF8gCDYu3bjfatc9ueNrcx25PrnvvpfhA
9jkxAGlQigD/sSHOnh7RGITZ7RA+2uURAKDTP28O2Uc2ofjV0oV1jdwCegscWTR4lan9RUMsXdsz
1eGgZslSTWtMSFpzFLv8itTyc0hngVGlLr6k5PPARBrXQXZdHQ4zUC/67ftUjUFOUX+kanukK/4Q
t01/D6FUqlR/xRF6RKr2JV152iNCx+tE26K6Vg6fOURRvUXbzU0puonXFZ/ADHfDZ7Y4oc+Fgw7t
+RWa3ytMImV8PD5AGJ0BvA3yzu7fwMCMijKUHN4PWTYDGv6FAYM93Kl/Bom25dOcEtc4vZi86vb8
S9nptGLPhyJ4CA11Qb4Rxkh8f2Wt1ZveIz7UUQ51qkkUh6x6KjUlLKfOvj5RAj0TeeDDvD0l4xQD
Siiz4HgNjmtH9dwmyNiD9fvn+edhkNij900dIPqZE3bAnoYAHt+ydMl5UePvdDY4fckTwyDYvzWi
a+JrKgjo5rLMFs/We+gLbt+pAC3Cquc3yoA9u0Z4WSpGwXZ4/aB+zWkCFV5uVVYfN2lyzIOKy1+D
Z+Mf6j/lGqAMjgQUrKGqf6n8ggIzMJ4Tk8BaAoDoW7aPd3a8B5AMwXOl6ZOSXR9yVdC3queAK3YQ
UBavobFwUUP1Fxu8UbKY4EB2cHPOqGAVVsgiRGiKbC1fb6HaCfTPLEd4G0fDTPaPn7PlZ4p3cb6u
af4YWfaCJ+S614hlCPkRZR+4eMqgnZicb0ZfAZoMEOS8vKNzRZm79lHCit01TgtwkUr1b1BTbB4/
jNDx7qkZ/Xz2nmXyQosBHDuqhMCWGv8MQ3mRJqc53fp0dzWZ18EaRygnsoJHyrqg7EigQk178nOY
xZPiEB+n9YYno7rP+YcuUHgCmFGCeoxfh81NpyfpMGSxUxF/bwaaAQYPOXb0uyCQPk/xmds5AtYM
L2bJn+7fKDg30G0k5bI3wOWs/h6wxZJ+OXxqyxPNuOiyG37lQAs9PLohDPZ1qlnBWQ3t7e5wYwOd
QVpdv/rMRvPFu9nPBc3Gp6H5o9te95fnEchVPD1IAx5h/WkRaf4cgHh6Zuzs4RUsBtf7CGwBR/EW
PQX1FZvW7kaPOIl73V3lvfkLWKTuochNRMJRDo/GOTkWUICm5mV0cGBlDwCPWseZoff6LsK2WpZa
j2dwKwG4XtJ77/vqfN0NVB5N1LiXsqDdOYjC1iz+kXRey40iURh+IqrI4VYiKgcH2TeU7LFBILII
4un3a2/NzuyMbUnQdDjhDx4xWGu/Oc8Dfu/ruPJACN0mzrHHfXl3wIwsS0pDHzTQAd4O43q6fRp7
DXVGcB2uPYPTvtGkblw6PfGpzt249oxu3+sBhRXgQWlPFh7/0ASOj5z3T9RiHl4fVK8TSrOTsqQe
eluKMQvz0dNocbzXZIUfNuckklqOO1rHTF/IN1xMg1KDMtJ/QR1hib89uqhCx0ndZEkg0nQaeYCW
UT81stDc3ymEGR5GuHDByB/SO5RtdV249bV5+nUupODhsfY+aqyFvSDHsnL3Oa/bT0yHZaS8LZS0
wQEqDkCPGvU425dJ+p0kZPHG3ZV9xiEro7GhaTvaJs/+X4r4j/NbF9fqa6ZAlX4/hpdyOA59RGuZ
AasbFImjRDrkxMh2FiIv2m1aSqQ9uaSrQsqQrrJ0MLlONXCGC3gx0wdiYvUBTX7griZ7nYbSOT9K
bKCBFCji8/N+HqwvTT/J9u7xPDTOesIiHcXN5MOsz/MBjLHa+A5Kk+h37qfNsNfWwE07LNptDLKd
C1ICQXZsarfDQljf2qXL1Q8s8YfABk7f2YZ0hGAy/oV8A8B5p6Logab3V/2ZOW5BnX/AbFh+TymT
iTWzqDyTTXMLhiYxfKkN786rRLc4x7P7yZZUXcmGx0+icxbF7WoReJ8GYRgJ68vu8czwGhvjPhqe
Pl0oc9NmAR66teGSxPBTt+oIVhQ1k2fqm+q+GWkiksIXnjlHRFCDFWi3QLE8SE/0bmJEIWXy0UVs
rOd9Bs1FUpBzTlze6C1/aReqX58miITDzqaLpL+3CPHMJ2RQamt5/+kflAWawBo8Ut6kIViT8CcP
u/hD7Q/z7Q1KH825KVDB5+suPSClcWfFJZmYc5+Uio9XsnWsvNLwpdUD1wW7NbxAQCFWX4OySADj
NWtFPwAhV+5X47bpMnEXmrKx59cbJAvg0wXHGEogF/kz+Y2bNXt6bxF1gXJrs7UybFNKV5SSKKEW
WHEaA7dx4NOk5qICyy5+QY2OhEHpH52ny/bLjoiE5j2yRH/0KHZyqJGkoECFVAZtPTZskSB86J69
VMmG+mGGMQTSzujPQxyblw4o1RCvDCwGMssv794z3TiJEBQwgz7bA7UfbI/jni6z0kTFG/D3FO1+
mrG5J5ue8JRBj9hysV0pvvlp2wQYt8uOtq/9dntoE7eABn66ml975jg9IoAbzfYBKR/rUW2h26iZ
v3PxUhlUz/fiwAxMylc4hBJilp+WvUwpsOUidHByL2e2wH0zXDTH88ZVh0V+GWh9fEq0Js1VPQWg
uNEK6pNN+jlLP2W+RgBHQyn7AVYJzEt4+yjVQKbaqi/1fDn0JJ9uNkGhuKsBJj+SBOw3CTOqr9q6
q6L8ItS80fRfGFQGT7DmONNQSZHcyobYstbn7Xy7dDEQfKGmbAYm/RXdDiqHzlzRH+EHzVtbpYS2
GGe3mU84sH8Wex3OoLnEivru2VTWKCuPxwLUHjKgCHU6bLTumL2UisuRa2UejN5eo/znD1iE/LSM
xkd8pYJYcpiM0G+Cu7WZDWCLrw4ijCxtkv4JvDJKTH34GELqsWwA43roFnUWEEswAeja2zvk7tPn
isI5xONvgv68WY3qK6NiCyjoBbC1d4eanSwRtT+3by2cJoc4jve7vXdr+EjYemSHIffqV660DpQt
wugNkSIV5ZxcMh/JOlcxqn7EW/nOoBf4qlYR8ZHz0w9LJY3y/KSibL7tajYSDGBMrxkDqz+N+qaj
MboD5hsUiODW9W/Fv1F+fUSJZuzG0SDlZFpK16k/YYgeA0PpFubg2/0uReLB8bQ5oFYxLIXTOKX8
hN5vQ12PSDcO2nbTyy6uP3gfDIR3MBggeaKQWIEH88b7h2r9s8yzVmH4DUAcQGe67q29c1/hs6zY
JKB4s3RfzGyt+2RFQj8jICJNeUSxBMcjvRS2S0TYml/Pct3eNiTEcBCc8dwDoQHIbAfAuAn5izfr
ERIrjJSFkNLGAf6z6gHh4HePXjr8DsJZ48MElFLimZOAMSKsJiYgQo634+RBiygg15F0BolBae6t
Sv2aUiuwTst7cq3n/KpvrY/hh0qkfOJDqxCNJlGq6j0gCDHHI9ivAaLC8dFv2SqU0h+IzbWIIMSm
fC39exZRp3iz7k6V/7SOBiWxWOZsoGgnCQLfa/3TAeig2QBI+AIj7ZWZjewYuPVySQ3qviVYih9z
qCrPhUrO3H4CrcewQZde0sdnY68U1Ze6Vx0ErOOV9dI0rg0tHxRB2flwnsFh94L91iNIyG2xNZV+
bdW1wL/d2B0WlbO6KciOHnIzkmwhr27WbiF9Vf8wW8Fcqu+i+U1IreeHdoEEi6BYVcQtj1BPvVnm
xE6CwvnKqen84GCdphFTPMOOCi8p4B+3cE6i5GLGW97OJthszvUMDP5U9hvhBTWte3ln9Ju6WOGD
ZTW7NCy7Nzs76QWG2ShcuKWztLFXohdSvhfd1nYCGZ2R51rpT+RP0iprd9c+Wds9DJevu/5CfsG+
l0GKrz6w28H5JysJ6PfS44QBTSpHer8sa3AO9lf+XA9kmYAJ++wkIbYqfVmlh0XPxAuuOqdhWpOt
f9dXlSYzdCIVXW/KaKlnmVyR0DZn75bn3UDN/tavaky+W19RPpIX/VvKovm+KgwPHyXpwEaN6jVS
QvHZyVeddF98xPgUqHhhgUVvj3dnqV6GN4N3t8lw+2WKZiGp+dPZK91pMtaNSrZ7+yyEFU9CIdZH
Tvve7ebev22Q2C6z93RGNuJ071+RBpf/6fQJNFc+U1mTnhHnRpv6Msm45KO9jRIz/hV95lFpQ/KY
eaa5hQO6ACONcJpwmEOT9ivrlvcmGIzV9NgNZXjPVg/5qt/WhkZfmAL+CFvJ1w9JjofW1gY3R0md
Xevzfk6Ss4E1lEKXuXYbKjXlvlZ3I2VZJDQXbbayHx+TaISC3C4MV83WeaC/PH4JIx9XzWaISIxW
DrbYt+jbgGdcRFICDHZhD8v+guB8wmQii4WdQuWNVJY0/8U2v2Jn1clv2Q36dqCfn7KfBzOl+TIC
c66qb+ijo8n/jR/I7bZBRJrvWSfndVqhgq48vfzp93df7Va14OWiVYk5D0YFWGZtUDjHDYxHLGFf
+Kahupujk3DhL1bsYTTUpCe+r/2O5T6FwYUGZJXtWkxM4DQ668LyHMflGwXSbPYLZSiecarvZSD+
TWCzFxo7U1rQL5AUT+YwhiqHUDkreOJ4CZ//FjOEmC+DFL/2Bi4afgntCFbHRTmm9a6pX8iGqa10
i/wnf31SegJLpK6wAXlQxM/ysB/fK+IGwMBWJCtvoDlucWjsrOEzR3jI2qj1a6l8ydIvUJA7aLzB
K5b3r1sipLr1Dypp6mPJpzDnlBO6oBaVOdAY6FlYXgO7I/eU+asHVJW6ybhs1A2a7Lz8pfGxqqeB
WXoIBGmIrGaC8nMmOs6k8Ma2BjcEH1BrZdLNgfpE3K0stTzoQ0LClBAZbA9uGIY7JRTQoI8R5VGF
CGnNQrvntFdyDgkkEGHZdgaGyy4yMDVacaPqzarfhwpUriTCz4cQZ0TXiMx1+qGxlA57OsU3MwDD
RkqDcReS3cqyMvfDdJwh9UvrGVLt9FYNBwLeaVokPSXUH2WMNGjo913aQmj9ZufAZcfAa0n1+Pu5
p4pEdAn81Qxqy29xsJNd4pfOTcECdAe8RpzmpD8iA9lqCoE6fjtJvukv42FivwdFrWzx6uHHMKZr
7WU5uuZ39vDt+qN6+ki723tH8vqWkBICuV8lwZjT1fT1L8IbWHdScyW2ypZg4kfIglvFQdQCqDUd
d8GObZdPWGLJqwSi0QlrShHtqbph6UHS1rk3RExHoAajnLpxe2Tf5aGp7Qsb7Y3cmOMwx+tMe5tI
2jAnT3d4AmIQk5Mm7B6/RRdZMAfH9BQb38A00iLKfgcg0zlqL9CMev9+6eYIoMBEGU0SCbtIFNBJ
KGm0Ee8wM9rBawBgNB5iAQ4iWLdIZ4CJwOw3UhnqSTJAtoC6GTBCOhi4n0g/MkgrejHAimyPuaQj
2tUu7zh9iQD0QXEjI5kPH9VphloyEsLp72qGv6hLMYqJgPn0SGT9fbfcpFtJnzaKwTTEIudHVbFP
AtC+gBg84Q14tS82xMn5zFGnftGq0s7QP+4XYkjI1bccCQKa5ZOnPIP5HiTZh26EzKS74bayV9nH
mvT5sWQIH6fplfsm0UWmnyP1tiepGUNhxbbLINxviHU5lX45XTR4F9mS2rWuC3pz2h44utM7nlkh
mUnVR+o/yTwy/DyOmoRlKSpd9IiIrl8Lgt+PWfPLE3kKboyQrZNZHJMPZynJaMWF7GyYsEmEZ0hR
lb5EJHOQ0wA3oeJbbjxCARycJP3FQpymXhcTlWWIRb0TtOMr1nWKeRmdfa++ZepH7aC63l8mUmsL
+BIlAXR3qW20YZb6j8fOvHn3+FBCVAJJXLrIBiOsX+M+gBkFPC3DZ6Yn+KPQ/Kh49lo01cHthQDi
1h7xcXBaH1sOyhUSBvTZp6wIo4Ypo03ygGwn/Ce8CaBdQlkyaJEjo9HhjpSnx8BTUadRXNLiYQGo
z/NikBDTJyYWnbep9Ntio+g+5ycCxfWvqUAjPknKyxOYc+NX8UnHrKBbVlgepIKC9KDOWO6Tlqnp
qSAMp0N1e9NvwX3ax1bwMHDIADBNhx8lYsCgbRYqJxTuAlbVfOKcUj5Jo2NcK9piMaMhJQU3yK9I
1igM62Jj3aKywDMj7JoohdcBD4e0MQB/uNWO+KTVb/HZ+GwwxjREs1h6628BZ/qIAgDSiKLmvMBx
Zfg10AN8XEHXLpw3DWQ9pMLaj9GhAg1jLwjJdeGDDSHsLuzQUYYgAZaXdGVJQ2J6n45r5tsHxeBs
fRvoPqznCTuujVGe0FZof/R3LD9fun+95k5v8qbbm+tJ5FXwp5FxY7PPcX1a5nv1XX/Hd/eJrNP8
C+7CgQ6uitgQ4hlt1RzVvzFi526RPL2yHNYdX//z37UB9bDyA44FRdR1heFaK7NyFNQfPvkuhtjs
75TdMjaAJbBiwMvr+Sxoj+WF6hQlOEDXVYjt/S7/IvueDg4AYxhp7+w3KYzzzCv29RGV1S0d0+z9
nm+oDsOjJtUT5XlG7SZgSZIZ0C2s8MWzluqTrJdmfDgjcYcTnAvHjopSUbn5ryxTWye4hm8Cp7pG
a0N57RzXdjxVDop3AEkU9+UdnJ3BDu4XPqKvV1o0fJNLIMcwO9QFvBaiC6FIkp3peZubJ91LXWCR
IAY682XKvG4FvY5is0ELhmDoSIFZu8TbBLu4AuKmEvFuN6rjo8/5qtT09m+v5X1JSQwdnptH6jI9
qJ+gA/JsN/eB98t3Fk4GkWqw6NwOsl++hdXtVNsa4heLuV821/wKsIc8h2SEtEiP3QGYRjP71B2o
PtGQpjdtH7kgRpDSDMW5wkc4gJoyXWEARYnus6EjL/JiEnoj3AH74SjekgbtvERfAIw5xKPK7WtI
sZPiTm3ITDTFNcQ/ZPt9FYoaCpECuBgIJ9T8HKQsCJSQgaHVCMHJCmHcTXRfkZ5+gNhxU/SOKV/Q
zPUlfEpVz05FrEYvg9lHrloe7ZOyH0uCJwBsFTHoBuOgV1gWwxpKvHbWqJZDgM828q98fahLWfjL
rOJXptbj8dFBZeq3t9nlyg3NR1cYSBX0cCZICUAArNI3pxW1ET4Ne9UrHn3zD7szOR+4cVoURFJ0
R36fs8DGNDJ8VPXYsxVC6KzfleGI2KMC3igYwG1NK8nl+OpZFd/kprRGRE2vOlG7SC4xKK2Bmjq6
WEsRMv2pDg/xFooSRwApa5EdUUFKnZNGEvclH287PjlVXOo9Gngdhf4+EuTDtjK3hFnyIA5AcAzE
RXBH+27N/eRGAPPzX1IENGQHM2TE8+eSwwCYgmMsR/yqgTysWcu037r5JKHhYIY84nlaq9dyr7zQ
saMtgToFLQpRclF81gNiHqaYmKLABGoPvdMXqC50ragG3GoWExnomfen+HGvxXJ6wgl6hvb4DwGB
Wd9R9Gk+qn2HDdIXrKb7029ZG7D4T/eOQ8WLoXlQi86S8Knvde0KsBDuj/UPJQX7tXzuRuWDXv3z
xEjUzltmb8rhw7rtRtqqmQvr3M6PFXxZPUjRFdRRcMKMZU8J7UZoQCz+rT3fL3q6pK8aAyejsSYF
ugYfjuOyXygP+1vnAZXb+88TqKMkLRJQgq6UUVm4jBP4B0xDZgRLdNYpQDulaLyHlLrSSPMzhcrS
sisdqMTOyZmq/yP5VfJDbewynIn1MyHpo8fSjellOaxDpATMlTa9mPYxjtcFYgMxkeC+wLoBtJe9
IH4JmfxseZ+xB34q3QDoEZrXmUE3OEzZkDsLZ2i0qRCys7wHWduD2KU6JeaeiOQJocMRF6/efCkP
aG8M9BuZL/PpYXuauXxQDaaukQyYWhtb1X5J850e97iCrqUkzEVNGelut6O8Xq8oMVOsoFdTQVrm
q1r607NZpNPLncqzftaytdoKL1xeT+OYLIN6deYmTA8JNq8yvnTC7pZ1nM7ZkoMnvbuzgT5DDRxj
k1qd+2BaNQ8C82uunAz50vBSqzrdmV1z+u+RoPaCcaDy9Vj23bnRwzmjlpVEU+/qVfh8vpnDYaYc
aB2K4pijJZC/DROpCfhZENm4NACQaUiL3nXch7HTQT1fCw0pNIydfT8OaWinCSVhskdcZTFT2RLx
PRuMZwImj4M8ZLGtNd+++XEd1vmODrJlvFvDflLXvbREYKb/B38BWaOtyHJGution7LhUmXN+79D
k8ikD+lFaz1sjsBBWZASYYZaX7M2khXPx8kDchVUCx6P/ZR90ycDMjnjlmD46K+U/UvyblFDJopC
kqEEm0I5EgQMfQKoScOPftKcNwvEsdWhswPVggoWT4B1sZSJozMEklgw+Zrnq/OIp60xhpSnMptG
wrgtx7AePlS8HE4siXa+VJW5vCdnm/sYiUJ81oqGItla6vHwEXCnEWI36GKsHhsRER/u+jlV/QmE
xufNv7+2t3/WoaUWR3GbmfUgmLDxHmGRokKQH23ryDbJW9vN+z39eYwv2aeq70EJsg3DdpFehsxj
46E28xXT84lGw1fivSEgrlQRnoehOsKxpREMoZRiYefJq7kSJ1rypp7A992+4MfTf2vW0BeRyYEz
CHv1qMtbeKTOvGswC9/Jr/RS+6sMxib2BGccrQknhGP3km4qusUXXBjpZfSKZ/Hk2ldkzl2sOln7
9MFojQbyfSUBTJmjsf3q8J6jDUKk1zI47/d++7zte1CgreVxqJvzlrOgIgQphQasXEY0jDgAyIz0
I8IeKfgpKLoVVJFNVa+Pjbl6QIi+ICOCJhzZHCmxustJO1JP7JXdZgKHBRi0rF7LafVkyyd2fKi+
BrPq4UJ1QcanmtySM1wYAQcUSp8UNnN6lQsjJZGHkcWOrW4L+0iQlOo7EBnaE4jK8q0EfMeuX9Fd
XkxSSFwXS8ssX5OupZZHYZ5zs+F8sFCyGA5W+lGDp4CwD6TzuXRepmwnN/gEo9KFD3RknZU25ESh
nayaPsVf/QjyhoDtttPIYVGVKiKAnzFeSvWmHnY3SwiYpBenjEDIZPS1i7+gweVTIXURuXDr4Kue
HpIpPPI0DklVb03ATQN1BEpHFYUMVeRp4xthEM1Oar0ofXTyHhwJDGv50+521QzmMWDLjce3Kj+2
1UY0Rxs3tlzwlUoVPmrwfMFz4pDyc5olKc3iqwL8UsXypf0izhuLADQX2KwaMD2qhzPiBcsOt9w5
AtgwzmEfv6sMolHjFogACL5LKHPd3UbyAGc8DZR+Fma/SdRgQmIWy994BRoV2BmjpLz0Y6QD1Sz8
ibCpQsrchu+Gb3UHGwzMbqkKJtGAIaBMizBZ301qF7ThB5OCDSZ6YT/twX4ActXtc6urC+UbNOaA
5XOHbBPUYJIbCc+XE616XX4h+CUQhprP2azrNU6raLVU2z6BSWbBbeiu4/SZiDY/eNX87GBSj+Jb
fp6tUP2Fw6+ntJxL6f6Tw7a+v9XZj97ywD+f7FSyExN+n/jvqRAUJjUwGErotWc2gcbOfo8B8qgw
U+ipc3Y8UJDX6TLIEJlTkH7ZG/iOQtQFE2ZVaNAcqnwyg8napK9MeOoJ0xTQFBtvew0BD8tr9V1b
nojJaoEnIJ+jcNCmS7qkZEZ3jbWE2JoGggklPEOoCGoco65Oy/RDvm8ni2lMyQBdc6K6UL2B+ht+
neg3pcAgXmmRMT37w1RqQWupfgv1rU8/ZJJbZ+BQ6jad7CwrjbgIcdCEoOtQte8CisTx8Ew/5oFH
4qe4ERvbmXa2VJ6SO26ItherryMHGgc4O2/v0h992kfauLr5meWHvPFqwHm2fycIuTVeizKdX4Kj
zwPIFNRK0KHj8LfRNACZ6WTBJH4Oaq7BPsFRCRFtjNh4n+05r6LKWmVpOEG9aKZ/CTo5X88EgOqw
/eWILxC8x0Rt3DYAgSfx7uDl86UNBW/4BSrBOf9A72kaowqrT6GwaX4+us/qTzXlXnzdzG1LY7EW
Lapy3FbGnl4d76GR/dXmsht8OoFNse21V267VNdI8NWERXb7zlllZeuxR8EceCC+GrVLqVD9srKA
8SCH6fRo1K7ZGHFZ0ngc7E1bb2ZAEtZqNIiS0N9RTjRHIUI8A/25iXuKu+/36WiNx8S0oL0Af01+
EXql6IQDjTl/WwkW0x8inMKGG8INOKDcbeIPmcrFPAnSSvR0XrKJyu26QoQFDiRbV+xyjxMkCugm
yFLXua/VE91GRpu2isLlNUgzSDyLZ1wSKW81TqUuRcgO3i223ymtQ3k4TA0NS+pWJVoivaRisA6a
3cALfQTYmfx23bmYvwve6Tn+6NNbiW8Nr7o5x5pjW0RAKyY9mGhygIINNwV1bn3K8YdBSAdHVURU
+VqhsfPoyVjD9BY6aUiL+GluGbU/oRtveI2/5quDyl+g/dA6yL3YeXmM4XRD/KQOqcnW+LVPy7gK
cz+ZN8b4MQnN8mqvOtg1LTXVV2ofIRdEqnnJo6xX5tdYHKc0rOqQsoCKpB4eB0t1ds+4BIOodHzz
60yT/ryU6Q5eC9J0oFIDMF761JVyuh+PvCt1kEWHizXx5tNaJdCA1dCtEaQUelEfNh0nrwBMjQEq
SpUDSVpQrOdfAo3Jo1GpTEKSiwkHHtjYdxqcBWZDWfsm3R89pwBeXjDzZp6EFR2SjBVYROTMGblt
e5CRyPj3jOTRL8ot7kjE4Zx7PzqyDibHEjV2l2o5RQ6UfJZUsm/SC7Fo5hF7sisUfg/uXS2OSho+
F6uhkxarlLLI7zO/KojZQBu23bl91dpXBZpXcmY7oqYy6LsRwpgyhrQmNYLaYqXSnaNXAhyrXNMt
o0IE0APrbzxsQcs/MHCsEX6jvR+RZMjo2OJDBbZy/DZLduh91l5bGr3QeFj9mfswyUSojhks28OD
3CHbAQV5ZgD0SL7DiRMeNJRNWAxMnytBtBsJPYNZTOJo7TLOnTZ3+Y/CJWWd4WfYUvDpK6R6Nzl7
T0X2LKve/aiN2BC+TfWJwupMoFaVR+lOexH/0aA+UtLxkZMMq/NMQn/3qHW1yHvWSKPWwf0TlOlr
dxY/Kv4tbA7+F8++oxE+7guXX774Ld5GiHmK11EY5Svl8e4VLoXVu9edKfR6wD98Ywk4f6nyu3Ix
ieRFmff/r0cgBNtV6ru0NLuXWUPyvNrcoiQSPmbiz5x/ib/fonnVCt8EKzBWBXK2lfi90f5k64uo
4ZeC5LmxUpGzdwLapFfam6iunBSuQdxj7qM2SplLMM0EW+1/AVxKe0J8tcUVhLOeUvnPA0qf18fB
DLPijeKt+EhhBJigv55AUCwuSWRt50DBMM/A7Rn9fAYkZ8rVDBYu3bw3EEkfwQAWG2ohgbEcrg5l
RnHp068RcLmbdFdEtOrQ9UfcXQBMHjsh6g9sZ93tG785EBDyjZ3qwvzxFY7mA+df/tEgOEq50gPo
0dBm7iNqCgwRMizcOcX4VRXRzcETBLvzEL1CRmX2dF9FRR4RE3TCbrt7RBg9roR0/z2KgwLZsXZT
RhmITAYIBdyoPrYBor2+swfBEN2jDN0y4TMBHS+iyCSEHRDj5dxBAE/IwY78+f/sARiHoUCDsFzh
U33DkuHn2axijksxFXgiVPV7GmbhuO8ONcVGT1wvxQB/emsOuk/fuYo45GWeovidRxk+jDx8HH6h
RIe9L7wXKB0fSNaWJAcrmkjQlWmfBlrQRGK4NI8Il8fd8iieK8KQiJsTES/ZnK+4ANAJE9DYuQhd
YviEeB6I5/Zkc2UaMJmfqBBDyGI7YFYIIX167EhDpwAumD0zLEj+zyHCPVLQ9J+8nOMWizAUFlZi
9bTgGFkBDfMcBArPu4rM+7LA0nGAdy29JcGAn2GCJUEVYQZiMMMKhkF265O+6ZGibv17RCfKXMHy
5pkgyxfp77jHByWGFlB3hJRHJGYsfP3jQI22QPWbcARvBwuxavEnMi0R1JwxxBuCfZrEcBMHJkx8
sIoPZY2UJ8UWxKqR7YfpdcYjkOFklTIFeXio3xbYDmQUh/8mHFQOdgPkWEPkck+sb+gNjBIyKSiM
yB5gZqYL6d6qZu4L3W+SBZQKnyB0zYvE1uD8+Sjw1QAFh03/m3yl0E4/mWmfw7RozvqGvcGDUMWy
FqYHYo+gafq3b1D4YY8At8bCRA71b30JyTsZDyAnvqqr8TeN8OTh6HNBgUQJBHmV7wm1PNiRSOiB
GoScjmqRmOp2oFPMrSPrIqgV4qvPXx1VvhJmPQx1j4aTB6EeAmI48ANibfBJ/GYbpUU4rog4iEx5
LGyNKHejby+kqp8hQCmuWewAgr2KwwmfXTIK4o3j4PESB7LgyNWR+svb+ojvcWltJL/BzDHR29K5
mGSnB/XfOJbRA8U/4f0i7gFu0J9qoO9EYv9lz0KhqmT5mr/UeOsN/dkVFyfuj/fEBUUMwZ2LLpF/
EQIwMv+6R+je6qvuipgtwm3mSgyF9f33/mIgmCFijmhITQ14O6O15Mo5qomltIVzU+3EGInxI7Yh
0iAPF1cdB0Kk8MFrxSBCAtjIyMJRQtn/jbx/OzXXmmkrvibeIOP/4lboP/09HVwx2IN9gx8Xz0dc
jDAGQodR2MoIKzU7eHBTiI79ctUb7lIISqB1SH6P70p8xYLkFqRkzLhK2egBCfFD+VMYE8RXjZko
fsE+ZwOT+AnWFhqKiCrSAsIlk0ERE4iP5qvUFtkpnsjg/EkqitWyonshfD2Ek454IwTbBYuZX2iw
iGVGAoSbASrJcK7+JrlYecLfQPyA+AV8iUifFguAl39CkSfdJHQhhXNMJESesk2KmxH6RsgYSViS
/FlK/X2agyaIuGiK+juhvMN3+DdTjZIEV9izvv6uOd6KdxNUY96BuDxEG1JcszCVoajCQAhWdoEm
EEpK6Ow0vJ8QemqQgxL2ckIViX2ff3N0FQK0JZRkBClbmK8IRzL2S5DPYuuHc/H/l8nNWLIASBUs
zcX3ACMz/RGZ/yNzi9tlEFmG1h73Ex51DVae3Ppv0jJv+uuwoTpVLG/oesZBtZhcG0EQMalspkbL
3G4jk0cO8oEDgWmBAiV3l/yqn5QKUYeBZy7mAb0r4ekTX1Ft+ddQf4IPwUAJ/Rn0roS9kYB+M3D/
Pz4ehfHvj6yOcYlQtedp/ROjLEaM90fX8yZaWsY++5sbYv2Lyxe7iriZvxEXT+1PhgrIuYyep/iV
sQcxseD1rv4eK5D7lVBR+ptKwdM5UIpKfiloIilE5UTI8IPwdmj7BX+P7SkUV8WCxcIIHt7fpkHx
9bExn+wZbAZRErKNDKiQinUkpEyF7oa6cvZiiEs0nv6/Sq6To5cVzzn/2CBrLBYenmYB6JvTGBRA
6Q3UMu7+SxyhqBLdVo5v+WKFio9RVzHaXYVrUepkSTBVxd0I6VAZ1VNukPZk/7cZcaviQ8UkrFgK
zCCex1N8uNjzTB6peEfxGFGEadjiTDYZXTDf8Rnjqsjlue6a8RXnRg37LWVfEpcKUGaHOu3fPYn9
vN7QHLvxJXU1KK2XTWtlL3St5AB9tL/FKRaNmAriz/Y7Re3qzviwEUZQNyPDB7T79xRJP6tdGw0b
GIl8hb/UyN4hQrgS95/shO4Oc21D6UO4vAnhLHF/wsFHXSGhisIiM7HczBdxjeJnAbczMlw3gHG2
QnWFaRfbiNiOiIBEgRRsCCPH7fJ8+RLTa1zV3xoDFl/lIP4Biun9o5KwYfv5++E6Yp2Ia0tCg6XB
ZusL2R/H11xxL7InlozsjTu6eAc6OyfNRdWR6EYIBtIBQq4PNVkxqCaDKY4VGDxipMVY/u18Yr+Q
QvWzW1lC7Ij53yPc5rC3CLsjjd3izkQQDy/ho4S8DDq6SL8U6NBg/syHizUrJt9jM0ctyjmP8P+D
20A5KMc8WsgZdMFtBZzucN+j1hPezMO01sImKLFDb46dKF+4Fj3Ccw62ARp66s43YA9wv1HMX+Lj
bUjukwBmObKVpbCv08eydFEhhS7mmZU4ppsF1b/y3E+BhFPP2ZLWmuMrYDf2M/CokEpQLIeodjag
/guIzUvdmyMlpWAWNSvN7Svvrgmh0S84QbCM/DtFzzMoAqJLVAEqL0d78SMukUvcdNQw8qUJ4N1v
JVeeXqpP+L3NeHL05byZbi6kxPHnSd37tar9CBgHktZeikR+i5LiIl8NsR8rSOdUnJDkFhv0bp47
+22kCr1EtulGJXVhFUudCqYnv0F1hdLx+EcD4YZpClqrYGRRi8QFHkBjNF4f6ElSnDWI3p5X89eA
wT/ArYoDmx8Qvb2y23Y7pb8o8Izgluv3ld4jMD2t5TIoJvdSvWmAhZFoulp2dNcAlaFIQ+lsB02s
VXZIG5Q0hhZjwsSqY1pCC6gcW32lXAzqWsPGuKD+TD1leo2DzrEFl7imZDsvt59PzyIwvPCK5MiL
zFV16hT0ACQamWwLiCTGEIaULe1dO2cLZb+DsoWsg9Dbp/HiWggIUqs2yfPRFnYW6NUp38/8HbZW
hemyeJMnxQUWGmvGOQ8ob3YbRd3osTfVL+NyNuMFFF9Uyy+GFToLlytiG5zdGwZUHrRcMxjNdX7t
f7VvPBFcljIbVEAbfboMCewP1CwrjPoEq4I/UUhWgIOaEIH7wNK9epO+xNWBxkeGWSi1XHpq6FaT
hSWeHgzIK3YnXtZezCel5UBS/w2kuuhMrQAHDA6eIPplKCio+g5qqdbVIp2rmq/yW4J2TZ0qTYAn
43A7royXlptEvawBasI2dQ+kB766E5SFm4uVmMAiOC52uahQGseWI+DUT9TnqRyD9oAMgmBVBZMP
SJr+if69BXsU1e92HT9+QQpweFtxiCIqR2jdb/veN/7V5gaF4v6oRYK9hERzxoLyUK/R/jnpgZAE
QTqhmjjmFwVZGHoCwGMGRHJ94C80uvOjDJ2BD0w+poEmMtgsG8g6Gs41YAwgu3StZ7e+fVOIMw5z
v0VNq133dDsW1RfAtnj5UJCPsY2VUm4GxVd7P8VnwcBWoHk3hhfKzVa3t3Q8Nfxi/EdP7IY2OiCg
FLYtYKYzTXpAB0Jth64LGi4w0Z41DZ8r+Vm1mTvSw6V62x+BRwJOI33V0PUnvoEBMUP/4K1oI+Y3
YJvuuBgGzzxhS/zYxct6wHcaVT8Eq2nzDQQLJTfYYIWDtBDMXirGNagP6qQLYiN4xPgvI/hECZkk
jDRDCzvHWuY0pqiO2yd1/nL5JK5hKkX4lCY/lHCar74/MIzvBlbV79SY0Ln5j6YzW1JU2cLwCx0j
FBDwlmQSnMAJvTGcUVRwQMCn319Wx9l2V9e2LAdIMlf+6x8MB/SVWCm42E+PPJxNTNIRaCw/QMIB
OEu1SbNRldtSnHGgiXTIxW5lgtl8coqizuYEG4EAwOZv0+7TSobxebU3cffbB5XNtfHN665u3vUa
Hmh5V0/vlM7hE0SRSQ4CaKx9pmHMu4vQCvWuTu9DNgjPwqvyqIIPrGrs8TALQvN2Gx58/XskMfyq
h9dWy/6cjw2Zq48nLJlCnPn8jyq60nZLM0ixH6cnSza8+dULHbMvj0CM8MEF8fu1DKw0bgSpdljQ
v3Ry0APBVEnxenhdP+g5g9Zz/spAxR5alDWD083rvUqnzEgSQruTv8jY0E28HBAzgfR+gZMV7H5f
d2wf1euGxubi4rITVarj24ADXFD6buAEnUl0Nn9xG9JAO5vBLEgjEOcNT3cBFM1sWtObF6mJeS0+
zED4E2X2AUC3DUdxo95ZroI0etx3RRbShd0eQOw+lem9P2F7SVKOdveyqQnJWPFB/rseoQwtufcw
6RFljrKTvc3RGdexFwWVDzeGiBUIutm0w4co2LDDAZGfBdrtc7rQ78PwrW15GHPGI49fx3Ob9cSA
IBs8U4tEIH7+sBYckINEfj+EbcGxBENmcX3ycueiH+ZjuuYdiS4+htOaMuXymcLhTa3T9ec1VgjE
+ph3UCR8qJNB1L/5z7o6BJO1BL8ePZwQ9jIZQRbg/wU5Dsgrda4+QmyxeI4hJnfpsGMcQqZqZX/j
cvm72ibSQnz/En0HiKn7NK/wBjAd2BNQAgwisnLZ92gD9cMCTHGlYdv0i2ii6uzSl+EZL5PbGvGd
ETRLGgm9M+FLaHbKJ6PKjjr17AsuQwPEWJfsApplCckCAeamQH8w//D+iqr/uLEWpz6NMOILX+3k
93uLoDQCUOW7tlXoivdKLJSwPKdfUTEtDwB5IT0/2oRBsNRfx1XhqBeZclzMSQzw7lPskDIm7Ov2
rlgqssaO9YNoCAvDayOedd6DiwnzBiVfQlcXhpoItaWm9enL0JduF06n7J9BdIeZtIGBwXv/DdCa
Xi15Er9N9Bt20HwG8JnNt/9FsTHJJX9UQqgNgmirGOloTTbBeaYzW31H6jy1hKHTRIacEF3p1aRW
Z9hluMXnjXWztujzrPwL0dDnWBjB/fA6uxUxWdbmNeSQszjQNMLSJAG3f9xt5OnBkwzOjQ23k5AZ
/34R9FJBwjPA/H7p0mt3YSez4lnF1lgXCC/mJc/Ssh7d4WbQe+wr0h7ggCH4Fq8FBFjVY36+CrMP
4RVBg9AOv0BJzpMH2H1Op1vjyNgdrpZymtsvRFuiFWFe0sdrooN/+yac3XYpcz1z4ASgcK8SST9j
mrk2zEGWMu2tOz88Z261AxEPzQbnANJUCXzTQsvVHVSTKxwBTPrYushj/VqHRcQ0jnbZWYC0uiGS
MtqvL3EibW4PLPHDpxRGAU6dOOx2bPI44JNWwRrnErKTaqovVpaXDQDWXuiqd9GIZzCmbI2eGLHQ
Y37RTPXSJumsGO8bAWmlI0ZflmHnPeO6xrHAGFypwknlKmzGRw4W+vYYjhs69B+b+AtmemxJVlwd
PdpBLt6qjvqStZJq9ocJsSk58nckJG3Jbggw4/oMPvZ4yAbj515GsBLq+4qm8yH1inyrwD41BhkO
q+wyf/63FxyqHFF/FCGth/KnDivImRtR06v7DT7zkCYSk5ZMCTyoE6ZvjN4L6JfULMCS6QAGdOez
+K4/0LhSQutN/HBjypFnK/Rl7A0fglQTB47Z4Yrcclo2izrFOkUSgeo0+BbuZ047j7nz2x3JZhc7
hlTOWDydhvM6liXhb8Wrr4BpIcdkU2LR7IZrZZwhaNCwQLACFlaIfC+oMqiF20l5sU03s/U3UdOk
HUulKhi2dFYC20W9iaUSNYMGbbZbwUYxpimeN8TNwYt/YBrlPbojZqMUPIpSiF4GjgPWywre/adi
1WJV7Y15+vR0G9yWqz+hKz++04ogAxxyCAxxI7g0tJYEADIyViorDM304Fyfsg/q3kx1CgV75hKb
kXizrx0n0Pb3m3tvWfHRJImMvSCFk9cZnfMZPhQmJxo+mFUNriPjGrzt0v694/Ns8DndYFsgKTop
Zv8njFSoP5/qnI4Ptit0VCaoyapZ9RX1+vYa0FVoJxu8LNz76k5BAJyVfvv58hlKIT7UqUmbpsEV
yjzGulIlQrGB3A++P/GJTAiXSjZ/AmUHd4AGIQzdvBMUEGmwoJxdk8dj+NspSC7mqegO8M43IwPF
EWERzo+cETvfqiA9LxeDHUNaqVVYpHQs7YmOG+smmRDEPFUI2NTdVQTjWrrHmxHpAr0+lTSbrWUi
kuD5jo2PUGf2nHWi6hdkrMn8PfJRkDmI+xOXeJggaK3hVOK9aDbOJ+lamNebJ6yKsKoA4pCEVFYJ
5W6t4HaDgiOhkPmWTOwmFsXgNA/ef5gvyFODtIwO6oALFhlPlG4Ojfrb8cSLNuHj2IbhL40xUiJg
IG0SnLZiYd4CrKFV7Np8bYeNlY3Nzg4igbyAW3JB/4Es2ffZarDKgG+cFoyaAY25m0Nr0UlHHeGv
dBMuCBPgZ8QMpyv4FgAUBSz8CG3lc5Y7Q4783qQct5iZ8DSwcjhL7JIGP1hX7NGDbEb7kr7tBDl1
SycH7xsxBKToaDFtdpBZ+9ks6xcPB81Dd3FlK01LB7OMqFg3yFyl9sHwnpP3+BrAoYMn/Vm/S6uc
fCEKk8siLSlxp0ZKdoC3O5Fsoc8unfQMH18k/Cu+AHKACRj3X2f6Zppl/S+domyAIrUFg/EHQQUa
XVLbxazu+ZCJoFQEX4XtsrrXo+SH1X/x8X+uuWaPwPVn03wmEvs218IykwoZkGQJepHNsH203I9i
PVB4Vou3l64+pr/JlvfnorfhmIXZb0w75U4RjWzGw2jlh5kdvCpljV1jrx51Da+wAUliuJuoymVc
7GWHdBGlx74it/Fu44ejEaC2op1b7jBNqCjnPBk+xmginMFAadPvjOHUqwVkl5w6ese+6Lcil4hm
ElCiqN18YRJtlw4QnXja3sQVremny0alHAnqZdfAk4nowTFJCT+3YHx0FqiUr4VjUgYr4rJ+7LrR
fXZZ/X6CU/WkkbiFAzDqq2tWvrNznRq76ggrSR12nTaMfcyJiKrR+00zMnQbXk5p9DssfuR4QD/C
DOvhIJpHMYfAr234+W+EpESDL7x9rp5jSgcm2ccm7lyxpMBnTNw6YaBC/OgBiQzUCc4ZTKKvtYnu
CT4hG4Nr/WZuhbFOL6i1enhlNqN6ZtTLVn/qSwrMPVJ2g8WL4rVin2lDR4GF09ZI38WOCL32Eo7L
vbAeljlVaXYsEH1K7Re8xrdTSRqwXfwcaf0z6T68Jx5Rrq4tzhijdOxRwMbzwMGF9q02zqUZdaMs
dS7aQFWG54l01SAm++1X1/iD7EcVYskHb4AXPp6573nNzYU/mZJ2N9skRoAMhuvSgAoNPpi0Z+Td
hDB9S/KEUAxA42TTjec5e+J0kKKVIZYkHddjNN2Sg4ZHFo5KoBevfe60wlzGriV46GPrCu0Dq767
CMutiYKRFSWN21hCYKhDh/Cq4qyOjNq5MUqf/ZB7l5CP0Ww0NodYsgjIvIICr41MXChhZ8A9asc4
MUH8ToPPERLIbc0+B6pVb4I/A2ImHF518SW+AlBrB5GCYMcHdh8/UQ4uKwjyIDOS4o7c/4k6sWFT
yJ1wZfsp1uuwIyZY/hEEO0eNLycfNjwYT8e0FoCBBlm8edGN600xcr93g69O1Qd+grHa8xpo3chU
xjxHwVxO7M3hb4pVxz0WFBX1FTI1H+InHyNdf+k7unp0B8jzQLJ/MnDm48L9OJ6nJ2ZXdAgzdBTk
OmIxuulNIU7eOUEYg1JCqNR2+J+0Ox5TPI5D10ndN2QH1seYHcGBYnPFmX1mOnOPgpNrJ2ihUOay
Uf0U+Q+RgpY+LglimSCVujPz/qwcRqfQ7NJ9+Hr/QW3IrmupzeIfbpqQDy+WLP6t9FSpFtjm5oAw
jT8a9pwY/1dImn5EzgEXxWrMZpziLMON7HWzz322xx0ki5udtB417XYatsxJ8k7XVWdpllN47lWF
tGWIywhso1cTfHoD2DWQoRQfmRhgjkAAiEppRg1FBpf9WjAd6NQOOr26pIsRZgaNz5clSdmZ5Lh2
wcOjhvDa9QSPQmdKsHQVavZ7f9tpGNVenUfptqeFU0fPUurxqsFGFXVFqZEa9uZpq+zHnqc0Jn8H
Y0Yr3ZqdQQeJAfBKJW5skXWn3c+T9suv7Cc+9+UK7SYNnyMwTWkXfq4PnpmDMPlM5hNkCn16fWHI
bKqYcF+XHXRltdeeGIKquPA36kipgo7p4mWd38dMWJvB158YNM+zg7axfgIeDJKugtUaYgTlkTqs
kZmA8rrYykxg25f9+54P7LI3MG2FcsPFgNgG63UeOs3+i31JoMP6P+siVm23PLBhZiLSgVX6WNBC
oftjPCAwWAMEmGzkKUvZzcGSdADY+Gm/cruN5TzHVfjxVOCjcT1MowaqFvO67nJFyUlLE1/YupOP
8N9TuQFi6XfM0JTkaEfRKKpd5F7QKmFfYGh00OVu+nPEbqR6Oo11dhsrAiLUrA6xF0vigp16WHsd
590nlwYJhZTuWhl67+A7LILpq+532IYva4zLvcf6/gx6xNdQlTN3kDRMO88+YTsyYcdmOoQFM46W
OMVAm0JVhm/bJzzRLZvZJClUATk8xKU/pyTUOg+v4kWXxEPiN+Ez82H5cbx5FVR8atXJpQv/z76C
0A8vbM0yz5RxEjZ2K9cIPvTyQtUAdVYQwjv/zF8i219x9fNOD+86xA+C53v76RwpBOJXAt4FxRgU
B9zjFLjX3nN20Q/5hFUBHtPu4b2xJII9EZ6Te+mzxeP5FEfFGl7agJbLSzZmU3B2kTaQ2rBE/spM
lrvXyoc0qmnjTXyC2QhtQbMRO6262CEJkHXc/KI7/JNlDimVnME1njvEFpGL0At6NrudXJsHb7SX
fCgua8VFf9FdsUeJHmtKZQgCU2N1kqJXF4yKuGBMEzAledCk754wOS7G0NCKIAA10yTrAjEQmrt1
RWwOxNxHwMyq3FzjHqSSC9GDBSjeOw5pAzvFBW+d5kXwqp3nFMQPWHUzurhIaBtriu8FcnR0NrRU
AmjBOxgLPARTAGjsJE0VSN1S9gZMTOKzhxLO+s2Zp6uaLeG2Hxr2mW6+RNPBNX6bA/NBeLByDmWI
Uiebsim9uKerx8rfjnMSuXvohzzE68iXRY6jZDXD+60LUNin2KEzjYbtDH/PcynuHRqCwA1AYQgN
OgLd78VlCaAvKt0MLxSbgMaUcrcjL8gnI5RPPDNhkzFEVwyfyVGKH0LmMZSorcAQG67L1FH8Hs7k
aG5gzLx9PNjVGZuWK1p/H0UR4NIVueWQ57s3fgd9cUrY8EwZXql/CBFwy6BNMxgA6uHdpJQunQMX
r6G3IW6CCdbYEJPs96SctuAG2++Q5BD/t8cdJril+5dtvx18RjEX0+9h0Uwa5sQxhw2ltO6T/Scx
LYhZd9ILAeSlL9UZP1D3O2IQIjZ/Ds0EjpHqmKwfeuP+5v87t6tez3ylX6Zz3e4JQ5h8NW1M7gUE
YJamf38vAo/Wv5/QwRGfkIIWZ/3LsFi2WDBEy8m8DL6RVtt4yocYUI+g4e9kDI1kFnBV96TzJtsj
cD3IOWTPDeTtsgCOcmq3Jj60dL4k/H0GwHX9c3gOFfgxZcT1ZUtC1ZnGjkNFx63h1nHl1x8dyX9/
ZVfy360eYLo6+vcI+aiNd0EL58lvO3QTO25t56PvoLbvo3xUY3VnBrUt80NJzOQrXnaW/NdFVcA3
hkWhb7/szhiHi2HFFo89Kc/ZLCTl66+FWvRL/kc+v+ydV9uzzwuS3rnIY9X9zNoOxseOJvQF+zz6
b5oADKKriAu0izU4X6/cblAOgLlAwK1jyzl2dkRiCLq4Nvo7wZLNcgHAR4fuba3HZgCsYHVsNqrw
GTgMbsUxfA3Yh7CX+WJhJNJHVHFCqLpwLPoFdR/FJBkl75t3wRk+gPYK0EtTL4+vhX2XaRaqr+5+
XY9ETmByQQnCea5Z7eGRMgaWqEnFB8YbmwM4ftqy7es7JcxsQGmBz49F3cPfF26lNw94HNo6DFLB
ysrvNf2PYKqExgThbYobJoYSxkrSJCWYD1Tl/iNASsYlcdsspMXiuq0bq3Fx3XZLezk5fjFDgZoo
etwmR/xsOFYo6oRs0JK8yBndBGSVCvmXdlBYDbukDWaOEdLMpaGrc/+u676tHVWQc46AwOa0dOfF
NI8emN5/p4SByJRmd5w5u9kYkya3jC7WmO/GqdiNv7CLJC1O9sSfsRyHsjm98eS9Pxv9o63x4jJD
EaEq5xiszYIA8XfaftbxeNwv9/JqIoFa4HAgjpguiTOHmeuZw33nE8kfZFyCx5s1AcPgplt8dHke
ak6+fBg9F4aCPD/kQVs7zdlRHFjgMNxKTO//3YC/sUWXQ1kO7cpBTG7/Y3F8SfQrBkQD/A11CMY8
js51yN4S+SE2WbYc7cTdOXjmM9b/XQPyOpAheB/7t/+68pJ9OmBZZIRDFkzQARPwJ33gMUwTGIEL
Nkzi1jf/WFsbr+LC+3e9fvpQ37bM+XExQS4bPyYvro/bZCgJXV9ce78D+d2rfx99IGwQbAwjQtJh
NkNz2B2bfDWHKqQMdfzZa2tt/UigNSg+NX87Aj1HNo1AWCXoZ8Hc/+q39pIs0RbvhSTjyWMhp4B/
cwN4slqHWBcCFxFuuWEWML3HTB6qpBFhbg13b7HDx8Q6h113PN7tyPA5ppxZmqEc55nqz2ZvMe7T
/Pk7rTdriVjeHrBF5syh06NmNNlOFky2iMusLcssvrM6iNa/m6R9KrYOlbXlbSCp3kaNbQS9U8sz
gq/DGjWrnddClr3ypsCU1NwbJNHGpoJzO4S11zyqloMneEavqRG+xulekidU+2FfXTmkcKbBt+C2
wyKhzx6ASdrsa6t/kzVfhxjSW305sChHue2YAD3QQTLa+rSKmkCB/tTzJXeo7SFVh6iiR6VjRmwT
CGOF1cIcCcfISSe1LW/Y9DEj4x9KO1/O15fwHhNC0oU6iOP8Np1vnK6dosBviPS5DrpT0q8XCvES
5y1kHZDrryqyBS/NNqyAKwznXxjjdFIu7jFgR2963tKviMoT6rkBd7HO4u/OBNvG71lckyIpgwUA
mz46YxsdgqdoI5+g7FAhIkZ8L9gD2wv8Q8kj9uRsTtv7N32VflN4JHYXpBr0HAP6pykwv4SqAKcH
y3vMWG5UbfAgwE2l205FXez/UIpKy38F6jVuMUsa7iAgcRv/F6s5XCD/9O89wgoIgOQX7Ny7jp/z
NoQUQYzUHUTiFiomUAjNbBv3lVHtX26u9rKLW8A2iPyLBHThwsS3eM8azNy/VspgPGBTla1eutVZ
mMkjHrU5bzMd/AAfUgfM4ALNvbLTltNWBUbmqPSIm6e5RDPkzMdw+aZjiCfwDCANfQTGC8MISG7y
L+zmiDeTMUpBVWJtpsZpuVALTMVsc9/15HcuHieUKULnird3d//JIvSlLhJZyBsjEPhudeOONKiq
KMAPLSxqJvqgPSUVh6Sj3vCSWzxemGwoD7cTsAO5PgQWZeKJhy/GTNg21oNWW8RftFVYJ2BYg8kx
xS/4TsDWr437LLvg4Qe2/JcVRrfZ9lbnQwdaBzVim1pE6XdizlFltZwUVyHeIaYVT2QLrKfqcsMu
bIycDVN+yQwBQaBfsoD+pibwBLFzJgYFrsu2teMsPz08WuxurBxMztM+T95JnmjT9z5dYoPHODso
h8euWW1mn2VKilW9m2WRsSzGr6ky14/IDKEOQTtSttckg9nov0cQqWjijF4zeFTwxhTBEXZlQVLM
GNqsJxefOJ6LkAvMfcQEfbr1u5Axxp3+HbbXjPha+G/5U6SwNixizBMiXqCW5VsUiRTebY1NyjAD
+8WqhmRE8wjG3no5BiMAtJf5rbP70dXuiIprJx3f1wpcvceEa3ShKjTGhlqOxTXBMLQ2SQXrudCi
LuvsyBEuqcSROK/L/YYiAP4IVlbnrfLxnjB82JunIkNW38JMEi9PsXnbjeF92t67hlVkZ5zCQuDF
0lqkb6iJvtLiigk3qHKk/Tojyrpu6I7jHCkeUHE0t71v97Bcw50BIwN0VUhq3KrnbXrzHsKIh2e0
Jk918Ni27jAUEB+6NamMVJuACNC0T01CfMaM/igebEcuX1B4RKwpBTtWeVXLvhjh+SFzCPZ3MJbL
/ViRgZFh1d6T09BtVXKlZhYZZqIIC9lR7TON2ri79hVy1rLBx7kgGqMh4bSOxvwFJkYohWrNMMSG
zYkLCaToSCGUNAWLayJmtyx+YWyLIfN7VByKCcS2BI4hocNsBDuyYQUhGYsNXExtRM38QmcPYN0g
rZ39kuzhdZPKU0mmu9DKNCI8xhycpsueKOPPrCJNIuu3kuJASUJ9L4MlvtC/N6SV3eifO5u+AiGC
UgyYoIKmWa75rpnTWqXO0WCDadsyNsLe7o2lLsLiAebnWLqA7LERqvtY3Cq7ogD1nhoyy9EgkhOn
ryGWWihX0WDV9M2+4P5CCTHHw7kIv/Yathl930mKWSkQPJJZKgsYGnRjEe+dgChg3VNGtmYF1Dbr
viioHpiTSWlGW7ltBT0gY5xF2Xt0bbrUdPIxaTXD9q6aGgxxehiAOc6FCOTkMkM2PQC0BjJVj/m0
94SBhwMW/uh07NLod2Qjz5T6xsoQhgHPhFUKf6Jspww/Ca4pBAcj4+awY4qNi4bQh6Cmd4ojZYhT
LC6keJycT9lGZq58COsFcgIgYpsPOaMLT8RhFiG1m8gHJtaK32unIl8YE/SOH9TYN+93eKfiiyQg
BeIl6rkdofWH14XGmG0Q5doeTjDy3Pa67shOUpm6P7pwa/pO6KCxO64xRd9Dp+PK14i6HOkY6km1
AIqIUxvbZqubXMLXtMGfh25cjc4XjNfCMf3NKsAwAr1LHbj8xMbxDOsG+0h6hZi7UbZxQrjvQTmt
MZNj6soenfbU07mxjwzIescUO8f2pLTVDZTJlVZsczRi3ZEREl0Uv+NqhBHV+n1k/NdLhKXbS0wh
Nr6z3cAIediJ2+NOcF3gDDW5BKqBBlF8BkzAzIeEhzTEoS0acgC5FpHMNnLybEbw3l6rAkX44cyW
fUVIyIvMCgYFFAQ6SgOSQe42xd5723U1jLk5sFBJ5/fg6mpcpu9VuerS7JH+iQQxfibQ7u4x0YHQ
O8c67AtnE0C+IzXlR13XnuOYKRDQTWk/ozBojZmnJqwVTJTXh8icMiZoitprmQVkBR4vDl19SrOX
UIbaGnMxlMpPJB2vyac9fT+CtBpBEu23gTm9u1q5ztdxWG8W2EEttGST4F4nn9tV0HVvrNcoJ9oB
AQ4YnVQFWnyTz64xEM/brRJMxTDrsakfJgD3XnZxqW5O2J6zsrmljp1w/OL8n+Y8EDS2CQs2raPe
0VyCUj/Q7+E5Kn6GoJ0XEVTWN/DM8r/Ra1QvXnN9Sef7yYZjqVA2HkraFVwlVPOKlR/OSRGBZH+P
LXuzM8EM5+XVRQNbTo0FPb3L7LHYACFbzPj4KAV1Qk+BcYxlGeft+JU4JspHHM83tNTp2c/V+ZMf
olZgk8QqXUh7ZCATqHHd2tNfEBWsepUeq0E3uG1LlPXM9jAnaa78+Qwr3TVo1/eoQpfAvNS0OVa9
nGaCYkKFwRoOozLYKcWPbTD+2P0HFX9bBmcatcMHop/NvGAcu0cWFbo8WIjSrAbKbjVOSXg3sCeD
4SYpRD++N2wIrTVweNLswX5pWmWK5dCyYRKjpd0YPq8l+T0UiqC/ZPUoRAc5QPjdPITKhGsIstpm
B2Xu95e1JIEapkXYd+wFH5aGW9dtLdskEm/CpBOPMWtqQECAfHEXxnbDBpDxx3uSGVd0uxAly7eh
T421um7hEMuhP/FvMzEcY96D6IkFi7XfuD0HNfqYRkPcXqVLQkrqGD1718oTld5hbsGZIdR9xGJ5
XnEZOoOOc171mDov1OgAWqTJXnbSDZCLjSGFWx9UD9rPtBdpPCB6Zjuq4o0oWyEAwhXC/uM3ag8e
o55GvA6hSBbxoKN0R91QsUWmFAZw2z2WOk2P2Y+Ti4B3jsPMHLoGoX+09WSMgPXeVcsCvBeTqoK6
fg1Ri77d96gv0XlSbkbq3AyRMx9zJjnUw2D1SJGlS1gFSYFMn0V2wnqBFBoHYyd1he3IZ6UT+1vK
N/5BYoddEE0R1YfiJ8mWQ6ZAJkI4B7dkM/88+5oHo3ZDhJ2oCbJm1oXpjl8pMmQmCM2rTmvKnjXs
RajbS1pe9OUx9UarnV9chjTAFwN40CXFkhRtEh0sBHFQzXbdA9Et4840d7BLBhxc0OWHhEyGUP12
yAJSUlpQ9I7HPQaz4DpK8SCDWr3tjZuTxlBcYE3SXqRADff1d5cddQ5+bMSUHaTvySjLyiEY5wZ7
O2zg++ENumQZeB5fO3YqLMJWb/daqSSFpS68chpCb+8ZGMsaK2eeN4/ZMMNhWIEG+fn6Oc8iEvR8
9W6dj5TSL0oP3KOI7KXwcKW8A5nHEDPZaZxFV/j3l4BXqcl0zSJ1SdHBBkndQUFuxaQiJOctXWiP
YLJl48NFbqa0OLDg2kHwodEAxTPt2rTBYRrgIwPT48zojZ87WnTNjhH2z6+cCZ7Fr5coPwEPPQLz
SieoEaDH/9jb4wpGOX9uofEXSiGoq350RvkdDjKHktSl55bHolkAyIJjBhH85z6ZgTbsFcTZfxH/
7ZF7NENIx/ZQAcmzP64Ob0MKL4xXn2WYXS8ACPI49lAVLV/8JsmJQIfVWW2cy+5hOMRUEzoPka6G
EBe03z5QLS/hagcDJh00cqAhb/9YqB7bn2zA5dwC0345+b5c4U1ozl6B7OUQknyGlGHa90lnW/8c
aqHaq9Entk7Z4ft2N8lthKz37F021nV7lUlT/S54Jatjajez/G0/ADlOXIu30Jz+RhXeW3hXjivD
f6Y2TER8ROkoYGVGn5YiSc9tlMrtHaUR/V7AdtriXB2f1Zc8d4qBjVsQRyaMGyxojIms9HA9NNTU
K1bITHeVxQ55Qcz/bDQrC6sFShaGt1FaekR1S2sDo7Ms/lHhnFCstKgRieNDNQVh5ViGTIVY4HRl
JDYTTLbLlxAaiIygNKE84rd6U22kw8yX5daVeWvWxdKQps6wPmo+XgmL+0yxywHBBCUbYuZLWq70
JtsKRnr+RZpfCw2EZoL5Xo7ZF0kIBDQIhf4J2w+M8A3JzOkiIKYljD6EvfzsNznvqMQupxIcH445
+rHZa/I429RGxEeN2I4OW7t6uvGyRY+Ib3WS73oH6a4ng9evQ0YEHxHona9tD1JQeaJqyZGhj85h
5hvs30Jt/plUw4aCxKZma4b6kdIpInh7QIDJNIdLTMuEOYpjsrzNe4cSI7DVGZYcrBcINShTLogz
ODoc0OcSxN3V/TTsRd+gN++s66A1xFKZzghDHXxyzbQP+33cpopafSPIxH5GjZH6RNnazOV9Rruv
DN6Tj/TdzafU/6Nm8Fh8oQ+UEk6ASPnZakk7YaXT5GXMdbqHtQjVE4tp2VrFmJmjPtVXVQKBgeUU
iOI1ZCXEbd4sbJiP2AEzuVdE+cHylYS6x7HEw22vHhmIjHyItfScuZ++45ymDVbvL9RG7Hnvse7R
iQe24+ot4CalJOUKJoHmhK0E9oX3BSpydvZ84NMv0YZnGkjBV+4Qv4scGr9dtaWZCegQDTYGNSUe
Rp1eA0ZMX8OuMeIStPcp6lv+N3mfGAy46ylEZioW8xeOOQM2BDOS7TMiWgbqjFrlviV3Zvoba2s9
AqHa4QPVSQqW3Q7Na5Fw/VDqkA/7m27mleWfwihEtZK87LsVBkFqlVYUHhY5WDN4s4SEZ+OWxfcz
Dpl9cdRwdrZiykprhisYWN1TzKAzOi6PmPFgorQAk7qA3Tvovg4o3qy24lzE/Jq83T1+fdY/W315
JzsAuH59sBGJ7sexFx/jY2rH8fF48WJvMmFK8rynbcVxPJnE3t5bHXnQbwQE77UEM1Yc93k3s4sV
t5yYp5XvYTbj/e52Mlu4Y8W1BYAOCjhey8+5G69349l6TYCatV5LZy1aMFaSaF6yHiYSQVTAEPkB
+IIzlH2Xn7vmJzzjetizpGZTgowQnewGaJlH4DQB6tSTv8Ogv9AHCeTjwGwhn465V4JST2v8tsaq
XYx5JVy7rCS0FyEkohHtt9v8JtifhVNMISF9H0r8/TMrzHhbEsZOVGtRibAS0dmOTgusY9HiFP11
MtQ9OH1JJboWJ8ywwuFd/tROhsnXlq0iY6pjdsBjmLJeNuv4uOMid3TYHcgzKt+m/IQvWl7YEPPZ
+dfTh6wJvEf2cxFH5W4lC+glPFR2xOTnAjnia22v22I9rBz52WXHQf6b81cJ1uudhgCr9+9Tc26A
DsCnOeFyKO128g6Gw9Wd7XaUgYwKyeX4hQwUvR9zavv8YXRwHz/jF2NPth3oRvFbszFf+rW1l3d8
/dyrw74cMRI+kwf27Sw4EolhXft8cJV3v2BPbCWl4DhGB8OOsDUcoupdEvZh8dE40uEivECahPj9
9/GQCoqEw78IX24SRT4XbSGmKSfnas1VMc/t7QgD7NHhar2s+WhUWMFozhJuz2k++Tzw9BCn1Gmg
Gvqpxf9Pw/AQVRbKEvlswYnGchTS8uUJ0bGoSK4rtKoHHTi6sHUnBO3lbSkeQj0+QckbiUJ+xV+E
IWad/c407dPFrvebtYKpxdsHN/AjGyagjaznJk68lh9FtOsFpsoxGy0HC6w/9J+WwADaLNxdG9bl
8m2vliuSb21Yx47OI9L4YY1AjLh5sluwWjpvu3IHk/0E+w/PuwhvsjzK3tBx0qMNy4ZLfAU/9Ogp
QWexL39NMc/7WFyc/NFh2k/4Lz4PdfgvyP5tfnEf94S3XA4QCAxgUlvLFZljFnesKKSsAffzDha8
sxVvQQ2uHGISLtfX7eDrDCAlOfJ+HrUa1MJZLi0+ivyEK5PfK6xRsMXHTqxGKOLsv24HhH+eYk6Q
kT1Pw8Dw3jOTdSmb0SVxeCTPNFrxxMvlcenMV6vBwHE40YU1oJEyeFkjppmjxusSmSjy/rLDu1zV
wtP4KQiENxisnI3ljPiHjzsa8Z6Ox8EIkEC+6JZRwva5wR6G1gXpWqnTtqITLUU5OLAkonpx5Hjp
2afTxYYrcuKHEfwyC5TcPU2nVCGs4lEYIQaYp9TOlXU4HCIe7QLyhFe62AggGTOM9ciGZiLg8As/
OER3WrQuF7H8d1278vpIFqUI5T0LANRR7lxFdIh4Dwzykz89XZ0TGV+M3fN4NBiJFL8h6YoUhqc5
I/s0DU7Tk3+KbDmUH2I6hQIM6cCPCC6/X32wH6fHxMVfOVOg7nHD0mnEkPlQTjuzHV8NHpAMmYPl
bLteM3vQyySkx2Xyfg+pIJggmCd2/GXCYKJm8bd4Bj7Hx+aqxneZK0Te6BfLe/9+UAlmv9AUCz5c
IxYLmi9Ph095FVx9ECoqqgPZG35xLbP/YZ8Em++w4fMbEC0OrHpMtBANZcuQp+BAlTQeDfnCa94u
d9l8LNnl/g5ko1VOd7IZKSfRNXtvOot/q8D/50g+JTwBZlLj7yu7Tt6IKQ4LuEc2XtHofkxe2hRh
ugYPCQIGA7tM3qc8+hxoMAR7e/O3DFo2xGI72kKWWA1SX3NBbto2e5TQCH7YlNTQvqcAP5Y8O/wu
+xkLilMUpvMzYGhu8ZqlBT85mgbT6LAI6ZPK22GBIhue1+HNGeWnEctQdDhA2hsdIkAQHXaj+iE7
PuLQ8ofVhhPwlT3Z7SbQ5Eq58ZjyabSt77Fc5gCdwLzWyFX+loSL37KGLY4ND5AMAYKMrf+IOrfl
BLVmC7/QskoEFG45C56P0RtKowFFUREVefr9ta61/yIxiTFRYc4+jB49mmu6hdKC41iX3c/FhZAu
7pNSJ5dSTqd8YsJ5TsxkhJ/kwsplFoeoWhHebi2O56fy+jB+5H757RoSNW4pCd4LKqhAZoCQUvSm
GF47uB4cz6yLN5mMJp8QRLG8mUllUF6QkBgSXqzCS5Hr/bbxovDK2TbDNWmBvPUFfkLcQn/NU8nq
XozBc60Nm3xKIEWXbcQ9PgxhezdetF21u4D06kU7Tj2n1MUsY4/txkw6NHd/L4tdnrpcLCYnI+01
n89b1iCBoaC6/MsbzXtUs6fACs95SL4APt1hHYQH3SXuzbpMjuUWA4iNGv1S1F+tFLu2exjS3mAw
EJuE4JuD7QtdPVxhEyt3sBlglQYbAD6xTdOxvdkMpmgzsDd4ITSWwsjCDO12aPONdHQ/Omhtt93d
ouGxs9rQ5fBXeFHDPfqgGdZ0HvKmWaphyOqTdTf9a6C5ZgXTDc8iKaFl03PlFmOIgdhBdHTCJ/aE
JATTdwwB2LbsywAZos89GXJrAMGcgak9Xy0HqOHB1uCRYklvDMxSFzTRQsvfzDe8tRWEZfxZgZQc
1H40XDawPi9D+U3l4k3AQajfOkwAhLrBnF8G9OAa2sMljWDmGJjIYWgI9e7rwrjQHpbz2kraOyC+
I2crJwLc29qxdyGsv5nvBplrXcBKYLoPR95lMzDtiYUoVBzgXAr7V8gGzCP2Ecykjl85zMVEQEHU
Mu7u3WW0JYQF1Jy9i3vBAIzFBsjBCYeuBx+VDARBHb5Bn15eg/n5JZNd+HrklAOEUoiWIxlAbUAW
hWkTnzhBHhG7iddwxI7IISROusz4xCVIeIRSq4UaouyvGpbQlzDCq+xJCfAbs7XhHkkgLMQMKBeh
mG/RhQBd4jnp0PfEeMl/llv5z6Rq/OP+0+n/fIIt9siPvN8vdYNZXZwqaXWX/dS0k4n214kaW1RL
3RIAF/SH0O7LNSKIr6w9sE1w9veQbIJJg8iP+y52FfDIYZs91GUyV7/FsDSyhomQTw6E8sOmjS34
BnA/P3KesQgaqbCYEbFc1BB6NKT47MmPJdN8uZeyPx6iC87mQTuZGhc3pcOIx/L2xovFeMGux7Zg
nMSB4a2wRGyAMd5gi14vbmpItYAzIYfZk1vsKAEZYz5l6dBNtut0I0K6sURkMQz20/wvYK+H02kw
DWSocOW/tq2JNvhj24hBIQBZrgYbrMEmZBv7mzA8WiGNV4PN6tKV0GezXK1ia1Wjb9B/UWG8X5wj
uBuUjcb0vitIJhsDeppoS3SIeSwRa5Pj6kNdpTCW0MosfuZgtgKlSlx62KwlZHjisE/QxzhZa6mP
QTlD2Twu1ODYIraaQIe2FDYR7QdEWYO5JIyEt/NNbd/gmkgMxs67EkyWHAWxYwx/w7s7T7twUY8D
4+vR9vRhggi9SFghDchT8IkdEknJkWaMAbKGa52TKnnLFrILGePkGvgEmTUXmvZZazIyrM1gJPke
FEr5s09OMVuulpPUITuAAwhUmPkgSxF9C05FqiBPJrd8byE5yhMz0VB4MmJIefua9XuHLQH70zqg
vle6lf2A0ULTgWOOD7PrAjZYSdXk5WFNfl5eSY0KIG5qTL9vteANq0IpgNHgUBIlPK4HoCteebW1
kjBZDtpNPxy2DPr3wWcCxCqZJ/OGyzwt4S3GTjZnVqYrr63xOTlQYlLOj7GiYiEL//PyyZFO1u/V
ldNKr9PdYWYt0SkV5h78fYuyZw5ry/klf14uf3loaenuSOv+ErHygZmEJSTUSjRWP2ci5TaFSCEb
De5fn7kvMMJulJ8+jD/22Iu4jMjMP4ey3+QTyhcfqf3wKdmBAUNM5Ta1f0gMCdooeJIEckAbEBfM
5ml9iF7f/FmipPUQUMHrXx12mByf8AoMmdy841VdPLM8i9DI5BklduAJxVMLp+eOdBlxBPFEi2CD
8MHw12uWg1gTmvR4qR4NGJ+/hp5mv+bM6gSWyD+EJKHECSnuLgiG/30/sIM9KAoe74R3ATzG/fJ+
hK0n1E6J+NYdQhIxB1veO6Og7HgsOa+8Qzk+geqTmLEmtGVOMmHtIXhMdC8dxs4SkZhle1WG6lqb
FgjY2+r49tMevofpVvGb3SKRvonGxpi1ZzzUznpgZmM0AWHPDyqCb/kQgICvkjak7Gs2H9jV5/ib
zufT+d/f+G9MLRqPCQ8mED6kuPSDc+1Lfiheje+593tMz+KrGTrJ/XLLD6SxFFpt8de0sAaCSeBq
P1kMzhw/TH2Q30skLQkxGNvnq9xrRGBLnrjnVk9YljAwnWwozwQ38+Px54H8jfwlCJb96j66Es3S
fKSjg0lFvjFGLRTOpey0kp2mjAtudR9hS5Y0dTuyLwlyXnRkiCFCiYNSERUheG10qflf43SidZCZ
sjxuiS9J2f37EzapcpveyzHw+40xgTQJoUisptaG9HGZo7RII7f/8tRQD280jd5mGnQ4ec9ClpO8
obDnpT3v7I2Id0j4DaUaT0sVCVv6h4arnIyJahPCObANPow4eVZhjl4XQiQtFsKj+9xHMCYsOi5u
jV5lE8lCEQsteSZI29jq9CMYyuQbLohuPyfH6Bg9RgyAIZqSAwjZbnqkoWSasm+xEok72WPO5Ewt
iXInk6Xx2e0Wg2Ks49K08ygOJEFvO23HmJlYmXzLT10MkY2JECJrZXmecDVvm49SHtp51O/YX3BJ
bZPtdGcEpxDaiZT5XjZOMWXowWc/KM6ybfVGo/0Iu8yuZLMmuHfopWLrxfphqHh50BzJ3Wtadugr
whBxjb4A4JfKLTZJqIJC8xbCN0g5e0V8SGWni8Mn7qW2hb9B+fWXdn2x0oR4wweL4kFrS/V5HuCH
Lxghdk4I5Gebc3RhwyuBGDa1yWsT+EmYr4Jj3nEvSL94gFFu4n6toZheYfeKtxCiLG/jYzk7H1N+
cyiC2FUIiUs8Sely9uWAJWEJiP3qiask3OTNyquVNyzvo9XNWQ6aaRlQbXydNYcAx4KmlwXuUvXT
jdyhhBl6qQpgRcdHxt0zuUUx03su4t8bUx5s+tT08N6TZiSJYr+cX+H9YpCjLMzCK+aM3GshyZYc
ChqbNPIjpfng+mHAuEBikgXSfEI4ZZYJpFDIFxC4GcqwiJn+MRM+PFUoYjgmfZMbS0YMVZc4t3LS
kdh0eUo5xCx/IkYiR4RcbOIpvop5JEIiOi6glUlkCTQeyK3EgvIpuKIE02+bJlcInYIyyv+RR1B+
ZeFtTUtQvAcZq0RzEuQJ9ijZ5uefkzYWQBsvXpxwhW+M2H3Y36yLjSlJCXYSAqBkxYIDyMFE+88/
FOIwEX7ClLVvyIxMKLGfQ8wv4a2gBIQwHPro+ycd3tb3VACfANEJ/CpQYtrFBwm9WGjK8volWpbI
+GGJTd4RdB67BJvjHdNSBqASXGr+kBSP49SlcZDA/OlVvzQKdwXBkHhZ3iqBJ8iznAvZhFyzz4d4
4wPrVmj7B/jjApXKaqXzhnBC+Oj8NPzf+s36soa/x3dHCLtb9pjsEhqwAkg0XXVQgapyMSocHtjL
TFzvx5kPt7MZIZqQ3GEqc0tosK+2bBjaAqjb4nFlOyWf7dTrmT7J12AJcOhPGrwFQXB4Iz9tXy6s
we2LVoEfhRz7G7PLr+UYEmPLg1/ASAImybn8T1xPLracifXHrtzs4WwoGD7Z/xgsbAzKeyZIXxMM
SlGAD+xQDWI83MqZW8sJFHxCVs2bjo3qs/AkrQHyCQ1uBQoCofle8u9lP9myYsR3soAgh7XoMaBw
w1I6+X/SpSWrStLnk4vv9L6LTQDg3Ke3mocyQopHHPmtZMhTyWffVqN7GMqiAgkGLACI2Y03ik00
zTKV44QGEs1Wkv6Np1O88jRg/ZTsEV1WK3+zg0ZFOlmTeH4XXOvvu7ne0F8rrh0sCAmL0fHi8kgM
dbeyQKox+8SF8REomLxvK4fK9ykLS6I1Ob1ySSShlJX9huYsZfJv7oii5CeTAtcK68+lSwbyaHlm
RnNzVr/7EYIZfymBHmuHD1NMBuqXcjnRgsNotOzXQl6nWB8ANQcqIo8SPvx7Ia9DfIsQwUkFOfa/
bUJVXJQcDBXCncjBYB1u23g3fVIG5SfCF3uNRQ+T8DgVO07Rin9FPYizoTicEIUVKvmG1LMk0JM2
DWowIwGsNDujJ+Y2+a4T7zKQb5BpG4hGbtsWKjtzb/mPjS0k96Ee3ecsbmj9dHwzKmNqjEhoQZ36
lBISaXUlO+iaE8LfbnN0DaATbDO/42rda2Qy+5fhjAFTKbx6MLsG9AG7sIcCSl7d1gihfWH6rhIW
QZjMTdectAideNVPzgppwieLov5hE+MfyB0art5HDkCiJMePe2eaSxN6UZM+03Oddlfr3j6O/+U1
7F95ooO9qv27dyVpOTHo0GeeG95JcggaQl2e3D/3nuEbRyStVihekcf95sEAkQ9r8xpp3Cl5Ey3n
Xon0YUK+Y7rPkGftKn4eSbB26N6cQ7dCvvp4G6B3NE9elhE8Dedt3VYgOq7EqChLkZce6MdBzRnc
44XWEPJCzy7lCx+4DHWyBodsOgkim9bcJRRDvCO2wJckCoKGBrJDY47kbr8sEjFyGv3zojm9PPuC
JaA+5cNA/X8P/l1JBB9UPTI0Q6T+Ibndw7k78rvTktRsJJGSxvsV757ZQBQ1a0fSR4ln5JCkSQKF
oyPJhQhFZu5/4cPRk9SpmOYOy4RFk2GmxViTgpCYnBGYlChKj4qHVQL0r5VBapDIMy7HhoqxQUDJ
l+6NhyN9SNLDIY1yEgFLLAGbbHDaoHQiD2Gu6CfclV9JYPRwmkScEjNAplIYPhfCKjN+L13RvCDO
Jty+917sVsxy79xNB5ceBfl00CEU0Yk25Anlr9/OAPiNbONN3kH7K6S15jRb11FX1iHWgx0kB6Vz
PsmbJE/6oq1ondAL9g0tkEj2m3+1x4Adp0Zh/ek0hoKVycavwdIhmocSRSCmQ7YpDWiH8WEscVjq
pVP5ClCL00MZg32Mg+nffGz7CA4okeEvGBBl5faIvA/SL6bDoOWL1lJicVNICWXLOe2eoztd60wE
9BgJdhwaI/PKdHqYPrb5e96cRii2s1mdPEqQWj9t8mU2N3pk1sRoKgIqYxhuBzKW2ZMJddQ+0SBh
jJMpnLJMhsc7Ff3tJ4cOiyugBQM6677aPyrue/RYnf7a09PfG20QH00dLnEnoIqELDZhINNIHygo
WE1GElmXXvPHHEuUmA5KoJPTQoLZZCa5EEOCYdZ6EufKNX66cqVav0yeZsnS3P25XkhP+ZAh5Mp5
N2Dg0r30GHg2SAeyYGSTfMNROsc/Ccdl1+wldjFpWYYnkDNaNEODWbOS3NEix1f2W/BJNIfHMfvv
s1HTtRZoQSuAWB1cUZE/rmVggigSeUg3oYrw+aQ7lb39r6S5jCMwF5V/H4nqIxLu4ithpMLZYGGJ
g+TTnVK+fEWv7WubgH2inofCTD+myzwStf10fJjKVFAtKoTVzYuVzEgEyY9uYlOyk8Snt6zsJQDT
mp3NJq0+C1SW54EOOulZ/C/el0RHDvmKbXWbI8PRB0w1/HTyQb/yWE4QuEtUuhT3AprnpVD4a0J9
CeQFI/rXnADXSLIAaOLL0pUdbi5LXA8Tuhp2BmMLe7I9z7VVa9XRfBPZMOSXUKRwm8PzK0owARWU
ccmbJ/EPmW8LKjjzIBGHYl1YOtXmC1MlJE89hXI9JNawwQG4cp80UEygvHegOxY74xnkxWEIxTFm
NAs8LQGAxGx/TCNv+UCnlaBuEiJK+sO2QiHsc8imPliEU1SRc388BvWktDVcE2kBrYCf8bZHE2Iq
2s3Yag2rmIkXly4r6X1F1pVPyR8LeklEWV06/mTLb4kcBYDbHwDHXszpYZl3xhhbV//cypomh8EH
0tlDBkRS9CNrXHJlqO4TCGcwX0iYv61nTccMH91j8OJT8vDL6j7Cu7IiGPA1ZE2NQfFpb9MCunJo
tWc4xxCJf05je1nYxpaVQ+1G6g4scIoeBXg/k+63spw/vmhIZ8gHeZciHVJ+BP1aHxovhbvCk7SA
mmEkCQlqYUgwUybrSh5Bne2TcbQiCQrlMyQEPkBtmfgbwjhQ3M0gnAuMILAJ5RABieX/wOESRU8O
qdujpk7TEKGiRJAf+AbBEYkl5fpD4eIfA6vs//udbCEpqjB9gT1J07+9E8AbxL8ArJcURA7JbxKH
jUwE+t2fMuNANrkgIf8CMwGeIAoFiZCjBf7A5CM5w5y9x1TlXApyowNyoCvh0BL3yXFlS4jrFQ/7
RRIFPZTY8+TogR7JV1bYUtwGlDvi0XsG+EbiwoNoXBQIVwLSo5OtkfAhCxe3eu4LevMfCil/e2Ox
SpLBetYxlQJ2Cldgs2FD8NIEaJI44ch8Pvs0hszrU/782Be5wl8Uqo0FuU9bQZlZz76cAFk0Z96w
vGl5uEBVco9Bqb7NJzM7+/LzbYgmwcd6Kf0cdQK4fCN4anjg5RI+PCyE3or6GmEJE+nDY4D2YVcs
bDmhhLv5gE1cIOzWxZvrsoXlJ1JSioW7BRV9SQimYbgZrFzBR7A1SmiwswHVcTgYaN1uOvJvmZTC
d/L5/hz4Ikw+HUfECQxqpIETKqhXLKTi1+ReIChQCIB5mjqvTBqhLZ+YyQAwOQEjhCgh0qQ3kSij
WMATdQkbKvaiPLsg/fT0dwX3P4wEXlMBoOSyx1aLf6Ta+UTCkvOMVqzPb+QWCijGTCoBbyfnSd+U
IZAPA6hDfZdmsaDxV9NP0+Ak0VVDCRsxI+RJ2OQfkEMm3bxB/QQGUX3Bfgqg7psjh+Z07H/el9Y9
jS/FHaWA1gthMB2tHP9m0uN1s2D9EviFKKEgP53bSrG8IWQNLfsUnRGRcksolxXTreybbusdVPss
FLFhHJ/ph2RqsE13nprRtDV+obUPlqBGygwe6fuvBgUGJm0HKgni3+k3AaY+D7TL+N6ekzY/Xoxx
syEYH+qw7qYMcLrOa8g99Ca0gtfVfv8hT9s4DeveI/EMopfT7KKhkpPgiHoqKkujh30wHXSsmZSY
0mRX+hfdqxNfxe7iN28Nq0KStEXU0qVPjQ76F3m6PjycfjvnH15p9YiS+7xdrrMUCiQdJ+2RRmM7
A8tac13Z5MYqvq7L1+85oerWwrEiHgwPc1mXB4SuN80b/V5ENCb/qm6jUxsT9NCY9GBYldVevYc1
s8PdOmHqnInqwnF72pYdhnLbvLBOQbfBYfQsB8aZVOygTi8QIaH/UKkVxXOKHUp0YKTaxVVSSpzw
ma3j1px06IUZX2gjgSZueoXWLRrRvYR/PWEEH/BCvIpXHTSdt+Wy3BbLZK+tOrjpDxotBkumtEgE
gHAPw2dUl5Xl3wl6Gv32sNE3huaYIu/Q7D/D2i/D1qdXLmGyjmSLKe5aWR69ZH30KohkcTfuGp/j
m3oeBMpwJXuQyowMP7p7LTK3pJ/0D32jK+VJ+ZsqqiLJN+uojuiq7SsRKygL1eDho71OFyXzjD0B
yaClE1QkIaWpyKDP5KNT0SD6aAzOfWSYonTYmMiRDu/93JPm/Qw5/GfXgETNfAHGrSMNJWVj6Xqn
R8t7OknQ8c5wZ96uZOgvm9/TKmEMDJQ90LphkEXeL3zkqj7mAhfpyrSfnME2J35/j44MvThKqMVc
iHln1Vndl9oEduioOXiEbfoL4OOM6+VhfN/fOOrtZZ+Cc+zNxHofR0L6pxdzUhseouWRstSj90Bt
OeYvql0/GcPDMq/TokbN9He/RXNpRd4PDwBWLSE+6fTw1bbp/4y7FwTbocJRq15l5O8mWnTWdduY
HPIJyy5WaHbeJUqUX5zUWCmar2EDTWffpO36yXhxGo5Ipc7rcnuiS8Cu4qjdVf9KBmhXTtJy0kVe
WDWyGmSxpWOgB97BWSzZo2dG0Vo6kOQf8e/E7NHcZvbMnYY4i6vOYDOfZh3YkwKRb56tQENzECHY
gMBpUjGaqQOmrlzcfBnT7QKPsbQQ18JF5WHJiGv3WDPaD414CoG5Mr70XrD1kMrIvQM8Ps3Pz91m
t34jc77ZG85+QkDmTaREKfS6Hj6OBsIRlSHJSGvqds0uFHHWcMqQb4xrxNvhWyZrNld7pLmW12V2
ZGiUmqDCFe8Y07i/bpsNXlLq5dHNyRf4EmIX5sozTA4touLpoGt4cJR+Qnxw7WY/8dII2kEcFZ3B
4YfIU6FNycoqj/lHhwKCBKhk2yoZxHDBTpAap+g00wKjzI3m9PBw1YURwFRphHXiFQxGU/p3fY6f
7ZBE9FovR58218XVe9MutoV0fftO4GUbpR7j2+MJhfNSW7bjSPs0MmRbZM6vNAPTI4DUWjdtbWgq
6ZdoxXqq4rYbFMxIG2++6CK0/l4o5A0vaDYB7NEYoe3zad5wbuN8RItA3G/14VIzSwchcp8+mdDE
DXZOQXDJAKve0mBaXuB4XUn7OodfJhsiKmcuHs0t43oDGRcv8iAxisOr6/5SRjVaNmmALNBTjU4h
JMvMOU/PwwsIHoWgzggQ7zSik4pBo6egWKOApLyIeWTOA5SUXJ926ATR4KWZSAYwk7AVnZuTc7HU
qnyIpB3aJbDOgz9EUu1m78LQtWymz5GHvYPz0pRnQt+vhk2azXLbaG4NVNIdlAQ1+EWAlUeLb9Ri
fSDQrtWlQcO4ofkxfY+rK8F+sxydq9zD7eUBGrdnEadtTdDPOG6brYCGodNP9ryzxmkAqSCMs/AQ
QWfUHJo59F6VsgMfDSPIm9YFmFtdvgziDtNh/163p5q5DHtynYquYJrU1A4ijCrlYOIoRLOcVpOQ
6G6zg6+vxTsJjRFj0q3KsDHQo3oZrxJ8x1bd0kq0jj362h8AtnZ7d6AUtO/EiP2R5l9aXkksQv0W
QBXW+ry1ekYFtXz6R5aHfWMR74gwLzQgVYyacMqGbTCd8xU0GUaONv+Cdp2QVvIabRZtU8+UmUlH
kKYLh7g4ecgKH+mZPjuPt4sVU5YtQJoTWXKQuWbUwu8vb227CVZW2ZcseiM3QPAQtDLmc9K0LYBO
QSsYWhg0rDu6AtJBq0gxM3/jt3UdMUkC8WpEOFFF+HsutaHumzwRKfMkGb0d1E9FScHA+AwYd+5X
k8R/zCF1jBIUrdzH4DSiWuK2GMJiMhMLHtCkHSpD1B0DZWL0Uu+E2G+vs3wS8+zfG32ZD5v94/S5
TObxSI8QpbVbo/bquc2Hl7W+rLBQy8O1R1A0PNBCdRyRuF5HHcgFlFKE6pTQRdM3bwAhnhol0nt/
3VYxE5iZuGHHDQvshGvAZdM0hztx2FfmThC/z+ulhjTDLHv2WxevYLPq60KxATUvvvkYafnk8g4n
B0AzfSgVqwbAJBDO7bDSr2Fe+Oc0VOgae3qcXL656Y7KRUevt+nc9/S+Mhl8/kBGqO3cJ49Bh3B1
oiA2RtMYkN3RegIFU4lJnesuv1rF6AkMcLGK37ifLLINTS/rbH2lTbOJpjanSnzIVqfjSEa4NCgQ
Osfcq2caLsQAwrvutM3pbNPzVsywDfmKoEVHIYredFQL2igxMSfGsEqmxuNnf84hUkb0/qrRvX8Z
171kky2QiDxOz9Xs/EAGw+FJjwUDYzgXuLwyKLbbJEzRKblZ5fYy188kTCpVI87xTgVk12CB6HF0
NFeGUwXqBNSRSOON+ql9Y8jVL1bOfHstVq3ulT9pvzHDkKO81bKQJthqg6PIqNFUdTn122bUMdPp
rRGCCRLuY29LddFqzRvNvskuDWn1OZH8od1Hcb2HlhoAgntZvOnF1512Iu2Vjy3tX7lp01A+0l9Q
ceO1NtAm8aAZdUYIyG3zPg+8DG9Tmk3dtG/SaHgFgQOAh8ZSRx2awHSPXsaESKSl97UbsKdCAzp9
3ceBihavbh9ou14ytZqW+PcEF9Ee8EwJjPWlQn1j+kIeqkn3pAwm7bD69VHiFEnQZCDEwysZSo9a
+s/jDyt52aJa1s9DMKz+eSvqhrT2Ppo2/dhqRFWqgGMamU80GKLiFcUUX+uAAdqPt11iJY/2m56s
z5wwffYaIyV+7CYHhJBtA5yOH/LRBerGsAEQg5dkccCB6mlj9fcYTxjJ3h5ApjwwnoMuTkp+7B/G
R8yqlTIqCK0nzDFpQCY7U9GHd0bzNieMyuEo194208eCtK8NHrBxcXD8IVPRkMrwoYci3jVpeHTH
UtxTh0yyz7Yl9Vmk2pg1AwGWylpsJ/BbMK9HaTJFDHBXv6RbFiFnMgDCHHNHw2F7ktzthNJhUxqg
SQs4pVw7/uLvAfsW20RqKkQ1tLJ0miTNjnvaP5bmiiXF5G0DMQWbbwWnQ36436SJlsGSCaMdfIYn
tNlf+G0AiDUNT/PkMdW0IH0OTTgNmf+KLoX/ZBa7JiNE1KNDgyqvM2EB0ohHlyqdZFEbMCNNpigc
MliENjacXmEWzFbu8TdHxMwIp5/d8tLTKXaUoxZqvfzVnXpelzdRH91OE5b8i9pm6TR67zeU5ncT
IWAoe8x6uYHLxQEDYJgCM+NK8LhaRXnWaqAijWj9efJoA+xUronQCJTedu8IW5iCyhnBmjMpnIGo
Iw1tryuqiJzDDKbqMUyryiqf09MUO5EPsbVEUuGjj1UgF2B+blR3NVSJdDRWmHkVxkwS/ApOiZab
DIGrvDaFd6J8ov2nV0IcFeW3K71adAcT/0s5UMrn30/RO5Kj6W7pnqRW1Qb3VJ3zp+BAY+yUwHh8
m0uWkoCQZHZ98M77BCe5P4Ic8TG9zI/T01CHHvGpF1ISzAH1cHSu4jBUDE0sFPUZTtj25fN/t/VH
UksYUrBZmI6FiHJI0YNM6NaHS9avl89lxmwpuaa69Aqa91BrR7XxsqvrKqU1tLFt/DQUKnp3j2w3
f5ChoxsIv6Oj9wu0b/VhWonx7t4oTp+9RFnf3i37fUbZ9XQKO2SQVwzGO5+dOjB+O/PTU3W0dXY6
wG+EQXSO2tXkegdDyQ0opE2SfWp0F0/J2kHxxHc1YAugwFFce3rj6eWG2bvvrvV135YqScN9sIJe
L6rGGkQ9nKHIwXRq57Fq7moqU5p9maXj9vr8BxOXela1MYZJ9zo4Rp0FiTFyB0Ds6qKGtNZC7/yA
8OIQ5dfxefVSe/pf2hy2fqF2G9X0ULo06tx2V9o96RXNMy24pxOTgWNvZtFsqyOSK4SjiFTU2RSN
pQqgizCBuVJ3II7fLIlMhU7rZvcI1y2jU7oc03mrnXoqozJqoLJsx8SNKwKS6JwGTzweIqMwlnhS
ZlFbxkDTg5gJ1dlIByZpBglQ5DssdCchzgVUx+PR8p7Yt+m0gayouk1voDYxcpG1/4TudiOdcu4w
nw3rCAJJ1gThkTOgOil6Z8C7laNxCkjUFocRErSHHTLDKPWG8fD9m/VoQ/fVJQMxnkOkuv7QAQrO
83J7J8bEpkZvzhpQeVtBTJeo065pfvmlGMMpUMfqWBnHUxgxuPngevP+UVvtV1bez+Xs3Oh2TPtE
CvpwsyODs5yr4SWvboYWC9MPFLuAHxnbGXLcxEJYqwSpgPiyaWCoscl0VlIQH9xpKZ+fmH2J3YRP
QE2gdK5MlqEjZNuAxEEo2EdghCZ1fXLukyXfyGlR+0Yvh+CXEsNxiHjJfX/fE4Gf/XSauS+fWPI0
Jeaa0kHPu2WY2nnM5iFkK4fDLLpPcCNhMaNA7pngtgxXpqyItDsG5O43F6g5xX8FAsx4hB+T1tbV
bVJRnZy8FzLN1LD5Rf+1SEH9Fjn3L0zc08M6u8jSjZsLI4zHd7ftItHdz8L0QJzKXPqb3ZiKyIBK
7F447dRuiU4M+jPRc1eiXrDMp/iNZWN5Zk85N2iukiYbiyfyRcAoHaeV+4pq02GM/LfGKIJZPkVq
CjnN1tvSGGIwfO3N5XXH/PVm2VPBkQuvQI/pZDP+6EbUvM5zgeWewyeCiMae+AwT+trraGUwEvUy
uC9Em4+Zaq+/kjoQFfPJYUAAHxwG9wmCRvWMCRgkcZaOmUSnBkMekYQkG1JYxSu7Qvy4Etd2YIVA
NXA/PSn3BawnQOfUo5+V4X1V8EREDL+GxNJysBQmWxk1JkjZ7RuJrIvDmq8GfobLvEwMt14CYqhB
B7FQWv6pBmVgPaQjbiJU8RO9n3c/9+7IunyUCZQltjdeNQaNiYncWh1d/Bvr4DZPpxXIWLy6bjvg
QtWyQK1haPTugLY3wM/UMV2EoVGM2LNOgeaStb699xsgkO/NyzejK5ae+ybHJZAdpCLTL2hJJswb
qFR6jwgexqG5TEIQ1Rk4BRi/RmIjy66cKSIL9Rggl8tocvJCp2iEMRQ2DV5TzswX6XG5vNkgbkEp
tm11frIBjcVDuCrKEKsEDDXFYT9/QU4ei/YfQhIq7aT9ZniOuIsXwlrqwPqK3WfitmK3RM4ETglo
Dkp16xuyB4VXM9qUolxudXYdsu4dCRjultJIQTeZuEHzaT8ajPdzjec6rzyV2A2MGoEGGsJ+s7/i
B8GXVm3pQNK75Ooy7O3J/5nhtNFDwNMbTfvace8yoizIL15+6REVnzJHpSa1KG33GDzXGnIDVB/Q
4s1sOsrfKMDdHYajt9F1eoqETDq+7kULZB8v37NsdfjFPhLytLck78f9tQojofvHLhZ0lc4Zk5aj
6KAxFIsmEu9seKcjeUuoMs1ctGYUCl8A8AxWM2fMwmnr/o0JKYzP7t+G2tErJ9fJy2mMpWsFJLIO
6rdo5t1h3V7opmdcjf1+yMeTssXdRX2suNlv5DrQaXz4xg/NLSq0S0AjOLlYrh/17z57kB8wnx1g
3UTJQUG/Ueim7x6k2sFhd5ogcIZ8A2MWSBBIIk6Dew/xH5RsDoQ5kFDgKsArSF0sOqY9b3smPfG1
d6m9Zydq8nKAMCzO3esJxiHyD/fS7WyqzVmzGbPd6pE7vJl6DdfzaZ+JDs+h3vKb/L+nhaaKZr91
991TFiVhCHwV1WkmPn+aN4P87hnXvlF0j/GgZLAT/RtEUlweqorMLXiEytklHLv3mtCRUvfKiITE
78BB1BgY5KFBiM84A++2Fp2OfcoH/+iPxyVrq1U5Oy078Ni3Hej5UGzYaL8mRWF4OdE1otYA25iT
0dJHKFfSD0qMFpiTLHOLpnWly2CZTp9brMLjGXQ6gAtF7NRRA/HQcTqkFHzJ0CPB56JJRWDk3z6M
kiPQKW5CymMWYCu3yhYVTdKEkGIyP8pnYk38ve//jpbQlgdUm+6/N+e3pD0DaUoIPNJoSwUcIrPw
B4RCRL7mQA1aUZ6jmCSlMqrDPLYSEX4Ws98ZkFgiKY1BAWv3QWGcS1/4gyQ1XZrwK55UrKEwXGLp
QfAQXZGqeMYvhVkl1D9pvz7v0aGZSiGZn20mEc4JqBj7uUbcFrbVv8EkyNtAox42Nwc1El0lIEju
ANvgAy/jcmoCevZeE0Eq7pNzUM3y1QN1Qmw4Xg3D0lwkwVWz+dn4ey9eC/NX/7kMrqd50ZijH7Z7
vTYyf4GxFs2AXFvpPigbzsxjD7mcxvA4otVjmv4gnaXqbt2ycG084L7RiD7+bhsNnb5moF+s6wyP
SjXbbTzsFoUqcLRFMYv/nl2wJWbO9u5cmhAPDx9LpU1tq66RYkJqYsHEhbVUHc69Mwk9JXaEcO6Q
dTtjs6+Mzc2LM6FaGrT4N1qvVJVEL05N5cfk6d4hMfSVwXkONBLr9g0g/+qeNUd5eNBUsmc3nh36
tX/uNnw05Xrxrtqmw8MkZtxt7JwGBz+nZELFCUTUiT3aP4JT6uERdPRAWiajY1+9zFgqLXSy49pH
sdGKF6+7VSgUghAiU5/AmqQM/H54wA4e2JXeGd4e6Shg4AFteid7ODqA0pqV+cBoKV7S8lKm8fmK
shXIq+6dEKxQmbt6hg4E0eLgvC9+q7YJ6GEKmD5TY+/jJ9WAGdUs5UZeYgCDILU5YGojivcMjaWg
nKIk5gD+x1eQS0Zq14ygELSeyEw3nTJQEH3vaZzJI2EXCLBGoNXsn15+NdV7dS8fEZ3h65hswtuj
TWbHT80/FHPK0j3uDtEdwtfBZuyO9ocG0uKAVNx5zKQcCZpiWFnBbf0eMAYPfVfTfxC6It1CpHCR
b0CSaoZRYwCoQ5N6oNgFnMz+ZFXSmXl3cZVPNLxU8FOk27fk3QdIWWyLwtJB2AtPhWcMpEA0iEow
nOHPxFVFsVpjRRBGyfaTrTHXxpQkKlbitAD3oIUivKF5e/hDlB/gvUbwj1+vWozYu8AIOI4NwHNa
vX5RhuG/VthqQitK1DVQldZGhRspejO2EPgktvtBcmh3M23QaPMakLKmFEljq9N0CsYWd9iwQGfN
vRTqi9VpheZVab9qa4s3YMZiYnViS++hqGtvie3y44Rd0616bPYINVPz5zBhLsmtGVxa/gVyhQiM
E5HqvTOaFJSqjhDgRzGSrfuzi0L54opzgA1Ho+780LQJVJ+z446QLvbrSX60n38ZerGljVV+Uvuh
YIMhMyypqj63xu5BCfDnu7XOJ/v2W08ePwc6sOavq9Wa1jBkgpdX+5cWhGSwIkcemvcam9hD6VXs
W37wDtTueM9gnneBg+qBFI071im2t5ld/R9hZ7bkKJat6Vcpq+sja+ahrU9fiBnNs8tvZPIJECAQ
IAY9fX949THLyiqrtMiI8vJwD0dos/da//qHE0tfdRipEN6i0FdY6/JUfSjh89hdmfi+tonIE1dA
BmQjn1hFHHJdY2dxWdP+4lizSjuHae/oSTsGfjKCmDi6HhibtHZFSK+RTaa3N2zUice7jxfHmYAO
BzAmIiCRpT+CJMBSgBie0B0FZSWfxaf/2j1ub8lYztcLOEWV8DER2ZPybkN0nN/cyC3yAb15WA1a
8VhKp9TUbboSvnM/T+22oYn4wEcyYQeC2ZGem0UKooTShWBGRiJEO8wqFIgjL6TxesO5FxZGWGKz
ioj6IOeI2CPxDdzIfZxo68Fj7kDjtrwWRkOBhoyfJ4R/ZWOASfJEtFxGBMaYzSvTz+v1/fwi0n2g
daPwYrP7ZE0LGD2Shki9wMPK050sRcAaDLUQhMxaF8R8BbByVy3wM6XCSpiEuCkDkfvhcSdMLqg4
nEuAF6s5A9VhVXm72flJPAMFYaFUA0fmMM4wm+VF5puyI7SkDA/3a3mtcE9PfJ6R5AdPDv7VGqBC
s0gKHWZJjGuts8tKLoI2G51OiZEFkhgu8Y6/G3BXt8rXzEYEcgKaZE8SCwNHYMXy/UU2DLWyZaJZ
lKeOzmAJ8TLxNZOzDo1vLe4iXlJ4ELPZA7yZyZph86zlVgn8mb7liZ3RNTPanhZtqLXE98DHwIBs
zvOJmdkRCZE92nYnb/Weoil3absp4CDnkW50j/3OdHW2XluZiwdNsfgSYtCoAUureDrK/HISwXdq
qlYYKfWK5EfSQ8n+K04pagstPI67G0UevKGA/+Vk5Ol/ogBSwqhwmuCuOuyIydZkcIGJp+oaV7l9
u0OAe4adA2WiXQ9UPAR+Ys4mHYWMJPJ+B9nixvBxWzFpdeV5uRawAftJJO9VLQS2bYoVetIE+wZt
+wwjX8NtyWJ3fDJ+wPUNisZP+TYqrkeNRIJ/heQnKxBN3g/8kZIP0mf6eX3C+SoAMGYlgCuT2Lam
TGdW2lvq9XXY4dbH+3q+4mQ9l+Aibh6rdtss83UdiEdoMvPnXlwYszJsD7xddCG3b4LTg8vicYy/
iqVMSuGYaxI8apeduoEDNJAG6RIyMhGxYMJvKR1w4mmwYzHx3vFZ3uXYlSAuro/1ETu9O0zL7eNY
ZD4jJ5B7LL57KjBcFu3s5fY2lvCKYUUCwdx2taNPnEYqiovEIWU77qf6Hoj3qOVet9HJ3Hy9jeZm
LCIRQAvOKhNXV0/mDG6kRX5K7pg2f6XCh46N/rTqw6R0zIn3aKZytBIuHhqqGzNq7BfmD+w8l81i
NLK5E0QAHxoqDDUhgkNymbm/drIqVhDqWDN7ghghsTNvqPbAV9qbnoYVrrWECyKjgGSBVSROV8an
vhizj8ClrHoSGEyKgvqzW4tb6DA840EUqJvbUaWjMbyJ4j4VOOTaHP7ODbY5IHdz1d5EkAPSWf2G
V4Tczh0MT2SbIDqnZociHcUMUre+L+raqzJPsNvlJGyXmvuAS2lRaa0BcImeGKyawgsKfkLpm3i3
kVmiemyN/QmUYa5u+03tJkgMW6dC1Ax/yX3SEhu+QqggDCnJXU687jK6iMXbdG0Sa7lC9EFUYA2E
tpic481obcrx7dBmDftyeQcjYQgikMu2e13LJeaWV2O6PONVg2NMNXWgUlnYJCzPONSMhBbsSXbm
MP1k5vvkb56jgQPkMZp0aXrGpoZvHKlWo+IRK4fIUij3AAxhbIGH449Q781wqYcYP4iWM3+iI8PO
b3oGGmO8wu1neBbAYVY+8/2j3uDQBlnLuiwfJ5M6mnOKYSmn88Pz72NyjBiHeDeEyowUjV3pZY40
bbZM9HGlUGY5B+qKZCE2YUZApA3FdMVIW1gsOnnOdtxbLBw2U5KIdKbS9OnC6OY3cKrQLRCdyFZ7
yjxf2Jh+jQ2K+P3c9ZBn3vp3/crd4yxY3QUrXStuETB4CC6rlyOH+K++fnqRYx3v9efEBQfUIrsJ
xdZWbOG1ZgWyqV+hOWQ0c9thPn5bV9knVvdjPtl0czqA4wMu/rqzSRlM1sl6AoCYBsX8EQjcxCfl
CluD9omBHNxv811/1xeTg7IbcMZG+0fdEVEeX6z7Y5wwg8mAEJaIvBmFgAwdgIUmW2rZWrXy3ht4
w8AuRgJ6pW2g/E6u5Pi2EFFxE+qs9GZfqL3hprCSL5bwpdkVlQ+OD7jw5SgUJlhivHx9oUOmXNx9
uMNcE09aNrv/DL0bH6GVN7egNSyNBL4l3uRDfOUU4sjQjy9O8dR9QM7m1Jg1QP/EzvrCKfvm7aJL
RvjgYYdl3ySXZELptsJ3nML1wc+++OLNYV+tIRV8adXOXN/eq0X7TUHqDfOc99hmuUTwnmFSlzap
VE+bSoV0rLPgd6eM/Xy0ZSW89km60AQXPHytOvutuFI06+MA44lUWZthcq2vQOmA6uvSwwt4MMlE
dTf1hwxUwjRrMmUrR1G4K2aT+fNUYkTvh5o/ObOAQH9YWFzxC5vL5GU/TjherlSwHo+tG3u16jvd
SR/Cx40sq6lEo37g+6tvFm3l4TuyaVG6EL48S1fKEu75xEKqwrAKx1sVcvi31jKJlGBfoLxdZWOQ
VNgfQa2JmONAr3jQYEwcKFK4igamgk260DslzOQzO1erYtu/Jdj3cqs/mf++l28IE5JTBBsMaOXN
/LztmaoiLzEswMkKr++wfFqYauvVm7pDY1Us5H0XvvWrvoN8UtpHTjh1zZC12t0wePfjzhk06KlA
UfjUputip1rkS/Uquz6HCQ5j0L06a9jWvjxGB5eHBO439vBBf5bJ4MFb2SHpVVq0XD7Dw7myJCaN
wHttDIR6rZWluG7PdGtTKB8WDUYK89lcMqY1k7m0qYbxw65YIhdFeerghIiU6i3fVufEEU/wALTz
vXW7dqEpy/SdECC9BDcwQSeZQNHvjXQTn761P2mcspxI2yJCr2KPfDIKMkZnCG1UjiGGG0FezkV1
pd9WBTnRNOLFAlaApuziZtdOLEJ2QFjtWnYn+N6FmDg6FBvd9tV64p4ehAkSSIKU+RoQlv98WQvF
An1uXm68bgd3kYx2ocpVQIImmx4tLNw7kmApx4JsDbqg3QJjgAcaXbnnTP8+ObkTjE5rah60nem1
qoKakpaxTOri3Nh4LRsaQ1BXl50CNErwBg7swbF1Lr7CfwtMGioQHFqUNZ64Y0lwjIs74x1bkvMN
Ouj1GdI4Rke+msExQ2rayhOjYALrCtqNse6mvWSf5t0aZhQ4BDtvYO4Ls3RHfF6+Unz1IAF1/Yad
N9bES6kwRXkzvGVb7WNMUjz13sTTPpmr9NwvKFTqTLiEHOUwA0A22GNB05rjY63C62J7XlTQCh8z
WO86IySDlsC+O2L42t5I9jKcCfkkDxIGeYLkdFoyhrJKR0HYQf2gndKduu5m8JxOakCcxvMMg2hE
jMSZEvA8OsbnY39jZARjUTYs/bUCd7zg/22XYEy8oD7z8zXdoLAqKHUgNBdrMp6NdF4+t4icHiBm
CVqNBP7X072dJNnWQcth6ZGPgnDDxZN1HWlBQWnCHnCYRN9q4Q5KgJepzQy5+JBicsZtbfS1gRPB
NcN+gsRY8eJnio6jp9x4hkaDxjNDBpFwzH6fGaSOy/t6GKbFSEeY/W49bQ/gaSmSk7FMaFJPFZLD
bcwdYad/uRxSoLPdm7xEDlFMz6ixzNwZijNm3XCo03nEpItaaS2en1N79HFNDbxi5W/92G6rLKAZ
aNMghhEIwjnVJuEA7S4D7Zk2Ieokadf81ISyg8C+LAd8uA/rs8ioGIzc5w9CCrCiaaafCmfmKGcf
vftoGBHEjPQMI6hmfJUSJLBdG/gI+nT0U2ngvEJQhCt7wxziYefgItI8lznJ2VqWDL03D0qVy/TR
cs+tDPKeiM7Q3KCRmiwQkGG2TZudI7rc1fj192CbeyIHqBIYvq3051Jlg344qt/vVu2+3d/nPFs8
Z71ok2GKpz6O2ppuQYJT7qGZeNHLTjkaPl7GqjNP+U/yA4SQPtzyXI4iG1gJ4YvXK9gF3v0JxDTr
MYpOsz3k66kZ28yUJqDbyxrL24/L3NiXnHXkuepjFirsNx1LStAnPZ3ObwSYXxyZM1i3JqYTYffm
vFLQlOS7diGePpc5ltGMqN/V2hp7b9xI+ukD9Q5Tiw/A1gcUHFSRDuQ3SXfAs5YxxIx436Ga83RU
fxDgNN9g21Ah38CuhBfWDlNkXrKV4Atx1Tl5HpDuQcRVSEM/j+C5Z5xJee7iX93bQFLIZ6i34ews
WRkpPR+rBFQ+oCZorwL6htZDK7PjGcTsiyLsOdMDE6to+INsBli+362mdGVCz0PGHJvNMPXRxSBu
Phz+4dlB4YNnGCXplZ2OZhQqthnycWSNv7En5L/lAR42rH4mkPyqg6uAHwbfA3bdHEcN2mjfMf5m
gZbHE/I07CgTajE046dfHZf5/CGTBXx8FHIHEBpEgtM+MFtKRukRrGwcoqLp6Ovz/R0tvr9NPvPN
J2ejqqmfbkd8Ol/84ub7JNwnDqwya///IXY0wVA2bbwPWntsIhcp7oZfX3drg0JnN8ywZ8SmsVw8
T7dDN9uMfoyoNPyvL/wEOYCpd/k1etUB8buC9f42aoRRCf865Hwk0xXdMJ+5u+pMJjpy8/zlOHNS
NQ9Ho6QgWAqOA7SEMyk0tTwvUKyhK+1Jb8bYX4ZQ8JiWrzl+5X3w2AKiZbWfpMGN7r+zLwtCIK4Z
2e8w6Es7+qYdKmJbALiQXsv+57KCROn3UIb39cuK6N0Ejpg9PGutcClMyRx8QegjfmeZoi2e4tTd
vN5lXXf4V7QV8khm1+6Lp/ALMwMbc+MydqrIHjxC2+wJnm8u7LCtwiP6JLRrlh+TE5AL8QDpNDka
m9dbNBMmTrtm9tHp6C3CXHQrw2W/gOCtayGHF+5mnaNEIQ8GnEDgNiKWbmy5GCWS4YvbMeUAHgBf
JGpDsbqMD4kvD+g7XHYZuAnVQVZ28IWo5+KQPwysPOC2kWQE6+hFGoVdIOY9tktO78PtQJ1LyCh8
LwaIqUAIV92sb8RCX/yJMBNA+qz6o17F2/IWmAOYPwXgtDddjaCmDhh1Xkzobc3OkaFKaEjJmBSW
76hqoFF+pp7Wb3oUCfhBwReMbOU84EIBtxVkaKminJZnHAEXlfR4TL9+9Qr2g6CFE4cK4kWSlol6
R7TK0f3xOPVnhpQDpK7RjWDk+nQheO8KM18KivHXKESrQwi7sMBmBlx1vpDTH18+dL7rUZRW+zaF
oaUte4jBFsUxNN/Rn+LtbXRdGNlC2FUWVsBzNc6WRvnfaJQA5cHeMxACCv01fmL0NOKj/1A8j9Og
nNNhlNxf9kDlfATnA2rbFDBsNrLSSXh4LW+nxMIGdjSCleCqf66/v7fRdBTRv5tM3keDzNEUgBkh
7sqjyeOoUrsF/+OGNwaEjxc7kpu0TQ/tKSPibXzSGgYWC8YLTJWJ3La6mTS7byJoe1S9D+dmzsmH
xTsPk4YDcbI8sffDaGg0mjeg1cEgtz6Nnmy80z5I0hRuNAzAL93+4lY5Lw5YaSkHpT3eqxmVrg4e
8rUc9ykRddeorj6n2ieDVanG+H5sykZCNZoc2rAjSvmACf7sPhO+4o+GWTGPIvgld3R2cR+fNYjd
Sl2IHrNW7zIDKlh1COn6ZXFOzvf3aluvIWq/iYf++x5KH8NH893hpVRJ7GkmhFgdhw7GemyMlZPP
L/5rOfn+r6rSZc0sIbdkT1ei/zkAUXPWQMV9nR7vxCWgeR8jN/K3OUFWmRHgAM08ze9PPIky0hgK
BI50sqIBtx2o6BKHjmjf5hGSe6ZJfjYnqiuBNqnuomEqE1zs6NAyArOi5XcrM+ywfPk0fvodRDPI
LgUUOPJv99Vrq7SQYG6cepx56LFCphLHezDgl9hh0HogLnHDkQ4UjiJjJG/EeBqsgQU98AdCdMvY
32QQJ75ulrQdzVY47Tth05zv0A5QpzDZxVCDISSpA+E4ewkn6F4hPuCihDMJYRvv9YZT3YA4c9+z
ZUUT8gGTJTM9GfGiAZPJgpc/GouMbF5guWGrflFB06iWGAMxJSSM/cEM6jqRmDyEIt54yAx8YYke
AUN1iJ3MPNCSf3IPiDJLeGZe03trddcMBJqZskR8LxQhXKxRyXTR921ikfvV2CAG3JT29UEdpHHU
jnx5yiw27u2Atu1hV1DQufvkhH7gAylaEntP5KepXY8rfQqijXTtezjEbxRMdTcFtAPder7df+If
yhWTJmGYCtgKZXjlz5Go1xHRL05OO/wijY0nl4pQqwPTI8N5r+0mx8kqP0JabdF91nYdL8iBmzNW
AEPdqvMMJl7YlDZsnIvNnKHrIBxYCqLokTINwXxCpe/cVhWxWPA5LfGDofeqRRAb+ylScHmnwNT0
K4Pjt/c7ihHncmSQtCNUl5FKQshWvNcOONwPm/SDilv+Et7hG0/hgGSHy1LspvA62PVpbZIVAMOB
Xice06N7rPkFxZvgF1TNI+xJJcEDqYatBIx6h6eBQpQfh7CaCnjdbeH8ESC31Mn8HFiT/EBlqp6g
PRpryFvp94Q9gtKXHBgNfk7MVJTDZVeu5BMriV6Q+pFpsAAJ5ohWkLM5QsXwwdzSWLP660O3uO8f
x8nuseTFsKRYovInC3ts+pNj9kbHDyPbfRGPdwkryqviXAGl7xnGb26zhEgw2hEwjfJwWTXf0ngc
TM4gaWAyhJ217+U7+pKVhMqPWRPYNax/gPUzdOgY1tGacQfzj4J+jOaPAcBzRZSPp7igGPJ3VyLq
YbYz4h8+h8/tnZjnhTRT0Dvn9nVIbBXsn/BOcBW7WRBEIRsIrOOK8Q/8IF+ZzOLYj1a8P3fzCDE4
2pXGXD9ftgmgsMxo1KY9AT2BqY1gZDXjfBLoMxT7Ce1cPjPXEs9myUOuz5tzNh9rGPFNgQm2E6iQ
Qyp9VhPTZUQTN+ZN8Cmxe1i+Pg3daj5bmRMLiF1mkj+GZQ4hW5OlbQzYSaCRsNt1XyA0dQEZ+qyv
oYgj0n7SQYTGJ0WVNAZPz8jX6Je1Fpi9fzGm7WtzL73CLTnFC6fePUVe6YAC2NVhOMohrmxFYk9q
NwXIi8XFjdFMePGrY7wFizNYbJklrGoGvorT9TO1I+2ELDLv/nJUfKBffkYHmM61x+LF/rCgMKto
2xUnGUmqeD34UmPFTNRa9J3H9gp7ZqIiAKXZtqn1U+os3QKau989ma0FlMJ6KnMwP3XTUytjwkXq
XuQJuj/c5hVbEP0bQwTsxRF7MyKen+TNaymOQ/TpmA742ihfCmDB9uk2S/FHVYnpI36pcv7+t//1
f//PZ/+/o+9iXWRDVNz/dn/m6yK5N/V//1005b//rfzH54Ov//67YeiyKBmCYSiCJku6LEv8/ecV
kV40fvl/pXV9mbwMsVtPtEC686fP1CbF+45SiRloJqlMFV7vKlM/s1oYCruNpnumSUJ7vxBBE1V7
ADfIp2Cq7BlIhHJcGJ4OlICC/lANWpjRHRvqro589iDCzBrqYOVJLZjqvHNwwHh1QvqJlDRTrtpt
LbVQeOVdrZyicv64ea2yihDFRkHU7RV9HhXbvD0rE59NQB3murkvh/nQBhkYU7c36lVTelrHhCC4
aE4DUU7Ec5V20H/UgUyXzYE6WeuXU31ZVLyLNDWmd5+A9gQsCk33L7h9yHP5slSz0YXlQetfIogl
XQiFlq0rdkrgO7bG7eGlOPDQhXSh5tdGXkIIi0qfYDWQTyK7eHqjO+aiQa34z8QmRW3AlYRhIVYO
vZeUYV34r3RWxeEk9W6vkEwyk2EfSxrWOMg8PJubK3Akp04R2XJqd0oQ6aGUv+l9+KASJYmEKKoH
g2eozaEc+WoXPKAHZE4v+hlycJXkt+kzgJQl1H6MJTAnjDKrTb+A3JsF0Ixl0RO5JbiuyCiV3RQn
B2C/xFVlNMVeIft9Ma8hvqW2qtoirBQEB59P2aZ8h8yt4MUzuA+ACKLVDKdO3Lh19Kf/F2tUFv+8
RhVNMQV+KYqmyao2/v0f1+jr2d/zPOvWD2iErya8GTDnyxxGzsbs5ZWiIx5vRdQcHZX37VrfZTYN
yTWVMbkm2Rgtc/j+oDATfLwwo2zorluIixhbi6Uby0jmMI6IKGu5gZWZHXo1xsOghtZaMBnlOc2N
bCZLawUBQtEirHjAe83f1ZZJeYJitbyZjNtE52Jy1PVm5MoSRID8AYu9WEQwbaI+J3g0GdDFwV5C
4jLUz3UqPd0UbshAymZSVccICynt4oiaTvaZhJpQB+dNFPh6DEsqJQuLjuHui0Bm4t/uEQTeu+wZ
Zb7pckKsf0wBGVU/8I7h4McFRcb9LVPCDnlaw6yBMGIN0l4EqFkn18vw3WjI6W44s8SYXsWUNQo9
obK8E0V3J81qeIjAoYzs7rWjxKadQAtvX2E9If4UjhnioomcQoJCIcrHF9YEoXXVQEn4OKomVga5
08HGFKk0gSbE9v2mwxG8iW4ib/W0ciYiANPh0SlzNdlJd/BHrjmtQTEe5bJ/0lLpifWfF5Iq/Hkd
qaamKYJhqrKpKoo4/v0f1pGZCmKblcPrcDen9qK3340riLmT0XtV9mKxItYU57MONzN3ev+oTt63
Qp0G4gHuv5x3tnNlJD/YvNFj50r4HAEAGwSwlNz59D9fqyj9y8WyMcumLBi6bhqK/rtx/+FihUTV
paJUu4OxeLkoGAyvsaPty8XCEfTitk/8C2Sodo7sZN3DwzODwlE8ZutOtBVCtsP1Y+RcY+iySLfY
6YTiLEOkDvcqxkyJkhY9mq+/Qa2Z1vSVJ/xuPITOU5GUFyMoHUImrRE1NPZ3X2aEZaBsNhdEF4Sg
8TNiPr3JGuEGzmhQUjArI932KL1VBFOCZd22HRK+6+j1wkwLgBs4ZCecgLqDzMldYWZJtRUy3wJ9
FCgRcUBZdR/Zwgz+822U/mXr+L2LpqmauqKJ6u9d/sNdvKeFphiy2R60TRNU++dCgS2ypyyeLEf0
VHBVj6l1s9T3Itlb1ElM2F/nv7gIU/3zwuMqFEFm1emiaZqS+c8Lr61f+eVWZMasKWkiqujUVair
GjTh+GbVUEsVzVOVww3ZqajguAHDSize4xr8yWA6o1B1V1I/rQsoYMbFrTuoaPLgs5OgZ+/nosje
XsWzfKSjyZhx9tdShUmYMC6/i/MmYXqjvw+xZncZ5/Zzm6fOpYhc/RI0Opw/+oss+hDEyp0Ahsfq
8ZVW816kDaouzqTNF2WM0y1FRu/couXlmViVsM7rY5Sz+NiQRLwHekQ6qROrECLgdPdopkm5M+P5
M7dNQ6Lt5tLG5gNClQAlOC6ldRkXQa5EhHNF0+brUTX+o0v88RXfW80Z+mt1wWiEXLfmJvvPe8TQ
WEVIx7nTn1+QHMyMHSUtoFIlq3uzTRnclZjjmY+Ffuu9cnJbVIj/Yzb2stlEmRC0zYJ/wh5euLrG
g32DX6dkJ6FsqKTKRUx2m5D7HVmkXLr6GJxYoL5JcDLStnGB+98LXqf0fjEwjuDsvBfnlyKHkwf+
IdKD2D2DjbFT4U28FG7QvNKuXYwxaZN7ZamFZd5uxzcsZ1cX4NPfys/ucix0Ak/ASC4X2Uswl86R
GBf3IB14tclln2k3Rl+HS4YKU4OPXmjWEwrW0KFRB1YptmW2vTAESLaTNpRonR6P6/hRB8oDGJyr
DGWAPYqtficSOqM+vcHGoXbOTNq0IbeTlr5g3d03kvkeoRmQk8SPBjPUEwi/Gg1s0rgiWF/e77p4
O37GMJr30pyNL62/+WJWHvoxgRjp7SRjKtowT5/0HVRk/jXVJI8lxqxTgms31YBfJJ1e9nk/dUUP
Sa4NhOJdlKgrqRVjcuHNDF7J7fslYs4IZc64vzda7Kv3aP4CEskr0mrQ3hsZPnkwF9VcCxqjw9AN
LWktzsxHHWpS77AV2A112ERCDnpxh0g4Xii+xSEPLhKeJZUMxYpvVxK/0jltFQLxhifCdNMSZMIm
cqbmEx30Uweyv2Hvwe+ah0hQf3SpmQ9VEmqx4OVFtKz61yJDlf6EWPlgtF3g1qDSUAyQZFTU6P2j
8xqNnkutXgQ+g2bg00hmtYTeGxv/J6lxikS2uV6x2p6OEVffcXu3u0ZDVhH2Qrp8tLVb3AATR/CG
eaaQUmzkmTdpB9CBj/4x0OxJf3FUcij+uy1LFCRN18b/1D/VXEjnb0N/YeNsHvZtTQj4FUW03wa3
vWaVq2L5XDzxeqTB9MRZu1ORDRo4V2LIPOtPqKQQvKtgRjxHwRO7L233dBPMsqLlgABeYtQgO7Vv
+vCtXHklzwyCJ7pwDES8n+P1bR6H0boMBb/eTwJIAC5OWQvTfxz7/SsYvyo6KovkxbQ7WfWe4eLJ
QFO6qzZENc36z1HQS+CaxnGSH42l6afLJ3DDcGq8e6gGjG6zheHXAb4r/sOpYaYTUs1H5mf8BT1t
+bzmW/CU4Rifk6W6umyMIPFITA3xn1l1Xu3JfuUbO+JMg9ua+FJHeLv5yucEJIdOBlkETyiP2AeF
lewLBxEzDHkD8Hg7avPmY7KAikKtx0G01pfmFqpYmJCMim18gLXCqlsbIAO42mD0WHuM5Dco7Vy2
O1RNAhw+Y21a+DoRS0H+sgdtyBV2k+XLY/oF2YVo7GLLm8QsvfC01XJ6WcFz30wc2WcsxvhcXzVz
rjyEWjW7bEjBdMdQDI9eDfBT9J4jQyyAdJNMeyR+PZWE4mhYLA7z1CVw2pOC1kfJNXqXYhuKRQpj
xybU5tihvmBDFbMLs015gdWVW7gPLNzq1fgGZaGG1TxctB2ZkUxqRkMzbM3w+9vcYHJA+8U5yuCF
jiM0/OXdPMCnzLlhaNWEyzUW4bCISFOZR27j5fB/iqD0Gi9eis4VP8XVBLIRpEKvcSb2az2Zfz0x
Rz3re2YcxiH5SE/9isH89H0c9BCN8F3uukUVPJamO3jtd/VdHtRz7GV7IM50i0TETeAhrSe7276+
Po8McIaRM17m4KLmJ7Zyr8VjDThW7/MzHoDAVsy1ky9l3h8kQmBE3CqhkNUM8x9/0Q4p/65jVwxJ
kWRRNCRZV/5UTPTd83G/J92hIUcGvecyP4pvECUu1sNnpB3c9/mvsRGyxg1LlbEZIyO8X59uT8cz
T7CPmaZ7g3dZeTPcYi0uquUw01ftHCno8i+7N2VEEP4JYaDq1lVdFw1VUA3zt0T7QwnWCp2aVc2T
bZsKc8RgyQgGsFRCLQRK1t+SZcn/yQIllELSoRRUyslS4BMZguoS6/OMP4nmlEL8WKAg42P8++f4
1+P33YPo919gTuWPbq5o+LxxQo5+yLkEAOrEBMge4bMOVhde5YO6lz4R1vhDpcET21XgDG/0M8uc
zm9wTk/oPyzgBVfjGdODAX/NDEbvaGSYIubyoBfKYf8jhvAB+FdC4RMDVzefy/zYVyh75c+YS1Di
f4YdWs5f8Weg8oWSS3//P56c4f278ycB9rn+08dmy/2LolMci8p/uu9j12womsFNF3Rd+BOy0z4m
mqFkQrfOGHvpKLVVo1+854Od6VcdLuwAx7m90b1MKH+mYLvVWUjCO3HOKXas6YFWIbJvdLQdW5Xc
+Jzp41y+Qx7xrKk7xypwADTPwBpgzGI8kYOSXBjLx3zTfZhN5PkTJOw+gU2p7+Se0hNcNK1ygnz3
KsYLdfb5RAeUzp7JV0tHpZWUauKHzDRGb39EpG7JSiTdFp6s4rZwltiLOi/pZnfxfAcZfcCJrGAF
LZ/9zuDopyrQ5pfn/vX6YHBvFG4M1S/1TLxaWhd7tBi3EbJqnvgmTAUV9xb7Vi6T3IXZDS2r7ABQ
NkURDMNndftUqSfavaCwW+8N6Qpek/EFN68u5FmKnl1zMkRPcYCdxKW2qth/vcJHtkpgxGiegHt0
vjG7BZRKXBbgTZp4GcwY2QtkDWOREgUYLBlMGZ/LTtiCaHYXj9IRVy898Z6tK+HII8/kZNlSwkkX
KLQwwyfxpitwq4reujKeGc8YF/qbFTNTNCx8npLI1iQqEUtE9wrDnj7Cla+E0dfk1GL49hsk/voe
8aTWNRiiQh1lIFbb40IoQD2tlwGJedTk1SPvdwYNW2Ra2sy46Eya9dG33KzuqZdLVi478i/Z2ITw
z9QS3kmyl8SD2AaS7HcFvkP+A09nXFawRYp9EayAEIrGeZr+hTv+rQEd0+xP/B6LMMlVYebc/gLc
lP6lhlF0UZJo9BVZp8kz/rRT5pn6KlSjiA5vq5GBAA2hZUL6PZ1uA89xLP83raub/fzFDv3vfq6k
MstTNRlcVRXHHfwPO14l5Y9GbF7xAVc+Jqir+5dstyskv1YwXaPu08NnO2bQ4aWFwSVspilkhc3s
P28AsvZvXv4/XcafXr7RPSeikuTRAT9mNAFTJC/vBtE94FIVU2WWJWF6JzRFKF88BNWEsEKOZszL
qHqFuWnw9SALT4JDiFEd9va+wSx7dImf/cA7+TU9peKxexwuxu/BVdl5LzGRvTF6Hs7J4uOdQTKj
JKJh3x8/OEkzkH5Nx58ADwt1qzsmA74tBCrJwfpCOTEadJKSU7jd9DhSfr6gAdys9zQkTGJzP5Co
SpZZRfwXIerYoooys80jV7fqGJrX/pEFTneNcT0uiKNhPhZP0HkKrKc9cuKnmJYK4eJmb7VRw8bP
phzYEykEWV91P2IXeaeHr9Hq4aEuQreuhE0g4saBHPIEdxGwb6WEPDZzlBgM1CDBIZ4mxtgI9vt+
TuYF4B+EK3U5MrIQiMGtbO0xaWjf44mK29zh5WnzMfvpsnvMlc/zmUmSB9q+zsgQRJuCo+ZjjrrB
xUEPaa/IWTImvZIzYlNqxD5ntaN7mHOOKTb40PpxiFFP5S3vx2r6o5MzOyP+z+7DzxyPY0/C/Bix
vw1qaJ3RC2BRLW/GqBNlDrMH+xXPoB6QMd/boqqy95Q9WwcXiGWFkyjNxafobXuGiBd3C+79a4bd
OGc8oHG8jewDLPZwTM7JkNzs8DzzKmtTTTc1VLqLs8vtH+g5P9CrrMxT7c3PgQEwtq6F/YMvTXBx
fkoP2Q4f7//zuv/X+kjR/2nZj2DMH56+SXy5VGJxmezlVb6U7UJ2+3ie7URUbRGuc7h+WNv29Dyw
e7fTDwrQGT4UoteGF8F+vr2sJdXcxCC1yIBfiRxva/gVvPfUqoCpsu+BogTOFlOBzX++cFn7l8qO
Kzc4qBWVY1viRfzzlVedGE2UJIsPM1exCKHcfJFbOTKXxqiXexDvf/M2mHW2fjTd4k9/2PLeQe5R
iSuly3bQ701NvhorPusLHthzeny5OAsx/pgG31gU7iF18J5u967H0vpNIim8gOzcE9Hf0+0WDh3U
DfBPrO9HBvQYfkkKJufMyCRmJsAb9v8IO6/lxNlmC18RVZJQPCUokYxxwD6hbMbkKEQQV7+fJX1T
e37P1ExhTFJ4Y+deTbgRTeodm49zgmDeXPA1D59fx+lD1vaa/UUj7nfxXQO+/3hrEubVtCnkS+6D
cp35H80bIUZWgeWElIBuTiknjk0OpkIFCCLCooK82sYNHy+udKoMNfMYaIbnSwxEbIdSRxmpekFZ
PAEoxXnPTtyHeQ9BL7xAbF6c9qWBOkJ5BdBoz2ExOIV2qyvcrVssnO9FCBBxuzkjlK6VsSJHk22D
FJlVugXvyiB0ZDLwB2/kbhIS39yPRutRQUlWytYkk9bTO6Trxyjehls234xBDqB4Gm58na2xomSu
kMHOuNMkpI9d+kYmCHkj/VUjHrENFMWyBYAalDoIGCAQYUwFccoL4oY9xuBVUZmGtNVRBo19YcPE
Lx2n0WoNqScC/w6Psds2f4DsFAFzPfuhap4q53iK140X8lMpId5k01HVVGUna+W2O5GhgbknHM02
uHl0088r3t+EkI5/LN1/rdzvrOZ49b3TjT23SQjS3j+eqY4zXlE7b9feUEpyCXgoyEHZKwBcyMO2
Fy/u8TbZgGTdIimJzJ0mwZLPZ/RCw4lJT/H75j8swRhcf5OH/3d3faMLVzP3Lk7B7hLTIi6mw7BR
U7OnGiMqaADvulHUxCTSCU6JzZ+ce+o24l3Gmdstwi4pP40udtvGurPUgkhMoqSISOzO40HU6Pps
r4HVTgakH7epXMV+e41Orca6GwljW9tuSlxv++NDMPjb0HodDZmLmCUxBAy3+Vy00tGPM5FhPzhK
ZTwywrLajeaw1tVMn//hYrDc3wfEQX9066ZvBp7n6fdfCOU9MK313mPSghE5n0e3YRXItE2yBC/N
Q9c4NHtILF9H4B/nYO96hFVBFk3YjP12OTWszuZ5/vr3deR6f2iSWw9w0niOj+byzVBuLTb3iXFZ
LZ6RJ4EJDcJ3VS9+D92Pwb75lbYfLszLpfmw7mENjBjR6AEM+m0z/HwaJA0MD/1+mWzVH7FrO614
SLxEj3rcs1Psta4QryIe+s2/N7r+28JyHMNHF2ckXQMPuzr1yzjOF7djbVJ4lJi7jCZY4+bLlp99
+RiMz2Tj3h8Bhl4uXwtzDSN6Nw79ew5mxnE6AVva2ZyjOhH8edGbYCsrwB+vLxpTNB4z2zQC4xOT
8n31eljNY7ve3+z7qAAeamdRs/+xGoLf1MVvvZA0+UsvVrfr/nyvn25PG7IVAQ5E7rBaNbtbG1NQ
CBwMoNLapOzY/aB7MRt1wHrmwOLi0PExAxJPcyvCBaBHoJyeXryODdhRIwQNKmsVL0b79BiE+x4B
1b7K+LTW/S0ZpMhboLanIEMS+dZz/PBsJUSUzN/dK1Hs8+i4axKvYdntCzIS1BuFfrgzI5eYMHTx
7MkgaX4JjpeD7Ywwwcvo1Jqawy3CH1ln8wiLkYchbtGWB75NUoR8580CCHufYL9wGR4IdPkRdNcK
II3Mwz8G1JV+/T/6twbUskzftnzTM51vyyJ3V4daNifIzXMe9+tVYgXbcFd7zlbcG4Bvdwsk5cce
L06eDY47h+isayM7Jfd190zK18QMcf5F7qlId3ioClLPNvYOkkmxmgk4eCvCZ4AeLM430pJezT0C
8a61ObX0bpL7DXwVZ8Tn9UqYfodLZ1lQIHHed4g8KKZbroh5oHXcUyblY7IA3HSS1DZBeioItF6+
HWH99uTROA3Pkycr7/jgqC6MvHO2rrG3WnbMi/Vm7Oejy674h9nC/81V9m3Uvi1DqzbZBKdTMH/u
jMdHJBE9BoMe6ptKDJBG13wiUqvxSXwqqacUm0W4rj0O3lvvT0lC9YxHQAMU6XprPDQa/bakVQm/
t2aOUCup11cpjjZR47OAQuoEmsJIV9GMqt4FedeLlEph8bXxD9nO/00XcxzTrJu2ZQaWZ5j+N8JW
sEbwURoXUhLGfu71T+APzrE1TtxxAW7FOqzVonu9v8NLUetlWBlJIaSw+bFX7K7vc9CI0ekzktk2
5xYuHOKcksw3uwfytHLCWAgBC0jpJN8GhafFubc9qefFR7F5OOHeDRpXlxgt8l5OGAiu3g+3eD1d
KFoHwjbwF8GGeJl0xyTfMci5wP257wSG1usDINiM5fPef16dujcc3yCOmISig5yxW5pExQfDHGdg
YbYul4+6E3oEMmXkYAR4Cy9RzRxscP1vQBieX8PgQgrHCVmHMhgU/XHj3ZLg7+UpcgFRcwgoGJyu
+DmKZlb7x0b8A2EzTduHNHuBaxnut6G/uoc9a3dCDBuWvNrr/h4dNmN7/pzVh/nkpXYa/J0dlFEE
3/b9r/fzRBd+IaTn5aZ2mPtMdQ5kojUMsA1D3bDVk1MUfNL/+780hz/sGdN0HNvDGFyHDX2TbI64
PfdnA8jAyWZLwIbZ3pxeQGH4e7/+xOZM08V+C58LLLzp/9uv+3F/yLLNFXyegLgfY9IvFrv0djj3
fDDDSTgjwqznHg5ft8xK7B3GqIucwMR3mYbwaUiGrr8al2i5QHxd1u5pUVzBlEG8D/yO7VMoaOv5
jbWN+2F5JrC1cd8Qr7U/vGxJwKit6+FyXWutVv+QXK3fJA5tzF969U3nMsyNf8F3j1/B3jcW/iKt
C/8QAKiDs2nX7eczFUnqw9ORupGYRYhbvM2LD1eRqCSR1+qdpbXs7oBUtPfHzrEg7doHRDlrB8a1
vz8A9eZv5iO2VcRS+/t8mBrv39aZZ7lYmsy6DLz/Ox+npW3PT5Pbpgt/8R1CQm7Io/h93PbtjuiU
1du7I0kvwKe7ADf8/eZ1749rzgscy3FchLXv3C07Bv5m71yvT5RfT4zISI+zXfc8m/e5n4o/ku2G
bd5ILaCLrMiiBL0RZVRCMCIfs9g1zcZAgEVZkj9ZbXm1DFBVHYxlGJCI+3Y5a5Hk4TUl9hwT1IIq
qIvkml5TXUe/rAgBp179JLKoD33CYjPBR5fj49LTB+RrxaXcSE1YcWqR3qawYD4Hg0N5Y4dKz0Yb
bIx6q94t+ocwH1A+OtpR3u+K6giaW3f1YWC5r6NKrhNKvaqcl6oNy52AUX8KzHeq0kcmT73H8t+m
wABeANLRlHin6t/rr3m6pXnLrywGwQuJXqc7XDOIrNAf3wi0kefvAuZRSBgr5WPvs30S4EicnkN3
pMubXJiMvzZYCnSOFJ7o0gGNEuNYCGhX24wFSnt61BAaIPRkSYZ2Dfof/SRqqGvMDsk9zLo7hpbQ
SiOljAH40ZE51djoI/Joylf6WKQIHF0LgOTS/cK82NTAm1McYfNKeQIenoJ+ANghzvNOyUIQryJC
EtHAnfYpnDOAdutANw98Cp6LqYrigoVPLbt6GkRY+dVbXuzxDmAG5B0GwAaRtD5DPmNQjomDS1M+
GTs025dHWQWVBWqHqqOjd2RLU0GEfPa4wIFSw8E86Z+xOlF8BZfjOQH+l5oiAAZzvio0Y2PjcaDG
c6zcuVNMgvuCxWiOtLSqhaYFqk7X8AABY0LBDrddTxak2avCoe4EYkpKCY4vLCFcZhE5T/902fym
RYsW/bKnvsk+c8PObhMoYDdbHpre1Dr8MLbpCrJnAt5Ts9qX/AycHrU/8+XQAkCDWoVUzCNawLq0
b9Y6Xh6AunTdgeMf8W/MisU7UER/3/jBn6nO/+/7b9zU9czsurhetO+LdPJulFtb5UZXiR7y2lXL
SJtej1Wi9XWa5Wz+RTKPj9R4xBbKCsGmE+8otqIVKHJhUXWwNhV2sRMeCVn7eSQAhqwlbRuT/aYq
QyBLkMGjzEmP1wJvsY+EzxsvUhFGAwQNX4ASd3QAgW1QRSwNmPh9+++jYf5RrPOtgNCyOla70ubw
C6+vL7LlZHE5bbo7x2oQqBNYeSvLh4qXKla9GsCDV4/YUvaWC8rJmcyHPS6holPfRIAknFbz8GBd
/kGb/9QmqLK4mu+YrvNNrfctw3Tvt2zVtSnJAjADAK8LFNEjpTTut6G5nfT/Pgi63nc+BBeyLWJ0
XdctV8wvY2DcrOPuvrjMu3sqY+ZDwxpd8s/F9vPvd/njUP96m29ilYXOsZhP9quusflarTGxY6qo
OS+XozGobwGHnZwbSwtYihrO20lGoPWwlj/a9ddNgbuLQG7pPX9v0h8HGrkSY4WNi/t7VJ+RLey6
da1vupfidZ59TMiKpCbE1Sar0v6oT+K/341gxT8MdJ1ZdW0HRcKwvwlg86tZLM/zNebhK7UjBDA+
6S2JuGoZqTMoyIx9x7pZI4HMb6l67OOaooFYP7G6YvAF4whUzEiqE0etRrcOSYQUncbsSkohBBH3
DBoW/oYeaOLDNRm3quN5w+6qNEK/mzceSEAEOxLVSqUTo+SB2JK3fvv11QXlRjl3qhgGtF/H+Kzh
18K+OXoeUVd5tGin/dLj8DH6ES8aqSqmnRNZa56FiYP20uxjZgZX5hnNi4ygNmFzj0HrhF9cds5z
o3NOL2+UUmr90whm/mn51okFNt163WQBfxOjjuZ5MznZ/hyz4BnL9vxDviwKVtdDAkAw9qkK3r4J
nGaIuemRkWDIvsinIV0ZTBuS4Qekt5NLrHLtGtrHXSOK7o0kCZ/wgCVhGL6H5EQ/Jk/vvX2jx/un
QTjgQNxfISP6lDw+YB1MkqckiqJ2TMBLmqZgBL11o+7XV/eBkU5Io06SqMvvl/YbsEQFWm2bea5h
ZY/ab2DZo9cqb/v5mfH1XubMBRCzrefUimMZfIc/Nk2llDoNda73+fQ0+PykUqSyOV+AOe0Qtsbg
/lAtQ6BGrh1s4wdmrvF8ifrPp6T/0RzNyO77AT514x8L+08ieB0vKSEtiJPebwrT5O55y1NQewIc
f/VwD73RqfF4xl4NDlRqtdJ0l17/cU/7T3vXJgbcqNuEt3nlXvuFaJm5QwTi3Jw/3wYbxEQ3PX7s
ktZ44hJh5FLe3m8uSoyP3qBDEtMdUy9Oim0POxdgM4/7PMLihMcovrZArbLG6OIFicTjSQPEjeAl
R0pgDMGmePwXy/nTcvUIJCaQBq5Dkvf/Sv3uxbjn58N22wXmeb7tb4jn3MB+/WXr77Pyp0khThI1
z0Kn/I3Y3OdZEFzvxaabm6TBOeg+wHa5fmSf+6v56h/TUeoq33mIzKe2aZpWEJiSjH6ZDsss3J1t
1q4PIuAkTwVYJAAWba0pGr2OLSDbiNWgbgeAFvs2WBE5U7aItxSsofJIQao54TVOBP6Ahwt1HhMr
agGDRGAeyYtm6KERE0r9uvi8OkQNt7BhH4ERv5OoE2f7iDQK/iyKTR5bBDLgIgFRiOSGAxVOb03C
Fpw7hlqA6BqLL8CJvFzAS9Y+JhmHqA57GZ4OqQfqESftm2cKmwGFA4LUIvzHjPzBzmyi5rFTDNfQ
qv3fQfKzpbUqiuz6VGlSeYjt9R1pHWE/JxkY6cknsmoS1VGkpAlYbS8EzR3xnXoi77cYjEvCn6SG
6LHtbaM7Kooq4kmkl8qD+IQXTBI2UfugVqz6l5mBTC5ZfDLOkMXPA5UrVcjSBtnYQ0K+EdhLmMDf
+2r/q6/av78sCMOZ5+vaATFTqolCwjAYS4MBqBqEFGptBNMMJN2qmxuKAXooIhIRJQN6SIAeQqKU
CD2DqIzburUJbKR3yzBI/tVg2UBo0m9r+Jfp+SYZn/bX2+S+cK9P4FWHGWoqmW5l+b9aLLWVnVQq
suuZFFgpwpdpHro9o1SNUYink2cpthQR5r8kZ7+36iLuREZ0lTJMQQ/04VV30+XDFMaPctwjn6Lr
g9XOD6UmJ21mgZ5byeCLBMEA9dvcNKXX6RArKvFZJJdLMtdXJzLAUgo2ofct+5ukmEme0A+LZAtO
NW/0065bvZOsvuvqmyPavladNGpC78obFBGycLdXqQKkoxB2kNSnlVYwJ6qvkvTL0L3ISoOBrury
Tv5gvXJ77lbG/nGPDZiriv4z0gwZhZtZhFjRIgKsUp6qc7QC+qP6UiexAbouT4UNHlgum0Q9kj2B
wlsD/WaX+4Xy5pV1gkbXp/puBd4p+8eN1n352lfAfehqbCc99x8GkR/UlmCEcuDOCUF06NUuYU0u
qMWgSEQdjckB2Cc+Zl2StbQz9Yv+K6hRMY6KdZQinlGahWKNDxpAfaZkBO3V3TQUWuEaDrWb3J9i
pmgUXZXOcRHq4WnppxOsboyJ7r0k8lONlyK17nPzxQ/pUbIGyAags3UjVXUHCRcIcu7BVjJmum3W
XXO6LqQhK8kJJdZ5k3VBhGWk1JJNAryxBnXZvxNz4Eb1aWXm0Xfzvhpwna0Z6qqlNJsL8ZNPq3SS
epV1jy+0TQ1lhFlE/MqIHbo4ICkrhdCS1uG7HKl+XWmcbEmsTuwF5cGc3FM/qon1aVTW3UwGuqmV
FrPaQLGgWqj3UOulPp2X96WxpzaDWvb1p3lKUyJjE6OiQd7QCVaBM4WYHrivlusFTLDyXmwcHmrw
lqVQrc95n/p87D0tdh1MeSHYFytVLdAVtBJ1qB4MLqFL1XcKb50zUAvQqCPw9DaJRxz9rquLqO1a
8Npi87434IpazrqAJkStYLeUN8DXPtOlfaVW77p2RF8Fy0dtK05W23Zdb8AWtiNvMHnfcRmyVemE
y5FcjKRuUQUp71X3NKwBMVJGeoYGaO0xvDIY6UGXZCFSM2y1XARDd+H6Ig6iF/qoltOKFcY6qFC0
n8mkJFKy6xZSUxitRXIJiKKSVe82NSBBSg9nthiBDS2cVNSDK4pAlannEDRZpShK2oXurbiSbHmk
EgAokFIfTpdadStLpCgndE3mQb0ROeLKyPFdDtx0b9MFV8V+SDN07fqgtHUBisU2S2vxIjlDrBfJ
5PnMJ5JfTIBcRMfBCMj4Pg8v1Kswolq8G9fiDEKdTTNiyEX0Ccfm5iLotXjyLAZwpg2Q/nH+VjGF
c0ptLUxLwIrDgvy2zqvBKtxnfVs9aiEJuh1MUBQoVwzykbvc3mrh9vNIMLnDd8eOgzFD0R16dZLq
k5PIkbWK6qA/EraMoQtjF/GqKFEAdfbIAO55HLrhkyxYqFUdanCQs3IuP9d+CG5QF11F1Y04I3L7
i2jfOfJO8Sf1pJ4Q+bT9dHizIGZZPVePgrjql0qb6Xu1fPmpfrrPIMJXbJCj87ciAo+E2Gq9alQu
9EyPvN4AoS3OQa/ATFSLVxkH6dScQ8lqjDYMt7Mg4u+KeW7RLRjnFSw1GwPDN/B7VnScOaxdzZ34
43pWMk3mByb7jtWYJUjKDq527Hu1GDx97qapVsNLgaozf6UGgS7O2tIyYDG+W0y01rJuQMqJmC4H
T9eoumOdrQWjNuZMGl0aafqJmEzF/3UVPcW2Kdb53yc1Du+5vvivrbJyIwZsZ7Jta/nqBB2ukYAH
z+qDbKqdqtuIg/s9CQiXKRadyryu++leLNeBLqoDFwxOEQFbeBgvECJKoeC/O6pzlZDh9rKxmr5I
EC603DWdJ26kqeMT7yYY4DUDGdO3AdxI42aO3Pefpnkt88qwXw4NV2GNPBl9ZlInbjtA0ahj5sjg
nEyLW9bVdw0Ae0q3vZQ30sToUppZ3fyCFwjSoP7ovxEdgF2XJGVHoC5qQvSlloZDFWl6z4cYVBzN
uy5e7WwRaNIOuhAvtyQ1ELkn2LAYbCp2C+XnChDNnw8RqsUTLClSISfC7h7grCmMx05rA1ggRsoB
NcS5hA2nrSH8gFTzKAYt0izKr6eyGvyh6M+RwEeZ28UovBFyxEjk2R+KZkM1WbfwPR0u0ikiXjED
xeTDD3ixuUyBf0UXcIfzfm2E5PP/1FZHTYa1gUlihZ+qMh0oOoRfbRFkSPWB51TMXTJCbwLnXTzU
qah0GezwHgD1vW6r5ByVnUPj6xxt+BKnQorKsKYcyj0+f53J/n+lABIVlpbvwK9QQQTLrZwb81Q6
hSpzV44B+wkxnGrH+oxO0XGfstj6Qfmd8IBXYPVpt+wnC21DHgFJ4mB/QYWoFQjpE0mAXJAWJhO9
KA6kkQQtrRYRSRFC5hd65hI2CjpljQQgPZfh7ksGerkC9CA1Lqm96QiQGIjVI/N0J60mNMIjIDpS
DOrpiYCuLb6WPa9HcJs3fSO8tU9P1640IDs8/edFWMRWCOw2Xop9AuJwtHyQQlEiEmNkplTuHZP0
EnP0HCBi/DoAEruDdRIMTZKnVgTmLvoe3+kp87WOIP+L2K7JYN2Va8QfnLqb2aFt4liqRyRYc70N
NuzKpbQnB6zALTTntpU2U+aCJUozycDcPjC01MykbImM5A6ZLzKtH2LvGbfMOyiOz/r9gHonJ5WM
6EGvzpXyma4gI7qM6V60+9hROqUvDfCYkBhHjfY8ynug18QZXpXToEh2hB57+Kds8t2IC5hHq9fa
i+677JJrk9zLYuuTmMwQ/FVyBek5CaVa6luwDrrBs0lp7Ko9+u2AA0ktqzxcZ66l4yZhnl7SU3gb
6v0yOnRuj5OYfuDg4xM9xu1WOgQEWwZ69Ijy2q9zEtNAD2VEqvufp2qJev4A2hagSWTFPjncTKtR
N7ykuqEydexW/T14LrvC6edwM5MqSf4OR5AQR8PnTB51eNJbOifnTed4vRu/YlROKAmhRtHF4Bk8
a4ZB1zVZEJqeS7of62p0J9W15clY8ovH5FR+RF1X7dCv57C6vo4iH5jj1M7b0BrRahyTwYd+0VRr
iCguM9adTqGR/O/Aq086t7qjRWwvTaluo0ZXDVRoLOP4pgHRt2qEvI0nhksjpzn96Xq5pEsS/NV0
+f6853l0iO8AArsJ1ZeYBcp91F5uw+B5F1v19jI5jnU2CcuxwRm1l3k57NeH09ttmKfes2bp9GY/
feFr5/aiG3gOOxT64UDREiuxSloyCbPYAe6iA/575HcJ9e1TmxVQyjjreI9LXKF5h/ikBKvGMxWS
oTxZh9T3ZQ/coL4NcXIfMgrL6wcBodoPQb96D9ybi+1jGXGVXp1Y3j5Vyjkix0ySx2Aqyt4X+cke
I8kxOpLyafSo+YnqgSwpb7fEyIrnTr5gr9GxA+YywlglOxnkNvAWooXwJKlo/oo5ABO2BGEpccpV
Ow7rLaloiPWR/Y48+Oy+Z6FUfnghMTYwkgw2JC4lYTynfAAeNtgTjA9e4A8nUZ6s20dQGtaRzRjI
91oSgb484JdO8Qb2HNMtb6ymWQlwF1IU/KrnpRfuFNZetG20LT3GX9OmeWDqY8DOD+09zt08Dvq1
fkX45c/Grw0UEjxAg7WMXLYmdeuyzhIDk43vAQoEFTqUbMBuAZJe2ZyyTob9KfdUy4qbadJX7Nws
XnySY3aovucKLfAb7eT6pknXUtOrzrST4s3+kXHZZaRXvu0cmDI+lcShco5rqtcULqdIV4dsWOLl
jxHlGamGt27r/ybUg9TI12pq759acVAGyOE2ySG+V2xhJ5awyAeLHg5XUo4I/zyU8RDtokP5WONb
PHJORvuEtav7EylLt66EDMjBf2+b+LeVOgj/aendnpJtBjY0nCT4lsWgdA2FGGjHK46gojBVRMEd
f/oSfrvlugA/hLuZyWIk6mFGKTVapk1be4akv6ul2sZqs90oR5VslLYWD7UkpqhxgGLLODgnXODy
AHguZsENlcxWLZOhEkO/UV6GHaVRVQyFVskl1qRzUHlwNjpxiuItFHdwpDaiog9OZM0EjO8q3JFL
bLbAlyAmQ09ZIMm9x7yuuOocrBLwH5FzpIFX2nilEF9CxDMsO6WQJlVTCpfbJvR917ZDRe2Jc+P1
JU6/QFtZRJ0MmxWXTCTrVH2U9iorxRK1vMomlUVm3/fTerikzwRTfmkBrGkUqSBxPaSwlIZjHnuh
R//Uc82zWK/GUryiokJaXX7rC0wYVrhWNulNDNKcCb/8XLTzXmVZzQiUcJ+Kcu0Ch6Olq+3h88w5
GwLFhOpMLVrFc2hpV8cUb4tPrX7xNaA7XvXOfgKQslVy0me2NtzzCP6zcDsd9g+sC5SirlZbES6f
dqAFNFQawUCAUYXAAKBwJyVh1SPXVZErFYkHu/gdcj5ec+bi0eMQxWEEqUXEBCn3rFIZTRX8Qq6w
HO5IMOXmkPu9csNTt7mSZwjqYHEDimOHNiJWjcGrmJnDhgIC90UDKc5vRsX0ynuaOg3eJe0g77zr
vx5LUnHFl64liyxZ7DPiIiOg8XafqhHLWJASO0WVNZOSWy8js3VjeQnsBsMWJV+GMqF4Aw/gvspy
UhmytEDq05yk0dJKITOKLcvStp+xMmX3WyNKS0xGJyDluDyZJVnZPaVGlFaePpmuGHl0TV1di87n
jlp0PxUA2dSU4zxhp9poGVINJIQXs11pDa1UF0pXo6Wf8c9JiZfiPH/Vwi9kKMJqf4q09/bsNT2P
4A7s//vmFs+pgCUpPP8UB5QVX8xKFEhLLI+LWsP/j+tBcGOQuxC7KyJsvemAkkhyil4nP7T0PSQE
Wc9FtBYgLyjbTGnRCs6pRGC9TsYiZjbzLJG6+j77wLBOVM9PERuXAZg6JR3VtKpIsASJnwJfKRKy
qMWRHKobHqCuCm4S7QRbgL6o1+xH6DbUJgSVBKrihMWH2VrG4BvF2vbSYfTqhLduPaQ6xSTSVs5J
MJ8DjbR6sGd6zaEORpvK6u3zI4X1OFkxZnqs+4fECQNW0ZHhZTA71aioCeQW6Jvycfm8dWgQ0NRV
3UcQAktyeFddyDJXUNSQyo+AroUmX4K1BD39JGI9BVwT4rmPLp9Q17Jr2vHq5jwFvk7zJoKgjVzJ
nJNdQ1C8Tjt4ligkOVcyvBhyLWhSAw3SoQ2hFHfeQRIUb4agHFfcQxvsNHYiifdVtJpmYJmI93Pt
8xT3VNckUJi3rtnQPstmylGXgCuWcxqLkbgPrJ63qnH6jXJDXBHpPyC2yiSJXTxQqeu7qCDy6hqv
Q3KogOnYotWBmExCGkrUmzQpLZ8gPfQV23VvVwF1tfd1IgxU7i4xWpJl0LMI6dpAeGC+JTudgIah
oD7ApcbA9QqOqnRMgdLTcmjt6sNMr1CM2+M6AeyOtalAsktfzivu3vVDFcqVI0t0EOWFQam9izZJ
1xJ1kkalFa+AMeoVRMIq8dsydYEEESnvH1cYZ92GOucUHscSpLSMS8FgXEwVayRG7yEaeLyv/E5F
eGPxo8cpYpB4PlQ6nKjLJIBJV/evJkt0T9RRj+oVUd1u5Q5FP4nvn5ckUT9UT82k3i+h5A6nqvlW
6DK+KyBWrBbwxC3wthhnm4bpvkwtWAWoIrpvdYdiukaSl6BRLQ8nIgkBNnDlsrrogw3uh7QXSRqa
nnsp+lNgicGWAqvTJKusk8us4Jt1YnBJR22kn3Uqs7CUsM8A5aFTVh/iApTmWX0AbasgSbVDq02P
Sk1acrNbihAFt1j0cyweQYNbMKJwr2bGTAQ/ZOvEIPiJ6ZJFl0VXykmIApUzS71r1rf0+by9hVVV
0pTas6U2EEghHxoxjzERn1Rr1QTtHE3rT8npOiUkXXqSntUI4eWvplfsbt+9cb76ns321J8xylHW
phFv1VW3XR2nu9LlX+LTWB6gejEaOp1pG2rVqaEmFLeMV6NiWlixVNFNnV9Pt11ds3pqknSoHgoZ
FZl24dbsNiTISqLUPiTWo4OFF5uvlxyJUqxsnLKioDNgQ7V6e+yU4jPFo8zTWO6wse7GGcY3bIU5
L5W1loPRQ2RlWwBeylE1lJmAY03snYqP1P+CuzjJ8nOFNJw3Qa5EEpaAUOnEWr+nUqNVt5cJCDj3
cgBFnDS+0g+RZaIFenulDUgfOKMXoiAjRKPwPmvRV+tX77S87qmmEcniA4gYhkS3qWglsbulgpGV
UpXUnLwjGrZ+xvFdKokojSVt0RGKo0VJgsbPAfaBFEOrqYWeSF1QcW+KAkv+leoqU4k2twVJcQjN
uUHH1PzbUCRaTZVIJzFOtBzFp6TQUrC1xhavor7Wkz7LZKLzltgU1DGtQ+3o3QwoN/YdBG3MKqxU
D9EKDaX6fSYb+4z4zyBqo26TRR/pjB8kkm27HmcKhaQGKg/DAVENEJ9kfiFYGL1pzsnS8LSetGVE
IZgnCJpMRdKttl86FqEU5iNioXaxRxhq7ZxtUuvJFOVOPaJzJRs6LN19t50xOGolcuiE46XYq7c7
tJWKR9kP4uvweSZd5FFLvwx2DmjAHhsYexzVfxIuXu03SckyBJzG4gvzxBgYpUCDfPyDYU5u7CFU
MxQfrZfS+Mi8bukiHLOciEoFvj+CC/I2x9qUYWyU8LtnM2lpqjsOgyUyoPdaT9rS1cbVfhQZ0QD/
JBig5mjUtPt0kAxoAdIzlBEK4lDIF6zP0AFgOqYG3khTovGIvJ7FhbzohHVRc4IeSqOZKapsUKoI
05bGBRspHdy8oiJnDJmMISsynClDFskWq5rTyy+pH+q/lWDoYU3Ifsh2YtKleq672hkaXoY+5pUb
wCtDA3gAKZqLVHzVaImzmhwhq0il1pVx6dLj11+VqIMJpKMYEU1DuQFZzSRzPB3i1UxspDCpzor9
BbEF7vwus4MmW5NesSZqH0M5te0rE5QWkoy+5VKAC2m5alw9yhcp3B1ixowWU+/dBIzg8HGkSl5M
WeHFvkUGIYDI/bxz61xeF+C5NZ3P87W9HQL0rPRBFL2XFflbWQMJY0aA63K6D8LtoAC3DWQDUuBz
oryXH6psdQac7eWM9ixh/oCuQIaVEzqhhWQp4zciIFBJx4gEM1QLSdYTiiDlHeFEPpKYuP+iNete
Rq2rSZNYKBu9bpvcMQAtw+Nw+Wj18a8hLeetG/juZEYd46U3nAMLk1MbCk9J+4hXRH61IpLrsYq8
wEXxtMANBkox7hwZffA9Qbs30PEMy8AeewG1WiRQYTQIwVErfW44XD2clvhdKDpRT8xE17TQTeT3
VURHHR/QrssAtPkGB7t0Ewt7kZxJsqLj79qC0yV7k5iCvBA8umZivFOVgjKiPZXNrBy6uH/lJ5Z/
SsYul3AMKTn+MO96xE3geeBAGz/rAbOUfFP7mfw34hyT3oEz3ag2kqlMhisDP4vSRJTdofM83MF2
dAvHOEVwoyjgQRqWGoTzpJdP8ZsoT0R+Pe6LQ0AOoDrePsV3VH5j/ea2l59X/GMuDm+8g6hb0gFk
ZNB95aYv7y9ftjrh0x0xNkXXaMykq9mgUfmRVkS1Jqy2HCkymCi4Yk3EgwIhfFq4ZJw1AAbd3XSD
0QE/G4FYXG/D1fiWzsnhluPCKoa1jmKB5KXDgQ0Iy0AhOd6IOfSHh6Q28KN9X8YJGyVkNfDA/2ZP
iZ7J/LLugVWFUtKxH6SaZFg65z0pcXVie10Uilu8THfAGkgz3ALAp40pPTCgYgvX0MMv9T5gqUnB
kAlKEvEEoRCB2WDfSIa8vUiR00+l5+NJmRMb7P+r9hapftNe8p9aqfoMRouLRB+U21jkRFRBHENq
DcSgbNP2S6+VXjNBM4H345ULK12/si7DBOH8ouE2scqwT4wnUmjE82V5rpiFT9KI2O7PSC6xDtFw
MSYXrDea0ZR+Ksbs8e0tbYi7ztGIqcJBkrifOBQKgMy6CSMpxUt2rQOj6NFi6Z1yIKj9WPLhniJf
Nei7bkGdrPrwMJN3B38MUoNsP6KcGuBbB8BKmYWllVea+iaUjRE70iOoUawipTWJxmgpZiXqmRmC
Aso7sNpcVqgWnI3XUJEWCjkha6c6WmdXGm+9pQA3n4OrkBhZMKoNeGBf11mf15e7QmNYRsSvWjP7
2tpssVJPIm7CXbF1cEsfg4JioxRVo2OlFTvYxPz0gomizvGyEcpoIc8lxAVjRYk5vNEmaxKVW21g
VrdWsiLUFDRRPQnOgyiIqmmNrwjpkAt7wn7w3/VOQR4KxYAUDHVM9R2wjybxFtCMKBvrNooqETUg
6uXDnFaGFbYcF1BImEhX5RsXJZDxWzt6kZhT0QE2GpfVNpSzWqSxcgdDW8rftSV1ngiLzDXKMdOI
KJxKBkhdcU5EjLb0jggYDDocc6Fi+gQYxTPq/Sasx6BcMhmaNzmO660D+j0hlJ09781WZaJXDFYN
JD0RChmhuA8kZI+3WIZ89arKYquGpBqw/7Kx1EBsU1oNhJ8xD7xWHuSEpC11Vxam+cepjRMA+oqn
QAyARKQExMkmxTeIhFhimiq5iPhInXpDCg1RZIeXbHqldoCbVDDLfEJvryUBpcT4RE7TigspnnMz
Vl6UhlD3qwYomAbT2rQeZgxK8WLiuGUZs7KLjzr/tZiDMXwGY/O276bb/qWr18rEoqGUBVifcxYg
TvWZXNOTiEAunQrMUhkXpZkQm9JsG6k51djJyFNnUwFR2TkN7XbRq72euZFu6glCymdBQ71xltDU
0qjMStaq1rmyB2lTaQsty/dqihpUBvi5nHv60ASVWwIbIIJB4pMtp02iCRPN1yvBpvyqDYS5UPwP
W7Xmq3T3K0BLhF88UF+K41AlixMw+7GRr6wPGYfusdkhPwvqIYucvGbIsUiekupPU0lNesgWgIuP
3L9KZ0czJ9GwspPssc3IwC8ip19FJSXbSh2ViCqcQemYhtRnaesZApd0DLntKk3XaT8AII9MhicW
tyABfZBLM7KedEX7qSSIT3KUQrg5yhhJ/alE+kN7O57gLJJ7SL7ZGtBJQYmzKNuiDHiVViWGJWag
T2JbEiXBc4fUc5i6Lg62AAqi/FX/S00NG6WOXr1KBVm9VrxB1pbaB8rTaD9WJ0S2xebEM1Bd3itz
BAnuGjj1UToGnA1xaQG8uLw0C3gXQAi8dBQTEIDnSHwAmD/RqrfC5noi+mD+itCWlVE3F/4rqqQS
lKRGX0H8wUUDSwS3Fyma+jFYpvYwuUu8+1R3+CzJe2jy253eSkKWjW8dwXXE0jImC6vNmIGe4s98
Be8iArYEvUBJa+hxmE71uLzA0qQQYYm3iFawxtLpxI9qdFVKM7yUmQXZiAVjsDCqeb7MxCLLxEqY
oQR9HW2NNFXVqJRaYrIA4wUZgHB42baImZAJr3xgNLgyPiIDV+qREWKxIVps9aWAsgX/FZOhLyNC
p99W7xSVLnUQuyVdbBlNfmju8nI89CqeKw+F1lCAbB9gd8Pgh0ebgystWQtZ61NJth4VEB2si2q7
kmKVBSolQWNk4Nc4dVEW0aX86WUm5V/9q6xga0IhMA6uMH+ClzOTfiFtbtGvrARollyeq8j4Ij13
iaS0hqSfIgDA2rdPqWtSECtzDNj1peIn3Vhjh0GBjSpfjrQh6ULS7rX0pIZpbLUVT6ht+lUe2Kpv
7tM2x9XqUT30NUdgqOzZW4rzKdVZXF6Jz5L70D9iyRAyPDBonQv61xotrFo+k9L9vMVofetC0DBK
SKwr7f28K2NwevtjY9+TwAV9AdE/HwRSbCBgCm5dYawheItwGnmj9RDHMIzmIqqjC+jL2rJFYbq2
1BDF8ynySiFau7G0gxWxk2BTIlmD2lzy1cNYr2Lr/x/SXgWhSQKXCDz/OM6KFAlX8oFEb5FEMWpp
J5JfcvJ8FDss9ih/C5IPogciEDQU+impSDy6CkyuuK04roi0Ho5kewTmHRw4G+HQRWk74eRV3NLp
a43tvXpsI2KVpMsB145xH0TAzhG3kQohcFDn9IXZH/9wFfB0eoab68ORqdCrRlP/Tz18hi2K4OD2
3DFZ27acn/I9Ucxmg89T3hmS6bipjEmytYg0a//JyOAhXcvILKxkWYoy5reigGIBEIonu7Vho0BA
WJ8ARzvv0qerZSV+oAuJzuudIn6WLPgj4LXSm2+UOympXmUVlqdFO0qP/yPsvJYbx5Yl+kWMAEGC
5hUErUh513phSOoWvff8+rsWMHNPj1rRCo16JJGE3di7Kisz68zLQEUehAi20AW/uliML4evohkh
CJDjPJs5nXIHhLcMpLfjm1UNuzX/Iq0gGHUVrXAzTWr2jRVEtClCjOwuuWRaS3WJd10ltkrHh2Ge
7zOygptJ2imqblhiqCiVmaINqfcM8Zz3cHtVSDa0giaF529+mZjn7+dJKU3VLfYUiFkDjsaazvBn
qRPU5bqdIHaXmmfCTokR8CLZvvJ303pEt/TOAkyxXl2gmx6LMiciCEAQwdNIvzyUCwaUftyQ0g8T
DLMze2tQJHRc+hGH8+A10xdIPDc4yl5xkG8+HLOeEW4+jCFQC+ZBpw9qtOlk5R104hId8f4eb9Ib
7gzkiAnvXPLL3PrzLcswb/vf16GRmyanBrC6qzrIO2w0E6MKKZ3V2sEPqyyW5cSGK8xipkTkdch+
U4G9ywnu+hLZPpxuM0hvBaTs1MfgTDFVZ88MkabsG9GkioHLTzbJEPsLGlNM85mGVyxbcsacnCtX
O5oegwbSLoj1qsrmGGG3hRQlXL66S4vQpedckzK0Ay8bhGL7goi8eLPD8pLuqIj1w+TAz1Sv4b2N
7qHXzQhslo/ustxxhXB9kJNHp+vp5QIQNBvs2YD3ohnmZM+L19vixaS9fOzfGRdZ3zS948kBXdw8
A9FdCVU6xUu0kPTil+yz1HMBqlvpbtIlvaUm0Gfin7Xnrdnz6fp9ReBTPcZFHl9gvpd+w5jJxl0+
RtJchFL9ytZC1kRqiNA4fu1B91xEDIWMtmC2tUDlRP5aIbCbUK1sJycLE9Thm7SPZd0WLNVX6WX7
iCx3huNyM+pJQyv3JhQmDPSOlAxIW0vQtyYLm7JccUc7cg8NP4RrrZ9T27t2osqiF8ACMDbzWikz
TJXpcW56Bea47ZXEiEGr+rzv5hR73KtQqdKdkWRp8ljpOeWHzeOzZH5neVQd92a4eabKM8P/eOuF
o/1UW24XQ74TcfnTEk/0MYNO6bi0iGGZUAYBvx2S4euQeo0O9etHx5GDsTm8XaUjY9U2fjFE2jA0
SlfWLrP6ZcZPkzAXvUiWM75Oo9oEdprDQhqaIAOIZmKfz6g+ZnUWp6B7rDGs8IBMDP9PhAnU4qLu
X6Zv/ksN4adks+2FcV/1st/uX9siZ4J/MoBoCcqbQy7itLCi7mKn1d5fzusFnMWzomSmrJv8GN9G
HUvmk2seHh4QnoIDhFhKC63NFSYWSYFrski2lwU+XCH6FLWp4B4eJissLnQPtBetxdeA0ivRbK49
7IQEqjBqAX1pYA1TiT739Yh2G1zbAjSkFdtZJKsrYjeqaDZuxBoK8i1kWyj/5TY973nez1AcHZvF
dnr9CLd8Yjbg9ONbGmXfV5vTWx/osDG/9GGc8q9hGwEc84i3jHAWMBYKiizbXVKiOmj0NeSNgupZ
ykMZOgV5IJP89mXlwd2GAMbl+or8y6UFed8bOkYySJd6we8sBjTQ8+a7JBoF5jt7egQ4vSHMZFYM
8QLZ0kF+zqlP6/kH62RWqZcvuIE0gxZ9GgNi4G2z+Ma1POICOgE099LajnHMdVw3gwudRvj9iaYF
6adOrQVINX2AA8z3hcbWVCP9d1wPL8Z0NKI3mvdh29v2xp0ReYifHNe3vWUztE5eXzfDtzQ76aWo
2rG2pMJpopKlLPxL2wMpZjSvSYE3ec4osinuTRpzPjS6Ol2Q0vgDHLKeJGhynQda2PAxsx687ZrL
3vhYCzADQBo8ytWmqwe6F86L8YFS3qI7L9VGy2SkzekMMtjkMUcvyN3l8hctAlb1m2EHc24+/DHs
TAcf819V+12epjd7wjr6SqKCHcx6fQDqcZLb14UWMBPPLR/mv3JJ8JTADsCnrLaZ3gS5C0bnKXdB
68vhoUcznwDseFLfh4MagttJbXhorRb4qsfH8bt7XME3puN6Y3LHVcm/DTHGnEbJNrxYzGjnE2Pa
ioioFQYx79qWaq1TTJuc9eyNvawPdpSgBcCqPmTrVzPaYk8uOMclWt5SbcaaiWhp2cldj66mvwaN
Awd1E1Ue5/tW/jqc9FY0uart8bq/Hi3rw82sNtr/3MWDY3f2VKrPLhYkiguUOcXLXFegnuA5rUnn
urmunAHo6RcIZJZUHQrt/QH+Z/ESYvslLoMkT8Aw3cOYJsb+IE9UAc35hx9Jw3L+lrJHL/LXmajH
d/K3i9Ilmdeluxo2i5eE8gD3tJfocigE7GoeTnBPR0+GVmRoBPRdOaeG99WuGpw8H/R3SgVwXi/L
bbZGGmAdgLpwq4LNQXP0lOl5hIwWF7jJ1/BDXPCOlMKaJg/hJeV3NqwsiQtxUcD/ptAOT4ln70m5
X8VCfsi/qUvaYSVQprtybURfKQ4TaQhXLeAwmXj4AWtjuqH2UtYsExFFiS5/c3vln6sWiqeL4q0X
wOp/ySILp5+/VjCQZztcMPyuwbYwNyjD3XCfXrTQ7UMX4IA2LXbm+ee63q90tuPil71Lw152VXNd
31u45tAvsVY8luvuiLdsWvjQ/thcMFdaUd+xc+vdYw6P7wv1VaqsZHChhh7HVX4tX4+B13YXluGn
vSEPypU1+WqbBmetw5t+wxxp+XpwtbugSFW+ztA43twc0xAi3Yobxhu7f4k18e6Cj8zF7sb0O0iT
dSUObIt03fYRcwZ57C9Aeey3TwcPDhR4hR+mvZ16LnAObg35vPZHuxYCMfJ8f0USljkieV0yNdkG
d6FE3deGm+VZwiNIL+y/t5UxOeZqo/Dqeq3NJ5VvOFgK7eMPr3WWWJ4YrvsfPimZkm3BuPBducbg
KX3P/YlPLqjdwIrGJh1uwYAHDfOPZxPRwdN3Gu2vPB8w1s4HxSKtSDBR+K+mHPeksJCbRLmLKRVO
RFpMoSPCIYD0Y28SvP1dwf6lr8hveyt+8hUpFlfHanWyQ6+N5V8urxH5PD5PsHVfvBROj/tlp7q+
267uNmW8dGngdCxRrz9CXDs/jKLm3w/mK7O2ShRWyyUcaXB1+HTmp9wyoMNWYdidHMJadYX/cO4B
/6G/7+Qr/XslwsIBu7xSVKl88nBYLWa5WW5UHnWDcWtOz6B5fbd8nZJ+ha39+nHN1f77/r5ywqA5
YhBiu1TFhUcLgd8sAg7V8DQdD5bD7nr9nKe1PMhHMI9L393Ir5wIft/NJ3PF02o+2ozL5Ul3WCnF
/fygFmy+68L7xZkUQjx9cHeocIMK4X/PZLLclEZBdcouCqT4QbN6vj2V3zY8xH+/Yl94erAfBj92
fpV86bPLxuxUHA/3+TyOgetWvoxTIIrKQpiU9/XKaveNg8Of7WeiqMB/NN4oYi9d+mxUsq4szoNt
YTjp0kYsOcyvT5PnZLO42BQHSTm3TzDLqmyj2mG4pN3z1Wxfz59wAirVQ3of7qJjXMB/ernsf3NU
X10B/ApLmGVin1JMLbF/GzPnzXZW2Zzw65rt3nb9xy0CtcJNNH6ff+cC+sVcU+AahzQg0aKx/Mmr
KZxURoN5oTrRFGuIIKVwwK2PB2H7hvXXcPyNE1X05+4wYaTNCc94VOb+ft7dqDLe7A+bEdaKlNFq
Lzj7DGub2gYSCf9iofvyXIgvpu198sxL2NnfN6/f6YJYw4AfogNWO7R6xiS3QhcwundBcnq4fD02
aVEWYyi0rJ1illhBwr8PyNQi67+eGRx3pRQF9EnBJ/nzxHTcDYLD7pg/P6yTZ0jX9Bm8XMVRY38N
e/Z4McDJt1yfxtc/uoC4uzZtgX49bLDubX0zdeX/fMixRcN/qMQh0Eil9GkuCU+l42oezIYPdFro
HLhqC9REoxoUU1Km6jhBZ/6Na1re+f+/p84uaU2D6VHJrg+fpsv14bwtzs6F0/1mOKyNh0FcyiF3
nB8uSgbDId0dc6jTRx+5w+Cb1SDtuPVp11geVfU+4rIHwaf5Zr4/R9XzcDF8KPXAYj8Gt5r45uob
8MxfQRucXrovgbUE8FGt1Jok8Bj+fucx4P3z/PGw4ShcK1iSPs2re+aM3bE/P94HL1IlwhdLxBq8
WNYTnBPfTQ1qAFcl5eRbSzBYjS7peGpdEGSQ/u3J6kZ/SpnCGcKGgWSNDoPkShREwAisG8ncHTTP
t6ICZvTiHYNOqVYGqrBKSFkvq61btIWD0kQHfVuieaGcHcRZKdQ4apUbx58ZYAnzAjwXMgJ5PI0d
S9BbM6zVYxCFOkeAXcJk6imtSAlvyK9YkNj7Na6fe4erJY1c4LMSwk1J5w3hLLHsiPMMzqS8jskS
FMhHyTd34M82RVjsMz0HDPeIO1H+FBVEw2hcXFUmOL5zLb2Gfp9TYc/hQX2QdW0qmJQriJEgG4h6
SgGwGr8gTFMcjiQZZN4iqrVaUXqqnla+wYqpGyDnJVju0SR5/GtH8CeIOqUCMkd0tHnIuBOi8psH
SZc0zwEBoO0BSIEX0UsqCipzUhjVi2sly9f3sOiAHcAVFSwAkDSqVM2s4JT4TnktvKPy7DWPmNCm
9eKTvqHCJvofyF0/ENl+c1UrfxpkVvMRD3a+GNGwnHa//13Mw2XpNCjsaTPhuIZ9chmi81s0G4NT
s4G9XqVUO2K4YGMiqjmdKRz1Um38PijHR8hXi1qhNb1a9BY1SrIRLYvobHSixvY0vqSvT6380r+j
m/37YscFwPQyHl5OVzV8VW9KPrAh7LnH8L0wrO0SvKvq1IFPdOgJ4zyQIQNwHBcvytdkyVd9SB2b
OGoVa6j0VxRHGXU/5j3aMj5se8HTgAzA8s6wvUwqtR1ug+tGsVdInQ4mT1G7Ugc6wQnAhiXrhOeE
CXJzkcPH75AIya1oN3j9FDQ6r3fDGyaSxse01upRLBnFVy+PtGC4vRh2b+5ubCMTP1/8PMS0Qrlp
1W4GyRHrtGF3cAstqsyKWZu1nvE2aA7uJsm5NxnSGK5+5qLMa+sx+e34255hX7UrzJd5KCqVciUs
kSr89/7NxoWon59PwvsJrHJaA2wh61RDuqy1V/XdI1WqyssRkhx+Fdv3k3Z6TBzP/VtMjq4mBIjT
JPjY7mrHq5DDfp/lyLHpAYaf4UN5VsvTcOl2hNK6uS/URpdUkFYAFZNk9Ypjay5Xm9GEjyV4F+9l
iA1eDs0yHLj6YB3nxrX1e/n5UOhNi63omQpeDqs+Fo0oXgxr0aq1eeMg37bUcGj2PkiqVOFGNXoO
x7vz1eRp8LirXtKVoTMLcaimQ9fwJzButVCbzZPF6zi43PfjYjkZ5K9CmlrN60c80HCXpe8MVt8r
2tZf20irFK9p9zWM9xFI3BQY4nQZDnr9l8MDhLPw5+ohnN6uDp091YnxuR3cTdYJbepDmlksa8Gh
ScpDj9L19VuVNl33C0wkMaNPAhsxx9tfjNrKU3mfRJXLiN4GPKhM/iHGhnlaANDbcp3Q8IeupJsf
J6aCHnafm7fBPs7hYX9qlW9yTTrRBcn0sTy6yUXPpcHt4X4ySgDGkRjT9LNTHMXDl/y5te7APs7N
f/V39ORr96EE9u+CLt0E85Rp9teHq9V1QCf7QSPX5pDGNzxE9FYtQKfCZmfRm+CAKQv6hWdqPaHo
P39ane76i5vRO1DWJM/dS3bX+/qxVwihmSa7PH73cf/XcdccBcl4XVuubrf1E/I86gGVeqm1qcTV
IY3AyvVgk2zCWhleHKxRWjgsxt/E/5U/Yw4c8MsYLZby1WKlWvy05k43y2O4KCyOZN5OxHJtcJ+g
Xmfd1wRf7j8mHc/KBfyL9TS/ZS3JqfJTFtCW3XwiiUFZqix6MfPlm4wHjTItuvqzbGaZwCda0E4P
yboevit6sHLlvwLHujHMUvaDILfz86Qx/WZOrhjP/Dfe+e9pm3/9FvVPK6dpLgynnva2MWKexOYL
MTBsQ6XEELFr15ZbUKIhdobuciuPEsNuTuiIplqI30q8osNRRyXspjdPtil7U6rptJGSLEGjy03L
GOD9rYwruWwWA7DiTCoFkgReAqkCrN2+otPm4h8fHUCPB/xygPC+gzy+QCE89VKpEuZLlXIhzdJ+
O/UV16k/XOZO94u8I71XhEwwaOzX9f6wNUeusXqqLp5CqALjl+q8udq2x4WL4fr0TaxBZ9qvbkEl
oEsO1rVR+TMaUt4Px/1qhZHnqrio69xjyUhylRV968tWcS0iyaUqwaILPjaMTcm2jLdna8dl3D2o
eWjGDcht5cPYSejMKysWJdshrTxDxs3Gq1TojJkll1CLPTmG/kUdNLwyhJR9KjqTHpRRbrvjVkaP
BAy+LtZUflJaBzW9rD4kE5QiUsp4gZKbUj5G1s7S8S7rBTnAGd6uo0flpmJj9YuGUUQ+mBXO0iKT
H7X+5A4s+1mKtMyYp7hPLTiKC7BmDINQKlDksL63gEIMEyaq5euWLkT3PPEhLB3RvaxWkfKefgkJ
CuoJwPkgG9MeWLMNtnng33Xgyd95wQr3lTq0HgJmOh4o+IRRSs1I6foZuu+JwMsStaUtiQbqB61M
4u3wU4+NrJoNQ5aQrfqg5cWka3HNp8v5AEoBHEmDO3+bQrEO6nv0mMvGEh22dX7jzDlkCVrpMimU
KSUjcOrk2XcBA/gFdbEtBRSLNmKqWUAM4tzon2NBZpHx84/wHAsegjYiUyrVnb3WMFm+e6JKXzRK
4pGqFir0EimUq/nyJ2CvP15UD+PF8HiPsRgth2d1mR9IPFv7TS1V0aMVZcpwBDJmVwLQOmltLsIZ
pDPjYVlWYuVi7kTI4uHpO/65j6LhaqsqD4u6U/PoQ0bmGrdIiTfy/KftxWPuag2HoUokvSSwkv5j
HA3H4WZxo0I/I6yowl+8KJRWSSulBR5ES6IFgWbj8EBwgYfP/k1aoswUxcBKcDJGkwVQnSRmcJwz
8quGSD6mGQ/ZWu8c3vOAjoTyWSQ0Wtk7NdYfO+Q7KpACvEtkl6wvij9ST43MNGIL3zurgmfV8PS3
B6nYy5RWZUU896iuS2KMCuYRV5U8EM0tAlwzh8PDrukjXH2W1rlmovDBRsNdl6BTqoUMsXmCA0Ed
n1wYH/I5pQDL9NgzLTAVQNC0wpgRc7XDCzpwWpMAepH0EQkkG3TI/MQ0MXjJv9lGUFckqUEkn5w9
VzLZ3qVklQR18qMEldNjCXOCPaymzF0wa6iAnWBq33VK3cT0NfLJ5RkGpzfrw6WN4RCk365Uu04G
l0f3Ka1XtzntudaNDS9QeHdehFHsXJaSgxlvlQd96VJftPesOO8pZeRsjQF9HyaIKRGLJlyXcJOh
sHtHvBe5Rzn52c1Xc7+mbgOhge+3rCQsPYHeFrzzFbHXGRsPyQ6D5kmDj9R4xUkz3dgDnjlkGCyr
bs83MsFRU8/+j4cPDFLZrM4oy3oVT6R+S+7TgNnlX1KT06DMBbp3o61CSpcnFPNF7z8QASTgYmfF
yC0y9ZgTZjy/5YfkDTpp1EmsmTZIseBYQiGg5bn+GxAOIBqkxKgoVs4lESqTjZpV5eHC4MOUpqKS
J0/vAzbPzKsWVqFYqolLKVVWnWXiYED5fgK3YP5SJB00oLq4SQkKUn6ySrWirUz8tOHYtEzYl5hp
5eX4Jbml8n6uV54FCbYkrBShkVwskmHryFw85Stb8Sa8vrmf3xowCSOMOSnFGpSrWyfqxDur2kXq
w2nVyEhDW2Ny3tRr4G38YNVqTFifFrAkwVo5G/cGDUtKfCyVdM9/UaNiAdEQ0LqaBUmLYGn5yNWm
Qi2R0tiQwWuJycUGN0ErZHxfW81zVlvmmJfJT+iLR9lp0wrHNbfInCc4sLrQ00tDQet41Z9RGz/h
2ZtzpGCIBS7L29bH19xMK+7BG35fFNTGFOlSv8O0gMpa4Gl8k83TKPqLwKUQ5gu0Ug8rpQzG+i2A
2oXF3WK1Wx3vhTMQGPQMKzLi/r6x+XA2ERQxqMgMNjUdlQiua6cEOBRYNwIiy24qqehj4Kb/p5ap
Kg2IVtI3+Vbfpn/JZEWrYT7RntLNtIs/qp4W0s6VTvE4k8ncK+lad/G7GGFB56sKOIqpm6n/H14X
eTYQOUDZ+dd8FdfaBdsjA+zM9+hNip3B7baLfsQf+83RrfNB7r0CiX8EUU7GT6YK4d1VRCHOn/2b
OSyfExz59PMb3PBQPrDF4MNd+kdt8lSjeBAa13o4bknPPNEhjTEyV9jKAdkEG5Bhp/ALfh0TNfYa
mV4tk6MoI2PS0kEPA08lGl6k7Eo4ofmRwSU2eb4wuvTi+0H2g/cd1q4nrp5iD+UFkvfCzj4pxzku
vRZ//lWXkMWqdjqRygNvcRiGoKNLvP68rFx/LGU6/CbjMeCMtPLQKbWMwUhGafV+siBDuHz35mbO
su7hxG31nmUn6BTsOOnfHFLn1jLm854LukTNnopDVI3ZwWdSnWzN8ii9EWFnx6c8wn9NDZXrKHdz
5/M2g4GDrJDcuNpJpGVAsT16QmGN6xbX3RxmeByQHxrcztuohLwl6jFe9MUQv/PehGgyvJP/3jH/
Kq7nqWSDW59YR+4/FwkFhq976poUelX0T/EdXuosXPCiqtKYttMmUd5Hz8CR7VXSiZEt+DBBwvSG
+6oLljvV+9YXx217XsDxxARSxqZXGFnNte5Ci1d2pp2w5+A3t32GP7Rf0lHdj4uliK73WgddjoJ9
ZLvt3zDORjyfPq5uNscNcjtnBFiK9VRHpcO1hOu1n+dA03vs/c1IoqUbZ4cpH3exda8+y+xJ22Nu
Ct3LeQVREy0j2IC7RhoITELA2MfYk9c4wiHiSI6SxFtunSw7hYPOPZUXj/fYcJz1UWq6LbzA0Fth
EwvLGtdwNsrF8ZQrhjR81KB/iz4qOzDstNO8a/rTx9jnXbqrVFhxd/qx3xLYpv7PhEcdFv3EmAyK
qu4UQxIiVbIy0U3xQ1jvhmgu1SK0yFFIBVwp/U0ruU1Kw/NfKJYIs0s4d/2rBpEeG8GKFk3Pfs4k
LmK+7jS4k2mvljxLMFyqJ+CBng7OrCwKSv/Sv6b5dyaC8S+SbuWWeWQjUAd5ebtn0ykzrHJPsQyU
aCXarrs7Gq+DR/kZ7QSO8BZn3VyvBAVUbz312qgJCViING6MIpTluvxmjLFZ40hXSalg85fFXRF5
xbi+J2Gxd5TL9bBlTyrDg4K6+fYIo+mUa0ufX3M6ww5bjkHgRNi9QqxOC6MrReuoE258vdDcfkTN
XE8uuRGI74jAx4lqRvEe2hZHa4qGAwBkPe+Fv20/NKCUmje8VL2va4CNzYyVMCjh/1QoEJLjUNFZ
vkoA9O/Isj/27A10BsCN4lsWm/j/MSaRHLEMPD5japp+FWD45Zko97Hhj1vNn/hRmD49h4yx5/VO
DyuLufT7wF2lM74sEywhiu9OL20KdkrOj3KMNe6QIVymjSt3mR/SMMm3Lojkqgjdz3VpwJwNhR6v
oWfiuXEeEEOVljsKRyTP3vnZs/dPQ0ITVPMSoI4SaXcmAyUClfmITOR8228cdoijTHfV+2/IZryi
BSLGF38g0YEKx/WDZ79O8CzR8cP40yMV0bLuY+XB0GwPgc8wS1qUoZZxfuajUSa42dbKPC0ez/Sp
SJ1DIquBp0eMtuRF057ph9T/DA6ImusP40rPy4hy0x1fajbav9LBU3suYk7qUkCizVLqZGr865c3
sIhZl6n9sFVK7ZtkkEsOh56JyIYvLxtDULVAmVckeVJZ4TO7e/uvZURdfkOTU4TvXYHf6R3gEji4
5gwi42AHTzqoQXjB+1btVVtqNxWalLGubHf0MwjjOfv1XjsspY5D7HawSSvV7y2752iArh0eUEsZ
jAyTV89U+4aMC5qNrszSYdHdf2RPU2bJ4/zgtnI3Dij1VmMO0zHkgZbeVRa5bWzScGrY6bLSIZYH
yqOM5O48m/6VG3M0A77wExayH1w2YvM5UwBNzut7KngpyzdI5pdHsg+fLe0tvBA+UQFPqq6zPvbS
aTMaenq/GEzZ+GTmkdztjQ/uMjWZPqrq7wIytOOtdiIZt1nmuKlQ9SEz9pDFnubTCkxSVCpT34HQ
4qBwBBzQTGsFHAVIYI0PNWUVdve+HdZN7UPESXRaYf436TWpEvXaQQZoDmYkUBw+7feAnfje3mL1
8o8rAYTjl+KbiNwoLa2JzjntWcjU3BdmKJmB1DZbhlRTlZHJrdmsPLHoZ8Ygk0YnjCXhzLTAxED4
o/RQuJ9F5ArfRPbBV4hkVK2WSoVyUKWhjoH/b4F9OAv368UwdyCwF8ZRRn+mJixSJaCjrldd1RYQ
GI485TlQEFrZVq6LP8p1GfNyxFWCH98GgMIjUMQFV23EksiC2DUfVkMpUrbEi2RZPzFWtlgRw+Fl
OpAOSKEfDraNVHawBUE3u6XLNLvyYpANtSuX1oJ9STTPCrEAaPpB0iSJdQL2eiPLIzXbir5haOS/
ws5LYMdwSyCWwNX472U6RJPyNNwdTveD8ri2DKI4V4BSXriZF+eN3GaCqUGlHm3e+mH/plJ8PUWd
v9+nFE37jN2DtIW0RYxCyqmfynGT82pQOVbGhWvaI9wWLko1qHMI1gacN0X7KjWEUW2a4M5NR+sV
vTyHV+/hIX4fJsdyrQQ/f9nCnzimKFlb/TqcYxw9hk+79+FHeFUizyZ37gx3Se4+l0xf9i/zy/dC
j24o8WAL6YXFjjrnKoih8DMBTpLDU2VLj+jTIJ6/j3uVc/z3cy2mrKA/ThZKRjViQBapIf/3Yvcn
pfl6OB4d7zedGRbfSJm4uy16cg/bG7JAECu7yGCe8ULcC7SXem4YL5P+mBlU7xZRIwuqiddJbLhE
AN23exzyREuMtZUF0hEGN/YxHGJGzH06cnok+vyGnz0AKi0yiVzZBz/rEGX6LtKcckgZmTsMcuPK
rRUM837bBqRsXJ5uEU/JppCF61a9kNXaKEHgnQf+QXSr3M1dCGSBb6W4dNjEGYPAl9MLCHlP1J94
JolaeQEbENIxQmACaV6ReVB5IW4moDZ6NhE6pQH2iQDcJM9/TbJIvU5x6URCZXKcxu5E8iYJ5jRG
4roNoPYnyxVL80E6p+xV6wzjdO4SVOdmg080tljohAAjEWdhXrLvlmoqBzPl33ZTc76Qp5K/AFxV
lZjsHujUCVCYv2BgWmSgKPY2vGMq7o063DyQ2B1Mo9MRB3abXfYJL8ev43Qddr61DaoLRUZ3EFRN
ld0KmYy7AKQEvZDUEOap/tH2KTOPVVShU5bhgVBYFggbmvt36gl4XmL5ZkQx/zBS9E355jb1qOuN
p8z5vtFGuDpcT5GnK0kcEJdo2JZ7MDoW6cUFaVgzsDbgQ9FFcJqBXcqU3bA+Vn4sC+YzXz+BZisr
mdNyP1WbGOqXHyyHVKgXqB3Xv9sjFqYzJBWV86ccgbvWS86zIVcMR/DWaJzo381CiD3Rv3kEGcMG
pPJ8q0aZoA9pJXmE8DLveDCneCpyorO2TkT9d6XXNE2XsfO/r+OHq/e+vn41cvHLyGlb21/me6s7
GSTzNJqzGCGZeQ1PJyVDKxRo/X12qFic/XNyKNKlsEC/6nL4qe4wCEer0zHYHqhi7hFliewHRcaO
wyiftVEFIBjOasXO4TFKNVgbhiR5GlLE9JtlLf16y79NUlmnFgnho4P1aPjANFeEo6T86HAXslyJ
UR6ItI0RM/dGrwBqvxScVM+yJhsLWfAVwKCoQTMzQ/EyfJmjGf8WjfuqfA0j4/+vwKfpscAqkYsg
aJDr+/QN6teDnyDPXPS/X+rC1zsq02KtUKQpZPUTQW7Tr+5Xs0nu9FCew3C5eA4rtWOCENgWkKuk
2c3XLl/r1ZundwgKXdox3vycPf39EL6gzxKaFP93CJ/ogcV+aTmbRLvDvYiV3rTra+jiytqIJLVa
rTYh9BBMbIgB/r7vL1iZ/933ZzbkcFnqz4rH80Oxl7xQN37uDRcxXky955c2RI8f06df04vK3VNI
C+fLCm0+c8nF49+PofAnPZBjiCq0FoeEA0Hy02jfL/Pj9TSiyibBTLKftRZrWEqDUYMRtNq/28pq
kYDLvNVMxZJlsTFY4j+6ID2fJRN6QCiKmhNb/v0Qi19BwyU6/9KysFApRqVPodE2v9n3D8fgDOk2
ip9Xj0EN0eXtKj6V4ly8LiS5flxZdfPx4eF+U6TF6v7tftJrTmOczn7U1p1OtL8a6SC+hqPTKNRe
9zfDeEPXzSD+OF3c3XzDuCx71/6YP3473E8Bb2Ge3x22S67o2lpwR3eeYbuACw/ROHr9eAN12D/Z
O6X4Um2p9rbdSsr2O6XOWUBJoxR7m9MwbAkgQuuBu0HqSXdmrjd3dOnQ78HUWX8Omy2QcD+8ow9j
1g3Ag3BN5OUDeZn5eoT87btbU0kprH+cbBm2AWQ8gvwU1v8tuj/lC4Vgn0spH2WGjYuvlWfdfwct
EGjwNjzHDDZAFQkzxOzC5uZjUE50HNuiJt8Na+CLAnNpzYzYQeTcHlFeL7YglHnoLJ+9UEJrYXP2
IVFGH7ctPpnQeUHNrf0R+zxLpDn/NFq3Ym/51/TGUMVARmD1TOgGKknTM5sV0QjrISv30WzI3kDV
VrU1fbaWUv45erKFkWgrBgppC8ER79g2tCXLmvNlMOKWW23IZehlKFdtbYh0xGFPH31Q2jJnd6It
l6eQ0QEM91zErK2g16lzkjAldFIW39WAyDJmH3e3tOaYofVCveKwEngNRzOna9Fn/R0yhBm7K1i0
lPpZg1i6GfcaP5os7UlOJfb65XNudXr8vuRJ99nWq//Iqq7fB9xOmqsoUtXfYIKDuYa+yFMbBC24
7foqA5BQIcVAiF1EUWjN8i4dwX4C2tDgzLHlIGa9Y2uDGUipppeEu9FwWpqPJfFc6i5p+fN4O4K9
wcfS5BskUjYqKSArq1V2U+cI6mseUySBc++dccAwJapATQN8BZtlBtOBQOv5NaWQdTe6Kj2IAem8
Gt7sGIXaztAwCe/k5iSexLkLdFEo8zJyR+5nmbIayjbN77RZCNKgcfNr8Yvok5gJ05B9K/xB1k/b
B3owcIjnW5sHWIFV3UwVNjWP27aspM+IsZxOVzezegQiMG3smgcQAhnVHirTLN5z+GtnNQTrDxZy
xLLH3So2ybu0VKjC1XNEVQj5YttI9o3KCyMwvZHR0wZLRavLg/qtkYc9GQrQbsDkH5bEv87lOi/q
f0L4fKH43J9G1OSNUAQmosbulhp9CkvIc9C0Uu8TmQk6emx4t2NMJ3C3M4dlo7mETAiBDikZhpzi
aym/pqFz3uSXfAUdiRwQxZ9A3CjUjRCPN6jn28PUXLoAyqnJQBbeLh8ZXVR8N91VSKA4v9SmJ0Ov
jNep+eZ5tdCEPV8BLxI3OuOzrYHC6F7MKAcQ609CwHk+6zuIaNGylyg1gZHprboBLxViEksUFGOP
Gajqsi9DxqH9L+AtNuRMq8upmcIU9C0Dj30QsN1z3NtdhYCa58XIVtzMp6JMxC8ubqJxrEO3+fBn
kdM1EFz3AFTuNv0Iod+HZwg25wlnOJrmEanleyIiWGGZXUPSGdfNlJSbb9q6UhTpH0AQ6WrseowU
DmdBLJ2NXPS4JGZkkda4WxMAP+P6vbzV2jmLtv3YgvxL9Tby9RRRdWMQKwvA8CIqQqxFNgQq1ahi
cZTahOtnKBePF1n8BaOy+rKlZaEmYSa/spQV6gQjutyewYEi00tW1+7Lw97xkyiuG/fVOSgQcNTp
9u/RBA3Hv1qfAViq+XwgHf9TODE8FaMBXcrPD/0jM8DgkGzqEf1RIybIpErP7pdhH2NRZLnx5JhU
VrVi7XhXnCT3pdegfk56VehAtWPjdJ6j4K7x3peXQvc+Du8x+ZqWUdJUa7+GyaA+R4UYlxsvPRa/
U+2517hvx7/mF+dLZtB4UG495WCnrW5At3/kSxcgomG8yfUw9C9iBrJOzjy777tkQLDFhJEUPgqz
ZBkHtJGv9S/QCt2te63qj5vJNt7FrU05DqrJCX/Uv1+sVNv3x/IOpzEsBxAKaU/9X6BkEEyW5+Kh
fHqI4qTKFbmibBcX3tDM0p09ZLVKCotO5cc+/0pTmTMmIdO4nv+oL2/zPTjTT615rXWIZ9u4nAwX
jfWgtYsnb5N4Xmot33eD+FyIC99gO2lD8b8d8Sfq7XCCdGu8J54X1ji/l2Z0jd2iY7HmClessW+5
wJnrY4zwIWlk23GlqrQh1MrsEsBVDlPmccfdhSFv7UnGn/SIeRN9JRQiBraBxd8vN6Kkr8bmb9f7
09jsr/JB4XhaIhWhMJrVN9EG2H7Q5U4ekv1L+z1Y69HdqWMwYrwz7Q4s0i7XyQhqAWs/IMmsV6pt
qUk7p7vC9zkr3UI1SxFQ1YB7Av9KVtuARl+AeFRDBAIG9/C99dwX+KeYpTf78DLXcyaaMzcr9rH6
YmXPN/m2CVWgak8Lst27IaqMNL/IduEtubxnbscY1jG3T7me2GBQn0lhLOO0VnQvfrVoTZ5ka81p
9plrnH+oHK+2IaPwiWw2M8EQkf0uGc2Xv0yFKpVqtRqEaks+Be7TyTk6FycMHUPLzFpz2UVFIJpn
5BWsoWeMcnXr5AJf3o5xu3qXrwIZSmbI+F4B6ICUReEr35gFvRbU+QuiJ99JXZ4qvBVve2tbE5Cd
KUcTCwWWVBmbOGLe6Na0vTJqguxVt9SEzKbrpKmJbEZuUnhjYYlyCuM6M20TDRJKgl2VerTsdgRk
YjGiMlaRl60+8zprWuYNb33j3FzBQF09r+v+a9mk0NEurvhs74XM89BtZq6BWTMN1kWKOnkmf1mj
AjVKquaZMQZF2iVghS0rvN3+lj1EVi3GcLC/u4WheMGfD///7uAnEHs1yaE2GRdPD/PnaF1/7F3d
r6SKGojOO0U0l5fjuDNIUMYm0c+f3zy8XzQmR34bFtCjAmhE+c/C7GVuOV/252u41yQiop5+i5ua
70mgkJZo+mI/HIMnEdQTLcV1ct51zndWYk68cwv0qccVhre/DLXOBHRCS0Bt9R2OlTO4e5Nu7oGy
5XPARGXwEfDI2VSJaAKXIsvoxqMjaHy5B5l95oygczz+VUJqay9TeMEb6lT6rS2Jymf1dC+8gxoK
IQduKOmddaH+997BDIsJEFJzFcMKgamsUZdcW79d6kfYi/B8qqrz+c46Tn5ztb9axX+72NVPGNV+
VAgXx/no/HDq7B5nrUmneIjhhDdnyxiLlOOPv+8u/AoURK0UFpD/RiS7nxbCYaUcDcNc4fRwuKli
2BZPXntXm7iNVdGv4r2q3kl3eYqfLmu1mxuSh8k3y1o6dj6P7LLyXSTVagw+nW51vK4eVjMWhlNz
8iFGvybxxbkD2nmObFUEwVEHHcXc2BzRttzYvpLZybAV1TETOPwSKJfVawqyIy3Ls+LJssVX6V6g
11YA0DCpYR+pXacMeGrS5/qpO1zHGDwR/e3ax1cjY8eUzRqdKyRoDqFjKPv7DmbIB18Bhb+fvg/+
bzDDNpztK8X19h9MhdOnrsJjdIRdbGLtA5al49njFWGZLuXGJZ8UCSjiSKcntQHmvmaSClK13Cvy
rQRWEaa91BY+YkyjhOKPolzGxra8MRqfv1qcpvfJR/9q/zG5t0xtHxQvhWsieQSroAi/1AXUT0K5
zozj+gEmpo4c+nAIYv99dEZqHf82Oj6BmNG5OgDjY+ZRcQO38HlFKhelVPIDNO1BS/vdzAcb+lqd
QJW1qITcnOjgyANvZzsXA8vhpjl5zjbq0A+OJj8+7mQSabnk+Dj6KTJvzC9JVoeUzTf4exh9fbPL
oEpREFWqn7U0xdnkeBzkd0CSRDu9TV20xiZSwkIlW4+5IGe0z8DZM7393nhBn3/mUIbFuuFzYtTk
Qk3PdultUiBlOvqvPLUSwL0rPBUs12rWZcmitog30HLJdoo+dXiw9qnfoeu5f8yqfwIRKR0UYr56
lgwkmbRDYybJK/5BEo44HBZy4CpapqaLKyUl/5aFWdY/KqAq5qKOMekQp0bxHQqQKeqkTbILEtO1
wJN71C810xGYoWekA2RidRGdzNDRkV2qmdUHdUlnfmv1aT0jQwi01SUeBMxwS1gD/wyQWrY26cpv
Uuzhnxp1NHgsBHBQiIXDxuI+MyUzTR38zGo1HOuHWXWRp6bPuzPPtWNdH0FrGgGhivkhMHEaRY9f
AioZWm1hvpNLC+8YKpkp+ohokKpR6t8fEZw3vnxG/n9UfS7rFEpBsBliw3HPGKBcOpvebYL2gf4W
VAOpYhMT3PdvFuvG8hBjtVXAf4QE7vF4NavWcq3lzeAxoprH74enInKYu/64Nn+eYF1wP3rsz8eK
NlGfrvLtaFxDBkkLpl1tfb9Z1IJ8L3++3Ixq+V1tcwmch5y9jB9HrbrslRtrbvIqPl5Nu/v7CMBn
V+ufa6dZq3KuFdfX4TReIQ+FPFq6KL6uu6OPMfTtDbKebTLZxCSGlRq84iGoGTnlsjZ4zQXJIFf/
P8LOtDlRtV3bv4gqZRD4yuCs0SRm+kJlEpwBFcRf/x6nrlX7efrdtbtSvVZ3YhRu7uEazuG8i91t
2FDPhBS1mSOIs7KDE1Xvz/UmbKfBepbDw2TGzPMmNN+vlB+z6HoYlW7kcbphULMab9yxk4TI7x+u
PZdceLLBd/0aFcdgg1qaHaz8uLbgpJgvLnLjDaluXgXVoJj4224J8xLkEqDppbkB4kER9zIyn4tz
VLailRedwawVYV2GRRK1MBdxw+w5+TS3kbmsvhNgPmvkwKJdK974UWGOznWwpYBHqNrEl1aAYmon
JaCFJwqxdx2YbrxGzcyJGIHaGxvt0KCF87qBEUxbKYmg+h5Q7btEdY/fvozP6P8t7Fm+7JyizqXn
bgJn6qXImQUJ2p9NUDyvGJ0kzj+N3YgS1CWJMcryvr0iWj0b+zBzpus0vKRhhfvebrkfZkW4vcag
TPI0amWhUURbE13PgDnSnpzNyCqCYxZluyCl0DHb7mOXeWMH1aRcHvnpNTR34Rr9/1OAGli1bI2b
rx3Ta5J1oqbqmafgtDwnUWdEZL44vXvXqK4C2L7XR8i6yFWdHq0iVPngx8uigqyJ+rMXcg+bt+su
OpFnN7g0VAf56AHKAHVBCdaJrWLmvoPoRb8uaF8hKcO87YH5dU8RylN2H94JhF4AbrP1LzpwzKZL
O0DLD5gSfNscC0lNq3BfBPkVtTsWy/785RXxfhMhztZgeA7M+tJL33Gfd94TD3JvyK/kv4czVxR2
RtklghPv7OLyw/xeuYOWHa+v4fUaXrAAbg221rw6R04d4O/CYLa9h1NnTE3o9HZ8cC9B+nRZx2BD
4KoTb6ZPHS8o7DDxmV8BdPXsGpRLnNB4NiAk/Trae9Fqw1T7S2Rm0Sr7X3eW/4nN/ogN/e11c7i0
bCGcRBzTsSLClkqj2pKPPZeT2ON7glarcC38hKr8yv90sHG0cbwAmRDo/S6/rEaAduwEs8WbTAd7
tWiTPhVGVVKhDQEca6kMfTt4BCJTAoCm2qssnnaKhpWrnXHT0zFULkGjAmwgslM5VHu1vNh1MqlX
rzr7hho3RXkEGh9Q9HtgmelMOT/6pAbqFoifJWgb5fzfjEKKoAUijInECc0MkNU6JEkBgYG8xZfK
+wJs7SYHSJv300amHmwkE4R6xAWVe/RNZPurQmabY0hmwpQuJCLc5qBSoPbvqHk9QevvebWOZWVU
99BPOZay65o/5FZvKvWrt6anQUmMrlI52HBRym6US0GxG9HSv6kZZxw26dcdSrCFja0I4vYUcejh
7/3OQngVg3fsLO5yaYoqHPDZQtEfgoqyyo6MvQXUZEXweCcHXvrybFrBztZwKbPi+ZPvcb2ES1Ld
W0+Y1hG50kgHHmqAfFdsIDIo5DuUMqkvJByfyqebLwoib/UwWUiGUJTFdjvQhSrYsZ7TV31TtRSx
H1VfRfVQ2nMqV90MjrCwUzhxpNac0xokXxxI/Ngl61cx3oVnVuMGtyfDlAmV4Bs320t+guIuXlvK
HWVldhf81PS5UD5WkkDhEgYB6F9NMpU21QcSpFKlAr0NGcW7AJOIwvTr2ZrZKed3QWoEXBXiQYXl
kgttvao8gDYfN+0PCshJbbQtgUupUARxaUSUQE35qyZ6yD6qxZ6KtmChSLk+gVWHqiwKuFQ5uW/h
IDXW25oissFUOFPUySkwM1T3SJxnyg86cQswlvmxWqo/m746zyKF6qnf/1jPh3jzeoNs3ew9KGsD
Gqy/fAEEAQuKOVX3d1yAzD2OX6p//JsH673J6IlMNT+L5ZYi/bD9ZD2DbToC2FInUbRg5f+dRbJg
TmPgw/ZgfcNpUUdUsxoYGqAuqkt8Sf9FCZ1ydgV7qhIpqZFSuzqHagGKeqHKk93zz3yeyhCqhWpx
6JsS79Z31Oqshy7ldoANBSMmc+wVdvByQhYASVWgMw9WNVKKfhlFAT0xZTv3wqCiPZUIZBiq+qgG
XQUAoa4dHLcE68qQGdEA6blqYttgDJSNEThz08zegYVZu8ptGYtbpY/WrWIg7Lb4uZrTN8rZGSaa
oJniza26N/lG5R6i8hc7IHzqFlffGieF67c99maOo1tXzU3km85yRYdVCWH5vHnEGoDRpOLG2Ck5
9G/5EoCz29PS5RUxs0eLX318tW2zAaoGKkwWtxsVY04KtQptO/yXLxoXatDkPdVI1KRR24XA+QYF
12DRcpqXS2XO1VBbrzDHqtuY4JDZtO/FHDUVReqWBQd6CeQJQl5LyVdodKqvYMHLpTq0Pqh2g9GT
/6RQhCoMSFLCMcP73uUDMdSEu89nb6F9DR+vVwkdaQVotmuQL+8SSNWA3r+sAYGwOuM4CD17i/z7
XyS9FpB+ERgfrHaeNa/RlqstrMoDbA46xHGM3lZ0K/ruPFldka5Lr6Swqr7Lrbd/I+HoCbXkTxNL
9EF7k1Kne0IquL62kFWvqDHuo5/9JC6oUCjakky2Mgc3xSvJrsppQlzeC606GvTG+rc+SkeGZr+H
dZkoYDp8oZZ9C6hIEZYWwZ1Uh/MMEvtaRlpMOprv3DAtvg7JHmUWvqB1sZ70SdXbHd+hRf4vi0g3
J9i1JqOoQZrdmtf3A0tXonkun0/N8btEBe6iTCChau4oMJ3Sty4iZ7UyQiVkyg7rG6r+bjUgBxbl
4emD9v17p02VcS1oPXDdPYCTpQ7DG/NNiALKZVyqLkiXRSYtnpQ2DK0+mHrQJs1esRQzirY4f8S7
lFGQghXlk7IFqKcqL7QZKY2L7kvpMIcyYyZLgBsLS9/SQOtbGjS5+AUFcwfTvldJoJRvGjHMpZ7O
LOnVAx3um/iyjkHxVMFlowwmgKtGU1XE+1oke8vBjrCVMKgiizbD6/d9Y6uHNEK0l+hLwYAMNVRU
1b3UPD0hSHTzKtZ783O84+41HCpG/3MU3GaQeI/Ch2gD1ijwfD/0cftvXQcjFKNtuJSoCxjfLehX
WevJyUOXyMiyC9u6Nj6Yx8xPnQfUOFgMuhC5Z+nNTt/Cg9ztCMkedJRICe3fjqlO+Opb4aSEvwqo
nif2zc7trTWvdR/azVXgYIBZcAKrrCHQMYtvnujt7i2w1FT+h2HK8+CZszpZFkx9LYLz8oLkgWrS
mupaQopR9YYsc9iKlEp6Wzin8hFUDUU4XyYM0RL8eO5OHymky9qkDVIPtcVoUzn0ySVunHhBmcDo
ML7/YpG1I3R4nZ6onjTrALHhQ5+8n20cbPQgGxtdSUHj23jTaVYdWRsUf3id5oRm+H3r0MXqpryJ
JCn0E+2FGlhNdY5VmIIaI44GjLwQkUJiiV8VghkqsfiP+rmCM/2u9Sx8ha4h99nrvYVi+vtW4hEV
alpyzE3EqbhfkvZLSQDLyVoRlxgZa5bhfcurmHAqx+Y39w4SZsqwZzKCO89TLhqqZrHh3DYFdQO0
LpH9J9QuH+pHk/6l+JXafvQ7Wkci1Gp6EiSMd/AHBc5TiUfPSk+C501hTwVOLVCJMfBK6n+8gi4T
DAwCeSG0ygHXQXSqPEXuH6oRqkp4n2YptQP35l6ndwYKyk/uzjD//leFVanRaVMw44Le1I3iJCAG
9CSYUcJwiMpzWQrv632DsiCcEDPQXwjfo+RETSopstxdgMRAlD/umqBGkQJ2JHywyK7Og/be+67L
gDx7w8PUjKsnn8u+WfLdbMySXsOtySRFmVMNeA7oDRkLOQpUkrSHVsLuLXslzo2SsfO4AiGtBEou
kGqJ3ryIO5BL5CaVAq42PmTarYhHe7DgJHdMqEq7cK2gUsk5Sge5UC56O4mvnNoghVSaq0bSZUHs
Y7Ajt/FurBXMjRbqu3ENFN5O2CJIHUlX5H8qEnBQUZRvWI3mP9WCG7ay08e3gO3eimX+bt9AHJ1v
ahMIy9/QMHg33OuERGsfLp2cywgPDJJGekdfp5E+z5jIEHcz03+30+10PS249Ps5q27hvbcnn6m7
d7NuR/G/avwKO4QvlHWNRkwGSoKTya+Pe/v1BtnDFdIIs4sHdmMMfOhhqVZKqetGm9BqU1Pitu5u
Z4MOW4Q7xpLH0ZLWkj0SIBMFO1TolqJhaNm6lGTvD14niljD2rdEN1dBWLuWflpGb/sxlSYdSTqU
tG6v3zcOtAjqbZYe6iX8Cu21+f0csD8UndwSAUTQ74gVf9C6LWZt1/DwhXjqVcAwtQeLmb8BU0bZ
Tfep9XjbP/RxOgnseY4ciMOMsyA6XZhxGJOJwaQ51kE+w4bzqGetyX+HQUkLRIV3EQAUdUMC4Cd7
dDj0f1Fi81iRomBxWiTq99kDQez2o00NT1iIo6DgPfQlHtQ/5lkTCSMRQL5rZsvx+V7qlQIThQTm
Jan7VK9Q5l2NOjMBA4BpLfhkFqX+qyeua1KHR2RjJXlCn2oZdx5QhpPop4BR6htwyVR4CGCl/6m6
w5EvMgeWz47uMfOaGX7qG9O7jE/2oFDXhoapO3QXvIp3FdnhhmO98EYdHES9ASOI6p2613dNEl2A
0Aa6LLmXaAL7DeX263D9ooW6YdlqFdnPYlhqVewGl6WCKREzlbro607tPZ7D+z/vDEKhHe+8DyU9
++XxTYOqPUuUCKW76ojBzXwDf8ZOcGcxSF9t/6nW+wG3cfWA7nV/sF8L3ZoJt/rux6ZbFp5O6Lm7
xRJzapkPiqnVPeLxeIIkSGfuIYUMTmOCrZ95BQD07p2rWLTTc+SRSLxGAXU/oAgBbhwPJpQSFOAq
6lDMJbk0T0YehHQ6rfULzQ3s4bKxKgvSpkkkMjFu+GMZ9OoEImTFUlf5ptYi4QVpsyCyMJyAx9AZ
HmkeHrF4IUd815Pjq6/es1wItaMJ7kcxiNmU9tofVBN4xspw5Nlze960GUt8C1NhJHGjLfHpYW6y
BwovmX8Z0/2XhomZ/oTzYfuKEKEKXuUO33MtACYoF+DGzDHwl5E5kM1MCsrS5j1VFIMRyHtteV/Z
0+o7ShzS3oF8hgs5dv1Pc9D8aGtjl7/JienvejJUwyWtdOeq4MIyvi7B4l1x8D1wkplgBuX3JO9A
sXJdeO5ZP0Frj+8wB6BPY7NHe+dK0O72oCXfjGIU2msXp0RNHujRVDRguSGWQ77Yjuml0l7UoaIp
pT9XKjWaq+tPnHiYaC77vc7Ve9PtBKIi508zIgeu+3IWueXESrKbvj5DSYTyTKN34YjS9L63KJVz
ajUrudT4aje/j5bM1VP2C5t0swXRY7KaJD+0s/gW3cHhWUkyykwC7YrlImseLw+0m+lxHN7EidJJ
ogT1zoxihiy0RC0+TZ+ofYO26KLd2zdh+0MrQohQPpQ9UlPA3eGkDGmQ3hQFQGlAXTHxVAntX8SS
dgB90IrNpIVyNp9GMvR5pJGtMqVArkLOmPGG2X0a7H/0NyUsZty8pH1FRBKG08khH7ETaYiUwRR+
3lNbo69UTs7W91SO9aASDCGaTxq7R/NECY4KKkog87GPZoVSJkVkWnkCl3MacOTxD4V8d4vL65MK
TvLygE35lb9pQaE60aZmUbK+Tu+K/+/pB6DkUfsp5dxTuUZBLSort8ixelaN4vLsdn3up54CeOCO
i3n1LF1lVYXEtNNZSV/3do8bgGDlAICvCB3RPkMFdyXSLUtCD5ojiF4/BcFviT/JMUoxTH5bpvcF
owWM+BSTpo25l6aQJud9G1WX0vuWUxntARjdztBaymcp/5SDpNaIBObUM7/zyLVi7rxydcqlkKDt
V6oLNc9TR42erSYnQKQPxV06EBEGkETEXezs6qAZIWE8xYs6lnQ8Smcgub3kX7jLHXOmA9ZHkgwF
Gu7pfswokNGERRpVsZb9rC3ZfL5NQ/2bPYTNOuwle5jh2td0ejEgvEJ7nCDMzgceEtpBtCHJilRH
921ze85edTXa4lS5WX9pC1IAde/SQmxm1FeyMqXQrTq7MIYyQFRZWt1XhQValCUUDqlj6lSru6AM
GCH9XQUifRLOV7DtQt0gt8q+5sLm41wF0L1hrrcIfh2i8Ta7vypd+vfh0Y4F+ABvzms0HxTrn56V
Mdwj+Xsv4o5G0hy6yy0pF5HF/V3hMVmUbyAGUkRtmdh0RJnIFm4aZ6Xbq+B8q4+Vb+DkBtLAE8Gb
PsCvggptMvdQUmEmZoraIwSKVlQJbPBDO4U0DQkg2oG7OEJJvMHXKFfrmRcRkozzBIXQy1ygJ80S
/Rcz37Ee1B5uJNNCvnE8jj5Hhsra1x4uj7yQ6S281L+MTakmCsetT9ZE0gSCaImnrB5s9upqgpT9
7FXNE80xbVyXuT5nR0Ckv5G3cPDoZ8bi6vLZ+xJVChWt6q6qcsoTHJ6ZVFA09xSG6OcKcOhIqfon
Lqd+4f5CycAPW9tbKFIub+qT96Kr4hv9rtMj1NJfBA2oljZHDnrUAo1r/Wj44GVoPCXpoLNC9cYO
J42wgcrKtBSBFuvjbpIT+nTFQJ0H9fnRoADwBbrzflDoPEsrtAgKziabxZwjsYCsG7EGA+ZOtAsL
klCMKQq7PRP9BsFFGGk65NSoHAiquv6yAbKAJAUpYAH7U/hEzkVA8DcHultF9AaxAfYtoI02DgWU
3IpiyZIeEcMnfCKL/a3cBsnDdcmNPMuX8AruXbuLPm83SB6k6ZLcbmY1TvoycF4p13zT+Ch606sU
492xFbpgQsEMuGuLRXYmjdNxLnSlGUlCRthK0S9V0e2AeEd3gSxficK99Kk6wLG/R20hG9acuruo
mh95Ly6Hmaj9ReOrZ4GPnu6ad+cOFF3qae3elGIp6tDKkO2djmTtUJqoejgcp6hX+MMzdnVmdIEX
K5UTPdJrXEt4H4UQM6qmp8cLGJ1T6BFiIIc8B7uPbZ0Ucu4qOTlFCRWpVZLObtIRiCdTZxNIs+5f
DWAX6m+p1KQv5WFKhPaT7UfJryrWUGOF/8O3Q9Bc1XwJ3aktc32XlZF0E4T0vwlLFChvunRq1MJR
F0TlLGQXsTZWJ+t8U6tQ/0Sp1vaXZg2matLBa30hiU7jRo0ClcHQ1qPej5jLRB2VNbUVfej9j8/7
JI+8G59yV9bTO+pLbSMkHLgUoqGRtB6oxdj0jIyBJ09l/qOgiZ/i9USNUQGUfJjX+PspfnKNgJeg
GKHY6n5fvEbXb/zcqPl8hu0C/+ZtJ5L64wr4B09jHaK4IXVRtfSoifNXS5d0G+c9t8Z4cxP6aJWH
8GI7hrriuRgS1Lb4HfzGUK3BBYHGNbnw/w1/sf8bIdZxOhbQVMdqdTotkC7mn/jF0lidjE7jbBbe
BxintTm2Tr3s3Nt9FsJ+DM+Pm0uQm4tdLwP/VYc5kH0Snx2bSsuGkNE59FvPjhHX1PjAGrxlX5u0
b//U7Yjmegd18AyuNlOkJGLHOM//Qbn9cIhaH9gU7X1MPZz38rdO/9J7v9nI/A/u7Z+7QnS55fti
a/8pmrGqzNSpzPZmAYbLeOs08WF67OXucNtGID44JcEeYEV0ybqnE3t6g0/huYgvvYzHc+2Cx3DY
u1dh8pj9Td7e+m+00T9XBtgIlLmD64j/B63WOa2r5mwfN4vk1/WH6QjgyTUZZVlg9Uu6xwweAfTP
0eglR07/XT+L8iTMl9vHZlBOsqxfbkaY/znP9TbyOROzwH4EwjLe/zr7sPgrhsH5Xy/Xa+EjhBa/
2/7ToqKdbIyD0+SbBZUadOvtK4CcpokSZGc/1NRpja7tCJhFPk5cySys0CTt4Jg2gnbi/vh2dHhl
8UCjYQWtw80XUPnsGPPflKEGgPJdpb0z6JPqBQacGSRVZBA4eCjDg5lReQhYzakKLm+4EeFbOGt1
wox9k35yG0JNii9hdNl8nDdD89rfNyNgVk0+pbpN4f570wqvaa9p9Ss7rCqUXoaGcYIpExe7iD75
kWaLH6zK8GoG52Pgt8OcGGjmkTKUIUYQWys405BKn655ZGGfsZvst/MG3NZudlx4P+0P9Fja27nz
5exC/xi2Ufr/SLyx23eyGJ1H34zaJO1JVGyCzirkwsvdxKPPvwk8Gtut/gmj2MPIscMGP8A0PNZ9
i/wj6RerbyZmgU6g+WwZMz+JCyJNiKKgZMxwS394O0yd+Ox8J9Qpd930HNtoBhyhJE2qzqiV41vx
eC2/6kvXaoUIqe4iB7WYXgrfDc/RJsDcyfYCZ2n6gfGJIhjhNMCf3Th/OeaRs2hG4H5aSVhfo/Yk
PWGT3DGCQUN+DxJpH9qk7auo9b4a1u/5Y7Xo+NEOF8kViLCIvPxICpjFRtVH6z/rX/3YKGa772wT
++/5Jdwdo3Udr33cMIPLgnh/Vr54+BOOEXxaI94fGnaEEwCC/V73nMXba5BgTDdjNti7sMHGzQsB
B9Xn3qUJVOT6xhB5uyRkx4hiUHFFJhil310rbBkAyYKWE67ICIfn5/rJ/jLfzJ/sc8VDdsOqAPoT
HmfOC4r/h11oXGLqSaYzO+xD1wkqL2rzwPyw9gOfufHBbtA+Brlkpvor7CE4zZ4zgu0kLIvAewVr
ZKM130SrY3hoh34fNkgDzpasD0DGN3MOApnXwXpucmiBQorW2H9+m690uY+UE+E7GYcuiqypiW1m
Zz9sIW23Cg7H0D10jahMw2yEzwLgKbe/AnL30xldvDAf7uvwUkR4MNrT9Tm0TlFyDLcgJomZlk0a
YRPxbSycz8M+SJ/29H1reDyufuv/PkTM/8bc/7Op+fjYtF3bM03vD5jxMalOHd/LNot06vzUsYOt
xC5iWa2Tbicywj3pmmeOr0SLCRtdDAKt9Vy//h1yJRbU/7ft/8d1/AG4steu0XGM9WbRWWRZlDQx
JuX+E0DIy0Pxsv5xRzs20AN96HB9DDpBa+Y20Xa5/Ux/mud9YA42i7PQeGSwFuRo1H8vwWXawv3T
Nf4i6/QHHe0+ZLaPeV6Lk8C2/jS88k/5em0a27UqamPL750v4aa/u4ZORUIOCB0QlBsa1LvH/uO1
XyOF5U7dVxwRhlJ8mVKN2ZGzPbaH2/kZVsWYmNpCsWjs/m5+dihyDPKPtRtuP5pTeFpki8OeYKkZ
4d1VbiIAhJPiL+jsP9QN7jfktF3iCUURzg28/R9IfKM8Ve3GW68X7QfG/kob75iEVU1H7dAEe7pj
b07Xr7v5w/ESFJfweEbGKdz1eALtOXijJOz8HBZJtzgECFx3HkANw7oFRT/2bv3eZheUE6MHK9Lu
Fl37EQDQYEeLrhisoLKOUT8dlQuHoqj1Q1i1iQgS8X1Z7YJmiZ/qYynGyrMTZrFHcz2V29VfKJFm
+7/h6f+MADpZtuXL3O4GNP6PESg7pVV1ju6KR4oa63bmPFjPrf00bYIj2E8gN0sHDettuKKgWxbz
xMefF1hEYCJ9OwH70r0+oIY6uFRAJ6Nr3r/Sh+UE3A2puA2vLBxmwxu+NenLoU9dFlehhyrilFrN
XYJYwKDU4RZtMpRd10eZiyPoHJ6ey4cdwL2nUsYv/rlXtmaH06MLwCq2rsQWo6zqmiQc7zuoZWdI
ITweJNHWXftl92IEq7iD6csvRjRHPLaHNoYyz52n1mzrRusmvpbkmvvHygstGoVPmC4wL9dP1inw
wRmTO9rRJTg92EgWPZoDT/uAMdzCrF92yug0Z9fM6v4pbH233tqfh6ej3c+pnNBdZEeDtwbQbZjj
u2T8Hg8BqNr55TeZkppsvtBgnXTyaLvFWjyo8Vc+UklMYCo+2d2h1z9QM8nD7dT73se8gJzoYZ+E
2ya8hkV3wz9+E4STPzi/F5lYOXgXI9eNSfX0nATVr/+ymhXv+YSIJZ8g9xOY85YbVBZh/P7DY28P
d13rczVDi5LMNgPzmr8049V38uQv+cC/TCzvDymWf7dX5pTrmiZ2bX+QXCBC+LiHFJtFybbUTHM7
Ju5LjHHqjPJ297zuF02Y24/n1sRzIwPkhxk6SBKAX9oM3TJen5CoKDBTKkcF1uhJDLLdRQc8ASJI
gmKd8b/BjgTLpOu+W+N6cQ7zJHDNwE+CzseqHWZVf9satQGCHJjE6/d2jVtzLxkWj1vkxYyws0z2
P+n1Ib/OfFoy28wlGdAhbicjMFqguGFRdA7xzpjVe9wYV8FmDw48hJZaXKJO+32dB+dNBKC+hMiw
Ch0jzNBvPIbVuXtqszcAUI4UJa6idoELds8GCb7d4a4Uekmc7KMUXPD4ijwYGAxsqNuh+ezNzLx7
wbMLuckKWLcCRzYBEim36yLUWmFKFLXxhLw++cCIiD0Nu4MJUB263qI4PdaThF7Fh30Iz3aw9rvW
IaouSz54xcl9CZpsUPFrTnf3Uo2P1LMjULHl7Jh360+oI4VGITihtI7fN1bHb8lL+oJSc1KDRY6s
12YKQ6BZeEs2iqYOz0WAAvQxsB5214D2LLvZgCZ2HRmvFvTp5e771M9QKSXe6DYEK+sAD/gmNuKM
YALPpXXIunO87ukhN4N8Zn1dp6vFqujSdjtZkWMPTD7jFCEm6f0QpLuxhVxfExfP1+GKZKJXQlyw
gyPFtPIabdajYz0/0V7aRYQ/2JqxyZqYtK8wd9oSmr8U54AFB8jdWu7OMRHllVEyhj6Z1Q6XyiRI
gd/PdgzpJSqetlRNWsHZC6ppSZQIQh1A8LQ4xuWUGOuCp9U1MI+x3wzc6+ACUIJpDB0b6BZy2ovi
2XQe7TOHW5ggULfrrY34ApDDDNvFrJp0QJK9EOxd0PCh3AEA8hjufTQkclYlTZu8a4CunzTUDqir
JCPzfY/RwYkOUXtZeKivFd+GGxYnnosVbvd9po9/GGbtuDk8brHMNkL2OE7cFIGgFSyOoKT3tXm4
vCTJpENJoYjkTGUWURWmdkyFcd/6LKmbrxg4JAuwS4OHf44OaXBovV1oDPpwMC7B9jI7X6tgSx3Y
eirSp+2qm+CRt8VHd1j4bG3zDMniJMpeOdd5bK7XJe5zTuMzRoC9NJ87VN7r4LgaHdGT8aMDfrJw
AvZhm0QF1EjxnK4XFMrqyzA5T9L2aIcCXhm0W0FNYPzhjJiIFQWLJMyivdU/WXF+fEo2UasTnDZh
RW6W4QU/OYN2aQXsJc41QuaRNeSsH3xnUq9mJz86Wj+uP8rRyi9mVzfilkvUz4aXTXAse2QoiB5Q
AE3xjPfnDWHwlESKfkN56KP9aEbN4PS5a0dHlCXWkdXCoplTJDgsDuz0sDFolK/eS5K8zdx9y98u
zxsnyluBT+3wB1LBermZrT+IL6wXKAt234Nn0MQYl+3e6x+L8pcPYdodQ9/Js6H9eBzqrB0zUbdF
l3g/c7r2yMu6pC7O77rTbYFp34WWSyX0xK0gqDAyGKKPNuZlRbB5tharZYLTWR2Yow1nXPoGj8Br
pqnOqvbiQo41ZYxLyAsrJQ3WyCXJeKTysQe+YPYuxuz0mb2SvYHvfFl9HZeAWBGKOMXXhcmxN8Uz
Y9E6xJSZsP8qI+fSLVgNyaSgQrG7PFqgPjvz/YK1gj4CdQpvG7KIya3tblkGRcbndG34FCwCWBRg
qkSduZhRfQltIziZMHCs13y2cSOgq/vf9gxltS32Z2bQej182RySZVQd4nQTGqPzJrQsgq8x4dP+
gTwqIwZwo0MS7khkVvG2PSI5t37IdAjLMiPYm2N6YXx8O/m1Dt0NjM8K6s/ER/W73X3K06ckCcpF
tZ6xE5w2AfQuE81MOD44325HJ7O7QtMPWVE3Onq9wueWy2hjY9UWgiU+h200jBnrX05baudV3ylD
d1487ynW5dGu6paX8IyVO7oGU6vp7XHQ+2ofxq1q1qZKx+iMXtr18wF2ULfKZ0h1K+mllN2anjb9
pjVNnxvc1IDYzJGWXfdZeegY4hQJB3RM7kV+zO/wYdcibAEzLxJoQ5E1PB/j/DRO3lK22Ml54k+P
p+EqCZg/u+OwGaBp2gQpwBqC2DSqi96ZM+3xUn0Ws8OrncRlER0P0RXuEDIUnTpMuUDoYWt0mThv
yYApI1CdZh19WO8wbLz18JR++l/rU9C8QDU773qcza12uLZjPP/2Yf7k/Zi/e7ffYhmdsdMLrufY
d7+oclz4O4i6kuENi+N4z4vP4ZbS9qm32fSpj/nZZ4oCGUs0AFuPeIi9nljb8IL8k8UxPODBN/hB
uy82VDUK8IlmyPYS7lth5r522qGb/haoZHP0W/7LBS0MnsKmCorDw2FmzJhz1fxk9KsDsT+lQVRS
wtPP2oo3aEixMZmHn8Z/SpM4q54724k9Pb05Tx5lGBwS6M35S9UjmBVmSFaQQHEvAoMWF7V1ADfE
iz+nN38fcoKek9Fp/7f09g+huXsAZnUsUjX0bzFR+yMAcy4rt3XcrSiSwnhHwUUD871Du8Qa+2Bo
dk8dchrC2iTIW1FdP1QPimIOAQGOOc+yBc+08nptonr0OYFK5aPCiEtyEWSg9qNTMTcPszUaHUa8
pekMOy+fdowYu/MDtaOo82Suo8OEk/oatE/BCqpm0/PX4ZbmI01aiHwcMB+WEUIqrDejfTq28ojd
EgfDrB3418j0QwIXb9+jGro9DrIszlC9X6MdGtj1ZH0O0OVde5TCBkmbTSHMic62XduXDTE7uIFI
5zas4sOsyKItKyELs9eiDm06mlW3WDjOqD0/1tDhwivop+2cU3f1aNKJ24WbQ4jW5S4wvvZeYOQx
BqxZ3s8eNnVsFkHnJR9B/soR8WyC9YIyIX2CvkfJ57ucZa/GIrO7zof5Ay2oBcy7pFabHyGwRdvp
dZJN1Ql62j2wobTfO68Uiai+uNRK5uYH7LDV95H682a4XlLZ6UQ4gT9bj7tf8wxnMGj90E3CezJ9
atiIEFUeJ8aotepawFkO3QqgHPfLR9n907z13KzDhCoV1LsLe1J30+IcDlLjvT7005ptN2yNOlb/
OoF6YnZJOM6z44nKwfaXnRSLgj77yY7GweCE43c+Lh4oQHHRXhJciX6CHOjhLnTmNvqKVOea2FzB
2Qw2bj/7tGDhTa3t0AFo0Hm7mkMf9Chx6ircg/YpQ8p+td89FYsLmqy7x1PrL6KFt3r0nyUVTLId
h2J6x4IGS8nlP5La02pfNvn+tF74e8JTjz4QxtgT8tluOsKv9IUVDbmOJ/DtnDGS72XPZUTbN30s
OkpYk22fatCVFtnTKg3br62J+el9Q1M0NgE982RcOQRK4Gui/BBx/J+ovT8a02QdeYPWzPg9QS4E
PdMEVR2tH48/+88y3CIkTx/GIfPtUstsocP7vH3chu4z5Kb2gB3hN58CfukmraBEI2xjopqFPNWH
QWJbBOZX8six5QxOk8Pr/10IQ9Ljf6lA2S7Zv2eh9Oh6f0jFbCqjbl2u9XrRatiXQ+I+CrwbsEqb
Ac4vrZxE8/AwOVBeNEPTiTA2ryf2ovZD1kqVAROJ3lym/zYod13vpTWhTw+ZZ4tfUEhCtj1GLsKb
Bjnf6wW5SPac1H/aN9P1/qE2B9QVz2AEIioLNVZ3x+EaVPNxuHVCqvE2SrLnqQMR5fH8dci6h3Zs
VfHZGNmHyGneSuuJXX9PUxpEBikFbNE3rhhz1C0RQWl0vetka8EK6FbHwZET1qZMHx+GR5BUmx7F
hmrcfr6O2JbSw9i79Ip8TBTn4nO84nHHjttNk6UPgMp7STshEGTK3cendhFvmqj2ouxIOyOCzWnP
t89pxjKOD/PV+HDmCAh4U7OOE7qGyL8b5KfdAr5f3SvBrKURYab7uH/IX3fApcbVC+2Hb5twiWlJ
kR/iLbr6HNefaBe1fqjZ28+FHadJkIzqoyACzLrGp4e/nVoT+dbBbL7ON28c3mdiSvbxefK9PVBt
PS3P2xB+yQ+cXrIwchbrpcliVd62yN20onzRDJI3beg0KXDxDVeTdIG+4exSYDDPv/ZPbLmrc+Rs
eynutzm5lPntXaYbHrkVlm7gDFfsYg8JEoSTzhWxFI8kYV7PibR2Vt+IOJs9TA4huc728DOWbhIf
TwTaIzIQbtJfnp/YQuXWK9IsjFmL6nQaG3ihpyOHhsopOEQrBnXT7cD6Bi2+xwEYmi6TgaTzx5l7
ZQQcrgyrHgRZp+bt2chseiNq4nuAb3ekoRmqIPQnqP7zhunUY4UG1EopzuOqEm0ezGk7jdvH+LBs
bwi55mfItzS5GejH3brPTmJ0a4KdYWGO8Sk+v1HeaWH9Ugfe2x5U5zurlOh7977rtmeZFe4/EAWq
wlMdc7nVtk/T41zS679MASiY/dIPTBqSn+Cbvos2MVn0l1XtqH795yaIiyv6PW3PNq1bu/E/NsHk
WBu525jrhY3U3jHepIHil6x3qqfVdWwcIhL4FMI8pAt/3iLHqMKGNLsdHz+qVQwoOH+oRhb8stfr
+HTurb9J11tFdAHbtuisRnsmpRNeW5hRB9Dz01FNg+gaHC5UPAJ31BhCO6Ku2bxXDDedk1fzgGSA
9dZAXy2DZBe13Kj1eW2HvIE/psV6QY5tjnugh9/0nIjLQInqveKJo9DvR0CmqifQ13uCf/oarEHS
FHxVOGybyJ41P3v8nykwzzdetOMF49XCozyUxWgO0cdDMDfDiSCgR9Z8rp+NNrnF7veoGlq3IZFP
SRZQGEPMAPtuA0PGT85v7AbtmKVVECU/kimQabIx7nubef1+XKCTUBPrU4YYafsj5iAO1Y4JM72Y
1vl0nQdXCPeD+tcDx///CDuzJmXNrm3/IqtA5l0GURFxHnqH6hFkEEQm+fXfwfNufEknlXsvqaRt
Wy+utdY5LSQ0W8b2nvsfZOFNEa2bF8/KH13+gUmTYtfQKS3Vy1HDJYROhrcCPenj0iqz4tLhAc9R
STzO2Y2XsBiCQ6Z3gvpJ0xugYJjK7CcBcVa+0gSrZjI9hZGtbmIqn31DnclCvU+1saA9uw9YOTX0
o8kSvruHyfkZMqSOo+fZ7wcr+qIf6f2hN/cG5lyVpiQPzd557fPGFWq3fpoictUteG34NgU+XQM0
1nz0fMDiLMa3waM8zEVyVh6W/hHJs5gFFJxADNX3QEcLGtNh3r9feIxzq/7hLhQeC/6EJ7SiB6pR
XF81N52meO1PhJwQBdALbJjfcBiONVh05j/YwrC5TVljCO4UgfChkfzuFmq/b4LijK9RUuh+ZvwN
3Zk8wUm1rFCHvE1+OpE3YSswuoaVtkttM4lcLRCvWh10ODEB62WTVrJ4ef27+DCz032ZYcrlBQ95
OdajssVjffenKw2cChkJVGzH01+kVhGkkml8JcvHeFlPXlbrEwz82iHakL5kCrjylV3yc9JbYmLD
wE1XmW4zKA6qxftsGd/+JJT4lcn9fzMA2eckeAmKJIu/w6bzIh105dUkx+eyvF+pVHXkNA9r+g10
ESZeSQJGe5A0tknN0m/yCMiG0ObtKd9PrvdixVcBri0cakwW12FDhauTP1xT4t9j6v7vHRqIHaZw
cIYi679Czu73Ou7TJIyPcATkblBSQ38IzSxIzvGDSg+NqbFQvbc59NlSgz7l4RH/JCj5e+jBP97F
b4GDHMZiLrcG70J3ofr5uqHz1bf4qyrN8AeOvg1UYQ4aozXuBKg134en/ChbUU8Ih8VYUTr1D4tG
p4U/yWx6/rYPiiecod0852GFYh+gRuOyOD0nI1kngccKDABDujZABkpWYI0m6v8uAYY+Uoe/S4DB
whCJMiAKivYrZ2saK5VwH6T4iNZRZwkDglrGoNdexKcvOZG2VMNLlTjRe0euST+LSXdV51NiVlpb
4R65z2S0HNr89dMQbP2wtNcaFQqcS3MEhI5hiN1W2d0FBocPkkJuKesOt+0Uda46D5/v4RuVteFZ
MtapbjWR32PYCuddaI89HBqvxK0bv365WnYShFVBGiEM2yzviAtFglRt88mewBiVpkhWZik7uRun
N8xuO6l9iQcaUVS6fD5X8XNUL+Rcnw+Uxmgcs3k7zOqb3YVr4TlGhSEKeNk9acnZUjhpA0ghyROg
6tJWYtTX7CG225CME7BPR0TQgRkmO0J+Rz+iZD3zvTY1GQfbz8daORsgxLfZk60ZXFmzomOPxHoI
7fBO4XCpc51ii6s+tZ7xMuoXeW8lgQB7iV8ttJ8pRMIcPQ/UgPA0u3YcOBrdpnQ2mQu8j8hCnNek
LcTb7LYbFnqxfq2ngwXM2BNBsqD4UrWfuscfKKPAptGTHVJba2MREwQuf7MEdCJRUf087s3wKcEz
WR0Qt2iTXlcE8dTOe5s0mzvgKT8Gptg4rW7Wm6fPvA3ozzUWmehbwlPDA7eZWO1HC7zGQvpDGdt2
rC9eQ6CTz5MyuJJXs5AGYHGzOfatWdOG3ax2/yT1yB1BjuwN8OzYl1decLxCVSfH+sbHM1mGxZqO
JGUrEK+1hhrC+cGY8Lw7SoSMySF3Z6wvLIc7iYzCApAL29I6u0A12Fh5aaE+yj4iMLR1J11LYmDY
EvzDCYOceKz1l1V4uISFH7Q9tOUjoZKuptl5Ujl0dFCbUJkhnjx6i34ld3a+g+19bAVyfNDoQSd1
o7E7pzz2s9ywq/gkxiegjkFYNz+ibD2OA/toMz/E8cC6nFgOGB/a7qcV7JyKgHQU1IIw/wf2t6KY
MUzU4w9Rmg1KB6rx++KB2ocYGg1VqW6rJBrhwr37wOV9CbG+LFB2DbvstRKVt0w3+3Z528aYiiEH
KMbojQoLPUn9LrlA/sR81vK7SMZTbb0mhOOHnUUjcpetJqN+oraY30uAdSvadp0lssOvtDvGJn1F
y8ZWyy+Mxt27Tk3CESCN3XdzlWR/Qqjy+rmHTRAMkxJcYyitLEm1ddGOT7VmPo73K61TeVLnT8Ux
xoy1VrNk4lo+wkA4GAqaHJOJBpyWkojYhsOyqpoVYoYXNyuhkLp9H6y7btEha/gPeBA2VM4y2xPy
OW3AbMBDkIJwqZCYpB/an7hzhtSm3UgZLBzhoMvzKnOnrZXh82A+6Wxeqj2KX/l+Kludx9x/nJ5v
V17nMZMCxdZ3NUP9qLGJrEfArEHLE3uj0Iv6Jpu6bmq0p8zngg0iu49opRKTwE1OY1APc030c3qP
UJ9PeHYN6AyTuKnkTsQzARBMgMg9JYKd5uD9E2Z6YMbhRONF/Yqdh3dfUvmrtZbO+bUZGtV3mf8m
utXZABjBc4g6QvYe5BIAC31XzKz5m3AQvGdtqevKFdjt+7BuTyd/u7Es0ZKhlJatYalnWrKqteGA
2dbrp6fwZd5gVOlAHfWzOfRvr3aENhvWN2EJRAUELZq41RHZbW8NqSlN+ZDZaoffe7ButxFFexyM
U7Qhh+l8Y44JnSnUeDtmI+WYChiZrR7ilsguZjDIHtGKjpKP5PnKGrPNFKhpg7S8t4rCGnDCLBPg
c/DQoFjoo4zN1PcTHhgr31PNYQIk/BJ+uJss9XMXmmicOps4JnlVVIi25diWJRBD9wpuwu8LUbxj
+VrLNM0L7USB0D32HRRQuKsezI1WGG0b6zy2xirbMpUpYJF3WIenYaK/uL9n0FyVmaxlw2136q53
kX30RJM8fA3+EAVCDC55oFtPsD8e9HwWXoZlxReW29oxb9DZwCTBIoAZzZJ5dGjf+/WrHgOf1Aj2
1qxjXyUiimNys/V+xj3MtT3dMAKsqiPJB8DqYIbyLsvInYa2qdaI2fSEjAkWI6lfhk96u/IzvAsf
wqEFUYXo8YTKen5A/RC3lcd2tyIb9HYod9W3XthdguzGrr5B2RL0tuES/OmB1uKElxBeiDWDKAKx
YQVKuUkIC9r2zOlwS4dUdaZn/WU/G6fkLvaMMRcYdqgjquxuPljkly8NBlueUvM1WdY3iyCNCpvO
u/xDLpuyEEbMoZO+iF/ywgu006S2b1yvcFoeG4/tsUTZ2VLcUJlolMO3GmeCYoJ3vzRTDa302rxm
dbYsrshv6xNyBrzW9SnEChYDxoVOP3EmwMlX9Pn7OJqJug2VIc/TQ/rZrR6NRb6n7Ei6Fc6z1JI3
FSPhWkWZ+B1zbOEg7epHuNB9dYsHXB+Q94La7KbW540wZ3L1/fDaIjV7I2aWt3fFo8ph42tZTIhD
WulLct9ySGv34d5WtwMTwzalldveNh3bNMRFc4bOayMHNVz0SbCYwVcFgvddJOjbBW2OJ652bpzS
YS6PSux9HAehOJvwZSoWbyuFyyNbZVm9Zz+Td/EVROKGwHTI1EnzHmY8zGM75N5zu68+Obs8OdPU
Kb6bq/Lz2sfCoh0WGt9mwzSRnlvWL/ThJqSuVMx15SeGP1HaTuVTBc+PdUDyHporRKvowgeZdQ5w
rsEUmXiPl9eEi8RwhNAeqAz0d/flE5sXGHy/QjENKwU0maJNjR0ZJ4Nh3cQ/NKzKiMv+vV/VBIkZ
AHGZinBE/4Xb3kVNeeZlFB+154gR0OTQmPazdvqTcRQHmCCENBKCje5y1xbKZ5Etx+T6KWQ+MjFU
lcirolkKKzRCAOGJoHuxdlRMSSAA0N2Mx2kM1a2ZZANGNXf6CvNLrJuNZL3SlRGewWZiARLXansY
nNLKe4Sldr8upg5q4Ej+g6JO/acIURPkqSyjNNQ1iT+cT+QvIE19b27FI++iY4f/tVooK+GoviOe
Wj5BB5/b6trvlVV1JT/MLc/TRYlMn56OCw3fjshiT+qyvmdZ71K/Ud5KS9tE1C/mNuL/dqVPcJ81
9frCqkCj1C2/xBU8QGdqPtJLQrvi7dMbrhNW7/337CGq/4Sf+Mtk9OLi//5C5ZesUW2Ghh70Hh0n
xCSVmAFQczhsHyCVswyAepqfeJNtxJUBrE6QiuoYNgRc6HQWJvpFaScuV0DoGPNyBuPtPt7KjVYg
OG/W2Wa0PT4weghWtx5m4Pk3kwyk+bAIxx31ET9SotzYtx/CZgStvkqvgoJy41M8Ry0WDNvXBs3E
fY7lbA3jDTg4Cikr7D/jHjPMz/kY9EAQ1Gteu5PNdC4uS+tpfyJZg74y8dxZq9aq5j0EE7SMhwjF
IoJwh74Eow2SX1wm5hMX3gjTXnF602/U9CLwAsv0IKzit4H/cVd4k7tZeOoOQWVqTxai87+XWaeL
ZI6c9kNdpwHH3O6W6va2exKFhh92zHD67+9K/eeYyFfEBglJU6ABYAH+fgijPk2N+llEx4czbqPS
HTQo685BNvdRSybbIZygWxPePhdXXOjL1K8+GHKxYJOFwN9d/oSLDIxz7GBaq7GbxbjvIrTIHdl3
VujQWpGibDY2/nVs5txCTrgf7UCVVR6veKssiPnXuZmXfwIX/k2EpgsSEfgyZ1H9Rwj+o8qNejDi
7MjRKSBhFrI1jec3wSJhlPo3Jbr0RIIeVp2dmi+rYAoI4072w3W4sLyMkQZtPANKV5GlJnAdmt03
7vZLrTrCKQGj6zcPZU0mpahbvYusZ3IEC3gMM5rXe2/HglW990JwM9z+PcHk/tyy77gAfIvNjVDb
LfDLtmyc8QpDjJR6huwynHYixBu9hN0jVUCfLjq31DTGvEv9vnt2ljq1cL+1S+Qrj2Gf0nSrJhr1
cLLsWCYDXPclDOuUZ4U+hHGKw+endwxKWWQ1e30njZMq9yNbgy2ld2soaQTyYOmIrVmwQ4Kd7BhM
2p/TXUEbhL9mg/eAbFm2FU1mLCxObMa1x3k0H/FUBT2S3m8ol2af3uFDNcV6Ceb0T3rCf5YGuLy/
fJO/LspIT8Wkj9LsOMhOo9n9JBgZ+GwOLFNyBeRs7TRFBJ9IbS1tYkEj3zcM54C4o1Ogsl+BtBui
q0BGRDdKivLeT70kuLmvIH/Xm9XjW3Nen2FlFyvjp8NL94RhsGA0tRfSwxnTS5/ZDxs+AYOQCnZz
lNGUFA5dUlo5xRUDQB0t2AqLPqfE21WP8TXDNTvSHgZwXBwnJL3nfIP02Wwym0kBezXZT7B8u/9+
nuV/eaBH4lOTDGL7wf2kX36daOhfd0VW06MAijVKgFBNfRGshpF9ar6c9gIkMF0WHjD76UUH+xhp
d2NmBC8El9thQ0s4F2kORCtV3IbtU44+hpKCmDhoBHTNEj/Do7osts0pu1YrtBrxF8A6gP0dJxIq
nFORXdD26CFNBQf7MgTRezXTroWXreQdSbItZy8BoLGk/W2PbYKtVUnkRSpIrd1N8LozQoPrgC+o
fodECsHYDHNBMgJKa8q7Dd1HD5l/oOuIkqDHxBObxVkPLZ3vxnl5cDwghS8aTAwYd6swZtPdvbCK
PR3EDSrOfOCqWU+30hX4FXZhr2JXV11uuKAhWv47wwEQPN7pzR5eZ00tDQbrgBiJcIoB/OYdcYrs
A3rRHkJH3A+i7AhrFKPx5rFDPtdij7DkdF5dEvSerObiFqA3v9lIKOVTvWgBJFbSZcrYuFKmNn84
2FR9kI/GGDZMnrPbYeNp7LpgLGZOZBUsF/JMC1BAqVu+0eQyfKC+IwG59ZAUZOykBYR/YIlvCan4
QiZ6Aelh6AfmgZNBu7lU+yWzOrnY0Ng5hpiYEU10ts353cDDC9JiFb6ombtcNmWyhCeuyqV9ZWiM
XNR/ZAqjrz7QlMvvLTPxEbO8XRAnrQSKbpYpqhobzhMjC0gWHIdXH57vLaMS6MSa9W3xbDg3W4Qd
RT42bMSByLbu1jVgoJXh97+ylguLyR6OBmCh9yKPo8Rlp9rIySk00bJnIiZnc9xKJMG/0n3D1a4f
n3fNZoaG5lN8OXE6xBvqMsELjVe+WdMIvJD+gUrdN913q5nJbFj1wFksOSNhoQJhNIutwQgVLV7c
sItRo3VV7SjbxLUHFYzFyViXTsVNSlM9Gt/ZCkVASE36A1rW3m5a9yahN5y9OLpPW4JsxgEU2zpJ
4SAFhpV/ae/l2/BWf6Nkrra80gO1vGpqWy7u9Mv4xgR7KbOR4UJxJ/40mwgfJldvs9QANCsrknb6
R9GieudtoZaxADjIylwlu1TZiUxrVXLW0Z+lyYrZFG3KYwT4XaZOZIlDuYy+Uz+G1J4w/puKZqWV
TQhI7yS6nTKHpdZtjzw5sarON1o/LeGLrOdjrNspK45mqMAISn5Cp36/0E1DoHzfrlPWIcqm2M+N
0wSVw4jqVseCZT35Z9aPHhT+/wZ/cP8NzPz8mMr+k6qwkmUSVmdo65CSZKSCLRPdqXRH/kO5EP+1
XLDYApOKgvx8+kvS8JCMZGheVXakw+rpEwsr9acb3LN2ZFUAMf994/4bz4Jt8///ul/VqWnatrhP
+HUEcaDUQ8a7oKm1it0UKeZcgySlsVhMrMx8h1SqlvqMkGt1lhHYt8Og7oMSO2gV//C2pH82dqou
aqyjnRqGLqLC/3tj18dJr+qQQMd+hrCrXjSn8IG7Iuwt9f2xRdbaL4pleYoWJGxrhGafqlGbATxq
6vP1pp9PLOcdURy9HHIrL/mDRE39J+uiCSK2E8VQZUGaTn+Ne8MwSDdRiG9HCjeDHhMBGNt3LgUA
BODa5WE4MOu2dNpXaWrKaHm5E5W15D2BMFpL8J+pjQRM/yoRpCMApD6s02uKHe16R85nck01KFwb
u5LmnbwG2OQD19jrDm0KTv6mrl4XMWfssLWfPBgSO6Vx6M1BX4l8XWBLiDVscD/1jLKRVklrfajN
WPS01R/Oz3g+fg++ONAUQzZI7teVXx14N53Kt0qeRMeCpmYJsE5N0c5lvReZwD1Qbm2XoJRf1mgi
4ImIAkEdIYAyf93RG461ecrwUEOZf0OdKBO3e/2hl57+8yzh+/rLWxz/+18m1SlOKbl+htGRjL5m
X/TYHg5h4uBWbK5lsSS5HupafDkhqLunhh6lWOzmSIPVbqUQoIIUDGrCFL/++6Mz/vS+RnHTX95X
EcvCHQVndFTGHGvCQsal1g4hUqdxjqRU++hm30WTBrvEPjc4kXXWv87SsrWY5a7CFcj3Ku0mVndJ
fl5BHcQsWBLXrFmyerbfpQuZvW/i7It5FBwgZ/eDsaSJ8nI7XmEL5ylPNglZamhWnMiu/C/F/Jmw
1YNHBgVhY3kP5hpt37BZg30mznO+BxLaPBYVQxGJA/Z/fxzSv9x8f/+efj3zat4MUqfo0RE0/WAE
eTrPapITxZmBABR7TCAGA8kqMfEMxDGSrHkELIo3xHUdxJnqtovJOv5gAxCxRUj7NtE7GSmEdhln
9gXOi/VtTds6fPWXevXY3QDGmnRGJ5Gdibj/YagWFkyCLpzG3ugd3BevjXCnEFhqbWPTwNUBEFos
Cf2H9kG3v+g9hio+64dFdvxF5WME20Tu76oQ+LMOyQOyM3rW9EgAzRI/jcY4mrM1uWVXmUYgX71A
9b8BsR73lCK0xPpVk0N187HqnCd8f5LzQnGpOGgonzaz2jRoGNNLVxWsCZsnEJfs1XXmVhai9Pm0
tkBMZqFHjssELg8Br105eGgCWM3WYVD7qs6kepiomBVbQrA5RlnYt4IsNQShNDAmmiAbJqQ6EqUw
WZBwuL07VyMFE6Z2opyMnebjPaQxc6qfUfh1n09YLzjZkFdO6jpw4HYgJyKd0Xwf8aizoYrKWVnG
Dte/WQTyhjdh3q1u+xOPflDMHg631XXiGBa2F8T6AvAhunjosgXE6mj6stM90xotcUc6aGE/X+M4
In4pQYW7p0cJBjuBntZ6ORWRS9ijSHEw5oo9BLglVhauNOvlvthmrlxy8+cxswCkBQCJakU0qGYK
c8Mu7YgrFTTK5TiR9LZ5Ov1mYoPsR7Yxry8DZcUhnuKMsx2sdkCU3uNlxjMxnSHtdf/wGPwrlEhU
gSAJhsQcpPyqyGmXCUOcyNGxt5PNjRb+6XwgNpnz8VgPwqtY0ScSWkW1Dt+AvMWLMWZIY+ybJX5q
81GVdnupsa7tMxaP6g5JC5fBZigZCUZjj63Oa5b8tLrFkkRzEc5aC63Ej7FXePDR3DvPseXAZvBB
JA8t/MfdO98cZQ6rifp5WBgX1Wr8wtVZU1e+o+VxMO/YLVsQ0m+J/Rg8CJ9aiIhqRomu3GzffUt2
59zeURtDl8yZhGzElTTDmV2veNWnidDqmydvgZDn0FE3/hf9eVTtnKxTqtgmmdULsIqITr+zxd2N
tQhstd3y+LaesgvniOeIXvRQsq64FKG/rXRmjHYEHpUOZwYLVMiTUZaYqKAraGCX088RcxcZZ9cD
IYrqpXpXzfAwEEAk2zB9LFfmwQyAfWar16Z2Olv5qTmoK3WGrW5/l01t06AHMidOtOkWorVhLQPW
a9JnzOzYBBwgT2CrxM3GlrJs16IlurDV1uTKuL2+78qtMD9GfmaCIS1LHz/u8Ufnicw8mBoeAoB9
h1NP09e61Yn10WO0kH5Q/JTEL2ah4+6MmikNIvtlKVeZjJVmfrl5EsjVhNwZvCMeaf5QjSFoo/52
e2fcU90tLfkXkA9SKAthA2FR5JJvuUJY4BWSkzwEt4+MchGTyzam1SIx9IUtKN6u45ZjJHRr2wiU
IHFDtlY5yKnmdGcXItz8xjtiPxytG9oShAeSrcJcL5kEVPHZf2N8DKgsK8QT24itCv/91IjiWCx/
9yF/RQJ/Ffk+KdIifJXRUXWjXeOAFNtIt1nWMFa4iAUQSL4vENkWX/u+ZYjL3cFE4QijgmnQsGqn
PFXO7kNEAkgYz+Utd9gHzb3LPDr/vlm19/D1TeWRhnjkcla2ZPJZL5vHzO84zXwROtN7e+Lksdfw
MaduuINNfoCDwsKWLUQlfsK4oq+1DdOI3YLq9lZI8IKA0HSEtAuvno2xXaJ937+cU+jc/fotPWTv
gwO6vAPGPWRO+IdGW/43GJ8eFiHTlMtG+I2g1o2a6dFDiI6yPwTjHrcxPxUW0qFRo0Po+WgqTy9m
jd/IjNPGG19wAX5GRAQ4AqKmRXNtLoLdu/U3pOoiGdfndJpZit5wJ5kBAOZPb/l/7+n3d62i91am
wv/taP1745TU065KtBrWlppH7+SDUiHxqrjriWNo220leBhxh+e1JF6CZw7RULhUHgd54iAj6lDC
YgCB5eQb7mePd/C4/JTUUEqOkgfGvBX3LxVttwta2F4K0rY+ocomCfatY98EGqFRxuxJMeNQS7ZE
zchnSFkmkYO3Nc+W1UXaCBTBjw6CmaUV6CEB+ri84CndqWo+3rUiyIbZRHZCfCe0a5Wd03KdiXFo
3h+VpZA3UngRAWqtK5ZwR04irUgrKEVSR7wJkhMeYN3N6x1a4OEejPwSpiIMbuJSffnJzTO+oPVY
gyRqRDM4KFTCZI7+MD6oivmgDTEr6YufQs+ovxl60KRzHXEdUmxU2/4UVQwRJlbfur0x71AsL57b
2xYfZyTvh/t8wBK1vpd2LS+yfCvTklTuhD4DGUh4RXadWsOhHxjYcTYWKQoRu3xgdTPBL1UCYyj8
CnZD5O+iU5GLqXGa7EbGcCZvpB1yTwaGsl7X7Onearn32qADhy1CIoHZsHFTfKSDVay0t9aBVMd5
Du1NqNlB+b7VBDq66rCpX8S28BOuqi8628CKM4VtEugPSosgk5vfsTa9w9A1KxmLZpXsh93y2WIg
btlYtGuKVf5926LI9dD88xifw5OE24jVTCJIB2gTWE0UIaIjFgIRLUPdKt8NXgXJleLI57no53wt
BxmzJfRYu4i2D1u324k1iwHwotHTLLQOkuVEmmPQRaTeNmv5Sqc38TGZoNmdD067C89lifBbD3LJ
qk9O+sWMS5YZKUVr1BIIGnS0RyfUn99w5Yh1nojPzORu83Kg6cgIZtDx9RvyeyTovLsS2G9ikqqT
BBoGcQQFO4yu+POg5Mk7wpyszFgwzHAUDG+a3RV26XaIfhoJCYkG8mbYQJHiRcTajED1hY48IEdF
ITxDBbca5Qpe3qybAefpvFLsHAHN/J7ZIr90y2aE0Y9h4QoFRnlEK9QYIV81FAEIIWcvWrR+TNCS
7jy/hv5Yt+/VT96d5ch5fKLkeXKbkvXnIqi4Eyf6mtFF5guwJ5nRgO914qavTVnuG+jpT71xxNyU
D7U2E26rIXRe2AuVz4TjEdnSm/B06npUsZancJWin6D3xnXU4SIJUNxprDJRrCcmywuzFzGnCGuw
wC6M7xcn7gZ0aKqNqQJc3bBKm7eQWLcB1gi7dmkhOm1WmMQ5gdJ39k5AEl0ukecs1MLkECLmfZFb
lvOQwTfY/OHlEtvjQF/d+bDXjFh4TJZNbcY7RTHjOercchkiZ/+cIkqHiWscTXJaAtUjvyV2ZryN
DyxukIO0mId4HBVct4tpcvlTjRX+DfbQJE2UJYVcBEjfv1+8apQ1nXiHGdURkTn3aj4QXeaHi+m4
Gy9kf0G5GtHva3J9vkufdOoVTO36ic8OuclPciTi5YgzQYUPjNmf7kQnAW1dZSOpR6zD6qCCB6kn
cee9XYjE3oN2wvWfHkfYyMjRl9kqfGNRIcMEyg06WEfIGFBR1TUve/hCy498ehKk2ZxrrGrgwyHR
zRJv165j/Revxq7lWdxa0oVrUNfXOkVOcqp0BlkoTxeGhHrBLYplUToxyZkP12i3ZbFC9/w4g7pn
443jPTxj3gfT26z1cZlN58K5WtM6zpvLg0Xx1TIKXbKpa5OxZRWJfNux133kn5X1+pDP9zH8Djk5
B2ViEuqxGkE3ZUahuP2oLqNpfCW7aW2yLpiDsunMbeZP18Iy3TVQ0eqa7RwnlIKOETxpAjEyjAxl
tjaOvLNVdy5gSCZetI3H1GmXNd6ezJbBN5yn6JuaQ7wUMT6gKED5D1rTrdNvBlYPFY22SlYUFRXV
lmt8YVhNIZoAarL/lQifX2awrFxw5dytP/m3jiCIlyPNGamhXYI4t6J1/akfJyt9ff9Og3CdfyDG
eMzFQGLRUi6Y9yON5qLmHnbux+kOVjIif43FSLxaeGQPiSVcig173VMrFR1wNRQkjWAhitLfOufx
lgU3v12gf/me8G8FuVxo8WE+MPcue6ABtjVdiKKf0fEb0L1jcjaWHjRK0uweyBbxX/mP9FXZWiAv
bwaVsGWL3gK17aq8CIhrhxmA8gd7H/3yIJ+IEvZqbge/39AlMGaGS3GMxSCD/qB45DDjOToKNTR/
jeVpmWwIPRNXqWYp3GnbhE/lLeb2EJwXciscv3bxkbD4+rv2e3cgRRKVE+qjfg1o16wkLK5OuUtn
SmeN+hur/hxmUytacmPXc2YfBq8lVy49jbAsdvE+xTc/nEWbh01nM1e8Kr/Vnbp8+MJpurl/3ObN
icZXsrija2gf4EEnWd12N46MT+DACDUp5+RSfnFJ7olWxAWB2/8SI/c/IGLHz8DltKuZQeBfyvEs
+ZH3IHK6/4g7E7IhigionI67NdjclFvC6blrA+mcBCkACvK6o467qfsknxeL4BrzvIAHOZvdiDe9
0D1K3SorliGVjFjqO9EoO1E/EP4Q4x+36vPtrfRegCqBMcMKj3DxLVxNj/z3ulzGLGtgrf1GXyhz
/QrOgr0kCE+p/6HicnGGD4GXZMj4IEGE/oLeXg7uZ/GDl86hQIbldGN4+vVuQ9kYuxcO0RXRIYb3
Iqk9Su0nqzX4qJD9Qcod48Z8+Bjyy7PhZYF6QLkbfWPbpUyw1dEXZ0lQBhp2w0sJI6tuJiyzui2J
VQesf4MvsuK1ARr6XOtX4ZjtSxReFqa0+X1fiTQRNVMfI+riIZnpZHbjDR3RyPTU0i+BLih4+jiF
QOmuHDYs3xhOqnxRnbqPbKtfYnCXH+0N7Znwebx72lEOppun4VeZff9RdvEP3JpAf25Xp9YVSKIY
//n+svU9JQyFoK8gxhvjRoqFHJBwwmGzGT1JQUdDMaxJd5CRrhbVpTa4qqXPRLjek/29391ua4Ol
UxzvHG7A4B5WHntSJmSWmQBHcHtz5VyqmyOfBrfBt7OgS0N9iBufwPVAviLTlkAkpA+kw6jxb1vj
g30f6RvvdjgDOywKr1wpc+gtwpS2w4pXuhbfxo663p7ji+Hd2ZeSsZWdTO6ZcMnRLdiR7qA92qmW
2gEkWexNPCQzvpl+R7OxkfbCT7vHDC1bCBcY0ZgHdbp4ImsQG9jUF6KwJz/sV+BOMjVqw0XDfVUS
vOLrweMLmM8XvRvp2WBYc/EDve4ex8zd7y8obIHJ/MR97KVd/D5xn8GSlcyt+bLrYZyGezcFoGeS
7z4FRvJ43aEVl7CfYSk2043yzRjJE/GG1JT0W/b27QEp+s4mOu82WqehFCeQ4J62m5D/SqTW2E8L
C2CI62s+kNnyQw7UrV9WHw1bMbi5k8nYsRb2g9886gJzbLhzlHKkBSa75CNa6Bt87vkW1xkfEKfk
OaNTwRSH9INmqtzFOyRZCIhVi5OSzqKgPHV27Q9Xnd6mNUU2GTzOeNb3tT9ZsVvNoRUlUc2ebvjk
kKHV28dZdXq/yyz1QljtB6Wz5VJwdbxeX9W76JfvRm7zt+Ib9hqfFQOX7golSuPo5sfn6rYii4YK
z0iE2tYz/MxL9zpIzof4TQKFTgoPTZ8nwaP25m2DnTPlyloI4az4QgzciBbCpOme6yydCSsFanun
zqPr9EP9IHZ6k+/Hdqvm5oEXLN/IDH4vdFPApYCN4WHT7Rn+fU00Lc8mEVO6d38TWta9ZD89ws/g
tRgjPGpyT3TNpAQgX2bv3iGB+wbdBMvpyBJjVt4kxNKyickbAwx97a3ZCARSD0egVwkD4MMUzOd4
+WoLJG/PPfqMxGN2lti5y7pcaEtEDhMPqvJW2uVbB7ygWgg0b2dK/IbWWV1T33rqfkgLUPtPxGq8
dHV8Le+baoVVcAE4mrrFmbBQwjdM9FeZapU0AJ1FayPsEsOMfWNR+s/Qnnx1W+PAlq89UcHHUazg
EZd4EMN5rs/+H2fntds2Gq7rKxLAIrZT9iaqN58QkotEUY1FJKWrXw+zgL0yThADGzOTTOxYLH/7
yltKRqEyUc+wifCFZDgl04SDDq8E8uCeG27ojmgev8oTpXcWeJ17MMqkiowpv5IfbP8dikp/qfbQ
FITvLRqSJOrCt2rPXWseD7V9pbAhado0pLPIbzbDFypJe33wmWerui9DNFdnSCCjcJxd0cu5bRph
qlbkwwdayK+p3jHCYmYP62V2TQxlr9er52v/73vV/3KvqiQO6Y3pAjWW75qu91P2OJXq4Ly8OauN
YJ0XY8FjRAfA466bmrL0Br4OttWF6bbeAqwUrFTNTD9mqX0wL2/gCcy+VkTx0qSA33cZVNsArtZ3
DtbxdbWG/4gLtBlbztVBd/KrbhwjmFLnptwIiMcKCWzAQc8R7bEZv/WRoDUcBF/+9Gz90MQRJeUv
OcLvj6t/Q/AIZ/liDE96/7gRZSDEx6AuWTBTcYqmRZuUtPqvfQ0D4NMUIDro+DPR6I1S45EqiL3K
zciwo8MX08sdMRNHTfw21qKAY3oxHhlmHb81QFAKp8WtkCrPPF9/PPkkasntzkC1YAbJHCctxWcr
mvQsGaS73oudoNkj/GlWiqnF0ynL++NjdYwv8KPs+gw+pb04m41GHDk6o4BLvwn9PxZ047148cFp
wmrJY/wk4vr9dsIdogRStR5I1n2jiTzA4+uyIyV3kA2Jx5BZKGtDDB700raVJcf7svHQv6jMEYwf
XgyO0RLl/MoBMQIdGxzO4GaOoKpRvPZVTBlMVbNRisFjrLVLidagYaoU5yv3rajY4Acb0eXGJAtx
3oEwqekH0RIpifKgomZ0ycci1KZAPdkED1T/X+a4CPcDsrS+FgX45eFVu95J6UFHpDcUo8uh251N
Nka8MyGtjcidgvFec8eD92xGeexKiev9gWYmZ6YExh31FPuRjAVAeaYhQwv0M5j6ztu47uGy0qoX
QQk7+7wYIXdgbbT3TSv4aag14HCYxh/AtDzib7t753XEbCXm9QNM7ZgHfZpvV9nkdp+rF/JAvJTC
RPF3D/+iF9YaIJ1TmHstGmfmjN4TS4ZIiU4of1iMu8YiimC8mpiN1RwDpHkRRXfRYpEvwRGpk1kT
BTeLRilZZUZTgKhz2Hfru7jEi7IfHMHrJmRJA3fU2K5bjQhGUAqfZuYCxwiKO/zHuux/5/DFY4HX
7MF1IjdYsEv3cssXGjZE0M/EfWvsewyfFq62OUKizaxme/Ksz7205Pbx8pkd3rg9+iJEg3rAEh9g
W1Z4rrbmLgFQ02uBVWpfuDzW6mcbegeXPY2PLrbOHg1+nrwjVSDAO60QIQidZeiTOpI7VeuzZWy/
OLgt67I4Jbq57v0YzqYD8gmJFPiq3OrJtPx5G/EzxsSnf7C8ohZnvUaWgwau6+GSvgfCELyyYB0j
//XMTAe1+9DK53MUHpeG5FFBpQpej4BXukk24fqIqmMAHJah6OxeX048Ed9AOJLWmRM1nhGXHMzA
rFWbcgDeadTQ3fAYiaR1NCeE6ItsqdhfvbmfmJ5mTUB9QeqL3pEG5u8m5AmiKdiJ4W0n52gSO0lC
qQkYuclB7mIz8Qq3zpJbMcBHpw8z3sJQh0Wju8l2fVx1NGqwS0k6z5o/TT1Jkyfxxmu0bIPdlgpa
AmgaJfnrKDxpbjlLkhb+tNlYoFTj9fNhTlChKf0rl9payu4RJKe+FUxv0geddDXNdmNMt7jPl+a7
87AT5+xbkv80bQCUWjBHaNkpp5JtJTSrUFnK3ffeslkdx4eJbiYOzgEu30PAyF3L3pZ2aGsjjSVb
NKFAzqZjFUp7mFxDqmnL+ZHtne0eAarJB+Keu0T8StAJVexj56sRI6nshqBG+s9AxpuCNFryjvwV
m3V42k+q7Tsxn5PQ/3IcJ+zx3/4y5J0/tlCIQHK5lU2EB1XMMWfsD7MJQATrutsOvMM2nyQACqxp
v5vrlu3P5zc7bJwtz1LY0tmKUS43l8KVz48xOfp8aeYnY0kjix6bOPN4f84OHNfSEa24pEVdxYl1
cPvziXtwDuy+q+uutcMlx9r8kdpf18+Py/p1pypiDfdPc7hnrjDsbEzeYdHaurnlEfyDSyB0Hvlw
q/paKM052pSoQpglPVS7ne9ukzTiTKRpM55/zRG8nftLaxtrPR96uCAY/hJgXlq3YCfZu21dWHEY
zkHI9rPk7PHK854FP2DGh4dtUk53u1g3zTizPLqUwXHOzmB6n0Iw4Zmc0MrsuWBaznHm8JS4xz2R
m2+szzry3q/++mVVUt8fty3/OUud06cfWtt+xfQktRFx3vs22UlHj6rBNkYmLfac+CLZzOiL7Wc2
3gUcVfZKnX0813OGIyEYbtBiMNVNsquTp71tnDgmTxyUMSIYIcrHiDUb5npdQ3Q60ILvLKcnGR6s
QWFZ5h2IY7zNFnyFOntcm+8AVU1SX06bwOMOQO/FeXx/je5fNPGnida/2i1FaVqzlm6Gpbn0Abf6
ScgkFijDrdLc1ZAkHaOBlyR3mB0Qs06m/5XO/JXPWE0FTuMrYazFTlTFvLV+UjYr3dwd2Ge+rtYU
BQDf9wt3/nG2PkQh+rg9rY/c/GKLuNhfrX9bT3kXy8TCbsRMlsv5wQ4xMaFn0lM4BxykbA04KCwZ
QT7tw7cF0/EaHHAeNsvYCS8ESAYZjJW97BpZ0scCddPOAbbxcanNOdc5WCFymm2chHoU9tvl6t+R
ovTX0GmIjhFwKrr/0jcslXy5lFJVnC7L3ITq+jBrG749NUECoEey6CfVwZwoTgytLkCu/bIQrWQ5
/yGEG/4JQNRU6be7+BZbZ9nlcm5b7mKD2OiDti/xwIIUC7/FToZWCMcCz7s8eXM5fc2LNUtdwPQA
Nip6bEgCCezCveQ8hLteV0t2WCX9zvec/fC6/hSA7m9UH6KWNRRQwv4GlLhXJ9lohsZ5ma1egbg/
b4u3vHcJuBEZzcji+uTYIw1ItV6wBhIisu2IoP0E2PxrfK8agirKuqzpv7CCv8G4rkbVKEXHbbSe
uGZzjtMJZgnZ2zXiJHl8aJPhrN2DI/v304u/aEj/7YIivQ74UBaQSUApo7+v367bPLpH/Rpo2PhR
0jbxNnauMHns1yAsFyeh56h3lX+fPJ1nawOVqpLnTBTN+8hQnSu+VEkBduASVXvEAoEyIFdMPwL0
CAIRMy1WxmRzj6dVEIij+Ev3E5cJMoph8qD4fRqJAaoLpw+ZGhwYDYVapbRDWB1+N3x/ykZv+svS
3iWHbowBBl3yCH++KK3NMQmnxNu3Ap+gSFZU2vTWeiF7RSMQlTABVzqEdPIpFaHrvhgh1EjoNRyw
9WSf5/WJngFFhA2ji31ePr+9Q9Em/cOscRg0dL9eZh1VLhhK774qJkbPWRhQ1gKx1asyDT4bR3eB
+Or+dXfF1GcIPkNbHTIOxOF9mspfOjqVvdzvbYyIJAIqnwgz4UERXd5lDArC4/SS/oAllf9Y9UMm
TU+i04ZIHcnit3E85XmXiueiW9DUgNpMq4RaNWwQ8oQnJRpyQ926TS8zIlfQ9Kg1IJazSBfnLzjX
0HGM5XDx3F42tKGAarVU2eopdJbUFAhY+ZeySuYKtx92CREEJfPr2/wTgb8qugFYSdJ/zc/f5t89
axvtrBkqhXQ7RSL4Zb3JVQAPA2fM5xzdIKrmWoce8U4lnMR6DkmRr6FG+SFS6NRgiqY79cdxLlMr
Bqm+QbHwOrmL5uBiFh6SRl2MpPQQfDF9WoQmMksW7EKnq+81Hwb4+ecnpekLpXaKuEfNyyN03wrG
vkIx3Bk2dl2NT0wxdXqj9kGZHRF3ulTyXKQbSz78fhs49fz1sEglVyR6VNyx/oDFj/TfzaSRlNE1
Ls2r9KUdZgi+XamlZb5xnPBxxw5/k6N/XerK+J6vxCzU7/YN1eTWGXyh/oG4Y23CQRGSV2dlcNPQ
cpbcAVWnq0Nv9e36luLccJgPMDtCfgdXTyT8sb5wj5MLA5/H9aLR95qIdIzX0Bun336zNep6CPds
S1eieoO2BmhDS30kaMqPCoR7oYJXSDjQkgCaADQe6Vm0yR/2faHQp/QPO4GT//MuJXcUCY7eJZui
JenSQhCNZdU/LYRnJl+LOIdhGwADVrSx74Peg+gVtV/SlrC/p3YV3hOwyvuQyvrNMqiU08jfF5T/
VoMd0GW4DopGgug8DlNhR9hAG7ZbIFSpezwQiK+UEIuUq+eNQWnEdKdXIdZ0U5W8GyYli4wzW7Iz
mO4MlkxfEWJ/INEITXcI3wrpWqtCWou0ZfDgUauIspi8pMBGkVlxTwgvIOyiku9z9yUCpkTTDt9L
d6W2xJyggFlgansavAjw75Ddup0cVDkNNcxCdXXmYKU5/8mWUvD9vJ+Hz3Ip0pVAjJGUS5ft56kG
dNCLopwgFMhj8KGpYGuIcUjoNhgmUuH2bfi0RM3sQMtXFljvhs4i4gTsTuWoZKM52xW4LKrw8x6B
IXjg+FgZurAoBx6b7tlu+doMUDnLqVP2t4tTwWXC9j6L0iUwEuaCqieU3kVpdf7Ql48nQ47cJ2Xt
yr0/5+19Ah2nRH4uTFeUA44PelEj1bo9aRo72RKdok6OH0tKtEMKdwdUvbBo0o15HslaD7bQEALL
lvAOPvUYivp51d0dgNKw2nNYcs2oAPtIsJcnr+gVIAiD8CTVCChQrFBECx8oJ9s0jyoq63Q96AJd
bhY/j+lguW7Gp/ETwZbGpQmV9nLq9/1dt5QR/Rq+ni8zQBiVS845VWL19Asg4+exPEVe9cW6gg6t
4VXkIhatbs55IIGCB2bLTb+RK1Hp5oRhWe8eW4lSwrZATAwZb8V8okiGe+2iO48U0Lag6bteNh7e
bUuNBAArikZeObCVCrTo8FNVkYqxr2Mk8UlbEZN+2TgriIsUYEnRexWB5OBwa+m5BvcPmAmDWQeZ
P07JwH00Gg6x/gmJL48x53mH7aTt4TShytnm6J7Z1fQw1cHwJojewPTlPBR23YYOdIvyetcXpXRK
gssb/Rh6r5x5XjcTxvCfRDVqFwr4FsB34WAJZkVA1nwO/wZwx4lOQVJ/we/bkmGUGM+PuxFKjOj+
oOR43pWCr2+GEgoLNn6OyL1EMr3cGFGwHgRynNXk32AUPqFTzYo+3m92SEdQdHYOpKoLxWAfNtst
Mo6UtTrDFenrRqilt790D5V2KdMJv9sS18JSj1Vef4m7/22R7JA9fGbwxRy99NpbgLY+HVDl6hgv
/3Ghw2TB2RdebvuMBsIIkUykCW/gorTgiXNqROn9eZ71bbfb7hBW8GDhwRsWAjT6jnmBhBISmcKu
ODty6xoNtRMgwafxIW6PNupsw4+B6tUf1fSEzQEb+COC6TXctiQdmGP4g4sjIDYBM91JNxCYMJZY
kTHhgkSDNgXmh79nh0pl2fXZ5m2LLwrCsYroaYNYfgbMVpUtRvck0CGY6cLzcxvBP90crQPQc7w5
xzdjZbBHZk4FPJkZolulECgrWidaPbue51wUrRD13SmI1eZ6Om6ImMrRobKfuq92EGvLkQQIKLPQ
RTS+mM7nxr5tD2NxU83aL7pxoAGoZ0tJC47XrlVL2wqLwXaQO8B6RAQje1s9nFouJ1dH3r62OHgG
HCkjdW+oJg2XCkMJDy0bzc4bNNiHDoCaATYeoMr8dOBrwKRQvyBBHThX0svKUZ6BgkkTK7iCtGgP
lodP1nqF1gpyVGBTJ7fF+WVB1TpIfKRVIg4Dtzyi5XFz08rSE1wFDHSlaF0o7xmbVMiKFq82EJZ2
/IxUGow22s9IWuKxSboNy2+OmZ04Ok0ZG7DirwPBgYPH4fipm4XhFnPkYDq0neYn7y5bxxjVGczf
sZ+bCYgMDMYUiHAFADwtQ8UdoxMvpVzj9a7C2owV2ZIwe5wRTEtfFDhRe2zYT4FZh3mxEtDat14Y
d5BJZiaeExfUSrAl6CEnHVB3wh4UYi8RycbANWhGUBPuvNtWo4vJMQIg6o2cGyHhGnxcr4uLM01X
wHsEMuUVj+SyzgDQB4jHoqsubW42OJFiqxMzzS9zg6kdp8nBvodP8O04grpVNqOddnyZt7v/GCOQ
cZPs4bxMGGzcADDr4KwhlJihvkPS84DzYtbt6A4wbNruqzn6HUMoBmCOVijmZyDyDtZwL29P/mOP
dXFyAOo2hQVegOce2Oq+GwOc1Jf33pImlcwH3tO8uvEQVa8QDE+OUIstxIf5cCOuGARmwE1wQX2c
F7rV05qQ4Nic6WBzOlwtqhPs2TTMwB0cKS4wd0kAzsFxSeTFbpFe3PKtmaawSzf1w843d6RTMNh+
op9qN3UogWIobHirrxNxIO/x4ZTI8feWIbay63JU0UIajuUdpWYc4VmD+R5XXe8JwBLRsh7WndkF
3OK5hreLLT9s7ePf2Rm+h3+Ljg1FwQ4RXZA/9AtVpZOVdFCqC0wmjB75KUPowbhnzuwBFfX4Kp42
mGvROxqgyD1YUwVaheWoAPT5mty+KKmRBpQwUIbuCbFiHYFl+YR2JX8mfMgrtzs4FdYnlO8lLAym
UPfAZdOhINxBnXaACB7oPH9w3vf69hgn4CNDdQ/pp8P8Asqs7/4/9lRNT8sCXELnKeBTvJTQG9Ve
5zEne85Vr7vN/rdZ+aJij8sQghusCNAom/7c6sWkTT1EP7e5L/q0j8VE7gI5k57yy6VnoKRIooaP
sIUCgk0HjHPEZsR0RPtQTfBpqDenD1xtlPjANmEg9UfmEhZ1fEs62IeL2w4YKhfMhUA3nOFzLHZR
obo5wL92eaPbcHVy/KVT72iJ6BCu+ChYOgQ8vU8TUWjcK9CdlmoPoHXk4biSoptiP5d3tEWBQX2k
wJ/IBk+2uO9QKqthB0wKlGSosNL3eXj6GcFNpzZGIGmy575q319jAnWyM3FcYMBJ9gqT5Q4AxtgL
LLNPo0faEizcrzRRhvAjcVO+zRTRQp7OoChhKutL7gknp1FGpzk/8logBXOtaEaj2YaE+wjKnPQ5
yNBrtJpXouIlna+VAsi+aEP0yClWg81ZA5N8IoQJRWwNzif9bGA/Qdph/x9pY1TghjOZPZAqEhJO
MFbANVt0SmGTIPNHaDc7FdgWIOnYMzIIgM5gqajwW6A3CvqOxvSMoDfIVu/2SVhHcI6BSblVRhXn
36cEeghtOsTo7vE1Av+nzLPWyXq8oz65G26GsiBi/Ovnpw41qB76BFxa416xHYTGmgf1ov7IrjS1
OCtsdZTviqQ+2iVxHyYGxLQP9PegEUO6QZOhix5Jlvl3wWVsRUBU3qcDIFTfHgnZvLJ1SRc7ZUWw
JDFEn4/WlJbKWkMh1RyEnbYZjql5AxnG+oMvUaYA0fQI2cLSDUGURNsHOuvZKmQLObo7sdN16OKI
JhBj3KyxpNi3ZR6pkyulS7acBtVw8L3CmFl2qftyIKbsuBuZGfHvWhrfPslnZ2g7HefCHC0m4+LI
SCP1ojdvnU+KDo3ZeLsPcEU+NA5e1/23Ukh8MDkRVnp+wGvp7INDTHx82WkLHKJfVh5BN7pbZd+A
IPBtwICCa/xCve1+sQdvzZpawX1+9WtahoilgQO2yx2ST2+ACo5rIYYIU81bMHo4dCJT1dQgjt8V
tGZSqrI4WZ6XeQl5HIis0jnC+/Hr0vTGSwwdiUMPj2IpAfcm4MdZzIB40qv4llUEehuwN3G+NitR
R7ORRL7PmelIVaCKU1iHoSV3NhEFXJrqNckXdDFCY0kKCJEbPXpjhO8Hf5J1l5YWnlJ4UXzwca8E
3YurD6BqiXIdPCOqtIFah9B84MszVsbXBcXNOx1YQPvkz7IaswxAgJ2DzEHYHUDw5BijtiB/4AFc
8LewcIEudsV1CzRd6SoTkkj0+QCY9gFJt0kTgM31p3QCHQ7SDvEmOi0VMnuDDra8n4mOXri0ZFuU
5eeD3pBAWL/Q0GlsYwJq8jQyfJJnNLHA6V3ARVsqKlBUqcjm8IKm9CSjDmcd5pyzKOboNOxWoPd5
r0QC9FWcE/275LoEJPxoN4Voscr5qUNi2N3bwweKaZAkuJl9WXOSN1NFddHUOZvGAiAOCxb5XrBV
zEdtdx0RNaP3OAeFLayHMPC4rz3Xha7QbOEpcAgW91CK7oZTJxeYlKNh5gKWea0Gpdt5oF1T6ong
2OEzsJf1wctlf6zthxyAs22jc8j8UmWo8gQzr1FGDxcI4VoFl3vJY3wFqdbNSSde03SiZ/ihmQOG
WvaucjDgvUgW85dchfhOEE2VOi15nHtKNOf6hegXOgD6hJf/RF/BQ1CP6AVJukgF0BSdaB0rIw6z
Et6OYOdIGgTEOgxYWgX1khg8w27Doj5x2t0615iiqpD66btmoV8TviCJQXtyB2p0r8yOQcrjfDGc
o1hPBsweD5ggpDH1duPO6DgfnUPlN4LFSmi9FlA6JSj/xMgtOqj5PgpNOxDp1HX2gBVlsli/UvYs
07RyzsC9JKwils0MLcDnplqwFDIWqWoeqcZ+VGUgHOzBDHDXfQ6v4tL27NJuepo3AQeTEYmpfXwX
96g7aHugYmJy63kShHpopUZKRAW1cpHJKybKDPu219pAYZK/OzpdwaHbxIvD98IlRAbjdPwVk8bq
qFhp/fbBiCKUgPo1fjI9YYD+Bwne6uQdWm8Ai4DlThIHNYBauU+GoOw4aUDqlhAkmKPnkRCrpCML
1h5Si9RzExRlUQhh6jN9sPyjojRT3/MPag3Mi3eB9HwNc4jNb5sHGp9tsCE7GkUHnJ1WUhnQG0J/
kOFRPL2hEG3XWAkeWrg9Hjm2Mm0xmJfJ7efqR8vyf08HLj3Ey/IEqhB/WEYFneKogsKHbLFM+47M
mYNsA1nEmBVvLQVu2EE34JUvNK+IWHwY3a8svNRWLtvCHuc2Euzt0WmHlrAniSoQLDkPTOHuUPRu
OhcPP6cF9n1dHvZIQebz51QFOAKZogf8j6i0svVQVjZimMGwHuavT/Gjl8Yyc7SggbODLt3wUfL7
r4rfGgwyFpn67P5ZjM/Lf4ee4t9CT2koCIZCTVZTFOMbAkfWhYugPGVl0fZ8Vkqix4+udc/zAQ+5
Ku+mCHLlS51hJYLspx4QW0lfaK3Ihola0KrcHucUtmjA0TcnXVnLaAvbSPVdTPj8DUB3hdrZE4RC
76HZ4ARsopUCQx77sei15pAox5mj+dT0h9Nm0tiPJRCV54o1k/qHUJkOYXVSdch8TEdiwCCNj030
8+1qwwhiXrds/3ugiPfd0K7eMCRaGy9ArWa6f0SXclH4lMkP9ilSEPyxhZn8/rAO9mORvtOlO38i
YQ5snMbT0VmSk3G0hHQICK7ZjlaQgwX/HEqjh19OjS2eKj1VeVysxWWxlfYcK4hTqlssvKLj7oJf
EMyk8XV0Cago9g4MnQdtBJW0iO6HbMHeiM40iFFAdNO31/JEerfhfQLFcTluZAdKplWsiAVCiBzL
U5gxl9le4XFTbQa3vaiiMwHR12F/XiIkhIvvmFlV0mtBKrCXuPz3xMAe+HtOMhwOaTRA3BBFNAqH
3wj216yQUmVQDhYyled73DoUs1fi5tQDv4mePdyFeM8EkDowlSHcSMGCH/3w0bgFpnPve/vlDmmi
KINcq0yY4MvX1lgc9iKUUPndmLO5PClATzG3J20msjvMbrshxfa5GqbTW0JNYYSkdeW+wpcHhZBG
zhg0/xS2BwAs+MKWSoO68UuY+EFuXuMzunjtCEwcaBrg5+J0ANvk4QhOm+CkNAZEEl5Al21gSdAG
dJHhO+K1Jk+ekBghjE8bW3RlTHCJclMUFQQHYKIFczkwkibCb8jvZUQOoToh3ANkBMFt1jpg/60U
L/jblP6CX49vHqFgtSym2dsh1Lcnt1zf99kS9+IRnS2GWHRTeMonhP2oyfpsmrbuPL12eokGMbZk
yCIjOtaG1MCDzOdMDDoQ4FCyw8xD2s+WAE1VHAyTIml4TMFSxocEt1cWHfWZCN2TgJPGZRqHXZSN
Bok202awpV0IZCNoqHvZv4WZz5Hgl/YhwbTcRXnwCC9NXAM/H3VTKeA4sYoRhV+viOGWJB2QpNa5
+NhdLIHKzXJvOKHwG7y8YUDZFi05IbwHBwfvJxdrB25GDelGQaWNsKijMFxtYI8hSIj1VDZ7ru6T
FjPGcdWTV8gA/IuvRJe3HLgXeghoIx3dw0hOsgCH0eg4xnXXlnqCyua0bfpYmlszj/M0wFlmDQS+
jvagsq3OT4NXVPsIHgWCq0frxqcJ1vBbarcjzT8vLj2/NlASmn8h9AFQXNXoPj9xh5qf+wTtp3EZ
MdHyNzTCJ5x3SPbhxTMCWR+KZmp7RBBJnmBsA8v+xMw6+M2EvYl7Fr3UTW3UQuQo9TBFcDCt8Ypl
b/qrRLwZ0c/BjlFG6QPV4O5DUesZ8KwaZqZb+5qFzjSY8dalXQ/vWAS4qV8tgGMBID/+eXlSQIOT
dsN04KRxvb6McufqVt7R5bFJVQZJHRlQB6iYRwNGSHHgfgfHMaJGbrfWA3VyX7OUIBFjIOQ8kDGe
yxMtZldZphCFqIQ6NSbUkLAnFCC90oMaNlKW9ymateM2qvxBfPMHrG5CIo+S2dnDDdQpghuAmWE8
dM/wjp9gMQv3GVz5KHBLsOFzdsT78jK/j4CG9+392pOicnTnHwiyCEg/A3Q7KeIkxuTuoU4aPKN0
hn5CdBk3M6guztPPgVOcwoMN3hhJ5xLsPP59oQruCdkmwEsOvhkIRcCtwo5a3mneg40a22H3FF4d
KdL9fFsF6qYalx6xu3f7wOWDcjXKF9vnNl8ex30MNUPAc0Xxdffc5HFHcjXW3g4x1oOIYaz0dxE6
H5aALCKoGC4tk0D7OkVD1IthThKYRLk7rM1d/YWqBqyucsqefp4OIyE62Ihfv8uTfA7mnCZxNzqH
S9SGtABFKCiX+tjwLpQpBb/eUi51qNry9XkL5GWL2egYpzZEkx7RBy6ZPnVG+wD1iGwhQQIMuF6C
IjwEfMR01ygNBM2qDaCyJNBGUaceeDSzSweOOTXAR5xPyllOSH73zlOk/a6jp6+7lwBnJhRVi0ga
UfhVR+e4hHGvJwjNnZ3zLAsucR5cFjRrA/IAoppsjHDtQouzvTyXevbSLVIA0GA0orvdCAnF6OEX
jkT7qRegf82HyXGkxaAEArEfXWfgnzcyBbbXiKGjtKShFrJBxx3JEKqxk8xFVopjECUKTpleLRbS
vflBjo9W6sHVHSaon+2lxIAXKUTXEUTl0c15gLU9swUiv95XPJaP6Olh9cA2ix3V9PVOiSwdraDl
7hApfzmwArwiev1QyVOHfx6aqG8CNUeNEJsPsf/+b23upq4A6pRquoD85tVYhY6PcWM/rcYuvsoA
Nvfdu3oowKJ3WvhomIXgmlc1zdk2qJkHB4sY/0m4yxZNwZ7aLrk3iEpcnRIWLn1kBw4prmn2GeRb
zxwF8eXmE15cubvvCOGZ3fPjqKRq7usOi9WB8/baDxY/iVpJfwB/AJGApVd1hK00VVW+eW7ctKN0
GdTXFNayZvbbEI2Z0XFz8I+u6OU2dUa310BFXXacMSVwjvlJxeEPSMG3O+jv8Ld3fa/rQ4f9Xbog
P2HDZBNF7UfeFxzYZzOR+jTZNAKkEZUf1Iylv4yyJimqpAPTh1ggfQuN0lv1aJ8Xrox8YNjYPD/H
GEEJW/fBQ6nk7rNmQcjVK4llzH7rQQl0/h2gGX/ONI0bkEGBMAbIv/336Qe3uyZmeQMNYwwY5/Sh
JNpUII2TfjAZ/BNwMvzPdb496/kx0FNJfBhoLNVjjub969NozX8/i/gHOIuh/P1h+pv4bSgP1/Zl
DOrWoLxpAgX/pPB48HTa9nDOdqefcp6/Dt9vr+4bFOzWHoy7lvJIz88KpzwQawQBXaJCFFQo67yR
vgIBYwf//3hKWUSgDhd5UYQV/d+n1A8HQ2vUwlgMR9cPLRrsBm+nGaQTEFT/vtLfVoYM4Xo4RFAN
hGA/d357nfL11BxP16uxUEfHAJTJ7BwJWCr/+yL9wP8H0cOY/XaR79SNhyaL9evCRZ5hscQG1X5N
/n0BpZ/Cf1xh2DN2SEAMDH7++xjN+Vkq5fFkLMoNAVpULcXxhdaMtpdWRUiYD2y0dc7z22f2puz5
821Se92++NS390UREs/RIHQK+ng0F8eqj0MIZct6V0f5SHXvobo5Ro85OfVUiwfz21fHj5N/16Oz
9+8HEf+SSnEg/N+DfJtwdV5ChH8ejQUKEQWQEovG/nGff0CZpLeXU1YUfsCJiX/bnlV8pvr0DQr+
94NI14rsdlae+qKOX0G5VUO0PJ3CBr4xw077+IMM+t82I1XRJZ1xEgxMrv47UmqnHbr7odMXZGVe
7t+WBZRDwHLbH17k3zaj36/zbdO7ksVqRdvqiwvEz5zgPJ92frYsI3l0RfL8ampwy1pT3t7W/77y
Tw/4bResr/lLu555wDLAD92v0S46Y4Dy08nya1i+T3kUNtkNVdlg3n+7TpZWx2EpZ/riHOhkaZeE
2pn12aPdi6Bwh/FPeMI/fclYxb9f8NsauzXD82lwOemLbJWtcvKUDpIIzkQRKAlA7SIBO00S/+b+
FECIfxvL36/8bVHkp2dmZBceFerhhCokWaSBZq3ias6WNu4CAgrig+fw3wMp/21T0SVZEpGkUFAy
/faGh1I3EG6Npi0ejoQwWToxZgaT9mbRkIjyN1rRXhYWnrw+BDs9Qu8uorfqYWTpHfFtKYEfPMl9
8B9wfxJz+4Xd/GPwsa3FJ0EhojK+rSK9qPXHM021xTGQQkAx3MrZRgcG4h7O8V5D9Pvvl/HjFb+t
p8tBHKbXw0BbSFZNlEo+S8mgXgvoJTeePDGCNvppxv112H97yG/v/yZK92HeHfQF5RILk2qUBeXg
34/1K/b540VqlDNVcSiBlv02qXWxeEqHc6UtCLvRfAOhAw+KPAUS1y9t2prkdtsPc3h2i9FzBPLJ
7ncT6voe9QxLcoAwwT1qXbqB7mXcsyPpo9it1ZpLOMo2ZWmb6pWNWlQgw/xpI/7PxpzGrxywyoA6
5J+Ch7+dIZzo/++Zvi2X11Vp7ke91BbcBLx08ITzzzXcjdHB/vfbk/9ydOiSpKOZ1e8NwHX/u5nr
r8uzyYVaXcju8LMO2rDYnReI1m4MmpRmPr0vmgVC2Sr0wBisW/dFI+mwubwPwmtSJ0aIMMi6Xhrb
0zSd/fvWpL+8BNaubqgEvAYq+d/m63nY3hupq0A0j9CzCKgSerfRhVoRxGaqKPfVc7NtqGZgyvD+
DF8/xanSHzgNnD5+v/63yXt+aHWlyly/wm7YPBJnVCtKQD6ScXNSteH2OQJWnW9uCFG80aaKEDQM
7gfz6f/7Reh/fREYqvR2l3L/23/HqC4Eo8uPhbqwNxuoFe54XFljhEsGEDfNPVSLwA0+g2DBlDZn
ged9vs9M03ESp+cYWYkV+tYUhowPK8xaKhZMGMu3p1cmse3bEYve/vj3Hf9tqyEu+L87/vbq9Meh
uci3u7qgx+m9giI01tVySHq7OEZFbIwqSqrkTNUPgZD+l5P7P9f9thcM78X/kHZeu41r2Rb9IgLM
4VVZsiRbtmSX9UI4yMw58+vvYJ3TaBdLsIC+nQ7Qp6tJkZt7rzDXmGqTy4l+/HW34x88qfsjj+f+
vJhROZjN7na/ducFAL/d/fH9nifH7Ot6MhlGlxheemVWkGrBhlSSZ7YZHhmTjPMHHuZyPkxrTVeb
QzNZHe4O/8/nNfrek8SzArHlvqtp+jrUYh4Azysvyrbf279wrb+DLJ483ewHXVvhTKaQjMl4qbK2
/lxYmpL5XmKF+lF6ch/qo/+Uv5cb4WATRXcvFAFvnEBXNxtVMoAKwoO2pN+Z4bdURbbkvIwMVTve
Me7K0n3Xp+8sYX16/mAD/v0SXvf8g4V66iZfYOEn1Y2t9Xe6PjoucI5WNfocGtHlOCTwoyIWXLnX
SJcwfYa6py5lsKb2Ol85y/KuWtgL8QEC5Mpcu6voXp8ng0KAts/JunFySddW6xD8gSu0RGjmw9//
9jhEUfGVrmJMIpmcjYnPVn/H1G/L0J0xXb4wv/X1fGOdXUm9TYxzRU3SdBX92ej7UFzf8PKKwaB4
Kz5Hq37F4Oo2A2CR3/gSr2yeOs9XBh3Ju9b+cr0yQ0EOzLzG6Q3avoPqu3o0v5gsB7kLY7BcSNEv
4dmDvYFAq5975ZyCcV1McO+ypwKschrfN1JY9e9tVB/ySnWo4gyPe/SRCXlAwO2a/bE0lgVVFPqL
HzLwVqT01hTdtpJDiVv22LIn04hWE641+qtJYwuPRprKYHTQXuK4R2euoCnHNBN6sifvE71l8Gmu
gJcyTe7PWuhw7/6ZLQ4w28/v7+8xwMH12OIYMCy+WMKdP1eMnVuF6zlGfUSYlYPXvdBmR1TWwYaZ
V1/mpgeBoz659x3H0xMntfvcUyPGmJQKKP3Ed/mRasTlxk0NF/3zizJ0CO+yoeoG6A1rtKgavZLq
3svrYz4L17hcrWsc5uKjuSnX+jSeMXGDXIMhnw2sPP4aAMfVhyI+O/LPd6L8/UENd0IGTDhjmn9l
pm5nykHocieMR3hz7xGSDRo2adI+dReXwjOJFYJPBn54gxcNLpP62RIGniAFHet9eUjP8PgwCsgv
0T2kFfGdNr1La0icgDAUHorV6WakN4T5fz08BrwYV9QlJgVH8VcVhXoT2159LJVpCAGNoQ78a59k
0IKICVmanAhv2rPweavgIl0pVPC0LBURKpBXzfx9iH/bftKsjwwxMysOnXqRgu7RMftsJp9gR/Jt
BeW1+f3vdG0vAVstGelbOCvoivSx9Gk0D/inaD+pj5lmTkoFj5KDxtOdevgQyuv0jp+And6UESB0
GDo4czyZ2NgoS+A6VpC+D/8U6d5I7EH8e6ZtANkAzn3bv21Opzdq4GARsd6qpy8PME20AywgBEUr
BOnhznP27oWh5ABBCHV1bfL8/MyIBfRz3HL4K3raGyfHlRx2eF4mmwdnJrvnKGMT+tYquzSrjzLt
cH2Hq84rZSdnw9TMxd3zJaIQeGcgqz3drBT8JnuPlgmTgJpKbUczjb+qY6Gll5ovlO1RPec1Eqm5
w2w4YwPTOpp2O5O1/WJ+Nq8KDYWzCUYVsxZIGBfoEYyFI9ShiUIHvcFHcYJQ034d1PgHECQeoy7u
xEPr+JWb6H5nFfA24rQLG/aSYmkOJ/FoMYPDIN4AB61/jxki0EH7j7AOn90HrtDv0S0s8Z68Dy7J
r/IZU9H4GV2F9qWd6j11XUxiwXuftLfoNcDjMYL/I6DS3AdwCjBe+io+aWrUh/LMUYsWLVcZo5rQ
KmKbjuWJh5KxnMIYbYVJNDxh8wwUB4PL8AnxaaBiYNb+0lBGHIOXlt94zB+QnBgv8klJqH6hXpll
8/okfeBBIT1Y98mjdG+/mXsZDhCQplf7EfoRKuZ+h7LZ4JY+0lPB2ADQbnq8D6o4ZRNI3tGZS8JK
+YQnTPDaqjfW1+9P/ad3PDqf2rbXpNapmfacx+to3yzp/X9BdoRRDVN43k2tBe8EMBrs6GwZbLKt
/hTffVDvXNtH+t+0uhH0dJPuwX/zX2gJruupv3eOOvxWoKC7oRdrPQiv6cl6yBcDq1K6xy5rr4HH
WGVYOvy8G4/8YwAwSTLnP70TmhaKJI6/F0kvG0/tRX9bl8Rx+r4NawR292r8GAV7FM0mY5FBGEwq
55gyWlXu3eAxBHfBdI9XPFjqyopXqvgQ5pfWLmZGv8SUzWu/DHelxKgSUXRIKCl/vmnpz5D475se
5VpmJrhhHjjhtmJgrGygY50DaeP6j4a9TuBnqbsWv4begcDvg7A/3bj8nzHKv5fHspAQjdBU1EYh
Ya40siR5Tbh13WIaO2/4uydY0SlLA6ZClu6i/ND7z3Uv3wjN1au/m5EELAWpvmtjbFbRm3kiS0Gw
lWph5kS4NQjpRkF9XnkVDsMt9Mp4JoKDcXMsIVym7O4Ei8O1VJmGwVAGKyZJeJZFd5lE4V4W0AXm
DN/W8cZqGQ7VAIC10iL3GtDPn3WJDW1J39dJ14G9ri2YiwWjuFq/16ziUBno6gzm2NRu5pnOvVBL
y6JhRKk2Flbf3Hjmo4zgn2duaEMd1pBZsmNYQGjrtWMrCShjwLtZ/cFv2am2sqyFYIsBfeIx9eIq
ixBJBaDvWFtKUoKzEOYQNicRmZmqIkwrLlJ7CGtmYPDKRZhanTILDAl/y2zd9c/LZNgJ/rtT/H3H
o1Ui8F2JdazDvJWXBRLJnmmyeOkhEIKFGb39fLFRmvKfq6kcepxARCij+M5VCiV2APxuVcj+frsE
Y67Dtq77aqGJn6150C1Oheg15r/H6x01Z4krpZGiH1+GWQyqapak9fznu7r6CDCCkg1yJ4wwh/X8
LXiRozYJPU3BGjtnNuZQ6jvfOPTdWXI3dn0jbRq++dHjpvMqKegpDZO/jKLuPPR0XzOyaKuLZ6Ci
dsDswfLnn/Nn5Pr7GSuKqgFQxjuKGuboGUdSqpeVWgfbuFp67Y6x+NaeQZpRDDjFZ3zIfr7cqGP0
n+uZBDOSTqA8jv18XES0Xi4Rk/GuNGamRTSqmYjALGVaA5F3J+cr39o3+BHWAbgXXbixhkc1on9v
AR8zVRnqtpTA/3yDtd0UfeSqytZRf7X2zoUFLUbh1JGKXYFXcaU1RJX3ioEORJdXqmQTjCAxYFYh
7V//l8ehI25QREmizT96/HXdyYXZePm2cDsMAaYWk+ZVh0KJN5A818GGtc07F3xwxExj37j6n1n5
v0/i29VHB7+sSG4cyIq3lcM5b97NifzbIe0shPtmm1N+LfQbPTzysmuL+ttFR3tI5ZS2Wde9csAP
tf6V59gHMIU+t5sZpgRJMxM1zC4nCgBsDKA+/C0zEiCfHcApH4AI6o/0V5dNUwC/v4kdFR0M5mwB
XTJ/5UyjYBaki5rzPpn51iJC+OxCBN8r1YNqbBNj3lozFRIfj5cfGs3RYOnQeB6g/WO3mKIK6pYO
mPh35lwURIJ3OMp9NAxW0J7Bq7FbWPacDaYC1T5YCq5MSmbSvFeXxL4BjpDWTJFX7aOcMXeyJLQ0
YQUw5sRgNi4nVLGzCT5GKnm9uVAx4YCQzuwOg3DgaXykUTYqTyAj5lZN1m6PfQVceoAZFCWYhxv8
dWGT+bNQ3YvmgsGRnlkpYmxh7dZzQp3gRXFvkGSubg+IJgaihoaX8XiFZHWiF43mUReZyjJMpCEq
YCuCTJIxCSwFN8KgkeDn3yVpWAasIWXo34zSUjuPW6vymE/rsMQStr25EuRtl17C7L6OTml7ydS9
+ekxgR2Ic6s9VepjjCE16V29z+JD6FyYUonjG0f1qIH5z22pVD9AzEtUcsbbpCzHlpD1erB1mLCD
ysAoWr1RGWCxmksD6NZn6C96w9whZI3m8cbLmTaszlZx5sHV+fnnD/faW/l+N+O3YgqZ6ViRP9yN
jBa3Wbb4+TxXwptcPYQ3vtgrBx4HhIajoKJRLhgzfcwi9eQ6SMOtgBwVYn14YIPg5RfKyVZvXOv6
cyZyF2VCeA798S+zpdK1U8ndstik4uBWB0nbqe5ekk9SMreLc+VfkuKcOxPMGPxYXLewgKovxbtY
9a3d8drpq9IFMiktAVJSR/ditnlqhWHqbk1pEzrnqHQWuajMEmr3rnbfKrumXNq4KcBhTmCue5tG
/x/es845ydEvm9JfsUZrK0JRN3q8ZcC2tZaFNcDgYMU6cPoJhpMbsbj0u2U5Dji+X3BUabBsIwrL
qPcedeZP0BOGv/+1EJGMhouimcXVlBFfpVw62sLCo9ecMrrefMHpCPEyKubKh/ELDk3yjFUe6vFo
IcmzzJvWwOQwdsNNiP+Ml6k6Detp91bfl+/qWjkrB45fVZ/nHWR/Bg7VIxVQJi/kV8qg6qx89y4e
+Af8vc7xvdNOHikGEOnq2HasEOVsI1hK2sQvp9WZQwGIBsMbIOVzXOsZSXzvqp342j1EW+CS20Fq
2n3IuIqB1c/nNU4taBDeIAMqu+wjZRYnnPbRPG1mSfOELUcBRxr4OFMTzIAN8r/2gEO7NVhe5ri4
IO+WJwzI4bJhCNAHJlQgCn4zPFNvmDY0OLHeiqMEm4FOrjuLEfeiPYCd4s4Cd86sJ5QRp9xY+JEU
j7CqE3cOeq/dMzaLZ0YHm1eYCBRc35GLMTJJs7FucPiZABzMKTwoMAZmoTHn4TEidOe9tK89/6tX
jXzpYrwqR4dZOxIYf854UD+pDGyUKWK1Q20hbzYCczEGHp+rvFr9vEVd2zW+r6RRkCWqXhxreett
xS+D1o62FusdsYzXcWDeaGJdvRSutCpeUUTKYxFSoeU5KlE52Bbpc8ucsaDurPZMwmoLIHBuxMuj
4uU/JwHFBUnme2RbGLeSjFiXRbHpgq0cWdO6gSGebszgFIMoTCHXM+xmowrzo3ntz39+pCPZzt+X
HnL4b6mHL9iNpHqJz6kIzjLGQuksM7xe5ssyhva04/iJ7LWIsJFpAnrCt377tWNHVwx1EGBR1VVH
wWqUu23cZbq77cSD6TLdDNSfsargIDMLbhEWNekNHY36Z5X635/McaugPqWmY44yIN8T/aQoRM6D
qp94Sjt1vBz7XwiacrzyQ22tW0ypByWKIqbDskCf6VE+URwcLZGV+PrJ5qigiEW1J3Kon6ke6r54
qoLeDIV2TdUFX/Z2sjXh4EhZsnLMr97PthGINV5v0n9WVjrTgFTrqjfVPPQ6fJiCh+A8hubVRnPf
Ete5+dCY8v2Ntz38tL/24m8/ffS01VSnYKKq0TbKKaKZYAwkaRrH54B0IJdPavOSSrDfDVjxmHpC
l/DnAu4yWvOi3vrCrr54GpcEgrqu6r/f0reF5zZi5qHBxLPIffS9ecVW2Qxfs6ivpfYE+uvnn36t
MILUmDKUaao0zMaiTy/RdC8oje4Id3u32C2OWL4sjmsmYB66++UccPATrEy4SdNb8efVvURnJ9EN
OjmYUP/5ieV+Bb3diX/HeeWQcww+SBOineEd31rd1wKMf6ILnXCXruWfFzMKr+5LM4q2tCdxZOfz
VZMbH9BIRP7vB2QhiCCEI6waB65UEAw97lN5C51EMfQ7KQB8DvKHiUWbmb7KmOG1vU575VEJmQzr
yn0m14vWl2aJAOemiO+8nKM2T1eGhCdjHj2VRnLsTWHmZhhCJOKNAsHVVf/tfocX9G2pUYpgh7Xq
cJsC8yl2Gu62zgETqp9X2EgK/s9jMYbmE+JlAix9dBk/UgPd8cJ0qzbqzEruXXWZF8bUeeCAToDL
MPnu3HgV16+pqZSlRXpeKO/+/GmF3fRZkFlMEJrLkEkiQ1s29QGfc5Bda6s5KEDnbSe9dWpcy7dR
PlDZpa+PP8EopkvsptXD2EihMgFyQcCMhXCSTBgRBUx0MYsbGdy1QvZQrTJQlhpDHX70Cfm+5ja1
qkV7HfFST3cjwtHUaD9p11BONpsYl+vsFQ85zua6h1/l37iDa98wwhJF0wxJI24efVZCz6Fh9ByT
ATEyAHX9XDVL4mUSFqO6sZCuLVcEJZwyIkp7ZayBz0pf9QLZxFJDWsbZhuWqSWtRu3GV37c8Pgt+
Z+BshsQe46pZl9tyqkm2z3LFmY4s06VflMOtEc8kfwFFUcIrIp6ubieSdyBFaHFkkem4ac2tZTy8
v/G9WARaljnoWJBj/7mM1SCvLK91/G1bLiUzXRbeRpFPVII1pqoZmtQvDc23Wynv1cLh98uOlrFL
1a5kGdMfpy5GlKf3J5fyg5x3U6/YwRYvCe1D8H8nNbv1CV3bqL9fe/j73zYlUXSEVMtDyt4+Tek6
o+BTLCpx09rQCgnFbCbsXUSc0ZtZEM7byYoTw9aAdr7d2Ldu3ckoKGgFQewDMQiHegxlw4khf7EA
xPbkBPqk6E5xMVUJfoT+TVOAgUUH13poboUDV4s0lohuS4UJrSDIHz2P2GwSK2bVu0eDicv9cGDw
mUNTnJL2UYxzo4OIP3y+hpkSYNRKeeuZ/PVTf3GDuWrdODNGmp9/dnPAw4hIKcljvjLaWXMhbKzM
LIlPzJ1oprSTcUMSKCjGm5q2I9lPABIt9LVJIHGQaYxyWfeKDK8IoIRLFacnx/MSWkTpRSbAw4B2
0kXNJG4ON97ftc3Ykqj26iaCeP33k/22knS5qNpeLIw9749310OtSs5U3NkZh4ZOT4vv9mE3LIq/
vthvFx21LFI5SCXZ/eeiQk00HOO5d9DUkyfvYnIWWz9RZZG9Q+DvfTbttCWzjuJVLRwKqbuxO+vD
1f6+G0tC9ItTC82dPxePUruykzeRudeUR619Ehl3l6IFB4ShboTokNOspddTx9G8YudOcR+SsmnI
onHtYhklyGC9Q2ila7V6k+qlUQHcwMmygAVXWF9Z8Nx7DBRoO7fL5iVzMKmYbQwGrajSqRywrQ4Y
41ef7vUO4ZU+mIz24rqQsp0M0CbAetFLoSLs5Mxbqxb2gvtWoKu4s+804cIELHoAeSD8JPsS8YGz
08VXzzyU4UdeNzeW9bVzjKRHHKI2Ba+e0Y7nU35SCquHvFth7rkuK4AhqBQYso53ie7dKHddvRpK
TJYmIYr1W8T2bWU2jNYoqa+m9zKQIZyHB1Zsnk3jcAmA+8ZXcHUXYzBCoaascnKO9o/E9do4ajR/
W/CS86nsbhpSCo0405u34ReZhUaqRwpbFhsKgXQn5N76X37vt3sY7Rlh5SWGlXJUB6x4L1zazaE2
zBlxguBspKJc/PybR0Kaf/coXeTnDomUMZa8JmUgdkagRVsKnFO7PxnwtGzWTF5Bd8O0WZQXiuKC
inzpyhCCIiak5psTtpPEfoaAlaV4FPRPUXFKpY0E8ctFGpMhrBHtVaiJk9peVO2xvG/0pyDGYxKv
ZyfZusWjZ7ynTLMZ+k7ozqH3WhTnnjZyVq4UsuWGVnFgB9MCHmZhMbfMtWUhXVvgbDUfv0f/Ucof
K2xeoH9gbvWBT2gyXKu7FTdeyzGR0MmI51h92riuUlmSx4lCmOo4B6oKoX1HkwW4Vg7QANSxMf/5
fYxE/v95H/+93ihMrWSxMoKsT46srw18igd9o8y0u4YZY6Cay45xvn248l5zjF2s2S1FMhz+v7dB
kjKZGW6Ttgr9lT+3QcN27dhOG+gcRMk67qJEyh597lY7kQTMdPju0vB2YTTQ7QJ+A7HGxpdFbTKC
WdidiQhEtGSyhYn65Kz7tE/bzzy4Jx6zkzcANRblNuHCsTnNpF0F5jPBgDEeSozYDjSkm0TnoOb2
UuFAcUrtZkFtv8QqzY0ZLOarcPJiFUpDQ3LXoY2x+XOZRnJktnciY44weCP+H0UL9yVro8LkdMRw
2yMBbRAuerm+kgoIr9bCdh2c2oS7gN6IlBa7LHxUaxta1jMHN06DbxokdVdfhCFgLKXdhlVHjZhB
ezO8r6JB2qYDZc2npgDHIdwp/l4TU/y6H8mbAzMjaUIjQad4noJwTJoUA92PvFDnXShNqzCZKRz+
BA3TJOPJxNx4NHe0HCvFc25qXOlJgTsUCN68b6sZYR2ag0OUGRMV5UUMzFjPi2jSq5uq8jkQ3zod
AJ3wUYiHrqIpgkaq8nZe+iBkVJIpiXtDAZfwJyIYT6SPAAvyctZXK0HXbpwQxpVYXEUYwXyGoaGg
+V2s/LZp65pQp2Gn45PrzB1HX1jgo+smgq151kMyLOPQDKNvLUZNRbvWXGsjSphoml9NfuasBf4t
Svj/xDtCACeVHi3EbKV8bwiD+CkupWVnr3XjUkiYOJsUzKMDwaRPuhFXkB8fOSc7yueQhRuRXjEY
CP5kajDtrF7oXXNaKYToXkKVWjQ2ikdPljB5CHIKg+SzB/EjgK+jkO+jqCxr8UsoqOmohxRkj5oC
XXeYankPLX+WsA4Vr9r4rkYVwl2I2bIEdnUzWLpWMOGR0u2xEMijhxh9l0VSOX6gSwnDnziPAf15
KpbCFIN5Yxpts62xGfAUQCIGHdJioCu4y3LR3By8v3JEcuQbwB0IszFfGf7+tzdrtHqSh3IQbX3r
RBGqF3dRdiuTuxKMIsClIoAWl3FAc3QMp5kpC0oTBlvRXyfxCt6PB9C03YACpaynwA7zbyxY5tCv
bXvfrjl6vJnYppbl+zxKrEh9MX90KiCf8ikEm+sk0pzhs235BO80yJ6T+DnstRno8Sp+FmxMiTPt
uZWf6wxocpRsstCadiCnmw5unjfQNg91it8zZXBg6k5xcsPyzi+W5OZ6pa5lerJJrk+o+1Et9iEi
4+OM8NI96nhtczFXdd4jXAYcMoIcfj+2X3I7NStr5qUHS92ZFd7muGoJXMo2ZrwWo42nkfqr1C5U
Xy2EA1iQ7xq035mPe5KGiJhtt247SLBIIj10BNxm6LBL6m+iwwRfd6HLKcUYT/BRWH39IOpsTvCp
xeIyBHyeD+WrJcOi3B4FZJSS+aBpZ8rARXdocxQUajFNUMgpjbVSCrAoIKGity47VSI6iAIkr0Rb
Tl10OFEIBtQDssNExXOTZ2dqwjxhFn24E7HBOIGHEekfIo5/VYSI0++PedJPowQnc+7bF5eeh+BL
+MXhhGh4UoGnNvEVllyGsVteJ2Q/ju4SpUQCZsdsZyY5jd6824ST/iK76AkkYQNeevbJneXSR5O8
22G8ynX/3vKQAeMHW4oXa+Co9QMpeWAx6xvBRWaRJdMGmDmNLfo7ZDBRaM9V+PeKIa9k76tT+R1D
9hR202HTSaOv1tQWUkE7vpZWRU345GA37GjzJhTntYa/IFxsym5YGCTkigZY40BckOhvOlS26meM
+g5CBAcp+tEZTR0lOzuOcgeBp47fzEib5rjYhFG0BB9pFSD39XODi2vXhgChd3kPDpPiQIGKxsF8
tCjLRUvTQg/PFs/MVRBuoFiL84uFW2CqzPXmUkQnPU6XsnXO7S0fBQHjTC6jlZ6/5n1KToYZX6xp
Ew39XyP2UzPak6UTBcwDV1564pKFGDYH1Qhp6BVruQZdX76kUT1zB+6q+hzB39QkXkKDsYwIuf2t
4JV45YcrIb9Wi40ViXOmg6kRHrhRg906Be+eDjVKuKQCQwHUtxKiDlV+kB0iC0D/w+WGI7YVYNUh
kn/PZZi5GGuosF872si8ixrjySR4o2o3DTSE1UaBDUiyopdByq31h6K+9Iiw8RxvtQgv1F+xKG2G
5yO6L4goQtdZKSFcanCeWIVIyouncIDQ/Mq9HT3ricKZpDbVwkHz3Yr1tHSfhaJdMAnD/4zbEZij
GQL9yDhHjnVjIzWupLScvehmOYRNmf/8c7NuUqsotYJC/vB5W2iDh/2HjarvjJlXveX5TsLgSJTR
CtGcIgvFI2kyPDJDhqzn3fX+vC02nb/a5WDuFTebu8FZrc828GFdezWsU5LDnTfehj+bA3hUI4+W
c7FwTHWSW+fQ73CYqhdGc9H7QxvAxCfOA5ew0IKDFfXgXWFlUqOx9np6yCBUOw3uoJzBHNRlt5NE
HZKquqBOGhXnwucYZhxEQA7ugB/uy60fG9RHNFj97MXiRcFuM8cKEdKXORXzDTX2dcoT/jlE/33U
jioFTDuQImokTGgUR5XGNI9rPZc7Yx8b1Kw9TA7tLKCL/hJ15bIUGNOw3p1KvpORSRCfgeoIrX7K
YTcRsdzKxecSrzqcHWDPKfVMTaxdpyLkLYtFkMrzkGHjIF5TuGwlEhqmmnyYuaz4toDRDeTT7fGo
gc9ZTNR66nnvqQs1FxSkCtK1X+Tq2gn2BZ9lbheLJn7LS2Gj5XCz+KLZ/OP8wYbxTKzb0LtT4v5Y
qeKzy6gNK+kOU99m3+9Ams8pLrgdNsmHjgi/MFCTOUcL6KwBYpr0lJ8rd+D/lHyqABUP82zGWO40
RBb28+OWhnrCX4+b5ItFTG2X1vafq9iOrbI2BY2MaMmuSZg4tV78BbMIE7KTZwwbgbPfeMXXpPos
DmpTui6if7RGtXpXdo00dzRhp7JKS86mFllb076LKqgvc6hACCDPtqECK8+7M82N9YadMYsdVASP
zn8NtdcInXcjP3j0cTlIpsWvAnan6698g94DfQaNOYNSfbjxtK6F3ggk0WxCsDQh7fz5tMJAivLU
HpRxxokzXOZLpPjqoj5xiycEtERQSIIoGv183SsNBw11/mAxDfqL8vufl3VNNTKoRFOKpkJgg/bz
sArKJvRSfr7OlfhzqDvhscXELASeUZzGdfzc6TMiFcjkzUEIN5wZP1/iWqcIhdeQvNDV0AxtXMw2
OksLvRjz5eaEqI7sUzWeh8wAj4JBSGEFcyN647puhG29cOvyV0LR75fXR2/QskvTpGpMU6U8KTh9
mfaLjnlGBuUcVprZl9MYY6JMLGY1n7yFhRJUa4eQI2oHYbTS7lpmm35+JiMHs99lCW6KNczbZVx5
3JhEdVE3UkLkdfdrxhz58XhcPz5eLpPl6zBP//R1OFSTG/OpV5cU0Ada0FSZ1LGivXOcukZSEW+b
FhXpUveeOeMpgt34ZcNuPdpeqHwNeZWBoE4dDx0brZDlRsBUToC/C0fx0F63uyMNrdADaN2fGr7X
xK63tlFPK6Kl0g9XMo5oDSIbXXE3ev7Ev/JSnJCEWvnFSE8/3yJf0JWbHBq0Km15pt3ocv35efWZ
I/Zyq+l703wKBGzDOluZmApJbiTS9qmUO1/EnNieZUY/6Q33w0V8prvWLEn2WYudD7G+oghTh9Bk
kIdmEhZaBMGV7D4mjrNNJW3lK9lCqr9q/HFooKJX6ycFaYLFIdaqzdRVPmVkcFqmv4h9+GiFydbz
m2maxQ9GlH8Oj04RyMDzatMK7YwcRlAWMR5Ctuks9Giv2Dsle+3SOzeCW9VhLy5iK2Fl666B3yc+
SyXSL0I1OQB7qSCiCDnXRcA/vreolAAv4VNk7TE+r31GaxwaIx4q5loGjZXnU6oGXXMIzUOuk8no
+Jr03XQIa3r9XrPCTy07NoayrHJacQKnWBrFO8L+ec40bFTfx5Gx1Jxgq1H99A00pPXCbCEdBRZG
jbuo+moYCxBjcMp9zCAP8XGC5YOo74j+uoBZ2LJYBjyw2MJMiDShU0gbPaZtKcnoxFeCvYqs9j4r
38xBkw3BEj+HBPnd8IctGZMXMNggttOvlljTqyJOcyoP5cnGOkMNkpk2FHES7Ai0haKZ04I4KnS8
RY4FVUxxhFh9UKaaOynakwVgm6PjxhRm/ZYd0oseOz+bDzoO9RSqA0PRWQco3pTwJXObUxFitedv
dK44KLrbj0S2F6YiHPNc3amKNyt6yuAoeZuj6NJW2ETuA0jwONk2+SIGV+68NfIusbcuLoa4em5K
ce+4h9bG/+OeJz6Rm3Ol1BNfcacRoWOoEBYhGhrWqIyg3q8OjQX3Jz4xtaJGb+TLPDuPOLQKdVxD
zu9KYD46yDBdm2m+ZDhZlgYraJikChNhO0Q7Xn1m36JMsFOJAgX/lXQ7bPeqdh7+kK9fBITYBOzI
Ehmr75JoIZBBIHTwzI7THVa81fFc8FhwsH3OGOAJ3ElhvgTZu+NIs9w+B/6L0N957VZRnugjNyoq
J42eIhKtO5U/EDXYfJRvSr5pFcz4Hvv+SeiKJePpaMXLX7GH4UKXPpAjyry5yN0U5alX+7nmw07n
v3HCjlisXTfZRwSwlGq5UEWfrvZFB6ySdkVGxXPYiprD0D8qXMSmOv5SdFxSE1sDkuTOZDXI+VL+
FNv4FFfNJDSQfhbhWozWou+tYt/6ZUT+c0Bhk/vwKT7afN559uJg/tpBb07jWSQvSVPE4pFRWrog
Jv6g/DjHmuQqcHcjndHMGrbGLIVAnW4C79ltGD+kLMbcGCsIeCAGoGU0N0mAEHZ6s9xKp4nzZmiv
qkUDB66AQu8sBUBI+a3lHDPvpYRaAWrPwqx3NbaeDn5apAFeeRiSymELy/R6E6TmAnvZiUyps6nT
WRhihdZ3i9DBSqryFzWmoCX2WCTtVOeKpUH1uUS9ShVELxg+k5G98m3k2Ejw4dbA1b2NGzEC0V2E
ZmUT5FrsQFUszZjFmXUgDTKGf2UKBwUTsYHPYChCpKCYOK220NMUYxkT29EPK7SnusRgfExRR5sj
2l7oFbZQYboK8A5qxDXI55J5X0xRpIcKA/qAhrSlsbNaaxT7kQBs/lckrbpwbgv0AF9F54tkvRS6
oWSR5afOZs8xN3W9rwXsj7q54b2q/l0N65fRZdEBBu/m60x6xs+9egsdGXL6do73GkxlmNphja9b
A+WJ7pnvMDI+uNeawV3CZIjjF5s2pnRF+hwXL0bprsMUIGR/Gl4I20rPBm3zhDs1xepDWXhyAj3M
FkGRO+XE5/MazsyuhApHmVkuhvrUXoqB4Hv7HD5ExnbWqRAXCOHLxxZCfNbt+2HslcGVMqhmuk5/
IYMjrjFkiHcN+oRI6efqS1hT4hG+PIPkECdJs/5oHXmaygBitbs8elWNg98DMya1TSxmn5W5SDJU
9A7jf7tWHBrHTovshDpSGMyHu/StaMai7uI731yL4k7qsp1V0CLIGO3iIQLCb1rIie6bL38hJC2U
gx1A4q6tGR9CyGbG/2fR7Ez5rOmXQeFi5Ej+7IlN3bBu/IUdffkq3F5hE+IymZrOXW0EUzO7K1T4
55xUbWQstPA+b6ttqeBv2ESMgko4HgBhwVUc50Sxm3sxJaYA+3NTvgvpfkNNLAyo9+YhDoq5VJjL
KmvuQHnOykA4DuOviYGfk7N3cCqpa0w9fGlVgqiXOPCt2n+VaOEkYjBNjIvfoI0PjY3D7Kmn2OjE
a/cjMhd2kM+Hx2vKxbqxjsNXYErqUkqhKB98X1nkJT4dmItjSJbhQZxpF12/WDhZ6KBXcTzVaOEh
aHXwSW0ayMzic5s/oCfIHh0Y9OH/kXZey20sWZt9oooob27hLQmQBCTypoKSwPLe19PPSvU/0ySE
IGJm+ub0OZRYLnPnNp85ycnJlqjaQOLnmFd2jTuJWJdSYYh23VTH39PwPuIaFnTzI+gPGozjvn3y
xxfTe+OsHzIMCc1XwzyM7kfK+pLJvPpLK5XAiaZyvB9w741e5B7FMvXgY3EClB2TkRSTC53jjtlj
Qwsu4tQow4sVINmtscWaQ2VXnGn+Ue4orX0VnD56P2a2jwDhtVTcRW2dlaRajtUwlROUWMDgpu0A
xh6Wl/OnkH5kDa1i3VjSRIwx3CvRUKFBbouK9Wy7D53XbUDETgWJ2SIkO2OOHSJNFOXFdx8lK1rL
0g972WHIIgNTkWu+fr3qcEWIlz3dRfIAD5FAwPlGPcwz5SWuaHOWlPDejxI+wTi0u6E+DCgb6C7i
aEkxl/TnIMJ6omvnrd7MSuK3T05bqwpzS9BYXbnSe3lGxsUcDb5KhT/T+Fw7H6ZykrSHtFemyThs
075YIyY3yfUPfTyNBvYQ0bnDBcwCllJD8vG6FA38SgdwDt3MK06ozvctSEXmFMxmmRcgJQMRwPuT
ipTozYoX8riKx0WR0lnKNxCT4CcYE1sYWhUfdMdbsB0h5DPHWNlKPk2tbKor+G55WzVWFq3EDhnS
Zyg4/NkuRLmAYyaCIEmnVUc/wW4f4+HsDS+yB5PT3ZZDNOtLmp3DhsSiwQtHSsRXh7OiT/qOGaOz
SDnLgVj3wUut72OcGC2NmGjgRaCE0OKe8CUq+20a9j9Sm854OrX5u2P9XHb9jBhPN4IncYeQjNPB
TutltHBEiRriLxMML964if3kJs0EqbjU2RU+is0YvqV18pFU5sPAjar0ukNGlFqsIPjAlmZ4qLCn
ojFbD2BOY5KEIqTbRcmpEoc1X9rXjfqmu84syesXP0dKVX0L4nNKUFC1Zks3lY1Qq+2PDmDtpGBK
GkkXR2eZOxFzdowvuxFGpTKDT+ovbFpmaXvWMndmGPUhS50FSoIIPKDyzq7Iwt92zdZ7taB7Mt9b
tyNqVEn0UnCCqBIC3rhb6Zo099uHkvtOrFVbHKp1mT0k2oPtrkLa0yQTdKyMiz78iIudr66s+ikg
SykzaCEoCCjUs7bpTlpQwP7QT2WDiZyzrsOLh/YEZKoK65I0nzIZXoR+s+gLexPm9gZ22LzP8gWZ
rToWrx5K4+WQv4d1sJBUY1qY7qGrjZXp88HBJBQjqvBIRpTrplxr47pPx6kRMYIEmyBxREjAUH2Z
M87EwMrZOeZBV7F1qPDC3dAAUJn0GMzZLAuPEwTxYcCUKpYs/bAA3rm0ZUyGOkouRzrrz4BusU9a
x2DllS5/8CsgP6oXnkztELvVDrVTqAPerG2Q+2Ak7Pn5zPLBINXnVsseFJz8nIR5n60fNaPd5JQV
5D3zRsXSy4gXvQUC/Szjb11WGjMqitMKXU9dmo2GN68hKRUeaj5/qlmk/nGDca1L5ckmAPVQFeq2
3cbte8kEo+atyNaKfhiu30TT1nlMLaAWvlzNTWWkN4kZaiDPJrQZJjqaTo3tz0kDFlJozhUHP8K2
nTTupS4pCOOBjQwttFSoIZl5WauBF++2+lzt0FVR0aRvtXkCmVY0N/TOm1E3/rDHcqIOxXpspE2W
e8grjNSU/aIK+22maJvAlvZVEz7Io7aVtT+ujgZKrCxbzaZKfe77N7/5VZpQbnXyo8aZjMKLrTsF
4w+YT7iOdXazkxUxr5k0tTFJimNTc4PwUpot2byPF/LgvjjmQyT/8D1Ue9xFEDvzwvqj9TiTPoU9
4igVFb9+CQBfafTCY2b1bMYPTU4ey7j70JzxIZYTb+LjUuk33rxppilx3V9WOP8xpwuZQ/moyzh/
WmYfhYbJhIU5ZDHvvGUStug8/E504i7WHuZDnf6Ksx9wNkPp4oIH1NzLyHDLix45Ax3kY3SOw5TW
jz4Wi9GlbiUxbv16+lBn/tK1TLyl4LQpTPut3NgGFvUQVnRN52MEakinXgk3ITTnMdZeePGLUS0X
noRkPpZRTbyIe8AeYzSViXk8Cnoms9RADjRAS5T0PhO+t2D3/V6djg2aRvjNeriMCUtWP/6T2BpY
Hw7B8JKWFATjNsE4L9tLyltLhuaZ5rxtXIbI/drL7PVgI9nvMrg7u22/tHG1an4J8DkwfocU3gEd
3v3KwEkycxlxYjGeR82bRviZSjaQW/BgvhrjuIZcxXgZJWmukhjLODZLOFUaWJtAkcuGdp6VOEMm
2AgWwFQhqTnSxTPA1CdAPTaaTe5Ssm3o5MSv9tk8mnvnuXUmmDxgnwe1kxaL+iM3pyEnUjaLEDwL
59Yhwn3Gmqv+wjd+9QaGXa0z7X96TyX2RowptZ8VjuNZ9KHqbzaLUscKWD1H7Fe6xRNXPdrlb58e
AboNLr2cVsnn09Zfj/FWo6QqOH+riDLPW1i4W2flc++uUs9jsqZN+8p9GFN9FuoPZb+v+70RnCt8
w/1O/1HjfgdPkikd+m9/tDBbKi6EQdWeh6mJohsnd8/KqN4cYPB5VZ1Ev8fpTW9S8wyqr/FQES8J
HWvMzzz5l07Z7JJcGI0B7NFaxLIzt1E6McJgpliHHk+aKpq61sdg8g+OozQCucI1PbeBHPo6pOdI
oitE9VQDKMvSi0yl4Fo5tC0Mn941Nm2iY8lIkz/ATTrCQ86rralGqpNhzthVH1V2DnFbixOsHXKV
JA93LdWeSg2vBxoU74cOWW88lN6ltg5Fcqxr3OdYPEX2c8TIybloNK7qF1fKqNbPA+67ZfwkFR2y
R2Ti9rvhvrvuc6XvS6zSI9pJ5yz7If60+zB0f3Tm2qV7p3EuOndX7UcsJATLRrYYNFzrzQZ9kdCq
ydjv1lLRL3ElfN0Y7urJE4eJmBN+30y8AboF3SX6iDIkCIR1vnYSqSQsLxjsYNdFm1H78PwN07UB
3da7cOxbOilfLnXVR9esxqafxqWadqQngKWh5b4WzJ1D8zHPV10X7bl2w+qmSpnK5mMflKTEF2Je
3oVroSAz5NMWPZf/v1dwNavIcqm38wgAa6a/QhjTyme7XCnlZSRn/f5KtzQ9QKOD3ND4vOY/pBOp
tOWusGFlDvgwd0sokX+VYmpEkzbU9wIRAKqU5p+WX1rNmqI4BC7pXov71gRNQ1APKRV6kuDRv37z
WDc9OAne+GLhnDuZofi6WLcTuhD6y3KJLu5pujr+8Zf3BOI0MV++Xtufr3v1or3SZI4m99HO1heo
adjJJjJ/oK0WBbMsxgdw1j/jTM0mO3aMN0F5pntdfRjkg4kQHoqFOGppG5UAHbjIjXG4k6ZTCdhA
A37CbB5yesHL77/Yre3x+ZavGu2Msfy+74dA6M7QIWN5AGymOXqXZHdr30MmtA2YVwySr/chQDxZ
pyUc7MAS+94pQRdoaI8sBi5GuqDRD/v+yW4xVXQUi1SH+YKtAWb9ugrCcpRVyeJrmMXZc3ddaxM9
0wWqCYEDqmrfd/ggRa9NSwXnn7+/+C1Y65eLi7neJ9xYXTpuFxQ29OTgqPnv/wFQY5T7YjOURqWC
p2Y4WQ3Lxjy0+pIpW4uDFtI2oK+hO/Dj+6QHMUj7Z3naMEUMFSEjWbsatA2qQcnOF99FHxnQZgEU
mjjJRHoHUgjWJH6Dbvf9a/iLuLi+pE4wYOKE2Czzpq+vQSnHYqwTJ3wC1G/hhnnUzHXD/yXB0nYO
iiJoQ4/rbNWh/fhk/wjnmTbJKQ9mHLJ01znOGMrs7e4ldF8MfXXG/FpZGCBMX4FVRSArpUcfdK43
lZ40phhT/XcUvVO0e6++FKLLMm8w/4xtYSMKcqvb9R22vPPvH1IV3/Kbh7yGTLtqVVe+DE0WEcqf
+9nCn67X4WL5FFuT3/PNabX6E8iTP/dm9ldylH9HlMhBygZUAeiTkAq/vtuy1+0e0nS4k7x3Nz1D
wnDBbdnBeTABBJU1cNgHKFkyXREhEAPnDqaYbOwL6eWuQsYtUiUUTiamCihYOElioPdpvY+Nn/YA
6qId8A9UWUTsT/YtJplgvap94RxT786pdiX2+j/P/+mSV89fcOKbXRgGT8xLo/fgQf/IHgCjyD6O
JKq3wUyyNxDC3boV6ShigzsEPByHMmYybjA5C6pVqS61cwukcFI8P4ukm4SOvrfUbRTsXBmJ6Eva
A55L2L0z670VdomDqmnioWLpf2PXp9dFHa0gvJUlu8E70qUxGzDMm9b7gHHz/eL8K7L4z+IEuIPf
K4LBoHi+fhi3bnXVSUOPSi2dajnV4LKi41goWC75Bzt5yXAe9Pi3kFZ5hMQltIeZKR2lRlsk47NX
JIzldmW81kegxfXPHOP4CrCNfHBSYw2YaYZkJ8kO8kcwewCZh+g4k2fx6hFr+v5hbp0hOgHdBook
WPdXXzyuQphwhQq+K99K5rIqpIlPMlNvet+eNc5yvMt2vAXNhQOhIGCJBZh5/Z2MXFX7lLbPridj
tFg6AqMJ1gPKMlXaXOwr0CXyPeb9ze0EHgPyvaKYDDivMgkVRkrD9DndAbfI203BwK8hhgEpReIO
hJ4kuCXuXSGyWy/YBHUEI5uVycn5dbFEKpYLdRKVQlSvxOQ2fSgTeevnzYYzdAjPjfOhYebsMBaQ
lKMzvrftyQEAA8Vh8N+GlXmPmn8Tp4zoDymDoZNRXseVoYVwYxR2vgt8bzMCjdY4tIImnwJWWgeB
smHOJvCJDjgssBK1olGLoS/huLMqwXbadcQsvgtevl+JV6Yj/wk+6KqgCYQQFdywq3hnKoVr1RD6
d76krI2yWBvd2Qx4LdRpQfFmqMNj5kRbqXemMtOLLhToXwYi0Bi8E4yyLbSXrVdoq0Tz176igZQi
WNrOoqWJpeD+KWcfVEXKqC1DssNeUbZphoKvGm9ivJSNyVh5m7T5AA24d+ldSznKGsye0uTDh0ei
DbQuUmDF0oxMboicTeh+mAxsG4O5Vt0stmXUTxO33kmpvNCicjsU8Xs/CAG3DrC/BL3EjfOZ5oH9
bQV50x92JR1eT7XubOpboRCVeJStdP4BevPrmrPaQAn8BPQR+jS9dZHDJRkosJK7chY3E8LPV7rK
yWykwwan9sNdh8idru4ZyCreGRgz6lGSfwTbj2CLRyXPIXlnufAM10H485WvgrAfGGZSF2W6c+MN
I2TRFQ7mQ3cn6byZEXy+jHjVn04VR4+NIDY0X7zKANQLpMaVoKMocGl7Oq5+Gq/iwp4BPZ6jUzMC
/9f5v3L1PpAzje6I0NF455i+ge4S3/X/fN6rSFblg9IWlpfuJCGsH8k7akLXPEf0JCFrbYu7Ogu3
stzPF7xKOZ2eblFcB/GuyA4ZMM/B2rn4ElPrInBd4fcrzdrkV9jdiQg3Q/an6zriKPn08hPJUJpM
SMaG4ckGNZPrxizwGb1FzlISWtgyg7Vkn3b5nQ10s+j+fOWrqA2AKte9UUl2SrGqnIchxKIS53T3
VLcHzXpREBEROnH4tTJQSSKG+u1D7N5ZfGIJf7PE/yK6Pj1+5gxa28lhutMxQ+33Ur7svePY3tlI
d4LFdQZAJZEr46BFO9HbG06NceDJ0L29W67ePnj+u26vq8dASyReKeoVGVjWooUV8hxaK0CQevXB
9ipqdTv2F4EnSJyTheiSFTIKC61FaLxqZjGR0B34PojcPJw/3dFV+DI8RTKRvUWGN0hmxbLD8iib
g5Eu8weBwneV0/fXu1nDmpg+cv7aYEO1qxVd+5LqdCXYwC1kRdoo2IwvnorZbvf6MN9gHHSvVXd7
C3264NVCHptSSZ1MLx5961R075b1xPQRgfb8OWVSFkkn27mza7VbtdvnZ7w6x51aoReIuNQOvmFH
0zmz0J3XfxeK/WMELy4AgWaNpbi3L7v6IU6U5y7Md5af02cPoKCvByNZ+SgQlka10fx8PbTZo1K6
M/K0TClX4J5ZmwI3ErjJOnWltZG8y4X/I0hAVAPWqttlW9/DkP8t5f/ZjSRMGv8T+clVpoyObuYE
rg2sE1MZKAbzxduaBtME0T5pejmM8vRwUJbL1xxXo026/Gh4yZNz/fr9CrrZEUWmCl0WjRQJNPvX
mNhEHgoluTK8nLvpz/3j4wRzKn2GlZI/eb7rOSUShX+fWZjb0F9W/oFKB65WjFLacNK4ew/el66s
W2OfdwvHAzo0qT8cZWP2hzJ+GJu3rL/jwnp78VIrUMzxqJZ+9ayd75ZqYpvBrphXSjFHCKYCq4+a
ctEuoUOUe2v2/du9GQv/e0HjanuiT5/YzF+CHbyUlPkWHqfOyVMP97WCb57htuKYhkwhKV8jtJPE
MGJfYzWdZ3RSnYfLQSyb59nqT7n4/pluSYgA+v3vpa72Y91ELpANbXjBquutmr6sk2U7uRzU9Y/J
63Q1TP7oyeTPvcbtzTdpU2AAvQar9pcd8ensSmTFyEZNCQTJExzinFfZyeqyz0S75M4D3ozi/73W
dVAdcGkdIp13mUy2GK0EDz8ffy28yfJCG26HnPxkN3/YPK9W1dZan1fZ/PvL37w6pAWLDiCw6mt1
CWrKWrTG4x2EItlLZggugFLQXWRaZkGHCEt/73lv7UoLR1/mAewK+Z+8wDOsAHU1f6chFNwT6TKz
nVSKN2t6UCCQ4V3aBCQMHeWthRZzlMPhPqbdqTQ7hiPtPOy6hTwLB5QcAaq4QQ4S4ALuv6zu2eje
eDmfkPGGfLWhesNrssK3QyH04QGflIqNkBViMOtzoEOpRsfn+89xY2N9ueLVgWepbmYmspzsKLY7
5Q2yaf5X0zcCpXafUi3u/ypAfrna1d6KG70w/DoSnIafb8FksX5yF8v57hVbu2M3ubfUbvGYuByt
H5rwWEv+zbA+7aoxHgqpizM0uRJKD7Sh0qNnGmBH7Llcv7HshNIOukhCYsaS6BqBVLWC//u09MtN
XEVlN/Ds0Y3pw5eBcPBAkCZBcOZ+uqjeelzdooBFPIMOOxr+X886cI26Y4GI3CU5oJJ4AbTMQoXK
B+fBsF1FpzwOzqBLowFwiPlXsKoNwhnN0gTEF6TRzu4mOaRCKWmfqBMFx5DObmB16EMUMAeYFbpv
qRLNBCM/64AA2UcrEhICgD+RljD4CxZSnJqDmVJMQxG6M2wN6xjXdE6ODs3hjGORAdWcUZw0WrMI
NYkO/laHqrCgMDbZh54CmwLlWZX2xpQu/6MBIMgOeQoVDaMjnseqQ8Qp+omWeS9Vp68pP6YhKH3V
O0ldB9XySEcsLY9Gv+xBJ3MsRe4xWQA7keX3Kj+DQM6BThuVj7mGL5DZZNSEWvSz/PHCO6oymL7c
bzwCTYNewN8Rb0cu4Fp1x6QZJjYo9rDL56OazlPtgozghJN5kguBDjEPSIdZos+VcktXt3cYoPV7
9NqQFn2sUSjiNqyKTopVLVNoikUSrwC6hQjkehva1YKNTlsPwwahIV4A/UgCCxy94GlOVdgDERLA
VXZ0hz+quXUSjOSCiWSMCGzp07Iut131u8VTwSwUmB+HyB1BzhtTKQAHDYPTU4+NOs5NPsRQLBP1
tTXridT9tqRwlfBzzawWQ/EBemgSyG9Wn4tRagpdd4TzPPQl4Gxv7rZHz2seUuAiHpHVZqI4MNDS
UFQljNDUQFQFhCpYJ3lKp3Abdfumeus6bdZ0W7hdPc3nBOekp9SdSM8sWa85hcY801/i4UeUH1KX
eyq7iQVKRLx3e9ynYKJF1BWvjP0MHFGSCywSPoZAntON35qAKyuY4Sbed+jimhHkGqGkb+P/MSz5
xia6fMAoPI3fjdly8qSxmmTBt+SDp1U/KwCQsJo7AYhrjmMWIYjAxkH0lfbnJFMvrnnwABA18trX
VzD8wgrQAxgejEkExFE69zINamRZ8yMOlMhtvEXdxpffXKrxFIX6ZKR9WPy1mgGdaQvTEI2tGfTz
ynyWIH1LyinESiArxnkYdTTAZFFoZs2wcSR53djlRPArhAB/d2ygKIh9I8CIRWhOxKzb8awFu2+E
gMjExciPrqPBB++3uQFhnD8Qs3K7+kP8q5sv8VLJLR9ukDMXm0zsdMMRsn0BXTw3qw/Qks36wPkg
5+CEdRjFzqSWpnqKFxLiB6ZdLvgdqbfRqhP1RJVeKttFbJFNYx7L+lhwHbFR2I4SFxp1Zc4s3uQR
w1TAEfJiI5iT7bJDAgTlIzTrBI2b75otKeVhvyPfCNtIZX+yM31VnkNYEp9BPYo9XyQnQEpe+hES
oHxUcAX1Sq9OgMWgfIhTXavtGe0AUOhCHK91UB8BMJ700Jlb/AEr6aAWQmgmXxNwZMi/LBSY0I+w
AlhbQgNW9WadQrYAOsJinfNUbifw3B9qCNxf11edmc+E5DTsNW5VSvwTkLplIeEf57voMzvPAmrB
wJXmUwrPIrXeHIDxQ6Mia2q+ysDw62TGXQspQ0E6cZs9Nf2Lah1K9DeSAf8hQPVtB+D0TfDhIMx7
bM9QQnukCWZyeM79jAjhTxsVgJZykYNuBpFSwlayCCPWIsAO6TViY1iwm5J834N91lAm75K3HGSV
2lozbG5OoS9OR2+KgiNfRgrUHYDhHa8CXP+A4AVlRTG+tSbMLPmNN8C7Ei9+6C8AOAXNZYTAYcKe
VpCOV+n9wV/b2vlHrb/BUhWNzy6bS6BsiniNen226YDJIQpgtjK62TO1MBa0A9m8reHx9wf0g/qp
KlWz0ZxIaoKUG5fgW9CGQb10AK5GI6bQAXJuan6NBVXs75MV9Lw2KUeGlwwr/FbpgM+RGKjzZDsq
3ZyFJ7v4e+Rz2iVuZU6bHnxdYcxMb5lDhOujjeFpi5xwUNl/FPqY/IBtbdVnW0UnkDYl0AEaPxEX
ZHvrMRLcwNlwqLNBq2nFUqk+AkSNkJCoKuCPASom7pwgj/6cGnKSeWcHEj3aZrn37mUhHGYSyxT5
d6gyYBEYlbIPcwg6/gu6JXZ3GdyFEn6EbNR+aNYFoIyqAOSSqnt2ntltMrTGSRWzsFgYfj4fHH9i
QkesDgp6CLJ16mwTUyRnRguphf9Bpl3rrKDIXBWBh6PIWzFc9HiqEA1zsYB5uV6ciTcVMHlzfSTK
8NwQyCUktuGgzwSYxgg35KVteAkK2r0+cvXwDOmje/mCtuDMf6pgwTmsjbdmcBY1fm/AiRndpJoy
Z+PAZMDLjrjLrwMpy+LurIuQ1a7SYlqx8oWWEFIm4g4jzuG0s1aAF3qFcaCXPuXKEWrahHzdVj8K
QKyMGwRbqGHtiDQLXIdurxHBFMg+XnXchggGIbfAPqdjFWkIDgn1BY3+EvQCsjIDKLNICZg/jbrB
mcRbLpcKlRiTbEJeBfiwMLR1pZ1KNGH8IF8wLYiji3gvdnyyCR8NTEDKmTCyFzFwPzVZVO4xL+W3
hEmVjzhlGOL5OhdHj2DiEaEMI5vG45PaCoaMCvsNSmsfnknNorch2gbFuaiyNWFPc/oFNeJfiD6x
rMd0Nfuo4hICLZ1VzGsUGKM18UPcjlh7IkICucudYGlp8DcmDvpxKPNOsdDIhPSLYyx4QCOCQQDf
IgfnXZ8K7yTE0BU4e0TtNK92nrmqkyUhgKw5KY8sXrO3ZgxJooYkCXkgKOLIP1loTVx6i5IZHhWC
O6IlCRVjVpv8FiKGd3L5vSIRNMpk6dfZSSyrQC8fLR0kyLrbFzAdooyxaqsuLDNZGs2Jc46tZrGr
eoTbAbFTPjKp+j3K+7AY2dcz8w9VkjG+0W0aZzEH/btfLZR4Pg4buRZaiX3kCCAAcHWIQzmf1MLE
ASEFr5jzNLTI8J2bhMl7K0vzxGmQ4pgq3e9YM5eNhbgGPKGKTDnSjIPN+paS6O/iSGFBReZeTvYq
c8EBEx9PZjEN6QpPEGAuMyxyyHuBtmZkNqsxfCwljH5IRhPOtRFfK3XjICdl1oQwzvUmfueZsBHx
MmM2xKe6cQHva3CkXjuyWFY5HW2Wmji4m4nWcZZxHrNd4x4qQXLMmee9yUjlDZw19t4Is01YrZUE
AH5JfpkchVpwQvQClyGClWJn8JrTRVw+pxwTHMcEc13CmLN/x2v1R5CbcBr1tdDC0IO531ts1bec
QRUUJBEzCZ2lEz6qqr4AP69Y3Uw4H6AKL7XnPKMFrVszONM7Df6LAGRoJ8Kq2JdNewFgxG4X9O5Q
OkTmZejTuUgVKLxN+EXp4K0G6jGc1TQcPGrojBs+VTarNQDxZfRsUY8rWby3M6oZ/lCsL3CCwf8A
Ecko9hBKEUPPixLg3FWdOMdF+LBqcOm8nKG3J9jjjWjhbPhRZ6grg9CPLFxDlnhuASO9PETjIkWg
x/DRpXLQheLYjvhShDKxgDusZjFlYwFAdBUZ2IX+d612P5jKq6MKkDSeD31yEMoukGRgVrUU9Ca/
YusHz16WzcrowI3n+CFbAVlrsM6KQSSzCJVOgGTERvxijjuEbGA5vpSnGvI2JY8SRHMcEh8M3Dz4
FOjBLRhUwpl2yR3p/S5gWAbN1mtWI1NoDE69ja8viJkG6mTdQfcgkU+j+MNAms82MLpEB6bcS9lO
5MRsaIHzZhYZEJvtAeVbWCI1iV8GYNzqHglKLMA29vciXurUUG1izjQ4Mk13EMSMCl9olhfRBQYw
678wqgXhDbtXGEduNsc7kgUedBv0NcNUg3Ta7kjPQOIR5UVlyEEZkfGnPG6LI9zfxgdlOslfWUL3
Rr+mBuxvyctIm9b4y1RvQZ08iSpEg4UxDNBv7QP5T0c2xq2KII6KxoLoITXytBlL1CTQxmtP5uDB
QFwO/lIkxKltrMMYtn3yXkKp68OM0XU3U2FwOVY/a0TG0ew10ksv8dboJdG4auSfjVFBSc0nlCLs
Hal9hc+MlqkdwnpHW8u+OI9GuaYYhYKK2yvnSr2Ec+7nKKELZ6j6iDmHiCngp1iO1OmwT84ZqjsD
V+yLE2iy5DW33wsUvhgH6NoSJRHyZaGEwRmDmLHtCAArp3koxbAFTw6BR1QIjV4vYyiMVf6hWKwA
ACMRVRGM2SEChGY9FPqv0ioXfBxxBobJEjM0N32rUctC9UlijctQCIjvuZdNVw+JFSC7sxlDYJqw
mPW9VKiblsAL8odKxvorO0VpC8hvlbLGRjvdl8Mm9i/ft6xuqYV86XNcdVTUBtVLI8uiHR6hrHtO
UtqlnEtkrIkyM+RN4c/BLiIWS3j//tq3VDk+XfufDh3flYMVLD8se/Dbk+opeUv2xOxyzrFaPzoA
4p+ck48dO964i+RQLttlv8wex0u3trchWW89wbHn+7u63fkRQGMdBT8VobOvnR8/D3NVSix/pxdn
akVXfXNaoni64cAmfevUi0VpR26IJLzTRSv9HlzoRuNS5zMrqkzvXIaR9vUGIOwOTWTWsUBdRwMu
JOqJLR7RXuEUJqsqMXL+/plvuQdiRQ/kD9FU7BuMq86lMdq5pQwys8Fq/nPxa71+Wi6t6W4ynebT
1cedJp52q0FPBxEjEhX3aywrvz5gqwWF3qtcLZtvf6Zri3Gkef71sl5f9MOTNf29s47VjNA/Oezs
yXx6dGbHbvuxDafKoX+9N6a80bSlnWnrEArQaIbM8PVm+sD1q9QHyYwfGW03fA1Y/R3Cm2klIsj3
L/qv6stV0xakmwFmFwVKBW7Z16uNTZsPTTfgv6g06ANsIM2PcDW1c1Y/D+W2Kemex+txePbB9kGC
S5J979IPeNCYnObSLsjVWa4+le5rnT1UEV1+FNF+UiR68SIbVTjUS9g1DY7ecHRzI8StYB9gM50e
CxpDiP7ZzwpbjUAvQ2+Vkv+Xsdnn57sKJ24egym1m3DXUFwXZ7oEHF5kK1TYVDZovU3vggjEarl+
pXw88iKQfXj3XO1XXcqgg5cDmkqotVYMGoS7p0kheefT3Rp9fL6O+PmnBrgSl1XpoKu5C6xsm3XV
yqiPuMitPPI3z0oWdZKssuS54T910lyL06WcbfNKeSjgadpFupWHaGq1/OEmxgCdKs2HF9TIb2Vl
zBqqjkjODlqtQnhPF6khH5sWpiIWDF5sT5vc26N4M+05+a0xWjWpPBX/PQhVf5L0C9VCYKDvHnhu
6HgwntKf3z/+raCEqBSCYjKsG6BGX59eNsoKYBdyRhBnmxRfvlkXPYScmBTX8VwZlt9f7mZEshkx
MXLAt+YfKxmzrjzUPs3hBQR2NF9ny6dlPt8xaV49H0kupndGNzcnlUQBtGl1tKMt82rh5rrsDpWj
EwE13JH2vxin2OtoujzMd6fN6uNja99BUt0Kgo6Cs8Jfl2pdvwqCiNtEstLqMCiCd07d/2TkINbo
In7/Km8e8Z+vdBXhcjC2llUnKFHlD4WyLo7Se32O1TnF1C+6g7p5bpB3vDeFvSn5y2xSFxueUP83
FH7aL30cjj4YIoGjTyb7/aM+Xbx48/WynuyW1nJ+egd0oq3/fP+wN1Eun696tUuNrKpTJsMMt8vZ
2ZrsF49rTrPxaTKf8x05Se5c7xbi5PP1xM8/PWUWyyFQc9ZNOfu5135COZ8sLh2qK+uLvJ5MJ7Tc
nqPH1XG19Zd3UOeqiGzXkc+B7qNaWB+BP7961iTKM4SixaktSFFrb/L0FE0Py8n8YTo9ooM/v3PB
m0tWyHGSqqmObl9lCbSSnTStI7Cd6Z5WPCwX8n0J3armzpj5JvpCyCf/7ytdxXT080wLLRCu5ExM
JlvIi5DuczAjlVrRQBS9pMX3X/Im3PLzNa9ANo0dlHWj2ckOjRAyb3qyDDpxUFB+2Qe4H4jR5NDn
0eriB79BfSqwP++cMTdzT8eUVRISxPtgV31dTVWVeaXctv/xIqRRGXYbRHdC/ZT1tFVoH9JzIgcV
NuLQDISK+J31/HfN/LOmPt3BVYIS9Vk1QHYKd0IsnJHUwnLfRmyfoTyJTh4CQ3RR3hIX6SxkVeiH
UaCJ8QTHfOUZSypui8oJa6WpjW4HCPeMYtI3ks0IqN+FVx3D3Mkoh5A+g1VPbJj6Dl6DzFZjNIHr
D2FYQQ0tq9Ff8jQ6/F2Dwi6TCO9Pa83z6Pz9d7+V/zn4L6KhJyLxtfSj5gnDioYHFs02tBJzBHeo
P0SDU83vJRE3d9Cni12dMqnrxOmgw8/LkEXq9mAmeNSy2yf3LH/vXOj6uE4cZxxNK4MIWB7ZrWL3
cCWhCX9X0/ImYJUxuYLCIjqn+Jx8XbQmIIs+qIBK+e7erFHnGtG6AdpxRsy57pnAuJc2Pwg1HBS6
SrIiUVB+/xFvb95P93C1eYcQfxo/cYPdgCRteUDPgQaTaywRdUATL6XfYlTjih0kVidNpzpeVclO
QyFWn31/K38Lhn930H9fx1VUjpSmkbImFsgBpKUwkabHxrYoWVNjXyJsdYREOHSnCJGpo6/3rPYT
ylGix9zRMXXqP277M9FTNELI4quLpgg/TCpk0Ozuqxgkfn/Dt4OtJRskWSB7sBD6+v2ULvDkImAH
EPjou5CzV0M8Uy0sQf05DbiU3VrG95xxbp/UBFwQqejUwiP9ell/xAlW1om3FsIEtlw9eO6DgzBb
pSCb7I1IN2A15X7QVSvrd6GZ7SSEPHSgUB5SaVo3TveiFDTq0RgUuuFBY955Mzc3EfQZSzcBAv6T
g6ZoBtixAkEJMXMxQzPfSuV/kXaeu41r6Zq+IgLM4S+TouUc/xCusk0xJzHp6ueheg7aZgkW5kwX
sHd11YYXubjCF95wlU1qWxcqIWdSGK7Uk2GARl5szY79TAyVLs4IrmlKUH5poh2LJZTff//Q52Lq
H8PMQk6TgLOxYjFho67bqexUIwaiu4fgMZPfgv6Rxdqj0Dh2Uyc5L0KfLg2Inrw0nCOQd6s3bJFi
+kW64Zkj+MdzzRZgRYEraCoW4P/l1WpXQKGnlmnpXKSNnPmmwB4l8EsaK/6fsBtqSprJWgVVL99h
uoqtCxM+6XajsPb7dJ/9qN9Gmr2VeRwQduv5qOL4FsgLAvwEQc90vFBSOJOY/Xih2YUdako/CuN/
7INZpJNqFXX7yWgG0SEqnBdDhHNn7Y8R55cY9g2CxoLdToKpE6RaaRGWkd5YGtImQDunSimEYh5M
5btFzgnoPFe7lK1Hkt69+fX7NJ8koWfnLY+DMwJmrMSLxmxV52oUHQbdiCbUHbgr+rysZszfJNQt
WUT0eqcmCVXjC+OenXgFKLQuA6UFF/fz/BpGBfxjhN0WqzakIypaz2r0bF7JKWS1w6LUH8AqN1vE
RraKpKzC4yevX8TvAHolofUxJvj9gc6u7G/PM7t35DIVxQrRFDoAj5zhhBeTMxt1yr6sLuSu5+ec
Whm2gMDj4G/+fPcsKiUtMSM0KFLq9GuQXjkSOIkHJgOTDPo+J0NnahW/v+LZLYWQOt/bkrBxmX3q
sG1ls61gpSTIFNGawm+PNtZFqsT09P+sKCipUCV03E7nzHoE8gWzzlKIqcamLch2FmF38/ubnB/i
v4LjszeJxKLKkpwaLxcu2T8wBrwkfh/i7PqkGyMDsJ40zWfnTxELYa7GcbqdJEg5JADY+fk1OZSQ
S5SnFujx/j7guWOc8+5/EKKn6+dbKhzqjThGpoXxsuCq8fOklYt5KwPqlK4v3pnnXg+7eCo10Da5
n2en0L4CGtaUYJ8noBVTyLG+lMT3KYwCpOKkHUYcl3QgzjEgNAn9GTgQEr7pc7NhmeRMLcaSWmN5
JXePcSasyuqhQcb4SGcRMKMxuimY9kMbOUmwriYZTbo8MOcNFX1VOuEpDXNRyFa/T/35B0PuASAr
aHQ0tn9uyDqqlHZfl+PDwX9C4PyPvdLdhWeXtrN23OX/52CzyK3XMuKvPYNtNoUNheBOdw1va3tL
p7epO1ysJE0/b74fpW8vNzvZhOoAIyWe6hyUc/pHCh2rhbRbbHfrJbYGy713+3HJSe4E3P9nTA2K
uIVcPDHg7HQ/RmDSKNACVwO0kowyOJz0RiX8FIMY/dCp02f6YZytgbiaExoj+ooA/9Rp6DdVsSa7
9ehwTGCmYgJAFYtDpFxNcPdJxnLCg9CSXJBbdx35362VWuya3Lvwoc5CxHFBFyUgzNA9Zsd0IndC
jmhKcgqxJ5wxKBLCHeCkRrZL6TQS3dFD/n1U89zZhiW2Iskyk/CPkkUfGY1uDHW67ZAfdRH8h3ms
lYgV+yZSazjteq2E0QrQ0wa15aNeLooOSGBqkIzdTPLN5sckiY1s5ORfFndOWgDpwBUoVHqvwmau
KN5r2vqGPNhyVq7Mo06remI+RNrgdsmDqiEPSHmh7R7i5sHMQN/TXw9bGk372yx/yuhZc3uAT+TA
mNxd6NhSRpsqK1Fr3I6DsMwPh0XegXRMJL8lLIew/hddSOGw1bq3+AjuThPep0bcvhFXQtNtumN1
XbSSPQDXrES8DvTbCr1Vq1W8UlaZhbeAPjRXqo1gH01LIpUJstSK6zTML2zQc0fj9w8w2y+Eg1bc
4sm3DStnsN7Gt5wUiVtMQgqubzc0wn//4uciD0UiTTJlQiFKKT8PH+FgRsdgf4yn8dgOgAdJHKeu
98U0f3ry+a78PtLs5EGeUB/iAHMJ1OaR/yqyLyDVIDEnoCf0+SZ9T4LVpLmH8KUQA3y5FNSfU4fh
fJVl+qT8j8vn57uaRd4mvQaj6WmEA3elO9crf/H5d7vYeZ7mIEXlbi7sp3P5+Y8hZxc5MGw1GlIt
2QLfIdiaTA7AjZWTMzndYMSOJtmt37/ouav8+1tOf//tKu/6MGk6g5i6KnZd9kZkB/yJBh6omPxS
AnM2n+DKkrjDpyb0vB0cJE2uF3uD+oP1iOTmpMo+oZbLo7TaIlaC9zgglDSKUTqYUBosX0pILQjf
IwoNv7+3dKIcz1fY94eZTTZShlUpmGx4PB2mHHkyplAzFfzPHdZNBPYIA48Fp0y5BIerlwg/RQHu
xn/00B/KN/rTUziC7V7WxnY0hi71tkTbshDjI/DYcPIMEO3D37K9VfVXtFwA5hQeehxxXdhqf9fh
FAq1oazJSPcPoEvTMkcyMPGD4UPCAy1KbjvkXBWUkVapuZQAzGP6Zo6LCSmvHq8b5YH4XzcU7DHX
0ylpjuGNeJA8Lb+y0ECsZFB/SHZWn7QO6SiTMeKahWk2bzPhbafqy1FDcVoXkQJW7P3N9KdigdKq
YEC4/0LcRteNl+K40IfDK4ZorlnfMdZUBBaNEqEraroJRgfVIy5NqI5rzcqkctC0b/QM5OyOoH3C
8I61vJJ0YrWcGdHXFJ7doroaG28AqES+qB/WmXV7gCdSoHGDsH8zwkO5qvTKUcrArrPKLQPTzYNV
HSGTiT1ni8ciBbZ2QiZJXyUI/k7s3HCMfWRfcFoA92Q1iNxGS+kQODGmCTTHA0VZk5FhiAbovcLS
ogOxI8cxWGPA/dgnDRqheeiJpr6paqCmRHi1ACMl/9TGD+oUXRehtq22QCZLgfMcz45SXuNW79RA
egRgTzCAACBDjhqkpSqkuFrhzCb0f6Su/5rypP3+q2dgboRikvRAdSWTO9SiY6/h3JYHdfUxHFzA
OaWu+uQLqgFR6FPsvtTgJdMDd0CW4MI2OHeFc5oTNFhElMbJbfzb/jf6oyJ3pswV/gIAGBlSGvfZ
uK7h40AaQTcH9gpaOUCVKBmqz9bD7+OfErn5LqQJgeQT+lOcCbPoay81gzrWVKok5F4n/Pte5Uty
get8cjMtAfgv0vid77RR8MsLWgDMpRPssYIka6PSHaLL22qdTVUJr3IU7IFSAeaFS7MfMrerPKVs
t6EKJA/JeroUkX4E55VuMpz61E5YSeCasUM7GQwIUFDEqzznjcNDviuGPbW58gpDGrx1abPtDURd
Pku+VQ/GEpFUfDke0wQAP84BssTKnWzjBCx4iAB+n6hzRVTt9I0Q1dFQY55d9W1eKrUEf+BBWF65
17qDsRF9x5toe/O6XTsfA3DJC2vj3GVPhVLDbwhnI3igP6+GIhUOad8Bt4iDdVnDuAE0v4bDacS7
39/t3B30faDZHWQZ5RhVFvInlKUp7cCJ5hri5oMcQPPr97HOiclohkgLFbABFY15CKMBDIoMkLDT
YMCusoRizYhTxSIA4cug02lAEE8J1AM7c2Hwc2H698Hln1MayPVQ6znuY1nqBugiBY58rT1C0Rg7
/3Bw4Zv9PuC5T/h9vNnuCsI+ObD5EJZBObG5gl7BZKN7TI5y4Rue7u75RoYvTIkM5SswT7MMhG4m
dDmJgC0N7yarjTRQNoB0tIGIm51RBUtxck15tFCLpQ3hHNTXg3i8eRq46n5/6XNtKg1Gp0geZHGq
nBAg3860wBCAmuQJSEfhPq+XCZ0q0FYdbEKhfj6m11xzg7poLKzbG8VF6D5ND/YwdP+bycfNUoT0
hEn5XCApJtuMlFGMtmEG90nYZDlw5c+jcTOWz7+/8bk0AIdHHRjhRNhWZqGqUtdg+yPUzoLRU6Z7
pqKvCe0GeDdqLl9gZX8fb/p58289dUt0Mj/gffMJTtJM73HPyLeGudhTGoYjdIKJXxrnbLHDAqMz
VXs1XAJn+0UXkzzNFYhURF4NSO/enTh873vMDSU7AdGtLPNiGUn+MbzqsB5SHXQoIaOrmFW1y99f
+hyiT/v+MLPNhHlsmSMok22jXtl2B2XTqvgtQpQcjGpXBLvuiNC2ICv2ASiXAmg4nFxDOwNNVnwJ
MHFSXlgPfomeUlqHV6wcW1ZhAw4JFNcvWbjFt+hkFtxGBt41mluX1bVam9vJc7hs2+deMgj+Qlcc
cU2uYgy0LEfnND6QK+zvlDr3jykhxWhduHvOnc/fX3x29UiZUSIRgv7oJANFHArX3SJeMunkA3xu
1Aur6/RVZ8uLL46iGJqn8oQK+3lKxj1hYjhSVmjq0o+HVyl73Y86fER8gaxXciNoxZN3FvLuEx8y
pR1YaTkr4X3Km4y3ognvZFh+VA9g/lEeb6U3GbVu1ShXcvEUyTSoM5x8an0Df3JiMVnZ/grSpJyt
J0rRiTz9WeqRayVvh1zfJHrnJ7UKwWOtwo3AeSDBWBhWbuuqD/WXJa65NJQS75g7qZPhRYEZL18o
/ZTw9sx942J7lmsPVQd18SBuCgyiVVSkw9tk32IksRzFp0EXV9pYoB7QQHYEDmqYW1FdlilOVcF+
HfKOopj7rXaARXpJoeicmo5OCWwCxdLkUE4n6rcTU8kyiSTB4KpvPOLaCG2xgtDHx5ET1nsYOyZU
HjD0frs77hfjI75eqDJHHcWVdy4UGCzWGh08HSlH3SdmRtBOO7gpeQqmIQDhkea0MWP6fUOek3rS
dVoSskTsqiinkOnbUyPqPuLvLRZIcqQflo+XtS8/Qsx2jqgdPSaYKSPdlfnSY3phQ5yzXUUtgM4E
EGpK03N3z7SRI7PrMLkvXXURvaereht/TMLQH9Udpt/X0jK+jh4npU58QexhDR3G0R7ljhlaFX7o
akicOtZFQPuZ6558D9HFSTmZE3MWSPVWo1pRpRm7uHpBF7oI8M8dyO4sFb+wFyOFkFIOItqbx5cw
3LskvHGQOAlkfT0s7UzYBMr179/oHEaCRyJPNAi1aNzNiveQGWHLTB6lwUBqnWBxdrjSgEI00P0h
RshvMpISJLST/ziMb40MoBsEWzHzJVBmbVjr3WeBnkcGOhZoSxK+UZYwEzwq0KE7rttKuvBtgRL/
e7vpXKY8GGIruOvOIpljsS+lPFDSbX28scaNPrknhpvp61pXKvIiRoR7DJy40cIr4LCVorsUtge9
X9E0NoWonTxyev31KGD+1tdOF7/Jhh8mlAIxHErHfgUsRMRPHgbOihfeltnxOjgMTn1s/USzsJUh
Wxao/FBl7INV3GC0hiEOngSgXo6dU8fYKiClWWg3oQEXsdlYN2ZhH3Ov5tLIcYYpb+CfmjZMO3co
sGyA8yYNH9B2VOVG1L5ieMGj0cJ5j9zJBLyFdDa5AMf7Vd9amEu4xWePGLEgpU6OT1xaOzk/5li1
dJzxiRptZUCKdo9PFbBvQCNVfm2WeFgdTc8IGStNXKlBv/IYk0DCsZN8VdyKWku6PuIb8xcwMLZH
9I914ULQRWfywuebBUNi3qXqcSSjfcqgG7wZtmaj0ulM/87Qec5Xlv1W2X8sm393K8Pv/My+5r+F
qubdCqvE1Z9hhNkfPW7NtV+76HPaGN3bopffjB59bUewG+e6whb7gW/Irz/16+FG2xr+H37PLF7v
XbBu7oBq195FtfEOO6XF3w4AXOZ0G6S8Pgf7c1ge+fsBneyHwb7Z7V5Xd4P9F8isaTu7mzukhe7u
Dvw25gSLbW8bOYtocbfqbDSVGv9ZtxfO2rRf38E7Oawo+3Fvf3098dQESHZsvyOazi9+s8d3+l62
1zt7Kzmvr6+dt/8SV6r7jJnRzXPjSg7OM7qNBKkt+nBjwV6rLkU5G+MKfiU+BXpnpPcirPCfsEM3
deIFkga2vHgqvHGR2C9vhS06nTtNMCRQ13I/PjZPt5tpmhvmB7tOm/IpdXz76enp9uMrdd4U9+3g
upuP5pnWiUdO4ombaaCcX4GTOpAGL62Ms/t6qjpqJCiUG2adsyiCb1P0KpccghNQw+EVYu0T21Xl
I1muP2k4x/jY3ih3IWogylU8ujjswaY4IvJ+i9DNhaPxTDJIP5MUVFZp3KC28zPMkQJ9FA69hV1Q
EXpxTZQw7hRUEJqbQ4NQBCkLHlWWCBskelbj1tXlyBaV2BeKp554JLiRYtFt1NopzEuQrdPY8xDM
kpB2NYHQcAbOju22G0PRCLCvLs2FBdtPWEr6sjOW8NdGeZmNK132paUeLfp7SAFhjNK2XwbAzAs0
Jmg9FS7GgNELNRk9u1PVu3T0sB2zMeqqMIZx4OxXSDmEnlqsZf1C/HhqP//78KaBDTRnONWlnxOb
D5GYoi/Dh7YeJYqUk7dbC9G7K+LlvrC8SR5BIh4U6CPsPRULt4n1qI2vk9hEX0Qr+O+S+NUF9O6E
8gK0+hyiAl0lLE0kw8As/vT336KWcAwCPMhkNM3DO0191LS3g/ReFY/HiDLAwYGnaCBBEKOY//t6
O9ddoItBi1ADPomo3yx/0XpAiarWk0zBao08PGwRxIbhSqU9qReCMrlX/D7kuXgEu2qJIpIKrG5e
3AskbZ/r3RHqvnnFTYEGBmXUJJyQ5L8PdCZDmVq35KOoOiPlNG39b3N6lNKDJmgUdajoMBAKHIij
g1qXoRFe6oGdqyAxmKGJCB9LdIZmy0sSqFVZuRJNiqngsBAumQw4pCt8B0m8J2GFElo+RG0ASb+/
5hR5/LOwv408+4JmWpdGE0r5Fm9hi9Yu51L+/vsQZ1J7CkZEPqBD8WGZAxTDvX7cB/sq39KUxbo+
Kh/RabgIxT6zMFiCiJNOLESSvFmgqhRqLBL1RFt4vTCCTeETJhdZ88UW9blIfcL1wJpQWB2M9nNl
iLXYkvXgoXNIc0jbClZvqDb8wQd6smPEmfbQ+R3pTC6sh9Svs0dZ3vSdLbYQ9l4AnDmH7o+mAU/s
XwL8oY7jo5TiwHcfHFVHQcwdtY8BMvPvH+EcO8BQVHaMykcgB54/ddmXclXLMb4HWGtJVwfJcOsD
ev+IV5DgUsRcFhDlC+vgFod8Ae5u0lO5XNQ7c0XxHJMH0wk1fyIcfdtXJdZ5mXpgqRf50yQoVXyW
SzCro+SiEMPCMC8JoJ47HX+MOKs1DKIShFmAlp8Je0CWiwXSwa6KsMsUXJ/2VqTT/UKoQWgfYZ3/
PvEnYstsh/0Yfhb7myOGS6WglNcohHi1izuCG/opsc3RFT3FVdzME551R/Q0QqGAP4cu4sLMdCV3
cEUiQ20DrNbrPYn/NvVjF8sBflUOfmEO1p/8E4dPIsEtqlO2aj9bjuoiM+OrfuVzk7uii2aDm3uF
nxBoJW7Cn9Q72VW83FO3hX9wrEuL7dJHnsUhYhEUYSKL6TYfdkP21oLzDKNberMlNStVvrGAj5CC
/T7TFz/0dER8W1pSB8CxqFEZPCAVIo+rzHo5CJRY0rsJrlKPjxAIlOSmq5YXBp6O538+Mcxnc0Kj
I3E4uyuqIcmCwBr5xCmljA4fnZQ4F9m28j0FbFhCmk2Qiqlw2KUd0EjjhXv4XHgC9Ju4hEBUnWBt
P9+cbKjaBxUgJ2G5ubpO3dC2y+X2+dVzTtKsl+LeMye6ySiUUFXsIXAumQ0nC6EZ7ek50FpBOIFa
LS6ZtqqsLszrNG+zeYVVgBQr0SwMG3UWXos4mUoFBpDbXjJtaUyuxbJbxIro0NVV1JiW8ePxS+yf
qCb+L1YwgBRVnaIMqh/zyB4aoGGWWYhYZIs06W06mTffEdoR2QTBa3NwhEvcj3MntCkrNExpecDh
P3Eivy3fZjREKStxBpCYVjX/GgLJ3ZPwJ7HuYk+Lia4rUCuQsqMHHjpRU1tPbkdEZ36f9TMX6USt
NyWuUpCK8x5dhhnmAOGTiEC8HVGFnCT2ZBLeSeToEtzrXIvHxIlvagZSj7fmOOiE1sN+sMBBg2Vi
gPAOX2+nbg/Of5BmiPCAowI4EqmPXeHFJkXC/rW+JGFwJgjiQgLrJp2aPMrs4AgUYWyVhu6vKkb+
BDtFviw7XgIgnwKD+XKWTYuyFb1x9uksyhOUrO8iJaJ7gxhbWw6eUrtxibgd/BP8INvqBOnSkdNJ
5a+gbjbsrbwX0IORbuF8AyDT3Sy/H6vxDpk6FV5hHZf2BF/Ss3c4dBpaJo1KBZ224/54XJT4GisF
tyokIPpmFOsWCHCV4pUByACIVV/F/l6qFiHFsroMvH3+meB4jpBooR8XxMRX/XCTxoObxTxhguXt
QaGL/aJBzo9SZSPto00R5Uiw+TL7I23/ZHi5Z0gE6Vrlx+0fpfwbG+5xKsLh9D4MiIYhBuL2WFxK
MoWOBKWgcnAK+VVE3KbOoMlYhjMsAxiCkzhYZ33mfe5KElKxcBgVZNXUAOEeo7zUajx30lCak6jM
E6FSWfx5oik6ygqDCv59lNbsPixALYUsGU08cwEiTBRccQgRcln8vtfOBf5EZEghi4qlWnhg/hy3
OPDnndljSSktjqIrHxfU0x2ALwTiky+cjLRRfoUK5vDx+8jndjnl+UnzwJg48rOgqBgDWn9dCjYR
1gO6Lent3rgF7x8R9P0+0rmOG1cjPVMyRM6T+R4vlcAypQ6tYZjchu039moleFhro/3u3S/7582F
Vzt7kJIGawo1fIPG8exjxpGuZOOR66n5CuT10K0nbakeZz8Ht/HmU/4rhhsRcSR050Lz0tueuxu/
Dz6b2LavD+Uw4Y2fxIX79me1iJ+RIaEE9XXhNU8t0flxgqQC15SB4iaT+3PtCKleqELCSJS6ncqm
cphSJhQczbtp3K3nyJPcgYpon31phs8sHrJVciyNWgM959lBZmZFrVUqqxbnHMCzTfCJJOPJv/MS
pfhcQ4ahKGiBTZ8ofbMQAGAvCnEShEiL3lcO2mygdRTI5mbSdixaw91jbgNmhxMQfcFcGxBWTHxx
j7blFQq+xiQxEX79vqLPvz4kTQNcOZIPs007NMY+LhoILCj+lcKDpF3pwEqC7UVm6unKn31i3v6/
I82S2uQAYjSP6PdjXBWoiLTQ2r3am3dK/xL110XilpFfRTtbFlYj+k/ipA1sKxzwAsqhTjreqsgE
t8KfMEDHT7l0bZ7baJaJsAc9DRBEhGo/V2BVVGE8TEgreNygmAjxtYBqNvUwWOdUgiY/MGTTQV0m
LqizILudcsrfP8Y0xj9T9N9nOIXG36ImwdLwWT0SqInFU64gVRmtJxgM2LogdYvx82Kx5tyA6OVj
YDlZCFPQ/PnSR6vSjpKOdRToYdxLASxT9Z4A0tFtlF8de+f395PnBwqxEVZ2KkUhMguFu+LneDHx
ESCNQL2Xr6bug2XTK6D+PVXzp/yvs8frxeAMzlSbT9z9qZ6OGcyF5OofsNj0GBNVjk8tGYTks9fO
j60SGDWPAXR5Om4Kcs70+uFzRd9gW6wU7/7xKXY098LbzzPJ+bCz4zRLKBWMmTW9vbhGWjvbdVtj
KXvC3cIOlv1LttL/qqS62bW1ShcXBp9HBT8Hh8b7c+obYxiaNG+qXZoqTpkrTo22afxcHa/3MZLh
lexl+kvTP1aYIEZ3Y215LT7oUfsQxW+ZEdAOIe2kSBwCnb/kbEyPYbby//N0OJygpyFOjNSfTzc2
QZ4XUSDv1KtmrdxL98p18Bg9wV0HGCy1gFZtAUku4Z5r8C16kv7Shj9O/yAxRab0zbiP3iWaV8kO
pcD0Aas31H6/+Nf4dHV4aN+Lu/oBdy741RSMQCHY0UZ9VN9Tlhmh0B2W4RS1roRn9bN5E56tPwha
azR3QDHeICGFrFT0WG6iVfzVvh4zrvvmdfxQS7sHjnrX+P3f4fa4OHgAIiPKm89WaIeP8gdCqLJf
7ob34gat2K/wNbyRt0lgN6vwtX7vnka3ecgOnlyQD9ry3/Ch+9L/TvIAX+oLHIvg+ujR01BfUEcq
HsIP4MNL8QEh+7XiZa/idtgVH8EGtsYmf6wTu0SKflwiO+zIu/2jmNnxY3gdXzXL/aO+a5f7K2Mr
vVZLa2k8iJsP+e4i3mB+lcy/4SyTroc4jMJEKHcJhAOkkQpMl4XcaY3K7xKKwI+odcCiD/rOrfGi
75dSf6scHFl+NPaXugjnDhrcmDUDIhhnzRxKXxmtilKgqt/nf7OntKMpjRnHountxi+9yREAOUk7
+chOej9ZfOGc+wfJf5qK/w4/J06mkV5aUMPqXTlqrw02scm72EZLoYEfrFmeErz2401HRy0pZX/Y
Dzct3WlR/5upykbRHjS5v3Cz/CORM3+i2ZEnR+khPugVHwdoVQnQPenoA6DiKyNlizy6FaOaP+7v
zQwnAdEWEByW4z+1amKCKdHjokiHwXsR9m4uCbYkv4nj53i4EIycf0pKFRzOdGKAKP48BgZtwAo1
0dT7DSczwl7Lt9KniExjGLsFe3t8eqzt+6+vj0saVP+U207T823gWXAS7AezHfaKet9JtvbSrWL3
sKxelFtrUbjC6sJRPB2136/52WDzmN4IMlwuY95SftOuKTytqrv+KrkN3xSOltC+sZFW2wpXLaih
cVXdx7fjc/Vcx5eWxNn9+t93PkVE36KNNKkHXQ/74y54E67Lj1HxgRwk7ZscrqorzdNDV8HjA0dt
v7yqlge/4wy+6ULfGJygIyG31WV+FRTr8Pn3+fknyTrND5sWxiGJzz+WU1ZJn8KIDfXefJP88tVY
Nlfls/kRPHBsb0c/+ajX3SK6L/4cQeVcOjnOzgqFT4QRQIwa85KRtR8OqrWXc9S6hGuhdmWPq0Gh
UB24kTP62rpSnSP0Vfr9l/qB82js9N7fhp4twrqUtLor8L2jpbyfpAKXVuei589Uy5ErX7SUPAX3
/yzEbwPOwrGjbpVhlcrVTjhAA3F6w8EaYtTd5ovKBnKMB7AMjWdS5cgW028ibOFsQgd03oN42b2g
/k8Rrzouj9T3LZgsflZ8VEW0NBTByWu36t14xT80wS9Tf5C3/Kh49PV4qWsbWAMZgNV42aCmH17t
U78aPX7iGC/Nx/AJK/eowrPFlW+NVeLHV+KOwPza7O36T/4nfRY/UOBuS1BOdl1Sb3CswoOEIH80
ChxGp1fs5oCUOH+gWG6sXANvrvd+zu1Y2u2r/tG/LoxHGThsiZOBzf/vbSVE2h7EEEhkI3f3z6Zr
gZULD66Qu9HB5UdOXOppUEJyiYbE5EviZqmDh4JKme/W2JXP6gPspmext6NPIbP1m/5VM++79r3L
qF25YLRoZiS+Jq0j7HR2BqCya7lxyl1BAOLLrZNQsRGXlbEUMq9SP7XjtTlstBxkK2jHZRvYZuYr
uZuEriwgM78G5YkilskPR8obo5GlFW263OH+b6vFobVbvBvwCL14oZyNJxHLYYNa7NF5vtTIeZgk
cWbujAy0lKTaR+OPpsITEK/GemdOny+CoyAa/mgI7h71+dEyVkH1EtNBqBuwX3WyqNSDK2V/Gu2t
NC/K+Zx7Ql2EtWPAvkXZb9rp3843w6iMbhwTVrfAF7wOjQ1oFuTZZWOFQDEEK2vSOL909V8adbaJ
jVLYK1nAqHnqG9ZC8bFsVt2iWUKIpw8GDy27cJCfEHfzbfztRU9du28vGiHtH4QU2yme6AvTq31I
Zg7SE17kmNfmtcQCuQTxVM++JkUpQyFmp5wh/5zcVqgDTTFreRdOgul2sqsjT27dUvbGxDvIXkml
vWOTIMe/24uueB+sgA2pCu5jnobl080I8JOKh7hU3sH1GigrGU6OtazgjKYfgBrvMCFwDc2pVbfE
jd1LDS8/uLn2v/pg395kFhkV2VGtqn5Q71+S90Nhxzehlz6PL0Ti78mlm+1cmqN/G2uW5iC609cd
7Jt7YQmd7O0Ix0ZldaBDuzgsRNH+Gh7LxaVvdTbr/jbqHPd6NNpwXw2VvDOuj4V9yJDrpvbu5Zlv
Qc9MPUXGZ8kzVEc4IMABpNGpChswdp/5sBrHoy9GGPLYhbYCjBSoTnARVHru5kMvbfLRU8nJ5004
oCRCkAiSet/XSMV4irkiPe7fo024lu7M+/RdDBc7+W8iA5PGM8RNry4l5//Uf6bLV6dsbUrgY8Dr
z06LHsB9bBB93qtvxvWpgRMsdIfu9FXkHNfC3ikyR7wQbPyDI5sPOjssxj5slazhEA3ZtAaX/rOS
PzyVEdbOOys27bQUVnvj4xjTORNEu6sr50Atf58wBZllt/gOYmIzdYWrY29XzTrFotUU1gdyycT0
QiDMwwG4cPRF7I+v2XsKZCOQH3vCyUX4/9wBmL/OLJ4A9KMbTcdB1NHeJwUH2FgvB+c9u+83t78H
iSdk9D+HHhI4ErLZGlors6mTQQW2uXScvle/LvdunDmlbAPCMHIbnfwydJt1Q5yCBiN0Azxyahfl
hPJD2HWhTU4PktE84PEhXrcvJc5IhN6v8Vryxm38bhBN3Bn5qt7Y0UIN3d7CY3yBTaNcLw/HZSvb
wrq7ay6shn8aiKfp++8rzatxZdVJgRGzC6a4S3YF813Bl0bdpnubBh4NMMCOSbsYMizIfMHcRaVt
Ghcuk3/KtPOHmNWJdI3iK55j6r30YlxLrvpU3lRO+iyv8i/tlphF24WPTF/rmyBr8QRYp1fy3scN
pLiURZ92/S+feM6ZC/ZCr8h6J+8IBIFfi7THKZF7FbxVzRMab793KZqDFAf0DQGEXrIQLgYZnqCn
CY5petBbxRhAtW+N7hgDIHVVyec3uuGFvSdKtvkBqVwPHXru1d9WcqOjHx6WR3FF644LKnpVC1cG
b4JxleCUlKiThdW6o2zXRw8TozhdjIHT40s2oJHp0YOpIjfZT4wO/O7G3D68JYcLH+hsqQyZrf9Z
+NosRy7gA6Nr0VDkMVaHcVf+PdZepdBh85kDkPhFhWi2h6iIBD3avM2SGzNZHJoHLX+rkAKJsGwW
X4bDpt0/V4p/tHzQ7eFnAyYHSCoxKR5PxNdmbhfWygDsoWzbdqW3TowUwSAv1NbbFxtjwkXicLXR
9G3ZrfR8paeVowcbpfRHxevrtZL9UVRbNf/ixBVD+EAQWIezsGy1VXHcGsoOkdTfj4SzeSO4AsrZ
Bsg8dX6LZLU5qlZSH3d7wUfVLocqtNofnFZ9xtkqwcvaS3u3sKBVuBaYHd/ocXbzNFe85Lh6difT
UJnk9DWE2OfBcWAlolJ0QrFrgxvwaXiGZZ26wZZssjEzy8cgLTZj/jo5bB0BMkWGMymS6ns8mw69
d2FazpWdaR1auqkADABW8zNUk+QBzBiE7Ye3ao11EGYChas+f/w+yj+wnencAK+IlOB0IkMe/jnK
OBZRvZcLwFjBNi5KGJ1+3N9LLTdVC4GfglF2dzReYzr8QbTbV3/jYhPKbC3M+yi11gWNgHaTDZ+/
P9c/sF6ei66wCO6FqrKJE/LP59rLuiCmRko8jvq/uGzSRfUXL+S0WEiZO3x2l8oq9BD4ifNjy5ha
iuQerMI5rLdrClPeS/tiNygOIvEZIIYUmptzDN3g9rrZjV/7ziY/On4of+Vb6aMR7faPeTtsk7dk
WS3xiame8xcczLjPxi/ShXYt+fF9vBKoFz414OJUJA3dQ7Ea3/exJ7Rs2GUu2C159HN8I/yBOwTK
FtD+UXZCy8M7tStWZJrEBjg8BYGLz2kPKk9bGDLlWE8HDFzaE7s8XtRQdSb0vBPgc7Y47LcoNjbi
ss4cYw+k0ekUR+E2jGz5SX3vrrMrbSutjI1l2KngZOjtay6Wbcay+LQYRKCIuNgnToeBFn+NQy0g
97fu62BiFOcOX8qi3gSvyWK/62Xwmc7wZDxFL9G16aGit6XVgGXinbQJl7CAHhS3ulJXqeSYLjX4
pPOs6v9wdl7LcWtZtv0iRMCbV7j0SU+KfMmQSAree3x9D+je7hZTGczujtA5daqiqmAS260155gr
WYCKAIwaA6lbMldrMPmX47jWOBGq9tKmh6gqbm84aEKmwBsnr+tWQrLlpC2ZuAjc9Kd28rQ3+UbG
2dM7w8dEyXMbPreBHbGFWUovBDzhhXBb027uItw8n2wcChNlvGsa3klzxA+LLcbgID1pZL9S7TJx
0gfalAVBcLAnN/rD0DkiBWfqVe/Be/1UvPDvX9SX+dA8jE/mutkMfuRkK0wO28InvNqvN/0+3VPK
2MRPzJ0QXxbT4FNxo/+aP0lsJeeqg85tR4PdPfZ3ypbmzd5c8wqO+nrwMVP5hZf9zn6bTvtU4kZ5
aV6E2xTPZUKWnRO+FSbACixODmoWpvliT0EcIcG0ER/hO4xvhDy+EgzVJKCLSTqz20+YDuNn+bbE
UtFtOLDMHDpn2oZ7+T75DZPkXkW5+St5sT6ql+BX/2p9UHhQPuQDLSWVRVqhI5GCxqxsgHFI7Ojm
s+K8aJJ9+ixaO/5UX7Ln2ueDx2cQ/RI+mgd9TezqQODdjyRfQMbyvYymJ7+ypP4puH43Ys+W1EwY
TnXXqfVR0FJ8Gr0n1CTL8e3saVGP4tNkDE57OkLDWcL6xNC/Mkcth+Wz66vMIyjlLCqOlGS/zlF4
sk4VsWTVcaRE1VnjxiTec6QDW/TqexD9CAqoKq1B+cm6GVRgP51p/LxyD8t++fweOMdrMrpzVVH+
zKN/FRE6sTQk8vzqowLw6/RT0d5b4acmHnWyasOXsrgrzH0oraLTCWffiWPjTeplimcNP1vMfldu
5sJ5UKV9A5UWSzm84eWF/XUzUVYmSXdKm+MQbwvBkzrHqO4QH9mINCqyuiJfy7d1/NBFuV2LGzl0
lelJOz30z3q9k66GuVwodhCGsdh9lvMp+qavt1PVZZbS02Zj7rL7ubV8qvS4Nn5DYvpl/G+TY/4s
WIAKAOngguEk+vViU3waglwqqqNcmzvkZEvRqgHmnT81gWr32IeRgyB1u/bOLz7kf1/3fKGM9DxG
dVzlj25mv2XbwLOcl6fwTnC//20v7erRhf7/54OKd6aCKWY1baVEl461rwTeG/1asJxzu5EwICh+
Qkn5UFW0fTeGaKseabrMg/kH0TBhhwvTNgf2SHb5a9wav+ms7tnUF6kjHIbQ5TtUfdm0p72xVdm9
q47ZrgxEePenj2Z0qn2iPVNA1T5pdhNZMOyoQA67uYUY4EH4eS17T9GcIvJPzizYyYs0HtXpyuP/
o3T68/MaHFnFhaXNX19/XjMv4zQKCvloJX6LiSSypZay9w5K7UAZusGOui2731Pv5S/Zvmu94LTK
t3mIEsRujG1OUNq1AqJ2af4x+CmWk7Qqk8r09Z6CcKzzQk2mY/Vbz1zhxnzr7uSnHol+xyZgeJs+
y3YHubDlFyGjFTiIXwSrYl8ni16EsrlBYvk93e/2t7Bq1lUGy8tV692iJfixpJqz7a7tzPSXHKb1
Cass7n3Tbg2HSOCmty2whgSbBTcyY/v1++8NwTF3fz6zsTNlaqMOjBH+bHZNT7qaGTN9aTzBDbbo
0YdHqFRIMW2jdULVK9Emdw7Jxr1lo9Rsg5/xfJTlRzXe1ONuHncpu593QfWCyKlZInF//vk7FkkU
ywYlNRrMBVgAW3zmxOxQuN+iXvK7FdHE7NWA6/+yfjWfiArYPoSY7j/NV52oqs/gKWxtdZMAhbZn
dAavjWCrt/GLuU9/CwfrLv1p3ekPxb7YZ/vSM7x6h23eO6E5PPmd3zvBaikfztslL++Q4Fp971wi
8zaVW3vaSvTn7byaV+M22mjbbN96/bbc5esKS0WyaVyO0nQ4VqabHIha3ZfEat6Exwy1AX86h3/o
OicFLzdAQvPzn/FRWD2h5WSTYKJryO9zz/SnffDK1oZ+MZIFg8Q/Qk5Rb/mn92avbOP7bg/4YV9t
wHEXt7pfb6sHeSfvWnI+R2LjgQzZANmwkcSr/ED64a5kTFq38cG8b+BpZb+qF6pYfBhD7Aj04a41
3f5R5f0ZkKwxpqkhA2Zi+vrxG23R9FbCvFd5s4/oUN2w67njDd+yi8MfPLLXkneBe1WWv5y7/v0u
//PC6JC+XpgDW3RKOzF/VNAhySsDr/PJDQ7iB/JZ5xj53U7afD8WLl7xv85COKe+XjFKNfgZilQf
4fjDuD+Vh6S5cghf3tY/D/XXJc6mkrk9FXoQz38ukSdEL69C5Q3Z73WHzIVj1l8HO+lcMpSMQpkV
qlEf4/IuRsEAgVvrB7tckLKLYo6yp0rKR/c0KxiyNcVd0ni/f5+XH3bBOkFcZ/N0/un0YzPqgjQc
YZu7ifm7Z9lQi43QDaQNXxGtXTzIMkfrnGSXrsu5L6Yfai3RRb7TH5K7uGJqT9o+nbxi/f0zUe6+
8BOaqFMJfqSYAlXt61eiKafECvEtHMfG0w9w+owGb7rEyLaD3xzo6c6kTs3seWpphZs/I9MxpM8s
vhnGfWc5nYIfYNc/LEE4mGnSA9btTN8Zkj8WDhFfMgG/6Jo4Ld0pnAhT65EJMiZ6PMBdZEVksx4G
4V22tvJwl8g/lIjwtxoRoMWBVb0fjV+T4KVN4Q7xR90djX70Zo6uMWnK5kS1babsFgXCVlc4zFWE
4d5apSfL++Z06LvCkXLkYifpELCeJjQasl0rZjipyBcv76ZJA1MpboaW+Oha2sY5GIts2iOzvxvk
fl/nCLxG1Z9qli2dvhr9kCbqUcuwBMJbIqrNL1IlWBmheKfNqasorDQfQiodROF01PrpMwE/FEgo
WsRfE7wdTTiFlPadmlOYOf5uW1DaaN7mbnNKnuayvK8nQGvsDNJqsJ/LJ+P1GtzmkvQFG/t//dzG
2TQ0WYV0iqO8Op4ALiVLHZFjazm7GrceOV3sk82aKde+skuL8t9XXXajf+3wU2BWdU9gAUXszz6A
Ntl/aqfXUKjsAt3+WtB28gt9EL1/48Rlgu8rsrvxmhLn6rOfbQ3qQOwaMp6m42wA6+AHpmKQ6BA5
QgJuC3sMf5jDMSeICR/rlWF2aS5eIDRYslC4WOfTVyjkSReN3XA89aMzdwRlk80zwPHv1E9LKXdF
zXn/VNpkR2BK3xQCKqxhMyknwJh339/LPxSaZQn8+17Ozr/5FCl1VSbm0cpOq36snHzTyXd6CwKl
oipC+T1XYtSQn3OkIIkG19Y9ZRNd3DF3lEmwLTmnH0V5vPoYJQKgk1cr/1UOhZ0ODca2x8J4VAPr
/zD5mgsql+6gSWnz7Lu1LJyRYlzXx5rjQpSSlUO6JFHkQTEA6rxWRly+hPN1DZ8gOCPWZSqJZ1N9
V6a9AT2AxRpQirpq98h38abeTv7s1fbdlV9EurSy/HW5f2Kr1GBo2ziQjqOx6pv1CXVg+KPgE6BA
T6gANcIZMmvsndK3OHqQmmfJ/NE95OqVd/z/uJnfPPe5m7/sBE3sWiU5Ntbt1HehzYhcltg2wQIs
YpcijW4JAtbQJw2rIhlQsH3OQWtXw3tPPTBK6FLF9eQUw5NVb2WVpWvEtxuTNh/fFanuGNnYONVg
vavzIafiKQEJSAEkVnS3rN2YvWB9GKaDWMxOK95alFMHQX6VkCFN4Q2Tg15DXkN/It6dQnmrVW9t
8nZSB1ea6NoEYFfqedN0pS8F+nHADKfp4rbQwaRnT3EMDQ+CWJets2Jp2/wya8WrfyTZZwZpSVJj
u6XD1BSfdZRuW46qxaLlaalQ0agmf+NBAl40y9vKek01Og567zYVJeUxEFepkqGlrw9J/THMXtsN
rwsH6fRqtMFajFtbj9Qfupa95Am+E/FGo/PepzQim1WkUNsUTvtOKn4LprYbrOw1Cu7rBQ4k3Mrt
gP5SWpUWjI4eI1rZIJAOWolTCY61RiVPtzBVqMnACYb4qCvKjXGyPDFRmc6t/JhNzS81h8iKClZF
AFPiKwbY4Kcq6gfpTstzOjmKtiL1gVz4+qcg6xiPdZBEabMX22gD9F88WU6olPcveW48Bxbi57qt
CHONnDxZy/NCGhafBQOllGLasaZ/glGxA1Gniy5sapK/1MFJ8s7lw9DqfZV0bhyT0j70d5NKlo4B
eSgfnGHS/kyAePttsd1VQ7IaI90VOmvfje96Nj+3EVxuXfaSk7ltxw448KeoEMZuMkgKb/kp1ED1
NaCDfexk2fhWavPmNCRuk8Qb0r63ubRvSt0ZERXcxepRHd8ndRd1WEVpySdpsl0+4u+n24tLnyxh
VEPwgOjgbH+VhUUJMbqYjg1fY8/ZSSTWUeRUPHXP319JWjb0/4xemTDXJRQToMrZKttE5oTwH0JW
N93V2Y8EzXWHSE9zoGDZ06OVO7VB1POw+v66lxcUmclyARTiRD1bV624mDo2FuIRRxOpZYEz0sAu
q9zRMr+pnoRO9/Wm3unmb6GI3JltlVX1RN6zAwxqit1eNL1nOaUIWVw12koST09Bf0zkpyC5swyv
muWbLvK/v+nLc+5fN302xcvKHHRSnMrHvrqrTwdZpQCME8w/ne6JbZm2KAQtbVfPdjM9B7I3W89o
1qh1fH8bf8oR//xmuGQw/AEdhDL0dWcUFaFsllo1HVt/IigBbDbOWryTWIoBO1o33XOyTrbZIVI9
/si5oz6mk8Ow7HG9zut+YkZ0xcYb9gELIdg0ejoOfCTtw3zKsk15reF1qXrO2YfgKVWiuoL/+esN
57h6qqSfy2NgJGu48B5MakLUMuFTOepl5vfdtJ6ZCrCbV7SXrOjK13b5BoBhWhp9X4U/X2+gMxp2
mkSJHBfjdfVMAkk8NXaZ3cnhEVw/4W1yvT0ZbxAwRfnpys+1DKF/fi4yEED4AUzGZf714gUr2mSZ
MYnT8OpDl8+Y3ttIkKduw55XDaeYD4r0LLTUNJUNPSpdf6qCtRq5VbSqOHOU9qTczqDU7kedIJBj
pHKARGzq9mgHOftc00Ve/sD+uuOz71wVs0HRw7Y/ZvlOuInAp2wm3YfXss5FN/TLapVQxfOrYEW7
XPipd16/rmj19TfL6crW141+w25uhtIZ2VsNyOqvyXo0vZOCc/GKmXm5l/O3SzUB4B3yMFXWzyaw
XhrmIjLj+piy0Rgo4tJDr+S9mD4Z0+v3v+TFz+jva51NWpMwDtbplBjH/OO0OGxXfeRpJ1sH6gax
rrxpi5XymUW+cQ2de3Ga/vvKZ0N+6IWyUsLBOA7iaqpuk/r2lPLEGPeHF0HeGoF/ao9GemsoD98/
8yW1j2pJnPMtDYWgck7qFPsx6fRQNI5SdmNkvQ8m0bhJ2ZxBUh8paDbC7VgjNCOVPTTgQldwZqms
VKKOgCr0Ak7emkT05MTuSa1WhcLCUj1Y4g9y4q4sm5cUBlDJRZMpkc+Bjf/XkZYbUl1LrUmOPFsz
ROiG22eOCU4xcZqEXSWqYgdNeFG7qFUkcdP+FFsPuUFmLrVDU7k27Vwa+fSDEMAuUVM437/ejyTW
SjvWs0HFtKbyuZ+RL6Amm7ZBpGJcXevBsRxfM+nKjHOxg/D3dc/GhDQaZSuHxniksDKra9WYHEF/
a8J1KdlC6SrVTdo6U79mN3hic4YWSGX93Yan9RQ7BdiY9D3UOMRQfAmuWlgvf8vKQkRa/kbz7utb
CasSaiWSjOOor4h6bOvVaD7GyWGQ9nPry+O9Tnm4bW/M7FpJ4eJp3lKJ36VXB0HuPKyh7pW6ht05
HNt9+m7JXmv5Q+FoxToL133vS9B6w21nUlR4XZyu4TrAUP9bm++1EjGYHw0bfWM4Im6Awc4KP7yp
+Q0X6Xas+bO0ElO/q9fUj2p6GNQJ2DVjlHqJ1hSzoKPPKGTBHK/51wiNGGwgFQeDLT6AsScJcUna
OFFZWJnSgxkdq/f6OV5DHI0fVfVGlhyl/qlTdlc9vbA1rJbhmrpLv8FIQXcB9p3OIgrUG/6rcsyK
bXzQPlDBUhcpvRzy1WSXw+70JtWb01tFmJX0AFm4XcCDO5FThRSsBfUoo6LTVHcy71SJGIib4CYf
70pAGW5BH+rK1LIs+/9M3UuW7p+QIFx4Xz+EtjXiIqq66KZSUBPr7534o0+e0KnbRnXohKPSg7Q1
HKF81bK7HOHmie5elj2HtRfDQlRlAm4PUnnbkhzStfIKfZkk/zC7l3B4zawUgQqdw/DKIvBHNnp2
15DrCHAmWF1V2NZ8veupzMltgRpzFLfaDzVHWuPG2n6YV8gJlV34A+xkWoOPRyTI+XBVxR4HC4Qq
2EiQncgKqtIXqlWVuhLLF1QNY7yz+rVeUH32pMDBuVG2/ohYUXUQB4boO75/7Zd2sXD9yWvT2e+z
mz2bJbM0sLIE68VS4/8TrJV5HQpH0N+h2vjj6anq3k6+Xr3VqAEl/DbRVO8H9razEnAWu1ZBuCRX
5H5YXiAFS6QiLkeUvwp9RMZU42kO6mNeHqxwFYepa1HWyF/n8diGKAx2mrHOTjsTWa4V7xYnibzq
4kdxfpckiKqj6grUG5akdGkJHok+jSIkUgZrGic6EXs+a9KUENiDukj2gShWqgwaTWdrjIQDacuI
1zV7xU7T6PetuBZIIVP4vwimdY5iM8vv1eagGe64GidEm8qzWTNfKf5QbVMkP2q8PTElzDifkgCq
jwb+S7kPQxzj8SFUt0by/v0veOnwxJqJ/EHRcK5Q6z97Y1ofBUaoMI2NxzS8T1DwNGCLtsJI6JvT
wwbN7keFhtoPNFBjvsmZYrWf+s8AHo3Dg+gIoMd1ljhDGDi01yRhXSDn/P4u/xg8zgeKrLHtFxcI
ELf79S6j7KSYRTZENyT6PhP1tIiv8SLrrtYt4rZcdSS6k9TSZy8/IaNuqG6iCqRHbPhmhAoL+4ff
KTZe1OFV/MCDZSQ2ylrF057U3A5+oG/KaM8id5Doyd/Q2hENO7hJfn3/IH+8uP88CHt39JGSblja
2TJuTVUQhvGyrZhsy0Kx6oSPmKYyGHrEFf1o6CvMHhNVPvgKW3PtcFqKni5nVjV1sK6c4CJKJNl6
umz3s6380UzVE1l+iFScqynlFz8PmJDyH3siipSzAd7UXZpovSEdrQrhwtJ7BsuGut8snPyVLZsS
umFpK4iPE9Yyd0CDP5ES5WoUZkK36B0do8fo8G7zhJQVBL92eA0zfUkAqxHqAWIBNQGch7ObnCMN
jpkiCsdS2ifKysoPU7CxlKe2xUO80U/3iK1PJL4uPCYfG8SS7GWr+rWe2TJUzn9bNgQAXQ3qH/8Q
V+I4C1AFyPrRoqiOoPkYtB/pYvpjuSmko0Fdjp68ZFs6TZmf339Yl7YjMDV4AyiGRCBoywL518zX
j4DdszgVjgJePY5Hg2NpB6thLdwNN1XskHogXHOUXFBxsZEHE8SwxPR2riRrADgLalm07JFTxItv
SjMyru6E7HPusEYIn98/48XBQ8scifOS/cEJ7eszZpYwVIOGmiUDXV+5c4XQw49TX6vdYXCVDma6
jcQBQWQXwz7zAsHOeq+VnCHxhJMjzNjJnYBPGHFpRmPQrmSSFNDDUE52S4FOrvv9Hf8ZzuefBL12
k7nVkKn1nv0qglKpWdaV0xFD6/Qkdzd1t0u746Acqx7i73tr+m3nRwTDB9spu5fVWxObcfrLRE4r
reTg3phuuoDoSicn2rZZFy1gnq01rOthLcdOFG9YU6uGwD63H33F/KnV60C6g1lcxl7crxXRJ+fS
RFFptAfk5zqyPoiZ9Nt67/tHNS8cnnnGRfkCyRHxy9kgFBpJFsZgqI/8QJtQqfcKpI8unFBWKTcE
32VC4Y+0Mo0kB9V1F6QTKvn8oUXYr/uKhZsgEm/UkNS7AEjFW9yB5y/EwxAnj7HIyeEU5UDYVLDV
I6dAyG3IUeWDpcMySW3ZNNw4gpVDaHSSepzYqTo4RTB5DXa+KUjdnNSLnK0ucrZ8SN3QmJkhAE1n
qntqRgw9oyOmv6NRwbX7VqgH6/QZQxQ+NMqT3qyIOgjg54PBJIeKLFVbOsk++YgV8U0Wmug4FPdz
9a4or7wZ8lcPef0p0mZbWoyiMK6DFjUQGMJmKPyOBT6lrSyh1hGndD1muH06fG79la/vklVTpyjK
jshgZadg9nW8aOYcBWExhzdGztScr6YlGxoqhNYcSGoHqEmBHzWzigw13RacI/OIUJTs8P2Xceko
zW1YCi0mpiaUaF9vo7UqIdJKJbgp3RFZ032XbCLRMWYyJr008stfCUKtR3p/sbg+2Xngmz1VUbsS
dtN4Re+4jLez8ahr+O6w/SFIAQ309Va6AqqfmcvY3to9gAEbsbFD0Oy1F7+s4ueXwZFBjYMpGQLR
2VjI+rrkIou7jjozbHObJcee/NOPq+XQ5d2dX4lT6FJwl0nsO6fRJRnhhUVj5I8d/Fvo6i6ncoe4
XxqF11iplw7b6IUVKAXUiw3lHFZAq7IS1JiXl9mwMkDGuJw4tqaNLkS/Uom7JAv5489EecJjQYv+
+kPJItvgQojNo5o8JOkOeYcVAdrh6EOpJxpEO9C1lWCx8jxK2bsZ37BntLWKfV4qkCPgFjlw3tO1
Y+alVZZ5fFHnQo7D5XK2Ag0D7Z9h5nXrd6QmjPbt4BNDaOPDurLjveQQNfiAoP6xdsjAab++AI4S
fQMxYrmS8r5EXqQ+WTp3hG3CbKqdwL1KJbkwgUOmBcu2bE016U829187CCk8laPA6His3R/y9nRn
bkfkhZK9einJgz6q/sP2+fuZ4dLGzcAopBJ2xKWtczVIynu26oxLIpT0za3szBAwHslM+TnQqLI/
2LA7v69cc3lxZyMGSiUbpSXj0oCv+PXFhjOyNFqW+aNhn+isy9hHcH7YA7AN1dfXkdtd+ymXj+Kf
Ky6G36XqKennGmvVbAEDaPyUzAahc2hsohZs1jsnIX3o+6eTL8wH7IMliKzo2IkfOnu6PpjVrCZ9
jDGqO8md/Jl41V3oc6x1BOflZ74NPbhILu483OC7/8OjUt1ljlCXlwtX52y/k5KbMAtCmT/i3nDp
hL8VzvvsdJvxIK6tK896YTAukjH6wYaFlYF/+vpLSlIQSTo1FD5YAmT8t4AgF2dgNr/mab8wGLkS
WU4MD1rJkE6/XglSn1lHSpbBPMDJ+fyWefP6FjPAT7b0K8H9+P5HvHw5A5HhcpyRgcd9vVzX9Zk6
lVHGJ4qtZ/WI02XFzgX+OHrY1fPdlcv9u1otJXmqygj9qHmfL4py3KlxKcSE5uleL3NWORTsTHil
4TYa/Id2eL1ywX+HoCou75LKF5GFlE+/Pl+dI7ExlT9fieg0Tnao1yiM3QB0xDOMMzu8UsRW/h2B
XJB1i79R5MDM+vWCU9PpQniq9SNazSr8LdAYVLrPPsLnbFkPOVHO4dxjZYdFaEkrKXnMDYTFWH8B
Iub522lcleyTQmjWAILzOlnHp+eoy/cqhJU/ySQ1HJLxMyTRnrgS/DJOMySEsF1DNl6otyFAolYD
BYO5EUHS1wcR6U8l2Go4TAq+JZDWoz2H7HWrZzmm1uxN+BSaYz3d9C15vK9FttdNJP/ROrjWv/6T
CvF1UuNOONIsv5/OXHr2G6aWNqoFIbwUMnKOesQrB7Yg3BXtXhF+FijPOwxg6NfT9KYdKbZ1P6Yc
79dIyVL4qCS3iZDrG6KrNx3Vo5simhA7QkEa7oVyP3J8TCK/ln9c+fIufQjKkorKNkHktHL2/jp4
iGO7fHkLiDHyCibFkz87OMBcYzP973s2vCOsF8tGEEz2eb8rN8Ipa7s0e1wgKQjX2G4a3oCX/X+A
SLn0ZOzwWdL4yk1J1r5+GYkhtP2QhALCymw7ttuwzIlLgpVSHavh0E73MVKfMbXBjE5pZNf6x8nQ
7PDkS8pnbcX8B9QuQxHKcM7SdHpUi4eh/YgVDHzzD0XcNpTRpXZTW5kzkTnJNnpjUhPPSVGXDbdK
3wyRLWi6mchKm4lwndrQ/v7HU4xld37+zZEFh0sJZuoiZfz6jLmRADMbGZ5kGW4pMDmzv/h1JJRD
/mlryfjNnRPegVsekkiQxnTHfpW+liFKGzf9wG1SzU5gujxqd8TCBQrouCThSQCmdui1Qcoooj3/
ip50PlVm3af0JgAL+6u5m3fAWNexr6y7Ywho27q/zXfGMSSFXLBLbBW3+P4bh6TBg3o72sBnPGlH
zsRGgehxekX95VZbyU5Zh9HVOSJKI2dGB+YkXuZlzovk5bZFuiQ+UT87lPQWd/qeXqcMuuhH1tvK
aiwd64nkR8wWk5u5qPFsekIHZdv4rUdVzTaPpfPTUbbWSrZPNhFx+Dud/qVdNy5Vbv8p8lvyyV7F
+3hVOjgxH9NjbpPVTToaHaDlfBKupc9yRbqJbzykFEeBPcJF3eXeMjqERyy7s538SI8nu/J/FzvL
5ULvyl3vsVVrth+UB52ZrU29Vt1kI76fbBb9V+FRe43Y6Bgf8QFMut9tWjY+xq2yOXkUBDNfc5p+
cXHQRlyKrpP9St/LPqZP/SH0LLd8N71hF8J/E1xtY7k46wtneElwlBIy/pT4ssv/WLajB/5SYWCS
6YjK2cU6vO1+zHedW216brldaHfzavoh3tS/i43odje/dTZDOmcJH3mjI/ms7avaNcEoMTJWnPU3
1Xq6i17mV/MeqggPkzyotNF4GFc/gA3dBD7f1COZBhg2ws2St5Zuw93sxUeptoU7HCoA3MYV+ZIr
tgqsb/QUfJlwtc6mErMZ0ajYxTMMQJcCgNezl6A6CfzL692dzDSBHNBDpoj2rtzXfnhgnkXD5lof
iJeGu3j1MGzQLbmYb38xCL0ohL1kbDrn+5Fn/HtsJszhr4F3tqscVGWexbRUjl1jt6Xd1t7JdKTW
6akygsRw+35jdn4rrI3cb9DGgj4BLIbrGP9s5wWF2+SE8ILKh+zjGT0WZ5KafDBAiexTdih5ga1n
6au0XGfCfSHT+nRE3S91hKgboBH4uimm5DIwiDWm1Rk/8v5UrVXrAC4Sw78mell+E9WHUTdR/hxm
hNyBZFds8NFxaj7RcWLvhJqrl9tKW/G6OFEpdm3SrV7rUNrS5W57skEZ39pWb65MXerFmctgM7fA
3Bfw89eZq0+STJTGOLuJu4fWJAa3tzlGshw+x9O7DAgjM/YGUDakBaeCOLaXYcr8Utsm40NZrNAy
ZcZKEW/y3CUBIMWsHWFbXA9E6EJoEW7L4G7ErGj6tbAerW2t3huiL+rbUD/m9VOgbQLtpqQxqLuB
srGi907YidYVoIy2PMP57MzReHFyGAonuuUd/HV+zGpBqOY6YpPltLRntuWt4govcNpeordqVd+I
h2jXPpq/lcjWt8Oz7I0PywqM7HVlLNCjO2IdHNLQWI1lf2g28X1+rzhELrLvxcFtMPaNVxCvmKMc
/OQiY76FG+rWq2sb4n8PUVSpZBD/Mox2kxLO1yepC07mSTsthyiZqcXR/E+EJntrW26vXerfQzdQ
Onb61FRIgyE15OuluqpOKoLaT8eSZK9CsnO3uasHegU7Nd8HJdIBOyeENHWsV3FBD+xVbV1m1zAv
knrpkf++j7PtnBGmLcQNuvaWseoyTyRfIiD7GE2kEwL1tdZWsi9R+hHHmd3MD0nkYIFBHB4OfoDq
jJLsr9RPIQFCdKDATJm3XqmtH36MmVPXHsgbCqy5ZIuae8LU3qE0oxKMEtszYlpDjqm62R51WoOt
D/QQaZ+xwwCBHVEItslZdXBmjrEDFisf6AJdetq040y899rS/UL0y3Gdjl5+X1irWt6aqlfDexM8
QUR67c2G00E54kqsL0AhHqs74xczSvNJ26qnP4Dj3rBRSbA/YtooaK3bAQmhf5qCMAxw36C4+UlR
cvwMBDYWPvlfQuyGqRf9khA8prB13UxwgCt29So4ufh86SR2pStGXvJe0WKc3WGyx8ehsTNSqeLN
XG8SfSeUhznxQShylUh24P3AIEgXZaqTyV7dXavF/tujWr43ukTLER2T6lm7V1H6NAzbjN+QipL5
BNJHYmAJIfQIBI1roX3BAZ4gx8p3KrDeJl6J1VoY38xuJYkePudGPDLrz9FRz9ffrzLKpUmSxihj
Dy0B/eizSVLvklkqIl0/ConsVfnsWJnup/S/85KGYhPsiVH0Rwld4KjflAnDohR/CTqQGyMyQTpE
yUbvlY/oFD5YnY7sJ8GJ9xmN4SarioeQrmpp9nud/1o/D5rXBblnFfhLwpDlQYfY2cEhpdhvxjqL
LrwOtb0txWthNpdGPH4j5kn0CQiHzkokhhZCHie/7aa2tngWE8sV1EMn082ARfH9G73Qk1HFv651
XtKT4adLvanXoB7Y1cU4ZSPYqhNuiOhQC48FjRBZjDYlN9CoZJnzhuAzDchKew1fBRUHWfNNupaD
cgAklMzI3mhFC9LTxBAeqRV0LeHr+B0aoCSC+FGah4BcmkT6jMxNiDngZ4kPr7ZI3K7pfQ6Ch5fh
mGKjAwFhK9h048Gf0c/iGXhQaYhI+V0aEpBDOHOMBhPHqAHUxNAbx2qZiHuZicPLkT7Jsb4Lo8+m
1Nwk1XciFl8iJx6CaSTsSDqkmXg3IJ2pcj9V8P31hXvCITHmI0oBOtQVSW+gRjRrJGdBWhnlE42e
Ka/87D0nD0hMNnKqYpm/plD5U7j+71WSEqAKrYe9FGd3XadZdrZK1uXYVZHajo+A8aXGS60ltrIP
vdzvfw2gZ6xHVbslF6w2HpryEKt+jn06+SXdxffDw1z4meQ15mNUe3BdSEYN1krssbRn0WPbXRmQ
f8pa/9wrqwIkp8XydH6mJLRgEGqjGh/NN/VO3Arwgppd6yZrTGsbzTbxEU8cX3rbvMmI3Rs8zl7u
aUPj+8l87Lcnt1qVHi/XAVbvQU3zYy/y1TXCtANMmZXsxmvZbTnIAE5wv//0/yyc/947uxCc1lRL
/hQP/9qN1LliDKxq46P24LKDRkwDHWm8hbJTfbY33U9E0xFgGcD1L+XN+DjudLfcJdv2YXxB+nqT
/Qdp77WkONN0bR8REUj43ZI3IAHC7hDQgPBO+KP/rmTu9396mI5m4x+mx7RBUlVW2pUr3ULv1np0
gcWOVupSMh5fNBVs43wCYxD9eu7Wq9BcXg0qzrNbmqVw42eesLwnpc76C0NxOSv9jISrYsbsgJp7
nPz+gHrtb0XyR5IYXpBnpi7Aq+I/2Mdqcf943u/5hHAec9UofTGqPNeGJGBpYZLrI2qmnt5e1u/B
1j146fwUpgFzNo+ZcaObrlOEdzDaW0D0lj2mM0DjtDeX9t2pxaPZxjvZT/vROsye01WSTopN8D8N
JieapbOpw+C9hSQp8+/9SsG4g1ey0wC4NDMZ+yUCVqsUVpuMrVqSlV03aWstn9Rhms33rUP0XFhg
Fulo6z5mRYactDbTQ6SFjADp7KKCrdfTxqX1nOA6ot/ppy2HIEyIzuhYdfaMpIZDf3oNGf5pb92s
Qxfjpr07msUj7B1POzdSKVZdvLZFcuPBmYmwVzH+xX2aNy4NLai10ia+QVIIrpMTAIB62RjVF3HJ
3c4gS3bQFPa2c/W1PLSlTF5YRRlElnToA/+CMqHWWhpgCXvXiTY8l/3qpak5aSLZIyB3TJWzC/7B
xY2/jjfjS3jGVYUm2rmBz1/BO/Ds7+oFC17Hdr4/wiMg9u5TNjbap2CnoMzrZNAOtZZfN7M2Ln5l
9tV6cIoghJg8/SzM+YeMw0NzOyTGXG9XX7m7DCKnu0YFatHEmDm3eAQTiZU6dDjBZG9umqNgldop
9BOZGvV3lmAAGVK/MlbDR7vYgwsqhB47r2pMGO89Z4/k1NHqCPZeHb1dc+sdE6j3LH14qm9j3S1F
q+HVvp0J1Q/jml8Glj87Nc5dYDYQOW2ArhGbAk/+XdJfoL2/jzIFDeA9qM0KybR36oLrbnnQjkf9
kmCmdmY6WbH27tns92XS+d3UjZyajDJ64Y1rsmYAx3k9eTyGu2PN31ZMENIjPOfnI1qfzDbUFdnX
pLYNtnq3VjG+mDqr2Ddy6w9me+bNp1UmC7JyC9ZRTsJFHWaXgrFxweFD4HIEqxuQkyALA3LDhL2f
3Oez2Ri3wb7uGZeEWIbVEz2KakmU6nVvzWdmXuH8Tru/r4lECEQGb6tCuVdnrHa5pEse/e/IYVs7
ZXTCPIvJurF2KwwwWc/P/XV3P9e+0qpxWJJwfFjXkHZGHyyGm9YJxCE1BxLqXYNd79mqNcrNUUev
Exp6VZT3OazYV/cUMJDKqLmYJrMa63GplXYOPTIjTWYi1csOdKBGKTqHV7vcOYVVLx+f/UJDS5UW
bBun/nKeOfl4FW3DXGPfOfq7Ntr16zk9uqV4keiNw2v8AGk1pzgYhSUozEeD6iDXWM+WlhbRBb0M
Dj143txFnDa0eDsptrTBunsN8+NC9OyvQqa+dtJ6LdrFqxjKk849rJrLBo+7dJ9Qw9Ek2UrraYdE
pF+tX0N5oHVn2ym4WqDXb36eyk3FPpjaYBvU2tW4bK28c6iFmpsOR9NF+9KkE7rSuvrnoOzp/irc
d0f1ZzQaAql5OLkAGvrhuc9iJZqre5tA/7oGi+g4K/qFaOfdWi9CbJun9jSz1tC9SqvoUdmo3+Jt
fAsv/ZK/aByskp93dTt1sJT+IUr9oiddxVatBXIdwhN/72Y+Cjg8RFtfhjVcg3NwsC7h3rkHZLN6
h0mltettoKaPkmTWarWcVo0sovIYXaE0NZnAWKdISck43KtNn6YaQlhEsntrAGMOUVCkH7fGLIKH
VsGdbRi0LJCb6g6Hw4lNUo5vm6XKPqo92hzCbNXndw6REpbdjUlFSibnPlWyMqOoz5BB8lcX3qJi
5hLmFg4WzsIpW2XYwfd87PosnZtzb/7RyqyjdbXhemhmJLlkSm/GHcvbLtG9jDbkdXGWpCX3xsKu
mikpgiVPdFQlG4I/gyQ61T75yat5NrvUCXi6fk1FHqVGyPMAP0ipswrNzdYYUaIHhWik1sJ8qsle
9e9k4vfq4OUNWRX56XwLGgazRD197xbU7utiwK3ndDH2qj8cHhVLnKkk4VlT5aH/Z95TDaMKj8yM
SHVT/aDPAhA9Ut1FbSqP8VKy2GmdD9UHmGUXnQtTiB/Wk3o6aWm14GkJM42ZrPP1tZBLlmFCsQ+N
xpBWNWzd+UKZtxnZ59dujcxFmw+z1hqRQ94ahZbsoTzYwl6Y50A+tzZiSOaV8PHI3+BiedHxRWm7
AE7jAGHVYKd6V3KhV9UbpEbVBUXayJsnFaYqyYyEGQj+0tdcGYPylH1hJ2jEYVLyH4mB+dh87Yw5
c2ZL0Z8b9TVrpVYyi+OvuOfsFMNzxwfVGNwN+MOYpFLjdUVcWrK3GR9PNZt9fTG8+go5aByK+j2T
/ebOZBCXbo8UzSVq0ItncdgYbyBnlBs8qPHDvL1emjEeqfF4pYhUTQbMG6GzdNhyc8mSwzduzmTX
5UZZ4i+Z7QyqVjX8hu9ziNXCOjgPtWMkEJSzvEqM1mBWUVChbnzh64bfaAxCjByvL0jgeEQGuBpQ
9/I+3Jjvt31354BGM1Nz3l6ozt7sdLb2gnsaVNUVC19WF1N+pkTZthd7iaYSQOWso+yqcpDTgxW3
cmqI3MpS0/HFjV/VF1fs4QQo2j7UMebJyevvjKncWDFVI9LhS1MSXyuXdnO+Kq+DQfTgbBz6tqwV
jnSF7rgHB9uDL9e7uCOLodl8kbEEuHdL/v7zf/nczqF+4cqCkK61KJw38/gyvKEaDzaqNJQdlI+j
ycx2/+mX7ZH79FMPSGFURnS7uebau4Sr5mb2bFaa0ElGdKkWkhrOQi6uxUS0eotUdTGqDPdfzOpc
KXF8lurQ3cfFYNc62jCvUIi4hafxLcm7zNUOaPlrb9uL4cPLQYWk1Y/tdVRt4AjBgo29hSpypTAn
g330sFMPBu3WorUKqtE61uor/9Q5tIA+qm10ao6iRffk7zo6XvpZOGxOnUdPj/JQvOshnYgzWAbA
SWxV1rvXNy65NppXDv4C1s0Jn+XutQF+cpPRye7W5r3rq9lhRoMuFJkj42xj0vyVW3GQnrbuVkKW
vFcYrCe1sBKOepfAfcZ66xPF2Ks6/o/hB8+HK0TTCIXFvw3/7VwZpbvqDcOPiur2N14FpbFXUNjx
91K1UB1y1izGgiFvX0gVH8LcBTL2pRc0B/eYyUY7ozky5k3aHtTNnT8g8ZzPL2r6Ccqk/50YlkCF
AZTMS6VKTGKn+EIBfQvFSqdbTrts7sVkP7/2tWjZuPeL1tr3ajYBelAIHvXacJuU3S1lrU2j4Fz9
Y5hyCqwPPtOn+3grH27u2/36KfdRiKr15Xjf0PA0cA7CCzUkDoh/jD9xvhT+DdJ4dtJsRQJ+mXn4
lu3JNgcGPV5XXFNBJciGYVGihTERAyCqcGFivONBj/kT5mDQaHTYGGZO3VRz+onhvPB37u+/ffjf
vZTfit+rtHq433XupdvvykBEeyLGNnn9maGcRFyw+2tjBraFG8krqmtrFIRwFP6+F0XJJ78L8bd1
Kb/lvRnNmVueM+5FzHCwVfWnjTvPIC7+3WUujWr2k2SFK4LxVkg0loa0knc3iJcGg/Clytvz5od0
fPFHEfm2RO9nq6QxKuvGbfWHUYRqpkfspZzxc+Q4iZauco6+YhkR3/DbnXbTnY+MabdsTZl+o0gy
O82a+eG2Xqvx22q9ZW2z2y1/1g/cFoBlXhSOeAHQ4RWxPC25Ny9ZGBiaje04eAEdX7Q4ul35jfGg
F8YxRpHvw41JMNIH5fOLKbelgdiW6e+7++qB/+1+36oJ6+y6PNKNgKSdcdLEWdsjbzX8JpF5zKCb
qrXTWqohro58MVWxmNtYHAVZ860j1jL10yag7r0j940/KssvZrLMFjiO1eC4tB9qznl5qOmUDeiK
LsNCguLbMTiY4jOg7zr5Ggz1H1vd6HQOhrsxPuzQz2eLLlDwF/SP04Lxt1JerZ5rvbavFpI+dJSm
eJaI9Y0nS2azWfyFxm0xdLQFAWLLn5PrtZdmu/lh2V8Vtn+W/dtNvB2qU7babcAHFThU3b2qD6MJ
RMhqVnu50CIj+Iwz/MdZC7/EcfT2YIyyyZmibyD9onZc8qrWtIQ3/AkZ+POB/3Zvbydrm220/BFU
cRLhR8smQ2r7+nsWO2vDmRHA6PgcYeiwrX6j3WGVpi7+fSCu+VR883tc+5DhfCXb/10x+jLYNHpY
9LdsLLQrh8d1VGDbKghnhJfPEp3drRGGaGN8TjapGRRUEMjp/v2U/F3ueKnjEpNfdAp/zBCgL+Bv
kYEa9XIZ3ZelBOKN3NcpAD9Ttn+/xBtE8s81MLugtJgMQB707fnSU7mQ6vlcMdEJBohjCs29V472
4dLO3E/NoD89z/drvZvX43VdKd/lWs4zzHtH7/Zhtz5d4C3jUco9Cvf8hQsU/as3IqjJxb8v198w
h39X681Yl7ajzSM9LEpMlGFAhU2qIST0oB79+2XkPt+ErvRtod5BfOnpuLk8njzHw3/MV+1l8rXy
n5+cnR/SQ0yXpruYaTV6jRa+v6XrvLkz37JUKib3PvFtf+9DK9WtflXdTy6OLlrln8eheRlnVATt
3a14nvYjtqWCe4eGP5IjOKqW57SccNAYEyvN593fl0/7wUjzaP+74JuaoyFNyx3xjROC9JKatESb
OIRNRHft/7/XelvGfPl61Xc3rhWgUHMKttbZVWH5yZZ/spo/+cl/Pdebla/tb/nC6iHXIqGJQYcA
DB2J3Z6FDfHXg24wwC37ZDZe8vbbBr5Za3CD2Tm3rsHsExa8S/1EgqBiEJfB7v/7zhV+Fsr/7dyb
yns+7qXrejVi5yTxRKM+qZwMy9hqkU5wek5oSZze8dvNoPnJ/X3Dzv53ur+JjaiXb2HI5vQ4aieR
U5zwSYTf5M3IVow783nwwRt4Y/n991JvqvCRrrf6jXx20kds9ipKWggouRhwetNP26eLCP62fW9q
MX96XuD7YVFJROF9iGs4RHyIK3qDAZmYceeDHv7Jav4lqG968riurfXdjisWnf4UEy3BRJ24Zim/
n1j2mADCupkNfrOh7faH9f3REBSBYlP5ooyefzso2nl72Be35WKSzZetuwvUcW//LqlvEPz/dvDb
Jd7PxPlRyaeQUCVEJeJqJ63ZjAJLG0/p9yt9epa3I1F77HfXO3NdCEqZbLhLcg+j2v/9Ej/qy2/P
8ib4j1HlmW3yXKI43JF0XrV+f/u3vrD/WytaFcq06NP19vYIBe1aGj3WWjHZxbuExDcpMzAaFpUj
BYLrw3r9rP25yv9d7e1p1tm5lF9suRo6ZDjkGJN5JCdHBPD7Y/3oDHy7ztsZTmlOWm+gekzO5sgv
k1IuWDQPf2pH+iE/IJ7Z//c0b4d3Wz6dF9uRXkyWrZJ7DfbJxll96Ev/dIm307osLe/HVS4vbtO2
sYr23sXLf9AIH9aq+B79aJvRdbtirUiot24WWWSAwDX/U7fjp8u8Gf4t+MoieB8Wa0x93rySoazM
K3HJ/H3nf1wwRpNAHwKjoFZ7exqmFt4rxd2jmJym64CZO8DB3OoHU/jpGm+PUqoc0sKzwDUuFoQK
wMKbpfGnjr4fl+vbc4jh+GbwdqsdhFG0aSSXLkwx9I8nK/ojyTn5j8nvK/aTuiwzQoQ1o/kMdOTb
obxcK9mqcD0Wk1xUCXR/HQDlyTqaM4qoqc5gBTqr0YcVfGsRfamdv64pS/zt8U63FY3Ylb0c0JNX
ME8LpXNOAfMDmGGiuOav29pgY2UeuUTyzIPfH1kO5pvV/evqbwf3zuyHrPA8ICShpFphVTZOzqcQ
8SffmuCUAq80gtLg+7au2mixu+UrGVcx7/aFShyJQ6nItGIpTJAK020KGgqr1P398T5e+W11R4DB
HvvtWbylYDghTUgFg+lMaPYQH/TBqzn9mCr+wVL99bhvi0pry3qTK/G423EZ+hb1SU5f8fw/u/Zt
PeXIfJOZ0nb/0CpLnorQQVylIeNMWVDJSeFnU5CS1FiVQo48IiUiNf2wrj+Zr++P+N7yWiDZsMxd
eUTxK8Q5lKw97SpmjrIg+ZoDsMcP1/ywqu+8rNpBX9+zHJfMfeUHh3Hlg6H89PZvaiZ/XoxG+drr
7SlFltWnqEFk/Jc9e2coAgDxuAMRLCb57j2oGBWf6am/C/tPaZK/NuXN29te15dLScSiPC/08l9H
Cu7ZrFQ/5gy42fMfI5GiOKhvj8QcczpKa5pEq+8ZgINe26G3a/kEuP5SXXUmaY86QNvhjQiX7qE9
Wjl7v+jTlrBs7OHxAuHAWJfBqghqDu5OphV3tQRtlzc2ZRdKnSdFx3gP91bFKA9PzCqlOZ9Ok8li
Vhnsmjn/llTdUjcf3Ca1ZNHRe4vhcXJr8l3lYTqhK2jTz5+UDscQXFdY1b3SIFKBmW6cL6oSFOtA
oVYGg/ueFNcnd2bjlZiqgx6itgpimlLl0lhSLIN1BDpoGkhJ6vMZSOkohFJGrqoLFEAUUvPqSC8w
PZ8lY5mDKcjImJ0L4Rot2BdnQWMyZzBVkN7l+3u4jihfT3SYpqE6Y37600trTun09VjQPEPhGQg6
c3RgcRhe7NLWOm9g5FLgnCrgzzMjY4AxI/O4E1O/0t2msvg022vG7u7DVfe7/BQqP5wBhmdBU1AE
XA1C6c1luG5W1cMqv9TEKZWXHOwJFBZq2CcLHPSHhBFDGzBZNNENyYInx3pC1XypvCinoiGlYNLz
Um72kijiey8WQWNrBt7gK54RQX6RRpaMqZRDJN9Bklw1twJOSBa2R94SLgJRzo4jmdUJb0HGklqK
3EpUZ5aGcvh5vkL9KQGikGwNchmTOxycOd62RVZDIAGgA1qvIhDf6bViSVcvSbi3nCc+iuOEjkOm
9k5S+/VP0tkzssmMAQpjkgbkFyXfTBTIA7ZIfB/NJZaK758xaIMbP6sZJ8qY3d3Wn0T+FoNCedIB
OrBRFu8Jxzg9c4+42L7yKF/OV+8PiIE4llwSuY8AKj5jjh/u+ycHeaPI4XcKRoevzefzhbWM5oz0
EYPYnF5UyexO51My3OS4XT7HPErropojC9vV7Ap+Aw5FXnxumtpNqeTM25JGajfnQAPMS1DxRi3Q
y1J5L8JwadGI4cktTDEN1Bu6gq65qTZ5rpXFmZELU4ng6m2YC6iw1swbYNGNWJJ581Mm7KdyFWVV
JrfRTU1bc/5N9WaAidc30SPPL2at5zRF59KBrjiYtvu5r0K4AHlIJy4nklkkmZHejUdObalxVxWA
oyKEYRUrXzLK0CBtjCUc9yyZ//CO7UewYpavMQJreDMoilNyZygkkx3PM6HJ6y0ZNAmN+KeD9JN9
liFteZgcAa5TNf7bPj9S8OQa7cZJSoum//DLThmf7uJkdemsrCb3Zq2zDHP1OG9nHq12Pnth1eLa
NPsQNP1U0PnrTt6WVnuUK6Piljs59LP5rQt/+rDCnIHUuDBOJaVdw3hmRoG+wRstp0DfjdPIuMAa
N2XoabF/ah6KLyrYzFizVAfrVmIyqcVsoAyo082ofuowewXZbyalyhDYcoUIHHbsVwvfN8/meapp
++qoiiiAQ1u2Fkmuf2uUgru7nqVN8GkDSER3eVWol6A+m67OooxB7e3cO5BHbbZubxhfRO42M6CP
PE50kBtkkg7q+sFvZoTFv8avCiOW8GdDOQCk8+89vpcWxdxxp2nJIqn1tfBSvzmnZNt6jDfezilY
BfAqheT6VQW+jG8LhtgtN7Y9INmTaus5KDZOya2VDbdDWBgvMw2TsjaLSHXn7j4naZ0pLlHxaxTp
gKIxEpkqzZdJORq5lBT91IXqP0D0mdvYyr4W3a23adExa9SCdXB0bnYWXpJLXJ7kmFO2i25OIdhF
Vdpj98kjxIyU5gsXwlBbvhHgt3OfQ0qdYwpIH0gI0DH/4VSHF6CAmVW1Nu4CtG7OTRu6U21UBtkk
65Z9GLsaOY9JjrQ/JB/M0A8BH53fEAQw8RDv4p03YllhmNIx22mStJKXGKAJuLIJyK4kaQl+zYlD
oFaDcacD2yH6Sl648vLr95t5xfzvAgkPqwSDZUh83pvorqdnWrhWuBlQd9xPX3f6RcaOTZK9odD3
DlalJcgoGRKN5elU7Q4NAYI72BkfS6P6C2jxz+1QoICyQCOdVhMv89v5WFxrp1RfZ1qy7ZJq6UNa
SA9bGat0NG54Do3nhCO9hruLQ+7s64fJsr6dXTrLRnW4pPv2a9mrebRvwmLcWwMilsr1k+x1JJw1
mHlmm5uTkQ+ED7BihDE+mjGoTFYfJnbZhtdv7D1AYaO1N2atOMbmAWtwwIw1QgcqJdbmUb84E5yC
teXhnIHmwVN4Bq+/LnVIzEy+GIn/QDqy9eTNQD3KtlLRxVo6Vugwd6/3AgABUzwa1FrFjYhnFcNR
UjzAtgFY+xPA8S//RDEjpNjZoZTutwVOpvMCG3Ay+PLJ8DudxmBAIrnhA7jjBzvtDv8ULB1p+vbC
mrfHgsoT4J5u1xyA4PaOCIqxg14aC6APy31SnWN8aNLeHaBc8HMZxMJQmZRsRErXrfRwDrP2pvO7
BNJN9YOm0b7t+Vs4uXksMkqSJ87DZO3mlBaS9k8m9bwRVDD88loBfigB0pca88aYt6VRPX3hAANS
6eTTh8M6HhNR955p5qw7W83/h3DnGzT2WUuLFeaP/+CbbD9DsLkU/QhLVAetabWKSuGTU7DW1YBd
RvQ83Cl8XGhhNeAVvrB4mLrWtnkCybcy7idjqZnrErNuDD01czQlFA23lBobnzleFzpPplp3BQ35
wzjMcXlJFxfmeSgN0dSM8o4OM1BsjP4GicuARXA0e2utTnbphT4qqYfBUayLQFYA99ZeeFqo2ACP
CWghaLICpghJJ6+IPfoAGwWBmAdn+VBru70zcGkAPnoSHNPMDooBx+ammEf3waWGveynzaOXGHpJ
vVwtvcdIi0olt0lLd9EfR45a3loYBOsgZzODuRiR8BpF+M46eNk7ABPdACPOvySg/vOCTATQgITX
gjKGhlSqE2wbniwZG7YutVbtvQO3FVhRCv8hyRQRXOCyIGRevvCXoF4FLrs0nJgKY1VlHhPBSbzc
TAi4Pfn2MbU50VmsTWoywVRcRmRpRPPH7fVpWSlEHwIDWccTpAa0zBGWXJsrJJ8jhc8o+JXfpf8F
H3hXeDLUQ1ju8iV6zf5WePnF/nhblUd50F5SmCUeQVRTyyY0qKOO96hfsFQ9J/aQ78QJe6HUakIQ
VmN/jiyczaDdbI8ttylH4sPdvdHHvJJ3UCnB/UVrGeiH6pujt1kcN6fnqJInvST3FnT7HDSCGQqB
jrj8F/MFUgLd03Q/ytZPfvNfV39z7jYlff/INjhLJjzLiAgXP6o+jj9w7frDqAsYhC4iBAeoeajZ
D0uwSyiPBFV7V4gdXZLWBGUsZpYaxF31emGoUcKk8C3RksRagm/msyBkTWQn33/h+xqQbmyAov7B
XgJceqi2SFs4ID4QPFmz3Vh7jea8SfxGNCk2vNtEGQ3ZtZHRLHhg41DNYfgV8q5We/5ha7S8rP0/
klOmskZ3YpUueFGr30xlejtcjvnjRktqBSObr/qnHhT/m8wYMbkIeoWdsQJJzvw13dysDR3NTzwO
xzdjlRlJm17IywuE6+5KIPnCNP+BohNcDl6gmhEAZwF5jzMPXo6UYO7EnwVKBofG0xrvWkxcMK7A
vQWwPpa2HL/Dn2Fq6BwgXpFAvAAyVF4QZ0FuV9Hg8qfoPYbH0c4EQLcSazlVikvxEuZ8Stu/H7B/
HRyodnTSRiU8LuYqvb7+bZkOy/vhpC20S5If1qLgYpXat/mCqbfeKWFWwjoohcWiAk6PJGxMgq5R
vAkWDcxjYz99dqHff0IfNgYODRVLFjKZaQMCdjTZoZfj32/1jWee0/a6VRjmCWlgE3xvFVzm6Ljd
Xa+XJFh3y3UdExQeSTgIpU2BrjbjoBnwkTaWYVE3Lv0C+Za96hwape7enN+AP13DUh+rhT6NK+HF
z3qPoBYyDuD32/wDefpL8rhPSPJwYGGQALfyJnnH8+KWlS7bSwJ8TaCBfMCMwpJmjapfNNZyHPZ+
ZjAA8L/XCl2+ogHinld3WsDt+6vfA372l1rpd8W8T6eFGCP1OkwkTCbSF7ChMfHIORVrcKtDu/96
7Wk62Rp4p3FMF0HE5QPJE99oFuEESsuJaIRJMpNEyUbgirMWOuF2UeFAA5fKZy92GfUlL5F3HDvS
GncaAhB9voXWgsNLN4g1GeAX6diOrdlpB3V53gCwW1PQZn3pt9H9szm80ufWD4JpQ/z2xsMUAVK4
jL3Bns+cLWs3zMPSc4Bj5ibtPNHD7/enBX9EBbZRMDQDr3o8DlFEl7aO5YLQx1+b4L2nO/IkKBmW
5U8uvMYDijqbBs3MBRU+MqrWniwSzLokSn7f6tI/Sd3XTpeJDip54Z9/2+lCZVPZ5Vbs9IKR67qv
RWdxjZMkoqS77MAHF0JXGJdRq6Sc8GfJITlOjyemU0RyPc3mfGWBX22//I+b8sVv+ch4+k9A9XaX
kvb7dsS1eynLFhA4k6fNG97LS6DejD99ovfEbadm8xPJVeWlXf89A/9bmbdApfK8n9Nlbn+hllpS
56+b0c9FT3s41Mj9jeIUr2Vv4G9GuKFYcsQSW91FvDdGapP4WkYHo+k2gc+wRHhzBwcg+ckMyPnR
aeIsZI3Fb4oeFh4gwSGtTGJqEDneDldgsrOX0JBIN1aGcySGjEGCpgBKktZkz+XEvRKR0R3kEvMl
DSgLlgM/5qagM6BTd4SH6sr5Wpna5NWJI+cZ50zykWRE+zjh4nYsokXE43AMC8HrKNO0I7nSPzIJ
gHUPadatvvXhReFm8L9pSzo6shNyg2JnK9bVZ0AbUPE+mgIv9m4/fDkIAnLnrSR4sul9a63A3S8h
qSvg9fNHk1iOYRq2tPyY3YMZSBNZpAlIGuNFjxL50giHfgIMnOewaUOjNSqrb6ILaXhTCyC2U1d3
51bqA0ImcQIfwK7pARqTreSMOrwT4VfKN5O+Qr/I24plJLXZk64i1aOjqLE2wgMdTkwsUw/zCgBK
nMremswrnu8TTqonOVrxgYct0q/xyGyB6xmPD3gAMcDoaCIdf2CMew4+RGPAkRFzG9OUpVpRH4ef
EIZHoJsq7oWbbq7eQ+PzErcYdmKjpPqAbO2FYeNSG5FHnU+efk9aVHah21+A4Ol2bc0uiWFPkpxC
Givq0tzZJIO9icgKPyQiIlso2hVfmhYqh0ZDvoMwX2TP25hRwawFxFJyxyIakpLgPL1yz1/SgCZh
Mr6pRGYA6smyitsDXyrXFUlMOBOVeCptW0/7bgurnjOTH5xQOnt1r8HAhgRJjH1kbSQ0O7STXVCq
X40Rm4O61V0ZCL82X3lyTzoMNL5P2jFE1EBLk4wetUkNsA/wwhG+apR25SUNXWWWNrOlF+F6Ur3M
7IXZ1tDNbbyfjvfx6anyYeYd44VbKiujHkyb44If0mNHhNmp5oz7EPr/k7OyYKMw5tMA7FRm+cxf
v4OVIfSe4Ft5GT2SZ+Q4s/pBFz+wY229Mh1TVFGgKiPncDfr7Gm/LvvWbAb+GC+J2HyFTiIQUViW
u7MzcG0Dktk49aSmc0QcD7foHpxicKofjIODgpg2iVmkfNxuM3rUIZsKqXwg4UotdR8lJ59X5tw3
TkwWsglhgjRCUdDeTz2jD9oLxVHHNyCVjtpxcUnbc1fS7k1sZjfgk3T387Exct6GXrkarxQeOXzY
T0XVQr70T0XtTVO/latr1f09fYg9CdBhknFibab1SOJ0zjT2Hukk/CMB0Hw9MneLFVnTPsCdeacw
Gk6kEYaMyR4Nkw7vfL8IKmO2jWQSaXAQ0MQnyp8sS48emTjEBvfuRvzSVvjm8nrQ5okZ5zy8vjPm
RD4NOdNXzBbQdofgYUF2SJI26BMyX3/KJVg9Mf9Uo23gkHfXi5JhdFSq6o1iacIU4ZfDR7VFmj0i
jom8/lwUV6HbDUo2szmuS6WTrL57E7ySpeXIycNWMMtIRTyHlLr/e0neAgWxFSWVvL7lhWKQupDU
kihN8aM5VgNdjy/AJk+79OXQOcTiSgokOmAmpI7FYzhlrwZASnQb1R00Ed0xg1jKVU/FY4iu6Z/M
PnXJ9lKR9XJamZIQ6v40V3ZREchI/ou4KZnoVkbeS1Nq1UbVu5ryOKP7On1azjlY8LkUJbxBGW/p
+FygdA0nZ8EXsYB6MePWIUjrTLgmv19B7tm0a6pgrmD7sApmMmHlJPvRZ7n7/SaPFQRijqTpF10Z
BDiMUuR52VPgDUEA9w1ZFEo8baxXTW0t2UKTDB5pvFeeDVO8wJbZkugR4Nua+VeKsfVTpmAoemlJ
4LEQqDY4LardRQwtc4OKE6kJdqvs0+Qk6hDRlI59uTtpT34YF3QAwJYQxiull80Vd+0WGQVsH8he
dwClcxswOFNlyqtV8zGBfKpIBqlOqOMtoyXdvjS66GRvUqNJZuv1q+K9Ug0Sc0KB4yzNVdOkOYZy
WEpfKTmKQN6Q4V7Go0ej5CQXi7d444jA3YgQyL/mS7MJ3bnpzl3et9lFLF6GFmWABEupETdBZMGL
JqItLu6U7EEzmLLMF6tu373FdNSs62L+ESBLPBlxKB40qgegflFikhZBn5EZac8JitmGC6ZIPPoU
ZHTCsrOy9JFI2gD/talb5DpFGCd/DsRWLMi0S76R9AHedL0fFQ3Z8DNbWL+bw4CmLZxI8pJiqEVr
Sp6hyfNNecOLMT2hflFx/50vRPfJ8RPDLbkgkkKtSCwoUkYNtTXDaf2/C3dLJu+A/Lz6KKXj7+FD
ksPfkofSjRON57LD4mnLU0sP+7Z7t6+Ys5txNpn7iq+tRSW0/53PPYw5Pj+byUv+lJh43GnP29Vm
wDSbRp3DLykMWvfb7s5A/7IgzEExmog1eYI5UXLOK9Kd7pLTqHFFJFvceywPVzOeME8+cAR23Nef
0IbVxcizlpL9eBgP/26Li9ltUr8MOPzrRj9vsNV2NIlwTOr9sgMVx3CYSHoJS45PpDjeEekcApcI
JypnScf6TLp8ElFz8uQP7NzD2Hj519uz9yYjOOK7KWvCZ2F3kQUWwBPbxpMgdUsT8ksOQ944ezVg
htHKliCQSv8rt/fkHSpyo1WjK78kr6TTbY/A9HbQtRaCi8OzvdLlOd61TC2i5C4tqt43e00XOm4T
2fgeFDBVCusr7yWSprN20voXVKpXX1qh1x7q6iUK9AjNqt7r8WZA18uK2ORLfA6rtUUXrnlt0RFc
kVY2ugY9mIaRFqnOiwc+FP+dpJIIQ4WbkQcd3qxhHzrM0JHtDnnDuId0oe95CHF1t1x9z62SMMYH
udh817jmDJyVHYehRbwpGUlGxSjped+wB0+7Qp6q6nAZjtvTTJ39VzV8UnsBtoHm5XlJakbhlcLB
0eA8JoAIBFmGlM+SkfOS8RfzAcd0wgu5OKo629/vH6AMwKMchDGLQD0kaknPe68l/23JeZyg8yA0
tPkJTjiCKk4st6GTOMNfG6IDEJGryYn8Q+KSJ5LHEQs0tX04tK0ZrZ7VGONIhgOnR6z9tRW1gnfp
xcKfLwQDOMSOhwnjahFnkjW0qXOuemnitL4kCJdouefMPFbtxppVo9ESyoTSVs498PSRuoWacfRe
DjvpUOku5aCVFatNb/lg7+g0Ak0Wdr49Css3ZHvkljDjsLvAXAZYQwzKRM7zzpOz8ecMvSyoiumA
CUPP2RoOyUHNr2AWz6qHtz/W4BEgQuik/cOsMD8pZqAvvZ7WLNRzM+iYjB3cIjr9H+etOgQ4AWCq
yW7UVrjWT/fmHDCj26pVMxIWOsG537xsMYvAr9cJQ7IET8bh4EcAmiB0wLI5DBlbnHJjImECmjjX
XxnIBkWgnng/9JsQZg8aQj0AA6mRd/lQsHB2xoQcooSqSu8vGvtwBSef0yvRxoGX5D19GIr9q/90
Tg/j7I+Ii/LQBOjeIZCPIg9zCC5XWDlyRv5mLOvwNC3rT82qsXllICGcTCH6EGYN+JYsvCoUdeLg
FyCi11ffujwfIvrHc+nx6V7v9XPiRSGciNkfla2hl57QV4GdIjqcQEflMmKXtuZDgKSPIgBHZu9s
Of9pbdaKPcRp+2NEIoTy5sD47C7az4rSWk9/CyUJPyPy/f9Ie7MtRbm2TfdUatS+Y9EKrFFVG/SK
fRvGjiOMBkREVBDx6OuaZv3ryzRihRv1mv2bGcBkNk9zNxrj88pcFocdlV8R6nEEMAmLcL06j4vh
iSQi3B8FymLtMus0l71BlITuqQNV7dEnkZWI4cRWtmcXpsmEYEvfDE4dhp+n64yY1VduZybiPU6X
P4+FGqYb0beIiBu2k2xUdLYhnQ8EoDpGSJw6Zt1xNI54gWIPabvB8v3KkPbJtTmjiWRCvlMtYMlx
9xRaBB7p6AyZPELeOgMme7QhCosSN2sKP15nWK3abvZ29ht2C49W4aTH15727IDNxgqswOgmoek3
nXZ4InBgo+4tz1OOe9KOfFwEihCXUtBMGo8XlLE43gGFw5uG2/kRiYCLVEGQZYkiqHqL+s5goJDT
i/Peiz7ggLIR6gEUfTcZyF3JRdy6R6extx2BwRhA2A8ug9T5Wq1q17vQifnqcoHunITGOY0roRZx
6pcBp/LXnPRPQIha7nT6pjqDhgTh4EU04rwwHLDuWQFCrWPUO9LWFIfiHrIOKdL0y6HneY9Qez28
w+ztsAZkvBwbLiWW+Tybt0r3/hzMWaaeUNQRRRJy1/vx9bIgExN/QK1G7BSvL9MBW89qO7rCKClA
3LCy3ro6eeQJtjZNmMFKJfMcDLh/nWWSouRFtEVmRZzPmHXf6C6zpew6ThJVo2ooYr4CPZMkMEYV
t33uLo7ewRPoJiIBwE25zTqiAsBhV1AuORLVOVpFuMsRTRTF11yQpNycQwctb1FfXFnsEasrHB5q
E75JeRNDRQwaBgry7+7Rj1/Kfjs6TnVX5XwWp7bY+bRutfhTWIgnF/e8yEnT/4BcRdJKImvQocYv
Z4A8NorYyWS1tlfsv/xuMHCI9xhSQfY1XEH8XSyYR7TUCGoEwTthdo3Hx1BENwK1tRBBGnlme0D8
2vDU97Ymh86BNEBUANB4E7I9w1cRHt0T1/vXEexrd1oEX2NInvsBGBOL9iK2BbTxh6KlL14agQ8f
bZyMbpWT9wT6WhSlREHkz1ejOOemAS6tKxQRD/45ksF5RRkCITRHw4Y8mnn3SVESXRXRG8xZHSLE
pmnqprAHRTPwMrdWRIaLM9Ml+hBB6Cm49zfgnKKE4c1PTAtz5zAqH/RdWQvOnCw/pl0y6GkuAYIX
0k7k35HG7vlHpXPqUuHgI1oluiO59JE9CW2zxr0KCUZPnJq3L6XTnmEaHbwrL28H9xJwdzWjei+M
oY0FNk4MOIuUVyIY9iKqJKYl/3v5+PgSST3rS5SrmAqd7UiEpUZ3PzL5GWth+jlCmCfjKVGQID7o
Le/Hyc6VeAKh35wH60ET1VGzFANDNYJBkQAbKAT9b6D53rqrgeJKaKuzKD8PTrfqqQt8j1ACwAbe
PvdY54LPPxZhL6PEWoHnRlG8t7KbDmX1dNCMREaKPdNpcT2ymLYuB9kYXMObOOrYw66O59X0sXmW
rT99o5bTA/iGSbEW87SAJMUUotV3D37JfmsmoEQ/lxyBknjCjBfzRSQjnK3DzUsafLy89DeTl9SJ
SKfGLy/YIS8R5IrtBTsaNY+2t1ikjtsvgXim7meLQ3kf7AMCRr4CcA/OL8qEm9KecNDxG3wFfMWz
qNKKI6liSxJl3tgH5cjzsxg+CL+50f8TUo75n4ZLHZiyPiVfVbQlxdVNF5kpLsGpQ+9DaFWxaEir
2JAXjAd5D3+fVK4mfyBR5FE/0BuSyFIFaojuiiuOq4TOijgS0L5aiLUJpJHnffWJiYCdbvjaZO+0
XyTfemffWUQmw4AQBjkDLYRj6I51230hVElckCszMaqIzgl9Lu4LzWf7ZUGXI4r6/Zk/HBLG+Jx6
IjAU/R/xEVWxi39yazIkMkl7zAiwka+p/FNe6X8JpMNiwVZxn7jImU1OR1sZ1r7trCgVwGg9M6O6
EbE92SEzWWzSH3In4sJSFyuXYM27pUvEVi126f4rf/Fjym4hqmMcKqh8HlhjrMEyOA9FlnoJUKln
Wiis5ZNzRgLoxIEnfiwAz+C/RlbJaUORgs+c+7ofkOBMLZfapoCUxj7lcjIbIAHDIhCyVClENopz
4UcUvoluz4BwccChtPTQ1x0l45pzFhMgCnrELJzfIsLbCD00itec5mcCmRey8/lU4QYpRh9coKnc
RyT2tQVrAMwOdzN+Iv5uPOvnPEBt1tJVu6HxUM1UriPOA5E6cHu010RFloBCvGs6EP0/alfm6rJJ
SAv/9Ij3zju5FIcDtfO3P6IeYgcS3YTwK6f0wIRH/dzb+XtfPIxI78YhDaAxpwCLiu7ukwbVvXv7
0IZBdVJry9jt4BokPUAETqdjXelYNs52i2qQ17b60mBK5ugldeJ6gSPkkYmPJCgy4c3L4aPpgbLV
I3CEY3iQE22KwvH0MkGzcmN0aoZ83BqCkt9Pty/j9PP2DFT5ndxsgKEwZE0AZSQgoKKT9VenKj3q
6X6v7qpZ+X7BL8JOR7eXVgjM9OA1tZv1hHzhIh4j1H7oHl8todca7NE+jbtpCxC9iMk1+qwJmfDo
tLpF6qRc3kI9olr1Fkd6eEbaM9phmxTuw+21c/ysa/uo2qAtXdQSN61PlfrM+LQADJmN5bNdkaqe
UX6OSmTLMO94aZOy+PWy7mA13/IIPvCiPHwA0XTKRYOqM0iis7sFN4NqYd3RAeykwj5C6ZfucaH7
t5lBmhFTPpLQebMoEBw3pyDvXggGl2dWwTIeJuMmLOqwbfq3ftUpCifzDuhGP7GQbIs3/21m/Geo
2w/4VS2BTYurTzVDOLGbzTQByRh66uyKg926D5LMwwL7LRvV1CLpWww6zWI32XX3IR7bkRGtR3l4
pCD4fu2SNo2LwX6WRHt/N9Q58q2+Mb4ssgG9BGQq0blZJAOlJ/6G6ewR1QSEddzoz5qOSIv89Ewm
nBMT83QDstm/0ydOz8pJbjF9aO4vpEXysaX/8dW81n0dNEXPqtFxS2Y38qCFcbDLkYHK29R6V+iG
LE7TyxTb1na/Pb6kAC3WE22ZEHnGzpp+yCaFlBEdxs1XNmLxYANPLtZuoaTqZNi0kIygUuqq9HFp
DsCGRDGHgi/tn3MIrgKsfQUAGJCbn63SFwq+JIt8jfpthyV7An/F8BvKFYp94tSRnTYKZzuvoheF
pi0H9tFpkPQF7U4iJDv7t3qya3nWBwauxuoCNuC9GJGoHeCoRLe1ey68XcvJMH4tVKeNgcuyecUu
V50DVgQNHy+ak70zbNOyy7Z9TGxEaT40AMicNkvkf4039eCoHzEBOO3PlxsGTLmQ7atTB6ua/P2G
/U4BuEMKD8PQCR03DMFiy57xYrwz1bWlArY5fjXeK+oI2JMjr70QCpMinEs9yQYGvZA34gg9OtTI
8T+yhtnI/GjmxYvQdR6okhCr1lQ7K1yonoe3y7u8wXchvgrL7npAK5an+MRrAbgEo89rWKs4HtD5
k2enzpG32W33MQNAyK6bpV5MYTtsv6qya3IqfSjcxhTN1Wi99wBjRHyFZMi2h9pr22lGt7EyrQ42
th2Ge2nEF89hfc724zhmoPMPtpPxdZYP8yhHUZGgsWUzIW49GFDNHNrPFSuc9/hip2vnhIjSIGEX
G3DrTf9AFLO4LHUCkGW6wS3l9MZzHkB689NtYI2ZUrxGtY/p7rsK7geNw5E0UgfpHeN++gKjw9vC
sE+zzRCAPhgXkswNYtIow+IKAXBpqqW2+Xb+VHv77q5yM9mBM0GRoqElhy526d7YT2CE0MQofWXr
GpWrUHIP08kOh4vMlvdeLff0vHuzcCt1s8zeHTppElonvBMGl61zIr0aWXlw3DuyEihE6e5udPRb
5B8phgSAW3hsVzrYmmJnN1yfUgIIy94prmo6t7a9X1Ud44YNvM+fIqTYVrnpjPYSp2vbPnWtXvyF
1Hbeu+JojHjh2T4hQ/ymkZjhc0uxcZajGspwLvdDxI1Bitaz8yyBRQp/7IPZLiPey4I+QUVvzxvD
hm1mrCCXxZtqQ9MBXOl//2//z//6H+/X/zf+PIz+7Jj/La/ofW7z8vw///v/z6ZjtgUa28II4eHM
StRdgo5DUs2u74dJPipn54E8y2dHSGOf5znzthpjkKVC+UPJMfeqYau7Xd3QhLzNpc1lh5rjEeOQ
p2TAb8BTcZSa/3VbqvSwF7al6746SGk1wwIrvTgSstzOeR3CjTGBd3aKLpYd7zpJwEfqsXrXb0+G
RYRK384XC+sZjOzRBXg8yvN1VtaFzPWLWXmwq1eZVYSdOdwNlj5rIw8bSOnT6+dlzP5yW7G3tKLD
ZvsOHcd4wdtkb1diRwKfZd6evLMfwyJF5T9EqyxdMh9QpQcjr2XeZDm7+JKDmDNxXunL7uzFBGTy
ovsyEcPFfV2Tqq0RK94FZ7fCIrcBxHf0pd6a8mFNHN7c0TokK33T+3347sihx+H7+w4fkEXtqs6S
VrEuZwfvCi1878mU4Cksu5fOUMBDBAlBlCtI77tgwpdU54P1yBoYA5xhdo4+MDyNdFb2NP8dU3ki
/CqyOuvBWBt/IG6693FFGR1cDdnUOmqNqieR9E9vH1QhoFgN9QG8Wv49iVtqURmpITHAPWlhhLB1
zOg8feavrPzQLzf/vsxDeHu4VZV1LPRytpCHybsKTyyKx3EXCOdhDKfzElmWc3gvFu2ltCkm+cFR
iMUmcclJ5v7+wr7Lh7De/r6VhyklN3lx26pyObsht/5e4xwbHTLnyNnUOQ2Ow5r88lm4LJbwtzny
1yA/zBHsyA8Hs+aS+y/1vXrbfVrzLGrNudjZ+f3plG9g2vvTYfyF9y8masbjJofH/a5I4mrWOGsq
vBL9bfJxmhmijVO7NxB68NwJfpDvJWn//eqyeJDvD/r/Xd182MtiOWvko8piaEVZpzWwBshHr06R
MmyHxsoaJf39k+l797T87YoP8zfeqbUhnXne+KsJlCDpwK+cnnxyEQ8x94DEKUjeNRd0AIer1BF0
LTlAJ7p38kBebhFv+AOuHyTkuELO+Bz+Pib3FfTbHT5M/Zt+bM5Gw5gYw6LXePCQEXpHwJzFnCP4
3p5nPWW8naBFr4zXr1caCReKg7mvL9Ww3GzZ8pzlNkigDrRX2z7uRMsivKIuHK0/OJNxpDi/V70G
JdtqdBrr4yyqfPyi+tspZqdDynFUaQ5UCLOAw5jKF9rGRW0bU4w0n9Ipf57n/3n9D0urMdan2Gzx
qLg20F1uAV84Bwjg94kAcdChJ0HM5R+HiadNmqeZkvpk7psPyywvmiKLdxzw0tfFvfXWo/0nsCwv
xtMCfe6pNLp4u1HWRTq5q/jGCC64w4HAjlsiHt9Qv147xyfz88eND+clEh0c4XUkEf/dX82q1Wjt
rXUme0tHxQgbmDPmAMXSclTIS3hJOjQysKWhwu82EY6Lrgpj7/cpeGc3PE7Bv2/iYZHU2sXCL5ab
aL20G8HP3YbKV3tcnWyLnnXmlnWk4Ds6XGdug2VD429jOxvJYTYkA2oZ2ATa1vKs2XnhnmQnpth6
cw2OtRStdXIsCIs4/THOI5ipgeooHQle/sE+ne3tC/LUq1Pb0ZaXgUGtIvlSX0EGU4TbKLS8l1Ac
QUuh4Q84QbJve7sZSS/5a7EgmqZB1MNXhCw9o3ROmasJ9Iu33fw+Oor00xkoyAeapZGPKtrDvCFa
vJlZq2F4AHYjWAmoKuusD0FTe8W+n1xGW7S+W9Gp6a07Al1AEZVVORG/NKkptRgFATlI/BZVpz07
DlnOaalAx6FT4lmeyV+D1TmSiJzQ89UHFqLx1l2r3nAufITmuQD7sVjHU8jd3a7o+6EyBeUNTMUX
+AIgsxQbqUFSIOzGENCnfLtrqdIxClPbkx1P0OTm4i9QsxK1RcJH6qZ4WfJr8l3fGsHwou7hCLla
gXCQQN/hqcd84A9EOZAM2S2pi5d3kgTy6ySDtABMLlCyTigqCiZWPq+ppNd3AW+qt6IKTNGJM4Wr
xsPtUPw/4MHw2rg6zCSYEoInQZLd9kRjZL+JN7faLmjA6sMs7mjloK7839/qPWx9nPOGIiuaZAn3
5Uc+aGWdL8mtXZ1nC8q7FLfJ/nxSxNEdhPwHAsWZAECi5Ylm8B80cELxWYAmeLEQFQddOgvded2Z
555oUEtAwemv/Bk90WFhWKli19GTI0P5aR81iMShLePTCKnq303jstYyJmWrnNVea0na3cNYpLfu
ElWOy65AiR4oTC7Y34X5rPv7wH0XEySC+PviD4Dwa93EaSMuTsDtH7r0f109kkPdK+nZkSuGRbeN
0y4E4yeP/fTKD6DK/FKochVzlp968aTCFlcJCPnPdh1k0ZG4nu7gBGtdFPuzJ/R7+a7q8m26/DXk
Yo/4q6BZX/PjOtV4arm3pkjc2+/d+OrK76YTR2vaQBZAWtUpS0/BC/nj2sumKjvmq+HIPYnce2Lh
HOiuxa9kMVzLZrDzkiSIT866W31Fxkx92S6yngRZ+8SCaoBCHd4SzVk3HrZsZyq9ERo9L9gEWlQ5
15RItqa7D1tLbC6XyZKcUJmdwpQWxvlNCqTXrHd7WdMvTJzb5mbOUsPOoothC7WAMBtt9gH/Yhtc
l4dg/wmFCidLc9RKnTLSJ+zc2qjw2Gg/2iPLz31RFq/fjTHO0RTFHOob722cQ6KytSj6ebfEbOLg
HqYlikwvbT+mEutvKfrw/OCDVmmYYO8VJt3WCrXXxClbnvBSpLdA+Z/asB7UiPNa3Wa6M+k4Hv11
bOd4xtLXLnRXKvjKip0z5hS90BMf530NqBRh3OiZhJfyQ6ptyRZCD9A/meL31OCvl1zd9vW6hb7V
rJXbCh3Xk11jTbC6wOQvN8roOsZE6JNSTRZZ+MfhP/G+/aDQJveljSi/barYJtv9fb1pP7Qy/rmp
h6CpwC+w2e7W55mKkgPNSV5BbrdK5/qS9HS39K+jpNfup514UH9ZL40H5y3KV/mqHG675dpJTF8C
/nJw97ljYmyMthsECRAgV9c8CEGCcnEeab3LvDUyRupIGdymxpMS9U9Z+j+P8HCA7hJDjXeH9nmG
PzN9mI3Mhipw+Vc8V8TRx8norTvgqaw3nMI4bdBM2aw9DffrEPY3rRaMvNBuF1a7U9H7/X2I1R/2
U0toliBNAgVUu6ctf733tbE+61J8Oc9OslsnuJ7aKaC59xbjs6r7N4C2YMWcep6aoqCZfuiD89ZG
H/vW2BfTWbWxBd7iMm+XkzUVL6IasPr6k5uUf0rdLAX1Ash9pkVj5WEL0ow6N29Wzl36rHAcjJQg
7aBIwsfEIwveg0c428VG8BYJiPIebFO2ERFFixAD71lPvUcW+sAkuhCRicBHaxzOAhTZMTunpbaK
5/sAPJ79viPuGJHrCiZpdw7oAeCGAB+zqnFaFB9BcNQ7qYP9L8jbj9wB30l0QVQiWGUr0dKu/DOG
ioSEcLMltgC8G4ZTjG5YumskKPSVujos90sVY/PDUwFwXMfYlB82baSmTUPEbNQv2g8HxrbaK9bl
yIgRb7n6vSspoH1mV3i0CecjBbvInB3uGOTsqIJhtOXHfLp7pRZLPRlC6Xa8ez0Ag3iVNxXe7Z8p
RdrP1sQcUaiNQWD2L9EluvFRo323gBc6F59mXgJmu3+jPcA3Y1nPjaW+Ue8ffXO+0maGkNnW8Dft
lVNrKf4ZjsRrzVZIxGShXWW+nVZ/PtV4p0NxaQZ7bMUuH9tI8Qzf8PEtuRNcRHzyp5GZ3ANObpuP
CLzV4OTVL7Wv44cjPuYwniWDeNYG0DrWE4efW7otpx1rnOeB9n750t6vX+33eJQNSBl7O1B6gYxX
/D2wIyoEFeIIGMdxlk32s91sP0snx04r0FDA0fyKjbyFCU0WluPbXN65t/mpi+mfnXunrhkV42J8
nF7m5Xw33E2T8XZqjUixBkn/GKH1TLVfH2pUttRhhfrXWIdsRQpco2Miszclc3NSLcFpRAIZXkdU
Gmln0CWhKUQpjCqzBRyFNguWfMpG2UgbRIJaHRq2cEWyfjw804UZqVRyBlwWoFQ8jadbbmM3TAUu
q69FWVf91Gh/kWp1AZ8fbcx3CFj7ed/qpJ91WGHSBKKBn6vwHCKfA8ip7T2rWihtsSP+NnMf1nqV
nIvD2WTmHsAa3HwzkCE8xWEcbkNtofYsOrvio/dKAFF9qX9hAmF8Lc3L4VVyS1Qv6/6JH49d8bl1
ttG1g0h9t+xgUNc9dYoOQkb8bHavBI7izw6DwyAd7Qe7wYkohEpEV0LwqO4mHRGVZB3k37pF59Th
gOEju21HJO9yKD7H/i069sVHDtHACbdd9p5Ba9AmqVFGlqdOVDD4wnlLhBIw5lh6svAXEyB6HUSJ
gN9bwCnBU9LTC0STnoUIG+P/fChurFf04Qi0/uuDKRjXoUQYIoUb28YAYz1AzgITH3+SSe25kjXA
hZ7zRRmZLhJD69m2v+2XmNdhNxy2O2WI4hB/dWv0yMlm9IB0iAzraKsN8vFhaJle2b9xxPbF70Qs
Myz7a7AVV7CEtQAUHobnaTE+Y+1UjC1IvvzmOj9O28sY+Ye5EXfam8tn9lrOcdM+XZ3T/ICT1GF6
AatmRu3ocv/C2bgibo5MGmr8bW2TvYrvxnV2bjklNnNKRLuPHh3zmh1UAeHB9gBWWrPXSARFFZ9z
dMRb6/Ak3jZ+nIQIJikEROye8kOkn8aldMlvTEJB/RQNQJ06tRC1ENkStWo+ua+GdCtD2LJ39qNw
UpmIUqIwKRMw0z8Q3QLAqsB6CYw0WO4iFCU3DhaccwbzLed6TJ4CR4EtjwyQ3SAULF+rt6bvKFqu
4uj5/cz/ocyL7jtnvUWYZ0LvflhhW/PWOsaKjMJxT/MOn5eNsmrNK+TVzAl7ybMu/Q+ACHE5A0k+
ZNHI2h7qrvpJxXmpLSHcFGQ9o/FTzWne1GVxBq4hg7gv7OQt3dsqrdElPd7z8snjfg9x/rn+oxbT
ucZkvTjeDhyFVzxyO+m0DQa8GJiU/n6/lBi4f7euf6/0UEzKLtbtWGk86cEz2/5xfiLOo0gzrJ9c
5w4C+O1C4vT/K2ozb1JhKjcu1Ir04ToQJp4xQFyQoU+KdD/oFfBIkMIRCJH5xR1t9NeV9ofrsbg2
6WGmR9nU5FXldj1JXhDQESDl2KGN330/LeiyB9vZdlX2i9eiy1x3cw+yIQ269GqfS/ENFw8aZ357
UG3aE7UW59fvo//zvP7rXh/m9blMm2ot7jWfVRiPwiYd3waIAY5jf4uOyZOhUUSp4dtLQNGFscFr
yGo/ZCctIzPTqogPBKWc19PjV0z4O9FebxYm58i3ITEUv8Z9bZhFp8XasumiXzJbTZyatnkX+M2T
fpssFtJvN/SQaxTV2ijjPTcETBYK23s6a00TpLOxcJ2iHekdO7u1jTN2NsABFYu/34f/ewZJYK5i
oKMhfddW71vqXzPlYNW7KpbOR5ql1ACVYRnET9Opn69htTWQVUxH7WHea+jAy6p1OCL0cRlZZKMI
1IyfvdgfVrFOXUwy2pKsI37xsPfrWnox2TCOSDkmK3WQLLeols5vH78Pl/y9JM940VRG1ty0uNDD
s8i13ChGuT9iN6BSdJtJAI6SSd0hmcr7hvv71X5+pv9c7GGu5o2allkrO84Q1+uXEGqoNUwOT1bE
j2/nryd6mH/S7WCma4OLSMF+IodqP42e7bDqD4tOCLxIFkovHGCPs+ySrs2kKBJxMO/eWtCx6sEu
SqeXaEdQ0LG8XV8OytT5zKJ88Xb1TsAEIFvXFChbq/ZA5ugerT1SMJil1ye9zB+aLCbyegaABXB/
Mvp2/+7KF0Vq6mOrdZrBrz0uso/8w/C3XdKpY/+62X+qBXloEd0E1h4M+MCERwSZYpx6ygagOnDh
Hengs1Dmexce+SC2Jw3VciH2pD3sipfUSDKzdUyFOT3EvGHyAUF5ukVLz7vqYdYa34BQ74ZS7CQv
JHHtz90rAJqdl0PxgJDVdiA74dxL+hsopacB/odFn3t739SoYW3djGwMopriKQkG7c7uRWb1Uy1Q
7GrYBlqvLzE5z7p55VojA+ISwMJnWIi7ZOA/O9+/z/h4xB8vt+KWXIp0Bi0AFJsFhHvrzKrJ+uZs
c1fuFb4RVbFzozczSYb7qy1d7RMiklTXyk41sc6oIfCeymqwNigVJDcUIvRB/nVJnFPLqy62tfdu
AbyM8ZVCo9pyZH3YwlN6PTVObKfrOGiBKbo4ce7sK5Zv4ZKgHWkswgOB3Anezb/SxNI7xVy1QVSe
3mOKKjcnHsSuh8JrJOBpKMoNM283Xa+dawo7dPmxfYf5e0XI8rwogtZKnu+mT3Yh5VuJzUSGiAYP
fiEqHYHHJtxxrabMZDmZlaBIDCgrN7u9QMDjtsyguztwIMtNDoY9uHjOkfwCnosZ7emMeMrZqZfm
6Vmt59sCBzyLELfErkiIivjKv4vISGSjvFrH1pQ7kfbePgR9ZN1sBPYa1T5f7Hav1bZL0GPCB/z6
TPjo2xH6cPWHvb9lWnVepkVrCgICvgngvEKxrzjTkiDBsquebMuy/m1j5oIoz+jsZUCM8If793ET
sEemub9YU8EWEpywu2oK5FrxweudlENxGk/kiX9Sj82mDu7SlhBqZh1E0FDlCdCNRNcI5pQQxjPh
CQmVDKh1lSu99HqDHkDut8L2eksQ/1AcZjMSUJHFbJA7sOi6Q4+6U4krAKAWojF//MP+SBts4MSR
nA5hxEFdmEzwls7t5ckDWQfb8L88o+FKzQUpyVYpmJQOnTFKSB72vyDFKWree2p/2Dei4SbaX2uS
m9TZbkzsyn8/7L43icDsiP0XwULdsoz2w6C2pFa913PdnFZe7RB3hnp4CAxMS2GjAO0taL3NBDtq
usOo+fdr35Onf7cicW2hqQs0y8S55N8X2rreCIJSxZxCcV8YjPIZJYQZtqkrFNYEH+ZEp+iZO8X3
Mu79if9z1Ycc66hdWmv1xFUr6hdxiEkOBCNMyVFwaEHebqg6HLDmvlDRqt1tQD2C96cIvkM386SN
PnsWcHxfSP8Mw/0V/RUNypkqnS1Mo6a8AOpzbXLgN6Caz9bPtyDq3+e+F47/uky6u0IZOHIZNMEC
CHookm1RhYydg/tsa7gHZL+8WeUhYDvqaqXr4BVZqqUgyX+YXTPIe0rwmrk7nNoB1HDAAy/10KSB
ryeakOeOYBZCK4YqgmBEoIW/TzfFEld9uCsBoUD6jshD+7aB57db2dYOiT51Yey07NfGU5jygrMv
mB8wd2HvvG5eZzMf7hEiOx4sH2ZG4gYdUexmQfs+VGSUqLBi28yqwGdXEWb2HchRotKFhIbD/xF6
n2wcHZjz7AOUn+gFC9rUnU0ygTMyga9pU4IaBfbIpvzR69Vu7+rdt6ba73kICurOYDWAn49c0tYJ
RIW29mVwiaOzDz83s2kr2SPR7V/uOqslFFDIpgi3CBd7pG5F+z78ghhFM94btzC1FN10GDxQkGCe
VPbCHSPb2KXp/+WOQ3rsgjGK6DyKFxFcorv2sesSDPJHLgTc6MOFYAdDzOoIHIFQ+hF7cA27y3QW
2DxQ768BU/7ZllFOgazbb7w+9EZhkuxGbuhOncTmm6AdaaGgDH6FH+6TuFoVgfPDO1YQz9WRW+dM
xGbj3z1lj80WyZCRz4zpju7vdlD0shUgQQ8I1GFeyg7B72Gu9tXB0dl39/NtcO7lXawlhuWk9aUt
p+jGY8QAdyDpNyiXPKmwfC8SIOGpclJJ+C1gvnCHF/+9CvPqZt4ApGIrfhsavX0kdiHA5Mqitaw+
VR+YSFfrWJPjJzd6KTlK7dZCmxrjw0x4RYCih0ELEjooxjsafADKN9XyvKwN+zb9fb3IItH5NpT/
udX7RvrXrcbK7YaQnJoT75jdGgRWHKApDeGWoqZTUfr+v7zeQ0mozPZFdrbaYKkpHWserkhh4uvs
DqqXkYc8zY++Fbv+fRWPWaXW5PJpr3O9okPoNIYOsHekjkWJuERiQ7RNjvMiOqObrgCU2E7z+WG5
dqQonROxmoNms57ozzbpH84CbNcli2Ij5roAav+dvoCr5aN0uubUJa6z6vXQj1/38zqoA2tSQvF0
L+PTK7CaIcCXsnKftba/F8vEkGiGENzkTCLe+vfyOstKT41jPosX24HibV+LCAGKQZvOyO8v+7uU
7l3KllIQgYckKfd+9l+Ti86lgba5lM2Og3L6R2VDWKf/qQ9j1NFbBpD68X1+qWm7tCBePK2BST/s
FXifmIQe2K/JXPDfp93LSlNWaStlwiUdGKYn+uQXdPhu/jqQCe4oTToNeUnSy+mbw5QKrr6KFFjs
3jx2RotYjWp03gHg1Wm9c5JEJwHMAyBxia7LdKgvQd7QbVi77U67o3W0UXtkCvU2Tw13XcO5dred
Vr89PCIW0AooOXXUYNvR+a4Mt73aFzRlvduAnwLiGZIfBgec7UFNwS3M+ogxjY40lyDBgshEV9ZN
qIW0/N9flCwCwIddADIh2bokch8oD/8Okmpuzf2x2e1m7W7h68PT8OzKBEXXbuVfPZMKvMIme/r8
v7zqw0SULDOPK4mrXn1reFxCe/06TGKvCDP0O8qw9CC/ILP6BOL4ndxhsjkzJUn/yTIoz/37sMpa
Pce3JKVfSfh585vcLaP95Hi1y46BqoatDi4h2EEyvGJxBQezRXwAXdxPoIYBNQnS9uNQpvKr2b+P
x72Q9u0ttMEVmlrbwCnhYTyMdnlWD4qWzs7sjPs+/S/6a1BNKvYp2RVi6BK6q+CcaE3HY3A5tW+i
vINNBgBK+23v5t3r1aa/3mLO/H5vnAg/TBHF0EVJE58C+bHQZO6NpL4mzQ6gWRxqXdWvAyOkMTMq
AKJe/AM7SdU/97dogB666YiOoXeJpNF2lE0osTarbKiGymrfN5b7fuzR9Z6TTF6G54n5Js1P0wIN
AdO+JHY1uHbowPfzUB20R/C3+2vf6B4+QKhIPfjNkTZOe+grdi7z9OirO7ctO8ASY9PWx4gw+2iM
TbWQnNjqqo753nQaemJVKHk7PDZoKrtVY6s0brGf6ifj02fStZ7s71R4v4+VjqIxRV+dUjhY0X9n
mKzuTS2rjzvEWQFkdKmDJ44CfxC2E5xxPKxoRd7QfiOl1zgGr/5HRmJGVjvBb8vZUfrqgj2OBJED
aCQY8BYyYTmQBO0TlQGi7TVC7doAaS4ksrDHQbLxxNRcwxwBUkZzWPFunQIwg44qi9ZBhzRMuCD9
1kBjmyIPQnTDCGjsQ5dLMRST5pavQFMLESy+f4ktWj4cjd3WRrsydrkL+Gul9/IZWKgcuB/io4DP
addOrqAnRAs4cTVwd4jMoTS1tZHOqF0y4gZ4D7pb5AClVyAL1AwbcCCXbnpzzh29uwZk4ybhdXGY
6vOzaWcLGTyBDPOAHz2Yjui3KCDGUF2jaokC5DgdS5G03LsFKFM6814WNOHp9RKUwWm+ZeO8zs/g
kHnpNciAkvwCVky/CJLxekLvVAlj33C3SwwO3PUk7f++SJSfFgmtIey2LAXp4G9kVSlrn3bVjhV8
eVe6WnD0kNPrWnSkyp5IvbVA2LeroVAKiP2SDOgLOmTHDChr+LtBjZkQCj2inAGvlAgeZIHQ5oh9
Zq0jBZUneu7rgN68ve5Su6MP23glEkzvAHgQ0F27QiOLtjiNbl68k44qJlfekf39YO8dwKeAR6aK
Vfjrzs4pwra78z6pWpINC9moFv34xN0FFgfaGiSWBSD56qxJlHbezjEgQNR+TKYi2rdr/8j7rdmo
YUg4pUelvrclo0bh09M9AkgPnpKO5IbkX/le9/Y9hdOxiOhxgh+OSSIa8ECU/Ar7PEtRIjHIxHVQ
9eKoo0nFP067JqNATQLIF03gfsout0WJpmA0aAO7X+KPv6YSSOMPITKSB8wLpKErvtdhNn+2Cd7L
pg8bNL70qmDMgAwkwfx3XZ+ranuo12f6SO87goMLaeWNtWd6VwIJw6c6xxidES26uqq/mZQhgGUm
///m7LyW28aiNf1EqEIOt8gkRSrLlm5QChZyjsTTzwdNnWlb8rGqptqlZqstEQT2XnuFP6SBhGV5
RmaXA2tj8rYDIhwO/sZAQcwa9KMA7HkDsy2I7gm7b91W/xK7/7juT/VSVAqlmNHHu9OPm5yfSPsM
jrPDu3vv8Dzs5iK3BSC0IusyQxDV/FDdiwJYxIgdbf4Woofi88XMajKvV19HECu6isJtX7du521f
e3+idkAzftcABmEF/oQOTc8Z4BEOd3xyANOejoLYDOkuO9Fh9vJdfqX6HWlNjdwJsikQT8B9b+N/
+FaAyr7Znn/JcrSNV0EqahKarU8Hvxp1NMXTMrsz7zVfBWciUwysXNgGNdFQoblCZJeEG7Q6Rps0
sh0NAaP4m8vQtlXyZRX9dhmfSqB8UdJMPBcZJRcnO4xmK9zYf/VJZ2Nu3yG4Vm61deQ21eiHxWWO
SvDGyaGwtWCh+Zw9QF30GKrej75wjOznZs/Jx2bcuga0Ixu0pKCHwN+C2xPO4XeQCeUvZeMft/JT
CdN1nWbEBp9hS6KJG8hXIkTrvrC0OBsiwkSP2rxGDGgcHRi8SchAaMyvnDf5mqjFlXXB2zfP92ur
HN3+327sdtG/lRuaacVLkfB8DTuiWQFwGikSdbMulXcjl7Q4NSp6ODOywFj0G0ch9r/bbB9try+P
l4kXo19tW2SfDv8oz+smy+Pt8Z5JibgCNL+vEVDdMJh2jNgkiSUduSHI/fPHCf/v2yCZf6kvNSiE
Go0RXDzBsf55H/qzXll1nGV3eOuAGNui///tgH10zk/Ql0jIEA+cWV5bh3vmteJr/CN60XscDsi3
xQdg3SDWJVe5gDe7Y3IXqqSlcLcRlVVcxd3EEgHw0gnfWmEb+PAX4qcblpFBiZ2HPZQu1jNNQKTf
Xl9/ILy7eoihTYg9if7/VWPaWuOIRjmAvKEqLI4UVIcmzFFn3zTvctoD2z8JUnG/cD74cTo93xNJ
h00+g6+KU9xsclJbH32jkEB8JvKeicaGjVBQTDu34viofRn0hewyOILuloULiDO83CTkp1ZvyzNE
d/ttBSO8jKV6PmxaWJJz9kvKNAuSksY/DKL4W/f3t4h9ciBvbJV/P7aviHOTc2VDWCkGDG8e3p9P
zWz0c1oMSnqH4i/ShQ+xbidvPIxbVCS439zk3ul6Zw0qNn8aFMhRvRdQYa+m65iepGcSOKpvCsO/
9dGZkdJP3VjwOqYif16UMOvSArQmhSM6PT69M5bxGipoIg+Px3DaxRlu23uQ0IgciAC5tKfzFSyt
6hn5FPGuQ0KjcSegk7I/viiP/75jH+iGzztNN6jscauFkvzRhvttv4MlX42hm1Kw5OlpfDgXHqPb
jNwjtRvy3ewiuh7R1eiJmKgOVP74s/ghX657ENuTLZOEX2pH9bWBsVOEBs7wUF6vUZFTsKUKSgT6
7jMEgy6g8TdRGA/fVHsfbZZPVw8EbHPHxB8TG6lPcaIThxYLdDG5Exit+Uj4gJPMkHuzxVd8ttSf
/eX8khzhEaiodnxHJSAM8OT+eHvLkJnGSIw7FcWQ1U/BstHVXJHLQbqNzrsOVOwaFvJFJO6jIhjY
THD0dFwOvR5FeeRDH7DxpKMRuy1VCghAKMNyKE1eOflZsAgI54RN7ReMNmBvsS8npz+xRAacyDjf
yU4RkGm9SXQXxOxqb4YGlzox5eO0H9h6AP1eZQALUE8yj0Er7ncjdIs3HeCmaZ/RYKv9hvdEdpiA
ZDqa4YpkotJpIMhqniXtdMzULciEAWoXQ75vY1gZSutrtRdVFwqSn0uQz1xjmKIkj2hnf5AnHnow
5p4meVLqn2s/EsI0CeV4L6iBgLC1TOW2y+LrRdlX8rHF7VELzwBfk10OSNY4xn3QLVyxwyxfwqsU
SWVO6tUTFLxJ7QS9HWJ97GiDC51FeejvLJzuBbwsQykLFOWbvELaFsyXJypLJKgaD5UOwp97VbWS
yKrMRrrFK5lxvzXZKkBTij3gqPBrZduUbYNBMZGkdlTzm1DBwvnm/T/lBNAmhKjVOum2YcR53tbP
zxEcueZzS6Y4UGdXPUN0cvP3ggqWGEaVGu8b+TA3YWKEVusWilOfvVVxFGQN2aI9sHdQzSZsI92e
JsegSZa6vNDIMwtXfeZlYoWVFUrDTks9kc9r+TpiUfqxzU/QMePxshiv1PHY1HsluZzH6z4NdNRh
EqRJ3B7Bv8hLC18jJUlca2Xvu8lNggBee7TS3aIC5fBjg92/z/K9CapG2GViUODYSUNGRdTHNWrf
skjO0kAQ3VkOK0iUwkGBUx75jRJIyM4uH0tG8SyGj2TC6BpmgYpiXL59zc6BNXqV5I/l7t/x8SOf
/XNBWCwD01LoKTEl+QzIIxlSklwahtvJsnW6HiwIhoG/0N8RgCtySj/hi83+SjSHXYqEWM4clNuQ
uLrpNKpjAjU23UF1oKbF4va1gj3B7mSnju4cO+Ad+SOPrsGUXbUlZhWArvmFspMIbtVuW6vAiJa5
2/tS2NZ7+ia8Jx3ugjxTe+jtiEuKbDF116f4VaV2RNkVmCKZ7+TUirvSH4nsEvGLxq6x3IKnQeaE
PD3fn5xCdBTLKV/lF6O12WGtuS3vAUg0YBbyKwAmmw+u1wzf7LQPiNC/buyn0K3Dkl61uBkQl7Il
+EBI4ABf79w1cWfIMKNzfiJysWzlxeWeZr3bTY7Of25IDWdVneSV0FW6NZy3yU4j23hIX9mdDuJN
UeJKq5dYjsFNwldtdNTOVTQ/qWAYuw3H6gk1lZkBm7r9+bYL+REmvnw4zlQDMy5tG2P9GUam3By0
WCiHWzMYT7C7jzmf7RXLdIXKHEEIuE2gJklOULNu7AWbNCXw/ewte0MHbZowWuOHptuUTBCBK8yv
4PC9K9fTe/Q6Xesv6kt9mx2QVjMvtBtUCZDDfJJfkVo4jY/xnUq3xro6v3Q0o+6le+u9vjKepXso
dUCn0O2akJaZL/NX/J6z+39vF/NLeYjAGDsFghBWteTtn3KdSDStcdGK4VZpXXQcSZNjrzfY03ut
96QxWIc9lHe19Ihnscx2v0rQoR68kgJttcfOyUVn7u0zwhmTbbyQrpXj5YTMtUZkcdFsyhoXHJmA
lFfuySobKMxMHywPmiISZ8fdNnGiswOBEvkmBveDU2Z+B6Ye7YnejdDw5cXgFSepdPvEQ5NpQaZj
P6seVL4YQvrZ03tP4QRenQJlq18aNEwqePS1TVunOdrY6QioHI6m7LW0TTLs1XyfavvbFujXs8jS
MH0mwbFUZvHap+xisopuWud2uBWvZ2QEECwrnDMaUsfhlixnsOfHGrpQ99L9GOhE3mSn5b570pHB
emLaaXwHVYAN/ZezSQQUR57FZX1JrqtYUTtVbeTbvtdds3gf89Aoj6LwVE5Hoe1+qFPlziUNkRW2
n6j7ihZ5RspkMioDo4FNbfnqep8ZQTm5RrQrFFtGDmZSKM3Z6UO3V/l5MCVI0cT+FgRFX7mQ12er
usZt1ZeWq3N3xVEm5DzKX8ObUQIyGOgLJqc0NDa9NFJqgwqMZYRdCpXrepeGGjlMyHewg0KgzQ+W
fkueYjTDb6zN0YjhlC/zqEFfkE6NJ02+mSZsge50rF6VxJYhAoYvWVKgJBtOl2lYvIK/OZXIMJ26
x3j71WNAghxw3fMKPGLdYRq88ahLoAw3KhMg3kHY9OTH6+EthXA2H5XhGu3MR5Gq2pmuFnf7mfwg
JcH2YuIvlRmAgO6R32RzbKMfQVJ0IJO8IVYMOv3KpHWl7lGsb5X+CPGZ7yVYazNnowvOidkfpyGs
op2s+KVyrNfnMr5sKj+r/Dr2RRRP0Pe1nL47KVT5/fHcnSYYZtPPhGowO+rdlTSE5/6hVfdTftPM
PxvtQpJOSfxgykdd2uVE3WQMW8jP0340D6IUWlNQrs+KdMq1a+WiSw6rfKV0j1FMuhnG9W2u7s3+
oUgOmhUu0W6ywoEfrW4r7YErXFOvQnJ1uZpN8tvURbKIX8HN4yHHB6N0GuNXPF1UyIRHu0g+rlGg
l/u43mCZM2R91Ofbw9peCu3lqAQNqF0GPzqeVoE2hJZ6kYm3NV65KhJIO9k8GMWFwA5W9wY03+ni
XOxGbBIBVq5+XIZZGnQsq/Kili6XaS+q10X1pKZHQbjnx8feXvEkw7SMd4kB38cnYQpEabfwM1bI
laVNME4vWn/s09xZ2stp9UXrp5lgU4bzhUAPG/21NQkm4123fooLmN3+SPa1klWo8rHqj0vMBr/m
LRXjZlSvzemlBwvUP8QDwTLs4R6UYTv4arHjgvhNfBhu1MhTQBnfClkBfCc+72ba0K03YEKzBnIS
KuVxsPyVtCn1pzqcmv00+eTq+nRUTDIt+MOd6Wuiow6OhggWOYXhRMOm1lQzA2ivugwG13VqHsv4
aZxP5XLV18eORZJeW/HP0XidzEOkPaSbus6MRL5w2ZUnsW6CXN0VMDgaV1icDFsU3dFI9ntHqB3c
jzMN8TWn9XvtcqSSAd+8hERrA0gBIw/AblBL6XP3fpx6fenrq08aM7YhtUA8XE+/coCxQ6gJXiaG
vbCXhX1ShFoVTIzzxLDUPGF2yzvpXUaJd9zLcZBV3lQFOUiqyotUpzi7MoDC9tBUrkCbY/rZIydM
Y6VzaoBuqTeB+l48afDT0ROHUKR9izSBGYqal3XQImJHx5FR99dy/6zovlSEUR/WU8DFWsVe0Pye
O3rujmofRsrFpOzl/joxnILHWewaPE8IMqI/xf5quj3ii8NOHLxK9w0xrJZnwUJQbahuBVqRvE3r
iAhifmgFzrVt5k8xDBHV42syXqgUjr0vdP48BvqwrwQPRuniJr3fCvuq4kRbw3o9TdmuynaFvKek
SThsmeJW72bum4tPwh6PjgalTzJsmhAPZYROvYPG4Vg6KcLd1BWVVwD9w2EIa83KTWqvYRSDpmh2
Uw67CLtRDPFWG+Xc1iWv7DAZmNykCMQmFEy3S8O22xtrMPACFbA6GIoQm4mEI03ys4ywtL0DP8vj
6DrHRO2e8Dy5PAWZ0rEI+tlXyLQltniQviL+eFa8VvF6ZiSKt1je0Pq8W9Kipei3M689NfVkIh06
o5aXFCcDWwMJk5rqrfu5sB9R6VRd0EzkCoXppcgmMB9hp8h+3HkmtuGdlxh+UbmRZI+K3axuV9od
ODYw/4JXwJRlWVueTFsLPyrY4LT9uDXM+RavMhywzRpyk/FWzK4Qo+mmnZ149eQT6jANKi5g5xCc
P++rOczkQ726cx3GHJepLzb7JN6ZOtWzjwy8Gg50oiWb5GNUd0J9UVqUVwiyBn2zL87BnPo91GYE
fABmgRGPNoQWazccZY+bIcreTDOp8adjSQWIEgso1iwLtYIjkMlBi2tVeBZdWXRHjqi7iA3zNp3Y
CocIXUY2Z3/V0E2ZICAPN7Kvln4LoxlJoZuNpz857zXmM0zC2APIEaPTifHhsE+VC+FJv9JedKrD
5rFh5nGZ8cnRMUTnJgb27bGeB51C7v7MaoP973W4n0IBuJrCm95nFNY94ZdgiLv1fLfWjLfWW+rj
Djh1t1Phcrdeh3bI6BjXCI0WkEE961p5b+/GO43+KGoar/oh95GZxNnC50vlaXSV0UJ9YJNrDDAs
lPKVh+UkA9oqDrFGD+nQXtLCEtALFDY3+2Gv3Fjog8M+ZyZl7KO+I/jvRlrST/p2w7YGmLYGveD2
uVMlYc2tPiaFuy62dk/k0PuQkq02jwjUjqkXCe7IEh5/TPONhoghUiBQIFKvbGx6/ghKxI9EwLa7
XCl5GPUCfya+s/kd1SAmkwXIT+zem5mUgPHmM/pBgkuJRygTL7T1OZd+KL2vjsGZUw15ktatABRq
3lp5YrIREAqCH6hsBrlo60R2/qozYpi9dn3Q8sCI3s7Sq1Y8LAsFIbqcC52P4rXsYVOKkd1DuMgl
mLQC09dGcyRJ+q6595cSEXDVfwnnZ5CJCMqqR8tPvjWPiLnV9kyXzbfgY/sGYIB4U+214WSjGrQo
L1GzZYPwYhZgAkpI4QupUEz3THLP2JZt1Pytn4ZWwcoAmHAZ1rzmyDRlcsJjCqIpAtl8fu5KX37v
0HvJDyX9qIu8/Skw6Si9GP2KA/K1y03pFIcIn4N2upbh4iJ3vOPfDEj0sH/MaT07i+GjVXzQmD0x
mKu86jjWLoJMHCI7Sk8sq/MXuuu9g5bneCh+nQ+stCEQD3Ca4a0yzzywLodgxuuNnolPOW7+mG9Z
FiJSxwgpbIhG6vVU/vhL2jM6AnvzR0MYsuNml5NT52iaoOitO6IWYqJgIj5feGx9GP36KQk6X3/K
dtodTVn1G3TQB/v2z/KXB2eJoORpyxow6/4sf01zjSQhiuVbjS4Ec9wSeo7T069cWJ+EOmcUPau4
JC9oBueluxyYs7Ue6KEzTcDeobcoxqE2nsrm5gzrO95RCOvDpYwINO5OqD4jjEY2kflKEorzVXe+
NpRDzpS8PfSK2yh+0j7TMY+mq7kkPbkdzntJ+AbN8wED//ohIWXBcNGgBHz6kFLZzO2oC9It6nsY
AXX2+Kw/J6/IXJS/dNSJ44vpvXqOH9ULhYcKWXSdneQbtMQHCubrRQDSBqaNnuxnZB5Ip1xXZlO6
XS/bh5gyWDhJo9Okmzx2DmBGdyVkK87hpHrRGsrN1Rm5gz52ChQFzGtTPrRwl2M3WXzrx4qnGezz
xrc5+WZyrX16vm4Yt+MVta+XkP7z0oRxQe8v1GRPnUEI7VMWqhooaqAKYQeQ4ZlcTNBphLkxGlKN
qxMM2WZ3I8eEvoUm/s/IKXtdnQO1C+5ZzPrsa7m7nZHmRd3uY+OoF3fnwWkwRbvK3ttX5gsEw2lv
Paho1t0vlTvdEHhn4K+YniEO881Q5Cvplb4+q/d/7upnXU0rH8rRzDW6sERLBl/AO9C8XxxoQzX0
Fywj0Sx4NHfDA10CznpO/746mvhdNt90hL/OZ7gUiEtoBqiyIkMf/XMrpYWoNhVgsttNvhu5vnc6
u43w3GkPHZM5xVPoGs6e8eN8z9Gu+ILsJa8m2ZcWZIzfJi9RA0u+JKebJyAUxsWZ8aTomQeOJaI9
pxpQHzLR6b5WQ32AV07rZAZNnaEn8+/ekPS1N/TnR/nUW4+jQbGkjA1D7/+ExgZos94Bag5IEakv
Z3rCzYnG4/3/1yaREGdlvGUZkqRuM+/fZlypspTtAl3qdsH+E/EFgDP0Zguy5F2fHGPzZ5bdRBoT
3vFhGRSsUWSa7SToNEoFXbfBH7saif5HB5Ju+QhZXQjgq5PMwa97ElC0JE3gdo9uDRALSNf0WC57
XTzUWuJWwoWsvEridW9eWg1jNC82gxV9F3OngNahW6k6JekD7YrBHaswqX2z8TLZV7KATLTLDwN4
p5y62SkZxyIRoewFlGTaxzW+7jChEE9UZlHqqs2lqu0YZ9L4rNvH2QzllB906fqJ+n4mGyPUYwz5
OtTX2hhamtMNLJRvZrDS9hg/h6Tf7/anFqAaJ9kA01q6zR+Kt5pi+S7CmDq/Anl4Qnfs34vqf9kf
/z3bT3AisxqXPl14t824gDFH7PSTC+V0JLe9bog8SSjJjCJ8zphx9vQsEHH3BpnVuIytGLeaKAu+
WXRrrspbU7TngSPZF9VwPQdDHkhkO4275EFa7/JkaxbzSCgL0tnvZU9agn9/nA8o/Zebh6KrpEui
tU02/1yqlSlmWdyL20QRLnEJlLb34tJemQewVRmsiG56MJ/PCKfjuGJuCU/GtAYBcTS5X/O3Fgln
oq9A+e7ofM1dgf725JL8be4F3zUFv1I9t/D02/V+6uI3eJKoc8z1dne012hO0ZiXEXREa3JyCUZG
68UcG/gSAJxE/3Tdan1jG51tbVQSY/6TYcRM04cBZeojfvXvO/pBkP56R2GxkUpyQ41PQA7NzAtr
tnrpVgLKam7U3Q6tEFqOz/Lzio0W0AecsSSbfkdv2RJwFqgiICpSt6cEB2MKFm0rlZxydavqm81i
/W2vYOfyPxe3/f/fIlOnNk3Z9wyQ6/f0QDbLjD26yE4NlNjvkNEfwLp/3IjPh1q3zEuu9dwIVNkS
5B4L3yz2Rnc9iadUOLV00MYLoQ81WLj4MNMxpzvCWLhzE4rZxDPgLOUkYvgieA26nGAymang0rZ6
1eAJsqvSzof9gbdF4XZgz1KXGQdD7PNKU8mGUARDx3iC9Nw0p1i/GZrT0pwwR2DerHQPbb8T8lBg
MKBcKCgzt9d6dMyby0y5XuH/6FxdgNphdhrkgNYQEANOsALzRnM/rjiYHIV5R5xcOPGsb5bQ3w+u
/56S+engWpYy09J2lG5h+Nzhv4ObQhnG9wbi7bd4BDWnbj++yD/Sn+LNN4v3r0fmb+8s/7k+6qQz
1lzkmRmtG80uMnp9if2DN9N0UB0GYppp59QCpl8LoYBjW+uWyK7FQbLilLIrYsDdNqX/BGG8d/LW
k8/fzPHkr1OKLQL8vyVsfopYY62XemKxhCVyfRBpzLVAwdJKAd+6BJMWEHLr8TJmjgX5eETZM1gW
t2ocKs1s9mi3yLgOKWEyO+V3IxTpC5rtIzz9d3GfwlNfb5ofGvfPRCEFlczJnhkhrW6fuRZOXpmj
/1TLYxE7ZestBNHvDsOvQLZPF/Ap9UA+Rk76hLtDr0BT2NW0+mwhYuiNgYhTAzQGGIZUVebpb+kV
PZTpV4X1Ze4umiuv7oia73eT16+4w0/X9OmAjmtZX0yBawKjkoGJBj2O8DChcd2iIfNVsbe3tLL2
SXZzZtOgOgAERY6cufPsNEBX2PYYl0AIZ9ZMi3vc2ltyRCJpS4tT0DWrwybz/r0ZvtLsPq7bAjYs
Qq+Cyv/nZjivirTUGdiI0iQgudrEdThoP4tvXFLTOp1uN51T5C7tiH+/tbz96q+x87+3/rSOxrYc
kRtvpVsx8lbQ9x8T/bP5MZWObOaX3DUJLPb2x0kTt4Eo/XFBZ5oJjKrpRfAVZMV3B8hXvsunm/Jp
gY2rlYyRtm2/0SZoy52dMCz5gHls8/LSTVJPrzyOPeY9Cjhqw6ksf9j6U/ZYOfXgzp1rCV7LcBT7
PQRxgbwDCsBPAEDAJUAYigEqd2qF2Wc5/vvGSv9LbP3vzn5ajKKSyUYqsUNB/qSrgxCrVDid7HJP
GZtog9fq7qi5OawLrp91Ry/FCro+FHDPOPtMlbVuV2sgmHyB0TmSUNCeZEdOtzOrFndqHmb8Kuig
dCBWZ0k86EqDDMbAbcmUFdc0XWly8tQBfkB7sveYILOawZmkPYMah42xfZuJ/V0tOvpmt+SQOTbK
luqQUMRUozC97qa3tqO567B5yNYY2+NOZJLiwMqsAkNjPuM2dHx9WXaFYr8kx2q86MRLsTvKwvY6
ZcwVnWaQyLiM6YcGQU/hSo8uezPkzBSBk5kO05B4ZOrsr61fz0Gq787mfoK0AlAE+WjDoZIjU2HF
1TJV4jfnoLHVmv/aBZ9ybQkyZlN0rLVao+hn8rEbwFS/qdjnRW7K1hs8Q+bTBwsoOMORN7GNoFA5
dBzKKg2uRrbLrKC2nCp2ycoXy7dSP4PVY3pnyU+1LW9kXlWtLn3hgWbqYlPLAF8xEMmrPFV2TUDR
sgs6suzcGuqr8MSG65ilpk4ibjMKzjumBgyGpMcITSKeLz5goXm1gkVdV6ckl8GiVQdCLX6zlv+X
k/C/pfwp02Q6Ls30hD62ogWdZ3Y7gAYRixI1fadC6SViNuMw5qgIoYKNGxxIatVJFZfG74wu/c34
YuJC+V2QMP96RmsIuqoi+q2y+enKlrUyx0EA1Ybv28ylyLaYODXmUttZZJutQ248n0AlqabLDsmT
o1gfuuWQ5RddfjFvkzJ65kEXB2ykWAxHkhDrtK6nIqKJd9LaYy9fy/KWTZ7lAAgHU2itCU1sq0eA
rv6GBazCSgl1mFt4Q4DxUOiXe72FbvYljwV4TiXvOVbaMRjPfoM+zhjw2oiYsgXC+XIQj9V6Kaxh
xewzdnVgUSR7lcuogJOS6c6weCUNJyvMlKAAQU+vFXoEvluRP19/E7S2rOvLPvjtdn7K2mdxPVti
UtNPeJVnV+79nu7sbJNOqNiyveWvkQD065vd95U4s0X6/971c79xMdJJs1KWV8J0DqILGPGf/XP1
Jj4Ud+YHpgjncPPdksGMj0/WCyq5yosOwwZf28EeXlh3E4bksZ0hyXyU9uolPPkIc8vhJn9lrnTE
/TRAEny5L65lmtGbyp74ssm+prflj29u4RYqvt5CXdYhkqi6Ln06UHW9LrMuJ+wrslt0R8TXqR2L
1NWfp8ZNYyfFNBaaS+rmkJpQxyXUbqPOb7asqv+tAAPCq/0P3nM7+H8rwAppWSVp5VHOYjBrBzPd
AVaJn4EsGV0o42kHfCnbpaULZCkCXYHQu7RPy8CsAJ6FU385GF4ssRKJvl5VXTT9hmwiP6hKH5im
gQLn2UnuMuqn9mhaJ1k8rjjARcPNCq+TKTTxEmEvw40xF6g8JNKROFDfExAD8nXLGYCmjeZX3XGU
jq10TI1DqlxLjJC7Y92eKvXCGgON0imhvYvxnD1oHi2nzgzTegNU0L06N6eeCgF/6wI4yvxEPz4B
8Ult27vYfk5sHUb7q9/onjkyQfa0KIifhtvNG611wC7qEAilHXr65HocmjdrZEvb1nW07aHQk7KN
V8BauRQ2VqiajO/dWfcBiQCticsdkOUS/krjK6srL0FfXyTaMRqPmXbss1OOHWGvOSXhkj41PKjI
WS+mnwh6AcDN8Qlk5UJfmx0DKEjC73Za9MHQpMTcWbdz3U/bU2Lt+NhnPhdMhcWdXyzoUqvP+Jwz
dTn2Z3fSaGK7EVTXjimOq9D1QdvlpkOHrLFLpqSJL73iJqDSGG+9FbF+6J+AmgWnB5GJWNPV+K4i
To7J6ZNwo+GOGTkWAMLZaRESVgMR+27wwpYdk0Ip9KECE3ax5Jpo4zAVVsgZwyTyOtXngw7prjZ2
sx5m1WEAg5248nN9Lz2Bqi8D2Tq2/V5c/Db3837P67ndGeddauxk6aJ1+UW9zApJ3SkBO0DBt1Oq
k5bumvU4wHOMXIbLHdQ/6mDkxAVsgPA8cFdgC4s3k9dFHoBd8KSq4g5MpAyQ4l6d2fIbGQvMiEwO
txS/IR/0JCnAtXCOXC0LIibkwNMh2FIGmH6k7802sOJQwFkzC87V7nzeqidwuXHkVDiR44o0ggBz
JLDoQR3hAOuDt6SxCfyFjpqBDnDhxcxm62BdvRqeHOgblG7ATODLBzLyNBn06X5Y0t3Q+cK6A+Gw
ll4Lm/cxpWGjbb2kAuIdKDJoaEkg9mHMQy+9SafVhS2urTNnAnfF9VAYj6AQbIWTDk83JqLmTu12
uhnMPWABJ/6JHPAAjZByC9sdsJqsBeY4bwj7dzOwQxsOPUNSQ9s8gbXMoX404ByfXYHW+dnJL1os
zDHHVTbRWQbkZCF0tfI3bHHztxnUIMHrZ/JErx2sqtru5Duc32jQUwYuNy3QxQ5bH9EMaIq02i+w
8u2E9aEzbfOyD8SieSOKrpDs6suEWof5NT3ICrzAdfVrCASEkePb6mkM5ZcRVDIKqi9DUOGw/Ss6
yYc8JyvyjMc2ROmeIMBokNktjr9ULuAmAOYttjwFBZhibumvxI5euv0Zb81he6TTHEwY1+Ak3Fyk
2aWQHpLsNKrHqD9Z4iEarvhOnPj/Ph++Sphx2P0elz+dD/WwGvN54XyIFH9lN5y94mJG2hoaJPxO
8lsMfiqPeiaaPAxPTfB8hODB7iw3BVikgOVzwTHREskmqlFniOj5eyb61nU4sMVvWEjYcHKDM9PF
dGCNvEn1FwN4grNmYX72zd4bNVuf3CL3DTCKapBCOtb3UQVi5WLSr3TrDty9jOHycMq+awRLxnby
fD4hZXSU0fMESIui8p8nU7o0ndTPGVU687wdnZWeNSr5TR8y3dN+Lj858y3wYnv5aUIeEKqy7lZ9
OIN3spx18ERuDyYyq19gv9wB0/AbyCcKixntQG8U7f4FOX5YRw3qu5z0q52BxYd+W7r5fTtvCapG
qojDUntfNv5ZPgzni0QAi7cD9QLYIls9kyQcYyOCteCyESUEySlxMH82NqCM8hRVfkRQ2BtgoMkJ
Gdg74oiivlTvII68oPs7HoeVdr29VmF5PCtgkVCFtKl20PEh9uyongByM9h3kpv1ma0IXRpJnyO4
u6IPVSQIFLtirgoAq7LLS+FxzTxpk7PXYxtlcJSzeBPhYUUxLl5dy/AAZ1RP8+W0X350aLvbuL7A
v0LtE2OtX7x1fI+go+XBohFnG5sP2fDo0uAeydD9gSjAXQUTP4Ce9GM/LOiyQXEFkCLsFNoet5nw
gJaAep+cHztjw80M9OxN7rvdfyfL8jFF/9cK+dQcRKeuVs9STlZ/JnF3AFKb5VbXWgQO2VkGGvEO
R1gHVuRXHu/nKeyqHcFrzZwO/HTmdrgKvwmaiyg7JAwwVmnliLQOOEmhS1GYSLYFOIp0nmIOqCXs
AWNTmgT2/O/trv+tTycrpiFDo9IN9TNsHLGxs9ieI/EWfhAb8FYPCqpFbpl6o+Ocd+rEB3zTlp+y
k10YRgiK24VtQk3nyIgFBsx+tGHfwlNjmwu2UZ2iatNFnsp9v+tZcCqgK8xk3eixlw4yEl/9I56v
lGECgx/mIqMfQcl8bx6KG5B/JjCYe1wPEB71+x+5T0xl8FMxOcxhNv77o/+1RWlIFixXQ1JMS//U
AFGlohjThtqsscivnEZ2aeMIJV7M1hNZsCnZ51dAevJER8k2v2vA/BWqwW1HxEVHSUlRPgVaTekH
bVFZRCJuDTLQgKMxoIq/K8xQEvZ6c6UoF4W105sTcwI19qnZZVgHlj/ll5Oxt5YLwKO6cLMgXF8w
3LezwY+sXY9pTnKc5H2S70prVwvHc32p4ThtTPdye73g0wb8qnZXvjIcALg2nPLlYhou++Ko13t1
/s40529Fm0H9C1aD7uEX7RWxaKy508n0rcpWAJlepA8KWWfp5VAAVHY17IgNlCpxbpMR4BCFadFD
mTrgvUk50YmAsTNtfQrF2hp9Gt0W0okzPuVOph+066p1Bkj/NEVNB6CpiuKDYtdo+o9u/91jM/46
KDQVXfs/nJ3XbuNYtoafiABzuFUgJVqyLduyXbohKtjMOfPpz0dPz7StEizgDDAYoKe6GMS991r/
+gPdPLpDnKi+Hg9x6YlSmA3iY9gzZ9vVxb3m3ZX+Ib7Na7uwHIYEWrRro20a0dKskXyBXskotvBr
khgzrxHZiHAoRTRCDh9dna19mg+PfMKNYW6yAM+VQd0JtPw7rdoPxR29hypQyd7UtR38MQA5640e
bUHi7oHMOuz93kpSKaq7sbUl3DlU2zRWEKIriK04uAxP8fCUpAclPTTpoaicAkekY5HOeFrg2WPo
KsU20+/igaRy3HiWiX7X9fe9fquYLqP2X8FrQhyM7f0whA/Ejqko0CZeJHjVtxsVUzJ+P2trgfZl
C0RZxk3RbiC2DAJf2Zpnhb+SVGtaouQPGbgW8KC5Qn87IKErZk0Ak68ocLJuSeM0yEsxdgbDZZoc
VGtr+hOXtkV+GMkZ5ip4rSJiiiC/OVVgI72QlkOxSvH6AEWdnOSVwhQK5TRseowTfyjbMtvI6Za6
PNxk/BPsu4TVCCsQZAt3FfjQxUYdXY8xc7Lqnn79wr6HI4bTaE/LNAI4YkTzB5YR3j7Meyg8d4Hu
wHRLIvvJ6Oy6XqhwDwp7uoEvNXcuFIjQFWgusxmKtH6B6vBbhcXtKLvts8+pl80ce/FW/9VuCnU9
is4KEWsfu6KHxuJpMJ2Qr4bCl4Ci/mYo9hXyPe8ulSA07lTCUdGHtXwvMxO9VVwTq34Kh3k1EDcu
78mbmRC6RhuzXmjJUkxX9Iy65CS+o8duEqxTONF779FfxxTUtEDwfWWA21VmblJz1db2lNgy30+x
MAIHpRRfdZi4wE/Gbw2vl2JZYpBJHTLMZQ3qNGSPWbVpBDuh6v+lMdpvFivrj6k58Hg1KsRTQ0wL
2nuPlenIiMPRuFebFK28YFfG1tNX6D1R3z0RD08XSgkyajNoVyE4Igeud1jz44/JWkmGTWT8oGwF
tLkuFku8fBFuMGpA2kU0RBsYBqa3qSVUlOuw33LqyoNrDDtDcxNOGn2tGmuttXtAUDbEk4XiHgoz
BOAPPmIobjXBReapqXxP6wL8Mrzz+YtBDPH+APMOluitc9/RaNBofLulRTycDx9uiWS2M4HY1lC+
dYa3+GM3KxlJiLiMgNj8JaQPEDGIwf3dlK3okgtp61EGviQG3G5MoNbVcniTEOMxGieTj4IAdQvC
02hn4XHeLjuao3m4v0yea3zFpq027fvaHbJ7Nb3LiNFKN6jE88FNo1UtrepXjYAGgHl4yN4yjR1W
jbD3d0O80H9TZSovOsMjG3aA121h/LUsgWDDkVKOzvQCZEDFjr6yWNKjduMaSjDhsrnTPaR/aB4B
wGWiPHMmoXcl1LTXyLyB/Q4KhyKMq6M6Rb1gwYPz3KBfxTsFTiU7nrSKVCfI+dbnJDeFmK9+i8Kd
FiIHblrqkJKJzyTHSlrB+xxERxo3abtUbsNj7CT0/tA4sRVT4GMT37qId7wYk4QG9APUrsucEgQn
mwjZNG0EEmugh5W/oz3JPGiQbmM+8uKKaDuiBkQQ9zFNE5oH5J26ufWl+7J6qmQnK24K6K1k0sdb
DH4s6N4o48KVBEOdkt4prLXq2TgxCIjnCGBHgmTzW0713IFOACHBygTCJe08vZ9OcoGr+iydbixE
ebb05v8OSQvGQSa2Z03kWg6Ysa/7P0F5E0X7JHMV1Q1EJzb3g3oj6tuoQsZ/kLt7uXox2/ssoolw
DGtfMEKsbGV4SaqDHm+8aCtrCM1vfN+WJYdlnPcMB25y47DJsoc6fe3Ng9bt/ehONO0mANFdtt7T
0N0Z1k4pbEYYQWGHv6k/oTJ5aLwAcZhj44IlQ55iiLKMT4RwdctZ/GluDekwevtJ3PfVwR8fJ+G+
Ru7K6Ku44zMGBIYSXFGn7EfpwSgeTM/B9goJb7LkDyEjSbsF9hDEwx7GH3XtmtN9Jh8m+aA1D6r2
EKWPa9PzKMgeWwn92ZMaPsjVoWofJuF2CrZ15wbZYyJtWWoxn118q2N7nx7qhsHZY86HjrpGXLfh
dt4O4aUuiwp8Zqm47E8SfojGfWPhjn2rSHZH6heWWvCGJVuk/zEPY/USiw919TImh8Z6HrrDpO+8
+n5q9mK1y1u7/BVLS4MOp1hA/mcb6EsM9e+N3p28TcMANz7Uyl16Le1V/jsHnP4chz2TzlTV0AOe
9R6N0dWB3qWoqtiMwChG/SkAxxxXerRpjE09bRomNeIGNBPegke2XcwiAMKbm3fEBlNoc+AxjBz7
bTbtkmKT1c5QbNXJjYOtWuzqGYBYjAgS5ga18niUhYmRyejWp9RYFqI9omJ4FFn7plsDJUWvgrY1
eQnWk04C5vQkx864r2NHVmfFoAy9SF/O4741FAARdphOoMt8vLyI2WpidbKakW7bXQOVxK4eRQt1
h4OeUPyJoozZSAc6bS3L226Cmg0OsqBMyLNZrCaPP0R8zfdkhP3h8IILU92Px+pH5t8oq/E5wfNX
dygNIPjQjwnZwfiVbnocPdBulI+GtK4JcvzJriV4MDvuECaEMfoJW7OgJVnrOn5QkQ2sRLraV7qZ
cUGgLBOcdSu4NTPSn15vSxpE3x3eijhPDHuR19XbqrGHB51N0C8WEaKZRxbBB8IPGKne8G+gPlAD
h3DIu1kbzByfBERlP+6S6Vhv9WbT/YRXntrwdjOEZvXC/6H9FOFyAzC7nBsQpYLmdwbbJ2QHWKXq
zpBdJsiQZBFoI75zqtt8OyQb0XMYf/MXWLKjTfB5DjEjHJ1TeFuhyCHtWp0FHGZ7M+F3VZFKUL5k
b8hs3oSdle8sUmZeZgkGSMGyjg8w11tbvvVtDxMaoEvETKtxUb5UbPx2Wl1r0C4Sp0xCAzBLNk3S
D88ouFIUa0MpxuIj2S1se+QO2YoaQMUDoV3EN5a5iWdQvPrB9JeaKDBPA4xmgsXujGZRFFupu0/x
c8zf8kNf7DDIaN+wVMgx9YmP7VG4bfuNuU1s/wTYIuCkw/CZ9nuOxsxPXjQzMOI3SroCO03+TDyH
y9IcMvt8aP2NfyhBZ+8Bckunwe/ntxg5IDY91JuXqXRAP+Qf06b4xSEnte/mk39oI4eFCDxCO7mS
flnKJrFF/20adpK8sX4Cn0YMtUhCw+AgfiLsvnm3xnWa5IvW2BTvGlBli7XP73y48X5bKf4/unBE
gyX9RNaSU5vvrdhpIfRNT914MLE/OFWQkExXKuxYOzK6S4Pd8Ia1gzi9eTXITryobwqnfLF+WNDW
1ZaRKQLmPzVBCf6m/4VfK7FXR/Lj45VpuOVj3S74YJFPkGm+rNTfen8yK9R0sc2/l6c3ogjHAVkI
Zt2DI9z44iJ57fQd3Sf4dENAZb8UumujpEvDcdPAd3h2IMJ59GwomCSjOkRBKD7WkatZ++lRgfvm
hVvJdCJ1LflrylOMXXrqz8qW7rTwCItOdDv6/XQR3RWbEjbk/Gbrhx7i/N6SXI844OL3CAhBlQvG
gx7urUsdSFQkP7VPBZj5Fdz1gwp9jil9egrz7Fs3UkEutT4QH5ugZnCwzUxHVRHQ2QyMMf207rRX
kLCOuREuHYEdRiutcLTgLpRsIV9LZBH2CxVDApLfMrt6gWESFC/G0rwzRqwHZlBdpkJBC1eujVV4
JxBCm+EEYws3kbry3uAsdMH9FYTlIrpk4keAT62pYg511itPCRbLpcVDpUw/mMprjEccAy8zCuDN
WNl5CjMBR5vVyHmU/cHj3Fvm6dois0KzPSCv3xPbm7iNhTVTIKhk4/30jhJlpCZ9rIpF9Ysigin2
PCHA7N2f7Qt8bTEU60lcVjDPFNpiu5rV8IdeQGWHEcWGN8bgK3ppI84uejkXNAUZRTi49AuTaffG
TsR342YgKARUgoHsLzaDCAWQsimVpfqkA89j0hauK+TGTEG2uU87QxG76MBtUYyirp3dbv8D3lED
wHvvfjGqMpWV7zOPtF/mDuQkoMKMQYk3RrYS/wTS/PdNhi17G8WwS2/TY7EW7rJwW6rr1HfyHXs9
pwCGCpY/u+AUHX9wHaHT0d2m22ZYGGbbQrpRA5vIRRQRKZOiap0JNli+qu51da9lO0oU2OfTDy/c
mJApq5seQ9luX0Q3BTt+ZjNXNbC+7BemSIeDY/PsfsVsC72UztglvOmzjd7vcJX6/muRPxCvv5YA
4Vka7pQEbpyzPad0KEdpEKZHPgGpcSthr0E9BV4M9onlMOAdvTXIEdNgFjKVDfNZJrd0anABJPSu
md0NjniqMB1hAm+s2XN0nL+esmbZY0CNgx8n/7aED/ia/J5u23wxEVbLz5wVK22n7SgfBvl+otht
sNWZSdTQlOcA5TsKRYqpMl2FUHB9xxLsjP4jW5YQa7GCedJsRGt4B8IM2JmwRTFTUZZlj0wE7GNh
3SDEdLV8Me7zV6KWjWMF5epPQPLBg/4ruoEoU+MOitYshCmDfneFygWhBuNr7z7tGSGvC84YSByR
U8BHFzgn0EbAJZ4HhwOfGoaWzazfasyF1TDBY83DfBtTcKeVR7YuTi1gHngHQgwizgJSeLHsKcro
VhI0lTNbHeYV0ygIwvKCERiianaM/g+TGmFceuICJJY/0YDYH9lEPKadBSKXJQ1q2bg6cB42CowN
fnsqvXooL6QHLXVA6vJ+SdFdNyt2LibJoY+Tg5esvPcMq16wGoXpyZrW1WKcgoUSU1nm0VRC0juQ
f4riPAMJX6Pw7bMFql7Y9AFDVfpQc2YkITZHHg9jXKwR8c70Fsx1xtqJ0k2Xr2mrwQDQCeFzw1t/
jphOkyn9qAMl+IwknDpZgZ3AauN7wqos6dY3VrcBNhxJPcRhUNszX73ylX9FQ01UMDKKNQmVk4zN
FfyHr/DhpNa6WUr5+PS6v7t7InHjXl8t1j9ul5vHAxm8h2vxOdrXcdbfFzzjKWa5JOKJM0S7lHMt
SA5BLzFdRAtQ7AesDywpW0aNQKIgcKCgHiNJfWh0eGB8FqpC2HYJG4zSjxFwBJU49sFtgkPGqTjV
4VL1n0E83s12P42ngm+7Ho9Kg+STL8WaGdC9o1XeSkSZkBLvVHbRkxS4EpL8+FGS/2joniNksIPR
OCnoSs89UAZu4yqbqXVtc2tkGF214dP3v8JXEszf7+QM+sdvTtPqro12CgLTFFiPtI3sPezfmvCK
IvPylVRd1WRkgtqHjOMTzUUXa6kL1TjfwSFpekcqnZQmNgSUcv4/j/Tvhc6O2sxqUqbTdbwzpwOD
BDF1xW5vGcXSiq/QgeWvBdd/396/lzoruMaibhWvl3l74rsgqfZYvluoD8YE1gaxcbzMaWS9saLD
o9AZWKMLTsbIK+uPFrXG9HPk/y74BJU4uTLPki+/b1Ok6EC1R3nxdXnpneJVmpqNTzeY0u739v5p
u3jrls5b7LytF+v1cgOYRlrVNQNM9av46r8v5d8Ln/GZ4iBuklbmwtaGcJrTXl8++euHbuFtnK2y
safF9k3+gTv1bUoR4zg/dqJNeBRxM2RyLw+TwV2xP/9SrrwQ6eJ9SSRIWJLKsOLc+V5EUUmerxjt
WHRxttbHH0jIlmy6CuyHjgGtuc+Nkygfv/8cla+DxX/ex6frnm07zVSPRjO28bztRNaxpTtnwKGn
P/P6hHPP6DP8gUCBOtfwnrr+JLTvUv5cYfDd7+XwMOinJJ04pHB+8/fJfCD6J7lyy2pfVEdP3Qsy
KjARJlJVLeJs77H3RBFXqq69wHlD/rcq+edBGPhgH6oa+l9xOHoQjr6eN9GOJTWWRwTUGjYm7cG4
nUh1c9v42Ki4tDDr6PaqcmVVn4Xx/HP1OdhiFnooqJ2/fs9FUxrdlAECyxChcyDbAh1lwvGplTe+
t2uYfXmJmxemW5QaPqvOBLetmk51ehQkx4/CrRoQhGFtPRMtWu826X5eimK5T+rT6B19tGF++lMC
fI4nPBCMlda75iHIf2T9wcuQZULIk/0rPdu8Gf31Ti0cfmc9wZyY+vWp2nJs9QgDzx33Xo8HSdtn
mLVMTtHDfbzyCs/UC/99hf+72DmKoI5JL1eqF+70+L0OkFEFFCxvllhhHdSvY8vCnImp3cEr6tcY
9WIMxen7xXAWIzffAgkyIqbGs77Q1M8FFIWcN02dCcmO+adCTQvXlk5BPzaVUzdHs9gZZCD4CxKm
ZQljn4OROXzMaYJEr1h9fy/zq/366rmVWTako59HP3R2Toh9VqZNW+a7BiNz+Z2jIoTLobrJcEoS
Nxiu6OTPivp/Hp3r8NCaZbILff2pcysXo7Ie452KB4Yv545gBJDPmRjOPhw03l25bLXhhqWVpdRj
7c8iy1Ym/C/sXZ3a6UI0J/JRpw0eW2xd2veqOXC0KZKy9dHTG0nCrO9N01KXg2fg768aOxnivVUd
epRs37+9C2ffRxYQBnsKjAnlPE7YsHxlmnIeJxsw5cISQjyJ6YBdqIafYIIKGasjkSGESes+rZIP
y5KSP2UjsJb0lwSrpBKETqRG8tr372/u71X19d7ms/FTrdGJo1YVkxLvJh2epuzMAosS4vje0x8q
8UoVcO1iZ9+RKsWdF+gDL6I6FJB6vBXUlhzDbI+pyfP3Dyb9fZjMT0aEKCz62fLh7HBNO1VvBU+H
gtK4Un7yIVLr05FfWKpcNg9MTX08AfL3Euhuak5AnSyJK3vWhX2Em1BMXaWqAH0/r9wDfxy0zJvS
XWAtDExBSZzFtPUNwpKMaVeFR8sCmyPpeFVAeqZv+GcNfbry2VmKuTbflzfFu0B878Nim+sx+MBj
6KVuWwxrTxr3HeAek3ZKH/rONXr4DjQX87n6tZs2xkRWBqaUqdL/lqPpvTFAILN426Os/f6Xuri7
qAh++S8vyTrb2Ish0nWhgP9AuZuZQJtvI/awiWv6pwq4+WrV+0FX/2s70yzO5jkPjCPl6zevDUOU
CiInibqPIHi+e6jpRowqZ/w1fSW7R8ZXmRAQ2sji2q4uX9pKodArRIvPuaRnS6AVRcHUpzHaZUyi
a1QdArYPkvoW9K6ndbs+PXGejSbRoXBxy+ZqZXJxVVC7kdI3U7fOn10FKvESRQp3fsy8jTwozcdR
qOvuAuyBhvY5rN0gdbocZTUzjxTigGqazwoqia65koz3d9k938b/buXcdyZr1agc0RXsitYZWjfA
2qJ0PP9nlv/8/gOT/m4+5qvo8+NygBFB9/UH74JMbQSrSHewhxQZY11Hmqh7GJS4bbUu8Oq65jZ+
aafDSBZbHYncLXzuz66oCIKQ5GG8A0qOi/eqf4/iAyzWoDu1+un7x1MuPd7ni519U4XYmEPuTxQr
FhZ1ZESNSbqy1HGrNWSYYCcYo0uARSKbZN5UJi6axzxE6s8PTK89wN4ZzEOTuaJxlNU3Uyvt1PpV
+a9eVjieHu7NkgA4nbmRhGRU4OxVtSuPcCYs/M9uxelLrzuvDPkcxmvK0soKmWVRNz8F/yfBba7Y
AgeoezEwVwaoAHiCwkmdJACz9Pc0H0kLHTZ+Tq8diRc37c83c/a5WN6U+IHGmaiA9r3iIhrP4QwP
BpSs38z24tchWlfXzBmuXvXsvJLlwAiGbgg/ih4K8l7Z+4ErA8zl7ui/AxPT1ITtIcz2hvD2/Sck
XdqWlNlxhWZUIQ3xrOIKsqTMrdJP73oMqcUWEzUMH4rYWEF3RDQ8bD1YcWnnmtVk91ONikW8Msy4
uGI+3cHZS49TKUZeSm2QjkvyfLfUBwK1LI89+OG+147fP/GlzefzA5+/bSlSg1yjOqCuVqhmmbjV
CgbO+HGI2pUC8PJPC2OWWoSAFL7yr7tBqhf96GdiiEXpQYo1x1KhSBUQYd3RwygYt2eYrbFZ2yaq
46w+0U59/7QXOnpFVD7dwdnjZkKUBpPCXptrBO1kJ9wdYAfCfSZ9E4RpOE7Gfapd6aI+7I7OD1qF
6ktEOIZpxsddfSouo7HLiyD0ol2Tk5cHf3FEsGsdS0/HW4ZoZLac8RQhGapgRNMRoyOEM6Phx1lg
N/kz423QeFnSMVfeJO2QRuEyotkaQYSzDMthEAlNG9aBOJJIjJNPVgfMW8GelbcYjXcaHxUFAjTd
L59RX50MXKNDb5+pmFeblotD5YiuMYgxQmh2QfOrCK1lbLLakxNcGp5nrSIhT3zOJmxlMC7UECcI
mEhPxTVnhsvfiKJKKmUBncK5xs7XWxzWUyI8fFgn3DGgaJuSBTccqFSt/jj45aKBWjWXq2CBYV5e
qVUvVQYwiv93A2dHltjleTxmebLrmKHkc/t/tfK6uOhU/gOaDTzxoe/79D0EnpL6miDHu1B0lInp
6LFkftDwpNfORO76QqGlaJi9GZTeon6emAyQHNaFomc7LR/sqCVdDbsNK1IWAzhx2zRo8QT8ZVh3
DNtkFIITZ/WzYd2pJREeTX0zoLXJIOyMlbGqoQAOyBJ8KCz5MqNw53cRBHirMXyL3gIQpuUs06OM
cHyEHtk2CLzizUBwQDzATE3x1G1vhPRQ5t5aQjI9WmtRG1dkgdpBj8QdIx4FiZ8q3UQFdlGwNtIU
E1DUHNiF5wQLGKijpJOK7qkNyNbobiedKuZPUwrrbKZWDOZaitC01WjtrBF1zYvsEQnASEeG1Wb5
p76CrQAgJAT5vSwf+gxZEYOOTibvWmtfy4qZ9bA3+K4SEODCwtU7OUz01Ao0QBwkXnC8gNoWcA5h
VNeK3Uqd3nrUgnHoQajECjxmqhZgyQmF+RDz93BmbFBrIj+5NzImZwqztK4RnBiVCFCF743MXdDF
VG81+pcOUS4lwHpCFlwx51J1CScoEtPEFoo0oSz+Ox3BOEclEGKDgTuvO8G3QfPec4jKporG5ES5
gk0AiS1y9xLpjOktZW3o8TWWycXj8tPHddZB1FVWF3WnRLuiYlx4pxP6oboNWXMVhggkdmBav2fN
Xl1A+rxP/7Wj/u/CBLt9PUkCWWhGPYqmJ2XBbkRYOfzIxalcMBZ6epoD2Qk/WfiLNzIL73+/3TeL
GTWecwbZ4hbHzSMx6K/W4hW0OV48HzaPy+Xt7XpzOBD4ey0x7fKO9ulez2sKADSJTNB0V6ezqYVl
nAxI0kZzqD5eVIkUr8BcQNow3akn9crhc7HL+3cDMMSzQ1cpslbWzTzdUU4yRv1ZniSOh4SsAVzf
IcvyBnGsLdwyZ3p3uHLeXizJPz372XkbDEqZRiYdB9pvDZgBWR76Qaajrz5hoHMc0JXy6WKPg1wC
fEnHx5My7uuXoYh+ohcWAxbJxH6RlcY1AVjAvpXEKUKgoxmtvPKSLxZtFhgdqcKmhAna14sOrSel
peR/tDmzzDhzMWiT5AOu2oJ/pYaZ/66/Pv1/r/XxAj4dHqbStqnZxdFuoGVr6WSaJfQqQGgFJiDj
Rfix3/+Ihn7limcfsFCRWpYLQCiJ/M52ifR6KQYvKGgp4eb23aC98nvpoLGRAXv7fXFvMmbWctJ0
IN3HKbIKYREkTy32JN3Jl/BT0t+xJbG6/RAkW/gvlC37JMi2CtrGQt543m8/TH+VYrIupWgvhRiQ
Y1+F0qikIzNI24YWWeXeHt5diTdrXB0lUMRBZcaOzB3eQAFQr3NfnTc6Ity2EK/wyLX6Qyu6aa/c
athi0zvpgKSwNJArR37r5JLszHcQoTClaKq0xGG3rcOCiDVpTVGCEdP+6hn9gcB994uerdAmrCJV
ajo2iOK5ltv1qOkoEEqeuWfPSDax6b1GNRaesbI3vF8pRoBeDv2AwAJIaymKJ02smFo2h/l7GLxj
DX+l7eYRBpQyd+Bs0qb21qyEW7F+k1J2zNG6SXlLUq0vSlRDHaEjlVoss3K2ooFGjd09k+XkoIDX
jT9kC0fn/CCxmvCgFwrQsZGMpiN/lLcXFJzqeeiqab3sBxyz+O19upchF28V1domXrT0DSZoNSif
5FNqK5lp6/1NjYdkOWaYtDEMgufmS8oqjLrDXIZruKagwiCL6rZUCScw9qVyBEpYVuNMzMYauCtd
fthIw2/wVKqn0ap3aT8tTAUZOzQ64gyTd0lWrlSH6sWTx5oJc4TFWIo213afll8YycIQixrseYto
HnKcjRGLveowF/F+5QyKtuonHMKScR3xaeqQHRGE9k7AABHsQwPJr+NTOOyraj/BPazbEwyAuaUt
DlKJITL5G+GzphVg3I7P8Lf5HRtO3lUb06DkiteTR1aW8SbBi8+Tac3ZquSR0w1XtplLi14FgcDl
gmRN4xwg4/Eb2ZOiaEcw+0G9q9zpx/fbyoVxsyKqMJnAoSwIque4V5f5WagNTXRnjoJrysIt+fSI
bNBrMlOzKADjwm5CfFJQB4tZ5vxug3GXy8pNTf6NmqU7UfrRIhVScZ0v7kwiq9u9H6Icj9xAvonk
U4CLxff3fPGlUEvLliQR8P0B33z68U3dkwLVypJ5751aaEku0NlVksCl00Rlaikyg1Wwzz07NHXT
MzMlZr9loMNnRezwTyhyFnPcNh9us+D9//FQny43D3E/PVRqWIIvmlWy4wv14nXa7sMQ0t/z91e5
WIfAezAIUzJVBlrzu/10mVxI8yAulHBuepo4WkZ4ORo0mVJ9mCID2pbTkEhRKWQvun7S3av1XruK
71xavYzTGOeTUkRQ3tlBrQW6F1Yi1QEp27Q4dMVh8twSSKEQLFItIyQJGBR4Af8card0BWy5WJx8
uvzHhOzTOxh7T+1aXYx3qB9k7UZ/TjSOyTUCH+83M3k9vzJSuPzSDYnoI0thfvqxm326YBYYteEP
ZbIzMPaKY2/fwKAHSxAjGF3RUgCHkY9a/Z4DutB/FGxGgJ1Xfvl5Szw/39RPN3H2gfVhP8qNUcAr
2dv2tqMupyzfrd0l5XZlX7nYxcXz6WJn7btn6pmpePPFXm07XGwdcbtwlu5ygznA4v8zEGY7ANy2
WKqqdXZyp6MRsE8AVujpLck5kXpsjXGpKE6Hew0DDA1Dm++f7/LjmbChMBSUTOPs8dS6qge/SoHw
y2dEHxFSUl9Bjxe/9YWb0qZ/f7nLP92/lztbtGKTyblU8P1wWjUDVmf9QeiPIv2LWF77TC71CrxC
iYEMc0rZOnu0BE/AQBd0TlbJrXl/vvakaft2sA3thmiOScX1xlh8/3wXAd/PFz17QD/vitaqohDq
1740VGxZXEpREyoMeCCBaph0DfGtOmpwxN+vXPuMt/4ftF8jlAwzKcvA6vtso6fokxOlgOfDlpj5
8JarY6O9hWQLMacfRQKVwruATDRfPiSIivzAciP9LRx/9HV/a83VlBqRd1MR9/Xuh+81TnLY4kdz
tExfoCQoyKF712AtkRY3yG8iQq44w2U1WbXUaWzxOZqyKj1m4LBkmxkdDkjNMz1qIYGJmsNMHoDf
IRooDgcgt/RIqVKPyYoJiTZ1qxzbDREIkL0btMOXEurkjJSYZFtjSjR1gErVqRrfwJbhK+n1TUC0
UxQZtoT+Js2Rh2CEEGY/Y9xsJvgkjXpi+GeXjtlDTNJ0dxCP8XQo1PcYV4U0au45e21NqO2036o+
tapU3yoYTJvxEXR08A+sA/hQqA5lSAI9IpQReZBWSY4ergNSfEQfETDTvjbVV/Okj9Jz38TSGm5V
+Jb0z2VS2UFoOBLeHLnUvnaNulWQyMqwjuf/NZj+KNg00k6aOGxYTXQUE5WgLHxExoJ3CVfTRAPU
ISrxy5sMkoYRZXg+Eo2VeLeCBntM+DOFf2qigFKIuEZx1JF4C2PiSJpy//0Xdmn1fv6+zjbeMIxj
U9DHZBdI5bKXTiOsRoCsWnzrk2ud/qW2VBM1yjidI96Uz5rE2kqMvNPZKWhiLBq1iiSknlFRnj1L
zWDXkbjT5X0QVS9Tvq4xNInU4qdgkjbCmQv7ZKa5ljjcG+2VqcO8gs9Pn883drZHT1YZxHKb43Y0
zuVN7rt+58A3+/5VXyS3UBDKqslEXbHOcQe1jLUxN6iiKkDrKQSxz8hXh6adTNM2M06Veqpq3RlT
EwM2xGNUczX7SyHdVQCknB8e0wjpuarR45fplW38YuGhM+hWqHwkWdLPtjlrNEOplTuAOlo5Wc1Q
eIEfGg4KVKs9VfqrpsjL8ir6fGlL/3zZ+QP9VH4ooZVK8lQwbsme08SF81GJGE6k+xbVWY88YMix
OLlyRF4c8swfIc8rsbd++OJ+uqou+UIedsz2G/9nXjmG9iDqj7W/UZ8p8bzwQdJxCLjmBnP5FfOG
RQWvX4Q7ZwsgULqyMwM/uZOMY1c+kdFXaRD/MVo1DOKOX0vhRruKr10oB7Dbl1l1lNWKJp6dIIlQ
lbUR9NlunLCZYGMq/J9Sdsj9NyOXlhPGWROWoajHS1w02KZpV2CXYz4pYYxmPpT6lW1gPqPPFtuX
+znbcSLfEsSk1bG9kpiN7vsIPcyVvvHiJVSFhUZ/hIh3fiWfft3QTMyhirgEPRjdEZcQgitPcWHL
kPRPlzjrEuI+qwLP09NdO5+oQERwblsczPorm8aF/VniO9UUSZOwEDqfdcl9a0meXOJ4ohzg7TJL
YW+MCQ6/TiyYv77zH+bzpc6KqyEXoOJ2KBmYF47YKWJ3xwJc178HeS8XaxSe11jdlx7OhLcvwjeh
kT2vjQNPU7sw5kCAzpTWJw7gSLgHDb3KU/g4Ws6fzZz1izC1IWmfm46VnqSktBfhTnmtS+S9sz+F
gW8j80wZhZIOiqc9KOUPCG9D4Wbq3mLbseZs3SS7rRkaVUIJw/owGgfpGp3h4lsgDJelqcAaPYdR
MimvGl+WPwpoRn2MujXR0ZOToplX9vhLWwHUOhMRp6XLnEFf10U0DH3YRex685jBeOE4pYJF0yzL
CwFx9vfH3SWiChgM6kTCaVDknFNTCyEQI1/twYQl3nKyhlzYSqei0xY1I+bBlYvMqWH5YfuWMtsE
UaA/MVFMSdvv7+TSwcud0FUDyhF1fi5h9eupnEYZ1g93UZdYBRXrAGJ2TfBJa023eKC/tvm7opLs
kVeLyWvsOsFOwUJi2+V3qIWF30Q3jEa8Uq/Oki8URfhLM+Y1SNRW+TS//iaBKkvaaMJlqSx3Loo0
aBUzOs2GomHbl8XdGkTv+xfy8bmfLQdTBNrQ5qpHA6j6elE/NHvm9DqS9Wrd+Q/xMxLR5auAR9Gq
/UltjmHBlB4CCW2Jq70YsA7AtvOdimrxCemncZwwmcGrWrpN0oTyxWl6Voyjhc73N3qJmQouYamq
bFKlIlT/eqOiVXa+kEbprdr+hI9a9nu9d4X0Pa+OlPzGzHAY0G3Pjoex20mnio6hsq4BnZfGG+aM
tEmqwe9knB8olqC2tdr3xLEZDsI2M3WgjJnjYqjXAwnZN8fw0bPWTW4uR/NFP434+vnMPcj2emDC
XRAwiLVPRUiRvyCw4hmLVbyMYkL56jv9/zg7s6XGsWwNP5EiNA+3nm2MwYCB5EZBZoHmedbTn2/T
0adB6bD7nIuOqqiqTlnS1t5r/esfOkwCs53zQOyfae0jb6tAZaw+MH8c2g32jqgIozmivzluAXuc
EWqmK9mNWd6m8pZKPc4OWbDv+tUYbWjezPEejt426lf1ifRPFbXq2r3B/BTtI50H1F2sj2+G3x3M
jCutxLlGmaeE45tsoRNX5cnLSuO6LY1ySA70qozNK6tc1Uq0gzEHXkcZSeeVI0muwT8yZG+Xl8qX
9Gi6pr9ffVK/jrnpF5KeGsdmycYWkNpjyb+lAxKhvbol0iTaDqvo6T3IKawXhU1Q5cq4T7S7sb5D
Z3r5x5x9FNTQqokQgFU7JeoalpO6iuv7jxj8zoZl9xbhdSXmm4/KKbzN9JV1jRSmnDlGaKn+fUlo
RD8/FaOAiAdYGj2q/XLU/8GWQJ1D2zDm1q0urcw7mBiBOsuHpfxq37R4OJVX3sC5DZ+vlGGAYiFE
oPL6+QtwPxwbhpzakeMLgxwSqO6VV/PDvefOfdq9zxSuJWb/T/bGu4JintNBIP+gwHV4tmwZk7U3
9oEVhWqWHaImISlCRttej84hN5SllsOl6OJdwHmaUNrGjIZQxZjY9ZuEXjXIGsiiBT3I8eVpoFc4
6bMr44oGtyPpk41q/QOnrvafE5gbLkPD0cOzpww3YwD2glODf9Sja0XBJKrvC/j5cUOT5Vw2dRH6
TaodMcwiM776iIkeqQ+BOTdIRBj/FOG9lzzg6fiSSTe2fudDCjbCha6couj18mo+Uzb8+Cli5X0r
p0utycrcz9ODbENh0Y/M9MCDyX/WAJ6uUwDP1KHUu5yJAjX9OyrMzhoXlK/KDkjq2EZKrPzoCvOm
h3SP0U4pJqxeCAB2rdY+N26yDWB/wxBuCpAAf95omyauH44BCs8/aYJp8Mo0XowbNdiEErYKex1/
SASmzixiQ5e3vf+KYXf9ZlfzEU2zc7SwgM1PkNFRf8+0/Godc6ZU+PHzJp2T3MeG3EW2RYT6zicO
lZAxnyjl30m5iZLXMfh9+bWfO3yFxkCjhkOfp3ylL3x776Ztd30Wy/5ezp6JG2PH3I3D3jsWqKYG
dtCEOW1qvbrGVuqOCMs8kC8jeb/8KyZO9l8fwo9fMfmyo6ZSzTBS/T0IpkXWdUZytiy/d+ZbUR9H
6TOCgFdzoBrKht8JF1amXpES88aJFDi5z41Xr8f60Jto7bN/uhb/bBZPon0EFZHJGeYjgT437Hrj
4XBWDLtyLMjwvpXaZ9s8GSy3IbRmmWtvi/CtpzoKyFEetjEmqkXy6suvcoJzjQyB5MSANVbfBBkr
zvdw4hb4fboVqXXmm0VSWNVHy2L4SG0M1vNfQoOdV906rapNUmK4kSKb99+BPmcCSrbia4OIc+iD
g2pXlin94Ut8aSG/vc7Asekm1c6/KzFzIH0FjVwePYGrUU9FWIGX6a5s7i6/vTNbhyPAa3o82zA0
U3zr364ZJobk+HXiHkb7PbceCvm1xGXQfYRogcP65Wud0/FwMc3hFtEwYfv682JS4DqhX9buIcVH
WV8P2WGsNn29IyCWv8niZSBtVIxY3CWWD6QLEiGqQU1RdgS05eZNRnQAmdbd0kTFL20u/7hzFQEy
GthGKvoKGX3Fzx/nlpFaUr54d8yeHfwfbCT+qYsLHRHuC5luxA4zAgTvMZ2ur72FMxuHkPCoxOjC
dvoLdypbVw8cV5YOlbQnXm0YdxWUxqxhcnLT5RhrpFdMac/ha1wRy2POYzIs9cnpldeKPjq8jwPW
KAHpEMUhKvZZ9Mw1RxYgxveYasJrvvyQ1bPL7dtlJysgHRx3aDsihtoAB2y+qkwzF2OwNvCYZIYD
Tf8pyU/kv7Qfvp7MPOYifjvMsJtM7wJvjekLDjm6Mg/InDbvqJntEgxWkHqwBFFzZZGNfy7/5LNf
pcaioPdn4drTTTbN/TBugeX2MHpubT1jS7JmmvHmkgseMGS2ts612Jxz5xzfB4sQ1wSyI6cTQjk1
LS+Me5+Qj62fJL9t4yWkjymlGxU7QSeCBbiBnhrFSC1BJ3Vhy0NYmhmcwh7bkHaXtKh6w10p+QvT
3UbRsY7eJO9PLr+mWTSDWnHlIYmPY1Lb//jBk+Xke3pZ6KPv7wuiXeSGlHS2yKySCIABxzmqRkW+
u7lwpVPd64L+Gl+TOZ9bWRpgsdD5Qxuc9jZGX/Zy5pv+nq0e7hNtZq28x/1DBGG4qeaX7/ccXEXc
kuWgCGBOAD492Sxyv7btwHQOoX03skfZXzzkwXo19WPi3IitDNt6fR3nO8ndd91jPrxBopWHR7ld
m3iRhb+S8eHyj5pEF/zrIMayH9jT+nKcmuxgRlepHJMe6JF2rPB+NEjbgCcw4mfYuduGB1+3rKf0
WCvV1reCeeC669ENHxM7jGe2MbfH5mbo+3+iOsANJmYoSCWO74CUvVfJtlE3fowPrPlR8pLh7aNX
nkHF68k50aNPH4S6TcK5X2HCEy1DzJJ8stLRw6KDy08y9lCFiFbRT13dsZ3DNcdAxe7eJTz5WjdZ
YOZr9uGskGccwgzISU5BMG49X35Kypfjw3Stfn9MkyqtieDy+l4bM8sisyM18NpSlpGS3lHLhpiH
GW5942J31EhQ7yRSi9qntlWXbvnYlu9xi6fkB0lH5RHLHom8ECGZr2Jv1qLJJsDEuQ3gS/rJQ4Jd
TzW0W/5UTSMCBR1bhzM87PVGchYSEyZAduw9j0m7T+UX/jNP0VGv5ZvB2KEYYZibEdmIgqLdtR61
B9bRkhUeBpw6jfeuwRWWfkn3fyWEPmlUO4l72/YwgUWwDJiPdIuR5p4Zwdr30AJhFI1TNJU5xY6c
kTn5bDYE1Q+fGjuK7u0TNtK6DNY2G6kd/GoGEppxru3du9QguiPV7y3QNv1Zyqu57MqLLl0keUjy
ohzttDIuwUbUCkIhB7ps+TNNLee4+4L7pHmArzPrjgaurR7ccukys6rezZ5UdvtNIxMaq6WUEVLa
s15l477iQBpJzMxYv1alYm0Igg+oojobi/LAdN9iF8tFmKHdAK1OLjAXJj+5vVfqZhnFNakgyiyT
39yuXTOEH1mUQ9kdtF4jH8ijQ1S3jf45hhGB5MOmIfy6Ry+02jjxfRh+OCRv+DETTvLs8VlGTulX
nMVdLhAsVvPAeYx4hTH0EjzL5uHoyROYfwjplOmMHr+VZO3YxcY3nYfALXaVe223PTOScyBhgZSS
Zi1jKf9z98mTsTbCuAr21KO6eivpwoX2YI9kXmyLfHnlgzm3s1IhCrcmYeFjTUrETG+t0vHTYN+r
zxrz9pHkcMlWibN+DlAmqTgswxwwIP9WbzmyZ/3WLo8B5FEG1Dov3cPp+PJPOv+LoG6qND4qrKif
998ro43uClQtIntIuq3xWbaMt5iTUMHn7uoE9Fx1BgZrqsAWRCXIk8ftMMDKJKmK9zVuLPo4POnF
M4z0WjupOLcr5BhhLFKF9rbVwRQHjILf4KnTcmExIVQqOoegivvs5YdwxhqF2o2hhJB+yw7spZ9P
AVa+liOBw1EnP8gNXCWSgrwbHOxaDV8RYoseZetVpz/Cr39Vh0RDtg92v+3Wg3How0d7uO+aba3d
FfwT/8ZKXiLkWBWO2SZUnce2OITloTWPNmF4EZpRaVPXMU5mj0N1xSPqnLrix51MDq66tAbxPp2D
mZAkFc6TZJu4966OyB+z9/6f7DQiVCVioFcwYrv2NZ2BM7CWUQkzoAkSQ56fzzEby7wzrdi/oztt
AYGzcR1JH351CNDQx9YrDUcWPVE9XX5/YtVMj6Hvl50cQ2kVI9hj3rOPy6MfYadX/c5hn8DMuSpe
PPu9aILvymyN1IbJpVpvcONagiAVicy08ojABzWyId2nIqqPBNLLd6acoyzSVqiGocA9/htdVYYm
zzPbD/ZjdQyh7MSIngfVWmVOsHXQ4UfdOwgBUrCZ3mUb/jboyLBOPztcyvEi91CSYpFfZreaWS5g
mZEmkGCD9sY+hFl8+WhJ6aySzHlkIbvCaD3Hmjh1fQFDjR2jEmzSVe8maHY2ARFhmG9DSEpZ5axY
RAbUoV4+xj3JAN6voV+bxaZKH9V43PsLJyPtxCcE1v5j4yeZNPxc4jQweHbihlPLn7HDVd1nkr61
WruKqC8ZOFXKO3Nligj/d1McrQBRB+pLtCNIpzwEnW17chHHjf2pU8gLd25FbSB3BnvnpzcSFiq/
jUQM9iN6NWnNH9W5p4bKDRwX4txcTYq5aEBD3Lv1Zlb7t5ZnLEcbNQXcLwS2HgCqyn+QIiota3yh
agAPjInr91hvV5ZTk1DRrLiu4LpfeddfDm7TdYx4CxQdl2L4TWL3/IYg1G6pGxEWdftI2SkUtxYF
FTF0jO1U617MjVX0uRiUqvUbbke5T4hxshxSc8YQIuwris5bzfh0SMKlHEpAYxp9nSWfeheQ/Yu+
SUjyhMpVPIGYqCkXtYHNKMv8CPVooUjhTCJaFR87lXYQ8NOt3lTrOUfjYibysiWDjCsnoMJV9hmX
RGZCaIowxK4z5NjgUgSUrhIcZvHdwnd8FigfUlUSMbLiLKnJ7mUjECATe3uXLYXTRCdbO78pMZ1a
e/0xUZRZB7HAoAL2TilyQDT/AkIqMnvV2PYaVIzlkwYoMCV0/hyYXbo15QQJzq0CNJWF/8S9R5Fx
CCzypLKb1iEkmEAXdC1B5x5NnI6N8WTj9SMjhlTlT83HdaZ9FgVQr1OFZFk6w0zHwXNzIJZUiaWb
rsaDXMtvBQpmFt1N5KmvQzc+W7RkWU0COn7W9bEo8lmx99eFpr/4af10ZWkI4O+vlaHg9WMaEOBR
Lf5cGR7YkpmMebzP07u+ag4ZsckWt+oyzkk9nCyrg4fGVAuRqnTAPnY7O3Rj9shc/MqOdO4EtygW
VPoiheH6pIRxIl1KCpXOiBE3s2344iioFfkdx6e4SBcBu8Plez+34+LgivhCo06Duv3z1pMuDgOr
Z8elGw2DJaVCxtlKVqa0YIb+f7+WLQOnGTZpPX91vi2mQZ6bKrFwuIM0PYMgh7xH+DkGS7RVly92
7knyPg3U1dwbFdjPG9PikBOqp/Six8TgRoxqjATD/88wGGaUXkF25e6uXXByOiN+7QLfY3vx3Vu2
lwJSKuMN7EeEyRFg7bXRu0AqpovWBhCT8TbAsuwLDvq2ndlNNbhtHsZ7WeaMMUj2xdaV+7KOlx/k
2TMSjiUFJf8zMB38+SQTz62tjtE5dkqngQygekdNKeprh4YSt4zGfoahmuIT26FPjjGwca59oOdK
kO8/YYLcB+4YtEWPDShFdGbRTOo7uzuZwXiIEm0LlNEXuFnJW5w6TLLZ6Oo1W13CdXyqocYleN5e
fiZnzxI80gymWfBBnK9C8fvDl8M2q/Mu3tsmQEKwtFtSWXHyAbFdV2Z3islS63F9SaElDwS4MlFd
9la+yrVkro/WDu6BP54ssigCl4rY5uipqejicF1Jxo3SCTfdIX8V2/PlX35uvCnc3f73l0/eZgRX
xoQNax4oIpETzLRyZxY3UkiS+05CxVp7lDVQ+2p7U+fGws4/RzUkIpeQ8ZbE63xcWDB+fFzaT8LK
UarzuV08+s59WP4Z52EKEdDIfkdIAP0umqVl/wC8J+sf5XBlXX4h/n99AN/uZLIocqOVTD120beE
pLyWD72vI1NMbir73leeVek1cqWtJJFQiZd3MQSit0Y4joBb+/CV4GDrvyLT33S8HvzEO9IWcmnW
Yw09kJElxa9j/W4w7892/krryE9HZa9sjFChp4SvbX7Ew4l4wU2T6jPG5QSj/QEsE023wDOZCOnK
USbvvt/kTK3t9A+xKdA1ct1b2JKywbBgVcF8hzaExQTdAy7pHpGnHQKLkBVy+bWfhdG/v/YJ7slJ
piZG7OBMpjx7nCxih8LDkfOkCUSgKpMb1AdiZnTlwmLbm74l9CqW0EfjcvMlS/j2pYSp3HllyAGT
Bw+ydS/qihwLZ0eL504muPQJJbcWYth9Q5Hat93iyg84d7gzkEIDZggbKnOy4A2ztN2iV5jlxKtq
vGPvYoBghgdmNkF60u1tSrCP8tAoc8XCuBxR2JWu8e+NWrjhcRBhoqlB2RVH8LcnoNZl6QU6vCxq
zJgEou4oV/9F8/831qID7zrA/wr9Ex3Nz8tkjldKHK/mgfIWjA4TVL9YMucGACS0B6PKqzxP59yd
6ZAg4WOYJmTASUVdymNriQLiIRIyWaIolsZd8wn1+E/yab0Svy5n/yjQJ4KZifNitMne3xC/LWia
hhP+j3OU8h0iXbY+RtBriwCuWX5TvTrVLGjm/oa8oHm8eIJ3Q8rmKdoaD/0yuLXWa/X+vl5mf+pN
s/cPHuZQ7cxa9sv4wSE3S/ncDbPTMtpimPnUAc7tww2W5C/zbEsdvbQR63+mh2HW3HmL8ZE+3n7o
77uZn80BJJ1FKc3qX1eW4JnRDO8GxiBceDjx5rT1gCGXdT3gwbHbhfGq9pYKsVvhxjNnIwo1wlOT
WWmv7Cf/VaE0VrZ5MjfnqKcXFODtogHz/vCxSil2AZKPk0TLVqyH+7pjt55Jh26dwHVMSAU84dhp
zWy6VZ5kcZs+4XWX79uVDvC/Vp7G30N9R7aPyczhZQgOlSBN8l8eSmfupSvnuXuUlaULaXcBaus/
IMchqEu+y58LdSYv5vksu0M2GZExysn/21k0/KiTuaK1W/TPyKRvak6McRU688pbH4DlrXXbLJ59
ZE0zC0BUmSf6Nu2WzbBvzCPsuiLDfoUWaXnliYvq7ueu8+OBT+W+iZvYkVckKK2Sg1fvE+sGQ5KF
goVAODeah9a7M6GSKliRDlfqzjPj2Z+XnnyHVp37beN4gHDSLYNxHFA7CQPfcqahfweKR2ktoW8S
7kYFKbmXb/wM1iaujqaNCQoWyFPiiTuWmaDoMwRUnkMsEiIikTQL51UyrTs52hRtP7c0piKMIsGC
8XgibaRqcCoZ3+q+QBWVECHYrO3R2cfDnUZSrgcBsXxwqyUOcB255IDx+YbQIbPfC+uoEpf+QM+3
rXTE8cAIynkTIXjVrnnz/l1fU+rSFNmCfQ23eXKCKaPU2EUioV+jfaZKWsGV/xfD2tLKVZ66y6sq
wb/Lzp+XFP/+284dxBZta0+aY62p+PSAr4QHzPry8sCs9cqbO3NC/7zY5JioTSdymoQTWiMhOlCe
kMoFtCotJT0DKwsmHAZt0QA/pQ2uXPvvJvDnpSf7uFtHvSs73GfsPXjq7TCsQ+vIufHfNIHnzgxA
erRL9C3OX9QKX2kbtwswRWMgh0EEWjh6MlFJXv4Qzjg5i3v6z3Umj9NMtMRAgzg8FcvbfpXNbp8+
9Nm6Xi6Xp/nmWo1x7qawm0UUo2sWp+9koSRp5CE4x6cBIF143upki/l8fQ7GDIiQMIg6Odim47vf
KJ882BBfNt8ltiu/N2lMr9z63xUPOgiEYTgfozvH0vnnstWaOMoUPEf2ub3F2ykGlxEtkn20g2cl
mTm9Qzg8ozbgW4ajXwNMIUBnFnX5h3ztstNdmMqAB6IJqtDUeqxTlEBVEnZhg6TYuoI0nLw6vT5P
gxWZodiCOa0yw+6cBESi6jFfK8a3GJOpsr8hLYzukrydPlGW3cjgsCJr2Qlv0KaSRJIcMu895KBr
nHUuk1XgrIxuSU8f0YXW7aNN7qKYdnMupt6uVvONykTs8u2d+WpwBIFvb4IuUAVNXroUx61p5RZf
DdgZ3tglacdLfOMwcbuueBTvbPIokdIBnEChQ4r9ZUf6bSuy9MFx+DWY/twRpYO3cca0nITb8MV7
Gj/1lvn5PqtfSn9nX9PWaGe2QYFICbkZVd5fyiEnDEnuqnv3YARkH3B46PJbNRJC3uYzzcf84jNR
1/hLMf91q+bJksOVNQxMCF5IGYPZZ5MLPbafWsxhgZlejXpMTx6gEm0YR0Wcw1pISEy3su1dYZpM
0/1oxii+lPOV2veLLL0V3o0NWTaXX+AZmhf6RB0VB3a6eAZMqwRL6mo58Ltwb3tPcftseluPGWGu
PZGZsWhJBfYDNn4rxK1SPSacdXSb81pbwW/TvI0Fr971FhbQvh/91vxqp+Mt45skCJG8e/mnnltr
NC9QJ00E5Awsfn7SdttmVoMIez+kB4p74c0KtJyIZ2c8/T+gJZ28G/gZMrGVOGdONhAztQwXRCkS
VzOovMODIMtevcwZZInrGCYmmWwQ9EgTyCyQcifT7co56JKAXtXsxvJuEn9rOQtruNWseTGuBv2z
UWYKPtnXiDjnlvX3q0/uMmnUMm26gKxmWUzfa+0EdM68hKnJ5ZdnnGnNftzn5O2pclm0YCvmoclr
qPPWvKGIyrp6BYg3L6LnHGIy1QzgBUDL3q9Yb9WtohS3eAOqNo4+cEwiGQo+7fnovgaSsengsrRV
cssgH4n6MZLxTLThXcj5oQiqHSpFyzPRSxEUqZ2EpXjrdccK28EkGyjCbzsQjQz4IZfxA5rVkPha
1b6LWFeVOi69PKAEoc2w3z3r2iTmzGEJsESnSsyJxUBm8taLEizRSAAumfOwaQpPxP+mIT5DfWJ1
mThlyOgI8GibVDWtY5RGrkQmyqL8MSLWKmIfKqHz6dVJN9ONSEGSyN9ERsa3Pc8YmzHlcHgoVfzg
qjXujNCw/U/xcCpCCKX22s56pqT9/gun4HvQxaY3dGzqETOkxpd2DTQ4wnfcIbqBABO07eJqWOeZ
p483NnZShoUgzJzyKf1Os7uoqCFJCEc3aaEPYC/mB0Y0lxf9ma/rx3UmpyNjXMXyfcPfB8WzmX9a
1tFWP+30jUSYyxc648TNjbBZEemK2w8WTz/3xrId7GFEr7IfgS9NhASYWZS5tEhqC8OdYokYVDR7
tF5iCCAMLyLi1FOlXQhGSORTIgjgIXoek505QGPq7QUo3dxr3vtUXgoMFgdm/NrnuVrtJdwWrvpf
ncGT0QnAEWEEQxgSx/zPezBaiv9O9pO91pEHWUE7N7w9wu9tkSAMi19DXEbVtoiXZdwZixhAW8lr
clDfXe0xldU71QyI38HQK993mU7BiUlfK0bJmQLJLVaSeZKOv8b8FLnyVc9JsVFOapMfP35Sald2
JFfpoCUH4oOwiZGjZOnVz6WzcluyLT8gH9E0gS4mxQ6RH+KYazvKOXzlxy+YfOqppJtuOvbxHgtv
9rh8IOwBEsZaoF7pLZ5tbXsFff6KX/n7pqE0GWjDKfsnu1jjDk1YKFgwIEa+VTTvUYVMSglrdKR9
8uEyKelKKlznbQzVNSkct5ItH6oQ3Is3INdEpPOKW5UQ4rLaFN47z4h+q0LeVCkkVbQHYGTXDmcR
ufVFDDSFWVvlrkvEB1oKaOTTdZ/ouDPraJpHRXssTGdd+o+tvy2NRepvtf5JKuHLh4cULvLlj+6L
N3rp9ieHpy6NcWqZ4vaTg4J+EddPxCy/qOS9/EavVrG2qJ1uXuSfLtb12B8qeLTY/NJ7T0K0l6/L
fFshNEq6X5FBOBPHmau0K/BKVdtLazW/Swp56UDkKVyNMcKHTP66Lf8xX7px/yWbkv9o0dKLnyS0
pEHeXwFtz2zNrKj/vN7JkT1mWlSXJrxOtKKgDIiMS/OIoUE+rvsWesL75ed5brf8frnJ9y91XZFE
FrANxR0+A0DzwqJEDNb/72NKsdP858YmH2ujupYfi54McoNAUOKjG8FbV08MffUWTdhV4OZcmffj
kpOvs8XEp+07pnfdMNzw6jXGojHDAGkhB7+9/BiSHwZbBcqoJeF6I31k2cvlx2ufaYnRYUFT/zoh
VEucit/ap9YN1UH2AOVkNyPyYnjMUhrMDiF++yycjBLgV1RRjIoIYHUk8rqrBSN4mzFe2YQrkPtg
LG/kiFhefCktIphwDIcnPXTeA+UE9EavOiTw+qDJ2tI/EWzcrnxWAMJM4i/wWkgB29AC3SsFJpj4
+dTFPYov8kerxMCOCBozLB0Pu+mCuD1YPyIhhMHhKkgeTARTwm2dvxWYjHD8Gd9aT8Hy2J/XwY4T
FRfMhWyMM/Ev2RUyPPxh9Zk4VJJAJvJEQkOfkR5X68VCg1oDcydH02DE7Mgt2aZjSTX01vSoo7vm
qNUkiTPfDYur0lIBfv61bUDtctDGkdNmqZP3oGpdQwkCIgDz1n8vAEW3eHua9+YvDfLs4K+vOg6e
Pxy+XXOyU+de4evQpanzrXniHUvwGClfCpNDFKw2hEFnaUvXuHrnFpyGVRsmEQb5GtMyK4hCpbZr
KCVg/Jo/c8Ye88wPdrhBXln1HlekSn4whp0ibSKXmm+ulFcEU+d2sO+/YLKluEVpBpgPBvuWqNrR
f9BRqeJNPAQ3Aw60ZcVw9lrNdw7DpIZBta3bqIQMZ3LNvPIdo3Cws7e57cDCn6FTdomRrVpVx811
DW8QWfeidKybEbX65Y/8HPL+4+qTrQ23qajMNLY2rIMpqGY6n2rLwNrX4NvigACH/8Ntn600vXbl
M8RQNFHfbnyyxXVWFbVxDdskq1YNPmXJrsj37BCzqvpTjP466ZoZCSBrIxoXiZXNaqtc+MZdNKDs
Q/7wIIh1ZgHFDPf4jTy8umqDZfayyF5C7XlQ1q15a3v+rHKiudn5KyPmzFOVmdcGK89Euqsgn/Wa
WQQBnPcCy0xZ65ydfXOvo5joxlOtSKvMch4rZmlp9aR0+roZSAsmXj19yNpdZ3PMNXjcbEvIpDXa
xjIDagjBNjx9KUvAIB2UTBKPTZwkkLg5Hwbbj+b+UuvniKGZpNqroPmluT2U8oSArWBhdTXTAVSS
zskwnPtBfhxVFej8045+SX6yaLEhs+8DdroQqiMsMNZHvOr0/kb8P5uCvTdEDmqUN8GY3PeJj6Ow
OasRjATOP2P1IWQdheQt6g7dbJRuQgwQdViKsED64uRI68vr6/wH9e/F/ZcsHpFHMI4mXkBF8NJr
UAA78lHXogGvoQ7gZ3yN4fMv3Hi6XWLnAlkFeBEb7smyKjO/GEd9pK41X0utOECU1IWRA9AynCZP
cx6yvNyKpsUNcaMe/EVRrxgwh9g5CIYOmV5YFa8qdZVENynngGHmNxaB6LLLkNV2P0MNSbRqzTzo
MmNiUT864Qxyiuw06zwLl5q7UgRSIKEvXAvmjZDAM6JZYf+yc0YfdA5RjC9bDx1LVzUw8lDgRr4N
xtHVH51gNQBdiLMqTJwdFjGpfyS5UC/Tvaaw+/qHYtUS7uwSiwAxQEO1Q1rEFv0CtIswSW5l/cBh
K8IFMn0b+/Ibtj6hm9OWcwoj7BCcOAZp4jZ0B0LQcqitF+Dvx053d6oXEylNx7ZLMhIZkOiF+C6W
tyHOeDzMWLHvUMGIuDMcTDaCM181kC9cf5V7NIY0i4KlD94pYD61xrtVLReSQ1bHg6Yv6lxe9ZKx
jy2+SbXaZnB6K0p8R4nXFOA5iqogCNYN/UgcfRiJvNfFM5DZGZSlZD77T+mYEi+UikJj4JFaafEo
qyfU8OSramRcO7gIDGG87ep1R3VQJphPfW6KUN00Wr2JMg/zBfkuDb2H2qleCoFPKoteiikcmqfL
a/8M/oiAAVYi5pEG8+tJuZ96dV46A/WpY69JM82y96G4Zc1TU/TN8sq1xIH816r/drFJsVZXwl82
j/y9EHD0cTPTpJqSJV7KUfBQjO5KZyIOYbsmOpDKSwZa7uDgoLZBTKhAO+XzgLNKKe0SNKtKc9i4
MwWPcd8qDklF9ke+FH+Eht0mb9eGdmwWRycwZ4CRK+p8Ts65S+RWTh1lJomgzHrxW412yFaomqR7
UaTJngpL6l3g10KLzWaYgTEVguHBX+FsJpZLEbgZTW0lSjh4NnCuIVXGbnfnGks7b2eJRMrMByZ/
M0IyDSQovQR9DkC5QOUdQyMbvJWG93anWXAWsznUjqq2xSKqtJMGv0rDbPOqQvH8QYo+TzUxJoNO
MjnG3bq3ianufMGU1mrwhyPiKUYtz3i1zO1617mLtnuyXJ/A+iuN0BnzEU7Sb9eeHOJW5juj5FvO
oeuXSb2PMdNy31Ex0dA3woPmGdl3E5z67IBhQF4cynTBAFru68XlVXi2bPz+QyZ7rx7VkqR6oXto
wm1grkhaUK0lim+LcKKMn0aiwJVLnkmA594Bw7FeURhHWBMybun5zLbtAYMCU57H3qHwP0Ul4X9w
1EjqcKi69rb2nY2uraUYXIcQFuWYtvAxP7tQYexgQ8DGKTV7b2z679qc+QS/wLS1oIyYkn7D4ai7
m5YBchRTFrRbKbw1/JdI/WRvbmJWfe4sXRepu7ZJEuhrPOs+XfrVJwTkJGw3QkeVBEIyJGAxPHhY
+x1BjvgQ51dWwtkt59vDEK3Et5YtwZoOPRJ8WoBKXb1NKavooUwPVWo2p1e8/LrPHu5441lQ5ynb
p6J6P8nyOMiJnyNdEHhCmNGOsjVroU2M8RIdsA6X7/9xSeBpmyZBwT5y8pXxIWctqj28Bd2Tzgbm
k/6DJg1dXhpoqzF8FoKEy5f8Ytv9tbWaQFKMdQwO9snWCrlc6Wxi347uSXWX6q0Mf2hvLYqNpi+r
Bxrd8A9DaiyGSuFVtvI+1Ht729+QBXAnwROZ2c+ltkgfrbnCFMHZjG8m/Mm51M2qfJnqC+Kr7lG7
pLsIwfy9e8PRml3prM7h18im//cOJk/N6kholsnqEsBMQcB4y5zxxMO6/KC+eDKXHtRkGwqTzkjD
sYswelNnCIRwB4vXcnSo5fRutLqVEuXLse1nqTTvfG8XMiUh225e+OqcFncVjFI+n2e68UhQOQya
U+qb2zLo71IQ/ss/9ezK/fZAJvtU51uhi7QB7oF02+rlOgsX6QvMpsBZZYUyj699KdcezXRq4cMg
zimOgP6KZ5kADGowcVATpQis+WYqiDvnQpGaQj7jgJNM74sebdN2ATLwT4ThMxOfZmxWdVnBqqFy
gdd45fMyRE1y4RXakw0kL4K888yoI6RmJp9C6FbhDXA5XnzyrV4zWPwVvDfuwWU+keJVuv9N86S4
W6fCuWNlejw5+q25khEgvCNSJpcXpb+o7+LHfha/VLcd2ll57xQHdfxHQWMu79KaW/dnLQG2qSVc
xPlChscSlW7BjHGWnsLul/eIIYivrC6vgfMnNtkW+D8wUlOmjYITEXns0ZBB+bhjDEDpQ7wiAvnM
nAvr6lQ5IiizqWgTCOmXr/01e/7rOWOsY+kc/6g7xHv4tlEXaurZYwr5hQqRjoO+u/+SdLWWhoRo
qQ3IpCwA3wLnHMRVc2Jgq7g7xqSj0RwQ4PgE9M24yx9JzArzPYHHa5PQwrqR540bXHtU5zYQBoM4
oZOgxHE7OWRBP005a0RPVTzb6TPFtz7YM2UmOpUqTBY2kisQX5Zqr3HeyIDY5hYN5LwNrxS6Z+GS
7z9lskKr2pN0peWnRPLWcw+J+iaaNvRdqZNv4QmObvCl4r5KJzm3Z3y/sPrzlalaMaDzY16Ccy4e
FNQPOqggDtHAiQ7aPJRtlxfJ2QWK7A7XGEUYcU3teyzfzFvNZewIQwp9m5xpM5DHuYFzOoWx2jsz
zJAQCcZBsowLc3P58l/9yXSNWhCwSQMn/wVI7ucNwznLtELOCXrU8llYbls5xEh0Wyi/LK+lN+jm
GYSW3I9/O5G/tLJ40XcVRg8eUAPMBw5itY+3xH3NrOFXa0p4qB9DcB0pf87t7qsP9SAuiRK+iLJl
TSdqM8kRQC2j/sP/EHZeu3Ej2xp+IgLM4ZZkJ3VQbrV0Qygy58ynPx+Fs/e224IahmdkeUbVJItV
q/71ByPuCRzi0WK/AEzQQG2ocbigx+zr3W1w3UviKpZkyv6K+D1ixEjYwm9P8sOlnHwpnGMnzhQA
QFbGFHmvZQXX79cSlwYvvUnSI0aj7ER7glWIpwqdPnya6hYzjbvJ+yjL7Swd82IS2NrThOVBNzNV
kE8bjzL9lsAED24hAhNLlWB7gUy0zFt3alKqEUwlqr3UK+5ULzoTH6pp19R34vTkaVBdrLvfH9NP
JR9yXLIJsBYCYDnbykIrwey86YLrcdahrjPtGk+p1lgjUk+Kx9/H+qm+R5YOAwGdMf6l5hksLEdq
nbJSAdkVqxleVwHJlEePDSv9ohFnhAXmFheqzLk4OZuGf415tlR6+FfV4aDT5jFcIJJxuPKbRaU/
XHzffriTfw00w9N/rMl+NIpl3HrBjqjZqsWAvLdV6jowlqa/Ki7ZAP14WVAJoOeasx3w2a3E2lCs
G5FSHVdcgCMj20NOihrmu36h2a/NH/yfO/jHUGd3MMWBV25HFWwgLtYVwgHMW2m91EmNZJrK3dO2
HFq1hM3aMHeBgOwqgD2bvuQybUexdRXhTQDjalLOc3K01HyoAOkXNaRprcPBA7W+y5OtGreLJurc
YXzhygAhaIr4TlaxTiDUDtJrpSJCLByXhK6yP7TLsdeX86zhsDVvszEGj+BOmbkuh3CR0YvJ9iI1
URIeEacBzDt0CC5sJz8+8z9uzbzx/fHMs1A2xzL26K1Yj7OKC6cJKfsCJ61JCrsE0vzErsGNeU42
Qm4iKeeShtITpHzqs2ieyvqwD9k/0nhcCmqyFrtmOSuLYPehEgNZ9ipyIJRH4n1n/5VUg+CFDUt6
sJB5iMne0AX3wss975z/TJO586KLKE3h9v19L0SrCHp9QH4MM1EpF9K0m4VHM5bDtjojKc7MgwCF
uzDuPP3+Hdck+BKhOU2Qs3GneCjCqOIZUFZgB+oT0zF38XrwU0TEM82poOXTb3wZ5RdgIyvbRR+U
H+cB1pPfjmkso2d7XV3GullXJHrNlQxSbk17CaDv4RDY4s4DjeX3a/7h5ScQALXBHBDEOWT+OH9M
O6PxVOx6h2Bn+HekubCGckzHWIUH/vtAP1wXA2EiyRkdn5xzB2dZ9YaaFQgzmYa+w55lW9Kuvllb
V0J34V36aXf4a7CzlymJYCZGOA7ueuupLl41FW+slaJem/ltOn3iM3WxMf/jfUShNqP9Cu/TWV2K
Xyeh3PMiWpmP2AP5/SJu97l0w1i/38cfUprnuLf/jXQ2SWUZtxLPT6KdMb+RTYAKO3ejsV9bwx3Y
vanemmpy7cEJn2UrtaXyokjLNGuR4teLxOivNBVQPMIEhPBDIQm3lr8vocwquoPjYdFdi+ViJhdm
eEyVEHJwbK8+OaNPAq0k+THQYdzhnyBRqszAN8o9WxY/SNKyf7/Sb3+ds9fxrys9exWkLjCkVuN1
9Br0q2HvdALQRY4bOW5HabykfYUQEm+HjDcDZeDof0GH66RkXQ1fiZ5QSWVwBB81gaaY32yjqwG7
AvVzDElBum0DdnGxv+qmB05XFvXk7x//5xnBhkqVIjHzz+ag2MpDZIRhtMOltZ5WRlqSwr4FFm7T
6sJ8//lOsVIiHYJjbIlnc8IIfD3TYwpkL9UJdMpxQ/FssZMIjI5cqfWvIa4h2CeRPdZvhDZfm7h+
SbELtKFl+qMV7GEf4e+kZSuBAvjbnEteq2rjVJZpB5F536jqQqXX56mGaw7BRsx6l52ptC52Y+dy
45+nLmM3ixEiHYtz4mduZIIstyERDcrn0Dp9LjjcQTg1enonx5O98vNHS3mmfcFk/P2R/cR1wW/g
v2OfgyN6HQlilgvRrvRklv16Zaj4rcffpyq2HlKXoRWyBg/5qxR+tHiZhfUFhOzHafPHRzh7lImh
heBABH1QCCFNh3wC4YYCh8Du3y/2J+blXxd79nr1pd+r5tz17hrSjvHKCCw3oh9iTL3DSdYtSjxG
bElqH+eNMIpe/chYQDadLWCaSL2HzpIC6w7DuGiVtYUfSh0sqZTmoxL9oa2sVZvvviCoM/53y65o
L6wQl+7VWeWa5aaJEaVubft4DgzCjFHtr8bmsoDj0kBnu2RRmWpQhxgNIYNmINJbHb25mkPaKYV+
fyw/7pN/PP+zU9QUVHGYBjU5SM0ra1oXRDTF4Cft56OdRgn0+3A/T3l2LN1C66MY51M+FfIgy0p8
R0sJhPSqTVUnHw27kjt4e3uFGNU+d5Ng05Sdq/lrTXXxDrrwGX5g2COy/t9nOJvzUle3jdoz5+H+
cs2V8ACAP4hOVRxZoca5y3eJd/wPDkqYhMQ2ipcJIhL8WrS/C59JHOPKkvL04Tgnwl+XjuI+bDap
09iNrds7+xkfHPu+tzl6XThG/nPL56Hx0xNxU5mJz987/B81l1zlraSOU/yg7qPQjnaW3d/ddY53
HRyyL9OW7Y/f7++80/y5on6PJxHwQWUyxxDPs/uP8czej6jLQu9gyG5suTj8pMHWvOQrfT5xv0eB
psfdpIJmmL9HsQr8HIa+6g7ptPe0pS6/RCWizn1S3rDF/n5F//QZzwc7eyGDMfc8mEopOaHRzTUK
E9u2VXtx0JeRff916TxyPj+/RwNrsCyTx0WH7+zSxkEyvFLMHlK7X8AxcBF425oTLS65/X+/bf88
qj9GOnv7IzwpvdoKtIN0Uo/psTg1eOxBFYShYluh3d7BGgjs+FbbtXfDWw5V/GXcS1sRKd1j96Af
y5ca3VNgY7HHwdc4DG98pfm2fi8/wOXpJCgLdvus3ifHcSdvs6MFo/s1mGCZ2/0s7XPEB1O0I3mZ
DPb0WSG5+Mx8RHm2HDnSfX4U7pmy8sGE+lHcFrf+WzFb5zkdqNedyt80Nj4e7dtwgQ73T0V/9gj0
s/o6UzNJr/Qie4Bf6S5zp7OpYV0oUBfOQ/+gut8DmZD5NZ40tdv5WlREldEFZfZg2JTBdnqVOiQ+
7amC7IvGOPMOe/60GYPuCIC2RF/s73mlFKY3SmGaPnRL+WpkZuVO6DSL4A5Bg6NcWul/HA3fb4OV
Z5aFnV1ZrszhGAXLgG+emtSZCjd/iaUjLqKVtOmLfe3ZcrhshUtC0h9fVui7UKFEjrX6d+P8j/VH
zb086eQhfmgdeVXsCEJx8kPtUCy4yqpeYjnfLB5p2l56m9TzUnJ+ln8OPJ/3/xhYytpA6f0geeid
atcfibjrNs1mWoqraanldnLj3xEwaus34ExX/kZ3o+W0rd60A8YWISmkNtz9a31db5TRfi1WLKBo
Ve+Cq+JWcOOnBpbd8sK6Nu86/8wIYHawdvq7KBP+/sRergZaKrT4pY9OQxJkv/LTYwcJqRa3o7Wu
4idcyStIc/KWMMYyvC4v2Tv/Q4acbxpp65iQ4ziNt9g8jf64aXEiB5OQMinxH1lWG6JmiY9p7MnB
YvuKpeDStPzx1cZXhemPDFfGyO3vAZWsktSkENTDdI1bsQwh5yv5EPAdfveOw1u8rT76O0NBcW2b
L8O19zJe4f6zt24ywmhRmtrTDU34U/zq7cuD+iXilKBSy+LlaI+vTWd3uV0eh8plHQ2eydds7PQz
khx6giyVGalNRLSiT51NhcHAbPNDv/fu+03yJR3DTbNN9+pmOtY35XN5XzzKgIk2cLv5ruIYecJe
UOpd3CIrYRFBg2eI0PFlW3/I3vBsxELlVD74u/qhx6XoJYcS+dIdjGO3rx5xsOUIaqc4oDKyw0rb
YNR0J938PqN+2pVR6uPhg2hsRsv/vrltKImDoMSzg/haE12vcSd1Sc5BXy5K5cKJ9+cn+cdgZ+tZ
2iacztPGOpTTtSbdSJpMkPgWwDwojjPBVUT1cTFiYJ4e56+MomMUhycBalTzbMucaqjqfczmPF4N
brpIF6wrG28tbsbrasEzceonzKIz5+P3G/vjqvbHuOdJQ0pjJKafcWd145Tj149LS9WuU1IF83KZ
+xuRdBpQkmQf1vCNboX8plFOjbgOpgtaPemnRYNGK2Au3TEA/LMXSEg7fyBhrzo09VUb7COox2RD
q1bgakR/6f4RozkIxQG921WubzTyTXxlk68v3JD56Z4/CDwhaNB9+0WdQ2CqkHlQQCvxoFewIXO7
Cyc7QJIa0aObTBxEk4UytXY0PobmPhoQwENhLsM3vKsv8r++F43zDzOHjyFS1UXD0s+Ohn2phW3R
x8ohgJOMD8dM/CNwBAXpwsTDXHdQYaWDK/L2TkszdnMTTiv2p44/OSYmpohIFAcjHwjR5M/m/br3
cVSze/w6tYUmoPvdap2TlkvNXEoVui4Qxs1gucG0zod7fXjqmjc1eozyrS/e6OVD5C9lqCQhwVcu
SRPFnawShFUZriWuNHUZEKKt2Fjat54TPE6CLUUrZbDRMlqKreKpECGfWozjXdZcc9iWwm097Kx2
DW/696f4XXP8duPOdqD5nGDwYOLrcqG1Npb6u2JDasd23HcZXcaF2bpBf2AKCdC2TZvKM7/Kb+NF
v1fcxCUy+8ZYlO4k7KSXbFst9HvQgmqR2LtuMddr1b5aNS/DJ6Tibs+e9iY+BS/9U7Q3qa23xWcE
5yiwS0jsWKd+qm/8QXzCaCd6DD4vrVfKTy8OU0SSCKaEOXa+dLRYC+gZcczXHoQpX3sYud9Zhe5B
uW6zW6jRlbTshCtD2eVaZ5dFupjGj9GkY/LQDe+zh0MzvmvJyhALt6azlJgnZXiVjK3qFzzP4zRs
TGaPqd/5xnUsvQ3gKXK6NZSn3x/at6T/n4eGLId2Cd0cQOi/V/lQkLGeaUKS3iU7uOk26sJ46ra0
ww8Fe45J0hFojoN/0sEanH5jVm6zEtfaRqZH9owT9u8f55vp+NvHOZtDXegLSSyN6U78opEUFHb7
iqYDrY6thUyp4V1H0PsuvAcfgbca7ovn4AOXseo03mnP7Ret8rvxtbsx3jjIVG/ys/6ANPFQnoSX
6XY8aRo8n0X2anyFzw7Krue5j/4+PjS34XP2mQY2+/aHeQKYGV6b2+rOfJDvi1fjob+VocsR/PAk
Pf9+vdziH5a+WRb1//f/fLUxkUpXeoy4QJLc9AtewGvNP/On8m3+mgpkOLVf3YmV+N0/incULcFL
/lacvBeF25AVtvkVnIQn+bG7Vj/b2+7Gpz//Lj5yBqy5edlHd2OJ7KV2ghcaLrwRmVu2Cfthth/D
go1DXfYkP2dv2Zv5IRk29Y1M7thd8pQ96ZFtPRVvje0t61P7Lj8MiRu8jrk9fVWv5in+mF6Fr/S5
v+7vzTfxbXwrSru/Vo7WEa+W/l46eqfpVXzwnsrAlt9UmIUBgTSYZtji25A71Wfwkn1Wn/ztePf7
ff1pZ4fjgx0Oisc5y+nvWV2VqShVA9MIsWPGJcez7AuhI03H3weSfzjgy/jMUvWq8OTxSf17pDLv
QNeKQbiNs4XybhCqYK2yTXzX3NMXsdqPrtr5lXsoXsy3Nrk13Im0psPF4v+HWfTXpzgDNcJeVoux
GrMHgjJ3jQutfFnbn6VLpIdnYwZ2qfL+6arnGBdRpmjgfHZ21Z5uhYFk9dlD48rOi2+rLuWSjUvy
hfXg+3B+th5858X8Z6CzBxkk4aCYetLs0+ygjrLbEHjVdRBz69rttXgZ9gogQrGKTCz12lXdt05X
PXi5zzSHeddLtsIuok4r2fsMCC7JDDvTFTvCcYNDkmDe16obJadSXeR9b8cRcoIRguJ9wTbFCXCR
ka5hyD5BqoZbNfqmG6nzNXGdwKYxg9vCoo+rtau2W1feY1Ne9WO0VPsbmOx20N8CyToG2lpTkLeD
1e+MYS8E6k1OG6dKX0v95ffJ+FM5x93CC8Gk/Y2P+dndkpHCm77AYwEe3Jw4gzETHjC63EqY9jjs
Ms4lRHL+if88H4ZkAZvt9MWzAhI/jzofxSKdvZDI0CVXPEdiszLRPfj9iDSK6JlLDs8/HRa4Osyd
OfYBS56LUqpmgL9UA+E1ruqE9mB3XJ3MPL8E6fzjqsd1gfUC3c2+mjIksr/fbjkysPhKvPqgEn5T
Pw7piyZ+aeFjpZDCUKy6FIP2FRVzgSjLTnQ0reGtQBI1vPWUvoUslMsRa8TQVD57dQEl3FbDxJ3T
ZMZ4Edb7QojcEZvdVni2ompZ6/DD+E3+8KKo8QqUw02SPw5J5l6YKd+nt7MHxwObk5ExS6OYP3tw
uWDg+DyU2U4DUxEd2UEca8sIFyHN2OD11+2CLOvrnn9Ky8ENbqhmXXBEWpFf/iE+WHa1k7BXA4Fx
t6k9w5tUBCdzFd9pp3EhLdtjtZGWuE8udWTmy/jO48v5G/krZfMq2SQb+Up7h4+WbTKQFWmpnLKN
d9sxZ+fPQGKi/XL9QLCNg4kFMELoZOuGR23sa1e1rb1ql650a+0HJIRL4bZ1w87u3Q4MDAHJDbJb
TN/G5YT1J9lGfD87NovWhdzHWtUvm0W/LBbVYnDGZcv3ardzOkcFwKeK5/fkYHdlI5sALUxsNHbf
X0+O5Hi2ZysOSPhzvxk3wyHaRltpIbriLtjKdsNrBrduEd2GbuZkjnmI9tG+3kYX18af8Eb8J1AJ
0uo0FcOYN4U/4BYhgfdYa0NO7+M20QLHqz7pYyHoUBATCbjJCC6aOxSRv8+dH1556B6kVnE6hrP3
DZ39MWxd0cTNBOt7b0WlUk8vYzkr8Ej4UWpSKKsLq9o/LWpeQgbEf2wOA8QM7QzArfFz14VCTXb5
V/gqvLevwbP6pX4pYMbH4X4kqgxOgj3XL8Hr8GWevPdYsDHNSF7T5/Z++pwrE0QrwgcYSbT6/Wb8
1JHh5IoZCCuRbqGA/PshsHb4Ruul6Y5Q75zwrPca1eQLHwbo4nW8Hr7G1BFHV3u4MO4MuZ69v/Ma
D9GJNXC2u/973Kkwci1IWOqV+9x+wCJqNa3wHmSJFy4hi3PNfT6UBBJE04t8JRb5v4caMs9DSR0n
M8sPgrnJ+UpTMalASZcHXxCeEJ766qcWY36S0lvXodJfmAO4ff5Qcui4fyrIdMiI4cL//hTGMDSW
LiTtvqMYV9MVQoQroRjW2IA4MmcT0qGxAcqQtyZAZpFGL65QsM8EjIfm3flEk2jyyqdB2XfKapwe
+/IjnCXTynxMzSUYLCEKV3VvDDHhr5EDCuAOVY0llwxHN8NT0HByYWE2d7nRY2AsrIY035IW6dbe
bTpoJPtyRAAel41Na7RrNVTtWKscrRTsUWT9wjG+w2Hd6sptJemLsrOcRj62U/xa7dA2LcKQ5SIh
H60h6AxPbmNtJkQ1ofJuQtevvyZp2spxRdZmtejzj7h8n4LGHrO1L63y+Erm5/md6aZwRVT+j9Cj
11Rz0JZR6wbdnL0sOv0o2JqOz1hz0kVIcf2Ij91nq8JN9hlIuYrzj7BmHIRobDuHugLdHEVHr0K8
akpbz2+SAYviWF0baeROkngVeMTK559hRE62hiYMXrmIXXHVKc5y0Ahb7E27rDw7HkilRL1Wsjp5
E7i5FB2msCUrO0AS769NUUc8e1fg9N9+Qjrj5mVrUXiqcV83jPgqGAe3Fkq3HpAXhP1LA9NT2XpC
c1eBtvTlZ4nFjh+sJ0lwOhpX/pQuaslzA09e61loNwWUHsKLwgy2UnQiFNBp1Gqh9PeD3NvtV9UH
rthdt/57Y+BbYDmRgCAUs1K9W9WEgFbNfRBpcGHmUZaF4kZ9uRTwCCMgqMZaUzBfNYPmnkd7X26X
WX/UwoemPMJQbSrS6ybMH9KF2EWbSbxRwZiDDNCmaew+k1all6xMTNEyfF6HuLALpEZQxJd6oCzC
BOUreTpYaWa3U3s17Drq1AQ9F3HdHOIGlNnp6xCBX06NU3vLcQiWZQdgENVbrwNekVkX0BwHUe/K
9bHxOCJ6FQm+nRPqwkqZlpA3fSQQuNu6tRRt5GDTx0d9WhhS8xIl8MAQNse+4ObYUeVNt6iyV8sk
Re1Z1q4lYA+wEEcI/b2MbXAW35UULGJfL1qT1GvBOjbC4+g7xvip5o2b24GxmSfQJAvLosbyzwvs
NioWPpOlB/lroqPYfiZCjpnwMUwP9eDfkHXJMxqlo5AGiyQO3PmFbktrpRA6GAnEItdA69HKF0+2
ysm2xrQ3gekZDm8q70Plcn4YeFv6/BDWx34mnpXb1HDEgYt242ndGOth2EqnGEpKAvHJVlo7sewR
c4P4Gspxel3cTprbWbtRcvynvHfH3hWhzA8unLimu/J5cA2JPm5XueTcDImTkaU+wi6jPUWGjpPQ
EjwawlIamDX0f/wUKTBKYpTKrlUxvZyK0MI9VgvVPa8JKUWJtezNRYcGlqpkg2DcEpblerqHnV9V
rqJgkwifyLaCV7XfpR5YAbBHryp4mj9EyVGQa7fhvot0rwR05Ea76aeXaC5d+8wtomwfd68miRNS
MmybPlv06alGf2KRhiDikiLxPmgsndM99mfGECBdwJU1cbHDdQJtcvRuF0qbJK5nLc828a41b9kH
PfEgm1aUXWUg3EjCPzwDVSr0TZTGOy9Cqaquc3CNDghC0V90FkEU2mp4bPoTGSQOqhhD/lQMAads
wiVxkFNhWJQbVgy1uBsqrMWSZCOUgVsNgztbeh/TUnXUTllUVY4F+ccEzde3lJ2UvvhWT/IDXhlJ
hqKB06BvbOXuLY4xjQbvCaMUhw4cOdr6WifPSLJuLeHNnLrDkEn2NMrk1TEfRR4763jV2SqIUR3g
B4eLjTFcTYF88PJugxEuW4Voe+JLnFqwzvHv4b+M8tQxi21bvQphsgmG7GBmxcGYymVZBatq6MmR
8xegiEvB2LeoOUbD1YscoDtPn/VYPTTtKZudcpv3ociXdXloO9rprKVhNTmzmEXbpL2BRF5dTnF/
HcxSd8myPdlblmx8FgrWPlwnuMzL3QsYtFLqC6M7JikiEG+bqZxOdcRPRs9GQIGLF39QMlFhYZXe
WgI3arWacEA+AYkgPgfk3nqcMFTJ0eWP3kdABCccy6bddapJsPGTb6x3mwG2EUeLRVCYCy9EQ1or
jiLcM2Gwt30Ss2c9fBvjFw2zPbGw9em+EY7gJobOKpDf5Nlx7D453gMXF6uSADZr2IQCepyCZTyC
aT88CurSCHJX9/El550uq5NHiMY0XIcKxkL4JkDT9BHkGSLOSD4EzsERZkHcCFZAgqmc4KrJmhpC
TM1OfbmWC4yKF6V6pM78DrfpWI2UeicDWeGxQbw7u1d00PmRunCrpo+0PnEq2wjMrtmpTJJekvxT
wcb4o2oVu7SuBu3ZFyXX+zCzXURFmKYnXdtP+rT2Yc9gkGnrorbsudEagDUSnWUl7XwOXcALmhdc
5+O6U+W1XPHmNhx0vH5l1LKbSZwN62oZoMgxo+c+OfXpfv77sN80+DrprcT0UO/EiAxqr1mkAdsr
G4IWZVdarV0NC7pdC13hJCcBasYHdoPeoJd535JZrhwUbneFFkISgUgg6A7dUXiRKJIMZQ+53Iks
nS1A2stoubzMmZCVF8Fg98LtSMBITFT3yxzoLNEpnfABMqsFpVFRfnKvyv69BoPTTfHWG6+LDJ+N
bNUERyAmtyTxORZJTroeRCyyyJ/FDBGD547ZriVHtWWaeEg4Pacc36XgK6bAo3Dp2Tu7dlPO1F7K
oj7N7EE+JZbo5kb4xAFNKZdiH66MqdtWDQdw1O/SUt0A5jlxfS2xAFREovqFZod0bUYLekwuP+Al
YQmImp9FSrtMvx+VYuHhW1I3rOLvxCq7Y7vJcT0xdGUvoooOesyd+KSE3XbSfewHuAWQJEsZqeP9
zcYB+Zn2hHLXQ6VVJ2wkkUc37GfYtbl1c5oq6qDNgIdHEQSsel/cTKW4S2EbGI9TjfIqPUw6URnQ
HJJ6cgT0kTohghM8t1iLrzKYdSIsP8XcteZ1Q+Xbd4tCqxe9Rhol/ctYKZ15a/DqmyjH4ktF+Zbm
NlYPtl/dW31um/RQ4K7cmniMWP06ULYCy1oSfRad5nQEBPmpWxFa52XKbSFTc2Bj1BtvTVu5vmiR
JUTSArYAFRrQInIqA7gJc7ksSXdjbTqxZT0oibo26RcQlwKgRmjA+N7U/sIaptfIatZ1BYaAGVrc
jnuOnE5apORL+W4bH9WU5LXiXdJvFbpb1fQWN+wGik8S0Ys3cMZVRVegdmxjH8oDinTcbITRzbRx
naXNWtBPo4h+l+I8FTGuwCqm7ZzMw4GJxDdpMO/FqN9k5BfV7Yj95q3hQesL/SsxfyvF0ImLV8l6
SJtTlC1UjXypfucTVVqwwdeGvqBFjjSo2CvluKrRF6U05eOis4uOiAzWt3EbGtdJLh56QTqoFnlD
FkkMhQeZJU03qvjV9BgqPegcEirjtjEcnarFYMvRjcYRAnMha+U27rIbXYg5cCR41dTVR2h8kSpp
j+OTpCCCIkZwDNJnucX/cYgXcgqaEa5bflIV4qfBhlII2MgR99S+FQ18bqu4D+RVSyFREhAfahhG
pKbbc3hqWmWhYTCSZw9FdJMoS4mcYzk1bV9pHBFu+Jh9ZsVONz6KiAab8pSJkEmGpVmvYyFzNOkK
b2ebT8TbezcvcIFskg+ZLaywWzQIKlpWD9yMBxEaz5R/JMC0Gm57QvsZs+gb4n5knwnDYi2EV/U8
1XAHNPNldSvhTiebAWko2X1kxk9KWrkR7Zwe+EV4FOc4GNIvE6R8g+Y2krbM6+hmqpe6Rmg1s78w
Xkted9XbCXmM25S4xSZtZWUnk0KN4ZPpsR53ie6k8h3ZmwvfP9RUymVRfZDOusyRTdTvAr4Dovlp
Z9pexIKlyl6y7OSZn7HyOXprXbxJ9WKh+RnugS+pAS3LnPeDye2HchlJSNHlYT/REczjnD0ZyjzF
mNFvuvkZ+SdcMRzA53npSPWrPGADLpQbsWmvVO8ap8RKsdZBV62ibFbYvxhl71gKln6Qi3wB4yxE
GorIeQ+CIfhHE37p8mM6002063kRDQHJBRHDCRHbLqV2hpDY32WOg7wfp4R3HufsXDzT1OCh1l8s
PCJ60k1rAS45O6GmFG4LE7BR30p8EYJsLdQ3GHA6VXw7TtO6DFJ7ok9eW+skORZDfMj78rF7FFVU
4SCH0MEdQ7qm/oi7k9QRialozkiJohm42DMA94jWeWnjDqXFR6rVDq1t/i7j80lWGh12jSreqekb
d7Wya3E44aXxiQC3WteIl82Iy6y0tDq+GdOiLN4VWsBzrRM2JdVL6eLs43e5m3rTyu8Qosl4YdCx
ar88dY5/ooTInlViwTNSzRGs8aCXzUQj3xB3kUw9aATLoSfxpsw3F9CcH/o3eAVaTEXy/OginaGx
ip5Xk1SC5jAfmqVlC476QZDcnXSr21+0fS+hR/9COhivSXAVAVKgfpy7FIpaGViZ2uTQB6vdwK99
e1Dm1CU740B0R1b5hY7Rv6AhA8pkJqC8BS87p/jWZDUohc6Ahu1dhVel+5wvOchdaBf90BkgA5z1
Q5bpp0JZnq/7D2xSQBzq93mbP0zLyQ0XYIA2/UyXzsCF65FkftLfoBiKclWmVMPHBfrQGf6WmZ0y
mQkjFWQ1GcsM/sJ7s5hpbrHrLS5Mj58GUxVcTK2Z7CnJ893947LEUKablTLYaXDlV67M3jyhV76q
rm4vjDRPtPPLwvxJR0CjgymbZw0PI9KEMW14TqkNvGecZCdcUw+d6CS7G/As1RG1RXbXOBcG/qHR
R7k0k24sHDsNokP+vkRZLibQi6yDibT2xKsw54h3yqhn23onmjUrR7zSqnVuUm1nGwXMImw9V4/r
jUkMSEgkFfVv4C0Ls7Z1DqJ6uO7DLzFInDjES3hlkXskt2xjHSlXZP2pJdAfwKwaPHr5w1Mdi7Zi
3gsGpebw1KsfFj52FbgTsKFBMW0kyynEEECRYcE9hA2ce5J6pZw9uNhkorKeaIsnxWQP7cZIr4X+
iqwkypXfH8+3uPbs8ejMOB3RFWprrHz+vkvdrMJQjbw7KNEj7Znqtk3udeV2rF9UH+5L7Kr+PfHC
ZvGYhrqrKk+CBzKq3aQR8Z2PRbESpEcjvtXVg8bpAp5d8BkhE1cj6KrtvaD1wA5PBmtwSz6aVV33
0ZWWIyoO7cS/T4fPKL/QTPgB3De4IlM0YI6i8NTO3tgxjphyZgm3sV5J6XJA65ZJbxj84A4byiiC
9qK2HdVtVNw2+rqV13lyNZhrVB5R+ymhsC0ew+KlsZ4s4caDzJCmL5H2HCs3cfM0Dp9jOcAke7po
pHG+0tA4I1Aam9U5yABfvG9exx+vZB3UapVqzcwqHxfX/uKdYyaMwY8LD/xsY/gehpCMOccABvQ/
umKgEb2p1RyP+9J0TLl3I0N6l0fZyTrtGNHJpsS9icGbxAy8QXtpBZLuKLnZvhZ14K90UV9Y/aEq
7yVsgttgXMcGPulT6OR+fxyDFxw2v3zVsPUuWk3dBonbSiJxoujBeptXTzcvdRPEs73n+5KQG6o6
vVVTAtD/ew7j2B4GVB5Y3n93Hr29fEWnD4jOzRet/RHbOv+6NZ3jlsxqW7mv3PG7HUhEptPz1f76
+u3hwacvWDrgfvwG53WQcrpLvIcgZb9RCRIxiIj2KoNYlrjRt8xj09FCnMn/B9hoK5U/DHeqW9AT
lE/icnSnBbQ9W7sqbFp80Vreia6ykN3ugL+ljY6aLhO/YIO2OFBeeLHPO/fzTbFESLam9n+Enddu
21qUhp+IAHu5ZVW3ZMv1hnBl76Qo8unnYwaYOXGCGAEOkpxYoqjNvdf611+QivzpsyhnVijl5VCe
ifs6Va/mBk95+/wJDzi860lt4321n4qO7wPEP970224yy9qlbHphPkp383tUBtFDgv3qRsl9prId
DrC4X4mBNaDc96+5L3SeDgtiN33h+96eC/zev0pOA4RIxop8cvGrw0GGEiL2rCdG4/VHCqP1ajcv
woWuxb6QofNI9ZZ/FFe7CmjugZLSL3Fdvilber/qVngirZXPvvx0+zzfdk9Y0t0O9b7/0i3ayU1x
nul/iXrivkguGOBF8PrZywF6DCa2nvac+Pmqf+D/R0CJgodxp/J1eVV3yXuUErdLkGHmXj7LIIVR
FixeeDLBCbZwgvaFfa8bPlZ3sPM7pkSnn7gSv6q4/+zef9zvbyMsOUbRUWMAeCSKxWqe1Gg/ZJtw
ozsvBY6VrnwW2zW+JEro1fVR+Sx/4Cr9bc/CQBOUjYkqlcsvtsN/9iyzyoo0jOTplBwAA7s9EATY
vfxkrsAyrR/ooL9Khe+flkwLgqvIn6Wk/VYhZUI4qegBu704dQd5SN9KuHttRVQW1PlpmcaQAOun
TDDSTgehpFkCbVbFU1zeACzAG7GIqu08QktWozLyCMQ8jYA4xnQNMNi2xDuhyL1uboIRdwkgeP2y
NwFxikH1YvlZmKaVyByvAOaQpyaAwG4BesKUU2s/bRKbphwga5L8nuK3LB1VKlxigz0hfzc2EB2l
6ZZuoRmeaWrNxBY63ySOIcuAQ63CZn7kKpezZj7ls/AyJMIqGuOVFtXo3iO3yWVXbdZaih7HgHFA
pzWXuIZFWPEOOyt7r6YCDbXp0J84SiE7sZjWtLcvsvimyD/JBr8Ni38tvMVZAGoQMWLKr8y8/3zx
4ZAr+UB1BWGmXqu/VGgXh1mfWzs/eVlCgP29hPzjzb4Vq3Is5rM+scqFmzQM6pgp0F1YbiOTgVlA
D1i7+OXJq0L2RHgn2YbQiOx2ruyp8KbyyC2JHrGVrtIb0dpqrVfNq4t1Wxsr/sl11yV3lzM7Usbh
t9KeetQ4V5910V1fiY1oXpPscebA0LcNTrG+3L5bFn5PrJ1py4DnThxXBdPjLyO9H2cv1m/1DWOV
cmWlK5C8FMDEdEO37mEL4FGn0oG6prwTEuQzm6T3cpCh6H4xs6ueK+1dubjqcV4piV9WbvLZo3Ob
oJfm/ZsJmG6zo33SdcsWIPeRbKYmOQAbrJeuvvKTz5zy1diV1gmVdij6wu28ojGdYNkmm1Gl9XYY
sGKUYjF18pBaieHNdcPB5qdvYrRKqOjGBwUk+7o1k1sz3OBUBsrR7GfadpznO4C/hZ1W7QiXnsE6
rcnxrE12hMk+3k7desamXKjtgqWNgpaYHIwfIYrt6steEz7jdKtPq1p+kNO1lL+w92vv9a7cZV/K
uY1X7bjWHzvxo543egestNIML3LhyF6F1maOVKaBfJjFTzO27I9rGljyFntnv9xVAB7ehWnvj5Sm
vxUW1MT/t8p/UTX/s8oTI02sIRm0HSXtqsiVc0IaHWBHy5dW3198Re1o4tPg0uHrAH8hdYznHG+L
1s/ID6w2AyWcWdo5plvdU2GQywt81bXU2RPQAF7jxWB6fXJXGTmXX7gpPMRM3EjlkjFE/oKo3CV1
64fX5/F6AUpOCHRhp7kOAYXQc3eVNzEVWT40tpm8RpYP7dqNIIilEdSl03A0hbcFuskuMeI2ifxy
icFdAo10aqYNRDrrS9c/dPGDQcs0t96A7WCUlM+lPtiNPjo66KqF/6NAt1QK1eekXVDoceINA4lh
0udQDZ6OV6OWKm4tTevG0GzjMVS8AZB2NcQPirTJcBK/JPKXPjculv5spfNz2+F2kUnOxQjPWssk
cEzeFOZWV5XVFZfnHGlC2Vc/VUR/qXypDRdlDl0oGqRvrBMil2ax1dmzOk+4q9eL9C/aRvaxyX3Z
TvwfCu2/blqLL6piYDBjfE+snK2kMSNRRg7WB1MFnQKvJo+bmf/k7f5L8fv9WMQQD2+TpVnDt+b3
8ncYUji1KdRkXG5XV+GlnQ03rANoNNEE1a17icCAZAbUmnXfJCYm4WR6RAdJPkKEWgwKwYzHcnL5
lzqiM2GkIBrvjSYNJvkz0vCi03haIbozbqYRKIAcb6EnbCP5mGZLks1kKC7xQYlIRNJX3yC/7bwu
29TjnqTMJZB1bE65lLvtzMwyg/12fZm5Izy4IQyYS0kdXv+gQ9K+ARy/zgxdxzsJzI9y4Ts8RKjS
rE29mZz0fJPuIPJG4hpCtdF5KbOBl3w3ZMS1n1saE2a4tQ/9SNACHIgjjwJzBtwVaGjucvF2SnEL
96NujUBmLgOpdElaikY/nQKJp7ghb+9+3s+OMbxGx3JzFZh3nJE0UTbQBG3bRc+3T5QVAo3k+O9m
7hsGxodkbobRM7IReOLAR79/8xC0+1gqLRxjzKD/gKJR7uBjlDYSEIIT/v1evyLYf19mv7/Zt+pr
jIscqNGITtF0U14PxItnclDIGyrMA+FSNWT9wu7I/n5hmio/DcbtgFn/p3n96UL+rD24EEMHTaLF
oeX73u71qp5KXVeeW4CyJ2TnNqMaV0Zt//Dvj/yroPzjI//nnb61M10RZmHb5vAE+8Qfw9ENcbSc
stlL9U9UoDOVJsRwv0VRp3xGGXVA+aVYn7WC378G+QUvyhKrlijh9+P/8ttw1naKSr9NFlQ8b5+u
isKWQGlevlRkeUvVi4zrakPUhtFSgprwo8Zjm93F/eC0beFK2ilvcry7tc1MsnovIjaRr46ER4yc
QzsdA6u7upgdTgPq9JTpTxOvrg0nal4hHSvcsXgJ48kzm1Mvvegm2Hl7RoOpS59W0+/ksFpl7A9S
e6zCy/oyckkm3KQMPbIMFQlJ6b/v8V9axt+/zW8tjJb3oOAXvs16N20s+4YH0ivWs3f3w378i873
ry/zGyI+WRcRY1Zl2GUXaGETZTQ0J1D4VwYYTtMzkrYGR78yAY4PVyR0TFyTQnR6k1zJapMrcFiY
zCmmV1ufGee4KZAEwfhn1O6zQnGL9MZUfiIpLlzPP64ZJhKHiPHLRP/3BzxWtCkTYjpKMqLIxE0b
3YkLbUnNvWBNUl6XwQJMl8/pcqr7mk1qH1tHofb76m3IGN39dNb8peHj27IMPGEW+1Mu69sFlZJY
iqO+nKEWzG1uEczn+5/RcOPP4/P3N/rGgkUXmkrDrKi7MLEY60ElQpVlStVxsL7MbDuDroZWuUpu
9bwNTBCDZOhtqZ4OrTqsZqDZa4xKbiO1WSCT01iJT3l6bi15I6SO2ennNL7cCrRWM+apHdKM2bgj
TLi24HeQjKNUxXqIe183+3U/KV6EB7IyU5HNd2T8xlemnD1GTJ9G9HGtPyRAnPhDZLHkZI91W3nK
ATgO01Mi2+k18+XK5FG82nJI7QTZJ8eON7+RjIc8zghkWA9Q9ETp9UKHwMPmYSWcMHHGkEAZbc0k
o3mePHxTVovL2b+fPvnPmuj32/yttWqGqC+GhO/TJTAWAlC97mHnI/SKnSuYl3pj7PHroKZ3QYPv
OAOdyP33JaBj/GORY0jGoEoxmEYiwvh2sHRSO1hNoSan2AzK+rylCpzqgEI7bBjRebnmtZKrwPQg
rQeNO8x9GRuRgXzk29m8N683F/W2iFoGd/sU+cRoq9k6VP36DEIUf7BbT9kKJW2UrVAkkg9Tqy48
JUbzUu/GulNXTm1t8CqbzZWlUh54LXKChQf33MAeStfZ9JKGN1MZNMa2KQOQobTbT9ldIuJJ95EZ
2w6lqUEc3SGrDs3XHG6M5lQ25ym/u8yHsL8VrcNkQKzYVvqT0u71bK2HiB/vpn6XWIerEeBBqBLN
UXgy1s31IZpvouozDI8xI3ACkvStghBJ8K4gFcKmkNb9JWjVh1Z2DXAByGPASylLHL9Qp32y4Akm
GFTakE3A0Pp2H0Euntf8w07b9hHds6Om66FhIozyCDqQwwhkzWghoe2UYLctP8+dJHdp+uz2Mje0
hGrpXgYf8nG9pYnkyesGdyIMa3BmlE6CN96Gm2Uca18lt38uVW+C2GoeSplbfMsNHZQN1L4LNqcS
ZIRA6AO58JRmb5ZBKO3DfheH96G8KS3oBF51SN+7fGMl94A047QOsUm8ufSrVvcKww+lNW+oZne9
sW6QuIAPNjeh6S4ro3Ob1slxh5Bo/Z1BQkvtianXjHYVeXOKbJq5jd3LHl0x4abC47JuiEyGZ12s
qvipZAqkEOByWxSBzDGh7Npp272q2aqCSadAH1tdDS/LT61wawhcmBg7KphHuE8EjyE0DNqwI6tK
2CTiSrpu1fpIT6bgiSzbCozWdl1CYo0dufUpDlTMR77iAq93XE7tGeugD/lgiVuQ8zzedMZGVFeR
uCv0Gzk7a8mxqr0cjmB1X8grBcXLGW5pDB9SXMPkM8x1Im96SOQEufLZINVG1bqAVJZuq3JtPSuZ
K0U+5rSatStrX0CFk7rii8Lo3EkMVoM7da+yvE+kldbuxXwVXvel6MukdohHEYoPwkTGONsq9ske
E0Ne1VaVFaFLGGRoKARJCWvWWNl7UnKo8j2Zx7THkAXYfxeCEqwEsX2M1LWuBgA1TIhG2TOEW7Ha
iNf3rj+UgBCxj3EbdydXnaEKVNZlF1zO5ccENgzCS6M5HiV1dYXNAR5MRyV5s+kryjqJUWxUK6P2
9DSAr6k9ildHlLZRtMkuq47ZnBqMKvngK6tawVVkFV+SGzF9Zz4kYeQPfaZ80uPVwNVO/YvUPSby
Uw99Mz/DHO2K96lhxHdr6YGAR0D8NstHJdrKWAmYq5ysJj9VX+due1FvmnElQXsT+q2KQxN6cx1E
2efypNEPGVJn53I49JejImBYvqm7QIUL0vi8lLVAfE5MhtqtmfBVOqA2E7iItNWjVTFtptq3xq/M
8mIjgLjoCwkHho1jgK4tUJgMBIXgADwQ22DLk/pHvtOOsInZbkAMLcSbQfdejMA7L7F0UptVaR0x
B4e8ol0J7QoaxVHHbSyfRqLAwk3YrjrxWAGazsjVdphYQjUfTdwkno36gfiKSd4N7L3QzJJ1iMGF
tpXSjUo/FW7a8jAVz7N0toqPTPUiZFuqz2/iMohvITzh7GYFInLC3M0UiFIONv0SW0biWTj/JX52
z14jSrZWud1y3DviiJu7d51dZo4YkIudJw8BuUEjTH2sWsL6uZnucnmTQwKEmmtBb2uliIklrM1o
dEQKBjExEe6KC/erhSTU81jq1Smpzlf9uRRfTY2GVAik5o5FhKkob5cpPjfShBVsOaHuDNG6yg5R
5uXmkr44feStr+c+CZ9StkHPCT2HUYIlPBrGkzG+0hsa7LWiG+lBPm1MEvHUg9DfFNm50PeD4kry
Hpp/pnvjSF7twYy2YENlsg/T+8gMbSFZZ/BiW92EnrsP21OieMrVjhAF81m8Nj6NshP2W6l4q6zT
SEB7uR8mmIz9o0y6lNHs4nanwmdT9g0RQOG6EekLfRGlWu/xmxL+GWwclSRST5P2+FiXbGKT1wi+
MrrmisZcrNzSQPCMqMGxal/JIZN63Psh9833S76qkuXpNrVAuawi9QYO/kiOHwyo4pRv1OlhEHeD
cSPEa6sBjQJciNcSE+9euEu0T0OHCDZa1Dg1Z/bLBI51qR8qeTGGv3aHKw8pQBOcmu7GNF5Nax+J
CCEjTzDcBsId7RaEa9GN8yDkwJptIEkRozHJr9PtHG/gMbEBWsqdVL+O4TlUV5Z2119uCgMfuFtK
rP5kwEUgVFXzOisYwxvW0tLhJ44Rr+TCnyQ34WRhpWBMNlG+bSzcMcJDm+wLJDaohbKNwiPVB2m6
rmFKd3byERFHQNECaiYTiOj2jCDZwaMXlfy7+KTBuF5r8ZNRbCQGBtOwEYxtYb0pna9kKwiBBsIB
TubQ5rqq2g4fRSyKXwfZruVNuEX4Il78ON9eRo8yZqi9a4gE+Qfw5LuFwy/wxFhYASrlmPUHZ4Oh
cT9dBLXEJKveWU836cf5ETlg4qzz4zIKjdbQmYL8ICIOq10omquf2D3fVXB/XMK3trBv9VkaQi5h
8Vh7gV1ui8fae4as6IXOtPqhOfxOGvjj7b71NbNSVj3unYvTWn1Oz+gBndRvWUweqVHO5C4yTE9Y
ZvKmf3lonW26FnzMIbaciHYd9Pv09CP16G8Q1n+/hW8tkKSOVSVf0ThUkLZB8/oBM3l3xLZJrx31
aZY3GMBDcvgRPPtLl0cGi44aH34QclDzG6JYj3OGaSQ9ublXgwY5tOZdHHYT2/yp/1i+xu8NLm6b
iBpxWJfhDvzeT9ZlWqtqQuRQqeq2tTzD4CmShA2VfGoH+rYM++dyLcgvCWRoIL11najn8hFakQ2e
mqMcNLJPGT+hvBiRrcEOBWBcCNwNmUEDmaTG9MM1IxH5y0UjXUQ+Ji4Gvd99yq9Km0GnmedTM/F8
VK+hspHibc2WKyIAokhVsZTTT/JIF0pRsqQko7XQN526tz4kIJTy8jxaruoh17KoX97a2b0o91IH
v/5eUG7G6tacNsxvyTnqgrm9G4cbxgF4aTTXTTs8XPCgkdK7a7JWx8B0I+TW2bbWmA2ee3qE/k1T
A2jtThbj04Yz4QB/XbGVVxGhMTUa7UfnAiW19uwxtQjtVz1mX4ewA6h5XbWbRHEhDhL3RP85Q+vl
CWdjh7wZKujeVu0JOWFxU0Z+A4E9dDMyPBmCuR28W1QvBG8mnJdUMn5y3cGh+ne/+N0f4xfouXjR
Q+3BZAoG4O9LJq+7AqQrDfcpLmpKhuzNaK8rabqLehCuggna5QVQG6Asu2irmSs3m6tfsoEr6nnI
6IU45SpGWNrQ+1dMnP99fYhW/rI8ZBXCGebXqqR+v8D62mVZrCXhDl/0oivWeq7RUcQrcRjOIYmd
bSj4S9GfD29zKaybcjzUBSr0tHPlKlq1rWTjk8aU90Ey7/Mq3nYidZ5OhGfDcldpJcdRx8O72lyv
OiNBoQlmMaNNfdc1UkW1OyVROdPCvSbmNyUOuUgJmqrfCgQPVmr43pV4PpFPJxhMUrUOQ00sYPqr
f4mAKfrctWppO0W4VMEbhHmO5fW4b4t3uO0N5FbUw44wH7JxdzXS27hgfi1qTqQNbt4zqU6ZH6ZP
6B211AguWeY09I99Uno5EjWRofkIanSBYXuN7cqMjji6N1p0VDN0hmKHPoVataYOHUXDrpiexHpA
b+/ipUFmlgYPF4EI1Noz7I72A8/RVHBQZrZvCYky6LXYGNt1ypHaezVGz0EHg192xflqJwjmDDj+
cn2uQiQuIzq6hx7S1/VFheWcU0TreOdNi8DnMKKRAm216+gmvPbrqTDXggb+NncbC4nO1dGSfjV1
8ACGOt9k1Gr4Z/r5kt+Tpkcxkz3TuDE1eV1c5EeDyBxacAkL6pZKS0LgN2ItZS4cq57MD1fo0JuY
l6CkTmUrhIbup8lnHYoB93yC14whDF1qBVZENQhcgbnPyOSiFQs/KZvD1I+3BNPYUj/cCsl8rqku
LmLmLa3g5BeKttKRoCAvVrrEnSdlp1g1VJzxTsnylYRaLTTvw+YmQgU8d8xukx9dN7+nBf56aP/z
THxXfGu52kyVYiUnQ9oxnscQ4upnArUl/Z0XvVmtJ7wXOOuwAo4WAi0/ltzOeiR9wFatO9O5zsel
sUf3rBKQgmxxH6mPeB1mMLl7pOqKssqcxBOqdVbf5+1jRs+buiAdSsO8a5PrAdOwwkUORzc24kAV
7VrVjQ3vohyq1pe6lYUXWL0RL+saqV2EzgzGv1MPx46IyAYnseGllT1p1zNage9+fegfDdWBtoWg
ADepq3JfXl+GCxkxfiKgUASzdIduM78yExWxbAUDcA0dOfByXCeSd73Xjtj/z9UOqekUutVR9NvJ
yW+leK/UftIGUuUXb3zIl0nnam7Qo4gH6JQcJaEaFKw2ProD7W4YAlNlVmtnuCoeL4HiGfdXGZ67
czml5hazENa3aa5xv1vK5Os9OacZatCHkDjbKfj37vfX3RkTM7hAumpSO3w70MvJMJr6cpmP7TtT
x+ixfJfuxI3lR1ghqmtsnzgQRbt71m+M03A2tz8ZFxFn/Zft979X8K2Uk6x+aivJmI/hvQCH/wne
RvcAIpvcZq9Yde44klHi0m2+t0/CR/Y2wbpJtsmb6RmDbbJA9um9dq6YjFo2CtvppN2RDv4kbJMb
fYtX9Up81NbxOiK+FJnu8+WZvN7sK19DYSPjgr8DkMo5aZnzJM4MVFk4BAGSPZyzwulbbSy2AAPq
DzS46DYkDmzajsvyd8QG4n1PWyqBAsMBAGKHQjbZBEfK3EyOuzP++Nj4PWB8HE5exiu8t5UtoQKj
EJLAp2ER2/AEjAR7QHu81aFhvOHSbFg++MV0311RqttAIYNgp2+FtB3G5ftAXidzW2b7QuiQxSsR
No2ozM4nr8Oca+nprZcKNC3czIcWHWhhQ7bL31IeT6Tl3nyQDuKa8C/fPJqkmtuXrwgAsbUVzTZh
+zEr3I+1331aMApuB/RdBIA+Z2mA3kJcq4pXRMH0xPCss0O3TGkwEhwU7Pi2f7U23bE8tfcKEF3o
8NlvQgS3tvGK4oYH9IXlPjvIjaoPeSVu8WR1AKYISips+uU7RNEPEtYtwxqmjYTCjg7+rrkZb6p1
ekjWFAW8jXSSDojNQk4MDFmnIDzLR+nF3JnuBfuYcj0E+jpam3fSC3BQALuluslPFuwbW67sGrbV
a3ix8SAQTaS86B1snrn8NH8m73i4lPxrUfYixNgv2idmLtvhLrztHvGbzDm+PuM9kLSh7f79HP6l
hIfgCzcPji+FiP7dRQSJei2nHdbR28krVmNw+6j7NfysH97mL7NYFCYQb8FTSIv8nqTTdlmeFYNU
nsdNuraeFuukaN1/TS6ahZ/q7mXa+q1X0AhCwloIXjdOQ9+6ElwuZrmWlXnX9kRbo6qvrZN5TXEM
OLfhc6gKnkZ/VBBlbF51u+7wpNOec7Q+olB5//7cf9vmNE3COgR5AWb25reZhaIacVyJWXRikwP5
FWDhCPeldQ9Z1SzvGCPI9bvoUC6F+q5SbnsBj0p8f1PxhTqbos1Ifvgm9D+7RXQ+/191asv//w9X
SW9NUyaUJTlduzWxKUMWiNdNLLqgSfGmrDfzjNDWw6kPbFm96auNDE9nfBQmstycaAiyi8fTnt/g
p8CJqjJIYyNJX3IoWiTUO3FEGJebMch2p6352KUr4z16ZIgyBdrFG6QTAYNxAzXocBEP8aZognzX
vSFw+OAgKiSnIQIIp2qoXUBf6BT//X38+nTf1gYxnEsgowndgwX/+6dXomE2S3WKT4rw0rPDzbmP
2cSYYbe269LA/MDABwDUEJ2y27bFPjQ9S0MfbAMoTlNwlRkqIYH1rIpBiMNquniEbSmWiw9Qo9jX
yWFDrFI/5zQV7aJx08YHRNPx0LA2VRtoI6jOCk8LIVrDQ7xOG6CnNg3Gy0PMOZ79QLz938X+/QP/
95T7Bg4k7SRYZpaP+x5uFb4RUX3o5XItj+NOyqZdSFmiU6Nil7ZqyJsu6O0Yx0RTZtBa15sJgeSU
Is4USi+pGsR80YbeQepwhtCp5LGYtwb8168PqLSP+Lz4ja7vTCR0Rs8kMKtQQE4o6mjak+Jxlm7j
6IIdwpNssZ0P9VGsjPteve4tML0sHFxtGYzk/bFMQkdsQ5eEKq5rP+iotqllWtzYdXjZc+u3Snqb
SFPQ4F2SJoPbUsRVmnCvkDMdNEmGOndXmpue5Bu5WSURnh4CICbi8SlEt5lHvh7i1jDgKEFrOBoF
AOWTOBzU+moTzM0kYlvIpTPWiisTySQPT235jsILIP4Qmydcibwlv1VcsDue0kt8liwgkB77rxGd
S6EFVm26ogmtrc6Cy7gbutOE2U/Nhm5WTzJzLxzgXORkG/XC6KRCR45M8ELpfSk2YhuAqiZ64op8
9OLrAr6boTiQPGEHkd+NrtJaNz9S9JQylhACJgkXY7+IKRsTKXDeOUmTetLw2eIqTlAK+aKOCk00
x11G0iKvoLUq8q0W3nDil0WDR4jgTJMOKkEFRmPfhPeGtcPFIhBkrA24wkHbtBd1WypPMwfy1FQ+
ITrR0vqngi93T5nxkVrXbbj4YyAJiQjhNaodamCtv8WUhm5m7nFwjalPha9qvjg938fFTHB5rdwK
R4UiCPMC6hvzk2SLCYKpL4mGb1GPK2rNWIyvzkAfGTE/7+T3qX2cEmazYrMq1HsTQyTRYBStmlAR
DdsMXxjp4xqRORhf6Mii0bE7qir7F6TwfKdN/ZDBgCqiG8tMfbl5iLIOB8Y7UX4icsZh3ftATuxv
8L0MxVMRVBeX0FG6O39uUmwzdGeWopWuMqhBsTRCX5wUY98gAmKYOg0tmZc6n7haV9wQ1dBtQP8x
jfZ5UZ/SlPk0T5XISHEEDskNa7V8UUL3GqYvooEvTJZij7SNWVzFIbvBHsKr6qcIZyMrfbzOKxNs
Hq+JqdgbcuIVOZOTej1HV5cYPIOxbGW0K2kwWZoOrcOIjUQKAfPfm6m6HF7/2lu+ISyaFFtzl9Jy
KRC4UPUnoN88l5gVrIUBAThueslB31y2sV8tFR3+r2QuE12LZVr5OB9izOrnIFb98quRXJCW64lM
zdox77IlAd0DpSuwc32zLrjb2AwX0vEHBBvHiL98BhkfM3FRBcEU+3ZAT9NVQCokR6cUXqkGaVfH
XWK8U2e+N+wLTnTz4UaJAgl1vaXfXsjRWnX+NDhNu29UnI7AIycTZoldeFiwbAZpX1VbecaVc48f
T9L59BVKcq881YmxjdRnqvbRcq7RPWbSTudew1/UofgLnm6zuzSlcznqr5JwYzIZTHzOF6O7s2Tq
BB/tnJDt81a2R81JrIfO+hoNT698Ztej7PcbiaKi85od46Bx08UPRjCXkCmDPBje9GozrULjRatv
lcs+FLZKCkQMN+h90B6UfLPgfAWxfA/hXYwa8SFc5Xg02Nkmw2xy3l22F2wIO/jB9Scf/7gU5W6b
rQbuDLI4vDfr5lhp3rFa41ySuRZSbBNdRR1U+/RxdFnIitMzUedBFulBovkB7TRYChvV9DkYCAe9
OVpdmA4xHpbrYKbInn+aFvwq/b6vWAUvOVFUKUPV73G/l1KW9Sju0xMze+1GqRATxR9wD6bZwUuJ
PzO9p3PCsQqQlqn3AlVeA+GsHwow/nqBaXFdGb/qYwfW+RJpLnNlXcUQZhVFjrYYKvh1y/zYnjvu
SBCbvnGAE5gwEkP5NeL+4BS4xvVgqHbxNN+mX3CdmSu1t8VHODj4JO0YBTZ+u68ZL3dOmjG59qOZ
mFebpj7O3PIF4TpyTwV4GK+PF3wArg70FJNZJhr1n3xwCZb6yxOCdge3cTQ1miZ/IzeKl85ohd6A
gM/zLDrCjWbH64xxxiJJI4rCWURyi3Mm3i72W7FCdLAhnOrGwM3FRs0V4Kjvzlv2NAcZFmX/9cRZ
5oTr5JT6sfuuBNcNobGkE12deUPf+csDE/G0bwtBtTbtx9nJ1sfg8Qia6Fxsy3sXsOXEuo2fPt63
zv1kf2HRZY+287oz7cMd7bkDFWTLeNLG5Hwz3+B8c8DMysm5YO1oOsaRo9D5wq2PX9xtZ/n5ZvXv
/fHvlEVZA9pVRFlBivR7sWlkeVtUnVVhvnQAXDJ5pKN40xdrgFW8WsZwLWAQGIk/7Mu/RDV/rPL/
vO+3mq+bwlofiiE9wd2pj5bfnIbPYhMxLLkbQBEe0hVY9zbHONrO3rTzvz81WZF/XTD//7G/HQtZ
EevEOOI/1Hh4trsMgRkf2/EZYh5T6/PoyU69jm7jsx6YJxjg3uLMBtyBXjLzmB6uJHc4zOdiRQa4
K9g+VmeOZOdueQfrPPWjUxWwV68A0DwKbX5lXn1nPObuSA3p5X7p5273Up0wmHlEoHlCzoJMczFz
XV5p+aHlv1RVXukzZPckvHxl1nC6XvxoJ1hFyyV29u37o2qz1hjqskpaG4mY/fmJrRTc79SNPP57
wysGeDt4nHX352ZTeJavuMNJ9dpnuOKeyp8Xg6g10eK4VD9rPgzah/S5u01WYAYb2D7Ta7QaX/t1
+AW2M/76Q/6B9xcmo4vH7Y3FXDOhVPAa7tFM30why53qHGyleOQa++0MFYR0r5QkIBSnqIiW/0+J
4vDrUAXXVRHEvumarnxcNEaM7u3lWWOPCnBrcQzPukUh9es1oX79ulGZ857xoqnbBMvLFjx25BDx
1rDYeSHLAbF2wmPmWPxK+LXY4+J1dQLk5F8tl2N4V/vc2OfdTgqU4AjwwfsuL5Lz7iGSZc2BWstN
Nbm1KX/GkhB69uJ9iyOmHZ0Bzfj97MS3y96g27K/+N++6vbjI0IifmvyUss/Qn58ELHSHfnhI1Jj
vhBSKHi9VwZt7FERD/7dIT/U/NSr7i8/qjjpLTuMjQzGzXHKZbcfVmaxeJi6XxM/dQ00B9jdLT5m
b0aLWx0R8fP32OY52U0Z4Ie0L53ExUDe/jKOIYYSGjv0OkTWVm2b7WADWrPFmJ7gkrt0E5/iEwTP
t//h7Lx2JMXWNn1FSHhzGvjwkZH+BKWpxAcQeK5+HmpmNP+u3eqSRl2dlZUmIGCxPveaVZg3so1v
ykoObDkr/uc87gQn9hD/iWnTb/LTvFsPs25NGrxg3/ffGAbZHNx/envD5pw3wDvpQ6YuDm253z/7
tn9pvf3Hh7j5+V7Zy4ju8dFAgB1BLRSAkwMdS5/CwcGEaD1xt4ah8XHb3DaKb/5+RWp29sH1aq2X
ATMI4jNTGifb8GNv6zOASdAOra9A5vgxgsTrxoxBw+Zpezy+bb+fO++bDGqTuOjdfwJ89EiiLzkv
U7jV79E4jT4oznQCN3v/4XzbfKz/YFbO8el0cqz7gc6MB9SCOTrTIv6TnY/1R17WM32Dn7IxX67A
OZz1ZwAEhdDcuAz5af0KlSCvs75SzButfXkn70Ci2hriGGu0oueHRdnyDdjmaDhcDC++3g7CeX3P
hvO30Kmu+/t/7cNoJGuyvG7/f2qCqONtULqohDvIVWGWxBxyGdTDkEW7zkD+i3Rdlxjgmb9ATZqk
zuiLrqpmDdPYweC+je/weUDdOEgQWmRDSuLexSjorRVKbsco1zQr9xDFMyW/FLB378OvF5NmtE6O
gNntDaajVF7LkTkmDOrKUSpQxABAGyBMi5Efx0/Q/hbQn3+PAf8YgeCaWBLaKxrUzz8i3yKpgHik
7obKy+giK4mAMuY6MUrcZCmW3SKv5SAj0nAfI/dvssH/1HSTkEZAzkNHmxpmzx9x9zYOFYy8+0Ge
EUl6H2Eb1+XFiN/jxVcYMUyXO0Bq9fuOUeGpyH8pAONfmpHOrvGuFEiuPv3lcvwDegEtdwN7Mswa
IOD8cTmslkGanqBtUjtw+ghSLWnU/xWQnz0cuRSeNv0v5Nvf1LE/1p8E9QeTMlWH3P8nt+l+r/Vl
GtpyH2m7ug2bIacwReVANHeDcBlSgIRGscnvdxCb5MMxDMAicunGZA2t7PHR7Ht3qlRvtanN7tCT
kKJcErgP80anhll/OTUfyUxj9SltaWcnz2O+bShuV6XmoTsIckTllpOYvneG6tEuSel6K3WzWc8F
4QF05s7lOh7JKmeYHpb2bC4ZMzHo+al42wGgWKUkAeM94al6k2Gnfvfmt6aCGFVUTwStqKXgT28a
tUwSGJ0UDPnkRlpoQPrtUusv7bQ/tXfW8SRGKpZKCxsBDnST/nNl6YWs9n2nsK4dvPgmgho1Etrb
PtzT+7Fjc//3lfNP5akEhVNl8dBAZhv5zwPOkbFA8C5j0IdfQH+lLwEYIYCVHyHIIf2iOe9GYMDY
RF4Xr/iOuBDTY2vtgX9SbcfZTkZpAKaDYDnN5JtMN1wDWfrqyDDLvm0FXDSYD6bjCoubIfjiyVLQ
lHG1zBUUx0z/P1JiiYW4MsEN5Iv+NCBr66Ko4plxA7R7DBSoEEktXiqHmulvWfA/pKGrRxIEFJRS
5P8aOfTjbNzLeLAuqHOFOYzS0Z3RHpi8DzDiMvDajVPuiNi//v2W/dNERWaVrNTR3+SXP8YP+Rwn
t34y5D08R8ywJ/Nips9gkBTBNalRMhQm/v2I/9SHQVsBCJgsIdyINPt/LpK47zVlWNRyn6jCAdFr
+Dz3bTsJW6l6m8FM3goRNPqvOMMGtvXb4kPLeAJTX4YVXwOrAANONTlZj5Pm58JKEoIeViT6pmOF
FA0zYzyk3tEspaWNKKhtaK8KbAgDARh0XGLcNjIaAE0mbplZryC0fqjfesn0/hJWfosM/bGhyYqq
MURCQoyi6o9L297SSiirQtkL8poTQ6RvJVjtLyk9FHp07qDtzfu5lE9WcerLc4f+ISlc7tN7Sk45
3H8UFyJHQghTU8JJ32o9DZzJ13HzcIwtjy+Jg+Lqslvi+0e9mL2h/mY2Wy1f+/X3yW5vB3SJhOcK
vQ5jm+nXHqacbmwF6m/JTvJnC6Xay7/f3n8qI2UEqnC7YTVLWP385+2llZdO8xDL+zpPQ3wPrPg9
6g/ZBJvRYmEj0vkF4m78yzr+7Vn/Xxf7fxz2jypSGOPxFpXqsIrvjwxo1P5DSY5YQJNPwi3Tm+dh
jAHf/3TttpotW1X8zHpKF0IBcobAspESVHY1IUCbfpYcL+BVSdEW4m2XHgswVUN08430+db7QnkZ
NHJ20FiVy0cCjrYMq/J8TCtFa0vHSO+uOYDaGTIbN5hNshLk5dFtrP2IEDq0K5H1Ob8L96cs2xJS
HIUpcQxLRfoF81jsdFtMIBJwlEGd7Oj2bvYkWoCcmgARQ/DGF3Pez/cdQ/RSBljOkB5pclwsZKQF
pOnyd3wgEivrJfx/l1jX2CDAJShIY2gKFi/qHw9uUvRmVOqCeL0VNlN7eqhMKyRgwrOXdTzF6IMw
UPOVDJObsIjRV9p33VYBbp8xX7ElIwRBOFVM6U5ttxdBE1rXJX1qMLO0rg0JP00XmQ7e0ahOd+A8
ORILiCzBAqLx7WqDo6i+ll+smsHkZsx3NByHAeP7+0vGfIvuE4PTOGwfevEU1cdCOmPFsxlBGZgV
rad9tmqS/MyFn0xglv2xY1N9umtuKp3q0hMAbDMqWkWKNxJFCjUBO2C+tQw0tBwUy6M8AO+F+g8y
5HDGlXnDUCIHRYjcBSwOtHxKt8AxJXGQjJ8am68M1EzwW+cdsp5MMVAQlXpX0QMxOo8tQDMgXWE9
7uL8ugzXaUAB2s4QKyfL9arH+QTKoLoWwa3dZHSZE0e/3nm3lX+fD4V8kuOn9g5J/de9CFDI1I1v
hkQF84TSrSHvMsiYH3VYS1DEkGohjwJKo8Bh2KQUNB/tK4h6tkG4KrQXX6AvSWHUBfo+utbH+8O9
ckYJuWPIJkwtjGvkz65A9Y9ZNZsqScQHuQ4guTqY7j4Mc1M9QjuR+0OihlJ3rAHxwZ+57SozzKNT
mu8nnH2lgxnEaMzVQYrZGsAQZXkVZ0gTQfUt8vgBRBL5jWNB58E6RbDU0CARUuj7v3TzijYlysyW
HtbMQi24rbdzal6b6lurH1eZen4WcpKBnL1E3zY0jbNYnJPpbBbn27ATuguuEPH0WeqPMhvhchmq
Q6vuYuucG1dlOkvx83j/ke9nvbrW0JW0gO15AEvvaaiu3Ol9nLPuIEun3tzp6mWSjsr9bRJfqui1
XD6S+2nqLkp8Nu5v8/2XqD3m8alIdjhfaomvdaFq7qYo1HUPVO1kBVF6gECFurwgn9PsIOOBbe7S
MriLTGeDpNzDzGih5Jdbpdib6UFoH5Nkp8XHu3iFopOPD6J6Gc1dP+zhjckS0iP7LNmJFSwRJsU/
o/ao66ACP8Rhr0thS/6KC9fEvFFDy/vdxI6mIj9T9yWLnxNvL/H9XJgPqBAtzWlo1nc5CE+pul2x
mEuHEj33advJkLYfCtErlp0x+PGOv2v5nCw7Id5Fsm8KRwSmGVE3vN0uNIuAN4HVASSgW+pCYyPa
c0lEWG0gxsptF/kCHCLRq5cdahLlsFcSXy+CsvMQgp8Sf+lCWfe0wa/4SuUiOkSjqeTCwCUFakiD
2uc9L6W3qPsZeGB70LwOIMz8wfGYlpm6J0qBaexyGRH/fZIcS4X16o7DQ59cYIXJ6WFoH1PtsY0f
Kb7u0ee9fRTnjwnEUqY9ExmW+HMePqPhoWp+aIA16aHHPqUFkerOUhgXISduzTuUziUrzKz1SsmQ
362Ak1kZjVw7+QAIdgJaWfmm7HePE/p9/Tbpwj5e3zx/GingTUQLGtJ7kgR+CrpULwWYNxpmkEuB
3hyVfosoOUYMrPGYg6iPMDQVvJuaYwZyUgob9VJLRxP/eOEJ9qFiBvA3+W7B0rXIqX0K8oQ0GaI/
4s7cG1YdfR5zx1CXT0qhtmdacNJJF65m/JplH/n8VDBREk9TvDPEY5ke4ni97HV7mNqLzDkt1yI+
QlSc1L1xPxhcAfCkiS/bHPfGmlhw5QjJsKES+w2rTj6IzVFQn00R9cqgr3ecN2+Gs9FwtYVuKoVa
+X6Lj3qPJ+F24bgm+pAniHIAzqXShsY3tM6N5bO48fzUWWFBkGAtKj6/UrSHsTl3+w4KzkcKySJi
ArLnXIV5x/cm7pN4YkNuhGOqXjgYL8qo18xDqz5xFWP1ssw7WJ3V8MDZ8IpN/MhQnxVUcvbN2WhD
PorPaecJMOSsII89OIWcJy9WI8DFu4t93ovZ73sJ3epAVbZ667WgruJdL/sjKslm0OAKqXvsqCwb
Q31WCXG5dEKIeYPTy6a8f9fRZ928ZdGn1L9GMl6ty8u7eX8exfcSOqf23DO/Qt6aTWB6unWBaL7O
N3i5XpviCoPFdylDqqWqXa7c1o2q05zFjjdvECqH94YLWQ3EOsY241XTfilMSSR2ZDeK13+myesQ
fy7LS0d0s1AA2S71KYmPsnKRoqclfxLaYLg/cg9K4ci3Ck6R5dYGnbo36+MtemoaZLxhsj2krAJu
XvEypB+D+syKSMD99nu5Pi73y2i8zvErUEEr3+OqnAinWDi2H2MewlbVyyt84l65wAlu4sv9/jjf
3BvWEgYYQSS4ocR6t7cC43R6JLJ3+xZpJH43tTMqwTS4moLKEn1OOJ0rOIR3jM7J20g+NjkE+hui
ihAYfhZzA9pPpK/J+N/hDyLNFgqb6U6HU4t5W81lstParp7qBDbBJiGJXg1CkY6/WV4uM1tHVGWH
BlZ8LDlLvzHRv96NKkK38LJApLIUY08YfAsZ68E3hm0ROxmU39ZbJEeoNtonhr9DhKyzLUQYSOOk
HGY4G/sCwHPUKXNPugWy4kTjbijDNcYyvtVDWTk2houMSz+EMAG00l8xe3C2449FQqPpJEv7RSVJ
CsYV1LfHwuMuBz0y/yMT9l2dQ4HeihGMsf0tPYVoYpoIEJpvxfhsFK/8WYpXRXJXra/78jA0PqKh
VnPVU1+7OaZO4uuLw+6WBa0eDKLPqEY43zv/Nm41cIUAeR96xxIvSOEIBtbojJSe0uS5xItVPYjG
c2c85tZPNnwLE5lE5nTqQccWD+kv9b2JvvXsc0ofe/maUgQZj7r1k0xfSfxWpCfONs0/y9U6AIhy
2TOj/lbmh+WSnsvxIqYKGFGEvbGCj1UMA3/k5dUEPa2/qyqj/JG0Z/wlJG9V/pWMP2p+VGo8aa61
8iSm353ypKrXu/hQaOECbjr5pcY/ZvtuDXgT+eN0UZunOPtGrzuhAVfwf91eVUpSDRjpLL6WpqtD
sdQPJlD4ZOAhjITNbfBMvE8Qyda3N055qa8N4jLqQwWLU+qw7739ZPDgwOMI2wZZ3m5Frpn1o5i9
D9KjOL7cpLdEehNEPzOcfN/cX2P5p729zYj8ZWBjVTK+SykeDTHIWyeWjugQ9Y/Wsl0V9X5IVqUi
SJedJQWT7iGeMj8aKTq2LlXxeNssuU/Tqk/dVMW8wcO5YE4fbiL5ng+0pBcOWn2eyN02CzBVwtPg
w0pV4stSXmM2VukgEqQe6Q6zL1fNMQKtf78Al7v1rylgUnaEpUCsKRSNSzeG3UN+s3GyXWC10G5N
vXI4muY2wX1pCslGb/H2lmx7UkpIFYsjZ+6wOHEP8sChJcIdZfHHJcQRHk3PyAH47PjFPKJHByA3
oBTuJqd7QNUMfuFLnPi4NUAsyvF9E4NO91QMTVPAVW4f7yOMe4AIfqGZeX+QAKw/4lk0WKihOKT3
aKcXszO1Hixau0ldSo0JUn65EZjuAGjBLRioHAY9v2QRv1UQzUhq4kMNqReoBO6CUiiYOwVhKRgw
jZti7L0zkFnNQwUQ9Rc02sYKkIjWvTQibXNvzHURU0RYiYquXTG3EX0DvGmBZOMYyzCNcJ9RtTop
W40VSARPM8DCACquUm4rVIqLbRVBkN3EcMh4Wkkn4AWdxReiATEHqVYZp55f6VvchsMz44Y9zVRr
q2MhRDblIWvFC95zrIro8Irn9lvtfaSByrP4OeB6rdj6zcGDm3YLDgTM/xkHY5KD67XhyozAoHl3
Gxo3BP89Ks9zh+QEunBcmB0WSsxpLsJHwriK3YuJGkzes/yJ9FoOjmDCVgUFaQviFVnp5vaQ4iXG
uA+j8MVrIthAzgikI7VloozpCIurgb35AcaI7OsDpVbOuAdic0rV5t3fQRfdn5XZxkEiavw7Bs/5
HtxZmxLh/MXYabJ/lxBJhkdtmy+FDujRNgFmt551ub8LCAZpLgxVSQruR4jEfReu4LjW0YUt9x97
XXwOJingJmuVDU+6EcEg7nLCr3AYqp2xhJOGsZlTazgYMQ7xekSvPwxETOdjbwT4eSBzKCwHRSBr
t0Vpvwq0CEGUuRN0kBnnOSdqgknaWrNrkbpnrjx5swD0zREQ7pEIXFIRdmJYIdha2FkSzne/eusR
RvgSGRhTmOmeAagz8lAyVq2gvjkoN7UWNPBNiZkBjnf5XtMg7tPXPsLXFfvtDGP6qxfILW3pY3yM
BR8RpoeFcAncBOutFbCIfVjYmEFVejWFKSwNesrQO/CmYhd76L+Txo119CA8yXC0Z+uyYuIhkGeh
Jvk3Ap62foM3xSdcoZ5royMBSqPDplOfyvTFHTj0Ce6uzB5A3BDdx2DWQLJ6qxE270h274rXWXYx
OULp60jtFh6zTHF2JexjVt8gu3NETNKMrRFvl8kuDiYCHrmLToQO6IhTiVDyEzNbrxxV306q0+Lv
pzEOQFEF6CBGxBsiH8IseKNITnIPusxNcExrd4j73YVguj30/XnATrQKVBqSkAwKaOzX3rwAAtbM
ffnGPpF/51qYN+4N4KHswX2hzN1KxIYplJZtZW7HlsXjA643R0/pPDHZ1413K/xbgTLO5qZuwVW2
6l5sw4yywQIl6bHZlPCjmLYLLlO0kbEnlRQy1aArOxfTFlS5NJLRihcJLYj9ddDI9tShfxIQZVMR
T3SeMXb+ZNiP8XMMoWv1PnW0LSmmXqMaj4GGXx/7xRvSw52aS4RieFyeSmSi9ZAln1PFyIgcBICF
a2zhVJT4bChPqLjnkdeDlCA5Z8XyyNWOam573U91wGlBCeNtQove1UWGET5HaKtQmukchKzgqILv
7pqrk88WaU1kAKqbZ3TemOBYjXNQsFgu+CK8Jnh0U4hzuFtbrh7oWiCr9g1p0srWAQsg143p4byr
0DQl/oMipWuPSxfQHtA5vTtazM3pyNAQoTQleG5LhDjKFfC1UG0p8A+3zc27GV6Bq3CxnmwqIGjg
p1/SG0ZRcPWom5OdtPjTsr1N68bFRIl9D2ezHjZxj1mRrVZBjUI8ACgArvp29VsCJaXYg2gPCZ2c
h7n3q2mXtavMAiSLlcFKW2UmDh+Rm9dP9HQxuUr6U2lelnFbiX76g9VeC7IkcbvSwwYPcSflmD7h
rz1JOOjBXbHN5+6cPihfEng7UCBn+pG1g0vafdvd7cXk+cLFZl1ByvMdqA2OZZ0LdvZGUwJbPaxt
KLARe21WTyqp9UhtnTsNNAbXdJU0D69CtE8hzDNnI65nhdufJbRoZVsm9MICAMyA6VzuwFyZRWdO
QSI7DTiJ70VBrSokwGZoSeFWw02LqRS43l43X/LMq660kxAo+Fgn71Pu0KIqs02KXCGiJ58kDPPA
E8FID6BvmPO55S7KDpM2QdkOE26qMOlsPCVQDNJd5Uz/rLjcgP0f1dd2wF1qe+v3iua1KJIjovvN
weAYFlT/4rFJfJWYA4yLB+edS2Cg+sPu3/v30REe8l3F7KdfN8AE2LFyqfMQZU2mDcRvqdqxOntp
vYGsJnQbICLPj6zCBltRoMb4K175u4AutCJ77QjhO9LG32lXm4PcdBWKizWzQmNmw+k1AgJNUD/t
mWYY+nelUz6pV/BzIkCVaMOTxa9ZTECZMn7hM0mCV1pEHVsWbPNzeLrLtADd9BaalAxg/VDsHdy0
dlZMarUC+cV6m1j4C3nSvIV9V28nPN3qvVlifrkzxoOU7/S7jyLHKgWJlyfJosBNxGNqK4/nTtmN
xnbIfQUdsPLSJchBAPQMTHiHipesJrPHXthV0zPkWnU483UpP/P6qnURG3qgYYm7NdCeKCQtQxKk
Hh4UAnH2MNEQ7n2R0hlLMXyhZT+rj9py0G679nf38C7g7IShm62rbnfbaUt4ly+ouQiHpIP5eY14
qhZMMTzjLYMThXr63ohXWfMaB8rDcLWAu9pr7oo+u7xVAWKRaFn+koz2PO0GbCObw+ovShmj40MO
P532MK0b5Lqctg2majcX7E5IbqGHdVLaByNC6gat0QsRmVRFk4LOrtk3kBTE6bZ2lDhECjeBHibZ
XLQJAll50fKjgWQKMOFhi2gG730RjlO9y/uAYaZhcKjQknha3FElVGwkV/I1hHhR511PniYwO/J8
HWtH2BrvwmHBjCqFTmdnRWgo22agfjj0iU+OZETHUTwiMSd9lAJipwQKF/56CheMKZH0G665Di18
km6sA9FCoV4DF8yDFNIolnAL54LxHBtbGB+G4fJkSxDZIHWizULZVKEAdtGtizqesaCyiFbDViz2
gxSQm1BupFaAc7sinthTQfzPyS5OzliXDlJIvItoWan7odiaynMpnlMRq9fzbT5lmrfUtpIF/biz
aJJXx9zEKnEn4/8phSJ+X8GkHQX9nFh7bQhG5IhNr1WChgptQnl4hwDTLTvH+WMEQVDJnpP4ahYX
wrJebwfYb+Yly4/ddNH1g5Gfjf6UGGcIJ7n6MVUUAbSDt61+IGhJzb5IQiHZWtOhbwKz30Usczwp
tX3ah5iGW6md7AhJ1AYpmgQLLYOwii5jvG+LR6k/3auHW35cxku7QGDerQWNGt6m7ZSz2f2qBIpn
rtxZt5wBVFv5MCqnCKszBf7eazI86smpH/dLeZKsLUOD8Sl7pbkqLlRPNurtc4MsgGOCDi3spAT6
vym2LXk1FgIkm8TfapOBHHzTfpIX9RF1IsDBGFHDZQNXIdkoQy59YPXuX8Z/f+je/e8pkSmuGCLR
BEwj/qFHnKqR1JVmLV6T/eu4FU7Ka/9c6RRgdquTzaMDhQ6NK4EexPmQkEF1k9owS28lll4rs5Q5
TfXQgiEkw0nte7Tha2AXVscsfhsFE/JUmqAIcPU2qHcEMaCTYk5r3j0Tae878nD2TAKNqA7LFTsF
3CwBPkx7EroxsjvJG5GcQNQVlCdHo6OU2DcZfW+8yOxVkRL8L+hvPmfWw0gKAh6sG/AvCw6yDj5X
U0kCxFiZffZKXy9ikyap+n3CNIih8Cf1Rtq3xzxAQ86H83A0HlI/3qun+URPTnhGiVTuoe5vJm2T
/WiHcm9cmENrtT0BGbuiZY580FjYxQiv3Sbdwfi3ekXNYhpBVpPiIBmCrwM2luuLtG/Cr/tP/3UD
QT9+UeHh4sf8KZsc5BdI7rBAHROXYidCXAppKsNhZMhmCAiEpg3QKpKTGejrs5w4Mow/rvkCm8lp
5Q0JOpGGT8gX6AXACcnANiqIg61aPhQP1KmEZkonSmnqPYXIH4FVghXoqNTpaMrD04GlDg4UE8kn
6CvhiiT89zWn/Kc0xbrk4CpKyHZqJgrheDL958hZEoRFr7O8u5L2gN1lUaAByJrT5/9ze2m6GEFy
ahVvzP3mQg/nkUs5SMQie+Wl0JMp1rSRmVj8aoL6vq5Cgw9/Oc31NP7n/BQHHE2BXcnsVEZ+SFqh
6/+Dy1jNldCa6ny/MkRC+uZa7vKXapd+yD/dWdvFAVraYbGzHpJT6QvH/imCVK5vU2t9ji0KuAco
e9GJ5hBOxAzuUQL7VcgeHeZyY+HggCuC9+9nbKx4nT/O2DR12dCBhyiS9SdUQ+nbAfzQUF6TsAiz
MxWFr3yuFoG0ZLZAwtRt/8PDAYLvx6o23eNwQg9Y2U1B7ue+GtJqR2jXf7pBJLSFt/tTenUNW31k
uggNsfQ10wtRhHjZEBud6BRttiKo0Rs63RvInZft8Gu+Dg+0mU/ptRc3tBFIjF7ik/Km5gfje/mL
7rT0XwuJO8T7tXRVVDXEe/6EQIqI2szmrSuvvWFDzLvEH/MPFsyspuJseL1veZE/7RkJBsVVYz8N
2LOw5ThpwKorm9nDIRs3J2R1veTaHPpDe2kuyssEsvmFnM8nRB4gmFybp/rU+Mj30Ut5Y7v4eaEn
RFJnY90sbKJzCuID05ddzWK4dxsBz1F8ND6HnWX3ngAny7k/y6+tg9s2vDu79KF0ODoPmjecS3cC
4jV79ZF8XJcpSjbTh+VToLjtmUSCdJRElBEZhSRAgmxH5TS+0IdLnaLGn4GQD9lrI6NlIWyogjW2
TqDLpKnYDgPWprrPAGdu+DoJQftpnOl3/M3mhwX2x8pbsQYmGBLMrjRFlf5U5LUEsxJvjblcJZNl
EmYLUpIAHjANcEvE23Q7A5Cdey1db2wbEcEBQiu4EGME0NBXpvqobiIlEAHShymD4KwDygzYYudJ
i8cov0QuKA+06qTBQMv3qQJRMmyFc9WCKcCM2mvHcKF2lgFC2aqr7S0ywWfE8m5k9oDvx43Epoft
EuEJA9nZBuUx+2hDVp/TCfBoshYpPk0w0Ue0Vb+gnmD0tvCaBktYSyjObxj+6Oi3oHW1bLKPKtsM
O4YR0gsVB8517aVVN+VhVfjAeemAO9kdVifTeOTJVEd5l89NvC0wawFm+8JkJ3aNF22fTyQlmNTa
yssSEmgBdBFIERdlTIiTzYAd1knbr7H3yUDs1+4BH5cONXLEjrSK/OHFrH7193B1x2I5PvTETrCO
L78smw7zu5Hbkvx1UxjU75llM7yAsajXHtrydbfJOrjEwLc2VEeRapOMKMwwkW/FKbGrdmSUBlxD
weM4bLekIUjLJmsFCt9vOmjfgC+Iutl+nsOYewy1FgGQFv6gnzbwuhmaQX5Z+chbCqsbPW97PE3P
eNwAvLY2MXFwfTAQ85M+0KwbmfNtSPKjnj6qfSed/8G64YIUBOq1ACEwgggbzEkZ1uHqbdf4Bk9+
DyqeG/ktoQQROQq5sv9JT3+K7HTa3F+s+NStqhLLToVsENvR2q7H6xXwLhxjoKMr9gCF/SfFIA+w
xfRSv9VYAcYH7gkIwnhdODOtRASH8DGqNziuGMeJQyOwbNfDuTkQYk/VhH4fXRXktuCZMB9LFMQ+
MED+xiD15kMURTTsS9i1O+DXMvwPEo7BK49TZ4+/WBaf00+xM46MHkwaTjwZisdJJt9V/4AlDDZi
gdDZYHTExuufO9BYz3IRYgLG5DGooYV3LxhWf+W/YI2Z48n8sb4wJImBpNNuJV14Lb67zuasWaIC
ap7cSGDqw0bxFhrqtGihkrDm4KKihtSsEA50dz26sWsHF2pIirYQ6GpEJn1jM7qvkyeCRyUVY4QP
mxiwMQh0ZgrXbOBt1pJjlr74TuHMvcdsu2dtfE2v2usAJ9tpHxr0wpmbko/4qegaWsCgLrnKfUCT
VPPIlba6jDj9hgUtPcRPuTu8GJ/Di/AMd1iYA3rr1eTH29hHthrFsYymWCh9TuYGPHq+41ZBOe7C
yQoJ2kP6hP+SLm5JvSW0RNCf5DlCSzN3FwlZt03yOrVOz94umm6MTsK4olh3swYtff3HIrmsCw1u
Dk3o/cqhfSigVQApvvnFMx+0n8n9IidrVJfk7O5C9OYpgPlOk6R1ELsBDUT9z6Kuxi23QEU6/QR5
lhlmOPnzZ9SyeQWCIz70AO5Qx0DmT6P3BB/FxPGWceA2q1ySt9mrznpxooepMFN5yD+ZxLxRlUJk
RWsU+UnUHp/VV06NFHN0rC0nxViBXPBLw8MWZruHTNR+2Qp3mLGkkOk5+4DiRxeu2C6/erpgxJxx
7WIwL5n8MnWmd2bVILecnk2TDYA+AJikc+NBfdiTcHJodg5iVPZx/yAiYs63YbLyIITqJz8Js9Hp
cCv/4mFXKChap/ugW4Cs0wRTE1eBn9XY3QaMNaUYnQfFc7+nN+utG8BG8qNVBYZsNmYjZxIeWv6X
7KnobTc2/Z3ho4888FDIFmkfXGmxCwBdyTvqwOW9m9/6cxFMyvb3jIYZAwxwR/pA3UsElYN3De1j
O6HJ6pPmLu+c3dDQ2PPpdnC1l2deDVVRZg/Sc0TuwEsx5UW45nofuaKu9qsA7Su7kduNjLidGSUe
rrZAM3eTzjQnbOGdMxdDBAFJyWmY5yFr5as4ftHJ/tJ+bhdsLiWaX87CNJfc0EBSjHzgEHuQNMqO
fuyqvixhsz3B0NxMTdB1TvNiQSeE0keLEJYY/t5Ul2/4hWMxbnrReIKDXts6bYQNjPVNB9/lwg8K
jxNw67D6pGk7xYiHHtkA7C7zb5NvhQvu1TxivaMiYcb4hWyChpbmLAvdTRdcZLrsBWlXT1sZ6MXf
7DwQyvtL4vAHDrRLhBb4qQ7uAT4RvoS1DbO7jjZsmjt6HMgLkqeyG6sMLz6a59+puAIUClGiDxOb
ux9zm+8g16tbfpV9FrBRtEoVOVbs3mk1mw+ILmnpR4bmWErQVT6Bw/H4xZnBUnLFNWpLD9OnYC+7
8kD1SV+i8ee32IKzf6xRcLVvcN09jIg2GvzUYxfZ2f1a0S1EhIiozK69qL68pldEqBpRaAhmzmJ3
NssTwwBcuO6wB5lOE7jyA7iDx2Jnfs8antBuM4VADjITSILDR6KN9WKONgkC/p4Kzw/2VqgAk0wS
veKLPIYtbdzcJ06Y9R5liYI25mP/CiwE0adq08hOTSzJ5U1xpDZVKVB+5tFH0iE7feX4hLzFB+uJ
epEq0HjuUXxqsZ1BZM6OhDddP+Hr1J4Ka193PQHfuQHfDlF+zXeJdqXzb71lm/GT/1/Wv8vTzDaG
CpnNgjqYqHt5OCq9CEA12NWw56RF/N0G6CPlHrMd021V2lbWwMjN5psgIZj0ZG6knqQkSAE2ui0I
UV6HK+zO9LZIt8lgoc09iTg3f7KZVrxu/cREh+kMA8lxIyN38QAO898LKTCy/7AsLco/mLWQMcw/
LQVHMcmyCIPzaxW5kv5UC97yRTypWZu8ow/ILSBtiJwsN0I1futJFBJgVgDkJ9HNFNw1wWDI3Ngw
VGlGTk+6FGCggO/bZgQW9rMA3IHbGMz0o0glNnhE2rRNEO8T3fgoutaJkf50ZXftWADxQ1r5mULe
Fvk0MGjMWRhqF8NmxT590HGJj+SPgHiwXaEtQ2ItfsQkVeysyTFDwHpB6BPoHircjuyj2EU3RxMO
s3yoRYokLfFR/ysfQECAcyJ3Bn0YxV51GdflhuEQC41HcMu665nqx6FIm/p9YJQEStBWybi0lZY+
fQLLJhcZmPpZXoU3WkT5YecXoC1Xjc3rfxF2HsuNI1u7fSJEwJspCdCB3oqaIEQZEN4Q/un/hbp3
UKe6oyuiTncfSSWSQCJz7/25hbC3FjrPqYMdENeStl0mS5Oz1hq3e8Dj8MPY4mJ9E97BNYlrfs5j
2Fg4AGOkxfanPpi6c4TQ3RS4/8IxbpEba5fhCsQ7Tk4YrfbYXiWf2jyZ46ZDBjt3ikK7KkcuHm+y
QcUzpUDvnwtBW8a76sHrLbQFTJd4xo1gtvQaHPW5YevJnNbtGIMoE+uzhDOG1y5OkZt+I4O2ePgv
zkwf3JKWctwJEN0LC7YXHmldszu+uSzBexbDihFMBt8QdaJqJ+/teweDAOXErrLO8tnfA1Bd8g5m
xySfKNu6XURux1CGXRBEGeePSfVg5raVNs03acDNzDtGp+Szu4y/jl1FmD6S75DuEgAtvamUxYTW
fYe3YSXPsq8+Q6oDzK8cGVkPxUyEcquPkyCp+C4UxJOJ4sCayEUeyotlklWwCKH9gd2YkwiIAz/u
eER4WvVan6UNR7pgB59g+xJ4FbdwYmK/vOVs5pw6dtfXnkKIeEs9AvAfJyJw4RwcpYupl8z86PhE
wtrOMn/d19sA4/BpdYH3QZYVz7uj3YVs3AKgTfDAC0vQ5PH5RxkC8Aow6BkTaMeVdqKXTWatCzCi
a8t0WAVUA7B6oCX470RNGHO+UA1nkewVLiq+MqhTh3mNL5p56y7tLgeZwSgiTq5W/AXfRPrLbILs
q3/bQbBlVXUGMaoi/TFXlf2n2WudOJy6XfcmJ3hWYGzAAzqsa4QlzEEZsW54RIl/RJ2uXF8TzPuA
2d+MT3lO2og+F2ObLSdIbXaVHi0ESJ0+9zuen+Bdg6NCeALskUe/lXH+q68cJ/qcz4QjSKvP+i0U
3C7BhZKMijkmf9T2zCnMZWXZLdXoUniPzlRUFIzCgTaS3ubqD7NRsQdddent2S6gQ+04ihviR8bT
jaoUGvFNv0fvwSJzXo/+ZvBYzowTKSk1kmJagnOzJwCVBpyJhjlX3vjoBp2UtusYr0+LW7fjCaNn
wryJRJGJfO1QMMOp25U0uUflkaOhIswAtHtqfo8qQIxfGJz+cBzSLVlMWR65ZUtINLbpggBz4aOl
APqE7ECqxhXmA28ypDy/Vj/y7BN+//DcAENWfP4jUZcLxcU0sPgMzipD0lVzATKF5MpnF4aFJDjG
la93qd2M5sL4E+PYKr95s+5FPKXAzJdty9ZHLz2/cSGaaJBtdlbLccUhxymUrqAFfsqUmYQUICsR
HC4pmxqXlM0PmQGOQj+4HmcOuTodHwl+fnsAUIT12GrzDHvUR+Gyt/Hcxfq066YNOvzFWLwCNyr7
S6E44kO7N93keQCn6onnrP6ibNP+deGSwo7DHRpbrINZ2L+NPYVaGOJXDxMVVuEnHHBm/R2urDSu
CqK+fWVjH9Dg4zn1mXO9luJUecPBCysONhWFzWqekrGoUBrPkwNnQb8/JmfVJ4BlEtyBXJlFY3NC
WK6tP5EcOEa0BI7rrSXw8PiQ43FG83miiE1ufznV/+WTKaJmWQjokDypv5S9v32yV6iHYjlkw6nu
xzcs+Lb4QbtPm9+WEwE67whdqPTwqCtY7kz63sqTfmZszyyEvQ4uIuAcZHCqOwoAD94PxmNTw8dI
5S93QVZGdc7vs1wmaqh2UNcSpWgh7/2jMNaw/5INkzcbEPhmkVNCGMcihxtY2MOnVDrVm8GkgToN
XY8a4+y475PJ88JY0F+oNFgcOW9E+JDSietM9tHMKFwEPtibDxbCkNGntB0p8BrAHjyt4UKVwGGJ
AC/oF9jTwvUuq2VqvbPvdK5Y2xKRHjwRi4Yw+tFtB6/atdXBalk+6xmZf0HoJGQaNY4JnPIgOfvA
CIzTsMwdDkSourTP3a28FZ/Zko4v/Bi2OufqB49rXS/Tj5HA9dGvux94Ev70Cfw9Fu5TvZq0C/3m
uXRUygHHFvZwmCNARaD8dEIQl7CYEJdsCFvWGAMsGEmItrg1K1iBoi0c6jeiQKEAu6i14eB8vx4l
lhC77MRyzDhlMn4NZ+RnBOaxonf+BdbDiylp5EFP4iNZCPmPXi982EO2f0EQw6iGJc3kxIalAfpp
whOEojFlejctuGCPfEeTUbndkU6Xd3BW8Amhtlhk2VS14209Ywssb8w9T3wuawNvBcWjk+H81CDZ
HzkDPs7s8a9WGM5o9EYzyDu1X5x2U5GeGNeIGrLZ/OXm7QpcMAthZs8t85s6S2FfJ431GKJ/QhQq
pJCK7CQ/CTiBMgt5/ZChG7/9zZFG+efzBa4jyjrQg4qcWPtj5wiMohmMoKhOfmKDPZMPs0Bf1o3w
5gJ/+gR4jsnLggqYONhi7OYB89qpRolDVCzmx/6G2CnwxnHSSeWxS6n2qTi/yDkO7f/eDP7lfP7f
NzsKfH/bDLywTXO9583247A3bSY+OnkLU7xxZjbuA/meQ4emzA9O/XcHhpPb8gU46oJ/rKN/Gj/+
Z72vT/I62xO8uUF69E1URrmCKZndvdeCFivGB2cVnP77nSt/4lK/4LPfLvMfLpN+Y6HbNvLq5H1j
waMF+PSOeGqcjDAahylCeIbV7WhvN/6RwY+xrsnG6TEeiP5Be4+v5UfV84mmPX30GtZEy4rCuJlx
94Uiynx40rQjlOwX20XJ/7K5af/c28ZrT86CYRG0hoH+/177Nvb9qu0yAMBwOZSL0ieG1WXU+RoW
MRaI8BKYTUK5a3aWuuwhYIR7TV896c9JH0KWyaqnRoQ/itMl7DqN87IYbXqPaEA3IoUOAfBM6anE
j82heS8P+SGhesio+SeeG7qeWyKb1iDZzfXBHoBjSorf+X/fJ+0fcNyvLRzltGhao0uT/sfzULQk
wzaq0J84ODvSl0V8oL2DxRlI47plvVFc4WZGkSd+vME1L528d2m+tAWT7O6LqUYJVBefGFPua8MG
oEAnE2zVn3Ld/1ArSm+MOoorjkKAvpxRdn9Fh2fY4grQ67NiwhpBKJwHW5Zzvgb6ZXtKTeatuCI9
K6eZEUWLk0ux0XCuulInL7s3j8i9moZee2PZMHunTC2mzKS2VHcy/+HNB3OOo6OMZqhT+Fd4ftb8
d2S+pmL3TqaygkEWGThBthXyTdOeaHlfR8u41J5jGHNxJbiqdWtjaMbT0j9W2qPuSTHpRZwjp1qz
HKC1fMPvq47wQ+rXmKTHaAjpBb/6CYa/KK7khh6SLQ5QmFyumGWH9waO6wchaM1nRD99ey7z8zNl
OrzQdiO6TFzqlmNMMFcYF9045Tjh6+cZKXGqL7ViNSxbFLzCJPmmc21cIMCb5nKty3u9MdAjx2B2
AU0QqI40iQ70VvZA7cluLBAdNJXcgenSQ/5iV3g3Mif+ia8mtdKiuTHbrtxPilL/m7icBcdH347+
zuWimJa3YfJJzDozA05JzsdFcAlTmJrLDPPr92JtTEOT7nU8D2JX2CqPoZnGJ3XJsWZtUKzkLmOn
3DUMuBfTscv71vfKtrrpX0jS5T0NKongA3kZnLvKrbxT7WBIwiKQmV5Rx8eP6hHe+HT5eL5BpXot
GXRCGOthq7W2tqFW1o7WpfqJVGzca1iOPFir9N0/WQGcTYY9rMpv7ks3SgSsUa4juAWMIzKt00kd
Tqs5tkmZPWzJTTiQYxzOGYs5sRvTtF6NA/J5zsSeyD+XcaPTz4at/90dQaDATJOzchi2wwoaBD2l
Kx6he6DfsslIgs3O6isBZdaw/mB8mbvqangOk1bSDvhe+zngmmlcgmJD78KrlQBE5fr54GJHwpyX
bAgp5OF5rSJ9oW11Gp5hy9HrzeSvasFFqtzYDc7cgRs3jHyEFwx70kbnTNIHHDKCSUFoOCUGCWSQ
PibPh4yJWE1O1xfzd++zxJF3LBbPVP0Vzx3me+vqyHnOwY5FRnoFD9uUW+pijvN2J9yHSzVS80mU
qtfmqcfpnGiIcgJ77JwtWQxLPPQjulpb3uqofA5E6br6nOpw9jpx3L8M6PnlCuD7mL7Xi5LtcOOf
pD2/GENAcPBiTjwWWyNDe25VIE3zub4Fl4VdsmNYz39p2rR1QZCZtT1d5v1YqbL/gy0Tn0H1AvHY
hX5BZ6J9AC/DSxb6ifrpzfS7TyitioCIzii/vpa6y/yvp6juHeoMUMJ4H6/p0mFFQVq2YaQFnxgU
UalV3z1t42bkJsMFQ5oNWgClUjiLR+ahDhjIgtYfurHLXIerQ6RzIqyGgxAuoNHVS9E1lgq7EttX
b2v6Iv3E79IIbfCSJnJkgjRRHtrywz8py7anjUlX+lvqmMf/3un/X57A/xbr2KiIhmUqpAhpBA/8
74EmlfkzN7y8AwI7Cck9V76E8D2tWi43q3R4F8vPRAS5OaYwjizho4RwrcobS/tu2MKfeTMtIRmJ
fjl5mVu524XBOhZduVwH+hsNsyhsDeXSC08wqo8Exuqw1nE3Kma9AWfzVHVfnUmc349WukKLJndX
B9dB2aXFDVf9BAPEitizpe/DBceNQ7r46bFFy822Ez2hFCWoEjdZvC9zYjdXPicSRraPVH9no6o6
0piPSu7gFSqBnZGO/HKH4hSqG9XcEMUogmb1EHGZf33GyQmlgCFuxqpculPNNvjy5NAekfcftNex
lVFtsyNwBK7a/pb7b0EFp31V+lhmn5IEYJ/ntnbbckVCZAEFMQUKJgN0laruqyCabKVAYmlAlGG+
L60Y5Hsh6eTA7FuYjcTyQf9rNpa/yDdhvqYtS5NHC8ScMWl8BmQb0L1QIKvBrvGOLBZJYG65kRJm
Y4s+R5t7y0NcN11BuYXBlmBLSVp7CikYl1y+qfr9Lwvnl0njPxaOiYkUDd6/zZmFRPLlIu1OyJFJ
kjynwGpz7Q0IVl1FW6GdDRNh8poOi/eYThs9nJ3ihjxhuycRQIOoPgmvgVMfEL3Miw0MSun8nI7U
BrhjTmwXmxHS5YbOpQd00u/kokFYiLEXZC9xihV3vN0Uq3Sn72O72pMUqCwI6GMAA08lnYWwYolC
ACgPVvRVEzKQ7eRg0QBe0pMxE0baC4OhqN0gwcTxDh9DARXOOALWXByCSm1euagnsNWcN7o7JMxJ
bGne3mMJSuvMVCbPm3kafqKl9GMl9nBBFpTMRLwmdpxG4ZUOsHOYpbRwqrQZhPJg0lxFxkXUH5+v
pcZIcaLdSQeMgMgRlRANSwDPsSGT7gbHlBOKMosJozCJ2YU2BDMwvN6RV/ecuwP4A3wBfFVo3+f+
LNnh0TaHKcNXKRgvNT57UTCDgw00YXDOfr8I/QEIz208PjG9e+82Jea38NEZz7nsOppCcAeY7XOF
KcnXX1YKE4p/DgTIUpCxh1I0k3+PRfVvDYsQhaantl1/6sjqMR8hGS8phzwonRlxEpXQYFjn0nuC
jUXw+pK0YmlBaEpuGptNDF9JTdJZa9FyYVHyVCnUfDyeonvnXxWKh52GFU0pficvyGlIhaTwbiAU
Sakdi5Ue/CgyOidKjReEw4JBQAmC34+tUuViVNneC0Jl0haBJYzCBhyhpEqXdQiT1NytQTdqGjMr
spj00FFXox5VX+XeQXlJaCMU7IqFci4qFvpZOI8R2rU4ALLQoWq1ClWg9OmVH+ZTn8oMQJm4iNkp
ARMNQwEEev4aKOBhmBk/SfTdIxCqjdcCry7SnlloNOKE9KgStYaWTq0mPRTlD0ltiBTnOrBmAqRd
ckexiyP75OkxAqRj6pg01ND0vHLr9R8v9ZDC1lWoaUzYieJaLX7EF08W4ELu6h3cURHft0HA38yj
h0SYGcy5IU/vffBwJEDCQDkj4CH4OsvqoRKBf6tPuVmLzbEilgVLB6+/CJNS7+C5kzxb3tXshOWz
AEFcdbt4nZIHGg+nnmwkK4PKqV+DjpEIisththdaKjOGAJRvgDd0PpY1l0GMxFM34NJFiC52LfO6
AP3GlpghJrqK9CYJLejTG9mxbeES8a1GtgLMYhzl5GS+GJ4gMyohw2aOUp1DqEp5gDC7mlkg4Swo
xWMuzJ5dwCwEFoyORXBIfxlbWLGKNOvtecd+QdF/qnyHZdVEzl2lWkjGsY+WtTRSfg1QauSnmACw
gRmwhFpMreZBdgp9ExaRKyZbmZ1ANYFpkRUidheBh5Vem9TN8VVRmxCCyU5pMBeL14rOHYuWafZu
SHuOV4T2WnwJ7x06cAm8RQb3KE0OYKpZUv2aGolPvE76i4yxg1pyJ59oArwB9j1/ISAu1o3ah8xR
o5Hyssy1nyy1w3sAiZ/ppfhu+NsAbX4YzHvlnsibFu48SiyTj3wMvaXYfYgkB6vRtEPnmNIGQZzZ
d4iM4Hm1UKKRHjfF/ZWQ6WC9YVlgwhcbIOXiIXh5cm0TGsAzD/AQX16GN8OJI0f2P8x05RwbX1Z+
jy10p/GNRzTC6h0iVekkglu+diL9I7GdT+SUaP7sFr18hzHg8Dz6aF6XAcjWN974ik2ENX0ivJzo
Ii7xiw8RLUD4sE69jIWK3Q0wRNiYwXNhnSCKAgL9MsId2med4aj1eEmLsNhh+99rJ6tbJ6o1Cq6k
j/KbJ4fHathVvSNLt3gc8qd2W2FqMcVsziNjYKPftfyERnLYxsGMItL0FwwrcLfAWBTF513gPA8Q
UTpU73Bwgve43hf1olN3vPcEHvC+oy5Bi86WXM+6BcCrUDmWfxzUaQtDoj1TlCO0Z06HbgeBe38z
8QoaQHHDfO+9NFRgDDW55k+1t59kFyuk2AUak3uOkKR8S5WcsGF8AS16rSrjcgraouweUvJVyeF6
MEQkdAeBFrTUCGXPJwWo3w3UodlGp06Yy8GygOgikQhrJoSJzThuJH3fDPMEc+p20WA6n68hSCXC
WvAwbt6GwibRZolpB4Q6oh0zF8op4JbinIrHv0BKLyOdKRC7yIBGsxFZSXvNQLvMEehPlJETgvsa
UJgnrlEvRqimZnUx95/IlgD7ndewSzyk0XDwKTVHbv6I1PQz8n/kNeyc7kc2liJ2ve4gzWlqnpCd
lqqKYOLywmCUQMSFMNytnFLc1X30UoylWenBujViPh2UKDbHFpE6Xh75Z4YJUCVj5v6a1oU59aKZ
7l/qJ+UkfpTBJSvPQ2vLzFvz6kMoscEI15bmytam0l0aroxcNrxvC4x2ybaTg4vR4660bpQzzHbY
DoH80+VbUaHkWKUa7de8T+Y1xWWVYuaDGaah/DBxKahin8ecNGN0dU1+fr0Y6B44ACGXp/cS9Qe7
nk0KOokRwnNuvGnpjqstgliOwwReur3BpjOI00BexfKFXI8vGzSifhagbIXQiqj/OYXTSvnR7SSV
kAjILCN7IbiF0Nh2kOFUEqwQsI1y3pRqYky7Oerxim0Jojuc5deSURZkkhftOcROAWOCibTjt4Cb
Dd8G9FmfsBgnXAtftNcC3FioMp6NFRZskSi/llifgFB88xDVkEz75St8l6oP87VCidpmwODa1atW
fbpLy4c+sDbGEBRkSXA4459GJ0Z4kpmPF/2IFzezQiBtEYrxNn+toZFELwcDWEk+0zTfpbX8I+d4
PrCVtt2stC46cwO1vWTKQVF+ICIoVb0KXpSN2U+JulmGopTlLI5dWMArgJpp7cx+YRHYIaN13unV
ZRR0TQrR1az9s3QLBUiJiZKuIifH26Gtcb7WoZSjyszLmGEHwg3qLg+FogFLEsJLJ7ITSU6P8qrM
9nLP0IurCjbyvCgy4KJkW3CzIcdzZvRblVw+nynPQAz9VgZ1fCp3Sz6LcH5rA1Lcxu/cNrgIPXYQ
Y2Yn4jEcF17CKivwHuTp+mzr57R60hGZ5bSq3mvto46k9bM/mAL0RezfUvkNxW3UEJwwJ6cnoW2O
wcMFHOyfLxSsuL30G71YPeN5K659mmDCPii8DILT/OCRNeAveEbrEH8ikvh2LarYHIRMlfqpSald
6FeZuk1/ChO0wZnxHUEtZTlV2TwYikmGqja5BMx+NJ8QwV073Epmvj6jBY8aoOXfSnJ7aRoJkg3L
lwGJ6c3M4EPn4TJahUJi4+sL/5ewqmEHjpAy9t650W9t952SYNfBxv1OkDN5lIV6/z0UwyQbrk18
1Wu3rrevXQaY9BnW6cSCO2uYTqyA4nyWNYZWuGFRTSzGCNHuXvvvenjH4VHGp67Dxl1mdKBv844S
9EtBsf7U8QFQCG2am6NgirgkP5116clTy0mAKkd9UXgsYhg2GihScir8/UDfCVNaHWArNPJSjdYt
BgXxQoHDS9AyPB4mCCMDOTj4+gXRC4EqqCOVdgM3QZDeFJ+ynrD5HMq3L342qJ7jMDog+TWFamFl
BJrGZy/EWxsgKKLkpjutRLt81zCL56YNwSnjQQ1hP0r9PZO3Gml5Oc2LRK5j4j9ncQhPCCmLkCJi
JYEuR4qo3rwAGw9jrLIQxmgD5DxzX3Z3wTChV0Job1c9jOWKpBq4iFWNWhN5U8d7fa7U7lsrLoZq
zMr8I0wfAnNPkQT0sOR8GSY+KSiFzPwMHr5S1pMBZXv1blKSG7wTJXtk6QaFbyg26BDwn+u/s7Gd
8Q4qZZWvrUvzJvk3CGOW4RrdyELsfwVHCM2ug4oQfVbFpMSUw2CTjfYl8IeinbCbWde7VzgTH4A5
L7pRmrGh3bQJI3DMGAydY5raDq7UJsLhHgo9J1PD/5j+5gmU1fSNVKVJmj6wyAvL7yamPFwmxa1p
l1KKqzUCWOS0g61AXowPcQB7Uaph3iI2G9ZGvvagQnr5yFk3FyXQG7h+daujOw6cKOhNKMySt87q
Uy6kNsi/QlaLSDqxzZQNeui6vGVLBDcOz6v9wlUJlfmp5OBkki46fblC+WpsZWFTePgUboz0BKVV
3zMvDV/fvARWDpYT4yzigwDskWHK6g79z+hziW3KoN4GHK2GEzWYrm6IKAGHyZD2D0ewBay5NwWV
Fy/Fm4Ygta3ULVNzPC6HyEHvkDjK1crXQndX/yYlsv6t21RFRSaSwxRpk/7ALqq6zoY0yfuTqrol
+2U8jygicjD/Z3yRXhsI46a1lvDeVJHytxtPO73iT7/dyea6H3A1uqkN9CZloqenKjymX3iYiQmc
2qV3TbgJfj6XkLRUrql3I0lL1rdx4YTPGXE3UCcE4dSVV4EtXETVkN/14AMnitJkUaUWzMoXWUxT
Bk1musuhP+Mm1+3xUZBimCcrYN2akUMyT4jB0Jyh2BotDiV4iF5jXJ4u8H3itxesmiqakXkl1vtS
n8JregaHMP41imxmJPEiA/fUazSe6hNVdErJjWIG8wOkp/jhtTQflFr/3eYb/4KMSabOgHGUyBnS
nx60Q/z0osBS+5O2Mz+iyGXGB2sHd6FmSYQe7wNrYeK4N8kmIf2anemCAVV8DVOHQbh4akNCLqIL
3WvGlZhJot3AIyImgKE/yLOw1WGAs+fgEgKPzuTL+Mxe5BsWzwxfQS41InmAz8dRbnTS3QjWnl3i
aTP3XJqndgcL8wEck5aECGPsMKHezNT5U8Dm1KlvqrL77+vxL8vQwtFZhIoJ2UHVzXGZ/jb0yMSg
K2JL7k5t4gA8BdEifC3RktK/Yk6myHa6b84ogLAi9PtlDKSnz+VhFXN4Ks4g2q3ohIoThzMLJunI
/pqQ5V4N9jOYKUjaQvgzdlEsMSulpYhCkqnt/z+bwnd8rVaQQ5zAcGD+4vSilo7EINOpmLxQ3zIf
Tyb6FzT/qbxgEvVUx2vmTdMaGyDHz1fhN/01iB72oPpGfqiIthhWR8grp5a/FNAa8ydfs58N/VxX
l0ML09iGoZlfTJiw2CqN3J81+mmr4yMtvddflht5lf8YKlkq4kYde1gusij/4f5rmqIh9FLXnVKs
oxBnWWCNOI+G6lWMb2it1J+8PCeYzw2QRf23Sr3Gr4OqHJ60/xw8AX6E0g57SgWHAH0JQzRKthrn
p3UQbl2+iNULLlAJqG20HccwHtafp3ZYiWyVtcvfEIOVkW74J39VxH0odqTaTWdCsTKsgxxv0+c6
breMp83ubFh3MhWJVTYNJB9hgB/b1FJ2UrTxg7XpO3jF4DqQ033Jh4qwZuE2UkZyRt8rKbEV4635
eBZ7X9xm8J6zn0E5bzEwKDR4yVflpxa30XCiUqRS4GdzopHFnRldiKrj66J6xdxFw27RW5YgnGJ4
bL0d5BARZzdzVTCzrN2XsRnauxQ/jBaLnM0z/KzDs67OJZ6NBk/Uc2OsZZaMf4+0ueSv1Jfrsf1o
G5OIOnLLnsWFBRNmRx9oOzqL2BEgPQSjUU6sLfH1Fwd/63+DA3Ttl3wS636SyfBMN9U/UAslbmU9
z4vklB3rrXptlsTxbf13C/JK8o1dBGYCcNTSccqbw24xoY/D5mUkjNO59C6fgCzQ7KyCpb7u99Yh
PWpXXFE/q0O+SldQ1ddPaKHWMr+Um3ITk577Q62B5hHjiM2LCb24MB8oRjfh98s1t/0j3kjoVsWL
zHw23hjLl5OeURPN0zMMDVLXZ9FO2MdTcVVlE3kurPHgcgLyTOpTuBJm7U37C4nzH0yLPy/QSHj5
bfeBI5fFz2c56mkFJubmHo3nKXlnB9b3g1stkxVzjLnheMCH2UbYNgCq5SK9pav8Qj5l8QBqoxdX
t9kCKAKrZ2PfYrmFXDOZDH95s78e1d+hhD/f7Pio//ZmK6MYwkLIklO49l0N0OgSvGN8GPnT4ru7
gVk/Yq52v2wOkAnz7+Bhbsyp5CgO41A3ejAy+u+9W/pzb/n1hkDEUIWquiyLf7A84joxspZgzlOz
JploRWsOQ9cx3XQF5Ogqy7+8HHEJ/7KZ6bpp6CJRuKjL/1jPjU8S6dBGzcmrLr281JMFluZP80PD
5rCHQ6Q6oQHLAVJn8TpK+eGJp3t7spI7BtlB+TCKNyPb9ESlDXAK0kuL43ziWvoSkHLwbVMkMR2n
O9cTD76/4QhsdUyCd4qwwgyTIfAQHtXm6Kn3lhklB5KRzNT8R/7Q0fYKuxZFYp/tU28jV0cvv+JV
jc92he/681iyudakpWJnsjGlZak7dKRmsOqMXZI/iuTaG7SqSJXkY/6aZ8VRoW2sT4p1yJis1/G2
DKGZInKbRPE8HmNykYK8KyRkkb/jpjvAol2BiQUwzphnJS0EAeeQZtdQhYcaydLaIxRt39jr+Gl0
94rvDv1XV5AEtzbBkjBN6kmqX6TNNvSw3j1p3uie2Gm7JtrV0dVvN7HxLgZf4etWDZ8Z+IK/xjVD
zI6Dd6/Eo6ZcBu/s8dRoO5ma3LvW3QG3xkr8lNtN02yl7tq8MCo/d9FusAhUPkT5Wn+uciw8/LWv
uPVzoRgrVXbbdjPIzmCs+NPRLnjnEBxcXUjaTogPZnbUtW02rGiQYmxUko1WuQYGKK8SW89lGe34
48cu5p0KgkisFGWo/ouiP5O5m4b3Igb0OzzTjTRwCryjUuCSaBm+wVfeCr9UlN5yjLeQ9ebraCAH
YaKpiwAQMmLIs4zbvR9vKXL5lhe5QzkvoAuMH6QjNYRaq917z4U2rDXau0Tf1ta62UPKEtHdRLim
EaszK7l5keJ6XPcY38A1v8co5zRucDBHzQI2XFxcuuN8kRfMjxZeC2vKLWlm8nVMD5duKm2ZBCte
lXdSYyvprxGwK24snIMnvROCarxdINxu/eLI6wQdPw5cwsfa9/FeUBcFvT2NbrwPa9dsdrEBFW/V
6LtWcVFDwwRVyY/WbAbYOU58tc0XjXzBfHJAfV3b4a8UY5V5PoRD+D8dbiy2RsNFHnc2Vbh9+jyX
p8zg+ViGdGT5UqWZePNBZLUQnDqhN0O8XVG3kWqc20ZuV4L9oqtGco2LoQy3x44au8L1SJ4+vRnk
PP4iASVPWAWUfQAzvK7l8Cq8RBKj/ZiyxAPL0eg65KkFOvrrJfi/pDDTTnF9Gb9bDk/NgPWRMA0M
7BhnXAzeLALzcdyGXMF00nCW50t+YElSc9ItZAhpw8rnAuJyhbIBqBQrNV4UYSAzHmHKReATpYi5
ZXASR8XvsbGHCBmZw/mKXj1mYISLHAMRfqZmcDTluwy/U4Icu4nIuAwWazEq2yPHQvCECPGXFAd9
+fj7Ihv1mC69mYBj6kS21iLYBgqyd8B+iOuknJmQAHktihKbu8bLyXTeILVczHZPukF/YVan1/YT
tXE39fF8IJeL/l4DmhvzqFEfUAaM65stpLExLIYfreiMy3HqmzIJ7bAoQu0m0a3ZI4by642zOkCo
eX2uHr8WxgI4F7+QJcDV4+3wT75VM9exHL9zKmYwKL9HqTLmuY78rUNpGtFNh3VAP/MsbJFe89fy
YpPj6oT+uAh0XplViGMS65JX4wdS7vqEr3PH+OAMFsHJP6kv+ei856cxZ6WgAmJFjFcPkCCa8rmQ
C/Fd9Ru1NHeIP3wUXo6FwE8pIUX/gjfz68+8h6WPsF7t2WkHrH9tQAA+JGsPxQXrkweES4OEj9vH
BxZYb8jwuRy8MAmFiJGI+ITyUZCCjMQKbwFSgXG5ZE48fYDXDPJ0ZuWg/cqiv5jfj8LA7gYYdwJ0
ygcxzIkYO7A7R2NktJJIWVg4d3paYIDwzfxQSCKE9ov7gUtMKn+vNOZouAINmJAp6BQE18KhBwbE
a84P1jwhWPaB0ACAItzDtykarw2gLJeRz2CypirmTlNAKm5Ehjka9DwLo8sFd5uNMfyEl+DTMnN3
oQSMkuvxA/LPBLSAvqsk62TyYI0kYLIE6P1q+5vSYSbEJ2BllfeydEBWMyg7HQ/4pEaWiDZOQTox
7b7yOy/A32JYFRN6qE4lTGSrWfVlXvvYAS1KplJgl8Be0jIAZ4XsAQeUwDZl/PmC9Dt8xkiEG2e9
ExntCaE06hQPd+b1EOL54MgvYQ2Of1exJdgYGDLojmra4GKoxBVQQ4IBcjfXnc2s/sBZqP/gN9cv
ruekWyuQ4EGUJ1W15Ku8hv7BLN8gqzCZVl/eFWKn96NfOxBcBjxOtX8d62P5pX6E9+rLCCYz1H81
nNAT7xCo1frEMSoCnA423CgeE7ZGps1c436qXoCYEf/kr0OIEjW9c73Y+JAuiM83rgMqc02bC5yR
xDYHjoWzK/NCGYblsn6eFEiRrYMYvfAWGoc0brrbRELfhXrYWHrbeJGhCtPmQJstviT6QoXH/8O8
Wt9VbraGLTZcfQiU5xyB/ba5hFOe3QUZeyugivSSLfrFgH/shB36Fm7wa71kTOtQCDkMXrKv6udF
H5mAdE/8u38H/dE+qGLMx/CtA1vCZSNVFcwU/inh4g8GMZU+6pJ117omdypq3fUCIMbgDe8fpGZn
TNe/+emCtFis+ehYgDrNFTjLwDtgF+NBJdwC+CyYmgkwykwfsOh2MFtBhILYxMJgX2Iqx1R90uiT
otiFkAOZfBKeytxhlppkItgY92LDyrASPAgHQsQBIA34EGIbjHIcUV2yr8/FV/DWvTNHAYFHSsWU
EOVRdeg2z2BVeLNWcQSJCIVdPuBpqpa2If8fYefapKiyfP1PRAR34S131EZbbUf7jWFre0EBQUDw
0z+/sv/xnLPnTOyJM6e3F4SiqMrKyly51pDPCBzC7Je/CRblJ1FJT1W9gRHc1LD3AMoRr0ELfaO5
EpEuqsjQw+RBUyNPW6HtgKufSM9FiIqcbxG4S+hTqPmeUN6SAmElmkvyD9HK3WBhr3kCF8sBnts7
6Xv3LcrfQb7qUS37j2egKSHNHRAHRyLhnQBxuTbYKxxdt6QyhxI0qCsbrzwV7Gpml47S6DJohchI
Eep1NID76jjT3gFvQEoMtyQkhKBluotfZmP0kmYwCStYemo4yVs/mcxpAIqeFy6cBkSC+ZJdNGWC
MJ4e5YCnIGHCTe+4B9BnWU6D7knQZCP21oXl9F9zibAVqybR0S8AbBc0PajXWKKoovZBpi2lKxjW
nuKO3terSK7iIxltSsn7gOgw+Q8SCx3yqoBhNdZsyJ5ZaIennLALoiTkOWPY11QS2vylaL/Xd0UJ
04lDPpJCLoN6WWaOHihZCNazhlmzhsImMMGnQk1LLTDzsxjB1GWiMXqNBkVIXYPNLuB+X5UDINca
OYza7OLCBP9Ul4drR5qszRTYOtMFaY6HtZnnuZRkRidKjmjeuiwBRxOf1jE4WEbIO1oWMbdA0cgc
aeX0Ic/rx9cTMRCIc8zA0gU3dnH2mlPIuO8pST4KUgoyw8Utuhtxx9O0g/bhA3qAgJ167u4R1X0I
0esNrxLNHup8B0MjJUzCag95GNSGb+opuJRhYbzpWnQXpLpDkTooZzdtVJ/mgIZSilUgZO1L/y65
RMGhKoQ7U4UsE8U9YXkhyxAzjzmlobwjwnk+QxyuNHI5cCo7uuEz/SioCO5RtmzXQPSJGd8oE/ee
FBuLRINgpHbVOuwGwXPGhLzfXXv6zLePNiioOFdEHvyMrLY2v8iLrI8K4nbUmqQ+X+W3j5PK/MKp
E8ZFF4oEsEZjAPwNDgBzuRW0yuQMqOiAJPJIzRWj/wFKaakaVLxuIMqNqv7jllPz5PIJg4iSMEbs
ZXqeymMAaoKN8exR2Y56FyXJ1NNishapRXIE8OrsSWb19AbDczVYdbnfWxFgHp1hWUX6JbChAy+t
D4naO3K2VtCTRH4CiXzX8YQgiYbIltX6xdig5fhAo5OKCAs8/SdHl74ohX5iYNKZ3Q+c632ZAdsv
/avl3YrwYX9V+vqCDMfsUUdkLfqNc60DCFAxj8B9oJsHK5HipWB00wnMlVUBYZLi53pix1r79jSn
NVs2dhDSWrss80fUS6Df/JLwXvN2bd+baqRm8QZR4AK9gpFAiuvhrY2vXahnJJJHKqvc5X5l7CcE
oUt2qbCgQhUN+QfKlemIaNgNvA9B/QL6XVUatWwwOgK32G6XOq7LrlyT7bFJMZAeYKJBk3GipMgh
QUoFdA+hNo7cx0ZQHIBF4Zf417VgP9dAdeF914LrRKwS8Mt2rmqBhABSNaf67MSYs/BeQPmvyvVg
axOxoBIV9gG2k7Y/QOYZjTEc/gnnAa/EgayEhM5bHPIyrOtJKn0j8YRaJTxjEHCwIDJeT/ur1bw1
I0WKbBgQ0qQu4PkRvGk2NQ8SiAkXwBSzr5k/32Bz37BhBnfmFiSsQRSQG3xQmOdZBun7SD8FahPA
jMgaets9p4Jbrog2NWqZwF/APDgIuqsg8aHEHjh2DZw1eHKW1KNC9WghLAW+xCHcc6amE/YXdmCx
QcGSQ1gTtUbaAt3kiYnKNSHiggYph+OBBQfmRIczCn7UO2J3oCPGug6nTwJG0mLWSa7J1MJTplaw
Dzvgmmz0QBKzjyP1xwYNC66w78AsQlDgwXhipxC3JPY5zKmLaAKg6hacjyxY4Dj9BgW9fMyA0prI
qHBiwsfGPxfsIx0NyLmL9gHZMgWW3xpjD944hgb6cZ2cVw8WKBUqZYkqX59HmGY7s54L88NeGO6J
07CqPiCsNr7NEfyL/U3M7rTsAziqnwfjG7+BhOLRDgzykOd4M7klVmRVIbB2Qc97/5UZ4VH2MJ46
+gPsugDhU+p3gbAlwIRIZKDOkH9jGEFOkXf1wZpCGToArgj30zHKIWclA0+Ok/VL8RtiwEAx4Plo
AxjJWGEhyMB/IsT+JHiouBpgAlt4M/Cy9F/kDe56pP/qv5il6Wlo8LIN6NC8B2eAl8M82ojSYMyd
roddF15dlZOfgxQJ7AsUvYCjPFL/Gxey6730ouuAhZi1FXp0yGAem+D5gaTa2/WjibTYRErNseTQ
6nw4yvMDalyQM7Estg7QjmZo9sLJoFAIPAZNYYuTvWFFYVXGllAya5CRYqWh3ptw0Rs5VzwO0p/K
Bz2aPkM8O9vytYfPtBY7ARjbhjWpaaJfzy24BXivwcsw5+oO5wYNoN0NEuSAchlE2inIzlyS1qD9
izTQ6I8uVgWPETp3gB6CpplmmydoMtf8quAAbwD2wAQOGs7tTvGlGT2l5fMU3fFsoVy4jWvKpESV
2Rjb1cHPbY4z+cPUQmh4rtk61RJ1ZsijEpad2V+il3+ondRJ+pkiWDqw5cFvsUtbVU+bzjSaOeVW
7LU2OmlpdzBw6y3hdEQRLf8hu/9+TU0kd/47YiySjIalosJoqpqNpPE/I8bK4yIdT33bzE+Kl2VQ
8AvSnBKCucwjIQ3px4XYAStICpM/FTQhaDoZocTcofyVyGFNRVTjwmuaJllsUEzDrgdOJHVGjoAt
JIgl0EwgCGTGgnfv/1LAaYgM9P+23kR61YCdEybIf7Ze1tsjNXe3Zt7uCO5SwW1TXwzxmu0Z88tM
iDcF8NzxT4Qljm5NwXpH7N3t4eDGYBkEsFy0Oe8ww4GX+tS99kBeiRA/UJPhPT7uykAK0wTXcIvb
gsOBH8yTYA3CzP1Y7/QDAiV4mvArlOD8NxYaRRE1qL/f4uvRKPBHyLLxW6Vno6p3XdI39ZyAbI1Z
cy22OQcqaqj7pCxk0DheP4SmpAY18HQLKF3QuKIAuWJhaHcq9gN4yYrNJEFo9j9sXLDjVE4LawfR
oogoEb0iggaC8lSFGfv9m49qUMibzbpV3DMT/jY8Y9BvfmFicjGAgeAnUQM49joAZ6zAcHKB92er
04N74uJei1MN50KOMAIm18eZq9A96KiXZtP4oZ9CqjoAJt0qyn1epMwUBrGIP/YIKYBDuuwoyL7s
cEbg62CBLmux8EP3osoOJoxlj/QJtNGgU6gygvEio5yf9ZJtNVVQD6f4qgy26kRsAKPg2zuP979M
nD8/l4EmSC9Jb6i/pVoy3bw/5GpQk2rB+gGCL7bG5LwsSZo6oMzZtXdziiYeLGX782fxqS6MGeHm
M1voPRW3iG9A+Kz/qj/FNhH+T8LWQt4A5MeVkN1faA/s3/MwYpqbpoJSsaB5Bl7wz4ly1dJBrudU
OpdQAsLghhafoOij2PkCf5/u9xkg2uipU7jvbjYoGQhAKG9R4oRlCJqpPpAvQ0MhrCuYlqn6fDau
LMrTvAf0VqiyAPF9eD1aRxSQgJDQEJkIOAbmLcT8yIw60gfxbv7JCtt0UbZvXD2wedLniRgHVPkx
wDuAwRDn5uwHNFcX+wFKX90GNM0c2kKiX5QJQpQMFyVszIoHL1evuY8+UEFCqt4dpmeq5k+COnkA
ayXUElSDcgrbYQdG3Rq+PDUFUMb8ZSj8yYb+d+f+lkDXtM0lOxq3ev68ohThEhJogAXCQeYqoMvv
PnPxfGB9LIabsUI+AYILZNIZ+yzs8GsigOSypcwPCGnDFkfFlNU4D27s7IB1DZ8gPgg0bCJo73nx
723X/2RB/7vtv1lQKZMeRj/I6/mJokabuDMevCApb69BdyISKFi0QboaQGmJXVHTubxsr54KEsVa
AAwH6AUNg0zNO/yHPExETxtC24IPiIcHbJ8kPFhoOl87gMSTCPR0Lp4FswAEFLRQA+ffb0j9QwLw
HyNdfP9fKVCzawdPvaWuPEsBpMRUDEMoe8UzwUA0vkUBC2yrcmCO7YtDJvB6sF6k3OqE+ER8nNZL
FFuULSx+zNAqub7hM/+lhX+0HP+Zi/Zvy3zeNR2YVoYLXLTCUmP4KM6ZSzOqTPu1vC93DfTg91XL
irbSxyVe3mCNhN6dnbnknH9V6V/67A88I8I6GAoVRbYp6/ZvOW4rL4/lKZexDof78rGFM+nb+NV8
56QAa/C1or5ZfkAyN/iEB6VYdNtm/5ibgAUdPMfnjnU3uzqMU5aPSf0JlGjx711m/nmU/qeBvxlb
HXjq43hR6nlxpTzRPSKQC+V55sqk1jLXyFzbEjFeEREVvqATUFV/XfCkQYwQRAFOfWF58IF8puzf
SRGAPNzX1bjZbZiHlDoztm2nhCvh4LOhpKoVziqsB2MALB9vlW0Nempdri+rx5wtIps+/HJUYsDg
30pA0472zUrFJpItDcVog/NfRo3953ENs7eFNrn1P2x0p+KUmo++Z72hthhxEop24eChzgpuLoIV
Fsg1ppco3O8g7z2KEg7mLT5cvge0j/gpfMJ66T5AlL/C2tXGqc5euifCXFBB8opSA96lLyXSOaDK
wF6ylXuKZf/W7Z6pS8COhYtCZwCsgJ6POxkUDpYepJBDH9AfBGv2ylX0IzgczDnbA6E9Ax3FPcI6
N6ua3AS7BqhfQVKxXyNuobFEuN3hRsFhTyCS8ir2arDLoEvnXXbsounTK7ro8DTii1zcKxuYNpAg
D1F8SvDww9jJshXc2F5t/MU6/g+e4rVsDlTZ1KntFf/9pzGx70b5sDQ6XSq9ZvmYVRPYGKEPb3jk
n3fyvl/KF6WQAgMGpBo0NSvctpq1H/VnS6cAbLWIcLoafnD9lwGhvuCX/+0Z/o6t+M3SPeTzrQNA
DNJ5eSce9a6BvnRUHg9VWTsdBrCnC+GYDN4b5ivCkUQekS9onXSfT2H+8cx3A9KFfIxKZ7ihqAC1
hs98gU/ZUgNPdfw4nz7eui9pVrx3XjmSAjUshtkbybQDqzpVKDBIhM+dRdCF/QrGiqtjMzfokQhB
iOuOFAS1oLBmUk5cwWQrYqZoCUPBS0gcajl2+r6yqOfyRzvHSYiJjyd4T6J9APrmzeflvd2na7yp
AbvNAzkpoKfkaBoYdl48TZAnPg7csXlQgeCyij7d++FxgL+F7QsN4cAbkYKzz/SHrgo65XuSTp+e
wKUhFObo3yQbSZqRBgRHBmy4grcT1AUU274xQqUwvMfAwakx2E/vq+5d+uxXrMq3pD70q3rLtvS4
UqP7ZLDshFsLaI5MxmCb9q7ZEicVgYkNdDK1CBBCT3ZcE7O1qVulZoJGk+KnooWSkEO7Rf2QbAgr
6eKyUz4uO4pgOdtlXZKxi+qDMcsjMi0EFvfHMr6sjI/HHn04OWq/G9KWKxgIphuRlWnfrp+oRUmg
NW9vZkTZ5aiMnlPL178AJEF4x/4oQQSC7AHte26zPabPJpINlhGS5PtQ3vGBvHpCh5zB91ANP2gn
YVaidKSAus9T5aLKl75fdqgTYvBqR2d8E76iAoFNN1wYySnMvk5vRUTx9qiI/rIS/BGv9h9AkfLb
4qnndZlLAwBFREZ3WXKKKVNjjzPuFvm0h4RditOPzXu7uFD+OEKv/PFJarKzBPVdSRqXONQXoJTL
OziCAVpc7S8yz2GL9MRe9pqp8oZyjl/55aIkOFrui0BNzokN7QG7iaRfZOtrBBBS/8JHr98fc+sL
WDbBBvmXtP73G31tvH+f3TAHsuVTqPTF+vzT9KQmGwyov7I5ru5Q2gF2htmaCXyLkSryB/OWhWyt
JgwfpxpZU4KZ7jlEPG6FarGjhHV0fKOmykFC5JfyRoBXW5Iz/Zt9/N2VESbovxv5m/d4r1iY6weN
JGayJH0Uop4CT8rxHa6U4QlQLODZoPrwFcbvljwQDoKHLuZfmqGJh/5vffWbJbzod7mtZdEMj3QO
JY1HRnrYvylejdftUtk4lYaan8Tl+yNpZvB2dIk+buLjXvV6h8zkXx6e8Zd++R1VWV2OudGlcjaH
7y+wwk842ic9yS0q+iHNeas91cWARWCvg8dO+kCZzFegCSYm7n6jLhCVcI/kENjTdGMIx4UDjGla
jj6YhzFjMgKJ5qYxLDMUrbfrcnT/Zfxtefl9x/jzaAeET1BpkQem9s/xR7Dlop/tLpsvzeFmmHug
h74hi5B86pkTUEAeChWZp34RtUwKaO3Tt3+fAOafH+p/GiB8wv9y5G8Dvc70gj5U34z5eWtPjBXe
O1tKZVWxS2FHZxPk9HP2knAdVWxT3NTbLGrqRIkC7DWiTgSjCooMPaJXRKx8yHSgfMGok+eiDp2t
Z7WsSRY5KFftn7ZLlLQTYW5kTYtf2howxY7gQt765agPIdlzDa/w//0uB3+yZ7ZuqJpiITFD1O+f
d1nUtpHrtpAvceFUSnBZr1OwRhDBU2lKLkyAGXq/9h7DxqeSCjbYQcTaXs4yP/UICL8/CUQiL+8M
XPuzXhYx+fgItAY4U5g9QsrS4Y+BzndZBPUHJQ6SEPNZQYUSXeZD4kHu9ZfuPYdpcnY33skbqx4l
/H41TGfSMB0tofrAim9m/37XLyv924S1ZU0hpEUwQrF/v+vefNzuvYQVL3xQJM1M9dlf3PfWr/qd
vPRfLgZb8++RVQYz19MNcyAqCeBO+Gcvt4WmdTyB6/wJNIx6LsV79O6SXmbrUlJVAAvkgJ2uXx99
+Rw/UpJifj2IOylo8kTqklT3Fby7eQtXz66B0AD+AoXMvXvc+NIglLqg1v0BS6Qe6Buf51ZZYXGJ
0BthvEJNw6Sn4jaQ4SxFGWpAlpvUnnvO4G33zp13YfpTpoLcFjTfumsh3ipYS9F18tVsiPD4UR8C
QDELUg7+oA2NFkROaFleg8QQGbwceIpvch5rJFueREAyC+qauoFAzn7p2vByjUvOY5OphR0wQh0+
p8a1Geq5z2FdjQKDjyqWSfbx6VJ7fqmF+gil87c6qhYm7ERUqhNgQT7EDtM6gkzgnA0bpATg3MLe
Gr5mRadTaKLDmPsNg7b2m9znk2MRwjmQFeHPDxszAGmjn+GEcXl9RkdQAJngMTQDbtaCEahyB4D7
ZBTgBYbI+uZ/VOzjo4HlAFVGwOT19XUQppSkjoANmd/lsIM26OpRjZTdQqBj0i3q7fHjwxCc6bAj
8w9J+AELNZuUEtFY7wrb8OD/0HjA1oiCbi4+KL0c1+mFXByoVOT5BtBQhBdRzCDtyIZvWBlb/H7A
drrh8T3YNJUSbH5Hi68+n/OCT/jWLv0f2NxJAb+HSlkAUA9MIxBBfgj4kCOByv2cBIAVNA8oTl8h
jfJB94FbBHwGZIwXoBR50aUCQfcQyirk8gIQaQDHCmqyoOjvfPMbzFmKADHAPgg5bT87zx/EFr2j
KdBo4K/oLs2IiP6WnU+FhvkNr3e6u9zcu01CysvLCI4Z2QN5BYCNa09RXo6hE/O0cENm59mG13Y4
yYAnEIuFMg3cHDmKLrZKRy1noMVgD+8TzqecHPkZ3lH98SfG6LRCb8Y2ww3QUoQMcqKzSV68gX6j
qQVnt8QTBb0F0Q3gK8pjOW2643uAZBrciucIlFu1tmDMB7BL8GzVyYH1zfmhyTDhU5b9JoO2kNwF
nBxecFdjiszMc2R914qjAu/p/DIfgoFStbDR3mAIyE/JJv9Vb+IifZOhfcgpxXXhc7gZY/0Y2HUE
T3t6SloqSGEHKULA2FkF7IX6Z8e0Rj2VtBwA6wU1pegBk+XKPmAdQHski9TOU2rqQVBPGGlIK15m
rZIcKXloXfv6kWnU6ScNtO2Nf7dBb8yPxRwChVawuAQ5HZ4xHyOlXZ2PiDAGJ5g7lNhi4kHBokSw
cEgoMJaTsh1n5ejJ5L2/TbQ2bNH43WqZC34cvgmwukdgQwhQFybKg6352KkFGnopRXXXj+5YzLqL
gQ7Gu25JnzDKDzc5lAloJ5c4kGKvRXKxPoWdVfm5gjzP/f2ov1NYRaM7qAq+ex06tTYlJuKZxPlz
r5w97+/FCVq38vR1saEFoAicYXh7rCD8oI1n7d2+W3GmwAgBgx4AuOwXTQuzGRRB3W3NvTHJ4A+4
odh56ZwzphkxWFRFTglQwxMqFmoOdk1BtA+V2Q5UIAmJs5M31A6PbH0MbhNvP7sO00uwgUauHpfS
3NIX3T00BZ4pMmRkvMkJk80fmSCOJrD1Cy4943vTfgGss8+zTYFspwf2r9cWKkPpiNqc+Tz67Jlh
tKqHtnkwqSM4Smxu+xFg0Ot+c+i30FpQBsV2k76QTZB4ZaIEGHhn4JAZccVfJUCSxiEt7Hx9dTFp
kpgyz6UNkyJhc9fmO9g5HCwja7zEa0BFMfwNYT1mA48TIBNUtldgWB12OMjxwLrEGckTJJ+g5oYq
P/r5mbgQCk+8K/7vv/eE5On065MgOJeCt+S0HwAb1PU1bEEqj4XoVmXu0/wT661R5ZopZmhCQ2N/
KBiLbJOwLMgUN9XwIsrEhyUqS4jrglaUBpGiArarjKUJlo7NX/bUEHR/74/vPeQax/cTZXV3vweP
qma/8nZ0LEY6Lu81RPvbYuErwGFMYKfRWSvBoyJvNBhp7XCjvssIR8ITez+idEzZ97iimKK/RhYk
FWIJU7tHolbJgyovPOKngMDe9gQt1AMEafhHxgnz4lBFNcJiWEuotQkIAPYTsbDmnUWjjS8JkQt4
XQ7NGSi4h9YkROtkbZjHZK0MH8VL7eSne0hrsmNwBEzFMGDzvz+O6jGP5MBh6tOH/YEBoHAxQmjw
AHN5oDy5z4c14tKEIhgixQzBhiYpZ2QBshnST4Q5CP3ClkNMzcRnSBg7TMLN8LEkTgNfBPQwRPYM
OySSyQnhJTpW7m3NBpBRD4oV9A+MpSLvVCNtOTPGxDYZ5HRWudTYGEMjhpLzrFtkLLPA7GDtMwMx
MohuMmIY0sfoOa7jC3/LBJD/9JKcZ9lMXgpeOc6YzTbDYlbMbgt7pSGpOeuXPbHhfkn795zRXt0W
j22zvcy6sccBtwU8NTO43bYVr+jFZptP70k+vU0hM6CPtQBMu9f7MsOQ+m9PC7RA9p9IXZxcGMEC
he9ld7T8aeRrTiCBgWnmV7k0UYIqpsguobI9LhKEs8bd+Om1cRvbwXNczM7RMRoEgyCf0tW3xW3B
AD2t8Uv6LRDd/XVdT+XtmRr5NcIcPCtcJP4yVPptumebyKPViN8UItbEp09g1XuypnwMgxMPk4gT
QS3gt9dpHf8MBR4633Ek/g1fE1plCHHS01qmr07rOp5MiBPEiNcciKoLxTK6jKs05utyBFqW/I53
jAhOc1RRdCaMFpE85ENI8C+w/wBAA5ejOoHxDAwoL9jv88SJRhMFewrpUhrHJ9wCpxCHngH/iPwj
fzkLH/KaY6TV5pDukRhZSqtsdp2yZ1pcZtWiSI5RkYjXt8XxSF9KK26jG4v0P7FzGremHzjBdU8z
uTzf0hxCfaJL9ubhuhfTAiw5T4401nFE912owwagCzYHRVIiWMQfmBskE3/+EZh/Ap/mQOvADaZ7
eSmdxAm6sRgex6hMhImUl1canE9th4F73cuMnSrm8sBnptwK1nVJD3F1eXlbbA7S6rHlHFzmseWe
+9fN4+le99wXB/Idx1537QKf9CqwqUib6ksFUoAn5hGzXkiJnM+78TkSM+K0v8ysoSVHBN+puUnR
XxPy5WV8nlVxNuOkVSyWOc34VipDzFTzoGc8PiWC+JhUt2eTdkLRmpCRSqQQIlgypQaSbVQQO50y
1aSJDUO0HOhbadIcMmZMtYeOZt8kjy2zkGWFCL9o88J6rynNrONqLM2VFQ1Y5Ot+S18Q44TwgwBn
wxQ4zwaTfpjH+YJiztdYJHHHXDReSZABwEGC1Xs4IQAPiKDtyb0vdcutUYXBwCAylgsemzwLVHnC
wydfkN7Jt3pPtgj08pOkrpgcGFEG5wNM9AlwhcgScu+owNn3GCEbWk3b+S1/ce2xXkwXfBPor7CL
WB7MJHOU4yXpLZ/iMPUo8t4D6MqIPNPt3CwR3WW/heuGzYewyFikszglTSB9IR63vcu21wUf0RI2
QID8ixm2P7PdR3ILZAgQBTlqT6ee9rQITnuGIlgIRgdNAFQJwRJT5T6jPkXClh1hTyavsWf3wtAQ
R9U+N4A2AG+Rj9EwCGdqxuEnCGFxYB1cPeUE619A1IQOEB1KmF2FUcbjgTGaxf2h/R2xO2KS6svb
HnZNbIUZIGWxfTx9huNVH9PBYgFHuUaI1XFeritvKVvQl+hk+/eDNKGZ2awkBt8BioTnAo7vgNfI
/NCNtI6BRqqHRvAhk55nIRQNaDLmi2RRzxJkHW57/CNapgT3JV8weUTmaKpun3E1l35ZS+6Obd5l
pkBDTR3D8OLjOgDYWGMgWGvQOafRIhecL3A+Z6nXRhbkJwBPPOIymIPy6fKXR3jHGSDha4fU5rOd
TffVWNvZ8xy7/aWMaSSrAYcRo4e1/I4mhC1WPDQJ+JtzfOuypqGQwo1YcszaQntpbE0ZPQtRgZK9
L3qNAQZDWPbJmCjKhFtmdHEAZ6ND6Pq75Vn0clBNcPkRVGJtx+Ie8vzuwtL20120UGYNZw8KZgAS
pwM9VM6OoDmSekw5VbgJ2fGUiT4klTLgl1zsp6G0stSGYr/MI1uQZkAxhE2tkIVCkum0GGDV6ukj
KZNn5RWJOUSlnSFz9y65B60hQ4Kpz8AXstQYMlyWM7Uhp71KUI1ZDa5/2Y6RS9wy8LirspzypLk0
DZCXXIkBXST3JYWUn2yuQrr0Nr1A6MUKDjHDGF6masxwpz+ZI4xfrgnn1aT4vDKix/XuNraI6lG0
MxiRH+V13N39c5IvGMlchllFj3KT9BMjOd2zab9hl4TRJa8E5gvPgzAckx40PMeAysb+dQxmTFWg
f+rvZvjAXMMMg7K8A3oAQBZiLivurl82WxYW7oxipSaRl+IGOwqdSK1dvU8kn111JkV6aIUBI22N
ccr31PkwuWkORo8EERfbvowcXJIby5V2aAyIcVkBcAfeBJPwjGF5ndLRdBwXoCcYv0+UnZY8ILi6
bgs0ZSPKU1uHzsQoUK7buLjHgTFmXUfFPilmlxmQKqS06IwfO0ADWGRxBXDJaBcfpvv7lnM8j6Oc
TeiIcbZ5CDNAlBI29TGFQMpiM6QFtKeRI1qnLiVagAtI7IYpiybUK1OL6dEHo9N1zMVEJ5+EMf55
5Lx+bNuFXjlQowC67Dw8eXYJLLbkk4gXQSVOj6B9M9O3FGsGVKkHZMvUYbZkwclj3LPWlZvxz3Tj
6RJqylvhkNBTCcYPF8n0sa3s5tI9oqCwi9krTHbbjzg/fF78xUT0STtvOZs0uWzTKes6g+e0ZsVM
AK4G1jvyQSuQ8QkdCkMYs3AzxDSXQyDnU0ZKHje++dkcymU65Z4wsBclZjRJIIWeLl676E9Ukl+9
rV+HGAgO4/lm3LHt0kM4+1BsrarFfSv7QskTV27Mw+NhLeEEsOfVGK5pIPsLENd7bpopyi85r8UW
gPomSrj6EROC+/n5/P//ZZng9Rt9+UnHciDPl6Pw+YTnl3tif8ZSESOxxMZVFinCgOeEdaKN2SwX
M/TH8DPHOAsnY9AxoWk/6zBvOSdN4AX/OHjAE34dxr3zObONn/NDHhLH4wxM6wnFIgziBL5C1AE2
Dp43B3AYj5vDMO5sbHl7A2hWZYKLzsIhA5HG5oAeWvJ4xBJKdJycAj/B8oqiBPGP/mAabqs9raLn
GcL4ef2yxFumkHVUDLUxG1ywSzAszE51zA+5WxyrgB9zOm6AjzbXoXm4AcJg40MOH77CH5OwFZaU
i5dU5LETYgVTpAk/YUhxBNskljoujAv7E+7kETIOmKGYvp8Wnxo4snDt2DgMN2/A7EImEISUCjN1
YW27Bft8PFIuIq1AUbNGudiyGf7+kmWPLmWicG2eIFMNR5WqHxqDtErrcgGuqtQ+bgk27dfLRKGK
Tr/xO56DMHwwO2QetyoeGh3/soncAKMEk1/BEM/0+bGumWD4++mOMkn32GJGqblsJ6VLCYSne2gw
49pmmLzVMSE8fEmw+fyABvGXU/NoGAAsacR5dOHW8TFzju/FtHs53uwzX/1DF2Fi+IZWEDJm6ImR
XLCW03RGmvimgUhFjKhuTOkWOzBGEz8TPgrO0suREn79HWgUsFBuiObrF7gMnJaikNdU58fcOg+F
R4vFpmV8rjRDGoW2IF+J6NXrSOwZbiOhIAaDtMOHorM4lrPSLj7jF1ySv7z++Ry7Yx2Oov84D9dl
jBjN8MdzpPXI9vIVnchxjGy6BhcRn5HZwsihExi4HIB7LyHxefL4nB5c0B7UA8j8ka2a8mtaYk+u
Y9QhXv4QxoeQAktW6+GF4ajRQzSQW8KB46o/3ULb+RCbhIdwa0NoaTmsz9jovRxNsY4iWsT+6+X3
8R0tSjEUd4+BKXYmIxC2R+Gn0G/3LTySrOov24zHKWYb4W8mGr0r0jyECBgPtxg3ixZwYRohNuus
W/hAODQI5rDymUuioiS02YBNWVQkG6Y2EWjgefJPzEEwHq81jyeCtTqPBhFwB5JFgKQ2DkPeXJ5W
bWwesoTVkkGOfWKwEBTAuaJ/e8IZ20fCgV0skzVFoGPXa0OkmVMYIfN0dpeSrllJt7UCptqkZitQ
dhDTz8ghCPtLfWvt49dYQzxwDASegDCduIGsa3Z8OiY86D4bykuUSWDY5B1fsqPgGdJBXWyMlIgy
ZxEDALxiALRHC1AsjHf0e+8sfbXho3L5esl+An+C9YDgCA+VbqLfezXEOPL2eh03lni2rCLYQ84i
dkDNkDaSQeGm7BXjRUtnzdZYsSm+BumUoXoBYYmOOKWkFIIe0dTwB+aMHuRKoi1K3G/pLWbXz64W
jwXH+jo0AmZIOjUPXO1aUdlTsYNHZYm6td4WLg3xrBTqPMZRLU1yIgA0dIPGtbCV1cseajJysogx
xCoCwdBuZZ9Hqn1fS6N1YKcAgfNZBJN6wK/MzksLykJOLOWNlEmBKZGo7KWb5fuu2Yr3D6Jux1EG
GOf1fxgR6Wd6iw8YCxvhPSh2uCn35untTEOrdGY9BsKRazcfdPfpKovFdmAAdGrGym1SLbBykrTl
h4zhdsxOTbpNRL0iDNTcCSEWxq/cfXBLMD9/KrYYzy+P088ySBHeBhu4FQWyDGPPU3xI0CeKEAyL
s83u5uV+FUXYtaHyDHQ11I5fINFQHuMT7o60A1aRam2Zmzn7MkWUONiQWpJeEtRewgUhCwa/DKV3
BHgA4S7bfe9PcIf5lv2dNq739aJMigTyYpy/1sM4DHYgm3NiSl1MMYoDTb4HUezbhaFz8qtrcD2G
iP8uROzyQ/7oPxqCoZ/QU7zlo01QHZRQneoeJWiHNOkO8q5DrV7sUqFddS+QypBXWR91r19Dzm1D
eZ67J+8EcBBWijeyIOAQ0109JxYEN0DjPb6v8/Y2vFKHdgkJiUPac53IUGtYInEl3SmfovjNIYN1
RTC+g9baFemmWlA7tDANfPfiI+r1yTS15GfgN6EsXxTikzo7rURK6BPoGrwTkAhwedX2+cICPSQI
J2CheGh4vfR6Fsm6U743hIzukdjRkpcUpNICScGGjUXMLz+O7zlFXGi6fMEmkcluOz06UwBU6/sC
Un8POgB4FQRFXTXhPptPEjxGGpAa0rfd3uBO0J6eMiTQKgIexQIw1LfEO8lbF0PI+6fn4TcE1Mih
sdSOmAqsn2mQhcTE2V8IdUqnioNbfFo0MGJCp+VlyWJH/MzRPObjIACcGVlTnsYnVw1zcBZAgNci
Y0655BsnjezggsE5D9Eid8sxc8U9EmrkVmyyq6ybC5JY2iZoZo/nB4wIUBBcTM9gDdO8CvKTBdDJ
+4yAOqkfUmyGY8vzQR2dUSCBhgNc4C2mxuKmedbyBrNETpFCYCAsToHDVh9CIrRUYmU9YEyABRH7
YsgGAKpscDOdx5sguPNUf0JUMbR9ifzABeeGRW9PpDTKvSpmo/meB8qo+zp/k4qx4jJURqgPBIQF
yR64RggBhXMK0GFoEJ3zKSGjJy9DyHcchd0oAewgHWsTecjyuLgn1wBdo+bid8B9H+5mXUW7pAjY
fk/KcYMLFQBdG1Mk2UcwYUtu+0HR3Pi87pYo15wXZ/TNWfYPp97vJ6qYmIG8d9ohUjiL+wkWAcDh
1aHuoaEVlSK3jf/A1r5paJua0X19HqMlyDpjkedZGm/S0taHxQqJauj0Co/zpYWnFdTn+8fUa9Yp
KwQa3RSO1B55oFvvqvEtdR9NrC/OBUbLkb43dM4LajjAJEDElsMT6arUWaIS4sCzSvl2v0YW6fRL
6z3+nbvwXns68npZXLRx1oLY8wa4pov0PHkAgDbHJJvT0AbrVcDqVRnstPNZpllkBZ+jG8rKqafq
ZE6dVnGRQ+YfcML69Rq+NN5em4SuRfHi2FCV5lpQllNiWTLqb4rAHaoQn4NfQetEEXrJFOEgIs6L
9gwHiJ9RsgjeFZydFXAdeyMOu3xzFhSorNY/Ie+DCwzVC/UmD1d8j/TwYGy2vhlLyaVBq8E7wwGW
Su4RfhZYSVN8UywNZ+ZdCcG0IoqjCnhKqAwsqFsAvEomGtoL8ZpPaL74dkO0RWji8ZZf8RMOuBfu
/yPpvppTR4IoAP8iqsjhVYkcjG0cXiiuAzlnfv1+8tZSrC+I0Wg0M+o+ffq0hn2uauO6TAJA8mia
OOQSdMUxizTzCn4aKKuUTsq/H8om8jcHZ03f2EuaT/p5+k5tXn82lRbpshUtiGLQpB2IR5pzMsoW
x7CQSwP7y88dhSr1rGhZK0ikGPWNmokHWNqlfTk9kb+J19F+nKXR/XRH9eG+FNGvop+pJT9xsN/e
XSNxKXm5e6JOnM2w9nAMve/GWY5lLlTrwQuR62JRugqyFJm01KPUKXpB51ePCtSbLZJ1mmrmuO1n
tRo/DDlIQyRA9jIdI6Ibf1wEWzr1I5V5sQDoVPkQD9UxGqjojIwXm+w/hAQSNBRhPARUkt5++o0j
FgrMyj3+X9gG8BpiNd6VdymHxsq0cJPn3VO7f7DSZ81t61SIKm1U15ngy9+FFIoNLO9x7t2pL7tI
6xrRfX/8/44h6WCqPksbpNDNn0ZRnijuNWUpzA4xXoN/GqgqnjOxkH/XVx1zVd61QnQLy9bQSLbT
ojrin1XQlPBlV3ng3BvocE8OKCp0xHiScdOH7vq8ReWn+LN7Xj3nxum03L5O4xMegcfh6/V1kfxk
E2H8hE7yQC21n/XTgpZN49F+/Nv0SeAsns8/blxZdDiTCkTNFRWjc2bDP9b5Bqtn3I/z5+W58o9e
mGcpqgU5JHSNIm7Uv0oDOr5PSm+zd8V/ZtQGAhe3pxgl+e57PQSTJOefx1tFdYK2PmHCJtlu5Y0y
ksS8ViqudlSgJ0G3mLc53G+1CjmZ9GlEroAIxfehyY9+vgllzEKmZ3/dxfaIZv35pxnpFrGBt7FS
d5Fc5bgcvqwixM/gljyarmKTzMhbBFVmR3sG1sx5rCab72udctNlH2+STQirDE79XSZiU8zjWzwQ
5A42Ly9IoQ2UBfXJCrGnPQWi4i0k9WWEWAz0rpBAlquIZeAr10tJqdaeq99qktGRwjdhWWVf162m
6zPMeVIIXRWFwDvHJ3fwY99aPK/6whpnOokePe/HOuimjHCRnI51FZ6vsybCBwWt6b2ZvzUoY02L
iutIgqHNnQqDsWQkJebnLRI/DtvJRMdbIeBPEopg0CUyMZBZTDzvCEK3q9zslCpDNsq35Es/DoP7
vIH+Q0iMJpQPWTVOSk/LNR9or3zO72kvaBKdZh0xky3+iTRsz+ix0HpBjSQ32sMeKakqJ54A2Cot
IF9k0XzsVkNqThCn/HrwUFSeKPajjrHCAJjdkuW9e9/GO0XHa9Hi3ccKjEikINSTLT0hobi0lBrD
1qrUZ6WU45SfNfVWni9z5jo8HsLrnhxC05fFaX+9fUOw2dJ/9ugUMCpHh2sdFfD2DY4+fKC6qLd1
Sy5IgcVW+dq/lTq3A+nsIFNN05x4meWJ4jPKUWwV9NikdktRBHvWIdeUGicWig8P8TEb11LNpPgs
bjKkCbXbJIft0zTf/1f0SbF1+WZpW7cf2qnOeb+UpS6Ptt8dt+guQbWQVBqN/VMGuqowVTa5ThPo
mzScx4X+eeSKRfYNigHwYzI0dIyqU5Uv6uSnBOfzSskwLeOSECGDA9yiz4r3gIzPMaKC5eW4iG1P
hemuT9bgIuhLszslrKt9A7EG+8DC+q6R1J/XEwL2YX4itOMm/pQf9dRcHNTat2/8MS3XpD7kkj46
3aTU3j6dSdwFDzriqUsBctIZCGcJeS5IOT/TqDxJ+WrnGMhd6pgp4ExSWggHWWB8oZ5eZp7HcRjs
/6xHGldu4e373zWdHAAsU2BRGNCLd9NcVYU0yjlWMkfkxe8gabWQ3alvtmj3izpXdVSckOSP/Qsj
6VbGfjIn3afzsPpTrbZrkN4yi87/76dEm3hzXO48BqtQFbkCFrC8H8bkIf2wOlnI4Z974AXKclf+
frfdxqd5VMVWAVmrljDQuviQ51792uOpaUWn/oIP+6H2XHHxlWF7+2vmnyCTIu2EtxT+bHI9sC8U
pEojGsKRpVKn/GMx7fNNH7gw1rTeYSr3bU4DrfgbKUyBs/2w1KEhtuH7n5rg3KGfzRFecm/3T0NX
nJAr4/u5F9bl5tzIstFVeYJjQgcqaTTTnLk175+lDmmt2/flW+yUy24CSgijaN+xro9DnfKz8Ugc
aCeAZw4LCE1O6w7Uimt0HjLMTeDaOuGSGmoDIJWMBW+d2Myy3dlXeQRNT+fwB3AJa7X1frCkxKJO
zWOhvhRvBHmJlQIEq5F4pPVkgdDD+U5XbRlS3ee1atIGIlZym7WtUZrq8d7DyGWlrYNzTIeRltxQ
+0fK7oSQriJ34/5puyqDh1bRrZk6vEeyGQQ/0xvs/d6zyQkzjI5PmIou2tZRrqYOzXmI3mZMbDDm
ca2NAVl7s/2gE9qQPDyrP3rFh3SSXMfsXH3xdm3Er7kXioTIlU8e5nzH5ROzhrFzQHObtY60cwj5
G+Vk1d92MfGiQrf2Wuvmv+5JSb0ulcjCTPeEolKIb8MNE56gFnN2R8c8PNUi0tkzJuiv53MPYfvM
UZc4axcsBJcK+yxc26DWzazdJ0qFBs5J/lrfbuihRJsKCCQth+rWyUd8n6sFanqIrrxbyk+1yaVV
QwbdR/evymfpqZiXvgyQCY8H6hlB/l2KcIETcSVRAmEWQhSNU6crTYKZistY8qvweEbqi3a/smIk
hsovbtKteZFhs+ipAZpTHkP9qWJcw14WGCw7Vf5rDmjrK2WunNkMP7/KCqE7FRCwka+cc/w5zH+p
lTgH8k/jzmH8poDRehZlAXqHxOmcPa19c21TQbqbGtCta3R9L1frqyVCK6Vl6Yqynheb+vqeZD6r
z8VctKkSYommgtuH5CYTnTnkbAc64yZ9+rmxuBYJ0Jg7qnalB2erqgHF4ynzT+HSPtyisq5L3M2r
49Ev1fcyr9exjimOtUThWMenX5VVS4r3jgfyszVIoV9aH1x0OlUDI3SWo0Q+wyRsMdofohmtZF+i
UI3j3ZXQfFgrqjiR+FG+BgqCN4SzTV2dKMneuWu0nUV3lXSwtq48PoI5gLC0trpRrlGYXkcLdYmI
/4ulwFYq0T69pT6oHBIC/2fBXuG1I5GRWHvbfDQvxXcQDu9UZXjCacf4so7uKWqqrxYb36G7ncUb
hGWVMVKy2JOU89XfPy+iNdTCFEpKAWeM5PTlsBu4VCnbR1+uuR7553VFrybyYeZAPSoyv+iOpdMJ
BkhTRlGdTX0JTMLz1ogYJyaFvE2xj6txjw2GI42WYrZGolwL8kWGi6kqf11WZ5RxI6vqkwWD7bS+
OiZaGRM32ga0sjJrT+74uu1rTqM6oQhS8UvhFuPwf4f9gjq5fjowc4+v0/rJKKpsdcV3ja9gUD2n
WXaIFjC9p8evQ1VS+P9TQyaDc3xoymBbpteTvqqCgm6QKtNAXPtyKZ4RmZrFPixV0heH2Ammol6i
dvL2ZWuAaMTIXAaUXzI45TphAVBh4cORZNh965/+dvBYLFfi+yzN1neW9ZrtNtQTLbs9x84109qt
FK9vHqolz+b3i4I/ZNWqYdZk+5a0fRcRyDaJoL0QkbBat4rAGXePTrT338KqVSBtgpshFl9K5OER
wTr86Xft0ezMzUTn7r7PNubfVf03x33BZlk2pyRwTqvW5hFvwKMW9yrZAkn3x+ZVUe7JQ/Xyg62L
dzeLt/iqFOqn51bleg4PwjqGP9OalofpPB13SedcSkyl+inbhJDsxr3C9XU17uUeQMs067hkvdOU
ng+vEvvU8VQe7ZEm0u8EKg5Pl93gnGm5maXKPToVXo6d7f3NGPlwLuwwrbur1smMzNr7ttChgr8v
jNzyvWwwe42qXgymTTqjxgRb8ud0leSWb5tjkgX0bdvT5asG78Wft4+PMBbQCOu9V+qRwYCqSBD3
doEKzq/bZqt3i2eNw0RiZ1z/UOD5Q70jxeTvCfmHi/qucoQU70yBJG1YO72jBJNS66P3cezsm7f4
raetTfDxIekyWL5k6qvex9s9CsGgHehHffK2Ib6yfaG4NKDrGJeDaxT2OvGiB5mMx/1cWHwX0Agm
xOXCD4Bi1Ono4EJrm0mp9Qg7Vd09dkqtWn3+wu/V6qrn2RRMYHJ+s2/ugrdH/EbPCtg/kPXXIzoo
ZebjwzyPMk+0L4PWODj1eN1R1RDsgl6r3vsIg7Du/53Jm4t5a9HsDLic4dtHp/pFDzxMc+9M7LhV
d65bbLHEu6BVb+2CDz/86PWC3uQSn3z1KoM8qB+CRXDuHATlgliLsmmjcfB27lT8AiI9PHcK4esj
7k3U9nX8a+fVUglqLQuyNWvco/SSs9HkjeiBcdJqDO0IfJ0LW4ug4yTZqNfquXb9YEJFzz3CPmGr
ngvDN/ezM4mDSS/UcKu3CAatddSKX9/GgR/c4kPwsQiCU9i51Ov5YBK2Pl57vaJxyoU9jWo/7B38
vOfdDX2tyrDDf0PClw4tcPdbTfAlgo5GttG1c23a/GXR7oYtII6ObR2bfQnrigUGcNeQ9RF8rL96
r51TGPdaxpoWnvKZVDhv8lhyjZV0X8p56kxSeFuq58ltzkTbUkNZvTw1LQBNsD0ntXJcuQ1up3qx
2luP3w75TjnbfSxeq555hU7t0ChVXqXN5/ZNsmKP7csMTaMwLOXeiD6tlkm19DQ+jY7F7iX/diy1
FtvXdW5SWP6bnaLVubvPvS6IZuyQDipch+P591GzuZtHu4toDy3tr1JGDlbu9bRoF9V7QLM6ReVC
M587BZvtpLAhQMVF3NcAwWzgq7Ag92ReZKgdbnRzK0FaduaLdAv0nMTbSxUiWQLhqyJlF3iTCV/z
3XjVLSwEH4oZaRx3O1VFJS9a0+IgxRoDZId5quC4iPQsB4nZlVXwIr6yhFmVB3nJLKtjxebULtBb
v/1MJcpel/0siR9yNjQUdpNS9n23HNzHH8v+dv00m7VeFTLw8+w/SqWLG0MtKOdYhiHVOgJ9RfXt
YIEpyp8WD8/WEl+l/2Qrgrtgdn3fH2YN8ng7GoMABkHqV43vIgdoYZ4JZYHdoHTMVAiQ6QQ4ZHtD
QrYhPQBJt16PclgEsIK7xlGqBkbJGrRapPzVOP2IcZLffiZuamydowjFLKqLlqoFkFbbTIF5aZ8P
4EbwYTVVdiJXV8XwqiV6QrF0Wa5Pd421qhdAr0das3x8DGlepMfDwIuUlhhQigDLGnQenxmP07Sp
U+mp4DnV2Kk0TNPQFWj1sEwlNv1o3lfGaptqEM5tK0cisml/Hlt4W5zPKhMRZXPhnd2tkOMyLpOp
p0n5dtb3VMA+3pMBf/YDvzdk632a2l1Q/Opt9XkSNBKlshsonCU0QOzKkGdCl74F82ybSrnrIUkF
pD2F1U1CsCcw0wacnJj33VX3/EZSVUNFoClYkZicl9T4v9H2I0PtHMZ/fElc3lJSDl0sOlFg43Jo
Srj+/S69VM07+HSm7umajw01baaU622+2gIW0vIepwqJrnN3jQ2ET3SQFOTCoO5jP3b/lMbxuSF0
8OOctutzk0i76n1vIFYk40wIAyNGcVKmM7wBX6WPHeW0p38b63R8aUf8FZ+nSlilJowIuCOHhyqQ
Dr1p6EaZKOnCnDb907B4kTB9LtDRB9qDyBV7E18zGVe9inslBUwCB4GkK/n4sASali5mVuv0Mpr9
SdutgUWEtB8dMpE1GneUIom2g67w761zP5egPE5uN+L9DOugtkt2wj6E18cq2sVzcN3pjW6u/Htq
uRvOUbV7u/Yrt8b1WJfot25Izr/DiOcxodzWKd8cu/vzWEbrZSH1O7mBFE/JHGjBa6IUO+udKuZA
Lz+u5yBT6+QhOg9kmZxOCQXQq6LL0gjE0riZIB/gRK6xJAGIUC+oIr8J7wi54IOaz/nbBlypRsqq
z7JCwdEO+w1lfm51BgeOp6AXL3alwGC0SOEUG4eAASJuqv61nsdVdNFjdMRbkNkT3W7pUUQUyriR
62S1atr4qwqG4L0zVEBqjEjP2lpap4qSgjLNZFqJkSw/luhUuFTawq1AqxyMBdkBBZxpNEWhxEu4
HWyBTI94z0l/JLuh3tw7FYoNCKTIN6gh23qZIM/HcResKY6n6cPx8mP7Te75JCAKb591KuXeDWz9
mRlUmplOdniuCPkEmfmsx61kAc4JS0sYQMB6L5XfZ5MHniQ6fWoPsDqPnRW75DYpYRaXk8W2fion
+TUJZL+ZAYJS4gBdFmJsbcXKcqPdKRmD0qRNltHt/8Sqheyr7cKoeIofk8stkiwTZJZNI0ehZj4m
kJleT6Ec1H4f2b6If5q6ENEaM0pFDmoj24bntnItlsbCL3wnQ0vQna90fKJSsdx/+IFbU/s9Cr5D
LPCvWW3H5FYOlFJu80pYtKfRbVTMByuB+lVjBl9wbBXoHqsddkNBwoX5eIyq3ENsb25AtqHtQ6FV
5qiGg/XLJq3Gdu3E1fdaK08nltXCeL+UbVpsDsrhSFiSrwV3pLuQa0JGam1G3MDcwZphZKrbxKeb
IjE/Yt4Gw758iJy8LM7+SJXMVU7kERRurx1frBUFpm2IXMtDIMWB+8QlY6MiBcrjEWTmK0Nk/pyF
nV6UVHRIuAq+crxGNe1VnIm1hf+/bpV2JsMLiw7Csxw5sBzeJK4iai49eYx2Xg9OFnOEKUi9GaCA
3PY+H/Ay5sVUXtgRaZddE2fE7KSW55xjUQZ+KycYkskzlrhUjWilE0p28d/XF65hVAhyI0o84z53
fDHZTPY4/oDUUqyZ8bjvqlxk9W9INPPA6sUuSd2+9KXi1bj2ekSm29RzHFajlfp+6VfFQoe3ptOG
LEPZ6YWvY+h2kzkGk2Jr/J9K23dZfrc+n+Irv1A2vjujwtafe2UYDKdTmhGcpYUtgwePWYO04wD+
pgEz/EhYs+hj9ve1Jlw5j9KhhsRll3aDnCyyVZLBPZegnE9/kLnCFfG6e1RVLhma3mlzOs5/9EPf
6sGDi4vaiyUur/rvn95dglPqGeH6cBU+byNDic8yKv26etdt4RUAC0A6iAw+p5QHIE627zaQajec
RsU1p9L3GPgG7G/YDKqDfeWkhobP6G8NHv7usN+66S7H6nhYGrdFfEJ8+q2+V98JHuP+2p4OaZ9v
8Ra3DRCyTt3fXbaxx266ph6wlvRr/LWxXtu31zkDGUr4tRmRixN5n76AQ3hB3O+/w13kZkhPXtio
+rnr7OAK8BecNoBmOA6fkfMQ8DNdx/njXh4a9SX2ljyTHBa5WxywGJmSqUCMjllmblDt0a+uEnPE
xS7OQ6PNZXwU5m0Ayc6FkXfMNsfjLvVq2yA8AsJh24N5nGhOIeidYi9eEIW+/917azdtJdPlrnL1
HWlt80h9eNnUb7sB99YxO/74H9zgLDnzQO8QSG2W+1RXCp/7d/ty5F9SxkxhGujPQkeEEwA9ijNg
JhCjo2mTSgNK4wG3xYA2aMvh1Mm+OwGw6Co1yXYFleVpoTIhS+o3AmVGQZYQhOIiT4iVHBOxkitt
PHQpkFUK4Ghv1tvDnktJ1gDllA6Pefd5lbARAo/pFfn8ijUvCwAwgIzGtSf9k4+8Nn9oCxIFt7xa
jDWff7e3upnQq9MveHCB6lfhHRJ4brGo3tap8uy+kadJJNjTLDZuIxSs+vi5UM82y4WgMHzUp83N
CIDkXmQeZDrBxylSBdbyFFIIz6qwZqwirsq12vzIJvkk01rFQlnhPSzVUobUDKzuEW/wTa5KJP97
+oizFfc0qZBJyAhzhlnPuKf16HtC+9W1fun4bOjWWJZu4rpWN/qGMIXlkMtgjDBXDpI8Gtz2Q2Dg
4U3+6d0Q6bBxy4IODqnGWO3R8N5JgQqDb05IeAXnpCMYA81Wps7M9pQAq8pfbkJRwmD3kvJM/Gz7
4vmrxDh5KRqLboJK2sf0BboFyR1UV8dTNJUgfYcEbLfaDY7rPzSutO1VpxO3o7JsVTMJ4TIv3f4f
GwGauJZaa98svt8Ts2QzZP5GtYFzNuHeT7Uumaby88KQ/V2GQhcQFbjUWdpwF0aovwtcOAkCpRSl
c+FQTh0CBwJswZlpb8ztQ9MS/bpG80LnvErKxTivEp4N7pC4HohsFaHsJCv5SvsjBSpnECszz/VJ
izEWB1VxG6tSYgycIF0Q9/Tluq9/UBpyW61uncIvTW0f65LGjJSfQhv98/+O+aeF6ZaBntwNZwAR
akmXpEe7d24IoNDnlqcapG6rqWXreuAWQzp/4WQPeanH2CSBtxpagKwTQm9dk/FI14FpUmnojqGa
vvz/mbsMO9U/73vd/Rs7B1qA6WxePRf/flGgc/T3oXliHHzrGC0YFiD0XtnUviG55eqX33SjhKX9
4cyA4IOUpXMdKA+3NzFcpSZculOaJPlKI1tpgKkvzncOl2dVBiJr1ERLQekx2LTpBOpumEUga/C1
FlLce1qHjkPE8186dlo0C8C4FcxeGoFTMDfZT6b8e6prqrThoaF5zcDbzQCu+b7S2EjLxfV6NLU6
hQ/CTRekLBuqWYgEHHJ1vRgfWwuEr0K4wBezpxwal9TpbSgNvjoNvW8stkpDBEE442bajYQxzu8q
K2hu/LxsXghdcZjj1e9scvB0fAyO6I9U+6AzNQnJ9meyB6qmRKvacwF0NlPdSbQkBfSVUr+MVWlI
hDsI0Z/Sj30wq0RzQZZ7uCcC/PfaQkgg3RIllcggGXtsHTPJ2IlXnMTkfKov7YViK+umaai8wbPC
oZOMQGNYaDFNR+pzLLCsPYklobDikUixr+HCqM0cAZAfwnw+tWSXLyIF6RSmQMItGDAWHMqgA1pb
aUIdRxlCVwRCqkp24OqpZYf0KmCDadr2ZR572ShJP1rnEFUHbTgy8BYuwMgc9JzySPJQ+/+V7nmi
w6k1H4C20xNq2Rm8mxPCSl/OKjDCUrMvikWkBj772Gt9bnnquhYvf2gwtVFube0w4Vwd2Do7Z8fX
2Bvz6MIVI9R4YeQHzuOcR4OBaZ2vz7NF14zAgoCX2OSV6U0tw7vKaSmqbSWuJMIBgewH+RbkPfdr
EzqNbGCO3hRebM2VRVPX/eHdY7FSL3FccGrha3wxN0ko1y4HMmc0M51oZZbSd4EO09rf0Gbhpxkz
d5aO3+6YHFlVzKI7i8kKtbK/C7/+YkF5AdVLvyWat8iOAfP/oqI4gD54ZBuZnUKxTVWb2VEughHK
1mLKK9hzmfipsWOeGppNb3XulH5387DyO//2jd+fHrF3Z/O9pwAT3/TYv+QFTd4fI0PJi8mK8ZeD
hVL1kTO7tbrgQOazP7ynGn1aX37XUAF7ojfPfORN+9EgnkIO5TT6s4uRXVcNmtWpXPWHqogI+o1S
2FJveXj+LjIBDx2FI6al8Eibgkr9Kbi8HsQQlmnVAFjTrqhgBQgvmCkotkuLZywyskXDey16fBwy
5N1qnXzv0T/HW1nvpfYBgKaCAhpdJiz8Sdk82pc2dcI8mZLw5GebW5J/ukrlk31W8jjr3Vvl7knM
VFWJt9pgnSzia3usTDQx9OCI0DO8D2d1uuXUZZ1ehZXcwhMquF2UK0AACIrD6uV7uWlWvnNpjbHu
HlFcLHbDXgnn/x6DO82MeLXw2BDn/yiTqcCaILeDgWhcXve58FaJj5Ugf4CLBPt/tLQK48Z9Vy+m
TZWkz+kKvlUuLcN9mAJ3OHv17SGgtnTLRfPf/S+5UxW3iZ7LNR7/zEdKS9pCT/UKXm2fxn//eA+u
0+7V++/Zc4YF069+UrWW2Faq1pcjGWFyp0RfH43Zywb7PcI3i6rEwDLxWuFWpJFepb5sZp4qT0So
cRTkXyy+pVVIn1xyQJvSK04yQLj392QriZkzZPYLL3IN++VPCSXNbBi59+eXO6U2yIGgb5JTjfhr
O6l8ZfqLl/zvCT/5ZrdPzfGS34rL9g3B+3m0GKDZJA+61Hlobu84hgZFy9EivJGOu9BoKMgPaCd7
qbuyvN8UtIoo5MSqbNQGxBcXXRzs38c76Y9w/bOip1AkMvcEA8vOE3DrtL/oFoKz8YlT8nHxadO5
hi3bZqaOHNsn3rqql3HOECV+9ryGWiP3nF15fIe5r6Lt9EU6r7yU8u+yd87+u8TFhFTlqWeZsLyb
l7risb35QFIIom78PHtadWf13ft+HfwKHYyuHY7W56JFMHFPKxK9+WlRX9XVBg4K3xxBAeDmptmu
RdV4G1e+iGIoOZJMR5vOSXiWYV9/JPf6tjH7Gam0ODx9SxZRpauVby24J19KKGWmLvgRldrHJ/RY
Nqypu32ronYKbnvyEd3r5cihfexe006Iz72dQyLVowI9xOrbJqwOr+1sYyIXKMwG+X8bbMbnaZR7
TA44SE9ZnxFX9Es0Ddd9/gsUzhpUMHMx9GMnbxyMciW9mX0TOVKfMLh2QFggjJfp4NhU8gZrGnO6
W2Vel92H8NyYPl9VNaOhe6hnouqwNsg3Zq3MwMofbBs0nfrX9qyeaVtc4b29fn5e9oUula0Js8mp
VaqP+1zNBDlxCKtrb57ugQyD4TQittD5C7tceqDd11pEFw5HUJ5LAgnUpeqX7lUUZl7FkOxDeOrd
6oVXIhkdqN2xv2tN36GUYOVlsmjtiw3d6Naa97aSYvk3wKzBKf6bRodEyR/qG91MExsaFBbxk+qX
9130a5MK5Ff2588VMan4Xi/18/VLOtaLJ7SfTk1yZzCWnp9vlYKn26tIRW/scVff1Fk5nelwhZnQ
LZsNacb4NVZwSL0D66b6hA8eTJaDRSOLedLddBemcCmUM9plx/aF0RXUmxFOkgr4vhEt+9kntzrs
XNXQlpLRwVWpcQM0fs4nYmjhNAFsRLMAVGguJ9ox91T1tAZ+L118oQDq3Sd8nzAnkjlpUSGhxq27
aM2TnFp2J0ur6Jaj8aZ26+RQF/nANVUsOxMUmo/Bihz2rns98dPUfQYsn5BmLDcM0aJMzGR+ZUse
wvPHTqyaEBRYTkrNvCOoc5Ir8cwEZIWxmla/qXMyi6aDxZAz7pnNY0aHfz8P8knxy4oUHvssLaPq
vwMQO40fBJ4rQiZpZJb/Gq6fa1GtU/18Aq2ZO6g4MMxbkH2b9sdxrm/ffdon5KaMgb3iENieGrf6
7bXwF9pYtSCp+2QO+H7N0KFEEorPL/PvzfDE7GmwkeNMl7/FFbq+7cxRtD13yJMmWTTd0WamMXrN
J8zM0XKwfwH4ve+bxxe4W1tFmu6+UY2nzwoPfKmcGbv9SLPm6qzHRlAWOM4nx6jSXXZA4AF+Vl+W
RbhO7u1Fa5qiDaUW7lxaniaw6b/cBZblMYZn+p65V7Vnts9iGIQzxU2tifrZ8+FiGvwuJ8veuCV5
JZVA7shusuPTAli9yLP9VoP0p9hYJrI5eqUnoffhuTn/UuU3GofX1tPdNMi3N3Xz+GVTn6tEYxtQ
czm2x5W7WboNT/Po1MUCjbKoOmoRUK08dbT7izgZPhqL/riZ/fh5v/7acAelQa05j9ZJBjoo/+TV
Sr/9iLAs9kFBeSA5B+1jTB7sEqyaIYlB17COs/00v8JcWH8rHd/Pvx3CjiBRJHExniWrZyTw0tu+
Pu+uf4oflddyVBLKPnbgwfeXS5cCvzSM9qk7KbTwZxPxmwDA+AQrat5G22+5SK3NT+Wj8l34vg9r
jUauKEktWFvXylRBUht7+1SYbVa6tac0wF5g+EiMkLpkJt2fN8PDMBfWH4QXrp+sl8Z5H6C0k/a6
2TfaNZHMLuHvVHlypm6kKq90K9WaOSmeXool2vzmfh9hM/NPcGqwa5QHFd5K+bkSZ4brevnbsd3C
8PZUqFfq9cu/eVeUI6SMkM6fNBhWCjunBrrZppHvc0fyXym5AG62GYoy7D+2gwLBw+DaODY2KSRW
6RY+YWAe+SNBDdHqFnLAr/S3EUfyadxn720HfJXn5TkYt5WEmbAni4kIQS6u8YadwAIYnQycanHl
BhHmiLP+9Hjiw/SYrllJR/Hpc/5OwhlH80PU4dA6fJbC6pcnxXclLrQudXWTpGi9b8Bvyy8Xcf02
v53rFldG5aT6brEBAVc9yRwNYcsm4sVw0T4+38irBbnfy6j6ZToUk8twi/Hc3g/y0SmVNL38zGXd
SLAFVyDZFJPH522p9sj2+ZpFr04La4pybrrHt3PjPCj8FpOKYGj9Mrl0bz/uqJEqS8aARwYst7dr
pxTaHwWO482w2rD0Tq9nyk6NkggelRgYme/WqrKEi/a1f+0v3x/dMr69B0zpDMKTtIChHCyzUQ7h
Jk3SEF76vF4SUcclocPMb+bjSk/nST3txqG3mWx6j9E2WsSLT+r610atebLJg0Vuf9GGmQATuaHR
Yz+Yj5tVvMlnrWdqhfqmvfgtPqfuegVQmOrztw8yZjZpFO/wmZH3oQu4ks+irsyuQgWbul4Sy5dm
p384hX+FfsQGa9eGAxcSB/EVVQgTFaGU9nGUODePz/3lNNrtwtJK0m1YvdSr4t+47qv+btW+3F9u
PywI27+A5EFo8bV0Q6sL1QQUbj+pXBLebsFzWiVLXNpzGUn/qfgXak2j0QTUd5GVl/spGKlFsvv0
gC7pHb7nz3ZquapHKA7TUJVg+yxK6wlz/TfDDVAClNGOKzmYvi06nqQAS/VEVp7+NdEYAvEd3iRX
TVgFI6F9TRh3UNQ09Ba6ixfxqG+u0nSOXx/eJqZVLjBHy+29khki4NIARCsVn+9PVa4oxB4WxUxo
8jbnL/E9WjXKODtSdm62xg9oU2w2fvpPQLxxCq0wAEyznDBon09dhVzT+HhaAAdMW25fnjzerqji
nenX43Ob7Psizeuk2jaz1rgyz4ZBwdRh5Zd/t2pYBdqh5m4LDqv/0AA8+G8/pRAT6eU2wvxonLra
dvXf628RwMNQeUACzKr34b8KIAt211S3PAW7H9beNqmMLhNBMSE2oceiVHeVycwIScqv58F5UGx4
AEivTBfINK9gGiW3ATQEvfL6DgFA6qz2+cQpD8pmLdnjFvHWET0aOyO0mxybRiysPR1GXHTILw4e
Fx1AkAaXPORHopw2o/l7YeIqoTa9W0+52Ue3+FZsoJN8bYa26SEBnh/PjImVx9PETkg8irKdTAut
bSDq0jrUb91MfdaouZ5s9PhZ95X75AhSld6xcqo26xXzdPaEEvF8bM4a6XPv9CpQ2HGN/0T2eeQD
IfJdt9rLUrsvJnQx4+MA9bW9Y8kzFeMDOwNvf9cqHUfl5rgx78q52/GYJCS/L5uFO8sTFID78zIF
OJ9GWXo+TzznLdGR0WqIaIeG5mEuAHRu3rCtBEkk8Js0oouN7cvyO5ueNvWuaeROxIfTOSl7E5YT
nV8OT6tGpmUgPd5M2XKys19lXQrV2DSMsB7sk+PzJg0IXkbw++LXauLhORLi+UMobfDjd5HK0+Te
uT4XRifySmvpceFlAnuYDkwFKOo2EGM1vLPgSVxt8s4+AQ1JH2S2HWc16qYxipKglygh7FPg9IFb
Xo3uQtGzuPcgyw6cguC8QIn3nWJyx4TSCKgLnqHzLFC+nVhUVKx/c90+ts1HqzYRbw9EwBVCxURp
1H7uHYEZwwNKunaY9WHxcxo9Z6PDxEBnWsr+dcfDCp3nMZ6VgPuFtxYWRjpdro9SgtVpgtcUSZVj
ErH56tiTH5eh8N8pvn9MO8d3ZONitQ4YhRx7poCWYfAQqsyiCTRKo2V/tE63tPzumsQThBZT3BeC
JZJTjVCUzGZRszTuWRf/mN+fxRvKXxBNgO6uBNZJBDkygFTAecqcjESCwGvVfVeEIoWPqHmVpHun
1ZvQTNEqU6rj34egNMeAuWBx8Dnfihb5JA21AqO4I9YbFwlF8w8wrKaVCj0tpt92PJjd/tgAQoso
2v2UHSnKZDKg79djQ3TJQq2e3l2M2PJp3HNhuqFZzFRfqQrHzC3xPaI39kRjsgprL9JZnwD+LvC0
qe9GcGSXJpaBPgsh/78p4Bx4PAXSJR2TOBAEIYbIa5nFF2PH+iM6gIcriErIBn2vnCC4uXt31rTw
maLmj8TkT4ujp+Hc5fdxUBudB8u05IptA7gFMvwes5+12Mt3pnqVFl069DxDe5KWYKQfG/XJe7nJ
WXQ9nkaVwWnVlFjdhpiFm55gS5dTGRT7+H6/8yjb6FVansmdc1JBFBQTPLKvrYvo3smXsAw3mA2/
zKFGpv42ra87AECmPZYpyFWoRkCcrg+VgN80wvjN+zpNKnXfWwPia7DAQgr5uUa0kXPz0bWXXqWG
hUXlz0OzO+UObCkthZhZOJU9hH3bhKCVdle9FDefeIiYaJteaVKYANrObvQBPNkEhp+CdRPOkXpo
+MS7ia/K72ZYGt1tmrKoGrBec/jSg6warnyiRHXK4vKAXqfRMhFSI/1At4c5QCKhtzRJMV7k3Umd
SecejuP6e/pd+3VNfNNg/KXHgr52oTR674rnH25IilYGNwM8xGnDZaAyIQUrwlsZAHaXH3lO5jU6
DFlvvUmJAKkEnwRyWuwUXrMK5zSoSKxfvui0D5Zf6w/jVfg1Oi69/HUc9/25GPICzRLssx6r0ZB4
jKdAcmvzpHTtsb/4LCfTbwvCFa9KHtjR6ek/zs5sx3Fs6c6v8uNcWzBHkTRsX0gcRc1jSjeElFJy
0ECKFAfp6f3tPDDQp93oBowuVFdWVmZy2Dt2xForVlBKWSgOIB+HJLOMFCGwMkma39HJkCIggOFC
Ud1wwp7R+TASN8hrsftJ63hgYwLne/32I6e/SYmhgCEAm79oLbIebsIaydyeeLQyRNSABwbybHmY
4IEKC6kRZwCQQSnSWU5QOnA+AwuK/BhbuDJyM3z5YymySdrKQPOJhM0kV8UAJn44SMJpX9JTRy8u
Jz1JF1nmlV5aTKVBkYJsyjDRVvOTjsg12JDlMjuBzKzvlZfpve8V3XBP3iAykpOKaAwh1gqNGVKv
QogcJUoEdp1NG9vFdPlqUNTMrmbRy/kWWFAHS0E9f7Ufo6dCV7zsULnxfd47vBkuWsjn3z6Krs/G
5Mxm2pKXBbBegrbojYxt+rSjU0KrqDxg5b7i4dHckXoIIZ3XePyP/hg696eMSlOmk+sPUJa+AshT
7g7TAaTRddd9K5jRt4FQ/fufCy+df0/zHHmjgDsUnP+pGJotJEs+RmhIx9WeRJPl8Fqa36Zv2fKq
FzJp8SihWuBJI9zY8KR6exKisrGlKyes4ZEDChcv3KmpwottsWXnxnNG+LXz6/i2ow/38JzSnPSa
4XBR0pv6ntJshiC1Yf0TgOx4+QmSWXLiSyA1WH9wXzD093U5bA6KT40ShciuAiGH8J9rhiNjp0Zv
ScAO/kxw3A6Mbph+NzcWBvUVydoJjCqaks3HYuO4bU2oEcpzWxlXq3z13L9X4wowZ0iiVy67o8jz
SOzPPVqm6QYA21ny6u58Df0yOP4OzF06+/AG9S3yB6pS1dHMgek/pkBpY6KBMUIahtp+qR9RBl6/
SXmB//VtO/s8B1JYVfBwA+QfFkCI2JWVT4TTARXpPdtLVtBC8uCwuH6em2l+5q3wMtRtN30tChJy
VDYjeaPsGCqNsBpstVxGJ/lCkt+kPoN/lTEzCc76Mdrx+qqVetEv5aGepd/FIjp9NtFO3cAvGlt1
y25c1WvOvpStki3qMJr29uWhWF7nBK70zIZN/M+RHcWI8lF5NL/EBudcWxOxiGG3abxH0U0wfbDT
WAsgECypRGMMNSTRALVxD2EySC4f96etnx3aVTV+iNSDiAWy+Rynk2z2mL1m5ggzUsAVYZV236jL
G9nGrjnREa3tI2wJbieD+t0MGhw6ugCbMz9d0FPd+ZRumEtW3idIfXjmE0MqgvesorgUx1kSGpvH
D4k1R0s0635KMtt4zyPttgkvC6rli87WcY/ksXNIk9Jzt7VG7bhz6vHRdF/krLgojIGhxk83XvFW
/PgXTmI1eu+gnH4c9BA+UC7r6R50IyQV3ixaZMHn68r1MNLalrFCeTuqa9GHGY/unhZgEOFFGHG0
3tVXcW5U3R6O3w+Yamp6FCLZT+RLs/6KBXLUZvn389tcobchg7lfx4I45IVZokGJjVHQbTjkgVI/
oBhhZDxeVV9EeSgtgNBvUhbOMjIjvp7EBIkLpyC6I4EdRN81022Y7DRvfqAeeWZAFUTeeF5sYSXh
n29HTkN+IGcosRhtA3oB5DTY5JDFv3GRswtcpX6JfTQ7sJHxmRJbfAG5NSgxCxn3Lap8jMiQ0WHq
t3zQZE5rK904wG4IgxBiNpTDgCYUZ+y0o7HlcGKFNsv4Gx0rslK+BxIrGdJTkO4hiU38ELJFzgOC
Ft+P1wnuhhyVTioSh606Suf5moO6vKB3pYLL17B1+Vp07qSCQST5E/IgfjbP7odbvqJpJU9qPMIK
mq3bkl42+JwPIhisiEJWB2PTOEORpmAQh8CTKgUDSFqQse8WWiMh/iOB4EHxB7KQcqt8ySM0RjCh
PHp+crWqT7mY0D64Axb7uJik9BPQvf7DZXPv8iRlhO2MV5DuX0tiRmSzWkbS5jr6YFdd4badewh4
FplbzuXx3TfCOKwwtoXkgrOyvp+LxleC/opZNT+kNNYjhBEnKSc/vh0pNFfF9loJ5QTcdPUayf9X
kkGSRY3AflZ/OHN5zNwHnCePmZ2v8wfIT6YXcrIA5VKkEV7gig8GRxEmLbv6S1tFuBShDrmT1328
/lifVpTdWJfPtHM1uY5iKN+vZm5ufye0YUlO9LfVg/QFI1yQfPELAeMvqY7qAjkGCh8qsdbakBpC
y/NMWLjo58jzRBLHIwWIQwoFssbfY1ZLvw+6YFoY4qGMvp2IV16kE88aulKg7xxkuzbknASdkq5I
5wcwNIwVvx1E7U+zAHX96Yr6/XRFgP8avKUBxyKUmXGGfeyTN7RDfrfIrO9klK6Yih5hMOekD//N
U1obGP3jZfEYQmHKZ73FClHA+xwc8TfrVIB42+TY/2Ydcr1tz7No08Ni8kxjMiYJST2oL53B0rCx
n0FHB48UD/RpdpKX9f62Y3yy9KDzDTH8gLZXy7KFVw1PmA8tMSG2d0l21oYkG9echJdPl+1AnXbY
+8TA1RR+eCQA42BggHCNUpguTJFw3tfSuHoN9Y6vsNMbQhDMUew33e8wrOh1y583zCvINx7hDwT4
1C020nCF/nAakUkLMdoUpn0O05mhZjhukbDTX4NmHfyuNZloJ1ItUh7SFjAeTikBOAL8PwQcxLnJ
IWWQsksDI1CD3DcPNZKTtzAc1ah/EGgTNDnU2Gu2BRFJmnu0QswjaEfGACWzDbT2pvMSHezYs9j/
hr6J9z/51ljlJ/gVSBRmTmqAG5c+mPuJxOvDiJYEcebg+tUc8tXtAGI5vqUDg2Y79H5IvylzkbRb
g/yHEUhnFhJLCByzA/xm5MQsdjMAGfwleKY6I3t7ZM3Iz4GqKcIEW15jN1oP2AYxF1AOelvlLBUD
hlomPw/sNr8LWK0zWNrtVOyifexcF+oOh111ZyHXW6FR+A2Kxk93BCXORo+DtkvGn+94y2Se3WtS
Hkgzw/uaMG1NrAORpPxBzKR9W06xx37/p0aOS8X1JQk2rNqmIT29k8/0s1SXyv5+eR4YOE1zFI5k
lodmnbS7BCPK57dlOaXO0jgakwOlr9+RzM1e4pJrV961GzrBUwpDshySEk4T9LdEpjeUM25z3A8R
+1Qf3vCc3OteOfKq8Bx5AlFf7t1AFW0mYt4UhlnfwNWULoCZ8fDDuBrIMXJ2+ld+J3nzZ67rjp2B
qJsM9B+E6bKPpvnjtDgjiiM88/M56gv6Wd2WaCt9qzrw8+DhazMBjtHTiESJPFUdkkoS2RFcE+U5
jz4koCS7OOAfrQtdV5Ps0CzQZ8hk2z+9H2Ig0Z1gyLlKiLodSSA4V0WjNw7oyZA27QqFZzShU/zf
YYvAxElL9Ic1hep/DxCacjJx1KB7kVCTIPu6op5dt7N8Vm4QZLKklKkywa90JI87MZtg0G2KyTs0
l/I88q4Ed+wdJprXuTi10KAjBglSfVhkpb/gMNXTC1iaLpano50YsKicrD0MGU4iwDuto/Qn9EyJ
thakFZqgW2Ke8Ev8AcI/6dB2ObTWkKfVO5O8bq3u76f3oiZWeD1hN/RYWafe6bXCsQZjk94uH/En
XmTdic1nYg7AbmfGz9pAMPND0xiWBPhYaBuJfQICSsXVG5RAU7RU8c6n3anaNMHzREj9tYhnCuDz
2LjWD0yciQ4dd0z0LTYAOCuATDk6ESGsCx0qtBkQeFlsV7FzGSPyETD5uR1m62jRfcFA3tbFklJJ
ib3ou9yyZQAheToIae64pZG3bzjzVq9F09EqgELLhi/jWVSUPgxaT8Tu5hn4VXg/oZdl81LbUEJ9
s84f8xw59R5nU3QyHSgDpw8nLmcWOTIrCEEvxTN1OnoE0RFDzYKPiXCbSPAbZOkf2CkWeOD8tTJ2
v3NOs9knlHfxISK1rSZ6NexJA4s3AyzPNEIeL7ESImGHnQ6PuTpAhb2A3XfG0pIGzCH9cLXbetv3
Pit5Jk21qTq3xpJ3HRxQdGDurW1fE7QWALeCEaUu8uSleTamKDadgo5YNgzsF0C5+zrQkVUjhZhI
Ygl1m+5iEiMFg1EceA1P8u8dBTMJwHsnnUB0w8el5YKxEIakodUN7cnkOeOo4ymW+pAi8wlNpfPs
sNMn/ztayPcA5n6M75ReiWP/By++be8L70+eK/G8wVlI3Pp9c7OL80yaSHgoWjsMJaTLVXUZwILL
j7ZhRWmb27kCKEF4BSdFKfVr4ArdTI4CdE6+uZTh348d/bmgC4RwclELBG+QfFcH5deNiCWMkwwl
sXOfRqzf1fvEu++dsZIgyUBTRqa8xX9zjYygYOvyN6yuACkRLxw7AhlLQeYND2/AUuxnllw5eH1f
f5RDvEuhbkgpCMmreKnR2fMFIHBlTvjnh6hU719sFjba8f7FURzNGNZok0shruwtMCzdogqlaUMk
0yLNFgEDjTer60iPiqUPKA5IFFnkFF80KdEW1EcFfA34sDm+ReeAdaBsI5L/m/aAlDgQRG+LemVs
5aOMyAGG5TYqPKwbps26Wz+XaYjFtItYo95xcLHDrjw0mq2+i0O0e68fyNUg5OgkWFnb9Mw2hLy6
wNtfqrG1UVa34/P8GBkX6B2OU8pXAqz1Q1a2SUUFmUyvYNKyB7M1FABy5hCkXMJCYDkdln9gxpoF
z1xCA0Md7D/LBt33e6hxgUJYOmS0LfMwPgfOAEIqd1z1HeBpEyqKnokoUHgSy4bJlvA7xLNOZFwQ
g+/Ihm7p5W7KMB82Oa+FZtmdeDHJ92tCU+ms9Xs2fpZ2zw3VALbQ6dn4jCASY0qkF8+SCXvCGDMV
1gaEWarQ7lSxyYSjPWdGrjGuGCe9kc9pNFTXdTZ8npIDWooXZBB5jSOf5BM7Odq/ToxVjMA9PtMn
8pPTLSQD6BbKGVJb2lPjkhOAb9Ce5Jv2y8cIzla5lOyQHKw9hwTYMQI7fiH36pFVihBpZF4d4eiC
na2gHqm2qSekwjG+wU9YddJROdZLfCdX8i6baU62t756s3aEJ36YnwwuC6RCnpQcNcUIPCC87/Ut
ZPc5CRlFPaGdljvhV1a4pelIu/cuOVxX0kkK8YCBhSN1WsubfK+MyyUYIofoc0/LWxTmZ0C8ak6o
5q8pvhBg0r9NQxLCHKQQ0OdkTc5tNEWU5JKTB9Tz/KN83f/KORelNUDCOj53Pyp0etHZPY+VxLdK
/Nu2PFKVcaaCklCDAViAABqMT9lDZxsCoajn0ho6j2wSWIxlQN5HQAcTyz/404M+9OiJHnzagTFn
MTSMFcfo8Xw99cby3AL9RgUz5zeCWG9+X/E/Yx3vks1tw7i7TQ/XSOYmohUDXyPTzzY5wpkABC22
pTBe8YUm8AbtcqPbgvh4Qgu1oCcRegVWDO3Wypojsml3esBLLS+9PTOQ4cEfl9umt2fBubFN7h2I
cSD59PNljYXKrjdpx/dzDe9TzZWQeobDKnXVxuGL0fyNnyGKNg9rzY20SxaYMLAvH5s2bP10BjfJ
i8xQCpQwnuD3ynBFYOdIbHQb1JPQTqOpLsC0fEYJhOosIYiiWaYAFGl8jWkfIG3rSmsQV542lANx
iNdx3zdH0h3onezXAwUmjvRI9HC4o9sW65s5/y76gtEyv4AgUNw+phBhxqjY0uNkVS4VHMJrEG8U
2DpWGIpXrWhq5p9uc5jCbCgh5NNGlRPvDEZWRBux4UhmgBSmzDH21Bm6t+HtoNstYTzaillQVFAT
Y//2Wf4zQfNhw2g/1UFvCISPYcQaECEwFtosRvCj8DnduZwUpxqsSawQdSJA176FfQdZ3/I+zwOL
cd6/cRkBKS495ycqEEQdLt1Sgtm4OWaoXz4benr1reo8Z0qobxS8bPk0PdYO+VazyRa8hXcoI1ck
g9qU0K2dT+/0ewU/HIX1Cm8YAJF6jVfxSAmbQ8KUSacKNilBJ93iYTAsPc3ni9GItHS9eDV5EdXH
V3t+HZ5ciwTJB0aR292luYBUVUNWWb1jxSGInGZO6n4IECPSQIjXxfY+2KYu75+0qljcFvHjixbs
GlvKlUqtViAWbZ/Oa0Pti6wqB5CC28DXTnFIFoG61atD2zSt6bRH08/ctDjBLe54TqZ+xephPSEQ
aTZcRUO6iSnmY9Cuepz5JA0SQrCO+ochlvCyiKX2+YoJpNxieN9WP+ieQJ6GykVzMK3Cnpbfz1gM
YyG9YCbqj5B+YY3qSqO+97Ix5LSzAAW/TQpH8MucwqN+5oAeX6dA9thAxYvIfs8vgGAo/NQvLRlG
Bzy3xxUzzsGqh6BWoM+QBnzLj5suG3uBP6xQQnrZsLGtQbtRzyi4iHnMvZt0Tj4GqNBs9DdDfZFw
Vu8fgPFDfY5nD1qienzbsnjiceFbyzud+D61HRxbUCwbr55RDGAHqWyqCXXIuL/W9qm3o0veB15n
90mn/knwPfUYcSCwHo2LAeAklj7WUO4P3kG6jzmnIweO2hhRv4gc3nvO3w1UfxYKwBIyyOs8TE20
mU6vLE0Cpi8fo5DC6vq9WpJIzhonFu9kf3ctOuRZgohFvrgAVkQyMhhAEo0wNje94gLMPuI0tUZo
xYC/h/kqnzUbC/tFiquRsiMexiPinxiBzFAXVzNdzAP0zHnu5JZCy321tBuExrj8ig7pzkTmRrfx
kST5urwfOaYqx0Rggo5tLihsUI3h89j3er5OMYijZROgZna7eX8JkKIs0x3N5oNq8KU4ZMkFNoGQ
M44xYP0gHCJ0cCEjnxjsPoNkWvx40vwVppyLHqgLu+M9RgYFOyEmHTtxEM8x2Cp4PQwzRq7EG9kD
kebjeKyTznsvJ1kCfCMAShwTUqE48R4V0fYRn3sSg8CB3CH75J8EmB1+lfgABMIxCJEquLPugqXE
jpWZ/G5qDoQJGiLKMuaZDa9udUpdsupmgjts+LrAFGWjekZd8tqQqxhI5vG3eD7pPxPynJrFEbLf
yLj45H7Gx3f8NrAB3kBc8QkZjf8IjU+0M8SuptHNLoZGhyiFKvA2+j3K4h4JX4b28DaiBJSejuJb
e1sJERIjiLVs7ZSuICruM0JI+NpwddkCAZK1Lzf3GRfjC+nGY8SfC2HyIP4dqq+C6oFRSUNwGYqB
ycsrRs1GHDBwvJzEv5PkoefAjGANILm8ty+E5G2gXt4vH2GpB7vhmorTXPq7YiFPyFwz5+0Dz8gX
GK5mggYYXjlziPYC3/zMftOvGKEKw5nYIqiH/XqXTR5e4jHBcMWmcy0n9WjMnogcE1TK7W+x+PVK
Qr7oYUqmtKMJrR6QH4HTGgEaUy6u4URjYnyyPPJUhBvVCzR9jjUOZgzubdkc5R+hI+279I/bOepC
N1viohCi8EXLD/eX+MmSuLZ6eRCm9AwL7ZTJ3NdBwXGSlHT6CrFDG9D0ds4sYVvQdTbd/BHQLyoL
1QUSA7jUL+36c+waO6EWGulC28kxzqaF+qI4nHN0vqafQ60AdQ8fBQxYNTNPSnilK8JDbf3do8Po
YLBR0d8yWHfFuf8uMDcJBQIABkMcODEF3KLlT3zM9uF+9upGBQ2agLarV7uJh+UCAUmYiAOFY0Ha
oQBOYbhSF3sTsKeBOdiwJIBNHgjRSX5IdDCUpWvWYbtBpGUjlMIBwQKwbav5kl+HVPgyQoVu8xhV
K5pCeNH9HWjaY0MVhj6dskS8cDV4kGTKnFN4gzod6y8bXUXOTgm6QmLXEJW2j9Gb3clyXgAnolQL
6XAgr7xSTdFROHt4xKdhuy6nPARPCnkWqoMkZYOxoFNMXsMjeNeKqE2/ATIUuwp5EJ56frBDLYwa
YJm9BY2LATJo9HgzsmsW032SEk7uwX4TOQZXqYUgfW5JBsjqF3CmcUF37+Q25uJuCjy8kmgV4FzM
/Cq4uxonFKs7YJ/mw1rzS2SOeNBAZ9L5godJNy1orQTI97AODyjGzUFJIKAp44Nn066s7XhF4vr2
hU4cJEjyXweSQg3xto1GhuXMTYT8RkQm9gjM8+qUF+agUTTwHcvJdcW0BeTT4B9sdkAMkLaQDe0Z
QbKQfislaOdBFSThFelywSF7X92GW6L5+EWxZC4NFMMn8s90lXiWHwmcvLiAY0WkRIy9v/4gzpSH
d9QfBBNykbU5ZUkzEu2LdDGw1sg8XHH8K2HsPnc9V0cIetvQRETU68P5TIBjSHKLws1Qv7MMf8tK
6k+V7r+hfCFV4awSsbHEGdJFWpgt8HshDa92iYcw/T2ifEfz5zL3Y1/PiYgwBwgUOOlYfzHEL1E/
NImajPomZoJYXnhD/ByeCD0Hq2zzBBSB8yDnpaahuHiS8MLY8Ds9K28R2FAQKHCQHVasds7N9IaG
hrcBliKDDCiYWwk/vDm++RuPXDgD2ScegzWDoUdIjFKbspVCBxUVqbyHLncDN93mNs8uKpxb4mc4
lD+djMneTPmmTqXtAxekJYgl21NcNC/3cOeJXL0rlqm43JiCaADnyzhGUEEDph+zBan0RD5HnH8U
W+ZgxEZVSYlfAvsCvyHNEy5MKyTBJP0azKY1N39LzsfmgyAcl3qOGRKNKzKnIWBhi3A3sgtWYk/4
DfmoIDHB4UxAl0stqp0eKAeDOqyoJFguFN6cbRwXLgiDm/gA2g7su2157Ziic6b4T5ci1Oe/XTKC
h2er32c/XJkkIBlKW2uPOoLiK5peV1wtVcvpvWv9aCnOOImwgtowuG2qXbTMPHPJ7ygPsSXqsJS3
ScR5fBkENuzCa2ACgtJ7wcIscAGaclMktanlpggEihE3hVUS25BlRUsQJR+WTNjWwgWhxcVcHNOj
iBFkXs4r7hsCvKUpw2r8T+5KMi2NOP94PYMpkJ7Fn1Vfy20+1J4eT1LhQxQKjcsLYPCxQTd2O4RA
oiylN4RvBeKY7xo+Y6vzN37+Z+Y98MNDXfwPPgoIvlfQA2Wc9XMeyntleQ/7y45Fs+NBXRkkkOPE
7H56g4S2+GVDVx7dbr8/iTXVUWpipQuHw+BcfmrkJ16v9/2Aq8eGB0AF8943jiSwyuvyxZg/Lszu
ekFmOLcXph/uLXOM1rMkt8YVgsnnj2GNs5wqPktv370d/+u//vv//p/f3f+IL9jm3N5x/vivR00V
lT5e1f/6V1/5138V//7r4MyHuiFJliz1DUXpa3pfMvt8/vu4TB8x/1r+b+/qXqZmEd9XzRrTcI+D
aN1AApSDJ4MnBfAKbthhFI2pAS16YOEmC1lY+TMYoOFhgKXikLvvTiXY88Y6yl6UUFuWxxz4bNu8
B5C+opGzHPZPGDERcQhgtwUq+FlyIB4FZBTkcPUuD5Mxcc4pN+8TVVhyiGfG/O9vlvv6q7tVjb7W
12RJVi3zP+82kfT+Kylet5VqTmS6HRomXK/6zeaDaglh480rVI4Am4mZcu3xamvauEjbKLawL2PK
de7LsmuokBxeY/gJHi/XsZo4zNKJ38Pkw9DQnWwtPtXqqq30CB96t+nGUj7u6nnVQ3cWRD23gG6v
+t84MGifqdr/6il7adyH6MFHFBldFljWrPeZl9L8Tk8weuEyMGpHz6Z6Fka1q1ihRjsawwzwSG7D
PiegNu29pv1eYCKGJjO8jjTZprOaFM+64OFlokOlbtvS0qS/5hZu7bFH1zdd7JEypAlew/Dh5kPc
983g0cfvSmQlb45r0iLNrlS/xTq9QUnN23P+4Y0o+l+8EVPSFEVXVU0zLOk/30gl929xfrtfqYqx
J/ELPAeyJROEruVcxSkRHUMipp0xEaCeqt/N3a0R81cBk9SwUf68wxvziO9+hC8Ac7MuD903KNNY
r2/MCMKWcyBzs68uCpga13sjwWaarmskrmyh/w1KOhZoq+nNns1SqceMF2PUM5NmZoy5zxhARELY
BiV0ddafdADgfQ3dxK5RD3kyj16TBJbBWGenBqN41E/J4Pn96o11ejSxMJaC7tDqQe/qmQjNGAxn
0N7kN3hPpw7dCGU55LTpAFJxEpPGpkQ/v9t7DvQNaofkLZjdt8aY9bF+oZkhR0SaXXQ1LK1xSluW
HigCChBae3BkUkm5P1Xoxsl9zRjpjGFunQdNyrz25kK++fbKZNRfviykEcO/f4OW/FcvUNZ4fYqu
W5YsXvAfAsj9Wlr3QoqvK4O8T15E8uL2nt4NBsONI2t1/8waaX7DlQibu2lN/vAwBwrDHOSJpY51
009Vrm2qv9Yyy7lwm8dXNAZ217ohffPKy1bOssVoZGbc93phVq20lpbxcXU7SfWeqrPF6i32u9zW
znJjZ6fnN+B9FHsGsuCbG8NpzpNFB9+HHH96Z4zZXJKZoQWJP+xoZS/XarzIlAmzYniU95Ik/iOc
MKXMlTs/tUYcqRlUgSCcnNuSLgoDI5jP4vVZPM1JZUwKxl2jIEubOQH/75+spv7Dk/1TaC40M2qT
2spWxRePS0PaSdIPg2hiOYE7AMXM71Rca9jM35feVKe5ZVTjfpiTTgwrnc5zXEqG8OFYTEeUB7ch
EqIUi694L9BGYyR6zVDH7MAhezBgF0qn1wK4Av/Ev78Vuf+X99K3dMk0VUM1THEM/WGVdF2Vqdqj
zFY6A5DkcS15OtO1Se4+gfIelt8v4BxEvPVA6odSd04/QcbgpzGMVfKdKoHeiZFy7TGmbOSdFmEB
6OxaMBUlONjyY3lSMrmqC0z/GY8CaWeSmUQuZBRWOT2U4LBHcAFYFMj2e5R8XRcRHSAJG8m+Y/1I
XUD/GbMQRzV6SQozaiP6/zBL7HtVgfaWxL1EUdYPYV9LNN8yljEjtAjWy4vx74RxqT3IL2IP40C0
Ps3NYh4PA4Gap9cUYj4Q52ZGU9e0wQeFXyhFUbU76Ro0nV0foaRHXz5tWyEyAPBtntu48vMX5iaU
gh5CnZyOLqRQyPsx4AZSIZvcU+vLrzFGE/XhRbBHZ9OFWIzFezOkiq7Eu4fTkmBjuUJriPEgNSlY
UwUGz+hH/E4O8htnOpvWbOPjKriUIrRAsaW76VHBKiYbv6hvtAdkDrqCGuHMvQoQnz2whbdoL6ZY
iRcPZfL3y+WvV76hWJpmyrIiGyLm/GG1yG+l/+mw/1jdzlj2QzcqS2pSa82MSeWnfxcjSnHFzyRS
LGYk4mHH46VJCMcDbFpHNwqJjYokg3qVc3qJrduSx5We69jLTkLviJoOSTWE222B0or+pK/HQt3/
/U3IIpf4c2Zl/uEm/rTke8yjemivPFuZmPjHlsYoWPTt9P6rn46OIho/rG6Sm8XM0g1MpZXgKpi3
D45N2mOZXUFmsiLFDzd8yNfp31+b+v9uR1mSdLkv65ouGapk/OcDzq9xWyuxAhK1Mk6aiXyBbrax
1AeBGBNCJHPMQIGCYVSpm2DMuSegKCwR73X4tAGnShEHOjPLrl7NeKXSk+sZtQvMFeJ7WoY5joL/
rws2NdMgadOk3xXzhxWR1te8Uz/vdPWux/322DtJ1lZu0b1A7t5rfZjjaWlm5+d7fYOCwyxTZbMj
VaonZT01mTv4U+kbnfGuoqWbwqsFz6NRsYSv0LNtx3doCONdu0gY4AAeVvl/fwOyeKL/uRp44n3Z
UlSVXFv9c55jPJ56ZrbcACPBl4/Z9e3dVvfOl3Ac2c37X+RqzxnIT/w+U/mZ/3BIa7r1Vz/eJMmy
FFlX9D8nvre6iaRIr9MVaBvuGX4R3GonRq5H5+QgRfqQoCBN29mrnX+sRR+yE/E1ZCOjOVOfk6Wl
ClacmtIazN0Y3Z/j4iZmGcbdJIncFOF/8bSz/JB8ZQzAMp2o9Uug2Jutx/OaaRVCy4/fmRiY80aY
FI/bC6O7JAhWbF0tt6CbEtv5IKEn39wzV03FtJeVNIASPrWUxSAd7cIoHMavVbxVZjF+vBdalU1K
hVwjjIWOzry34dQ9v98EDbAIl1vbPF8pXsmhtauMIbdZYJtx/X5SAkMd9adp6segV5uS1up6pmez
dzFm+lacXhQE1HrAhLEKZK5dFOUumTF0TcK/ul08Yz9p3Mhw7rdTyQ0gu8L33jx/LCEofKZbqzkr
TcD1in/MFLjUfZeHu+lUz0EClKmh3vGZzMSWQiU0Yce1G/RaFFYscwhXkpOnJ8W0aLjVdf6oVtx2
KvyDEVOik9ZmxSP4mC4z5XjUCNk0ZmddGOzIUC9V4dk7DETq1tcO8ZIdv31MfNAJHnKTEZG82o8f
s9Zl6Id+N2oZFq57OdTUm/mWqxsSxs+XwiGky2K4nXwCu79al+L61a9mJW0p+ogtZB1au/OyBWA0
8JPZH/XiEW6+am8LylF32+hUVx5JBoiMro4iFGSmkPwmKgLvbguCr+FditMrmG36cGtaShbQWdIO
sQsEFqHxiAGuwfGFJtyrw8d9pmVfj3oiMa9ItPVBLhmym9GJQaXCPLOL8OyAjU7OKJsgKO6AJlpg
KhvcipvEx1taYQXNAB+eMyyE+zs8Qya4Dsf0yT7QMoneouIgQCXDFYIHlGioWcNOt2nyJbQBHgKb
lV+6Nej5EWNdDNDdoOhGEn4ygA6460Q2mny4cLncaIXore3wcaL/MRk9Jr0mwLXjNSwOICaQisIZ
HVUYeN1PyZCfw+ui1jNgFPhqCaIqY9Axyl9GmQw7fYgkNtZHLUe9CsJmy0CJABQJr+tkBQWt30B6
MEXfn16QG4yC9d8GLSKhhDjgzTxk+yViG5iZeFNGGjbxiCf1SEbYlH8+X4BMkWWXWVgjD7HL2Edj
pJwQbzIMBjaLNcWZ30CmjmIWAmDNY6ifIfvjdC8rYYaXd7V63icZO9KVPyOy6BuTv9Bxy8Pc1/cU
+2CmVnWoeCN09dbMp0SH+DpmogWpnmOi3Z6Aagrig29lDs9TQ67xKFxwI06WF8g5kIkPnFTRec6m
lZcsNAU6n6ow1umwGcng5Mbu5iMuxRbiPjEBwZFExkSrYvFI/azzK+m7AZnCPiAPkhvMou5ho87i
eOuUZ26TfWuK/49wg/YXQVc1ZI5ZSTZ0Xf5TbZs35fNeKeqVoFvap3hgDJd4TAwET1bih5P8U5b9
F8W0LFlmX5EkimlV/XOWHcvdNUkfVAwZph8p1IZHhZVYvmJBULgfOkvXOq3Gr+GJuWOd6qAnZY5g
sb/S4aW6D1r8VxWYr8f5r/UY4OU+tCAtxkp/nvOe4CXAQGF5WM2kBsSHbF4i/mTB4GNBBSzLDmWH
GaixbY6o84pTSRfUkUZK2t30J9PfQ9o50U6hLXlDXyylNaVHH+fuJ4myYD36haPRSr2okEUF1UwC
F4fjugK5O21vKIQxxQQN3WsD6krt3E0FQYoISdnlM+P4FFZNOBCRtOPQQ4fjMPUhlzG4gdz75fB8
uv3fPpoq7zYRS+8+QSJw1Zm7JjhaYN1eKjoGEpDIePAPGcBfnsGWafXVviqZLIg/LYckf8ePqjWz
lUbTFe5ijyFzrzSmNiZBAvtrjbV82SsxOJw3kfuB5o53Pczu6Ip6Ms5myvsi47WMCVO6oiK0pJ3+
Ch53V4Hmmpb6FnxC6QOUBCp2yT0i2YC+EJBkhOA9oi44MXQkKlmYG+ghrO53KvOQFNtIbDkRB0mu
TY3PUj+l17BA5ZovS4tJPU6MvvvmMqOqqtzHWh7nI8PPRyJtnSWrD7Q22wyxC7j5vMmDR+Gr2lEC
fOBc6A0K+TUQ0pC+KEEQOmA/godbPaKhRKY461ygkGfkJbLfNct2hRyOnhEk0UXupF0LFrdQ6Hp8
HG7t8vEYYW7A+5HnyWOUdA5eOcJ13bTcB6O32nlcBLCpNzVMH5OCVjFj2JYePfVqDHAXNERefZfG
Y7UdopcC6b0bgzf0LdKk61RORsQp6QS1RMl/w7IPi2KdoUZDfqakT56lhz4rv86UNwMHvqzYTndx
9Q9pmvybBf45S7Qs8nFFMRVJ/q0p/pDmvh+3vI0lNVtRDxeJfav8Go8CNPrPgdSKAWm8Ycy3SgzX
EUl/IQjmL9TKV1++3HcAL9tDu+mDT9INiS2hjqkmvUBAUvCXs2fiZRIOtU6OSLRgIoBQV+n/h7Dz
2nEcy7btFxGgN6+SSHlvwrwQYeklWtF8/R2M6ouMVMYJNQqF6k50SaLZe+215hzzkdZQcn5kHqpj
Mi+WeDzYAetyiiA8Nob+1iAIdV7NklO6cMdYHNUVJNRNm841CckIdoHLA/IilL/VgzQtuomI4BXC
JWZtb5tZw/BNqB2Kw0jEUDL3lFmWrrr0ScNp/R6L+wDkBO1PsOEKW9NC9PdUnqWxNhvGW4zgMOuJ
1wXhelqLzYNhgOtoKXUZLZB5Hq8xN0poCLx5y2AenBZ2LpwTkW2o05JjLbw2hjSvKr64lgHoNoWm
YE0u6kKjL6U5PhBQ1fERmDNCZApzoViciOE8rzYXY3HNSXmc1m2PG2CIrsWTTnxGDU+GF0/2JZq3
kSMXdi1tsJ8b+UZLVlKyqWnVsYbibGqY8S4bfxp5xzhZZS4Hv3FqOFdvbXqbQnSu7qLwF5BFGtOe
WLwvoj92pY1svIvl9BKv23pjtWMvH18o67pHRB/uQ5ROgpyILy7Ond3D7Jeff589nRYNjTyTwQB/
/u3ZK4qsUSRXCpkEKAsBtARuVX375TYIjqo2pMP02kwvtvDu7iwsSliNopfmDXl2SqgXEPsl/8iK
lk+ijfXMydybtX36LCJgqgrayTOxV9E6+GweNG+QMjkgX8ZniRqgFREMOADcKuF4QVi5Dx9MuiJP
6FohltHkfAuejBcMNQzdN+m2NZf4XEh00Opp+xD1eoo4GkvwU57CYTr+feHW+g7mbxfmphvRqWou
W7Ec7otnKvTgWVil6+ujsChmklON9WlqkXxB1TsM1/4aLdSmRle0EZxuxP+WHS/LaGkMlSW78jrj
wLODM4QIlYnbGLkDo3SN883ygkLjIwcPkaz7kR5P0GUaf4QfFTHN/r115t+hD3WC9edW37QmJLdR
r7Wsh/t2jFB8ApN922eag/VEZrOu5r9fwP+Wrd+uYN+O+PZo+W0Xh5eKR8uHPs+9dkCj7uTTOR0Y
ELfUp2jszc6HepYwfQLZctLe9G0+lSY+QvdJO0NNcyoX9dIjktedEgH6IjNkHTVTIB5POjsEA75B
NDtTGCDmU8flwdsbT9GOdlUuDKV5QBE5DYfgVd+4UQAJd9W4+MBFgSLNWItbfBTFczBjltXNk0l/
LjqJH8RNh7SEozFRXtLWXDNQ6ZGt0VQqHNDw5DDg6eVg06NLMLzELzpQ5ZPykh/jHQAECfJRR8j7
VNUgckECnObPeJQ4S6A1YoTpri72ObzzqKo/dRm+39i+Iv12oUu90DQj4FFtV+W+Pp7X4odF9wwR
yUzmVWwj7nW2pUVazs/KjCYqx03cAD7uC4CHD2D69rhE2x7LIAGkKfZY/ctnsH7oJnfId1gaiaKw
qxR3MdredOhj5ralO60z5eelyKL/J8uWTsn0989QGkEWvLLljTng+7DeQFfO9JW4zWZ9mrQ3v9DI
XJknw1GPF+4eOGLvAGA6eCrYknpFjXRMt+EsHd15kH8q6C3+8/+/V3/5v13ewFKbSjSv/XvDdqaj
XFj74kDD7tHsMPlxLONQhTY4uDMKkMx/m4n9G/vnk28Gl7KU5kLlcmO9l6s371ynQK9VguRA1OI0
5rIsl+yhTFIIYE1hEr9HUE8w7TLaB92KeRNJTs6Bftymq9qYm3gqUFkA6ZUHF3Wm8DpRqQvjc++8
KR8RdvhvLdgOJ0bmVy5yZeBlvUWw8hwBBP9GQMxPzn3pZOqoRfjRDCrkI0QE8Q/IAiY0JPpeMWcF
xKPnJZLlqLYz0nWI+7kM5XcgK73yknQwTrzdWBF3RTfD7ouqPx+TzR3GW5qh5OPQvu5ViDk33lfX
tWG3tZ2/tu+R/wLD5hwj/bPBhdDpUBa5AYp3RDZNhNUbg/6HuuJA3Le7EBBmI9D0l4NrIZecSOYo
eK7ptDzVkCWOJad5Xm0wrXThFPsq2ilNIY3YnwkaFu2Q0hqDha1gnLVV3Y6v69RQhkoHI3gdeou4
3lyJJUQ107pTBFZqeWDeF59LnKcjTutBh81odCbgQJqKSItNG2gC7iqGTFAPTCrodIK2OULaDP2O
JCG0jLS/GFw2dolMWB/TOugbrciyrQVKYNfc0tQwQNbp4yZaIY5oJSj69w4sPywmkigzEhepR43/
nslvT7t7Va1MlUpmNuv2Eynwoi8Axb05uiJYfqNrDvsLddjk3iom6T90K//65P7Pv32yFAu1ljdN
uNepSrupF1AAD5VgUG2FR/O1vI6UgzVhNtTqQ5YuvKg+toc38eQHGGGHLOAKYErALlSwZApjKvBG
ujQJYDJ1Ww1kHYVX8lYVx2uy0EKnQUiMAOzQ2w3e0hLa9+BaDqN2UmYT+qMXMEywWLK5z6NRO4Sw
q/GpyWxePMGlLcRAH++wSHSbOzQuE/TIHmYtmpz0as4TT5rHCCrilgkiTZNVpNOf3DdtD3IT9/8l
B8DBhwjgOnguYQcAy7+irWYitCL6goDxuWdM4PYDFMAlr5EnwCwzmXD44SFHjsX/i8flzEVBncqe
qPdn2xOaRoNMK3/B8YixJc9X8tq89GMQznoH1FFFOmWp5BiFrIi/o9RhvHx2FyHja55eYxNbC7Ra
l3TCfAryG2d02iu0TNA0ISpAp5oNcgmUyqz0aDmhcBsq52F8SFYE/MnaQBldm5l0nSJcQlyl0y3Q
Z2E/naRhZjdvva1Nu1fX3HlubpvscXwVzpqfh/v8TQMK9aT0vDy7P0vxdvjJEsdq/iopdLB7+Lwb
HT2QqOagGaNi+n2rkP8di0vfH+Gvsfm3R7itS1FJWr6K+mx5cEw+I38ZoikhYthatZgyaGcs0YSo
TzE9TcHBhHbN30guSpMH7ZQ8/P519Htf56bi65IglqOSnUtiAACPgYTNemTseSRfGKjKL/UHvXjw
c4tkx5LcwAOJB72bWjEGAS5kBxeMCrGYjDBaj0+c7cY4APKn4sOShjtPG9FPgCa3SufRsDcMeUjb
H8/y2PrMVN41hzQtEa/keXTBGoG2ETXnjL2dAetcev/9p34JDm6Kzb+u/E2xqTSmqAll/dVmCb1V
mGwNjcEDXjjKdWHSpfZ1dmWrNqSJ6j/5eML9t9+/gnbvat+UYb6hdHmhcLXFsYUdlgiOfEp/yVz5
bGeFzZZ0fi+e8zkkq2Iaza7vxfG8MdbtDsNvgm9AHwYiJZrO63+IXw1bfhS2zM0n4Ch2xZTRbfZE
DB2yj3BO54q2rYOLbs7aIe5xkjd3NgL5h3KMK2qoisx2wOjq5oomXXQJzYCNQByLtoknclk8K3P5
w3joHhLaqmtxRBun5fCOiqoX1tKiQ6fw+0X9YSjcv1F/vsXNRdXVUCr8iqFw82Y0c2UdkJDF6Rsb
gFFsY+vNu+xzJgisbMs2G/mPqZN8uAwkz/MKK2k+bNJhLI71NZ5GVPl64DScRZn1eGAKy8uYiQR+
q0wZIfaWd8YH5pB85qs91lIWR7//lv/jAfnzW/oj57fVoQ78VJCEItwbGGrByNZOWYwFMgu7GeO0
LHNiVNtAqppRgiajQAU/1Cna392TT59/xHkZ7cv1FSKNnq6bdE6ZfhEdWBFQuXJ15kF84zrIDBzQ
mqr2GcX6xgT4h8cBGy5n7mYgXdd12vudFAG50BT+wJ1jn/pDzfrXDbup4ttSCYKm4kdGL/LJ/LJq
xwfjzXqrxuE6BbOyRJJN+NGMgHrb3zTTZnLtycDxjCMShs2+DMTUIy9UvHYGKYlTtvxmAYpiyVil
GdSvFQ2isQTo5iAcdNDP3v7Offp5Q/lzn24Kfl3zpSZteebErTe5LrIVnsHqRQoGqTsIdgls6WnB
3za0pGiPU2mYYEgD+0wHLp0r6qJGvUBB0Y0ybD/qBJM/KaPv5r57keWRBAkSRKM8MGEkLAGDIDsx
cD00I+tTEJfhi3GZx9aQO8nt6vXP+OFwFTBWuS6ZRuEidEltcoR7C6j08/L151ffHDaKJhJdSeV9
R+Gq7AmLworfOnprNwcXdtab99ra+TtzRxOoWzvqRTrw/Bks1I76wZxVeHBxgHB2R1+0ua7bleGO
SrKh5H5EZn5yrKZU0nvxANNQ8AKIkLCIgLDHwSgwomFQ4j1Z+rA3THCW2YGm3fY0XpC1Ryiaw1ym
rzlmlhoNBwDYOZbnTJOGygQpNxwdQh3UkzLJjum8pKnd8yeAWrArkf1BEW8c0Y8xCiGr8lE4O1JP
aCx3IGRVrC8J6JX5ZRWsRLTeSywTwD4aG1fZvkSwR4X/oKZ3Gm/6j8srIwHd4Hwnc+L9ezFoMpeJ
TsJpl85p464LwKiE9z3z8jNnQ1WejzLWXNBHMZmTo3OAvN5WlyR68McZEBYgpmwMyuAS24ni0G7j
da8+GM7n+2J5nSQLfV3B7cDeC2ql7XlUBk8eh/mvv0ARcXDScZR+Mf54BmOI85S0U4Y25hv3IMDR
W4zR15MkClvmziv2Q3dNEv/8+q9ewLel0I39yDBCan1mAY+db8t4edpBpMxaEEVk0UUL7imvnTep
0KYmDmOOYHudQ1h4hq5HulfA4t7n4+Taknmw0421FR4kDFxDZQyhniiAHPOMtASU/JLv9LmCeFtc
w3qk8msD+/ocPWoZg2aKm99/GlM+7tw/pci339b/+bffVqc1r1Lfx6hpMQsr0duK0azESIwzjcEo
cgTqEcavHlkbdKDJQkH7CbkvXVfwaKGo+uNrN9eio0nMPVweYm2IVI2RUCw7ceEPw2qSlE4eL9Ji
0n7yoEBQKJmsw0mrHpOYbjyMYxQcQ/EE4sfjrL3UFt4R0UvAOcMasD0awRSOkWxhWpiq6daK0BoM
UUeqvPpfyDPS9cgqK1PAHNOIzgo0M6AcBoPZjEbECeVavqsV26L9+UxvD6k9Rgz7PFGWaNgP5bbf
n1GjZo4Kw82bowLIuZ/RxGz3hKmG0oTm7e/X3fhx4/l22eW/L7te+57nVSLysUfeHGS/eU8FrsBc
wTp4ttaXU14PSbxY6FtlwiVzn3NH2+vbwB8qe893zOdk5x2pZl9Vcmf4IY8dTC12SoobkCHeUHll
tZfm53W4bubqlPGagY1Wmoc4lN1RcYzzsR6OdQG5y1CtBwxb8GQXAELbDs2rzcmJcTjY8AsuNgJ1
VrxhMNH6otnqmWiw3k+S3vcKf78wyo8neibDFHE6VfBXp/vb8xiUViQGHc9j8IJSALEiKzcmGVhv
AMRzJ1UWZ+gqdHrIEeD+Z8sK9C0u7fcLpynCEYBq4fHhFMp6C4oHGZ10WXn+iH/AtEkWaLRpTmB4
2oM6+f2rmz/uxN+++k0xkQgBKmOXktoHmX7ZaPpEkE4hwouYGLvWKdI3FeYx+FfBaV1bpqVzjp7V
aHLRiR6yCwmwPY2bPiwoIRwunzDI6l+5yyoUZqjHJX+cLwwPHiiCShq3OGuhTiQmQtKZ/14i3cBV
ykjQs43H3HSgaBryKN/HnwEkYb1XFKOytFpIm4xjC3a0IYA/JHwN+3lqy/v+aI8MFdB0PAM+LFtr
Kh+PkB1pKwMtyjEzYucwj5W2C/Ktnj+aOgb3SdvjbsMplYJx+UizE6CG6PX3Kyv11fu/i5SBsM5S
JRP5wN9vSxurcXSWWYDrnfGa4ZoOtqAGRvUBCNZWfMAx9vsHGj/fyj8feFNU+bHWtbJKXdisg5qQ
HbT1bEyLzMAWPwRm4y6TCKtjZncbeSmUQ1AixQn5rkYvbpI+wegDC3u05gb3CvwUFJV85RHGpYyi
xWXbLhkkDuFN9u14Xilmk4UTPDMyZf1DrMuwirotfy/oMNokSz01cMABSr+0jyn7rzqVtpT+hjms
DtkaIduyu9rJgaAKeMLT886f58/F672bYPaHl99uwk3J5QeVUHr9+bx8S6eXlUsZc2xn8qmE6IgZ
nRERObf95KR7S1b8CmadPM1QEJ+yUb1EdMy22AvBkPjgR/Qpi2ggDnTsggtQduWD+iRuxL1C/oiE
MxceJwlG+bCdVgfZ6R7y/eWIlxu780zfqORj0CQ+GB+XdeCYW5wgGYLiDoGnBy8if4+nPgCjZJ8f
KUBUgKk7FFEV6YbAiLXTvWHAz+d55c/jclMexUqSZWFLNVo+ogSm3EbXI3Mmnm5YdiwgKGu6Wtnr
SLq7f0t37op1MxKtzGsnlBZ3JVcAITmdOw7SsavMaP4zMxKAbniO2IxKaVAANMiIrCcBeZhT8aMp
KghZBRuDLWiEpcg16a8N88cI5h+RrigXNDrKc2SMqTrpmkVaOW4wj9VxIo0UiSxYrFUT0ZwiwDir
h9K1L9YgaCZYqTTLhsYYtkPUUOYOjy7ddRV7oeyI10FWT1B500YqkmcebUQ1VzQ6RD7NE38IMQrd
jPQkbq1iJOKp3EX6GFVWelQUOPADBBGcjFP3VGxoTOIGkJaXufjJnDXh7HJdIkmLoLuLjkwMAO+T
PE0i+7xn+ObK48Z9pd3ty1OSA7LaaWU7sSZ1CRXM1uNFlduieGchkfUfN3pNUk0FV4GsGP39+7af
yXmSVmp3ZlOQcIduM3fjcrYyjy2G8suHfD1W9UjRdoWw8cRlSQpyOHE5aoLqb1fF9Sib+xZ21l5q
NxEnTRoF2qNYAEp9NM5PFstOAuwUK1wdTWV5nEsrpXfbMv+gED9KwE6oi6CJP5or9slYmKFpUHEB
aOpIOTtn9/nM0Fxn9P0uuS9lvqR+r+SZZE7b816Uxj6kVGQ80kYRZijvAXAo0QLBTxQuMTAZbMTY
WcFHEL7djHTAztifGVEY81Y9qArVSLo28mVOJSLTWm7lbSHY/NWJm5qBhd/OwRNZyolTFwEjnfCi
5QeODynPRHkd0x1HCaYTFVVvmNFgDUMdZIoTS11c4EOxFUQvhrTT/RkDF0ubmtG8Bn0q+xPBwNa0
r/Kj10wLCCBgsMPx5fLCeMa1GLmeHYxZHEV0RsnkxxMM5B80i2E+y5fZrGJz1YlPpTTzikcrfNCN
14QORq6PXBrj0knqu0dsAPqbdf4EWot2jPOK2T6U5DUXffaknm/NalxbUyn9IFsyXUfSJuLntOJK
IoaAk57HihcJS0GbX4JdSFAAXH+OjZe1ShQrFXC54yAUR1MzxLIIjLXDjdohcCi7pSAdBMJp0k2U
rjtgoRXB8t6r1B4h80ur5rKnWwSWhUwETZ3V0VN6HZGjIApoKJ38GKxjA8+tt4n0abPMLVvrDpLi
MK8IMA7RXCrtpCJggGpjinKW9r1eO7W0w7NVmzCnOjrxfeuDI03eHGTI//EoQx1X7kU6Pqm2T/IH
o6TvN/HzCXif0OjdbDrcoqsPseurYjQqtKe4bDkpLPANZyKe11c9ATu5ElIHpSYZhla8+31LV388
wmqqJVkYNkTjy/7z7UVMQ0t2dV8I9jKplSOJlBXeGk5nra1v60+OpvKsI5ZXs/0n4S3Z8SYYb9mn
PmsezKmRzNvH2sEvKnlfk8IpSeHxhQWLfVfYNif9LSU6fIDF787X1n4sfb597Zv1o47koLwYbrAv
s2mpvqv6SFKGdLzh5LvLKt3EJoKwz6p8NeWZ3z249dGVZ/GV9Ld3sF8XxplEZQyKccJC3wKSibCc
ETtlgtUnJpxTs128l6cYXxKagdYxIPFfTUASxoRI9nPHUd9xqShxOb8h87Z7zu6Ty/mWnM177VPJ
+rH410wFBYCp4kO4qfMyo756spDQF9925rgJWZMHNU6jQ7oWyRV15A4MVwLHEHzvzMwHFgkHjE3V
bnKZQDb47CnQtogoWp9ciRBe4bpkMyBHa9wuYMeVY9TptFqkz/OuI0EnG5WETWhO/h4CmILeWNlC
PWQR8F6v2dRyZyZU8p6OzXkC5dNQ7pdPRnc4rEySmuhWgLp9j2f+NKfMAfRhclSbsWK66YrAzvwQ
UCmSh9tHUzK0Dh89AA2Ews/YmeA5lps8GeIiZOKcIxXCX8A0jBk1WYTz0B+Wn3nuBEB5IZmjGXuh
kQ6jxxvnKxL1GMbRuEMXKZ5MFMePOJopx8/SQSbamTWVEEYkpxtETLyWYj2H9jdnBVUZRYIvdDdF
wUkTQo15cB2Soclk1j3Ch2hssZwZr9T7mL0u+RTQq4ypdl7OAqBza9he/GzzAe7odQvVoHflzeTN
bmE89+9C7PSpHvXowgBhia4aPViw70AJuQhmyWAndUXSnCaaXvrYIUgLtLDyZdAuSmmuYhlAFFcP
s1daDtdydE8a8WUg+aeA/fZ03RT1slF551rA7VQ+CqotggWxBtyyK9nn8UyPZ7nxJvdzxQvOAkK0
smVw1PTRmaRRcIDKwGwHNZtTy0yzN1Rf1wGVrOEIsOOUcJtA1A2mpsJwH0Yn3uYpmdf0tBgyYOpP
uIaEbvkU+L2iVnjVn2jqwd0mnTx+SVfYaqonYytoDslNgUhi8AhfdxwuL3AFP2XOYQgbNj524lOB
3OFNZESGWZicLI/A6DkCePetx9uaA5dRPMpEADuIIxmCliT45TCup03qlDgNlv6zjrUfqgZxUkiO
w9Hv6+xPvi1J/HaVb44JkXH1rpnKVPH82Hl2kTvZp7vVX2TyLuZ8xdL2Zlyqd6CbaCkFEl75KpSG
Vwd7Sgfr7U37NE7euoznKsMGEZS6TcXH/QjudM6x6f10ovn2VW/K9jRRUz+MOOW1fp/8qq5k1+7b
DkYBRHNx1k66vGyVMf6gEhmB6PiJU19s9bpDFx1sa4jsZJDArAsn9Bo2aChoj53ZjreCbqPZ9UA1
f+Df9kqnuNhge02MEvNWHreXsV4zOrg+mtnmTAjcxb60B1+fZhyOfJLJJDv76nwRBl8oC0yeEPBx
HKN68isSfz7BU+FwjIKXQkeODZyI6QpIIdycn6owE9w9ZQY1i5tvIe7jIVQ4DXGClwl03hfe6Vqv
dfmVPdvAl2ydInWqoUq7Toz02EvbLadINmf6Pt1MSSe5bpsZpqYFQkZAI767yJuJiVVDcYAl4FTJ
gxkjGsr73x+kH/y47NN/7s7Xhv5tw7YKWTsrKYcqdEJnc9xulfeG5hhCsU+68RnJ3jEx5qMzvD7M
9GfGMzIl7jsNf/EjZWHanR8YzqQn+hoW/C7SuxOwhwMq02G5ECGModeg+EMorHJCGzcT+SDNSAJB
Gcfp2kQTPMKffX7RbBYEjHixNOZOeyQzkYiIXK9P2Q6vE8b2oDN+/+2S2u90v6xV6k1bNrQSSUhl
Hs3oPPesldstXZpfxcTIRnQHCsyvmqOrjlTMtNYJoG6ES/81xB0xFcCB4Rr6AEWtU4Ri+aeOLOKp
acwFIrGqhewD86KKmCIm1DvGGqRnj7N4grv9ylwI0aI+tnKI80OvGTJ0j0YUyZjXTNkJer60TUYB
/9ZCnGBQy9C00o9IbQYlAczWcBRdR1o6irQHvFwYjDuat5Ah6WlLY5IzkNXSoES3PvCiRVD0DSQ2
UZzM8KjQYGCnAQGfp7MChEw5h/zPDQkR2uPyMdiQ8FGXC4LbZXFDGBG3B08Tdk9a/km91ENMAaem
P1kk++ixfpVZG7154Y4zcCWKA9QwknbsWUiu/tOsCpc1qyoBQggQSUB+a146TpbCHFqLr4OjJHPN
UZQR2ICiOubFmu6rCxCOlZx/M2OhcowTUm9x9Eyze9iTn0dc357/fvX69vwbgidcjf75l6xZuqBz
BCsThL+0Y69319hFfn/mtB87CbpkWJKhmfzVV6LfPi/3Sy2JBE6qJYGChyAkGU7LRr2F6bwHnwxO
jb+trWm8gLj/GMrgV5pHXj0BpBJzkFNzkA54Ipt9Nzef1CfY8rlDdqHyrO/laiC/nT+bLc9NX6mg
9yNP6yvokFj0UTVnmMMhv9XXARy3FBXP8PcfJ/9YRn/7cTdldOcL3VksY4Ri+Pc/25OnOfFHOrrS
En65Hq6T6lHqC5R2Sg2Dp68PtiX5cWJM72yPP4tuvn2Rm7H6OZUbM1Upcb2TYZHjHm4gLydDytVm
cT3EiHYhA1GqDwiBFEGebsj3ek0/soc7F+THBebb97gptc3Wk9wi5m7H5hR8RT0LVhDb4Wi7U2mH
AYPXuE/TreEur4BHKkedFXNP0P0nKUMEjhubdvf7V/rJfwwO588DeFOf1aGmou7g0tDYz14AJgBP
yNflQ7eNwDhSO8KuTHflSXXSpTb9/cN/bPh+++ybqkWMsuQiKHz2ZdYBOHstP5ljtw9YBJM7mgPt
x0OOrsky/UJszsbNe625gteaCR8VS/g27aIe6TXwmmEq9QnzfQlnR58csbxTsPI37aynOaOhjRl5
DHv6xKcO1Ja56FsI9a85VLJTIVLCrok8K7N9cZQcySNg6URCBu59joyt1YaUpfIjA9YLCXqIqyr2
sqnq75B1yY/Xk0K7Gouz7ODBDO7t5D/XWd9+8c3K4gE78iy/f+YJLPoE+fl83esvdApH+H2A+jR3
4Aw/ibN5kv5c4pu3vfaq3K9y3nY16oEdhormcpxOU9L3fCw0EN2jF45+Na1Rdu9Nu9KlEUyc4AAM
ikQHX579l4pSgoMfwR1HxtQQ21HfWZWgOf20zX/7ojerQSoUuidGKd1bifGf8OijcAsWTLXPR6VC
XLw0kNrUIw4AFXpgY8jBglN7NxWM1zDnVFxeplK3aLRJjmUonVfxA21O099GUFP1tRSPCiaLjEPf
Jd+5vFQGNgCiGWpCDie4daGxwgeR+wNu/lRtOYeqe2mCetrDyUuqQDLg7GYmNirt2n9ItsJQg4sZ
j3xhXNVr7zqiMXCeiWC7L0tOlugQiBJWp/KTWY7EjdQSnBw94fkOsZJ+as9g3OnssRdQJZQzYjyv
RyQziTKkqRJRWus4XNlm+pg8w0Y3hLCE2qDzl8k7sdifNNaKcJwh9EhG7tq/zOvYsaxV2dldZ2OK
Jg2vNpaZvnYhZQoDCiS6VyZSiwYMA0izN7ckCPUttGCEEU5I/N6qO79IwlRVxr8vJj/Pq77d1pvF
Na/FxvNNHvhur3/GT0Zm4173EJaHI6BKoAf7+rm273ZQtH7t+Kds/PbBN0toGrZx2Pg8+Mo+zh7b
cIbXOi7sTJ8X/RlhBbqmE9Bejdi066Y312GI6tu3SFO8uRhPL4pzzcfpK6AWWvwt/WhwpFX74LW0
HFdXb+mFC7ndxNiCoI8Tt6uOQ0jQ7hAt5dEgwfDFe2RknOOEEYbIcHF+009hjImx8veLLN9bR2+W
7DRvhTJUeHdo5DXWOGCKj/wCxY0663TAZeOGDghw6+aEEK1+JM8I+mwFhT2GFgYCjimBXWY7RhSW
N8GVeZFwe917w3/sOuqmriuGqKvy1/jmW1GVKL7stWeffeWTyaFMO4GGpzCQDACK5KQXyZ2r8gPS
pe9uapqi6ZoqQjP6u4pLazPmIEy/UFrHh2Ce7RLCec4DYeUttedy5u/owZL3eNQf4mfl/fdbYvxU
VEgaGiFLlHXJFG8W+rZuFNV1r8FegQcGsB5BFGQsqovLimXkArG/57yPzi7Cg5V4QjJTk9dZUcgP
sjEmh3BYOWk47CCQkb8hbrE3imfHRMXFuBSqA5JtZXxumZZeRbxUw6qa6O5b2EDLGXJithIb8hBT
bShxZs+UzyHNWkdBeFCdHuWqBSOFwResQk4IO+PguxPmSWoyiXyH0AYaOddqKlV2pOM/Gpgw1ZQV
LUdVnmbwJe8AboyflDffL9bNJtVkWqwVeg1upRloit2aqzB2UsJpq6Hh2SVZCee5TyxaOc75X8yx
vs3kWYnmnmRvJj5g95pRmDDHm3pMj5dCMRHVg6ad4vLQ+CuJEKjZedJ8VnQQzzbvr0jjr7OPhNei
KV8lZPKZ04L2Ez1eDRx/7tQmLIN9WeyidmWJY7KSStJECAGsZrHnsA0GCrOZPsyoLqaotMwSZ0Ve
jqxDKQwgdf/+MP34JEuAhSzVYHZm3qquOl/plKAKmZx5Y8kbedDd5dkVFj4hYhPl1WinGs5hYtFJ
A0Zidmr37Bbe+vdv8aVsu11RJYtetGhICN9uuxAqDUPRrHmfUmh9g24Bs/WT3tDjlRPZhZDJKhu6
LPH+Jpr7+wDh0Uxvv1wS+agdhfNuyVIvTEns+P17/R9X58/3umkQNJZXpZVkBXthUtnlW/EJFalg
OF4drRXnK3jnJK+c+xBLvPEPv3/43yuvCS5CVcE3KLql9wvbLcPBiIui1TIrXKji2DgvXbihvKCV
NdVbdfz7R0l/L6D/ftbNkuJnl8v1ohRQvogzJGtUMFHZamODU3dePRceK0fOl7izbt/IkP792JuX
M8iiS27lyNZ0WrGY0PwGnnURDgpzFbfojshFxk0SSkDqaFpH4tLviwoJ03+1bfTn9PKpGaOwO2bC
ARhv6QGyiALgCBOYFEKxCSHp4ofKphk1iqAB1MLKlbOP5XarzzpvEjMI//1K3pw8//1JN0WJKLbn
6BpTXmrlTFTGfvdhVWPxcqILnrgrw9uZJBroqEtb+eMCxaz3DPOun6nezsmnRdKbBJ8NgHgi3921
/q5b/v1uN3t5WKaNXBhauGgQdClLj5Qf0dhcLvAgFZLZxyq4rIp2tR4yDK9nv1+Zn58xuFOmpomW
Ar/r7z3zbCZ5GEutsDqnyw7hAveowQyNkJEMdwHYQhTOFD+4t8D9vVv+70drRl8VmIqMi+3vjw2v
vlwrVh4sAjq83tmwywtAE2Na98AwmncGZiRsP8trczgDSVKAI2rnY1itz2Fx7xL0z/OfZe5/34UC
xer1ayar7t/fpTA10xQtJm6+dDILohdoHeL+lVjQGFxx9XnBz8hez89C8hnQJmzvfIMvDdcv3+BL
gvytUgpKQ6tkIRNWeb1vk31XHIJsbgQLK6AZS6Av0ASTtCwYn/QKy30KLrPgpNzRf8YNhHbUDZEe
0OZOyWBotGwb056u2nIksF9anACkRoH9ozNzgECCjlFct0VgxxQVgZk7wqW0i/Loqzz7sBRMmiDo
UlODrhTShWvgj3yjWMYaj38erlwzGjOYHWCgNK3zqjmjLlUuyyoxXk1kDBjYYoDB/dHeYMrG29Tg
5FOuSwURuUFymEtffmfF/rS1EEiHC4G+PAqz2Ec7ez5kFfJzWthtwmg8PSHQK6yplekjLZpGIKtR
P7c+8VFVNkmkVyF+VavTnVfix+eh5wJprO/0Am/WvxIVnpuhaFqE5azKh7B1gmbGqCFXoICNLTCP
F54Qc+v1HXjrPdHuvBx/H4z/9zx++/yb51H0vfBaRGwxV2EG8EIgbiYzj8bZBnQSVeooTu9QpuUf
l6Bvn3izBOV1WWs0oNyVRpBEnRE4OvOwC4vuKosfmP2V9aoau+eKtNdt6O7ry9KX5x1whPCR/1ry
6KBnkb3jJTr8fi/uXAq1/+LfXgw3UtVM6cJ4IVG7VmMh2bpxMjObcZYvYykeV9U9+EL/U/95Ff9c
ii+b07dPvFp52hR1x8KEm6qK7NKXJ1W2VegO0iXP97//vh+riW+fdvOoiR5vvqSUjAOyk4vg3y9W
3OckwU8R33mqvlbyf38ZBxNabzpqrP5af/tlSXiuskiDGapmJyqX3Dz6BoyZvHDU7mhYIIkCXIDB
WNNnseWdKoAJHkKVsv48U3eYAIsuETEqSKML9wpy2mIAcbp2Hdwo4HKMU/WtJmzi4jkhrpDJMGi5
eFqVTC56Wlp2hDIWVNtSAbTOi9/v+OqlHtT6c1nMAsQJLVO1PMOvgmwxFD7YdLP2gxN4TpJyvg3A
jv0/zs6ruW0kXcO/CFXI4ZZRpEhJtCXZ1g1KtiXknPHrz9PaszUixEOc3ama8XhcowYaHb7wBk0D
zvVe2yslogaoI6mKrWuKAnjm5EsjWCeqtbGs9M6AYUK/J/JeurC/lcJ2L4KVPkBtWtmP1Puuf8RL
S0ZROCgAbtu6/kGX/jSxWdrUdSRbnBeHukboeu+FqyA9CIfw2a+onWdO/zocPg1mTXJc1mc0ZEo6
PD7/PG42O5Tttt5iVy0Xj/3NtzcPZ7DV9rBYotSeojO9jN9uTjNF3I/+23QhKSr3pOmglgkq+Xwh
mX6Sj3WphQcb0VkNVOEAXzU2/G3/wz3KjbWsEejz4mxtdntHe8zBZSPz6zvexvJQcnq19X1mAYoc
TDy2KLuVcJIGesldOtxF+lPtH8302DbBQQlOyZCvDQ1JneDOrPcqKuJJayAaQAdZlpbN2Gyi/sVH
aOn6J52Ubf93mvmgvCd4KdWcnMEu/xEOoB0eHO/VU1HKXLPKC6zQPZBc1d3ogQdNTpH66rD8ro89
UQn599gm6rq2TXd0mmL4sWykSjlA9oWHpQ34ZrH/xhogq3RsQmtr1XsDjoLf+rugAAHpWrfIlsHx
HZa2ka40a2+1D0WNWENy1AtlnRsGglFIPTJNpohz9dOgCbjqMcdpQ5Vf5M6/iUiUmWHdQXDJGVbt
kK1pOo7N77F6K31zE1AG6DN5p9JCtxHKd/JdX7yjBLDKo5kL2L64xrV/JmASk/ZlNA6DT0BWa812
WGs+kFoXCwfL3pT8qqKg4Uk/W/SJOAC2eYJsnmc+K8MdCYiqnprSoLxIyoyzSSOXK6/F6qZrHwfZ
RJA23zsyyxPpjUjP7xW921jjvdO8Iz9VFoBuK/lHyrFCguVIkHcKVpoFQYSf0/VIPLWsWBXvhJAe
SQpnwFM8YhNk5vEibgP08SiupPWy9ZRFNqCwOb5U5lHS2gftoarvejdet7q39v37vAVqI+HWk28N
6U3C+ynsg50l9ZuY4SVcQ1IvOxaAkLIsRjzA3o704ov6IbFgKnh/8mCPSBTymW9OYm+vL8H/Y/k7
Noq+lNMggJ1v8Sa1uj5ww1Dcux5lUsIgrz/pPCRFqLZ9YjV5xbprnsvAXl0fe9Ku/Pfy/2fsyZ3o
eKVmN6CGDzkkG5a8Bkcb3UTSzwfQrO6vksY913+FEknyPkTVltjcKl+6W11FU48TVySS8rGR94WO
DPbD9ce7dGMLZ4p/z8wkcZGiKAmoQkWHSjup9Yve7VWMCuyHPn29PtAE3f6/86CblgEXSCU/mwRl
kZzkltdH4aGs9k0LnrFERWJPNKqk0I3ZyxkXZSyn4EX3HUrZDVpAtPavP8XHYfPlsP/0FJOoQRv7
MWmcIER92rpVInQyQMB69ipEgaAv9YMJ+sbQgwcjPVrIDo4vXfrNCF9VKu8GZYFieOLZXWJm33nK
ca31Bkgktr1rfARU+Vh59iNHIV13+ls5eMhE9VJ/YJHF5RuF9Kj/1uX7znrLu2MaoRSitxvmW8Ep
LsA6QsxC4DxxOUhAb4eDyTUfKOk2a6Lv7m+XdDYeqUR1yr6CQ5J05olhN9UIih6OgGX1K/Hvkvmc
AS8qhye1fRfXC/caqod4IqnUYBu87ojKvG8mFSWQi0m8L1iBJrIa2PKUKNum0VqmqHF94i8lyBz+
//7605SwzOwmKPM8PtTBK+SmVt9Wxptpna6PMuk7f1lk5uQuVxE/H/rOl+4iMn4pgCrg5IcWx2yD
xGfcBghCYOKjwFvM3rR424vkNFhl7V4N77t+Jg/5wLh+WWyGjAy3ZZncfZPF5mROppSpSvBdPMcQ
3cr6lCenHpULGfKW5bicwWgZYm1kALtxJFLW/mDJ4HKtk6EMq1E/Vh5yIhAkXYqyBGtLnQxKq5DK
DfVNiXBGHUAPoQeIx5wKzp7OfoiihmY916TKtY+ILqLIDYKN1yf64rHBeWzqlsrFrk0SmVSPWjd0
c8hx6Z3YCcWe+r6DdfXYzjSAL39SWzfQEVcMxfoQEvwUjpqNCq/V6HyRwcTlqeuR7sv3ZfZDrl/s
5tgNNH+DEv7uMbD2JUhi0oWFrvHWKncld+P1N/9Il798VEe3TWThTZMld36XtHE+NmErRfiGoHgF
SaXIu01DMcFS34F4tjgFa3Dw9OF5DFF0Su6CdERvYT/w1eKGK9uvlqqRb4vwdxfqKyuNtkECk4E7
OthXQk04cFb++CT+y6A7+6IJN7WGVaq5UlsV+t+cXPvFmhklK8UErW1TIJ/cAWHe+GlqtsHBG5E7
p1RHFLgPAMM5Hg4f204BvVHPTOPFz4o4vE40ajmW8uEU9emzqlnQeYZURgcYKqEHKja/S4Ntm5Tr
0jIewsBZGEyAa5P+wJfs9EVPNjTqnFaEMB4htBk3M2HCx36cftrPzzQJE9TWrlRFbaODWTvwAN2H
VDfvBatNbTcBtOTSgOWAl08TocXO2lNN7w6aO6LXIY8NfakMXnANQ8gmxG8NwEIETy7y4app9IW6
fYy9RCU/m6mAZDuvLsXXAP5SCCI5btDs5BrgbPZt6nb6zpdfDB/wafTsSHhoJC96Y+2Sodn4+oPa
Q3JAjLTA8EYf576NKkKSa/MwCVkaZ2Rrh3wbQnO4ORXYDm4OJT50ZDHikpKShJIXcbm7NMxg28Xg
A7tTR6e5lpyVQnGh3Dc1/fw7488Y/Mb/zEYp6/pGvJSmquxlw6Tmimjf5CGDsswaOa79QwSXSSXR
ztiP6xujwXnYn9UNuDiaoSFMhukQrZpJ9EJ0P8oElsFBq7HzKQSd/qceg3GAjGGKnaqhVKSjBfeY
0dfSUjTKY/1JMhzO5F9SKe39RNlKIbhuqu4ZeUrf11jubnwOqKp5GdLXNn7X1FNi9gsXxJDUvLty
AZQZXmqyV7i1Vd/Y1liFtVz5Bj3NkqIu3z/ANeY0hi6aScqyqp2dPkarkxQ2+xELraBEdTgGlpe2
6yrTjlZz9OTkRlaf9OjdNvWbOpir/l7e2Z+manLrGXLv20GehAeNenOeG7tCYHBx0YB/rIGwBhHP
b3chWpbRLgYL5ijmLiLUGeKn2Vr0pYtK/edhpj2/ziwKdXRIfIlzuKWqqFhTyNDR3LbbWQk7cet9
2TeGackWaqc07sXDfD7TIl/RW3+MDmOhblUPuTYVNKmvnzqEr5tu20Z7SyqgqbAEKjiSTTdzLV8M
stVPTzBZpoNbe/4QcJRbSDpl2V3f7Ht3xd1sWqIh9G2UjwlNT++kUn8n30mzuTBfXH9f5oApoICE
HQ3Wd+dzELh26IZjFh1sZc82kUisPU5IQ9vaXN45lBrIMXSf3Pnpvzi0JeuGYpsCOTEJSlyv7UrJ
BNXi4O8gA6TeUkSjwchtVrR7SVoUhQI+ea4SeSm0VT8NO7k1uizPCknVw0OVvVOEMIO12MBpd7p+
3tGYvTS1nwaanHj+GDg9vavg3pW9lZs/u7m1TOC65bgS9J0CBZGkIN3ajb0PkKNOBnp8BhywCk53
8rfnKAl0ZUstUtO/F2hOpr2ByDHaHtDWaVO0EtSHFlU2NwKSjJzwWnMFTAxeR6uvC1opjY0XB80M
nfvaFzecCVy4Q90dJ3boDgOWPJRBM/Tbk/5vk+5zxCuk8LcHwFjSnCe/7reWq2wSK9nzZUrnl9uL
Orh+aJtnq38hWFi0mMUGYBv8xsBEA1cYTTtEWbJr3AEAfLUOwaIM2FoajnHn4jlVyD9raxO0yU3i
x1vNxL3SrdZjIUQL8etRzYchMLaj/cNDdb4FjFwQcylI4+nFzrKiTYilm1tJK6doloF624PLjoNf
A+pWcEkb43erwnHBOFo98s/G/TM093X1XfXvOtpUFUZE0Kg6vNpNyiYFwrx95CxtFbdXOlmh06zL
EeiFBkQIBWnJxdwA1XM5hFaabj3Pf8vGBOMX8zEz82MW68uuQ0kGm1hf+9Yhw5llxA9MqR2jdUQK
Q+UaFI2yUgf51kuRyS6XqvTbQLpYnamKXg4KPy22SVA4lnKbaAFVUbpG0JxaQTiqoZ4cw/xdpZTm
dKciqWfu9ItbyQbz5IBEMGngnh8eSsmSJkkMDoNKKPxAGkTkq1CjvL6VLl3mGg0x4l3dUsA/nA9T
O11fDawRtALhXyC43G5dagCU+9F3W4/h8/XhLpafdPxObeB8pmV9SJd9uhe6tK+k3s2Dg4/ZJDl3
ThuQY9j0b+kEaAFy7j2c5h+x+57k0ub64Jr4UNMDWSd5Mmzd0nVIs+cv2xsYTPiKeNns3VZfqjZ7
4H0z5ZRUz6aebCSaqPJGMoVt5KZFb1b6JYohnGQl5T/nSYYJZVv51gbiSOVCG/A+syCllvKa43ww
0DN5TmX9aA9vSKHE4wP1A0cADeauFvXSm9iGomiKrjkggidv4lWek/VOHB8YvjF/xXq/MOn8gkQ2
Bxqp92N1ygrg1U278ehxS0qLxkCwENtPBXDQ1n8t8ohChXczPLUK4NXk0Rpeh/Y5aeb9Ny5M++eH
nVxGhqxlrmYQBQHRGA0SdwQjbPe5vHN/KAiHUVLdutkCYFbxmNHRdoAmXP/wF1cdZTbhzkKW+gU+
6A5hbZkmNzFFR4NuhSK/Ngb6ql2L95u1ahWoeMZL5xi3RQYLV/Pm8oiL0cjnJ5h8sCF3VJV6W3hI
0VDrbdAHjb9JnOQ+IIcwc5B6FCiCysbZOVvL1SkFVqjzVXP/fWYuLi0dB9wm0C/b0OnynG+CwfCs
uOlL+44jv9IeM2tjAnEGXR3oYJaJprXx3rQppf1pxrcCnm2NkfmsrvYlAJSAwPE9ZNwpPxb4p3Og
jzzHBpIQirxK9fctIVDD4dagLc61TbXdB3YbSzNp7cXP8HlYcep+GtYKtSAEXesLjBdgkCrdx/We
wkRGHSwCR1tSTQKT4z+H6IoESGxSnbw+/xe3LiuQs4/qL59gshK6QUrHXgqCg8gFYNDCuBMhigXT
uLdPrEyURIzS38XDb2rhMt0OmWqWRNrspM9iSdTCz5yqZgzPWs4hRqKvWRHjlfG3qptZLR9t+OmR
SUmc+hYGdnjoTFaLpxKclqofHtBysrR3y38agdoq/G0BgkfYJ1JeFBTNafbm4CVNSnux+t22vRVe
gvuqTb6bA5YbKGjQ15Ktp5gulYP3UBm+uvqPEfrnYH3zcf1Nbc4j04dHjFdFbd4EPq2q8C10tC3b
oVHJp9tiG7JL9LjagCOTpTmu2MWLnpoPIvOaLoMBnFz0UqdqpVHZCN/l70W6d51gp5GUysFvFiWd
ACnXtiEsxesrAleqCwekwyxbNue5QdR+viqbKErTqs9iyrOwgFR2IwsxB6WmgVvr8EFtNeYbM+jR
v5P48lK7j/kdmXBufYus8E0ZqJjnOJmhuBEXxpOFO5uA7iFyFYfyIcnkg/hxDa0rPhRVSl/1N1I3
UIZdd9ZPo7FvPNenBffdp+1XRe1N0ch7SYO9iLRpaL+MnAggGOzBP8iVdO/h+zu+i949df7EEt1/
feCnpaBp+ZWFmvvacQig8Rb3hWJtY+yCIvTq23RclAW6qFT8pX5vF9sSqkW1drDEJiVtN2b5XfJP
0rgrDl4e71wabSO0j8Y0txBnt0qbrAZ8r+IKBkCOdW6IMyGsVz9PjgVv1xC8k+NE7ruoJvS02Hx0
0yqfl3CXYXTsiKV190UVru8lzS+WkwBnxP03V3ujv1EN8SoK78YE8Z/kvcD0xSfeHJnpKjNv9O9W
gHW8WoDMdjeij8j/a1K7NtH5yHKM1wxSzQCGiGQ9eL29Bwu3yoq9HnUrvz8GBgr8ifIaoaNkyeNK
fEMlhgtuvIGHUNnaS46bCla0V7s3uosFaNkhmiM9EJylGk2Kcm2UA0KUKo6O4ANMdGap74iuYklT
2I0ovdkPbfptZoFePKw/rc/JqYmLiDRYXRaIADhXslWeWpuqOxJYmJ61MfJ3ia1P4HZ9WHG0TI4e
Q5YdMlgkM2jXT3ZFFVHvrrzcvktpnMYvpEkKliU0iPNfurvJZoXuLg2nmHCzFVsjPp2cyyixNZEj
pfYdsMgu+U7qw1i5+ovssAxnWo0TFuxHc8aQERwFhqApVMwmx2rij7nj2ol0F+D6UzzCTR7IGjsn
pbb4A+BVOm59NBDkSp0JhVTxrb7M6j8jT5kUrquNzei4JDNB/BY19SZHrcgLn+OCdJVWQpPK74QH
dynC44mbYkwlShVKrOytAL9R0ajxSxKDX1qH2739mHT9uvSyuwqaa+y89bRcdPL+60vhQpbyebqm
d2avsE1GDYFOFTU6unWut3dx2hTtUQRu7efroykXV55q0tOAqq8QL5yfx30UFJ3ilNKdKcRpOW4q
UEhOQLMa8aASkaC6eSAvtvwSheo710SuFeUSz1i7EkK7KjEE9l6AmATI9vqjTYD7/1o4CvkgCaFO
RWn6aHY1akppqLRcNEDaGbVQU9+LFlpU6h8oEnAzcrZGAwKHGe2mRz8zIz6Q2mfxtP27RrlPRL99
vkZHQc/jlaq5a8cvkFFMf+bZsBGVjQJ5NdFzv/7wYtqmS0/RVKAvGEwr2jT3y5PRK1zLDw6p/h7p
p6w7kVOJ096bQd1OmGr/miVVMxx2s+yopHznH1CWJLvUJaHq5b2W3bYZ82WWgHmpoOxl+8HuVxR7
BgMyQfUi9dmSS/H6q17KOAzMhpH7pCWIsdek+qiU1tiHKV3B3HfB1qIR0OC0iYdPBXhuqyfVVh4x
yuYGqOy/RvLt+vCX9svn0SfHy+DQKy2V7KNiYY4xEeRxRB+N1wwRjaCRdX24S2E11CwqvQYFV43z
+ny+NTOSgmgsUfzqaNM7LCrqYNRIdKCFCmeYT7PPZsP6WrKXzd2gd9ueytVsm/lSBAfaXTY0GTgT
9YXJi6upbUoYf/qHAfFuG+k456Xs3tUan6qtiR5DRgwyztqmXJruT6NO+7L0uroobhv3rlQPYBFH
936VGyAPtl52OKjVz1I6iIKeODKGtSgzem+ilOUNv2e+w4WLmtdn0XE02Cz9yesHVTJU7Vh8gGo9
MhgBcE6+dXj5Kkf3j/RLCudqY2InTfc0yYwu0/smap6i6aqcPrs/4qaHq+Ji1N4JXOMKfyETotte
MY6Q3hz0cQgOamqqM697oQoszF2hUekE1fZH8+5TNjc0cW+OapYfPHwlBVxPGRTKoU+QV0zWOSDF
wIBqpqMoRLDXB4icd6dBfp15DBGIfJkDThlbpZLG0ptcF4EsWS5RcXQw0DN2XvMS308HJVMHXaUP
fIdIeihyeWAokXZOCRJhFc1XxS+kEQLSpYPnNhwVZtf5LiT4r6Oqb8LDv7odwLyBUxMNhyltSRxr
kPen2YUw5sz7X1wDn8YVf/7pM5C+5CxKj4pC/5AoO806yj4SKMfqF7CDMr5x65sKmblmJm+6dJ0Y
3CKOTOWbRT+Z9jFToq70RukW6JJeYKtyBLJVBv+Pw1y+FDQZAlkNXguQ9Zebq1K6YHB1hGnX2eLx
Nl6+6He35erv/eO9vYy3yu7nClWnhf+dXH7hb3AjXOFGvvQ3zoIS58Letb+VBA2KYImLz7JcP1ar
RYxY9523+vUrXTbrU7+8s9erhwO23otnafMeL9bfzTViVjcHd3lrL9cHHJYX37UdWq9LWKSr92Zx
s8UqGk5NujgdNtDbt3tvsx5u3OXd++n6J750wJnk/ySnoIO1D8L/py8cliYJwICiY+69cqpS/wc+
ZNvIakjoMf43wTEkPM1WRMGOFuL5eiqjvk4TfYwFa6dr40WWb8HjDR4c8wKWpPMEngvAGfDxaGZJ
Xbo/MGeElinQkTTuJhfZKHvFGFZBfEgR8aVErJMJ9LFg7GblES1+H+iJ7xszdMxLfWKRcSiWSVgk
61NIWGwAeWsaSfCU8rVHagOcmrObNJZeECAUAScIrRNN0391Dl39mFkvwGMXlfb0H3/qs0eZHCJ1
0YfV0JDng4sDoMZRyine0kDi3iYRuD7YhS1sGaqu4ccLrEmfdonrqLZNO6UW5tMfd91kKWm43dsI
YB2TOY/fC0H92ViTiMzyjax0Exk8HBgFhOlweMmfxBpOgEWvG+3m+qtNqKwfMSg1ZZE+CDthWg7n
q7jiWiQhp85q5OgR6MceWbz8oZD+ptG9gkhgWH6P2u9h8CNWbjT7VoHRmoQ3anVXDH/K/yaFJ+xW
AY2BABAokfOn0evCHoY4ikUKH8TbrJWXsRLgF/xEW0k2jjHRmYUw0vVJ+MCCTK5GWyEyhGKMgZAz
BbzLldanlg0ZsBYwzupnKIffmrw6dngCQlZJw9sCf782vhsQAHTd9IYCDFq32Je9EyaDWjdS+eD5
2kHtT0NS3wvETZiuQ4DxOiZqlYraWfNkkKooASHHe9+BMpClTdehAO9We7stkXozj02N5sj79Ze7
cCgCZASyRREdNN7HAvh0KErs06LLXf+QNb9dA3rKCYwsimA9vPr/PP9lKC4gWdMdmb1y/vVCv+qk
KlD9A1B9N7tDNQUmzqIrTgBiGnvmsL+UuxCtkVyyLQnqPrQQP72YJ/mpHRSadecmtyXuMXga5ZhJ
7ogjdUC8KBhly0xd/zcXum2rFEIdppVARtzCn8ZNTV8tXJkuDX0iACoU5WIS/BxS2LfrX+7jJ02X
JaQeRqH1qQFQOR/J0Wq3RjorPYAmL1uE3IdwRy8gaV60EaNgr4cHuNITDHX65zz4KWdASpN2m0iY
W6bNTBh74RCk9KuD3iK60OUpTzcpa7Li0kgOtbXlzYtxWwV3BGuYqc+89tf0QJxHxIgqO0Ll1c9f
e7DMrFcoiD52y/tw5W/axY9yiYTyXED4NS4X4wBEIwehgjLtXedNG6d5bmaP0ELxbV8c3W24wtHj
1x9rW+0wMPHmzpnLb/bPiJMNkpdaYTu1ER0KiQhq8NcOlmI2cvx5B3rS+Ns37dLRXyT9tjTQnYzd
RYSEHi0Jyfpua9VCbzCzvM8QzDOWWr5Nw7+YE7j6fW1vo+e+WhFiVuqDFPyZ+SJzMyVSi09L3pck
5ioWX2StPjfbYuuu9EW2owtwguLlbbSZtXZh5dN4F8tMpwVu04U/H9BKRkmpQKMdQloGaX83ElmM
QbUsCW+MVbYHnw+nKK5+V/Ert+U6JLNqfawY5taiSArOt+D5g0zWYjiMrRZnSKnn2l/JvXf1kydo
wu67O+w76X4w1o2DDn68joztzKSLIG4yNDUoWbEs4kt2wiTEMQIl91uD6ogeCvBNEoM/RaSl7bVd
TqYmtQaKZEdZSVdyV2BimeOHpc6EBxOdHxEemDwEqBJo6Qqa0ZNUvZc8Wxm7LjkUytFQF0mPYhUJ
DWIK2XfLeVILIC5D+KiNb6b01oXBtqBj4In0UZHwPI8RxIol5Ml/9N6GxkeBR0egjesM/SM0y9fd
qGycDJEw09lcn76vxxUPbuiCDmkSrH682KclCyAh8AYlpQLpvSrqk5AUSLc55k/NzD309X5lIOsD
z8rBiBn1+VIdrRAHCLKOA3h/CSfHdpsmJ9BMXUJNZ2Y5Xnypf8aaIkNkqwmL3EPT3kQhBtnH8LlO
1oO/NbOZiPdCafLsrRyxLz5NX+T1MO9jLXvMd8Viay7LHeXkBbYJj+E63z5f/1ZfY14GowqKLjz1
MH1KeS76pAhC4upD0Lyyw8lk2N+64y4Op6GeSdsujIWPDYeKjtgCOdRkV8WpkrhxW6Sio0/WgGR7
3W1DlC1U/c0wflm0yq6/3IWqo0m3liKfCvSZZG1ylnWl7tPJQM0LAKAmPZUKrSIdF4iyX/Q3SfPY
7RqEVAY4u03ZHDz5T12mc+epeKvzs8TiNIXDJcs6AjLTlnGU5CDEZdopqBm1OH6hLqE9IVtoeohB
rfBUUN2V8p93xhiU9jTlZdE7mhbdxljtpSzPRcFp73gv3vAo0cQp7Oe2es3NVcY5MDPVX0/r8xEn
6YNvS6PWa3l5cPJHP68QTAoXVvuH8xGXpBtd5jc7W82WdHWb3fWxv25NcGmWJlNZFtDS6Rp21SZp
AK9BeoHGOj6B4YXPCWFptmsgbpzJp2Qg5pNhZBsmxvnOdFrfgaSUpYcs3vd0CpKGovm+hBr6n78Q
mpyaCd+DXuO0SJtqTQfMGygQGBRq5FB5KS8A9RiwlL4+0gcM7PyVuGLQMnJER5OukbgJPx02hTuM
epQCLFC5R8ebXFva8YoCqenmqGCFiBIccb2tkC/MhDT7HeF9GpzIw0dlW4VPxd8CI4k4mllNXw92
noWSneNwWqAUOtm3macOsZpawCzIxI1cBu/0Bge76axVEXd4tG9npuHr6rU5AAHKwTvjuv84kz9N
gyIPSZUnlXoIuxRrjJTKcLLONW2fINocO/ovFYOC1MG30Bh2Iaz3tlvp5b7VYQGqqHKkEX6YpoZi
/tFNjZU3tit0GPaVlM086YXbgSdlVqhUGNDJplOTUM4OnAJ4ZOkLMBLIw6IEBlId4egGVDeF3rz8
Arw3oqOS6DO34IU6lBgeFIpCKZu6+mQLJFqRt0lDBRmkQVJWtz49KmjXofmmeM9u9cJCFTiJ5KXS
/aVeHf3eArBDywcRn7kr+UKP/PxhJmdOLoVp78AJO5hVvGwH89a3/qZmtFKBrWfam9I/NfiRIbJ0
axRzh87Xy+x8bPHnn1ZMk/iJ3Ye0WTnW+Q6ihVqiXYEVWIx2/RPh4fUleqFahJoiinD0rQhNdXOy
U/My1wE7wJewqEhJEqodT8MTPkAKugipfhz7t8bahuNxRKWGrErGn+Z7gbYjBPMcPfiZp/l6q50/
zSSdsuEF24kKVcRCVrxYRup2NHdBfgjIjryfcbyqo/WsHeuFugNOrAA9BEdUsag+nE96gRdpEVRN
evA70PuB85qhONSCS5D8n0qECXq4rkPvRoBuorrZzDZyJr7JIia3TY5Kih7oQiA1OQlh5KxLFejp
yX3ulm/5KG2qdgWq3kRC28KzepSbuyCBnONQPIOcFDfOKmog1lIv0LO7ApPLzjzQQteGe83B1BZX
ssGvTjVOCJCYiDG5o9un0ftZdSFAgWghF9mN2WQ3eQEhEr00A4Nc+4dd7DXJP8Yheiz9bSUDDEnC
pQY/li7TTitf3eY9Rt3egnCg2cPM9XShZgdbRab8Tusc6s700giLwh0RVuDjZ+3BEoq1lbZyMEwa
x/QG7EDYFfsQlFfhv8e0UwECmVWFyfeexb2ybXTGwgUMn9yE50I7GPyVWzyGIaVr3GItPFcp+dEE
DQflhhJHKXRhPGtRIgkwygDABIIweKYxX/DiTTsnwHgBQXH+epO1HamN1dLiCA6N8mLi5qxK7SHU
o1WVu+iCy2sBAftgw+N84Qei8xC0xjfXzVCXZS8qwQ2SrK4TIyVXbcR14IeJ4LFTX4wiHy0utmfs
rl1j1/XFXo3n6OMXjiY+D6cEGZFj2MYkcTbMcZD90QxF4uh7T8jyZR4VowV6Ogj4lMjDXj8MPpr3
kyBCMJsJJEQkYUzti/ww7FTJjYEu93depqz9sV5LEOxjjJCdXF17wQn9LJGa2sGzqeAxyydscE3v
Bwh98WvaNxtKlRrmPzFbYHCS7WCoN5JszWSmlw4QognyAQAAxBdT0EUTeo1Z10V+iL1vnbRWZQCp
+MYWJYrJzX2CwgBlNS8LaYrH/w9uw4W4BkCzLDgbtKQJ8M7PL4Jyz9ElPE/M42p1rJab3SJfb9v1
erm8Oa1mvsrXihfSdfxF54RiLW3w88FqOhkNjff0IEmkPCYmzaO88uV3PGWVGMVZmmXDNjRexrFc
hoa3SUekRyDADyAgZVTmQv/YFs9yegrnwi0RJEzWy9mTiWjs092pWVVvKVmH4HcH63NHD1oUM4P1
2J9m5uDCVrAp4xCvU4CnUD2ZcNipVd4HFWoyfbHTKIs4HCTpiMQDJg2q6n6jjkGpBNCPiplsi8xm
Bgcs0I7xiKTFqpV/kw7T7FpaaXdsfXsZgBowiGniuhcRuZgvH810qTvW/jPg8d31F7iwYDhkHRrK
4ukpuZ/PVCsNkWdWRXw/yCekezCjHOWTgIiY23nIoYggvnyWT4NNou4+9WXfF7IT5ALwXQp1WI+K
u8jtvYAUpwDwkd9QmSQ/StY16PshL2auFvE9rj3C5Ht1Ui2PcU93NXcRN9ToYCQvefmEXdHMmXUB
wScSC2oeIsWg7zV52dwrPcdTlQ96AZoJCxumVgVJDHJ98J6OxwwWN8GshKB86GzTqF8AJIQIumrN
p47cL1LalbiJrn/vS/E1DwRx3hEJIGL+5x9cy4LMLmxC2tT7VowvbvnNpeBIEujTwQpNb5OZIJYF
XiU4VtnJrPqVx5/ATZl5ELEHJ1/i7EEmgb7TSYBduy46eKm96fV4nTfJjZR0K6XYWpGxDx1516be
hmtbSCfZwKyvP8GFQ4KiiSoLCoTItsVq/XRIqEbcy4EOPgow+tjswQKaBL5I/uizFbe5oSa7LMqD
qOslFTlK80mEb5Wh7WSSGoGRr458hhE6jpuR5+kAAgEKuSiWZei7u3l/a2FU3yvDzNtfuqnOXn+y
PuPcKdswYn3a4xHdIaQvjpyTQnwyeQmUN5D1ZFcpYgfyHFppbjYmS9CTaNzQgQWYCCGATivMNpjQ
rLfZesoFMAWm1p++8WSRhUoqgyjhJZH8IFiBvFCXSF2tg/yE+C0SH0KN6/qyupRAY6SNKAG8IgXm
62RdGZFhaZbL62mevGydXYf7Lll0Ur2QvzGtnvVXl/9a0gPIlb54mhn9woF+NvpkqRmaQ3W+RF8U
ajCmI9KiQaUg1J9EgKxCtzDCPe0elEXKRdzjHPEyYn7Xx+8mSgqpIa37cVzB0Z87dsRLn+92msZU
t4G0EBgp07RecbpBR8cxQSJ+WUPIZp1Lv91uSUqJslzYr2x/XX1v9Nfs98yEzI08yeH9ujXzpLPT
g1cd+vRJ0UfIrBAiuW0oZ5gAAiSUG54QUlNql0R3TnHvQgXMEVBpLlhDI7ucds6TTjVLw20+EvnI
FL6X6I3dSo/4XirtXWev/J/yLywW4B8qt8QpRbWtnI0LzKjeVXNgya8xm3gYHgLWF61nY5LgosXh
2ClZ7qHAmRGH4yR647y1vfawAIIxFkcreJ75AF+3+9mQU2RRONoDZCJ0XNiDHh5iqnyjZC82OY4K
egir4E7H0SCHYPbAWa/L/bpquYI8PEeN1WDMlTkurYdPMzDNsGvfzULXg/aH+lzOSuw7D7+aE104
Gv5a8XECOr9tn02BSke5vT4bFyfDZua5fYFHq+L7fLp0rD4Zet0qM4os2956o5Q8NGubHFade9EL
I1FMwCuCzgQ1xynAoEnRuEI3k/Nd2RtcMtGWPhnLSyh9X3+nC6GOQ/+Qbr6MbCc6TJMt5pLK6kqC
kK4BFV3Tu6WBw06JyHa/4OSp072NwlJCXNFY7Hw/EILXcvzUUMGjbCeNWwkoXRLNpakXOs2OQqQj
hC/AQNGDOp9sSjmdUirWBxa5tp+4AKw4X2oSuLruNTP6JWEPmM2W/MQKnWUK8Uwd36zYO81i2i7c
CufPMpkj7LlssnUZ4neB23OzjcL0JrIL5GowsQzjVQZhm6qWiAErE/fUrdnPEe3FjT45g8+mY7L3
EdwPw8TpowNoRq56sov5zX7hfPk8xkdF9dP6rmKIzKrS4bEh7zuK1zJo+/bIyisKAxKcqEm0wWwb
Tv5aLXTAeAmOlgCAf0HTFDkH75gCvvgfzs6rKW5vX9Nf5dS5V41ymDozF4odgSbZcKMCDMpZrfTp
5xF7X/zduEztKWzAbWhpSUtr/cIbJvlRNovdWsKcJcmrNuKQOC0JpxljPYi5+FIF6vBcTbNfyGmw
FII3Ys4olfFTr1h+ZYluP/4sZ3nbLz9S+bxRu24/43xvRbf8yXHlzgFWy3jdQMLzU2kJKOS5IamM
FDUnoQk0Wm+UjZCQcusix/ucwu0sL6clsxzJpOkx4yEc5VttrH1tObVztjExCwUHggniNDzMgmFD
ELUrAYbrGcn1lQOMa4KtS+gCIraK1ZMV6TxDE1a7J5QfjEZ0RKTYe4x3CypHjMlUjxRz79v8qrkW
xrM3YkYSt6WParFASlxi5gjn8T1JZoi0R1beCJjDKAJrK3F0Kp8SUXLFrgzYIbX6fa6VvcmTMyCw
nvZ+YurUoXVEmtvvVpI19LuYojKrFYmozCNrGBdBqTApZkxvMVmr//lkuB1+Pm3vTHimotaFQDhR
4gJJm+Jd1u8i8wN0H56RKBuxh/x9VfvqVEHOBkdaX9Xu6HBeTuV0bqZM79GmD5US4y4Ff5iHuHzQ
ppshxVG3r/wY88xR4/aO18bw0USTWxM+TwdQtMuqz6CEZDHqlVAV6NDcao3smu1gCz0TwKKKrsQ/
u0LYYhlXMkzMnRLraTEOeZzsqb6h8sr9UZzmO+L7l42BcUkmPTmNEreByNzvq2JutJlJiag4sAqt
2n2RTc9tqZzku7Tny83kQDJPJPpLEgSkS1nCKRVVAaBLcWitHc2kpbxPMxAmuff3G/UJGPpt0qzH
WcEsBlj8tSP9+4CGcaynqFKKQzELttJuqv6xyWwN99NuM3AfVIG4u7mqz/szrmhZhq3fnaV5anxl
1KCsnaI+6mfHDLF1u0IELp62UXarSVsUfnHu6TJPG2zpx9nyhIebJHLN/ctS4zbsmM0xn2/F6h7v
q1rx53IndHTlduci6DXPuJMEvylQtfdTE+E4d6I41LgVC3y2Oe/0IyB6TEf7awxB/35BPu/g5QVR
uepEnbhugAC+uCCFak5Sr8wnoCThrrla1ebLwNho13F2Oyk4DpxkdEyTo1oFAmVvW1I3gxtiqgDw
r8AKyesyVx+OquZYzX6VpJj3HQwKDFthcMeBadiyu1B6RY17uS4SV37dNYeyewwtO/slgmY2nCFD
1MdT5U04u9Nyg58Rq5iE4SIQI3cZvO98Jr8GIcyClf8l6asWpHTJKpWiqBjPgzidzBiZIz9/YpUK
BTQhbdIM7FGt08qaXPDKJfNhzh8005t/oBH594v/p6cLKAZy0chRwtS4iDnCtmnLoYH3twrP0+Nm
91OjRwAoRfSdNPxX9AlDpn4ImFrHwNO4JO3XMnuK1Q3lfedVV8fGxtvlGvKJ/4SMuDtufv19ZMCr
mDeX8wpVdprCoiry5aLgG3ZDnA/6nB9mB0fhx8UVvWTTH8IAC2B/9HjNo759yLfrx+Ivfnuot8VV
u9V3c4M3NNZOvvAmepgsb1RvvB0Hd7V5tzEi5zX1Q/RQAnnMNrLX3eoO/UW4Ku+F8y44AAX9YtcF
SFVttE2xq3bFJn+rFXva4nO8b5/gohs+nywfPZUNSv3+gnCrr3r0jXzFLbyC7zpHd3BOc/FXvOJU
0dTS7MwebRe4pYNaTqA9jSg52av0cTDu+XeKuRn/6jY6oUTlYaDrVV4c1O7knz2MHF3dUZ3Fp579
bDotr9ayvV6OaLO4s0dM4AMteJQ91VnPIYGa094lHuYovrK3XrPd+lXZ4IW8MX50z8qmA3+pMD5l
X1+jf/+v4Z6Dah0wL57Xl1rUYTbL+qn0+9iWNhhXxra2z3bSJuOHtA1i8rvaN/bd53uNQcNVK13W
RLmxsUNCAuBd28Rvw93IBVU20j73sS3dFJv18/yu7VFFKtFpCNaPtrZrP3/rb9QHyx+fLa7pGHTP
2Y6c4lgdo111FK7CrXkTbod9v2k3lidv56d2U2/KjeGxTLQbfRtusyP/va/3SdBvELV+xVrAi/1l
E94MP/Qbfv2mR73goXiAHvGQPcR32G3dGPyN74r11Vv0dflvAD67kGea34qvp720X/bdcdksUP82
XAo3d1EzrJ6nngsDsKQKkHENusD4UfuvHSPpgsxbrzLwrGDYxK5xFXmLLdmvr+Ejc4SLsX4oXDt6
gzupR8HBjq/DdQCB4QFNDWZf9PWf3UFhzdMCDHy21ZEfmjYL57Lsp82w17fDZv1YRzrZCw6fuWvs
X7WD8Do+A7i77pz+OnfrO9LNh9hF4Sb4cRicp/xq3D70J82pbd22DUd1O7/2up/Cw+iPP3tvcNbX
DEd3o0Pjtp7oL57s9g6hZkDw58Ze5mOJ4WIG6GFsvq/ccJ/5dSBsxX2MpxwqN+91sHZ99+KGH/Vz
j6h4HzmKozymG52lMbVfNCe0W/tBdlMbkUjkUVzNwR/GFV3piChIkPjIpfnxQ+SPG8ElSPRn2qi2
/iq4kU/b0Qtvy0DeFH4fVJhQRz/H69xTHlL7btefSg+XyK3uI93CV8WTXhCf3MQba0c1wvrQ/fVl
60PyxEPOCcWbM/+9/kK6QUM5QfDFtnbdFvcfXtgZOxPTWX6CnuCGN6ivum15ld1odJo+jF15lV9p
dBZ4VQiMXXTDd4Nt7PKr9Da6EU7pVXQT3aRX0o5evm8Fst9tz9t40/GOpi/eV34bzPt5n2OL3OzP
G3axIN/J+/Yob/JdV9rlrg+iN3VTMdbcEzfjPj7G/DAKrH7D9+c9/kI38Sm6Lo/xLrlOT/Uxuebq
7/nlfBfvUj6S6/Om22guJvTb8GrcswZdp0e1sM+bOFC21PBq1/RwaH099/bIO57367vhG+CkO3Ej
fp5Uf6Sw+QBAlVufMg3mfa3ijzfu4dKDVNu2QR8UTBXRtQLVx7aRm6o5mMNu8iAOsNPw5sDapFsR
v2rYrPxtD/oOeWu/3CI44mZ2t1OP8qn3NVexfxkurepNeZz3MUOa1xNikJj5cWK49ez7Y3E9b3Kk
go7tsT5m1zimnqLeyXf9UWYuZtfxKT6tM3ETc76pJ7/GXsusSXfrrJTdmJtv+vlmHU9N1YDpJO4F
ho4zpZe9zkF5SLeNB97BXo++zu/1ssa7dczlcdzM/HSE1dPr+mmDVzMgZWbnd3rNnxWbi02RtBN1
Io0K31fuxFiOsL0jo7yXg/jGgFOZXD9OPnxQuioHltptB+jTxv94dMXPO/r3XflrQwe/a7w8AEzB
FVQR6/w92CvnHpb9pBFcH84e/t5OZ5s7c1duryf7DYHrX1PjgIb4JjuS5a+xwD8Pe1nIGqZZCedO
ZBm8IwbG6utK9rJdsok6e7nv98CHvGIbHuQ7IG6qM5zaIN3959VMxo4CsGKJFJ1WX9aLsVstJQG1
K++lu5/UMgMLuqrEaMdvRvsVkCLLQEeABdG9JBPUL1oW5lCF5SIIw3Gw9JPe6sEYjRtiLzuSLC83
z75kotsl0fTOhj3QFb5mtlRsdIq5MvFZL3ttvo0sP67uFaAl2t3Up/BIn2eN3xNq35xAmJMYhnN8
dy5lX1V6L8aKQe5EVCubAF5eT/IvKK5C+pt+53r5VUf9YoAXYeukINQ5RN18Uo8Na2fjTbKDsBKk
JHzZ7DSiKuIjEdOnvlDv6sFflO1yi13q+h+HeHGyX4A/cF+3J/yYR59v5OmwxlEVkkyvkXv3vbXh
mqdePHiUN2mx0rujxHeZ9tVDXSZxmSACJN2PQw/bH00NhMlkw0N5F0Bg4eBVq7vGur3hsxqWEV3E
2w6dzPx8xDvum0nypyfR5DKqAEBWbKl6WdtFIXXWjC4/LOZxak6wlA1kljQJIScisMQTuXPzrwxa
L1I2dLrRwjhr+A92MLJxtPr7uvD16tByQIAEFIpFl/ezHvmPQlypntupMxbgestVJaeOOr1kyl0v
7eKJNZPi1N8P94dl8PfjXTyKqTGm7TBU5b1mQ/uwz4Se0uuwublSPPIt+0ndl07jURrbfPdwfi3z
ovqA0oSKHjjOqcYlcyIrDfiCCd3VQZSDnLLpqjvWf4JOns+Tim4/9sYpAfnqva3dU9ulDTth36xG
+D8Y37XYPzEfv09MzkeS4Q0bIFhZnX5flSSzXNI2NMxT47ntmwKfLszdOTqW6QMZzzx6/Wt0ypxb
yoZ+vel04EEubA88qsiSWrWyYR61t9ZjYSJX5w8/69bVPZmA9hfS9CJx2DeGydKXwvB6ASm3oTgH
SRjY6e8nfC6kYgH4thyhuSSltoMFuTsm9Tv871U/uT5qbF9J/jwXTt+85xoS6No38+cPuSznIOv6
qiykr4zI389BqqWlhYFYYrGMZbW2z90gtLvrPpgdvH4T9/Hv8/Vrms7hAErRB1tdtY2L6YptgVBE
arscU/wtaXJTBaMKOrTP1XeI5q/9v/Xq/uNQF9UYUSybvJRj9VST8Cw+ZsLtdlEel2ivhAhT+1F1
O6euTC7WeVgcI2Cnhydj2lQ3xuSkta/H/n8+dgM3UmO1I2XtvFinROzdW3xJcRkqAnoi/xYXkG7q
7/DTn720yycBy3Jc66hOUAO8uKlNKSiL2MTnK+suulJ8ya397DQetX2yA9kous0JMePitj+Yu/OJ
pP1nfJNvVae8Pz9mV21iWyhZRF67V67E7RIYx+pQ3Rc3dWcTxXeH8ad8nb6ULzhpKx6V7vv0lnRH
dj7qYyE4+OfoCIEhJoqV30G7//s1/Ios4K7+c2gXG+ZoUHREpmAlmFJ992IHtWlnJPPKv1nIv3aO
WMXh70O5tqB4U9H7/cnI+q4S+zmyTulWUhGcdkUcao7gk8sXTLrzq+Qn42y/481/klou7h2LGBzN
FcpItfji3nWJJkSCgXNwjEBjNQcR6pjj/IS3xvqdlIqOPj8JVedLOa5u3RErDq8CiN8SqljoHEHV
sRM6gGKvO9b0PFOE1EqiYA09Gkobg/SsUToftV+l/Hym4GDNhj9mu7Ezjg1l79VMp/XPE9sJvQ16
VSHuHTLvOWPmXsGvSkAl/f2eruvylxGDTcCDW1x5VBfrtiI0chmVyXK06Dz02iE1oD8oDVq8p4Yr
37ahvQibvx/zK7SVu/sJiiDARIT2sqYmGlnWCtVQroY6ivEqh3c1JlHpjB0z6KBSRtpOMJxQvUma
nwlanEb2kaAsgH+aXYiq08v0WqOPKX9rlNeVjHC2TqL1zWT/QywBZmUliSKFAu/you4HblM4Gxqe
3efCw8MAah3LZV8EQGhwqv37BfmKS0JqkcVJoqyJGgk63b9P9y5STLnr+8+mrWJuE/lIk9zUDvoB
g+R/tSmIj7+1o//SuOSwqFiTTKgrQsVar8E/4iVjPid13oFNHJqTET6X7akeKDQ9IHzeTPeRfVUI
14B3GPiq1knHJM/eUflywI/nMxaj35E0/7An/3Y+F5Nx6bpajUV0tLgA6aeeVJUEKxUDp5uYllwc
QHdhv6YpCTMaXZhvV+8/5ARcEp4F2nHcB+Chv18SC+oYNpVw/JZwQW3B3EdnzPHUCPOTFU7tQAyu
y9kLUe4ToqekiFxYOml5nKJy2/bGIZXrLRGoQ/07p+1qAXFcJvqTiklaM2HH0wYFgWjXvySQm0fQ
HnBt125MRq8x1wS76v5jA971Lv9jSBfbfnYOoYPFwD+5cpBEIfQi88HN7CALfLf7/WmLgMhEB2yV
50DW82KfNdWopwfXlvfPuRt5lYOUs03J5vht4vGl+73KQoE3Y/ISvqEZ+fuN0s/DGSSfssbe7eE1
sW/VLarqNha736kE/elI3HfYrvAgNWSvfj9SbRpRZOgk3D/RrtnMD8muZ0jqPnn7DqyA8D/vdbEc
w4Ak39YVIAUUV34/ljCZS4NAaXE4R3CTI+nGeOuV9FhI4aFOjbcuo88DTLKlHa9O806Pfg7nn321
DTG0qGDVWZ1J1nNcVU1XDcoeFg8SYc7Qms4oQKaymisSKF8uP8IEo1Opu8LnIGN/XfBtE0rHkq+G
p7g5qtLOKp9nxfDNs/VzQeMMNCzvA6IdPtp87rx7fVA20eqz1EKmyZ8JlUdE8Od49urio8ThM8No
QjnA3Fonfg+y2SwByQu5M2vP+XRCMrfrUVICmCcVu0R9VzExPofFUVyfPOWdtXZMPYW0BjwF0I3C
WvC22I03c/ekyQ9Rt1mt7UFZ0NxnQZrbGBF3VEHrbQqwOZazGxNVezUVN6a50WV7MX9GQw3ZJd2u
KFMVMFhnPuQi1d3Guu5l+UHhGmSQeGNGaob0PErZg+iVwn5duivgk1INVBg9f11NMVI0XEEf3bBT
NoqMHjGVCjN8rtCRJ38ox4eVjTIWmov0gw2TBejxugikE02CsnS1eiZfixPE8On9NMnt9znZH59F
cJFQihCmM7/g3oYoQ2I+5Fm0ro+Sfdu4A2npaP/6++b1p9QPOyoC3hXrCMzzYn1BOQf5hjNzdnjT
P661A/USHFqa5+pZvdPvx5f0V39XPS+v0q16bz2Mb8NH/ZI9ya+wzMwf9TNfutd4cuhBoTv+gAEs
VaFvzvEPmQ96pGsLD2QDQeXFYjFHST1rGjQ/SLhpR3vHA5YD8A7k0d8vxh/qIcpaLsO7k51coVf5
+wM8lQpW0vqZaN5hIwBQF7sYC68tDHt6AXnva5TojV3lflsRWJeG35eONYSj9c1ShbzGpcKBXBhx
nygcWboLn/ufvbvYmQNN8WP2H+7+PsqvQSOtUHxLiB1WifpPZNI/4oaE0L0f4JOt3PAQcfaidFaV
RySbpXi37szoy//9iF+jsTVpkxDe/STEX6ZvellakzmX+SGST6suHZ6nQDjx0bLWTsF3fsl/iMc4
nKWtOgdsZF8NuRuIP2dZXzcXcyd6rwvVHOsE9sgune+K6X8aGoBtmucQUnhOL+ZmqMOM01doSi8+
MjpEpqJ4t9KGYNp+q/z2Kc7w+yyBp4ViAqENGQ66Eb/Pz3MGBzavQAYrNl4/V7GDppRjurr7/lpu
LRvo9C0Y4X9/SG577V/jAWdTVl/okElUF027cAtX5uuPmpYZpVw6LBGf104YNOF1C/ZDWsvr57/P
AsRi/jDJKTGt4t0IKkEc+f30pVmuybdMYhmb/rOD5r2tUXnTg8EFSrz+y1bs8fT487VD+2ihQyyt
T58fO/dFIDhovTk3EZ3PjjEN9nS6xbzOoX9p9xtKL6Gt+p5He3MJVASB3oKnlxfv6ukF+yNftOVN
jdBC5CZu6rHR2Q8NL35oNtDGOwwZ+Jidn/uKZJi9z30wdi3X6yFy7r6LfajBf70McGbBQax6Upqu
X4QJVR+aYtsYycmSnWZ0FVq6iV3FTnp25sUZ3zExN4AYZF6F0Qt0zhfttc2c5UcCvQh0Hps5ZLwM
3qsr965YHkIuWulIaqCEzlBuCmEjzGSDGHXclobd7AxktrN9X3uS5TaVn6z+vG4yeM07uxgdgIV+
2y9xAc5nt09W6IBCXDqnlmxZt7GyZ1/NrSANbeibKA7qDeLYdq7YCXib+OxUO6OwhwGHDQcOUMFE
m7w49+t22xSANj2whjUQgxorcX8GLxi7xQnLClx3oAq1sl2tZgi2wrEVB2wLPPVO8vbR7fQjem4e
AT5gEja4eAJA2s1jF3+vdoTcDCLVjnC9oLWA/Zhk98xsIhDVjn/AYFSo5t/FJd70dn1DD17FN9Hp
HIMHgBRVwuEROL2tetmDcrDu+Lb+vAkL3crj+KE/J/vmQ3mrUCd9Qpu4eVfvlc38oX4kt8lLWdpc
MXyf+Qaf+Spzs4zLg8OAX3Btdij5ml4uo38EqNHVwJy800TnnJ4FPPTOTiS789PS2o1gwyEzRCc8
E+o5smTj4iED0gDuJLloqbVrkcRJ0dSZfCP31Nbjs9i7MV2NGuktvBmcEHyICWzTR4ti6dxccEWA
UJTnQwCAjoHSaeWAvJjN9wYc34e22CIS6y/jz3g/ijYM2L4OdGstJsKILB8llpRfAtnRw/AMunm+
5wwj5mJlL+84r6ApoGh288sYXewUIisYNbSXnC5cUVITM/iluBMLey13IaUuuBKrU+h2eEy32KR7
Q+lwUEN3RsmRmIWhQ0VkuKWoMnCfLM9cXOkM2GylmKU8/irXBVtve2wDUQuU3g0tZ34N3ybVLgY/
qza0aGBlKr8UANxTkIg0pFzl14wyFyCZ0CXeLi067CNG8Sa+1C7QgJESdYhdj2PETti6TecOy3rt
5cSu6TYv1IvtKmkfOVHCmvkwKnakO2Fsc5Wo4XHOTNLpnVyP+jZFo/LsWqmHCONcuTzP3Wv7LGlO
b9nTdQYv2zaehH3/oL5a9KbH1z5yGrqOPTmxY4CdzpmSTlTR28YtSMO+1i5fFcJeByOB8U79yc8Y
g1syDtXaiCBzEjc/mhDHe4AoIC3FU48mXXJVZKchRXBtLR3q8yHKfEN1casrLB/VgTpz0SOZBq/C
AtSArA04QflI7tsGgJtHH5ChgPIDGxpHcPtsybKXX0vvVoV3Rga/9crU0wzvv//rf/3f/3mb/nf0
Xt38a9f6r/Jc3FRJ2Xf/57//UCVEB5JsEzEiKlfoev2+Gwh5oVc5LPaDCD+6DTtfgO8Stcp9drsK
Neo9mK3mFJn6TiqBHVb1PixO/x/ngEgkrINVily+lKNUymRaprjSDyHExjOF7JSsozIPopIEWveW
Fhg+PaYhNkICNVkBVKbxTdnksybx+56u0nhBuGQtmILCu8i5tb4K1XTM5ZXdMc44/dGaDoXcpemj
GA9DSAGymB/mfKPWIRW29KpZqQd17yOyYhhkLV0gEG/IpG4Jrr7x3mLF6JFh7NWn2QwsrXD0LHfj
UtyetXc0BgTsOYTUrSmL/P1qan8IYtnbUTuWqMBoNJJ+v6OqjqZ5qYG2a93BVwM16N0VYzfS5Lfs
aNPYr4OrOqmbUlyIfcHLgiyQbpVbsJdO/mheh9dnF3Vmj1TR650VJJSxX2NegtqiYs8BjHQndExP
2a6Ijr+f/B9qR2AwUU6GGI2mCEZ3v5/82chTM+vl7CgJKo/neJXPimuKEU1QdAL0s5ua1xa4viaD
BOWLEbsDzCAjkHMRi8xDx7qx/mvYKHVvt2Ia5A3IPfGnGgZqZx5DfiE8mtSIJ/vcn0TqwZbwbuXj
dqqy27+P5asB1SoPvFZwSOwoSZoXeUyYzFWrlRk4ZiHboii2EOqvgXcHk4vEP5wHL6cmqMTjY4aP
LkWlLp5tVXzuRn2rRrEzuEsaBWfpzIJybayw9vlhpR0NwlM4ngT1OMKZATFKy/KsJraWiXcqsKVJ
X8tgKsxh2TvPqh/G2Ciw5k21cNW0Z7cwzfvv0wtA7l8jKqTUEc20wLWICAf/fu+UPGmZ0oN4UI/R
Y/UhXbf+8KR74pWwV9aQ0hkJNlfkJOafgB8p9h1WxJB6Mo+D37qjM/jILshB6ABXJCQ0A6N1iyvA
nvy87EhuTPDQ2cRinh6sUJnCxvRwl94Xut1ADqptSv3pef1D/1xt1n/yB6Pi0hcf+BKf7YZqCSKe
+BQB3hsAe9sKn+X1T7bg1YSRl12GNgIaxDEiEiHoKAHke51gliFbhOX3o0of3lzfaKaxocLJcNjj
K9VO+Px52J7QhA3WsAkJa3ZDY30X6jcCW5VopyaHd3hlKG2JP5RiP8GC6mhnmFaZdmyuv9JQ9TPX
Q/CL+Rs2ZViR8rPEErz3v47PIHnL6VW8o83ayUhf2stzdLZ1AI+mPZAtq3Yo2nQiFkpMumu9Z6nN
H5m3eU/4Oth8jgD5DHY22JFs17ld3oav2U/QcdjCsN8K77hIitW6JaVA3At7/CXR2eDalvYACY7x
c7rkj3TNRJuDc6iagK2wsVNlLnJmqEDRQMepWLmqfITC2FTpR0vDhs8gwnVuNNIHEFfMf5+tU7xx
Xi05VG2HP9gP9R/a4/l6fK2Pw+PyqL5yyDxyqOmLtSuSI7zxZGzCyAY9Yjyd993evBIO6pV8K94a
h78/1J/sjYuNYtV1XyFTFp2Xz4LRP/L2PqtbamMWYI3ynpthdIuPwFVK/P1JQ8xWly8GOaffKaIp
FwWY9WDUa1fENgBxlBEvlkYQP6KK65x6AEK166kK6tB2TP+sOdgWbzXtQ9T6x3623FEnq1MRpD4f
ln4/Vkz8ht5XWW0HgejYJP+wJj+crMc06rbtOaQ55tYG7uaCEAwqsUusuPDOmGaqE6b9ppHzvaz8
zIG+zFnqV8PkhcPj3y/s5cr/OTyahjrIrFXG/jKHTydlTlWR4mq0bDMgmU0nbXCqt+PqVhtPU7oX
ul1V7c/IVSc8eP3DYO30eRMlx3lBg8c8xfF1hGONPPOopts5FTnZ17k65EyjARiyvrWWo9KzVhI7
puc3pXgrs+8gEWtv4x/T49+joHYFR1Ol3H2RXJfnuJHHUSpp78bEqbvs5Tqy34qDRCK7m7+vWP35
eNRX0Cw2RV2+yGJDjLibvKY+mW5NR3QI/t3kaDg/5rWIsPvOw+kTEnMxPACDpsa8V1CANS4Op1do
jVq9nh9E8Rh1DyiY/ECfczI6oOSP+TFVUrdhTkY49nTqM7Z5nwoE87J4CWoNfT35TQq9og7qkOUb
ObB4ece8kqgMNFxGiokd3Jb/FjQIa1Kg9r3bTtCjxptVZl9mUq819wECqCJ+0N7q+5OVspk0hXvW
5qtJXByRVcUMAyuWgy6f3Uyb3KR4UZb+SgUxkwnvIUVwreddzjALlHrbpW86p21s4VtDP7kJy2cz
9/WJEO7XHQs4+ccw2THZkNL3B+YQT6LdFeZRZ1Po+kASofKt6hzoE8bobxTA6AdGl1ueIRIOLsqP
YZ49QZPph4NvQripo4r/zePzh4nAY2OteBGREt8XuXp57MdRmUfgtwUa66y20V5/H7ZaZQuqJ3+Q
PUMpssm3EkDmBhh1dasE8QLaEiI9oWu7eGewCC/dr5IUibTOSIJa+Ca+kz7FgS9mEFR+wJf6p8bJ
pVRlHs69OleFcuA5zq/N/IawDvbgqXmerFMU/ZibFz6fp01owm++R2whvy6MqwyqiOgK4alrbkXF
T3KvR3CDwLR7kB9abFs0V9KDEGqk5c/Tk968FDtLeJrqDagHQX1pmhelDc7RtqCUnt+zwWI7jkqZ
SbeQpGx1ppQ8rfkRkti3dxLczWm3yC9N9VK+qlTBBn9M0QSz+f823BMSzKkXnV1za6gB2/ZZQABk
F/6qlB/YLJYwlg+AG2a3aFxR20AlXYorZMgSwc30IBNceY+ZGIWHHYlwiuar5v5qXptD/Al+j853
eu0ujNi8ETF0TjZhfn2+K48p2urBeF3yoFSuFCi7ylesAyGvNtrFD9lW7/qPmLLTfae9yPi91Ftd
3ZTPuA0ssl9FB23cdtV2Fva6ujXVbdIG1aspvhb5SbjBSizp94px0KhNacDOz+ZJGzwDGlJ+rKwS
31YU4XyOVGOkru/CqzncW6qbEmeCEoxsstqs/UG+zyvzfFjIfLXAKKkrEI5pwZQCFv/7nP+E6X6Z
S7pCpV6my6xcBpyVWvea3Bd0+HNKlQBdhtCb6xdJOzRgh2XKGUl5dVbQPFuibXKVx8ESHQbCGvN1
lqf7NpzwwmO762a3OzeBDrXaUtD3CW+aFFNdIjIrUZGaIANazI1Co66P8ZE1AFM8NkTxhnp1nt+n
4VrEzz6kgJQriS+PPxXsskhh2H2QcW9HCvwy6LtQ8/RycXujuq9iysQjNb4FbffvHYrXQPtv1+Wi
HJ70AsDXQhWP5/HZNO7QEPW6ZXdOkaajJgT5KSbgVQgdq8SW6rsuRosye9UE65tODjCIP5wJhXIS
ewRNYOZepNVjFuYTHEvpUNRgAh8iiloNndKVZl1SRSWf0WvkilA60wl1E5qGiuSo3BNWuSDKkTVN
Va/NrhdWYKUWgwS3kdjYjQr+BomxH8D/qJRCk+wt0hQnbUVmq8HGMjlxT3XTHG5S/E07Jb+psIOY
Q9FbTG3XjMpGH++jjppVslx3gOU6E2PX8wm4CvE+bjWzN4jUO5vyISUXaDJYyyqc53orKOb9lDSr
ouBNm0OtIsfPWxzRjGq3pNlWEPaS9LrCR6Ms3iEP4KXnrHRqxO+IkI8j7c+IVVfMTtYkHyzSIkvZ
NPGJCqZXTfm2gCA9VguV1MQd+h9IifvnhvLqGU5RRA1hDBBVijGrFZ/rVdA1OcVkCBR2+GmBaifV
a+1e0jCENsVtDYNAi6nw16rf0OUZKncKKW83/sAiEqq6gxH8Xp1Uv12e5RpfImjcMGWWVHfxoHDP
4XI9iuoxTfObpt12Lf53CRH/Vsp2xednvhfzypbCm7Y0PswcQlq4tZAoMdWTAAxjhnoRojmrvq/d
6yUxPZHZlofPHW31Lsc8PcUpqqMrIMIMM6mJZWQdAxJ8KbWetozv65lFHQJLYQpoVD7TCx8o9uZR
tlOvc/rQfeTia0HrfEnn7ZIqPrLBtM+TpzM3UMwaPzZbX5oQRqS5YKGu87TqHH6WZmgdq5HpQG4f
wQxmnsyV1EnsouW2Hbzoh6RD5BvzE5CdsPg5yHthAVEwhd6kFO7a3ZabcS/AxKWWWeraMROzp2L0
G1hECloBg3VFfxTwSyBz6+Lh2WrCK4U5nogyZYcZ9XndlYfAKt6TjCCijO96+XwNjOAo/yiL0J+o
RNmhWW81qv+GMgPi+445f8lQWAPW1fcNjCUIF+MLSjAdJymUikk9KNqqG5bYufqaVo1dAZdLRxpo
4b7k+hgkd2nMyRTXbZc6YS+60yD40Tl96VEqrxQa0cbRrKjBmzfIVjn1Ut4loeSOFj1UI8DNjoB4
3WnT7RlggvHDRMxN699ypkVlPhjJ/+PsvJbbxtJ2fUWoQg6nRGKWKIlUOGEpAgSInHH1/7PkOeiW
u+zaezhyWxJNpBW+8IZPu0V1IWv/skn8V16BIQvsCwp8IOx/BhwI2A29YUT2Npt3Siwvdam55VJc
qwY4Zw5oyoCtaZ292p7SvvXE+mHImU1Lhs5oNS/l6QUrPP1qMIiOnfQ8mfOySV8StXif4/hw1R3W
H/QUzAHIfhkI1QX2qvtxpjwOZbm2Ib3Vxf2ft75vPcifSzxulUCpEK6nyPSjB2kUWqcWUXHd5fNe
6gn9ZedmsPslPR09Sd5JYZ+b3tjok7Zoo2SnZcYSf5gwPV9w7oTFVbAyXNkXpD57stv6I50kr1bD
dqo9m0UVfRPruuwqk/p4v0bI7S+1sf8+f3r8EJF1FeH9H1tUR5t9bqcqE0qL5mmW3iD6i9KW3L6I
svMcUSNS7lWo9vSNzxRUzGeWKKk+nllUiiuxuA1nHLgD4BDj5trdEKUo47pUglzx/qoL+a299dvt
xi6JrJdynvqN1f5H1j9WNc4RWBntRlpdOSXJrD3TG6Tg0qmvnatpt07S+H10V1TDXs31pQTQaHgr
WvY6+k22BMOndZboMvjZcPEmOhxnO16Oxq4Z29UcZd6QNm5MzcO4nsoSPx0Xf1vzQmHw6XL5SlQK
aBpE+HYM05jGK7K9ilTeyf2wSqVXp66WbR3fRjG2vwk4IVoJtOPi4Z7VSFXRDjHVwEDt4y+DUAyy
n3cFqWHcf2ivonH/o+CXF914VYdi3F6p9cDv7SiJ+/Q5Na/a2bBpEt980EI0uZtV7tPmAF1t5QB7
F6bfwblL/x9tFb/XMoYUqnxw2oA8/0i+5cKJZGVo1S07AAJqwsESocThiNbJn6+cEOY/Lt0E8Ksh
lMTi8rMYU3dTiQFbTa2TYstQoIKv7EAxxt0BvUYQgiLCIYQRbnd95Q90RzFkT4kTTEQmcNHE3TfW
1bCjGAnhX6NvONEVLGo6LjRktQqx08lF9AaMLmI7l4Y9mSJa/q0kYs+Dl12ntys4q1Zp7oXEt33+
ymjNnjU5RDxVoLo6xMqi5sUxdpSFMj3zHPQaleZIK7HAnjE6IGcnsNZUr3LrZZSDvFviUpKNIdJ6
QuAKxwIKzcA4UMVdNzMSuJx+Kjs+NzWRbrv41AqhHsqmYMDG7tQJEOb5C9kmrNmQXJGLYze4kXXS
GgRphlAfSFTmI/CWmEiaXmQ7wO3mTC/kDPAs6SulwydFxU7CsguPLsuzHNduHzBpQTY+L15l4AMR
oIu49MsRvh6OamOc0Mo9UDs3hSI/OvPgbmuQ2C9jjE7aeDz3bkGtnFVDKQRiSTjYI1CosAPI1c6k
MmB5wiedPkzV0enn142jfS8zSpoJcbNCPfsyyLb4b7UiUSz5OX0sejRiA8ZD61s24R+LipWMI37u
trpli+mKL8v8hO8lojldJvzJQ3liSyE0ntsXqzz+ZQSLBfa3g6O5hUo2qOlfkfs/Dn7poZewi+QP
+qH1HtTbVeomj5XnD5uPaU0N3f8buAoC5X8dkuSfyqkj45L5Y7mIE9kYroYhZCBkJBCijepOvpCA
EGIIPEvkDUSJn6VE9hUUEhBcCIAYtEEbEOy+2y75GzrkSymIQ/WugeQsBTNWo5g/+ci8P81PY2CG
Zqi9RzQNBppVnTsGQq5hDITuAl+uQyOLPvay/owCkIS0I2gucDQrIAc4wKd8zb/lHthGeYmmg+Yh
w+CbJ8VLN0x10ZRBs6LdvjT8w4FOxOXVRIv1fVr3gXpQQ7QJ3dJLsaTH+/SQhKdqeei0Vbfw0j4g
pMAUlT4alQS32pw5A7rMXhKefaA/NNgc7xomoeXZd47n3AKVgXrcPRLiojQR+zHF9W8avbOSnuOX
NLjwysNu6TxDK+UDJP75sIxu+Cg/8phA3q9enU2/Tr2bbxWyXdQorItPk5JOSgQq6exJLgvz3l5l
/Hneys/yc/Jo81PHdXz0FnkB/LmLA5D7t9ln5CcBrxtBsYlQpEAzhb9h4sp3xY4GRgGnJfYKSpHf
ogsrfO7fst2ZwuT5OXMflA0QVtBR4s83zDl9EBi0eQA3eAqNyditogV4CqF9sf31EJoFqAwPTQ/1
AVUPlkIhZAH+qOERvTwNjCYxYKo7hTElmpydL/PoQPO45xUdTjflOiTObkRYwVzR/FqVUAwl3/QA
ObjpkZ69D6uPT5lexXHrW/HQm704Ic3L0YZIgpjr5A4cJf/snT2uFmQgPaclmP4F5Z395+f78/FY
eMla4Ldoq7iTB8IBrjwO3m7zMPqTJzqqk5fczW6z7fgOeeaQfXqBhAMoXMxwxTd4Qa4rTxdwg0k+
zfvKC7ug9a+n5NQF3bt60wXjofS7oKIEBJjnBsmg3EMKNQRaFNb+EDRe61N6CdPV9DQF4kCja963
cJzh4vL33p9QLbAOOXGW23kNLzhd3hyy+fCT59fja7w40qkCeyUHvS8+redf0xbm9CmTufq2Xmce
6BTKcO50DxdsL8iyXO1JWmvusFWgNEE54AMUrtI5tH7nyQEavXw/eda63EtAAalt8Vu45it6VZyY
+DsIkcXzeSEkJdSF/P0qXXIHXkeA2LzAQjAtcBXgOYsxLLsFpsKI+sPRFzIrjHgf06ZVHl4PsZhW
gfO/mVBidUxLfNf46qFnVZnvSzrYZDPMDmYms8dhvvCCZMALWAjf/mXd/dEk/Y5RMLXB9YkCKMr0
P/hfVmYPSKJdu/3YhnW3ljr3/EA/CeCPn6PAYDz2+eufD/mfKd4/D/kjLDpfeiGZrOYPVOOD+bKY
Xkdv3jbMUoHQcxAmabmNmM5vtZ0VouCMdAJdkoUMdiDdj8HGcFEgeLx/lW9e7z/+fHI/jSu+74eN
CDwwXxhjwBLZNP6xD2Vyq1yuhaTcVn73Nb1evZdodG3nkxZ+Zrpw/erneptc6O0tpW3XbM5xQAE9
oWzL6p6iQAPMKy89iTCn4obuqyP92XapoNSkeellQaX9cgstLAswtYIqAsqJLM7NR8D3aOHcds3t
n6/oFz75x9aKsgO6YphAs7F+Y03+cUn422TtNemG3SybbqckQG1FlXmJxPshAtmX9fGtiZxWayre
uS1PI10ry16lZ7YC6vPXEcyFg2CFUXpXzSGTBg5lMImlm1Q+DhNlRirOcvU1UcJuzD5QLj3Umvsc
Yz25tBboEnoSocOQZ2Ru067L+7VesKmgQchI82snoUAb38YYIegoAxl1jPTDHN/hcPEQDR1S8iAO
5mt+MB2gYWgsU9C1YAwmDyWgqpRpQVc90z4xxDApquDKGDZ8DkwMb86enZuMTnBvxX5VfmVZhBlQ
HnRpdZdd2GXGJsxBwnXEe/F1WJjjk4XOsJwjgDZtxqz3HPmJ/vQ83FQd2toSyMNZcanxuk2ae2dl
oJZcoSJIT5+61hShDPtghU45BGVjewOVHQflEUqriaW5Z9BYZJnHHoRWPaJbknzNmbYbwXXmVyRl
pgsqedvZ9BCTPSP60yUlYK7b2TKXxnA06tcuz93p3Cw0PfLmmf6OPWxLbDQS82kuz14/Hi3lCUid
lRbgP+1FB5QzphBQRG8SZf0iaVcTGXlrGm4Ry4AMotuOFmzbP6hUwXSB+VaeZMNXOi0YFb+nU3kh
yqdDHiXGtkn2rfLOzy0HvytgdFZn7SstCUzgSJH82JwPHJsyEzC+6imZW1cDI6XDDraQM5CHs99y
r1T7Zb4u4+FoZ1ujNhcEhIu+zmhpvEvqOagqOSwVFXHlnqB4L1VP00hfFDgbJJPyKULmntQu3mPy
6JnNClhbkpzO6k3ZsnRkW924KeMvswq02jeSk2R4UhNEKLmAALjKT0OLyIoaWLUdgG2BFZJwoPsL
8C5ZOi94N1WzTjOCHqsymqZ/nok/Cf5ibRHpoG2yrgh/tB9FBuvcjaoij8pWQG5Ef1GLX5MLEyAo
u6/Bwu5v39vUmJ1bKw8piubZppkBPZ0//3wi375ov60IZILIvNCd43//XuTK9FzX7RVRhQYuW12B
hSAZ8uMxCzAFihjf5HaSKrnnoaUeGnuiNuDo7EDwYM/jKkZ6F0bY1mGFq9OVGkvra9os6wvPaAA4
2Y+0H4o4HOHAp6W1pMlNEQDHlzNHyosYEUyg8CRTyZjvnFJG5ywdqNvdldHtpD5idwuUO0sy95KQ
WcZ3ulK5Th4t074CLoBYiZ27ainc1hL6uTvVvHGMxo/Okovge3GBR8AYtFgCzOn+VZlWFD4Hs91w
/2k/3p8tdR3HtddR0e7yKlBMCol9gfWHOoU1PeCxId9YlGP6mXcgVmiVnYtIxqAF9bWS9I6YVZ7c
TsPJLH5OaW2ijdmUfsZKKMnbs66utS456hGagVF60+q0jv9Gxv/JZhBDiTIbyT4yHRo5249GRtpr
o23UDZqNSNgpRM3q6i4lwDlOy2L559Hy3UT/92hBxlTwjUwos/CJfxyr75OMiqFMF6u9BL12a5bv
MZa3E7xHhjrAiGZxHZDEtRofuwZEEyMAHPVHosonK5LdEuRDQ/4h91BnUHibYmdlKRjSImlZDYMX
FwruAfnNpS8e6YNeiu0FL/O83rBYe05aL2NjuslZ+S5g1AEstRZwo2sxB/LUhwIptLrmGEOCMGIh
bj7Hi+Ia1/0cubWBvpizkOMNupazjX9kvrBAn0xF7uId5pVavW+snKLx6J211Msk9KkA8sWF5TpO
eqo5x4u2BSVwVHI6rNox10jlsYv68w3+xuj8vMEg8xAZVWGL/Ab979MothMJF79rBAqYVqkLZ7dB
1J+YCGhBPxzphv75mIA/fst+VWAtWEFCiTGR0//xVLsLBuFWd5EPCbltKH9FFRCE5jm6fsD0Soi0
7e2QnBS6mOcg9dOXC9jntgL3uJRxA61R1HyOaG1JPgAIGWzdx1nyY/NuRC+Qu6QikK4rYYnwWnJs
G1hz4QQmztxpDr0OAOqBbj2lgLgwNr2n3tK49klpQCO7UutKN5rhY2012ivwe4us+XKoE7Me4ypi
Jjt4BIa1zMjCqFxKvrxDZwN5Nm2jKpvLtEylr7JjRbPYsDbjRh+WVV+6Rn/LhnSxPaMdFlWMS8ns
k9gp5g255wZqtrWX8zsVxaIeLY39JOpAu7HeDOp+vgTpJ1B9RIndKtRz+AHJV1tvackr9SYvBLei
nGgs36v+i4MMHxm7BCrAO6ObRMmP9WFjyGRNBunJxgDrN7lxIH8MDRKlQVcvDX2DUw6wvuTRIuy+
ALSO2BNdOtiowA3mRx4dIriNg9eRyjWBxrWbsV9Y0WKw7sz5NjYDSduA6mycbGGjiYgWNzXONgAj
1/a7Jtpypx4zWST5b1YRmPO7kYRd6bPdOfm201eOvUVrKF+Pya4tQsXaVvrSkZhrW/BwfdoSbQHQ
08Mpog4ONhJYO5KFCdZPNE0809ydgc0hvK8GneyZm/Qdb04K+l53byHYHoK8u8Sb9JY97bq34vuL
FE5b+uF9KAsE/jlfjfHSIKiatpnimgheZ7uoDut3ffLJfvTkYI9bHV+dbNH8xUoAxu9vMwEHGcvA
Q5TaMZKnP3bDy9gytpW63JfOTjSP5qRapTZaS9QzbaTNNSPfyNc6vNSXQCmtd9yaS2Jih3i1a5zb
WQJEAwhDO4sSPDud8kXOpBXGSghMdISCZrafbfKEdp3SYcv7+jbqiQDK6/MEOP+KAZyONVLdkaM3
1VaHFROz48VWc0Pf8LWiBKkWEE+Be2Tgc0EjL1Dad6vrnZ7nz80FnszY3ukRk3O2bxK9RniFFuxo
Bn2WbGq6AheylEs8bC04QoP8kkMX1yQq8YfciNcIZ4/y4dLEgQ29QpNpD9CvxhI7bKTL8tKb7oVC
q6Qqe3raPhchZQeMqbyUTjlmIBUgKtC/lIJb1irBSD4Dix5aI8g0Zdlcoq9BH6H/9Bvpfy4FY5fe
i4uGsdzpjXupTjKDq7eFNeU1aM7mfhyq01UDOFdm486KCoCu5hGzBSvvb6U2YpiBYRB0/aqioOsc
DKXynOy8UhJznQAvKVoG7ZAt5yERV9nka3T/Q7DtgX7ZaXol+NR4gecmfJi49JDxv+AsAjJLnWlU
t6wDVLdGhVYt+5FT3VvalWLNBUBCMtkwJY6dkt2YNbqZBESz9sUDrij3zu26IKLliGOhB04zh2Ox
RH/b1+DkJHG5UmkERMj2G4W6k+LD1JDpnBuIdircbZsDkCbaFNVMR31zYohGFkZG+qyvzWvszjny
LNmE9pe2UmBdge9K84svzcoqdTACyQ5YLdIhv7UnZV0LrHA8UlmzVyaxTUHZ/HqlFtOdXfD4ID2Q
l0rzlfU2ZGQd2bjIx2yJj0Amn49SPD4lZ5gm6HRQrLdAGhMxbgWGW/xd3Dah4EBnvUJL7Rq95GZy
UxthpFX0vrtjSmg7m8g2xodWk/1rUQd1Ma+1hk8uwlKj2aKdfcHY7jvjFU9YYSUC0nyCfGqFmnpw
ihRFZo+COOAsAitklqfhUMuACXR3urza0eDn16xdgOuiTmfP+3Nt3qvjAcN5eEEvWtlv0F7J0iNF
fFM9SqzmonJtWEnY6uYDGCjZGbe9Li2E7eAZR8qmQ/rmYq6FrcFVN3ZM4aalMslEM0ugglj88pR7
0ybFNTxbzVGSljfzTGbKlVpltBaC9vBZ3dSQWMG6MMEbRmhsiPnajNBpMAweABQ23GyLpkoFcaRO
zQ/MNdAQeh4QAEJYDXdY2h8ypf4ioWjGPEMgxlUG+PvqrhPXQffkUvkE7gkIHxwxlPhYR5nLqEMJ
v4i/pitzhQZ/H4+bLL4vSgRQxQRuian5h3qKEh9x6tQfDBDaBdBAHRn/RMdYCO8a5vDo7M2uCq7K
9XbU0YRFEEe6zr54qn0yB3oru7WI+WI+5NqtZxrSzta+tCw/jlu1r0Y0bnLrtS1zL9YhrDmsZ6yE
aXs/l0FHOaXs7XLROatv4IOaPpmcXqKXi3ZM3gzEAjOFduJ4jGudLBesUEuVPLtz8jKcZcrjLZwu
ZX+5YNI36qtYp9CrouSnTtwq1EeLA5oboFyYrHKERdUQyP1XY39ck49zsRS+QGOXuPb0ghz1oqAH
OHd+q0tBh8BdpL2Kjgv9Ko/WVE4jq22PM1bkU0tPu8jgKmJkT6UYoD3h95J2GN4F1x7zm0mmtXpL
i0ynU42pOLi9ybPRBaEDNFQPWWk+OvUnjKszVngGE7Yq+rsxqhYtBCMtjZa1stMpENgNBT8kcUdl
TxYo5BSM2gCW0S2K4r2lp1UpllBLcTrKv1aJ7AgkASfbTOADLqCt4y6/vxJBwzN2LNDuuePrk+3l
hrKVm1ddJa5pKH6KSXEOZQ0bYqonRsMG3aO2gA6KFhvcHdbPQJ5pDBrqTXGO76vuJWqMdV9VC1nt
yKWATRzOueLjjBKxTtj4GmDCgz7BwkwlsdfVqQU2sToMBYZsWekS1hbFfla2Nk7AegU5r7hTjARM
4vm2ywc/KoHC9fDg6Mzm6anPEVwHCq5GR1RD10NZQYSawG6cjYWqIOBzgSTDWhW9Ar2N2D/Lq3EU
+6aYsp30JF3vMsvalvVRaWSvxLSghAYn7H6NDgaAafgZK28dlwfS/9UMZwNK45Re1qn5OVGuUkDR
0++Ga2c3nZsLewokHhilJoNsIkHurN7P6DSf7TGIYG5mTbZMhosLjterdbpD2p2msiv0yiK6gPVW
9zmLsEbly4Y6o0SouQ+b8yQfGbENACamjDV3e70AsQM2D7Cz2+F2A9hHyalDMRbFnRFHt01gQLII
edHnxuypkKztdzu3WhQyKBZWOgfNirxhrcepU7Wg3EJbTEr1rp6OmfXSjPl6gg1bxRmueAcWtmTq
PKkCv8D7LxT4xqu04fpyiar1Jf+QL/WD+HGifk2dhm4JuJVmAINKjNb4hiPMfaXQyFTfsedVocwu
0NKmWl+yKrBjh1QNmiW5Xp3qr+m12vfXzYAtlISsptQT+Co3aQllkmErJTR1I/ArLHDXKgnBPFHC
IozPloS91MGsNdfhRwCmuzbzctXx5SpMKoNSEKuiEzHmMLS238RSxwbax9JfUqf/wBBauoEvAW19
gC72j/J1q6Wo1OTYz1wgSZGlWelBZbluaZ0jeoKQlKbf/jlZ+01D5jvd55CAGwQ2CoTKvws2qVrF
F6tsi4fBbU62RJ69qO6cArVaUoktlbHFdQmHPWSDdPstxu/OwrpBSJKKxLZ5FLLwjld7Nb+hTO13
6wxCzzL/JFZbgLuhNQeTgi6ruuhfu1URkCH5NTVugtmVFYyIrpMhHzoXH4rgiuzKZdGclKDAkndB
GQ5IiP8p4aet7dNdfK88Xtb9coS0KiOctnDgjT82x4y06MUKtCUFxWo9o13PAgDzygxjl/QyjJBT
bx/LpXSkDXS+bwi/LU9/J0+gUQT7YtV/QftRPeXUfFhrvJfAHE5boOGrKoAi6bWnbjWtroWfIk60
JsvPXcOr/pIr/MYpEw8Cciq8D+QwdZL1H+2Si6oOVSoN46F9OmMdX+4nedkpqxizBvAsBXHscHdt
lkDec2S+i4F0c0WIwoJH4lQg+wzujAqsiTg9q0+1i+NQ96kQlXgjgmSsXQjz1xC5bXwmCBm9Yp9h
umpiRGB9FMNdIuTbkKfyr31oI2FdrIxyab5isGYu2nqZ0j9DYRxBi2TDjNPOLOGuZIf8qeeeTWVh
zyJVI0G9g36mbeLKtyZvonr+CTgF3QDDDlYN4g9nTwflaDExfVG5N9wB8CNDbXavr9mT0uGu6Ub1
8kynTloklNc0oRoILcsM5j3F8euNHK0rRBwcEorVCLeN6dqHBqIMKIAvUDrMQUCe0kB+a94oolcb
dT8mC8mTVuiSQ/PK6PrUZUB6CSsL7tI4+MnylQXo8U4oUUNfaZVV164TiuEmA6Cz0aiY3pDLplqh
3BHrSMqqoGULWB3pi2cEKet4VVq3543eLKGleed9rIn2+7CQnxhZ7Pi0LTRCM5ioh+a+qbx5wlvF
qyDptfeythzMXaQts0sw3LzOBE1PmrtWfFMG8BVm3rhXA+kT/AYS+k4BEF8TAiPWGmuO1EXpSL5N
Fs1qHFzCfPtYqAsJ7fC6CMbsRhn3mDLcZ4G+rWw04tuQiDAt1+THMpn2gjJW/QUTHXrHdCZlJoGY
j3rhFXBn5YOxojx/ffrLikOz6/esGN0ZU0cMBnUR+afmZZso5TyNyHJYtLZUF0LBsl3F9MFB176L
HqfDT42A1h0GGcM3pIGtJuyDhoY+PLgXoAQ7QhngBy2QB+AOnvgU2X351R6d8Jmgz8QX8g7QMeme
0DgHjw3iQueNoyeomSw1I3RhFptXCjAL4OK88G34X3PeCaRv1IM4/q/jsnCx0jW+HsqH8ZtuXPjy
C11NzuYD/j+N+Mat+Hzt/fpA4MdbO948euZaC4QTiAB/FHekGYApxAeI1mzjV377Thi/EW1elAq9
dktDf0kpeqHTfMdkAUmSwa9Oggjq3Fv3fVAhRI82lYmCfvEourlgfTw8d0RXXay6pWsieM8S6SGf
wHn1LImj5ywSCyrw9+VATjqJG0dxBLwIfu6hHeYr8TUKdw4b38+Fvj6H5hpixdrmB+paYE7gV7vO
ksIw9zVbfKCIAc8LYwPJu9x33FOLhyD6qwq3UuIxWlwR4Qz95TNiKFeXHhNn9/V1gs3KaZnhr672
/6RYVgPPU+BlqH5wmjWPSRywD7473TztwZ3fxaVc7n5Zp+yEywqz3VMAQDyIESBAFToPIfbsW8d3
wDxoe/4EE9E/nj0UHzxHYCTQsOG3oCLwpthaLDDKWl+woYBzAAniipJdhK1KRrPg7c0IaC25YqxW
i5fPh4c3/keljcp4v/h8f3w0fAPsCKzQxbvhv9/2nAvSrYBKUpfNiruRrpMAtQM+ruWfGUvxRDVP
P4lBJ+7SxGUPgDGUrdi8xGjtveuDHeL9DCSDZSiwGUXi0sAJeQUjQUW8Xv5SvqeIwm+VYDgJ8ViW
f27f7KV3LDAgeiABMDXE5KDAhblKREFfYQ7YbJNwtPYChYJgm0eyuhZwEoRVAmNxOp02h4/lyRMd
I4WHuKu36T6+FSihAVMYQWr+NaayPbihbQakREBcsnUAzsUJ0k31Pc/e0KzgdK63qnte81T2sq9t
U4Y2nkNcDMDXHECUxvNLl3jzXJbM3zEjyuAJU8XlQcJVzu7OofCLmTlVhWc/8cCNp+E04YgTbcQn
cczdizCTEV47PKy7eXu9nbfqa7/CM/iX2Y0ANpWBfiRL/HY3Ge81r79pb4TnjTiFHr8RhdtAJuMD
80OknxfcBANnnF/vKNbsLN5bfMt4C84hlxSWD2jOvGpBvYqWlzthZDP4tcoUE49Q4BwWA6Avg5c4
u3IV3ZHX6Tw6QneLWTEwL6gGAfRg30IiCK1XIBrShgaSbx+uD2IusSiJC3wTz+2NKkAI3XhtsOvj
zCctBGojYVoMrrTkqYToCYkfsNG73ZKZiZ/CxRMR2vLje8qB6vLj2wFfHp2RIsBGDSZC3U4YvpT3
1+DKeMt8giYMeNjVFqhCvOSAnoyNeI94zgBeD+InCO7ci3eV98ab8XgNLr7yqDxWYXeswiq8BsIi
pisoapMyIpmN8Y6w2sH+YK29UYkLZ/6eksi51ltBdMtv83v+ImxgmL1utkTuhmk9HfGr4cOnT3Gi
nCrfT0cN7WvxU8pU3ycrTucCVivlJBoylTC54SslKXSpCRRhdaQPh/nNGycTJPcKkKp5WYQzs5F3
utjgYAqEOdDGgnB+kx6u94gmFEesew6oa0Ux7+UlkF7gyJAx4iskiFlWmA5xGYdqhyjUJsYH4MBp
cxrtDXeLO4cOrPj2ytf3jd2Uz0QwQYWxTxGyncdB/zi+2c9CnAJwmg9Lz7Nxr0nBqwgnm9qv/cqr
PGN3ceUVCSAvooe9+G3ldYEFzglHTnxZHHBLDe9svAEIlUAydZ4Qt2j4s1hB0gpAhnjaScPOhiqm
N9yML8MNvoE74YWTPhH++oDlMe6pVsC48zs9wHnGh/Hvjnvll7UNYJkqAAalbtHQceON+Cz+y0YV
FLeGW98puJJErrIjdrkgzrigD/LQrYSXinj1ryofbq0vH2pw+WhfkWoKpDBeqp4ekJBj1WPgHdQ9
DQFmEfQ08Fh76oJ0ZYVYxL0DzzoZ+Jy7woPGCW1+kL9a32ZDXDFKhVz2FKjv9v0UlKdqewVfNQWh
777DT7oVWCyoSHypQebJyxI7lHxHSLjDlgUaDK27jTBmkVb5LrpJby43uL7wtxJnlvwz50881j/T
IA0omWfY/uTcHBA7CyjpuP4gqQDaMgZLRFeKm/D9M0947iineCnMexC9wH8HQ57QDMygWzUrxdf8
Tgjj8A7SjmX03KKQcRIfO56gVC6J6fyC+yXhRvPrXvF4CFr89nU+yTwpJ7x8zD43jmcHZCEAvMSR
NR/YvbA84r5iesUZiXO6CgsZAHsCoieU2QSEDZla3lgDaBM3ZwLzxh5GW3qJ8qBH8M5wMVz8l28M
F3z7I0iMwL7rFofNhxAtQ+IM6F+9F58kTk8OipUYaROP0QnP7/AwV07YbatVteKj3F+DoLwbXy/P
qld8iLNloAT1nQx8UMAFLw8YRz2VJ/HAtbD1S184OU23FtsyFqXg/YxwL4azsbbfnbBawdASt0ph
TF5YCUUMxosNAmTsggVwKa2kFdzwoMb6Rzy8OtSXHeFwFTifAOfDCvMltJGC3CdQ9oSDTsn7wCr4
1b0QhCFTCOne8h5wgFyzWExFRDl879E9aa8IUGAs8OoWHwBZCYSim/ilDL+W6yX36F6kGxqPh6Da
K4LrWlhMTcKR6MV+bMMe/yeGEoHnDfpwTISG6TJtbUaIs5bWzEjP+Z6ztLd8chxO/FQ9FzzkhME0
vtqBMH4aHsR3yqvqDdAPxBBwTt0tW+hlIfEs5ACdGIbQ7Be36vdKMK3GPc/jyQI76YSwNB8mji1O
Ufsc4oVYHgyGh/inv75aFpQGO63Gs3YCRXnd2wSb4pZEXrNZToslAcP9ej36YBpRtyAKpWwFBC32
xUgRO5wYZYC92eccj8mH6B0pqWsGYtdju3Kjx/H2g/uWux/YSC2+QZBiX8zZ0P6SgvxnAgI1ScUV
BwtV5UeqjcPCkGTtDLjUQUE5MF+vRogKmn3ff4FVWjrGreX9+ZCqAPf9uxGPBB8YdNCQCo471o/S
DpSYrK8UDqlNwbVeSYS8unCQATdnv46rM6A14FBw+7uF/gzOdfQrcMNBK+iXvvww2lucM/98TpqQ
R/rtnJAtB+qBKiCC4vz+H+i9HGeYrEmMCfbzxpBI1jfFV9KSoqTsQNBNp8VcLqPibTIhFiyLCNag
P2Zr9UmCtIGyEKkSMVUOzGfRnIMIzOmb+qbBFn+fk7+URyhG/cfJWsiCGEifQ0Qxf2iCDCOEz6Ei
2Y230ryn+I3yn0aKAPKD6ga1CDCSFOUI/KkNs+ZNfkvJiipJsah1F1WZq0ItGkyWZ6HAMHtxu7A/
kNOoKrT4FtAQutSrYHiDUfQayTdqTz/vMfwcY78nJsWgiZAJAG8Z0qCQHntQO3cWRhXUmZgCDF8k
Zmov4v9o3JEeJIIbrwMHoW5zK7+rBP1vlC3o0VN+1B6zzxwn+4V0aJ6E1tt9fUIAZPZ16k7XQ6ti
PgdsbiL+/4RfOyCkMwChWKTPFKzK0e3ANYyIznlWtYA3P7FW1W6jLLTXTnWj1EUtrnvThoX2QGf7
Cl3YWSjkwY/GsSoXE5a8QFpontOeQ5TQ4HbwoZ50QCSuemiod/yNgvH7wwOAgu2MKYsmuCyL2fGP
kdYMyiRJDQqpk3u5M9cPOLXgUNe6fyEr/QfXDuSJg7ibBn0N+sWPEa1N+Xk2ZrXZ5vUy27dUMZf2
mv8YhP3Enwj5bBRkqR4U3Lj6RfWEsi+why+kh1bty3lfwZKIligi3P15pimiiPrvmfbv8xIL0j+u
3wTplmaxLhRiSSuoTA7+DX10P1qJjfa6joI/H1AVBJPfD4gULTdDARb4Y7bk1/xsAAyYDtD1saTu
G59UaILHAdruLd3VklsckBm8ktyrbtIgo+yWKl7WQteoaBfGQ0mDzZckBKv/wgUSa+vPM0M0XAem
CFYRK/J/34oJTINaSlkOJJG+xAscKtp1MI8hNP1/3AMD3BOMcDg4kPL/faRqnPtzzgqH0nTSiFUi
f9beEOJkukefn/M+fxsPzsuIvrR2ag/2m0X3/Ll5Sz6dD+vhz+eC0OB/XLahI1WnoxHMU/lx2Vln
JoCXjfEwB455SuLNuC1oCs43UUNAIe26+KCAVpZiz6AQl7+oIyiOOfb6YQxs3iLEjPUHCbOD6qQC
cF4kLDBqYJrruPPsbAVtijuIJ7heb+mFOUsgOWVx93+cnddy21jXbZ8IVcjhliABglE0FSjdoGRZ
Rs6ZT3/G1nfTrd/VrjqlbluWJROJO6w155g2JCtG78yNCrosz6Hhp8XPsKNLTu2TPWN6qq2NrZBZ
sYbnDogNBY5GPUEDbYrbJkM5s52qD6PbUYamMqwqW7TaDLK/aNVmNLiGx0E/Id7roquc7dlHHgGW
pEbQm2cLN3f+eGdPQ34lL5ds5OLBYlsDWhVyxda5f1DOdJx1zsZEtMdXjb2Jr9HwikzJoVSdeVLh
18beUnYj/N7Sg52TmQ8l0Km+uIzlJdMf9fqUyteKkFw6zDb7K0Cotn5dGPwkTNbEko8/ET+384Oj
nLJ5Y4RrvDGdOzYb03SXt9jhnKm4GTeoCo126cLTkG8j9r7jch1pjaM5kANP7vBLoaIp4t1MUxP2
PPoX9VWNtlOyRzyY2rsxDAD5pcOqJsivvZrwbueVDY7llGJQsdf3R6afkDa7Wv6I+rOAsNS+Ye6Q
fqCUxmq7qeyAmcM6DUeleFKns2kTiffYFNvkzURab7yQaCKdSjZwyQGZ9py8TGgE7ke0F9pvZ3xi
le1cc/bvOHcVRnkbwdhOHwJt/lBRJ9Q7TM7OgMoCeoJ8q5h+8vNEJPFQ4kJ01eEAZFfqt8UWWoKR
/RhmN6LSOnma7ibLWr4aFmjVVQ/wDQn8h9lvkngz3akzw511rR0Rd48iLvQeXTTFV8MV7g/3ibX5
cEWHC6LIRaKgURpKPOMp1NzyxA7xqVk+I0Whc+Fb83t9p6kTTNcQIxUUx3Qtyz8kULdLBTAV3mtG
nm+CSi/QZEAIhLO3LmS4TU9lbFOhtqNYDhDwfczpV5xa0gs8vmrserYurv2ivwBsgoWKwl0j+MEa
Ni0FgmLDsA+vcNn1TNUpiAZs7fFnV6wiqj88GVQQWd2/cDR69qhVHtix1SCGyuRc6icFHUZD55AY
n/nZMtYpLTF7n+InKN6KBDatvjPex0tcu92VTmX/Jm9ZLBGphs9Bj39I1lomKYWKp3GQTV8fXtg3
FxS22PAvn/WC1uPUj9vwJA0AJEx3rA+Jg5KJtRadNqnZ8msnr5TKk7c5BH0qTdcetnLjBEkC7/WV
5by0+BntmJS3OLq7MTCJC5r7cwqolR4AQuWVmXpTdLqTUbAgDnmKRrd+1pazdZFab+Y4SdFBkClY
CXQ32GXUr+r92u4S6yilp6lY/fdo+Z3USiuMRCUSQTCLoj+Gc/7vkVvpcmvsHRyb7Vq6SltWnVRB
cat+6GfZoyX3l9f7v21XQHMKHiWHQHjL/L42L8r6bk1qJ0hmZSCtGvqFL6KC/pezEpP895kPGaAN
Uww3Ksrqb2c1F0k3m5xVsxHVzpV2ApOz2glGfPMXYbX6t9f6NvfJ4WDEY10tl4wV16nGVKete/Kq
j6q9Gfu9hqtQLGQ3xnt3bjVveSypne8V5pTZ7QekLX85efVPK8B/nvy3W4rQqli6OW0OrbMz6osC
iMVJ0Ow7LMkTmpRRjSxBkG9oSSYtvJBu/4UWC4OyfYr1qw6XaZYCdZLp9v9l2YgP+Y+3hhQf5mZL
J/rh37embvD3L4vaH+WxQK06ecUgg450qLmjCCfAw6/uxjkcftg4joYEXgR04HyJ13VsvswJ78zS
3jZaxVt/F+cXDfGI8UTK14ICIUW0NZj7Gv1sqF0m5SmWnqX6TaqfHJb5EzDL4rkwuRLANCf9rSKT
Ole3s/Zh3W/EvmBJuHQjbIs6cBRBqra2dUVuGNuC0oQb9lSiAgHctAnv20HznSR+v2sFECpCErFZ
TVayvts08cNz1B7myK9rqsf88Ex3XYx286mJeHuhQpd1G784YhXV8Eo5dWtbArB4nArKsFQU7m8L
FupfjfShqofBpqgE+ynSzgWRRS+JBfOVfv+JccIJxukSFuibN7mDsBTop2vMT10TJOOOv4/6PQkb
uDWgFp2cId80zmm8X0lHWg0NFSshBrOVX/pdXecMeqNpvFgSI/lGWhSXlSUSngrusPEymbiHZor2
CGLthiZ/EbO6S6u3VH4uheTdXqNLku4P6qQBJtXho9LJZadUK6fe5M7QptUrCkkpKQqVusvRfGah
HYzqdoh5mfvBkjfWhFBTurTSy5JgHkQfEw62W9i7fHnSbX+SLjkzOcrYJnlK6wfFge1OfyKiXfzb
sV8thk6uX4UIN30fepbW462M31V8flX/QzYuQ3pLxdyPSigpNnnLQ1B82oSyx7+L+oRgw0u6ZJPI
JJE8aqB/i3sC+BGbA+qtcuIgGaBTJu8raGuA4SeHefHHhFWO8rKZg7CcPouSijD9reR1ZI8ITxPU
Eg+14aEldHO60GOFTHwMKeXuE5zPP+81fTgSvtUBpwNtBBt5ceKslQQ+e9y6xgAQPP2wWtY6CQ5f
5JkwcWQe03cVIefSDb/MktwbbfFr834eSvIKkdFG/btl/YwrqBnqqR9uKAUz84ZUdDUlN4emh3Yp
M4m11+RXA3dWO8fps2pdxG2WDRBiZbWTq5jDohYVcrvafpvb99VSUKab/UkL4vY2DU93JfVQUx60
Vt4bzIaNtmv0temcu3t3AD10aTSD6ku7yR+nhPpf/bhMdCLlt9DBMsLVyYwAUvF6zEKiYPtrEzar
fFB5GG59ccrupWsl6ODfdMlcFzTOK21TWsohlnWv7NOHeQYJh0RQi6UHdSywxV2bhcV43a7nefCc
KMZVcgvb08T6xMAaWyJC1jOIFI+K0KAqXmryvlWOjUFRjs1K16K/UUF90vNNDd1Xps9Y4TmRjAtu
aJXmf1LsFh72QfLV7jaNR+oMrXSokDFb1m6eD3d8iGl0M9nty9hp+jaiaUvHSQ836kqZfkJi0Yfd
oFMMDAHlsLaEq/1wx38woDpVRtq36deTnWYI9BGoae2vmSMoMR/H22X6mPP5mX35ppKOJnEytD1k
+/POeFI3h7t2KUY6r+ERmKSinEe4uRoZGA6L330d2q7ZTlCuY7BXRyf7qBkGkSNHmltLbq2hF5ue
U+nFmYNK7RGS/jDKn4ojrZvo1Fpej7Gwqw5FmnldRS0bnGvXInBtBqxZ6365ryZIGHl+mwveCtUB
I8Odd7s8aC7QTxeVNLSqz66/FSyLSoquE2El/OuLdYA36rfFzUwfqupnrbB9bgeUiXi+HZzVNfZ1
7I/YcBMkLOF5XC6YALvoOeTpa8o3jYfGtOjGzF6c0PzP30L5UNYnx7rOuoacK4jEmxAWUCm/xfW+
y+kEM/U+6eNtagkCvrPJoaAkjUEB8LX7eF1WRX8NzYusvUfOh9biZDCfppnwrAapCTp4vA1h/z51
CQCwB6U5Wp2gMwPWWK5O8drNn4NJzR2vvxGMkW9wBvFwM1o6iwlO6fRNHlmTD+VKbW+mCYK5wQZX
BzFmt2S4KgPKo5tufbk7R0yXQ9OuNLQx9+n199RQRI9RR+WAceCLE7swbhNZ3jY6lcx1FZcbJoM5
Y1NaPtf0W+6aRaf3tkwjA+45iaxVlhleNgNAQaX+UY2ya41rHlkCwnW6GPaHVl5T9o4zwb/YX2Qi
KzDQqU7phpmzXeL3Wb/emWwRgs/yUe7wZjFS12hX6yGYkYsuEu6retc5Z9jW9q6rMx9TaVP8mEPk
Cual1Khaa0Ig6EvW5BPPMcBjmpqHqKNzF/+2e81Ht3WM1edGPouB01YTb87CqwntqO+ifY8/R+3f
aKPartS07l00jBjWNOXspFc5WhdyTL2OwMzqMY5uc/oYI6uNyUrRmRzy68KlV8Z5nUp+rv6WZUgt
A9q4zmCO/q0WhPwQm+5slJh4U2RP1rK3lkMD524ZZBiAV9790z09LcnoI+oL5M43jW0rn+0qXVtm
steYKdM+YcSwVgcdvrfSflqNtL9nax5uvaOVaRWUQF8YjSUH9o2Du+BeryPF3IzxIxr0dd1rKy5Z
3qAWdjE2431GNAwSzmRPbFbQXlUWKs0PLYo2Utl6NXkTWANu5YTYywIRHs1YHLSd0kVBOr3bBiuX
Ep5lTmPf9iyzdXPeG+XEKAk2ckCzHrU3636Z0b7Omr5PNxnQJ2Z42Nv12hi7rRV9TPefFum31lWd
nvP6V0XP6L6ZJHpgd6QKmEasON+O5W+ZkkCTMep1mStPSiCyzrEpJCatYXS1FnPYaK+X+SU3cXZg
2VvFyJ/S84RSeEBtuMQfto0CS/0RTYXbySAebG9p8F7HJIZA2k2EMjd6dLLH0k72cvlqdKxmlnBT
Atqs0l9kXuPIYSFFOYKKzhAzpCS0ljSMoVP01iXIadInDn7ukETxzV34xPg5KDCo9X7FvgvCj9T/
4m1fDuFWwT5lsoIj7hSOq5rCMVDrNWNTT4ZsbeMwTLG5kd+jHLqEwgFyi5DNImboRB/dhAVOwcJB
4Ujs7iiZlySqXBP5ehPu5OWltU+9/CqZ9KPV61ije2azwL4yH+F1pFsbBrkZE0lr0tqZ3gzlKZRv
9nu0EHaoP8nAPi273qdsDSdO+S6Wdv0jN7PFbz+DSe+0DIYkPED6Lc28yVTc/s9iEpjLkE1/u1lY
EU/moQ6pV4PR6uXdneHMKGmGkvU6B9bizc6nlB7yfB9jA7DVTVNuR3AB8bhdbNM1wZPHXNmljIGQ
PWTRDdq2ljxr1JjuK52OYPnRVIJGpuA1oGfQEkoP3MscXaW4Ku1poVQ+oiUU17iREZTeGQ+KyrOp
yuNXb6j8K1CfYpsOmX5qR483YIr+e7aQpsV+Ifl2PeCX/yX1730ZUrzCsDut5jmYS5j0z6VJHzF6
d+LijPpf1p87Bd1bTW8t31fFvoaa21tBWz/p5QO2atecDzUDtUJHl5WRtZkoXjjOjrTF7ahc/3uv
6vypfmyqKtY1IjNx6H7fP5YkSqqJ0h87w3AtseShDFW00OvHCaDjmw7Pf1Q7T0bdMt3i+aU81KLA
fhQEhues7lHpvtoKOvByn6WPtgWCuD+GFf18cPpzhGZf6Nely5BQu8EfaEyAj3eDitUmUNnuaNS6
NI1YIhYxdv0eD/KG7Q9382XJn+94V0ITL8Kj3g+bmrKWxNu/AMrAvCIWO7Giu9yjjKW3VmHym3bm
lPtxBqRCxiugre+WtdfV1p0sgpsarFPFWbd6d0yBCc3EIeTDNoK53bAr0uRdUeU7Dap3HiGOjvS1
nNg8ivLJKT8r2K6T9fOuX2prRNbs5yapkolbF5RuFkx6U3wulZtWL2uD6Zw8SPe/b9V3TP9XseSf
t+rbznouE9uIxFa/RydCM56zZ2YPWTfRXkexcUXj+t8vaf6xuvCPp+ObrVG755HFrMXTIb0k0SOc
sumQduNhYNWvV4vXKdM6h+6FgzTENpOFXlpzG4ePRLqCJOCJhTs2gn0gjM9eOcbn1MlBldG1U85i
Mas4E3aY97b7TGcsvtS5ipYxIt5O822sP8b4VqWLF0UnxRhdm60Fbh2MUOhZjiq2+ChZz3lCWI1x
NNNHdYYuYKteJvJEY8qBd4PMkKs+lcRIsIrG7Z/lhJYmq5C6V8wo+JerJVq7/6fuAzVQpS1Fnvx3
kzvLvUUZZSxkmXSIW9b5o2saZM82F4ONeT3vx5xqwGWy1oNyXMprP67ag9NtltZbFD+/e7xTQpJc
ERAOB+wAWXyFKKEte5kErXq7CPj6at4uLNGnQ2GCBqDozUCGf/jTQXYTPgBqpwi4UX5Xj5RGlfIl
e8X8o06ecmRuK+iOfmIIGrDPBLG0scanaL7mz42KAMJe6/12wjS0H8egL/9ybb467d+ujcjJ1SHD
Mcgo9rfCi6WMU1PlOHdgPbIiLlxZYFqI9Q5pVSgLSS+wT8hS7Yon4RF0kqOeIvSjU9Knn5Gk7lLp
879vlyoe3m+HBFbe5H1lkShEQua/a0GL1o6SXEfTUY+zdcpmp4DkFzUe6zLNSKGenuTmpsDerHKN
vHZ0ifJvx6SPavoSdsO78SLe6DOViw5He+GNhGUNZDu4pk0QfLn+78NV/lhYAwEJmpFnDODcvw8X
VIMV5iz1H4mZefgplOGKK+3av7VW//g6JAg6sH40W8Og8O/XqcylLZu+zo4GU5mxWfSrspjAfz+V
lGztQMN+lll/yy78Q2XWUA1Fxi9Hrqb+vTI7m2lY1hNVQ4E1Caen1DqGKUvNaQeSEvc0q4e/xYr/
6SUNeLOyrFsYcb50CP9o1eJjjqZoarMfXS00nJGItmG/rB6WLUuyv9y8r8Lit4fN+OerfWtYj1Ko
RpoEsrfJ0tdQZ5K4P0i82XOlXVnKZ82AOWhHe0QUXtD6AdxmKNG6qpegW/K1pGnHKf1Utbe5ueCw
1STz5oCbiDowaE3zI8ERlmU5wABgmBNane7Jstt1Nsuu6cRY3lU3xm0bVtTQkBsoMxhpKz5n5XC7
Y4gzKpqG8XJoyfTD09kIWQgAg7L9jKnCVRIDPOBMOh9Tf6SJW85vnWKQTte4ufQQqQ8qPuKGeTxM
3pLuKA+UI0I2bRRw0p0SFm/xnJwL4m3SaZ0O7+Hsm9ZhZGAaJxaIwIQLp9zobCTTD5HbPC/bMtF9
kwTr/qlwEIUxTNQck1woRyv7/NqQtrsYspHCzsGA5NIj8nDGaSNZ2rWenU2O1yRVCyonTNppuq1d
rJOzjJGUV+vU4bl1aIHMAj6OyTL5HPHFTwWuuPzYwON2PsnhWKglDkWDoYalNfuxFs9to1dIMhTW
YZwMFrkpQZhe6gebcoSlL++JUbkjno9ktn4k9S6BMFIzMebzTlo0t5dCbKeaH3JOArv938/YH8D0
8FVga8qoAXjzKt8GCF1TSzsaGuNgzadRRUf2K3GcrRbGfr5ERxg2KaENcCJGjcKBXPgmY5SAJ2NS
g1TFCam7LIwwRT/XylkKx22dXKcJmABDoCKVp7HXIUjvVfjEivG3degfvCIcPQeuC46ICZHm38PO
qOXaVE2qiHgDp41lQUFOLdS+HaptkZLlrGa8Ib0niHd5oO7agLiNLym2cb57Jn8WxER1Y3jJtg2q
E/oTGPMP8UP6mJgr6Vzil7nim5LO4cU6h0d5Z1+G3/gfZi8PTL95xyIPHa7GAieh8Iw8NBFwONv1
smuhc4rPwyctYCsaGEG11QJzI3idOGj41YaPqft3z4u2CMxFpJdwRHx5IkD3OV/oSkCWn4kXoapH
9Y2Sn90FQnn5GRYVlhiQjKilOeEdimaEw41fvGlbMGO+sS+9e4CILEg/DGJO2tfaI3ktoF28739Z
HoEoHlCud5qYyWp6F1eiONVfSWTCPlAGQokurt1+cp/xKGOaQUK1ms/Dl9NCXGu2fBhShEsGd99z
HgjXhca1FZJ9dSPhZwAfWSORp86GZhvV0x5f1EHdjI/yZj40GDJwaXnCPCHsHjIMQC6rftGIbt30
vCQwaSyGwAjhf+I4x+4hDD3o3tFakzMJ0NIE1fkDc8dP1HBC6889FzzV4XSHmCmYld3FfNcxRsyY
HUrk68jaXYNDEJJ74RUAufl4X1fv4sIK1CoP90bbDj4A3C9PgDm7Bn/sz1hwD+2rcE8Irw7afXSH
1prbIjxI2BxoQYqPszhGYQMaAKL+73/WZ9MGywE/KOxFBUYE4NBet+I/Bf/HjwcflCej4rrkKViO
eA45SHEgFPb5ENDNMwGJ8GLStTDPiOcaFz8fqSdE9amQrX899UJLnsD3TC7ix8Q/KQwCKMdWj2/i
YjOQ85XpyzSUQ5hbochwix3fhnC+R7HPMXjo979+rb0RG0S2N135SOjrUVw+NP4evnjfeikwTJQe
egbxCefEfEvRFV5psTGE5YPbLq6msV+OIvM5hhVaIFxHuv6LHtDG/vpzKOTsJ6iqrv0ATVQDwUry
zj7azKsf/mNMggSiU1ju6wpig2seHvxpWn1QfFphw3eVCxupzXwxGGVX9UbzMQUGQuitnmc4oi+v
GwSpQiieBEmg7JpD9JCeAMJI7So8S0D9VukpKaiLrLRdfhoOxq47KDuND2VXHLDZBpSDd9LR5pub
QATZdIiVVc/iO8BDokMfvO7j7scvkHGQmgOaADuqr/ttvR08OpZXxW8OFT8j+Si1fQvDT+WbQbut
N1mg7RxfyL3Hi9DNk3aAwr0IXlk07ZBbUdZDPj/6w7X3xccA/pffah+VtieE6LlPaM2XkFso9E2K
H+898+8KnaonPqLXeJtvy42rrqarjVpfR02P7PbH9Kiuh0Dogofgjk7YQWpH7t3Xb+jOabzuUsTl
km/tVGT6B6EvR3nIWatf58/ZsPjY9e9423/cN9pvlb+WfCHQ73AUCC128gRJcC2U2e3mBbQNyvsN
FCzUyhRrKy98GTkVmpif+r5FVY+2HhHjfkByXx4h5sFMXSWevE93vR/d+rf/XQEyhb32rUAlPZz5
DPqv81r66aZAkI2kZtM/CWl2/gaZzRcMVgTNgFrZ5XItUVYwPCMjxm42ua1XrESsonEWiGLbJSdL
uPSeWKP4EpZGv/5ctukuRd2dbipelpe8/u93YkNOKgJqFWeDDFFWsGS555Gf4CPW16HHvYWE+wKA
n9ycoEJstZp3UdB59FUtF8AhZCWBpBXehuGRi83VrdZCWI4wxM99BwfjjHGr410Oi5Ax196EMFlb
hpUayyIoLOwZ4tBK3wmWPcvdnBXWHrogi5b9sCVX5CROx8bqU/Nj6Dq34tvF5aNySUEx3cjbDFiy
OF1C1lGz86BdKj6rRadu2SbXmm8nWoS/qNZP3Ohl7fjCooDtnVBKYTFEyQJfGTT3dvmS0VsB9lqO
X3yNzbzMAQl1vROII/rvJcuf9homwj3yadnUoAIRe55/rMEnI7trbDiA61pPZXvpJ99s3pKZoSd7
IuU5M95Y8v5/vaYFm9wiHgRs2b9fM5PJSSobuznBAEN3l2oQwzyr9sGjzDCvDF+2/iLS/MNG02R/
QZidpcgClvjvVxzktC+p+RUHR0AXMBx1u1E5ltnfrqbYmX3bY/A6EHhNkV6Awfzfr7N05ZgrqdjR
zGftNp2KT8zVNFHMFcooDEClv6zWVvCX6/kHSQUUSGqHyN5RVXxPOo70xWxpLpWPvTcOrsJUCHP7
WD7HP9LV7/+v17KFvJhIRV7w32eoqKYzVk1T4pgzXYH6fhC7YBZ267/FAiqi8Pl/LqahwNJj36ar
360DRaot2VxUy8O48KQc5Ls/MNdZmwTAcLMO60ed/MmgHw5osuvob8W+Pz0yCnGLiGd5atil/vtE
w6qclaQv1QNJ9Lwr+uIo509S9BflrPX1Bvt+lqqIyNHZ8hO88u0NGMfFFC+qrR8KSjL6Yp068jIn
3V5PS7K1pJ/sI35W0PmG/FQiMBM1R/sMPCJCdkY1d2OhFnVkLJcVWDhZrVdFjLQiudQAYJLxwJPv
VmWEe798iYrpOGrPYQuUA6XIiJoFHsVqYk2v1xtSpAGPwL8B4VX9UCXDNVnJSGUQKfRI5jeT6m6Z
ofmbGlIVfsukLGk5sEjLr2gkCEpabofbQeqeStVag0GeEaa0WvGS32mblsovpVqolMZBM81BZ91E
83ia0fiEty6nhqxq3tRXLvUAgANuPDzMXygQNFtxsnbyeGPta9pWjdwS/vTbgtTTomCiI2Izbk8K
9pkMr0S6qgA3W5C1KrLiVfZRmny/9LJnJs2uNK2zRqq73C+vUYwTP2yGl1F6S6M5kDVmoYi2gHmJ
2KiT70RRXDgAiqcY40ob03FC4htm2HzCNUSWF6XjQtgstzogG0OQm6BOlU95fOxy2O3q02Juy4jc
QHOV9yRK54S2Ey1h9peao2wrTFZKdIpoi5PzWnPsemW7JfRKQz6GGOaGhd0rIt5N4qiAqmHctuFB
tZEe6c763uoBFJyn2m4It1gwIvR+UTFBiib5RbE/lvazUQZXyp8I8yqabD0AU0VI9Iq3on+oIq+O
fe3QOW7+q8ViayKpXNfJmmr/9N4i1nDzh4VP5OeKNe59cz/MB+uW/8LNfGBjBwD2Af7LoX4sTpSm
8lfiVKl7ftzZMXbv5rMJbwvHxfmOxX2Hzom+Ho8wuom7l20h+5SF245iR/iYPpJrCp84sKUXGdFq
ZaFk4ME+D9O6QdUl72SHlfbwKPSU0meG1rWnXyhMOgpGd8fTmoTqJQDc8DOqeOjoWIaZ7mYmZeru
o+8QkF5m/adJ2FeXs3YhN4wA7QfLJKF8BrpH1TFJJnQbqbiJFgqjuntYynLtdMVap4skoc7PQmiO
kNTD2PTrJfNbEmCncvITNcjo8GkTC6TK2U0K+1Et3unxtbBHHN4K1AqF5xpRTDpEFO90pF4Ud53E
TY3ooACCK9nwA1h9jO3ZQNnTnzULDYjW7s3ojrEW22rU7jND25omgRQ6q9jQcNGu2+0ppI2dWvTE
msyLrIda8IuW3nqF17RrrMi/ZzC+7NTrJzyZKM/iKX6V7ySX9zCTtV1atTsp+WlD0stFzdTYGTpI
SpifrT6zG9kUxe8cAJs+6tsoJZuMd6ZOPnLTKmQOKW6mp09SBgd43Nx1GvMkP6f2bZJ7N9ZZz9JL
CEd4DIhkirx76hIWceonA+G6xhkwzso2Us3rnSxpUis9XU9PTnjNwvF1MmJEbIhgaf2k3LZZeVto
NJV8Z2qrJ5Jp+YchUiCYWPJA1reNQWQN4W6zebVh/EWUrE2GubFBzEzF/c5bFNx2BHYjhFVham4G
kHDm2ZeiYi05FjBx1RstNCahVTBowG9cRbXshdJFxsuhzWDKGxMk7hptnd75PF8rBE5rnAYnrQgk
JAKpLq0on/rybLtGnx7Sed0QDL6AGq95EFJ04HX1kQKRqZeexFFln82Y4OMatsT4UhosTXUBa6fA
NbElyx+pxWwX0SdHoJhM5dMUoziq5YtNnKQ1xAGIqMPcdbcxrzeVGn90KS05ZAfjBNJC+Rwm6WrR
p+re0ip7zGjPT0jkeyiBJdZvuZp/WQUgdBIPevVRQ9+RMRH0CayLr4AxmuyOrwHulommvaW1FkwM
vfE0bKYCGRkahkp9kJbodsebMNNZBtu8gsh10/WBZjW0AXlE7p0FQ4eAnU512b2Zw/NSf0Z65uWz
hTQiXjV3aoaKetBKfU27GTxns57hpFQ6Bk2MYK0KE6nVeCcym0Qh2/KyR0H4A8yznynVuY2nrV2n
20nXVneSxTMyQ+F5bm3S4e4lHCOiRdNxOuUyAdVpe1FxhNklC+nEOiAl0myoleyER0pMI1U3RQY0
7CssoSq4MQpn4egs3wsEN8wwvcHsqyjvciOt+4KWRP96z+9uM8lsT64U/XweOHxxTwkzhYrGV8Kd
ptPgrFO/qz5o6QzW5Q5jvcf8jPy2JoTG5t1jgdtWzeQEG85vI7KCmZlTiqZOEm2cGEuZAzoLK8M4
UZDJEUuUtyGZ3SzWjzbnXaH1iJCDxH2+T0gwQ+g6aD+16DfIq3Urj35k9+vKRJRpW/hJYMm2EC69
CTaPySQ50PfB5LZUz611sHW/l3OkoxR+4JhHJG3IkN3UYh/dx8ehMh/mAbI9kVuWcUXQQYjpfVfS
zWuQci3IAxvwodA1FtIfaooTCMtiA2f8dOnst0TjZsvpQRywnd/yO0jJZCACCqL4MaKqmy/Zts4o
W4wT9pf+0V5A5DrXCRaaTpQUGrjWnB8bXbtUMuz4FtmHaBE1XodNY6luM7R3EQCdqsY+0gdaCJlr
lre6OnTF4FvTcXJIox2b56SQ1nLdbquWbXxVIH5JASlJfnZOaeRK2AQQWI4UmWJ73yTm3i5uQ3+N
5soz0l/3qHvo7G6bNBUIJuRHeEttmjEat4ao140i1yubYC4jjFmfeLNxyizwN7aJeWISvaousJLm
0Bmwr7BMRsZfNld/6ICyoVKJk7Mdlujfe1SA6XpFm9r70S6Fxem9zH4Y8yFMDpHNhJfd/ns7YH7f
eliszlEuWKR3y4btqN9WyUWeqw7A0/QJtM66WCFZdCV0r2u0Ad7/8EKdYGk01Mr+Byox3Z+UGUeX
1SLpLA/+uPrgd+n4kq8OzhMqOleE1eCzWhEihoX5aRutf+Pm2DEBANegcev+9ykowM+/bTS+ToKy
N8tkA9Pr10bkH3tgZ04SY5AJ7+i9+KCTtrTsGMFhiNhQeWzYPDDt+TMgZgg9+WO01Sln4mXB50iN
eDP4hGJTyjbOqi9+tveWnf0kftXOsj/xZ/NNlM3zg+rnB/H18LjsnGsaWGd5h7g2MBHDUS/uD/3B
9sEAAZ2Rd2lQi9jtkw7SKP5FaZnKNpkGh/armlwfqt/GWeMlZV7UPhrn+SOl4qwDFpJFTb0/5IHx
oe6iH2D6c2rQyi28aFQXx21DCZKDv6DpDNJf+q4+5Ic4UP004DX5zt6riMMiCsCbdqofHplkOUgV
OFF/UCiHm4G+TsCKKGuBMVIBF/WwZrSvD8OrqX3zbxKNzJHwc6zgOBeOi2PjtDllyvycE8Yn7/4o
qDDamlUjyBJRfhf0jsGH5LHruLTVzvhZbKYfFuVREadleEADuQr8jFecbI44DuwnFWGyv3AhKhIA
U7/Zpr65MX512/To/Mr94qcVDD+lAJlT+6l/FXASqlwCU0BtZi3KOfnmfyiCITBc9HNUaESNsTuI
Kh07M8o5y37ZOgFsvm3u64wZ/CYFTNHbmrINFSBis/hsP227n/kRIU3uI9siQosfYfwXXYp9t0U+
uWu5xc4H0upA9uVdctJxa0EA7MlIRSDHL8ZZ4srvjTXIqQ2oU2K6bi13pNk32277RaLaIHjhKWkP
yYkn5O6KJ7U9mL5zhk7M7RSNFTS7PAHtQd3RUeGznKcNnBZ/y/NAT4Jv//pUY8uzk646D6I4GNGv
sH3xg9FJPJziDooORh9ouPnGrR3gnNu2e1StGzWwNvVWPAuiZkctdo8xYIufsd6228QvKd8ZkCUK
vL8JVTsKvF7Ih0GJzwwyPzmKb++3YcCUHdAC3MYeX65/9vuRL9u/omP79XqFj1I+iHbjnmeOp0Th
SUOk+VVYb97AlHjqZ0nbZvx/hJ3ZkqNI07SvCDOB9tNkBwFCQhsnMqm076BdV/8/oT745q93rMdq
umamukqFIDMywsPDPTy6txDUMGzPHsHHnYINywfAgbP2GUBG6wT4gD8N/xFMcR7bchFbXv0RMorg
PUL0a1iH0vrR+azz22STXwdI2OwVGjUBvNeXtw4Y+uAzyryRFt++P9vypxOE7hFu5y2QDPId4To4
sN9eC7ogI5HdaToiZzRdnSbSzJE+We2rWSMtAfkv5oYWN/aSPDLDlR0pO+fPE0Dcn71YeAjFAQMe
IsOT9cv0BPgiyBkro2DVnG3ZEd/FxW5de6K3JB/SQ5DmEcqe9Dak6XAMaIkEf97pNvh48rHlekHk
5LpPircHwE5LmXsSyVuXxtguOS4/3/uzD9aBPpr6mBizInjcPuZfCFzgScNYMwopgmPLNjr7R1Qf
q99HMPUqPIKSUcl95xVAUOvAJ0e5RCDxuy94KtgwaDAsf/vabQmYa4kaB2IewKXo7oMhA6QCTQNa
py9XVDwE/D37u/job7vSHmjSPGjnurv1d8Otf3e0aM8ViObG64usk9e6+87dYXmwEjGm82UZ1whp
a4zPgJQ7da7wtWpHVfdiy3qVJkQ7hr3GUmVF7Ts6L/FAhuUEXs6FEUtIDeX65H9uqejUyHUZTg2U
GNUZoF+AdcB2+R7kSZzLYBdcXIkdmwDHUl7guMGD76tWQpy5uA3UHeC3fV9f3jrTwNyKs6DIDvni
2bmhriJI9J9vEtT5q6iS3lgUf37bM+F+8Z2GVXTrs7pZdEWxRq5IFHNE1kRM5ECrweArnYpFeeHU
A1EvQkoI7ZKzb4xF66jpHuIzD7fgOcn/cX+Do2/8vAKEPMbGjx68nafzCUDlvxvtw93nZ1kMVffJ
tnsE33uaP4IX2P3FNhDC4jZLOJAf2EHLYmPK85BXQNuCYIIGpiuhZsqmJBDI8uJrW7fmy+aV5gDf
Fe2/YQFxJ7YthO2wQDnqyLEkG7lpl9/YgjEfYelPgOIrBBYijXvzapnhG1nNunhXp6sNQXCqrJir
Y2TyvOV65KoZTqNVhTYkE59X789Rqzny0cAS7uaUDoMwbMrCQ0YF6N7bcghsgj9nC8pHX4EbuBTu
IQK6Z97YX4vYEYfIlZ/gIzxwimxsHJ3jP00B1IbYO2tUe1DdYHvLsYQQ0qCkySMvi9YgL0svJcBO
FTi5Te+qyR8RUBIZJQYdpFnA71zST5hLc0vrbpAjqoSGB0TE4mCYgfXEUvSQsui1HJEGqsvGcwws
ViS6MJz79xyr/pvp8zvD+sVoupYf6o4bQweaNyUzkrNvR3gj3+L4lt6+3uc0dCWFwXx9JaHvzcFz
IG1AxIGVIWup7r5/5AwRR0Kd/z+tpD+ps0u1gRxCNev8gw0HJoY1TAzvqCPt7Dsn79/fS/U3xv/7
vfySF9g1r2uKkN1nACGZnl5daaG8D2k05WLnWZg+nkvIzDAt3ZgsOTB6rU4NQR/IuPYlbqE4Codw
b6927uLvl/alCv8TS/51aV+pin8ksrtt7fbQjNNnECIkiHGC6BhCJ9/TxX6ohkXZrphCbqmi+xrs
bBaKVTCUU6j/IMq15Bb873W0KgiPAm1XKr9u0bX5bKwbRfPNo36a0Vkl9PJf80ynDngf+JTMqx5j
/SLe6KDfllPei1DcQwQDtuBx9iFBK+ajko0Z5QVyei/n5EfcXSfz/V5tgVscAJ61O8o4erdgEAKJ
Ub8edWwPlEKZ6WbZ1B0NW2sdczi33gXVqaJoydxPly21OrjFCGDvgW4f4q3/8RSqUvP87d1LifaP
p7AuzvXiYGw+A6RganWFtk9ZZigU1vtvhBxW+g/QaDmpj4rBfb0EBG/nDxJ2c4fnxIHPaTNvp/Dm
mYqFaltHR2Ad1JDAmUCO//t6afzusPxZL//3nH61qy7by4nVfIF0mYD6tXedkqIVO9uCYVSKYPvU
7l2vsW7EV7ECs2v5flZFDvEBGV5hSAJEjo7xjfNoRhndnp+XtVfwqfnAew2kftbhe9hsTW5nb3Pp
v6r5GeRHD7ZvB06zajCPUvpgcTc0j6vZ6ZMYmsNz/aCNhqA1r8lgPjqAOYoZ19Hp5Yp9HWjv2tN5
cvdMe/zHzfj3x0YLrQbbulIz6r9K2cNJa3722/JbBfpn+9ABq0AxNrpTrhGIqFj43WRQe7tJe/7c
2fvtCPhjJcfGThrUcKZhJv39ERn/vqf/cVlSvP5jNTE0cmlf61e5LJy/BwYBUffYJqTQHI3dDfna
NmjAmWlxhaLfiXdwLEXApfMmY6wEEMWlRGwmGwq7qlQd1Ekoywbyb6pSlMF5OdQiv+coaaA+L77J
K5qSSEWyQWVKX45f0vYMAonPMUv9eLKkEpV6QYK1/JGaRORtUeqIt9yril36uBMM5arIafkofcO+
eR9qB/GavRPWhWpCQgY35P5NI+qkbygx+0hyoYbBX0mWeMErtu4Sui4zSVDO/hRNutdQI3GUJEsS
k/VC9NNE8/AKS4SJlVUTRTUm5OxmcPYPpIfyYsIYkH8/bESROnSuSAyFbvEnWTNQAnzZ8jOopNCh
Z16IDIxASdbdsLGXD8QSmuPKlzL+GWz8ap9xh0huqXzI37xxcp6w4l2tU/c1atAirE5qMfWfrTn/
sTZa/4q+/GNtyP7+x9o4rZk61lvnV1YCLpy41y1XmHdy3w27EmEEyp0HvkBgtWZTwVGb6yAIa75n
7cl38ycQREBqN0m11vKkwwYJ8T4ChiZZkj9/ar6tu3dPc0mrBEb1+fSt06i5GLd/eVLwoPhFicRy
gtk/7W6I5utASgc0P2Vdscp2FPIGxY6QyaQoEQRFCooPOdyackQKrjqqpeRyaxMiHsgyhYaUfy2/
MqHnRcH56kkF2UQKeDfauheqTLlgKUnJ677FqZR18t8XyDIG2fWetEbyJEluBCFoUrk3ydzkq8Im
JGs6UUNB7kBNEB5McGTUhrRb8vVLKu1S8AHhyUgaJjQW0nz+CzA6uaXy8kAAKEKT+skfydmEGfKt
VHiF01eUEKNQNA71yIBhJHqI8mNk/54AC1vnELWF19gVrKBK9DmHVb/8ki1la2kJitQWJ/f3vwxY
kqeOFHuSh1b9IjyHTR9wgM+CRchVSxWFdibXc+Jd4lEfoDY/PtusS98YCRcHko/7Dv8rO/ofEun3
SPnHkvx99J8LRjvueJjeg3F0yhALxhwJ0mvndSNG6R08WaP1xRV3bjS8cQOBZVpmSMP30YwLscNx
lsi7dLtTp4WsZqLljCir5921Z7SXBvvxwPCotXCkBNyd949VRSlVUYPmTNQOV5v0nAC889YDL4X5
6FX/I5Ot/msmi2ZKkxmKmtGo/GKRVyvXYspwKsK46DeH49zvbZclxm/ZtOK0Gva7Sp5Fi5jOI8xy
Ln1mmv102hPXZyw5F89KRoRAfRy58qM31LJwOvt7VPj3Q/0fV/jrHDvf74fHVPtgd4jempYwwgED
isO7gej0sxySgjWcvRaThCBOrXvGUO/oD/d07IBab1WiVN1u53RTJsLwu/pT9fYN9YqQLdhb1z7r
PaAHC2B5jdof+7io1VbTq3eJ40fvZpa018xAj2ZvKuOG8/YHqWiRN/8jwWz8Rrm/q+wf7/HXodja
nq+3c/3FxJIj6uhXmyTzfF6KMcbay/VsfvORm0Q7G/MDAzga2mieY0gzQb8wgDsbuL2ar5emdiV1
rPhwWDqfFfPQY9289OL3A73UWZP271aZu3CA1GxoBvauZ5rBGzYd+uvp3x/ad6Tjf3LGf7yhX5F8
Uzs9HrWykFNeSiADGrRgQAIeaxwmcvo07AL48NJpgNxI2BQ0rh0f5gJbXDhPt9A12+kVjqGI9mLu
0OlI9COomcO/X+2fwZy/Xe6vXf6uGbfDpfaWXV5aY/2nyvFivege3+3xy2p98gdOM2cXGsFxnc33
ZI/M9+DGwzgfje/ObaFjf3A8qtoxriPkpbkPOgJoR7BEUYOMsq3q4ZHlPm+ADCqrwQm+Ih9/DivA
0Sf39nGuzRA7jEclfpLimGvuFIPI1RS+QVU8OmwqjnbIw06LZRujpfg0+hjee4IIZasKOwoYDx+t
QQZqqCoiko7iByIAnYpZHZ/V+FF6jMnHIuTvJHWPSdCRhlmypdnl6LlTOqJiVlfscN+qw6r5gQcL
AbamRYYzHQfic44M1+qwRHEc62ZVC/tv/+5XtOT2sfFRrjuxtppM9oizoef8TGJ7n8GR6J8YflYT
3Zw93I1aeZZ1tscNF+7EWYXEDAsqQ9g3vH5Ds/SB0UIIuY9GVG9tLWjpxsNx1P6J7rEDASK9g3Sq
pGEm2yDTrSTax9IfHr/O0Kfb7JHPVDlV3ul42IdQpKbh7F2JjY+DbeQT1uhD3WoTGdGuxAxQMLOO
x9hntjabGMvwe7POTbm9z2jjvBTE1O7LHFFUbmxuxmU1mlyhFJvUmp3gYPe/urxxMCk6nWCnzEP+
ikz7VapOzNAvZA5ox6q+ihkhfnaePhKnTJroHtJEAJwXiKmaD/8yXpxtazhFtP6OPYOgqOeWlbNU
Pgh60EYAWOWdzd74jJgfh2bIOPSClztDJ2EW71R/naRNVHadVaGrQbFzEFTGscF+vPzWnD7v4APt
BQYD47Gdm/muD+tN5oLNaoASbIde1BUXJmfSeaBB/UZsANOVStRS3/zQ81YpcsR/32D/foq2mWCs
wOdrU5H8/4ndbtd6tD/n6SurBG8b8RjI3wIg35c7RyYSZEpBxM5PlvShyKOsq3txmmjD66Gk7AKS
S4ggSQe0FY34K9gY0DyJMvoQLWIYVFVaFpIuQBRqkbtUvFMuiJOoV8u/BX+ajuT/BNcUxOkCbvX3
9/nVhfzfOPJ/7/NXHP8Y52Oz2Ou8zy8WhO7SjwyVyNiDQNcC8X9IJ6dkdbB8KBvqUMJfqaCAGOpc
vCa1GPwHCNaCYZUkN5oP5Up4s194VfJ2snLip+bUGRppEUX//haa/4p1/ONR/Yrcl9rjtV6fb6/B
mQkOwx2PL360MbPCzBy9E+Xj8Xb4NvExiKi0HF91e0bX93WVcGLBQc7HFTMhL8/ycY0uDGJl+Hwy
s/BRr9FawXLGoJEZd6hMXg17mx6Oe8yjDktkxs0+mg0WCuH/lePAh4Wwygr725P5hdjd8IF+Xnft
z0ALy/Gh09h59HaDvdodzCNIBqPcQS5eEYW696JoWPfxWEjHNLh1iwjacHOsKZImnDCCFz3bNAWp
NNPhpz+spTRJUsqks8qT1izXVCuIxlbphOkmwlBhHJLp7lH60+zxuKrS1apvKK+/2rjh2z2q8dN+
GLzoGGgFS5tg043GLSYzgrDZt46ziomZ8GNLUlBNwtMP2cGoTlP6xWXD5FkzSsQOdqKc5RUix2KV
mbMxGbiYt2824sUbZBlVFJZOevdSimTzHZxKGtu1iDKunS2QIkw8gtEQh0qbjOIeg56NL5aHLPe0
h3525PUvef9kptDMa7SrF4thxR3TRzOPjM2YXDf9cXS8uIQa1gsJ3bdVWyUMqzhrdUY/nzGSwt1Y
yIn3ei2LeZzWhAGOTcKisaKmGu/oLXF/o7U4f0Aq4CacZ4gFdHgsGzUc7/wjVCeY+biozFDv6OQA
UJDzaDZtzfxpR1bYsNMn2TJaDxVv3V9BNjdRq3gqvmqEXuq9EojwHYs77Wwm0wYNfJdr48/VzHLn
qKxdx4q4bf7HyzYmkVf74XfGR5E/5nXeGGgygtRyWcxxjlLH1H1Y4zAc8vpDjDPGSI7i/iGjStUx
f8PUMbO80CFNmUqidS0TBddguL4JF1/Opks8MM0VsswiX369qXQob7VlL1bbjeqbrbCf7iK2Q9+M
OXtgI/etcMMNEWM1pCP6Yer1DQsmpDV75dRcwilo2QhwIH/etoaLBhMCrkezxBy8bDNYtf0peo1M
aBUXGXMYiX/IyST3rajVup/q2/BiGVElDaEmvP1+nxKSfm3pXG1DDFs+CFcwWUVWOhZvoiEyGnU1
vnQ4fXkO4xd0zkDcVJIMCVccmQrFYkCcEreiO8+opM3CHqIZzFIHyXAYY0OflWrBmfYgJJmXYLAJ
eAuyHlE0VcU89QLb7rQjezJVJkvRO4/OuBy12bRDneeIm73wMSDcciWtAbxQ8uYi9DwT0gUDrJgQ
TMyg5vWJnIvhZRyOK2ggqSeTZrLhyKV7lVmiqzPd1uOL6KTNr8woRUz9ZJzA6tbmEyZDDLMga+qW
JCytwWOCeUF6Mo9JP2QniccQ6GFT1dxhaFHFvckNGEhLF0YExclvKpmDVTcnbFv9SriimWENGxBL
yhJZysabSyl1eGPqOLyVXqj3sbTthpvoqWq6jf4mul9u/7ED1N4nRd8IL/La6WVncQk7O7DX3Xiw
ujIXQ9BMS2e46dDSXek+IcYMXsNggEHMKly8ULmwUpOkyxqwjxfs450agg2wp7CMYV2NMcXb2Hc7
xLuMr5Bv3lUlP27MsspITN1PPepPINCKCnjSZzXbwGJBpwkTJ6ZIhlLQV5MjY3r0DTwvmG16M0OZ
ZbQ6uZy6wW1oD+79WXOFxwCKld5H4xd7rE2QsklLxcElDeJmYJveM/QGsGQuahasNKufpu+QLs4j
HjDY8lJcwmpNBKp2MT41K4E17Jv2BFXieBajksom2XBnRLeQBcRuYJ+Qeu+QnbNYoW0EqpD5XTXc
8brHfL3YtJNoWbVVnu+JnNVwm65Vz8i6vSNHXTInNvFxVxxouXM1sZ9RlQECuW8rgYL+pPhyoqRG
9C0tq92hRwyb02zY4+hDABGGUJWYdyJfZQ7c8YmqUYtnHzlOguxHe55BMKFboR7d+cnJdgRMlbTI
Ek3/bDbXavkZ+fMkh4fWVvkVqyToxnltoGHKw7U7OWxj4u3Hz157Bv4gIZWLeZHOo+hhRUTjZDxG
LBoSnWeYxexe8cUP6DlDG5N/I0sfJYnf6r5Upnu+j5f9eNmOX7y0g03RlRlDBdmKMZbGxmPcMMXL
mynNe9ocbfODM2cMhA3DSnCnQ8a04VF0sOsao0nNeGyTDJhPoqNeRJUS3qNtHF3jnRzurkY3K7kK
qvp69W91dFmdYR2BOqHq0j1c3ROPWB2yQSOCGOHw8sSp7H3yDoxlIRE53F0BsBF4yVjju2jaSxGn
XKYsacmD3jhOFdCSeSBI6eCXvCFm5deZWFi98xrFvnmZQEjUifHnNMseFQ6nub4JG7M2fnKc/EeM
h1uI+iUHLaqgfbqfsff3sB8RgiqYB+FYZBEG7yzwuKR0gYbi5cjKB4zmAMwTnKDUMfcbJnGEQ4qz
8WqPC/yVKWV5B3cFpZBSmxi/OgX9L5JQ7qziYi9ScDYVbML+Ki3YIG716WrOmwCB826F46ywh0es
RIg4l4M55rdRpdaT81vxmPOKnRwcv7d2lc8p/L4snkAh64gFTPmHFh5zdXUCjotkH46on+RSW5xe
4YsigI5ikeq3Qu0uWeX1Mo+E+YAfqSDZ5JQGwFXT2jx4bwwM8Es15waPGn4gh1yzz1HHoz7hGFh3
3k0YctcV4wQy7emd/DZdF1Wwbo+c2a/Sq1BcWmMtGaNQkkO354hoU9ZxdI7B86dNGNtWebVLa+Pv
N2azXycQc/Qe3Sc7HWbPJ24xI9xw6z9vgQv5bnKlppy1HM2oQ49Rh1m7XAw+vCzBDnaAnWjI0JLc
IYrkt/oY3I6zGq6H4/GOeSLONYRg+B32eUYA5GG1Ezp7xoDPMm98hlR0Hp4BlfLDkR8s/byc4AIF
A56vcddXfKUIsq3tH91eZeL3zhx+lNYdSMsWxw3hQZsXai7phINb2JydnW2sXnXE4K7KEB7iLuSS
07T7iHwB6PBN5Mpu5UJqLTSAnobR3MYyJkdT66G7aDvJJ0syqPWqrKhlDY2rWqThJEhmwQDCaL88
m6iPZ5sxaIESfPwk/mlvZC6Zcb6eeIm9t9bdG/Lv6kWDDI+DpBKRuXO5dFgrdt4c52v4Tg83wddt
yCRDdrDW6jFysiS/dQgt+9U4ipw5Ep0MPdKMhVwPCAU/+Wp+vIuGsYT5XiLZxFQvjIy2k1WnFnwc
hneR45p2CW6jhJmfOaHvY9Vphew7Nc0uZptuY++xdKalw4ASi47si5vx8VA7va5QTIPlhWBorcSw
CZ87HR/1YTH83F0DSo2qDJnamLqMJ7QZ3rj3HKTjsy0BC9c675C81AavrjpnhTV9mg7zGi2FAhYJ
1WA5pQ/Hec9OsKvhdUlg/4Q0/PbsBqI40ZJGrrFj7Pj4nFzxgKN2ZQ2QYx+Z2q4wh0n2fvIPXV2L
GEWRkfHcwIFXJc1R/czPcqfMR/a2ua1rbpPV5JI/rCfySJYbA9EjNtFOZWLsxVExtUoP23S/W43u
P+j4v1EYtDYbE4Cibd/OQY/02dumZ/OIJi04DvHj6cvPHveW/wBwrvnTzrNbz28K2BbQKRWTFTCJ
Bscgy8COpaO8eo4uZr/lxccupBn6uMorkntiPkE8mim9qto1GO3iePbJwbUMc8DnH2DE+IQMwaqF
WG8LsTLL+GlQQGFsEm2AKrbMYj9hw5wc4KTN6NHkxrJOZXz9HsmU99El6Y8bnUeT2d8OZ/8pxjoJ
Juxq2iM1qajPEvAGP67MUIxxdWb1wTMj4TAc+/Qx67BTSjXpbn1t2Y5QXyqV3Q7i4J5AHMpLHLlW
BNf7fFXxgsIx0VBDXxXEup5W09dhVUWk7Wy/mIyJ9Y9yjeRm19PzGH+H+PWyu20TV8a527BGnUnF
UR/Gx0/k81eUfs12PuqQqMTVQWteYYg6brfM2SsOjoi4Kxol/ZrXckwcFX5O6kyaUDXvr1Htkhm0
r1BTQsROg8pF0asB4MCkMtTbOmboX664hq8JTLth1aBV7dDxvKJUiC8uY+/bJUg80TfucreA5Xgv
rZ8ZjmCq6L/7sxvDXOo0Q2M6OcA9gH/8cZ8XtXYLaqeXiwP3fmdVTh060Ai9IjC2s7XecpPcwuWU
VmWn4sR1c3B0ArvtdmxUndM27J025JOf8on12/6hRvxalL7hMLc4G5xqe8TTPigkoi6wZ9W2y7Ii
ACjtw1T1LX7hacP0N9PcVfNh30A6TFrKaxrir2R9N7tbs9cj50icnNhrkBs/fqq6pPCE3KZCWcB3
TxXWLL+kxXj89ZS8d8zw3WHdO6Mbw2SqM5ls9zyLwrAu+HdRAJEv7tTdh9LV4g61wI8ImIxZ8M+P
feZIoO1alk73EHYb/IiApFfMnRnpGuJUTSGATozWPc4w0iSkELkpapoSmME8dlbvEpKM4F4afvr7
OWeaN2zhHNqs2eGbGexAnD03iwILIc4g5DpqetCo40VhIhtKDYASCA6wRxchx/o7phYYP83TyRzC
+lbX+aK5CKlNJEmoBXnVSi6Orl6kinl+nEXNpC6GtrMzSiMwbeUXyamFhm9blQenxdGou5t3f7s1
Nb6R+CdOFHuSlnV8LZ2yHVFk7XABsdCcRjJ1fPupG+ZQxEeGZ5tG2Wp9hi+ig+nWrEWVyfs1eTn0
kVa8c48X+6H5NxS40UVlKAM5RhODkLtku2Mo0LS5EpwdMCHswSN8nS3Yr9Dh2kOmn53W5EqL0yQk
mU1sAAMKf1CAQiruBqoUm/4HP9WPut4tPdyuOSnaHyszlnKWfMLLw1k/ffai5KaFm9QGuoJOc7Ci
hPMB8j0CGaRp5GoOz8p5YhWG7shnkhboW8/Tutz2TjjexmIPzPSXSbdfJ7qqXOewHxsuBS3hx2r3
H84OWHhLrZoQq6n/nHxN6vsxG5St6JdIafl20+bJZCoKUtRe0LDcWSO04dz6lUL12r3eLiHdQ58u
YL1wqC/3GDwiwkENa1762aM/z6OqLLPkTXp4TDPtbBWRT/6w6YJxYFpOsVB18tNDjUF5H5Y+ZmrE
gPnAu4Xj4xHVQU5uKkMFiM8S6H2kOZohbChV5DtLn98qqkbzuJnWdAd6IM5NOq4t6gyvwC0GSPVi
3gBkerEEeJlqruJp+BlncPJBg8tJhLdLvro6zg6+1YCrcjGHVRnAsxp5G352iBA7WMpUKnOBGKjB
ujLbv07KJZwe6l5kB/r3q1kOUqJ4/4Q8StJfo1zOyYG0PHU97jjdxXaEl4SkY8be0ymDyJwyFGcY
TTtZmjwo1oftUzzwpQIYatvL4RFzU9GKQncp5ii1s3qHdMD0d04NBIPbA4jjyNd6fvcTK/+Knsh8
H86xbTEkCydNfZs5vrLcwhZaL/Dyh+TFHyL0PjiAqFA3V6l6D+5ugN3cgMFca4FsCXRSgcioRPKk
6c3JkMAzpM8wv1IYrKm9uDAOdJZpk8S7606uncno+YNZgholDn2jrZlvuiSVBjrZb5v95zSmtpQK
d/OEmr04Nhdei9FFC77agf4KN9EO6DlwROzUJxrMNDegpu0jmmCeQWyMaEiWCE8QHVdzjFMPmwCz
HnroEkCGTUrQxdNb0YRX9yTofOhipCOIPZ3YhJ4k7NmLeVviRLK4wH02KS5e3Sf1+8M5ndC6AGK7
rHnXOsqiZ/6+QbaNCkb3qZqT1cWkCTTbAzgEVNdPFYJOgqYIpCITxKAEkQOgt3czoP3k2Eue8fzS
b4ZAez2oPMq5tID8UHVZakfVkyxZQKI1Uc1YNYGVUPd6sF1vnQuhJXz9tA2zHOtNf3zyc8PO9jbN
N1OyTVYsa6VNXL3ZRUMVV0iKe48KGvEbr3d0l4bPA9j7owruNngKqO7Fe5gQZLq3wC3D3svLSKB6
P6jhompi0jtrWd1n1+3cx4ylNVRLVz/rzprittOwmKblG158nFlW98E273EZNVgb3W6NM7dLQj/P
D13HyZoxfMSO9I3uVqeSXC0OzjP2DMNKwgzzZljL9N4SY2gIYMyAWqSfxZ523tb+5sI+FUT33YWg
O2qVTGHZk/tWxbo5ecCxrJGrZKi2o4YcLadEZHzGuKQbUkYo8jzr6ED7t00ny7EvVs0f1jyOS+Ck
Tq7BUxxkxyVPkpxCMtmdg7L/ds90GfeyeqEipn5/9lBZOrBWATHvZp44GWA9H60MsRa8UJspB3jd
6XSe6HjQ02OouR5Musyqjw7DalpTW/PZRZS8bTIJCl/AqGOMvQfZDH+u49Ku6daHwRNGjHRrdJo9
LXOG0DSpSzADnQNxZpYX6vfDJa+aHMjiEyStm1aBnlU65bep94Slk7GnQN+j7O5mvWVt0dVz3O4P
Zzw9b6sJgonlY1aU/qM+vlrtV7JtJ8dOg9OUAcK3T0LaMsFyb2jhD49wD+sJG5K8BvIPzuBN66YF
2Gb7dRSn0OpXISTAxoARHNSVBOBDinZ2ykCok0y67eTYk+VrhAeFSji1KTqQZ2P8DXlxk1Nbc44Y
pG+uHgc1N6TOj3Pw8ole3/GJ+hM+o6fhc+OAwwkhT5r6Y5QLGKoloFShB3Na4iBOiWs22JgATwdr
Y+YCkN8f1pyCtGx5OUMX/URwoEO3oAbLslPfn0fJJstzcqqBBKeHYpS52qOWMlkw8w9wlHiCo/CF
P3mDSh5lOedYSYAJYM1ZdFkpOOo28+1ceXaPT4zqAGzhA2aeFvOnXaHUKiQHAYbY8nWLqv5h0TUA
+q2GnOjA/V6eb+MxJAUEtGsLam9JjCSnqgJhOXRKIrTWmv6QvOTmAMXhvVgCgVKiEtmQQT+isYvG
Wn7z53ciRaaH/noPnUqbomIcVKfhbU77QO7OGmY/2hHIPtBpOFh4XAPucIzLrTznHJi905wDvqnc
5WO0VmDT2Ztj5Tm79qJ83WOQUpEuUXe//LlIbU0pzRGuNpcQdrBU0W2srhhtpgDHpOsDuuc0b7RV
wk/nysEav+3jfX6C/eS3S2yyOGfOyDXgSODUfw7MsJsVhv8VFa28I1S+VmWFPWYw0r/GJKxl0euv
Vjs3yG03ueISJTPMXtxntLOyJmYtNbOsOBAOhOSmtZEV7t8rEWnmzWpydh9e/bK6YF6Tbg5HDBJX
OG0/w+2s5fKOjK/+FjPmxZ63sk2pK4mfvDISYsgfWZyyO8qRgX9NkYatDGoXDuXu3dVxL0CRTy5H
55bWKKwpd5H130NWNBnkTeY1O28FWyFv6ZVYF4jt2TLHzPKk5ylz56x47ZTUk+F+NbyhZBTvTNBo
RiG3XnsAZRxiSjmcFFkQNDySheeNLKF/xTrbXExRIQce28nc5bjl5gWFqpmH4zC1oKiAORcYcdp9
DxC4bbVivbt4TBr2Hs3JijvkEDqDc/AAQKDWe46RFlp/qOAhQaJIgKt3NQXaanhGekJ0ChMGk98x
LhTCafqN1DRDbcHU2CesqO13AawV/pvGhPEv7W3to4J5gm33CB+QeSYc9Bar/ingbF68Ua/A5Xjt
VScfZOwBMqvd4gYbG7sIaxPh4ICS/XJrvZXhIQX7rWztKk339caqwQqwEf23R7umZdejT238qavR
2+lcPubkeMXd+Hn13gwQqg6V4kkdT8m5HVHmGf7PdFHdmUsOnqzBmV/4a79rN5TU85jDGY73nG/s
qqZW3LtberDJMFCi35tBGcRok9NVEqWt6iBuQt9WHFY2PckcBJ0VY2156J5XyOjTjeZZcOxX5sgi
g6SqFfmeC35JPwaSRgtM6GEd4zx8YRk3vkgRVcOVvUuXF5ahGl7DdHVaplObEuopnTFqQRCTIcdz
h/r8AzSx706m/UnbvcB6N2fbmhmb9eWx7mGDpGZrOt5qDQvwZgaPdAbDYjZ5O5tZnblvyktq4rs5
2c2ouyFrzCa3eKZH259LCh+Qt0tHGW+LHSslXhi9FoZRLlWNzkhTU+2ifStdbaJNTd7TC3kSS7Oq
2nKHqgaFSv5WFVQOTMT+n2GJOLxdfdrTEWQVDUFZpKed6lttDWTlmPDd51V0q0FFLjGuJuAXO+Tb
qSxpQjEWr5nXuxogravwfsNEu9YxGNWSl2A+nygTtNMWdWoz57B/VezzqdNq8DgPw4Z61B27GcG8
80gqSAfwDAjl1wxHeMMAoZ7UDxwPD6Kqqt/Y7EJh0czu1Cvk3n5otYtZ9+CWPrAh37Bd1Ip8/u5R
1nBER+/R6vyxFmd8bU2vzvNxHsugbLI4yhiyCbok5qz8NnOQ71I8yws4+JPGF1P2DqMijxC5L8IR
FiRM2Zzu0Xr+JCWsuhoSm0ijkSyeoQk24pR+H21jGBH0L6qdr7AjAbienMbD2tnez/eily5k+JVH
68vz3v6ss4tPaoRFVmdSD+JL8J0tQ70g5NJq44aSERQ7vsXAWugZDIis1g6hZwunceYLKFe4FPre
/XJvHwGDJNQ8Xqbn9d+qHKye4WJqLhhfTocQKmr03fhWcLFo7SymSwZVk6E0hZ3l0c3mIBRSqsn5
9Tap1r/lHtVYLpwsia04CNJFKqfOBqqsdSWnt+7gwdPhvA7/EJT5NZ19E+a7HtzPC0R6pjlGptJ5
ewJ/ltn81W/P0eWdWocEQlx+p8bYYBhjbtsUmPdUatRLldD8Ql6mbWXZU5ozL9R2MKFQCJ9TzCH6
yRlYs9c7Wlh7+lnH6HqzWlWrh2PsUWXgmgJdVrc2wHQbRXyXJBojaXt+TR9dqJWbjbu98WwuRyr8
o/4yOblbh/76EDRSsN/TUus/wKaHQBmfLrkRXrgrMpupozkfmoXz6ds6z5s04ytK86EMIEKzHzUp
1Ye3YdGpp62kGnzw9lbFVM2MDnTMYG32se5gkhkHB7ba1hKqDpYMAgjqJm3HEXRFSwtmE+BL3bzN
gHr+bPw2nSQFzXN4paZSuwpfvpDLvRX4JQtHg0e0iVpt9f9IOrMlVbFtDT+REYiIcEsrKPZdekOk
mSnSKAhI9/T1zVUR+9Tep6pWpsJsxvjH3zQCZMvZBhA/jFGgGNTVrGwmvxvNOH4VxthekZRgsIDy
lzghu9W3JBsruq/keFLRFHCvXbClGghGnTSJXSgo+hOP4VAFoLjoRCkxtPtsNs+Kg/p0Z3pA/mM7
hbtQsdTqtzEa80nDjVp/FyMav249nexIMJO2qZgo2o0zYM9nt3cJCCeGeJAyOd4z6DIm3q+OIcbY
fN9Cm9Zrcd9n28TnTrtFzvv8yJcMYReBGGlKtuqDaJ8wGSW2wuwcLRj2CzhCESMnh+aP78f4VUWA
gKLUOiXwARjenn7nmb+fL8S8FFpBtv1/zryYrE/acSHILamx3e55MvvIme8F9ZdrjvY4NUZzEhjo
SsUNAJYN35Ztwq16SZZb3MtX5mf58b5NtuBJsFoZudxZVfyvCuKNGPNjM0FfO2TmqfLpum+kesz5
/EFwnSxhWl9BZ9StePJ0okbWLk6UzGLMTcM7M8YXatUpM0t+9ds31gQTx4aoT+jTd4KnoL5WTMwy
U0OT71Cp02+xJUKvZwrgPamQBaFs3a9Cn2kUpa/KGA9UL6fGXwENiQabMdYTaeV9jJaEbvuKRujE
p1k8fj5EwdUwJ3BipbCkuzp0RGlSZ47x34DelqheZVI6T6xc7N+cUWPlcke9MW1lKmxgwbZG6Y3Z
D4oh2hpMSa1mD6aIHF9dzc51SsOb7J8ELReiABXalQzdc0fHcZMZKz17WgHFKN6W9LcWbtmD/7z+
M4S1BOu8u43neJA4sdH83gIskYrKKknbibY6ozCGQRDODlMipOAGzy4TGkNxSmWUAdq8Vxsm329L
zfbP9lhJwYfRkXh/eBpjDGxN9fWD0p9H1pskc3kpvuIZl2IWEU6dccLzdqjhSvTkzAs05kLA020U
YC2CN8AbYdhbEZyqCFVAu3jWO546nkLiOCkdRbK1IyqzwuwuqsJvU0rar+r7qUGw19jfy8GJXvaF
mvp9h0mizrsftjdLkPHKNdyKv38iQOsOR6hjFidDNeRPwhQS/OmncVIpVwzWq+B6tatrjCyPMdWY
av+vXB+mAjyz8XbhWE07lkhkH/KrhuLxY03mzN8/oMeAEGJ1oP2T1IWkYVGIURYOYsbM4eht3dFZ
Ec+enzLcOKHFpL1YCAX3qlqSXFsdPpAyGIDZ/cMeyV9fRKW+TnnmUBGOhwBznK63k+8pxzU8VG12
U5iVK/KSE618nzpSUJ4oPKKn+TphNdJfq8jN+ZNkddsNSRhluMpIC1QvBeKge4MJ1dMZtVYsrZKJ
L6HELdah8dBNwiSyXZ2dY7jK9FzM58iw243bo8yuCrPE1EovGXK3fBMnha+d8hA6NvkyGjzmGzWJ
YW6IO1IRfMia4Vbk/rYYMxweGBTPN19fb48jFBaL2Quy0TeTCtulJ89Exv1GKQyQGEpNm6XlPk3c
hvD/Hdl/EQY7RjmHG7kcfOP8Wvyp8NkXBjmEdnygDg5BdDYb9bchirtJzP43EeJmG55xaXzvn+Bf
2XzVjKgNxn6+5UhgJIgrEjA6rzycOmzjdbpQ7HLPlJQL/gLHHvif+SfdgOd1xo8C3mJ5HCr5jjxf
/wwjODUxQwDS3oGnovpjlx+eZlHu/0R/GF291H+bzR5sEit8AxJFiVERy5GFxT9GFHoLwx0jUMs9
KA3fOIHSmvuVEQQgCx4tigSpDJqoWFqxQeyiOMXK5fjnYwe0tN6wOKzXV9zo9v8mDrwHvk2tu9eg
hRKbJFzrN/225hwTuDIxcKZ27d2at8Mq+/p9EdVoSGeGvJsT8d7M3L3Hpv0GR5toaKne8G4746Z9
rEdpjzg7QJ1SSLa6E8OSdVr8lFSzpmHEgPo2kw0IMwca8x1aA6ZIy1WOdZaRHyhNjVW1QaBf4DFm
PX/oP9dosq/Hl51APfOYLVR4Ith2uGaudGF2lpk6fs9/ox3ggYq5c2ek8CTRx7P6HonpUsEXFL9Y
R1Eh2LDJjOWnQE4DAHBI4DwQNqzgevCjeDtAIk/MqNfBwTFei3N1qY0NTT3oIQ7XO2KCVOtFAW66
u2fwWIs5BDSbTQqcSP+3BTc41IerSvuMHVg7BC+B/MQrRuhBZfRiHCGqa2pMY8DgH39Iu14o3huE
Z2bvkrMAWeRmTreoVOuCGEz7D/+mBDlg4erJ9sFb3kTNPJqs3iJcjqZN3qAZn6yLnxPw8hXvPd3u
HgQCncuPcZW+i0MHAlTf0AJQJ18STrjLpeHYnHF2ce7tJxO7p4ut9XX8RlbsMY7/i4Lkxs+f0ccK
aJxDCKPvieVc+RHWx1+MvxaWk85rT4PMdf8V/fYIGfeG9+BtaV2N52K8Dq96u2i1ghOOCegPN2jy
IC2Wx5Hj95ovhGkOI27H4VDbAaw0XGfv4LE/HCrzBnZ2EmdjWLPv5BOkWRbOzZlV6Cedg2x6HpfK
cX1ILlChjV242RGOJODGcHMAlXCqoOJdVCt2aXe4PvHcgYVFWSH3FKyCVlV+McsppdVgIcOSxaEO
gSODLHKBQreAmyAmaErGv40JHVu64FgmQhXBwOG1xGfSugiAgSfHNkhXF6oMjEQWJC8wW1hPgBsZ
3aMl4n4orXhFUZavmAeexC8X2FIBx4cMKIua7gduyykd2SmszI4BXWZcrrfZYjK/yccbQwKwh3uH
Uxc3HSyoTlSRYWdP1hw4DdXWRic04Ys+9BcXP87u3Nzvac96IyWn2D/GiEhcFMPvfdEZvv42zP08
pKGOFEhTvwy8FHQg3j1ytuSzwoOiQQ1+BQ2S7wX4G8ycmyZgXq2n7FjPALxHGA5pDOxfsBSEnojr
C2yaPBazFxMKiq1OP1Y4n2FSZ1z614IHBddb2c7EkFZvFqQ2sFogaHTrgvtHcd8LFQYE0wVYxKAM
w1H0WDBwW2q7unO37ZmDv9juoWiJPwdT+CL4QBDTGLQYn5MgW9YgosQGGFuou3uq0OAi3TmLeaCM
x0qx1IFQEZiRRf6B1Ndvi8sssi5hCmQryowa+mJq6EIep9O/g170xva33Z7CYPxD3YjZN+5mYlBA
LKliqsSHsmbp0hgJQedYabFZQZcWd8ENXhs++B/h9Smj9uLcSMaG97D+xgCCsKHWGW8Hjglho+Dy
OrvMo2RgqIATDdMLvK5wW5ryoiBbz6d8rJxBrPV+LoBChj0z3/libk46pjqiCQ/tmKmUrWGL+5mT
H/4j/MaepxR4CWtueLpAoj0HnE2X9S3K5qg3YMM8T1B4IEDeOwvl+gRd2i6EIOXEO+hVOom8P0w1
KAFNMdg6NS9mPLoEZV29Qn3qJkBk6QlXZcnhx1K8yz48KsEuB+YJ5zFuUUB6SKyYTM8+fCA5+FVL
k/e8iB7mg0FYZpNobOActRg38yRZYLX5u4WoBoRXVYAKU+5pFDi03r/PRcIIyHqhZNjHudc9/rI2
KNmPtLBWTCSGWPAvMptJTDb396GF29B9rHhkJdeHAYAyUF3TyVlJfNfO8gOcSvc7u8NonEhiQ3Ao
ogPN3cxtIVQgJDA7V5Qc+d4/5mSteIlu+jLcXJuGqQblmfvaOfHf5Hka5dZcxRtbaN7l9cT9Wj4R
cQPfdN/fKW4o7Jdtw6AZRiGIDdSly8qffasOOXPW92qsmyiHFEaGuOTvOuka/fIJgOLwAcD3/Yta
rD7BzliNoKI8rWPzFpSbGHHTvjWUCRsZ0Gk8Q+I1z4lntEP2B368jQ36mdtP8PXLGyoFSt7ILhlR
F0uYe3htiAA8vINZmuaLvQOoLjYB57+MuPZpDz/q2G9bS6Y4Z7ZIxnhjdKUlMHg6Vad7fKdveDTz
TuNU7USVAO8EC52xr7HHGPqNqX+tJvRLZdeMnLf9GjnM4hYaeRbDfuwVGB6hDO0tdYANmdhjhelg
xR4En+Zqjc2G4la3J0+nTYGlzcyDecZ8YC0AesfhhPYgwDI2i68H3XGC0L3eDhEc4/OBU5fxThjA
YKUuOzxTu9T8iHYCaRPZBBSKHBOcmqEJpp2Hy27CSSevk9Gtjy4pTQfmAfQmbHBMNKjY1civ5eMT
H5WEBOz76PQc4aVrpk2gJZuyWY0j5t7YPQ0GTtvQIWN91dfLKa/70KcelqwKnVfj5FxNqq2LrfD5
A2CrC26B6cwAgS20/aizewram777EB4hr1tGe68503h5Yuv9vJ1sXlP/DUVLbomhpCTPnRnByBVi
N7v7rADXy3zejEyGeU9uWMI38KeMttljSRvBZ2B/P7eMTPWpP8ZL6DOP8+WbLzKbObGWWm/S+krg
1mbbqYcBYxaDypRk4+cH8aH5WGTFkjH85zBGPiR5VebgVVqMlhI+Aa3ff+Z81grOAKdexkH0u3tw
EdOi7vOAsTZluan+Ms9jhqIvNpQDAIuipKimq1ylFO5whikIUHjhHYkF5/93t/vAQK08jmS7Z8Br
xIzLXiPrw4jobRcyntxgVZAUSe6rDfwYGNuW+8PDebQnUuRHICxGllstAlfBWIp1A1ucZSUbX9CM
sDBmMP6cF6X5TVuZbtQPKkrjDBbzUwJvANu7GZwzNHXRDiOm2Cv5D1ENnNmgI7XrTrdfOmwuF0sO
2f0KfxTjBypaYbe1e/7SGbu6k5j5cQQ1ySW/nEmt7ILUfyxgVyJ3trgr0E7bxnJm/m2eZsiADqCP
0gUHyPgIboSb+ZfHF3lP6MD4AlgHQCt/WDrTuD8MZtUtbU9qsniIKf2hp4Cd70iwvsRzHQZKf6qL
K2ksi3+8FqSneMQwsxMD0DKkvuVfCD7UPOOIv8DHXI8oSDxB0MxNWj78ChiOzXYcRBYt0zJGWCQo
cF8rwh1tf8/w6WF3gY85U7I6n4kVNKFynXmxgIOzsentdJMHMAmW7ir8yb0lZKzK2egmfdZmYyzf
nn2OeBM8BBt7IncXH7XfKeQMuztTwbvUCe5VMYXnG2bGB0Z8wExCYAXxXfafsBUmy8PheQwtR+h8
QD/FuABViz2BnSiaagdJjhhdykDRYgF5EDdb23PdwQWMNBWdIzY5GaEj6u2ITiq1d95Pv55ebcFG
o/E42TSK3BmZhfNZMDu63t9h3e6ECkn8Rg7Af2Rb1LZXNFDGjCJYvpJjRLEDueI++/m8zWvjVTsy
rQ4wbAS6eogX63KCYTjABmgVFCMGfEIbEtMqwPXi+S2zxJp408ciOvMTZ0RuRw+C08U0hZvefN5I
DBUClcTeRyjKzWylTphzyIa/j61nRvWCp4+GiwixNg5uMedTu3143Povl/ZwoCHHFKXdwdmZ1Rjj
urNbdfx/PsxTEqiDGNgBOHTMYVV+I9E4gYqDlPkMPukm2rJQmc8wHkis5g0py6vPmsfGg68FzBCe
GigXeyDjK0Sj826zi3uX6qZYDDtl7/IwCUOuKfoe1W06BOGbDGYrZO5h9ZCT5YTRrxXPbG3kqtx6
8RrUWbef+m6qkNpULh93pbQ3ZAuLdEMzHvmfyB0FergJdfgF3Vpdt5fWmvjwCiLzg45sU38njD5b
q9RX3Kk/DEuK1Xc3GN+QCy/LztT2kse4A8+0gqPLgi9J2vxGPoy3qsGQEfnP99Q8zt4GsxJ+b7+O
lvR/5D+yH87KD+KiITOYbIy52t+oWtbyzLP5H0ppfak/GbhKh5/K9Z0f5Jn7gF+Jsx+HrT1i+gEq
K8/DZQi/ipykBeXk6wvmb3QThBbprm5T8GkBGILDcp556uA9SGOHFzDDSgFgMmQ2YF8YDT8OWWNU
Jzgkt3ozNmogCywItc1op/0qIw/yozR24FT3u5y7mtelw1F7WZBmqM/F+sOR1JTv9FuVwYKO5qm0
rg9rRuFVAM0crGo2F2pw7d6D7sHuYCxaLdmUEoKhkTP++mWRUhpJxm8K0hVav6UDPYqq+O3X+6J1
pNxMt+Mb5w9Lh7WnkbLXODtBS3XH1zNPGn6ltUq/vu3hzsm5jE09tzkbdwnd3ex2iK8QSRLjT7BQ
QnFmCsboiryA8Yq3lJk/+ndFKxFw5JMojdckQ1gWPTR2JzXr+QPJpdU3c6nmBK+4NdDGo9Mwh4xr
nGLYmWG8te3yeSQgu4j4QqMWCCtHCF4tsf8E65PsCl5qtrwJtYzoNPptcMFtG9w4UMEtXiR9dY3x
3tHmQ52g4i9bZ9SAnOIDnvrIw0Salo6nCRtaxspL0AuY1qybA8S/iPyIlQys7aN4bL+pdTKEzERy
H0c1QczG59iorqrZOIN0OHRjsgHOiWJBgWTulYM/bm0t9wozVV3YmFvBFrkEvOeK+247W4ClMkG/
78EdP4uwXfn1cQ5bmkZgy65FcAvoHTpFfwjH5qT3Oy5au8KuUMKQ3vRBMSLje5zNv5kywpHJ/E6i
/PBKCbasOC+h7vrH2SmiPDFnf0etXiDH69KFdA4fX3txgjHIMt9nTGjHtmbLs6c3jRdMIujc0u0z
CxRgYSs/h5KpzA4fLuzq46jHhQBaA+dpe8BftJVGeuxgPzODmjdAH8xodpoX2XxJLJSWHKq4QOE4
lczxMmBVV6eABnvl9DAWBiOF6A4T1CPmZoJVCkCv5Aug+HdL/9Dv/Retwlzf/DKUYCVZz6n7Momx
de6fM32W+iIIKfu7pyOTxGUQLb7TtsxN+bwnB75pDy1z7T3zQ2WRz9Bc4pQE1kUj+/AZECYBLdDI
2GYuAryJYuwZf2f8Q4LnDvlCJu2CLwrNVzSxZB2qXGrXK8tNN54wSxqUSAhq5N4U9xyTHs4/Iy/2
9ZvAQdZAClIy00FewTAmsYGHAWMCwYyjOy8DlFs72tLReYAxQxIy3aoyuIpuKxyh6Ixgw0mGipvG
OkvWxftMznyIETeO4WStPwoUb6f68NaWn6lVZLuQr5yblGA64uCXbCefTUwdpDsvhCDF9JhH+6fs
vj5zojU6PAMibzoyZwlKwGOem1Jn5phBE3sf+Un7q3k5JZ/qcWE/B/v1cfNqyRXV7YFRKHAfuaem
K/UbsIX2s282cXPX8NVv3WlMzvn6qR0+G6q6KITMAD+eqYhRxYcQc1POm80AbM0x8JtjBQBHXFCQ
0JPgPh35U7AWZa2n7ruqzVdLLCnKODyQJHzwLWF5znx9oNnmDzRHDX4DSraJ0yj+dDC7KWYWn9Im
RkVFUgaxcUwZZjYtdkkbtV9+OkBpi46THjXtlwqlLS6HDdG0EEHmOLfXtTvCc5TMeOu5HtVWLMbn
GolPZrWkzFRgAZjtPL5BhCiry2OCGwvMMuNJ+DKlfxJAGnk1tpwG0thWQksZ76qxoSrLHtA4R0ZA
MfuSvugbntz2DGNUm2Txck/DjYUlYiWzQkgLx4hNwFSgXql15oRIRUPO3AOhHkXqpLeXO+6MhJEp
dIraGWaXBBI5IXokAVJuZ6sCBwSkslyabNl/pJk820+VXTndpRjEuGpmEbGac7Fx5QHUD8qGKbrM
ULahRLfGul/3Tl33RI/6jGSk96LSrKqkk9wQKP3C9IhqAP7Quh176tgbkaRkfF77N/EsUriHACAb
4yJIar8M1xkgG22FbIlEECQH3NOMPkJvJovtIE9R4GeN/bg+F/lq0NEcWBqZ1GCLxILA+xxMGS5f
pt6KN4YsE6eVgS84jsFdojG467XDIkM+YtdPILT6+MLKPynM/LeAaT7e9NmhZ1Y+g0G1hbKkZBYQ
0+N9lRknKRbeo92BI/SNaQPtIIlmvTVg94oG5xjhz8BUvbdimP00Z/RSMpxI/Br4qlhg802e1gDA
tKd3lnSrV4VfT+7jcwElpHJaEA+pvMvKAeimH9bY5oe88qi6kdowvOf6m4mKleYnUlielI4wzJqv
ETVdbs3yXYT/22A1jQfuwsgcPgcQ4HayOcntcnp4eKfX8pJyPGJhsHjffudo/4OLPHa56rql8pcz
MaJJtzmRppsCYsGt3z1qnwJ54ujNpk2RUQ0/CQcY+hH5ewx5/CslPfQsX0uqAMry1qoBmTjMIcXj
HMjNdH4sGdL11x5vCm0Haec9b/0GjGmpLeCFs1OhaLDYMC1nM1XovrBIeSFhMN5f/XzSmY/t+BiB
gKTmNKGwNmWmgX6/bHqj8gqevTBfNLXdjK6cP3+Tdny+2Mq9Ce99LS/JAc7IcfLJY+IDqkIJ/oCE
fv5Irv7be20sNkR4zhVTmb+CjrTydKlS61XwbrrvfjH+/ZyLq7J7eMMFhp3m4yU4B1+YbXpXHwuC
M8V7vXyF5ngBFk0z7o2Iwvx5QjUoIJhZOpMObowDwq4JvK5jBb/MKBfcASQZMarZYwDDCD9gEfd4
IGl+Qru87pZ4U2q41uNHeHsQoGe+t9jX3Wt67kuKuZzqSQT4WNPVRLa5BtBwkvpyohSqnkxvLew5
thnpRTTV46V0fyONJoi28VoqpJO0ejb0+waELLAd/dJsmgoZVku1dwJQRUJvQy6dLNDQWcoXAZ9L
efDIBWAWiAqZQwDW5mcOTl281g9UbYqlrHgQLMTO1WzK1icumNiZSP4wsRkbv7P5dDk5jzSnGBvD
pfmpxaQr/gOruqMU4bpg7MINpokn1N4/rgTfZvvAJJ8HBrT6l5BxRGNFSOXYJOJDVQzyLgbZbpgg
rrHDuWsuiA1S2MiYreJlepV+44B/hZil2Ozmb1yOzY/NR9TXlUuBqZC4ODEYYq2lLUMEJ1ahE44v
Y6vTrTzy5YIQVcCdZjWZukpqwy9FxqKDMXycqeRH0ACfqUM02zgx6zG2T2YFKIK9ckTQ8q3MUzMD
t0nQFpGEaeK08ST4QPP0IsA0oM/mCTbasDlLrFAIu5UKYmVpFNCCiIFBFBSzo7YtNwgl37sJbbEH
PAn35tTAJ6AAHt1yctMIzg0ZwHkDiTZmKmYU2BTAkO7tMe0iVcVysuDdOdJdJqoTde5XQ8G0zjCY
4vPmW5IXts9Ffxv/9XOyUB7L0V76ToBjXvBFeew7apChMGr8/87xfcoIQ7Xw4aJR3obbyp/+vi4h
SCVT3SXyIYhR53K8UHHzOKahiU/TjR6kDcZ4ku1Jsu6RTwQRwggoEsnhg2lziPA4t4aZXwPJJpaK
Z/ShvknTc5gvWSXavWZWuPu40NOH9FACD+Uea0FHkjA2nhRT+FN9RfqSIvsVW++ODBt7OjnJBeXv
eKO2iHhotk46htKEgTIgeh2la32JqVaKjxmX3Lqq1fA4Q1zq+KjAmDBCi0VJVBc5uMNc05DpCY7T
dFElLuVUtaKGGwgMeMM5rExQWfBQ7h0GpXMJkrrI8s0+BOk+BtJRrGdr8z1mU5uxSk2KtJ9tJNbt
FyQeW5XNTwJC7zz/Ctw1iEG/Tmpb5rhHx/SgCSZXxnxDaUIuBC8DqgFmxgGw7Qwm5yqpBN5bHvqJ
29DMEAv8IWSi3THSqTfY0EJmx6b8YdYM56ZkQbzI/96k54ifNzHV4PGnItwyhAxGgPWcO6OfrIKr
3G6nm9qZskDgltmc9zar78NgHxSLABt2LGwLECAqEGzqURpJ2B0+5lB7wr9KQV/okhxaM/00S0Z+
+D8kxzib87TfUJ+3YWtB1gGcAlNFrPtMvPSzQ1L/nHw1nG4zpwO0ic1aAvridZEPCApemfwC1Kwq
GW3OjPP9T7kPl2lL3hMUpoZcaj4hVg10r24KKUqv7OllEBUoTxsNKuA3lPkx6VK0Y5BQRmvyrWrZ
liMHgFWbHiIEu7QVNEuDTxOBbQwsLfxjx0jOrcnvhwyBemSObsSDM30HWd80v6xnWbEgDTQQeOCG
F6vs8JBXo9aB7j8ZkXZuNDTTX9MFgrFyA2Woh/VBKVOhUYZsj4L2yAz90wFGI8COyh+qQur+7mVW
txJDx9KXbupOJ1EOBc74K7a0EBerdovaHQHk8nWdCO7YeM1VOWJ8f8nTObu1gzV1TjXwpbGnc4E8
YHF+68Sm1C0bknqF2k4BcfLpKdTvEe0OVOZgfI0Cvr56F6sLmybGJIdinRK6ofoqhlPr4cF1EP9R
trwhItzpW4SeUezRLOWOaLzcT496fQfGpu2GjZTdSt7zbjw5PoP65UvhrkMPBPRzV9v9kyFRbaoW
Yj4JX8vFjHSHSjFqwrUnnjzyhulgNAx9p8GLcZWueM352flYTqqPhcZu7dVjzpTkZSL7mlDf5t8c
zmFC5WxHx9Fz89BWD6LyOjeP3aL9kcdnLsnXd/Xx32NCpH8nMXeYG54jDw3adKONyAIk8Gz9Un8Z
GReSRZJFkPxz0YPSMWOlsmUHiIeg2sgRuWvHNmDEqP2JWazSxC4AXnDzjfyQx1vfcPROZtfm9qAe
u0LW0Y/ptd7HxHhBDTDK356KJQGdnWAPGKAjL8+g6KCkiTNCO5BCH5zQJq8l0Dlu6iuKvRZJiLKK
t+jAoarCi0jJZDQlQDQ8yiYGg0qEPymxfb2TsoN0L/7qdLuv7UghK9MbR44oZ3DHYTZNkib4K5YU
zW38sovvjwBKyIaVPFVzmVzIG20/BXsBf3KmrBavyHkg+RZzdwx3JByPaO+177iyunuTb0oChrF5
Lc3XreQUpxXMlwlGudUeWcao+40fPgIBvtHztZPD+eOWL6eod2KGpRqw+S6i8+/Ouz+KJxdjShGT
9FHszoc79gtYRKzBn7bZ8cQBrtvW+IO94CpjYyPX5lldLxm3QCkiixtlL0Dg3oUQ3PXG+TlyGhMd
Nxi7Af69dgLKFuG7AvwFzpNZoMiwlLBh53xGaZUHfHoeHdme5tIe7AiTmc/me+LD2kamFS/70gZA
IkChcMG2YHqsO2AHzoUOzJSSg/UAVh4uf5bcPrVdY0p74vuNNsva/ts53iH3S7TvxjWId/XDDq4s
NeEAW5lwUmBfZNDWYN5ZumwhPhqh0wEqmM1hh1EAYUigumVhgfAJAf9fv96cX/fNZmZvkDruKNQA
/6Ntmlr8ig7XgLlsV4JWGATP78uMqCQruOLShpsLBhMMnP46oxys3a6EWTDyuvSC3gQYRoDDB/2M
3pLhClcawy97x/4z4tfxR7flL8HFijiBuQ02+A1kC5IYf3aUQH+x+8cwwEYGb/roCf6AUQz/GRp2
cz9HvVNyxh3OK7fgMkG0IC1RgpjppSH7dGSt/HRjz3h1IQcgb77JrM1Z+xgbVgjS8yUiYfFDze02
viEUeEtA5tz3KFMMbe6P7ivlYU3MbypyH/ac3h6BDJ5oCAjaSgX190zCK0K1wjb+PNBPZvEgeg/7
igDOe5sH15vaCABBn2t7BJ3ggsB/emcFJJWBMg3/dvrVAzakANCah1QLYzNBiw6LTc60lbuNYldV
hR6cXTnAAmQvk2qKnGqgRH0Yh2HR3D4thAAAX5fDqhGu6nCGHma3byPzxqkAUMsw9n/660uM9EeL
X2QjCxHzhNsn5JquhtFQ4mrpKD1uLSEPt7XrZUf4q5tm8xRtMq98xwJ/idXNVGbppsi5L3qwmZk/
Cr7eFM/CwUgF7NegErFYWmKBXCmyXTdbuPivdWJ4yV/SICWp06S2mFXGUgzRng/btX82Oy9z4PEo
JJwZI42/wGkDu43RYFWsr5LJve0ZqTtd/ei1o37syYqhpfEXm2d3+RhM7AISLmtTAuW0y+/0why/
d9Upnrsv+yixNlJYYp/SUhREL3xRpCD1Wl9EUBF6ztwFBcToB36rozsw6aZzNnF1hMSEhsLgOgUk
u9YjJGuj2Vxggc6ahgAtOiLqq+BPvC4XhGzkK0xMoSIFgGP0PfSryp51GM5PwXwyrv3nHX4X2inE
fhnYcQd9HQuhRrBNCX2fztYjfIFmDmOVvUAkr4UnKDJve3bYRp/V48g9vJgeagaVxi9QY/QxfIm4
xQlWqSijLeiZiH7Mj8r9tizftGpYE+Ut+MrDq6Y4xq1pxyXTKh2KNDjD8eZ3i3rLaqFOsupjcfGi
LUF9knGBvwy67OavibyS8EnjkRp3EXzCgff7zQbhPAqkAe4Lmfeqidi6F5LtuRKaQAMP7P3xZusg
WJA8jNENB/h8BFvYao19DtrbqoE/nVphzU8Gq8B0LLJAPn/f83zxrlaLbXVGJGNjwgYlfpXt7BUh
nm4T8Knu5MRQIIG3zChn3BFMXBqTC+a5giymQVfmH2EgLR4pXm9YeC1O/7ySMM+joYEDDf/sNKkZ
qIF6SybzEsiLDv+HBaG8nEY8t6EOSGgwR7hPHSIYBR+TcjA8Kqu34sm3fs8ACV5IhpsOzS1fD9LZ
4FHEKUx9qGKTtZIsKDF7hJCcdzmCeqNv7dYVWuJucas9CiLoCagsbaL7KuvnD38C+IAviHMEeQnv
AU7J65jJ2rwRbivQKgxoksmPcqyQzumakS6avWK//Y4fsemDelNv6AS+csj8TF9IGvYiVqpHDUrw
8czhbxyiCJtJ8f/FWPBECzpm42Fdr6O95mLBZMPBOCSxPcMXlsBMC5W/aBB2qHqQdAYix8rTd0T3
foolsvTfD1cb+pbULI7VflsttB3XMVE8+LGhwsIqlAxmQ/DpO2YeuK/xeuBsONEdUwNE+VPE6WAE
NaA0f070oS3/nLLYoIjmKJ1eojk0E/aczuQLrwNQutHldcBufyuZg1V4CoY2pNchDhWCSryTD+Vh
wGKI/yyBl5NNjY/xJd5F8+wQw5g5ZMK3PwaKiHYxZn33x6YX2iyYcviCtPfME/GLH5h1TMCjuYbf
4vCTeYOTkaIJuK6coKzW3seOSBmkYwA15NCHEwAWjQfm8I8knsF4IHp5fZjhpbK+nk4tii9ALQ6J
zoEyA1A++VG22ICaHVMpW2NqAOxn5ouG6GRbtwR7jUkyf/vDMyFpl//WPVAW+FU4coHEfH0YG8/W
rS/hrYlKnpL1oM+l3Zugc5fWBGezVXybLZVgjLCRllSjhykuU6g0/RYobIpx2ehXWSHHp/gnYg8/
eyHzKDD4+3qsCB4WPKp+jqs+122/lNijCTIoa29ix2w+XMwYxH5FeclOO7UAIIODozCTBuKlNfte
/AmppO4R8RoAs6NClFgonE3wwVga5mdxglbDH2AGM3Z4wUy9PsHsxi5BG75Q/6YL1WR+BbIHgdMR
nhdM3Q9iqvhvoigutppshpdFGribclECMmMoYBzoZOaPLdm0xAZZ/bwMCI+ykMUZ328s2B+7aPOV
zL/3WBlCSCudy2PTwRmAkc/Vp20BlNJVtKKCJj6GlyvkHNO94kJf66A4igTA6p5+I3dfIxcJQTcR
+8Pd7EVjzzoCCEJdJZH2B8PpQiPVTgkNGWFOL68kKLps6Rr2FIwgoa0ZHSYMj77yc4XacWTw+icb
atiFkP6k9xfceGQtQXVHlRC02Ebg5eAyTNVo1oD9mp8pBRgt8Kd0uhGRGR+/4XMHDYMwsXAwp5y3
5oBtSuN06ly7jhDFYwbIscaPvcYnxcVu41F6ajCocxh/yfIDJ8/kX4uRAUGgfgPqoEWXSM67MBHJ
dQt/uHwRDoboDg86mk3eZc79NE845yBBFNjE4uNyLI7pGrxnMdsIVPzJNwK7Q2P1wgEeZxGkYVAV
Z9B/Ee/NWEb/3tadOt/ax05FzDG/3BBREhW5Hxp+U9FcwkYkX2rUsBjERD64lQwcXUBIAt0y3/qW
ieb0mJ3oPKhspz5DXrqB2X8knVmXolgQhH+R56CA4Cs7CKi4+8Jxa1FUUNx//XxZM0tPT1eVCtyb
NzMyIjK6dd3OzS32L5NN6uTl6GtMCkgJRnRhvBSpyP5hH3e/6bkcapVzuEWHa3L0dMiqIaw3Eyyn
vcnJNFjAByxZWpFGJ2HPBHSqXo66RzlTNvyg9qSj/SJXMkacUDVeZn5vqfVBHLicR+nyed+PaQdI
XrEhmCJjI0oQq0535qB2WPbQ8ACJiGRk/zg42T0medCOAzs9D3G6y/2yzxQPbd3MVKha1KYNhm22
iudCPSsrbMm5zbzVKcaxsX3wcwyPsZ5cNvBOOAcjMJNDYKTt7kQBU2kGBcpNGjZMZQW5NmLJ3Aj3
fToq7/2RCjZAnfSz3/yTNni9OVqnT4zj80EPq2pqV8aNGB8mHnCiJIcvM2zQAgFHVnf70PUQql1U
pmaPfsyXuTtm4905yhuv/vTbnVldQUQ6zg946zmf7Q1rGg5sA0MJu3Vz2guaGpxuPeoB2kezBmBo
pmqzzse5L+EF4ICv0NZmDaLbgW5wFRsf4NvCvl/s3g+opC84wrbJOqhB6+C4whco4RC8Fn6JYygd
0YplgGUFUij676gddrgXYbaGrwBu7/2ccVeAgZxtJHv35Ex3NAKi4+rfQIPYfnf7WCOfXz7naD5D
nlNsrzs+Bpjqj6PxHxnWL4TrokFW1YIGgRVj1E28FyiSke2/0D74pBgdgDBMLjPS2/vLozcCUsUl
HRDa/IaU9O026uYO5aWnPKfNNVXvrt6GFtkaHZERf8m07ufM7NCLsC99Xu9pePUzYZkd9BDcj5MR
PAckgAcKgb6Bf7b77YDI8ITbNxkiEfRhIFGtwikmNBRqovHbLQM6RrhUISyCs6hZz06/pYafuUFu
yAHGZgA425hD3PYMPXwzXCu6cylMo/09IxO8xKI1+0Y4sb4p4YfxNLegNb7ucDWc641b9uHkvTZm
fP/awAsUNeXb+kCkZGArLqn4ufGq/j2fsMAoc1SgcSY4dKhuTp3pEx8lsoM3pnV28wqvVaAfvUPt
mTsqLJ35M4uaVj7E8sKGDmTeB82Th4sHCZZCqBdIARBVY2DYBpaAWlOkeEDQK8Orgwg64ivFzXmv
Sc0bv3PcHuhzXYPDw2cIeU5pxozHPhXVr29kKgmjwlB1So2QPoKyQwoCJAMBCZpiGWl7U5MijWIN
zKld+3zY6hUY77hbTaHd9dYfrCO7zrKcHogggH2QDEsaAt77NqV1cS3tEErdObdbenRt28+nc6rC
xyWhC35hpm/6OUxPXn7Oyk9Ee6PdRsoCuai96g71eXd9G9HjMRAUAugkzIIHZeH/iBwlE5wAdBh3
ietK7bTa3Hy0w88fpB0bZI1mjnXa6jjeVwnLws53nZACDPMWB44J/D/kA9h6XUNV6IEt6z7GJZ9M
TSFf+7qbL2n18IvR50Em8br3BYHp3+XfZ0Gv6ZBd0gT7SFhhHvz/1mDlgTfkULUaw/3yRLl7zyCf
MAF2aYa0990c5RGdAqo+rAz4MMP5x/aH+zLJoW8wag+yHi2msZHxOQVWg8aI6jH6jD+TjsiLwLtA
3HJyC9M3tmg445sLL38AORwa3VvMCt5UBUraT5wkRKwTekzG+0YQAUF1RA1EWxpEgv95MuD5Q0V3
dBqGcW3a0N7gPUKehiICHcJFCJrlUIsn3EnF/c4uYN9nksF698wG4XMvCmmoiROxqn6nr8HVu4mw
J900jBG3GogHbjVt90/jkt/sWY4W6GV3iLqnByHJP46YJAuC1A2v/PFSQJN6fqLvh+1l6A8tu7bi
GDyt7c85CKPzurMVPhQ8N/s0OA1adRROjnsTKUHaeBfEyOF30Cy1CewnZdeFC1/YdcAsji89zp2B
DoErb1EJpI8Inh1DR0fvrTb+UFTD8HZgd8CMLWatVRWjyev+Tft8RPs9HkVZxiRYP+StzBhxX1LP
DZi9bIOKUbcyNpcl1kPl6PdUKhqW7hVgFkrX5eV2HdhbvTVzCEWCB7MO+JXPTPF4GrRNL2Okce+E
7Q0mSiCV/r5kcGkCZzeD3OUcaIbGE+7ex9qrwuHa1jh22/t63qGzwS32geHsagqajhtuzmq6MT3T
AThXdVZ66WdYFmpD08ku0/Do3pDUwhcLM/+0qeGb1ZtsqE38+ScCSMIAoWst3cZRWp7gcNgeDtMO
Vum4IW7jGANBRuI20c30L3gHoKpddBj95V5nxOIZOb1OIu7JJKbuGP8i8U4keM3nedBGPyaU+lPI
YhXxicHBlHjP0QZqH0N3ABjHR+u9nxh9MBj43AXS0YAN/TYZYkOZZndoIDnEAUotlayaTptwXIVz
qonP2iUTp3TMx6T7yJZOlMrbPzYl3Ukn/0RZJbaeNXakzmPz6rc01s/RdGHD6Y522E9UJKUsdyhA
r5IHgZfTzS+LQHq+VLmgXQy+IxGYSD0ZInaL25E+Gt6cM01PeWVDC9gj4Z55tEKitbUxRhTevhBw
FNYe7ADMVxWnwUkWCVmyh8jJ+yRZGKqgcrj8SZuKnbmhGUqjMoDF/erDZGaxwtQS00qNnXPCnbac
ZlgS3WydxgNuYvZGYpgBCrxXM+IfeQBQ3GCIcg8qDOpDruc2ohc0G6w62LaIkPx29VEy5RFnJrxg
uno/iybhDd4rgZnSnDkaFzsUz/nJUxEXMeidWEqMF1jvbiZZK7sgKRVoGnb23nxHLVuATd3O9PR9
tfeZwepGZv220Z8epuY13kM+53TayPwRQLATHCHvpvqdW5/R7SPwP7YOsIHJL2HYHSL229dB7Q4Z
7rv3DTvuYkcRReTXjO1MXXOgLT5uObzPxMo+fqIzLZwYrNJvHBbntjP5ZIarHf3OEucscB46BCdH
zIG9trPBuZp+uViDhXuCBIZQB1fA2facORpwX4ewYLcKukcSwB/TR83hPuvuwPSo0AhQH+t9cnmK
WbnC7Yf7D+9acDxrUA83k8nEyqybIw5eMQ1LMiWFMtlwHwdry3058fB5TPx45RNRQpizuX20h/oo
Xt54FXMIKO8Y7ta9xNZQBwCvfJjGJZ7FsCNbmyOgBYmNz0a+bh50WmyimDHY+rcX0SFfSiQdgdNv
mObwdnliwD8YSa1Wz+zq6LRlce1tCvYIjfmzd0IA75INI262w/A49X052CPQ/66DupJfEn9uGHb3
Bside8OjX/HJ22DdFKS4KX3TAcp3jHp7/pFghhf8n5dHgsc0Bwe2x3aCbd3NDotxdt+0SFt4FC/Q
YZZzp+0dRs83SPknACknQL9ozIClNSlb6gJf5xscIOH3yTF4krCJmNV+cwg7nQX6BEiZ9hqjnVGK
8vvP7WaOfoyOg5liKP6kxQGGfWT4Ddle2ibDxulnFs9B2iFMM4btr/dAVjIhC++0rNDnIag+SX14
EzQul1+QRLdoYoXLZaqv16r9dloyzeeG0xclCAmoGZmIgRgSFbd6ZHEHuMK2sX3jJszVI4jvoTKB
EQS1nZjVW1RpUi83zWpDNcEjapscveZajaEr2/CFoOlbAyymYYhxj+Cum05tBnDkaCLX9h0qtE96
ckxpjYe8FSzGI3Mg3g3gAUwxVJuMw7EJhVo5h8jSYISpkLscaZTciawc6jAXKvuqgb1VVUxXqpq2
IHphxPVt4z8eI0WAEU1WDCV31HUYeL4kQolWoPjLQPacR5SJZfKkmc25UpQTHbVS4byOJDtZz838
59O6XvwuZ7x9NpzGOf97agAB9YhFBImSKG79TuEcGU3j6P5XtedK2zFMGMsYpjfeEqqeM6euxUnb
YggsR1IcI01eqvZvhm2fijNQ9IuOsTHFm3X2XCISPiaXRGjEMIBpvMwpOGiHY/clV3wakOPQWn0h
oLeUnPiNiI6C88R5TGrRpllz7T+peR1l2bLPsizpZ/YmyKiQt4t4x65WzAE4WDq0R/nvLZlgB+PQ
pPUHBVCxmH3DLCl5TIAjyavj6GitndV110EdbO55yylpYehRapDt7zN6tVSlJF1/93XM7GexGCJK
PQ3ZwBS+BKK+2ofqLIadbYaToSquCZfh5MkJDz0aSaTbHDwalCbS33fKkSR9pc+c1sG952SEMkIa
BB06NMR/7M52kISY+tqCRcMkHfoO+HxCyLTKEYelWywYXOayF8JHb1ma7t/pO0EkOMJaksyZg1es
js/0amnUZVcAcdvIjol08A4jESK10ofgpx9/vz9EhXNDX8RBLZuA2rbRvI4yYj+IKFYadLDDm4xW
y3eKrqLfTMltfRz0gLYmv8kvRk+PBFNE2RcNiKe59H/ULYhlK1A1l8qXGnJF2GHp56kW0Rh+ugaw
kE/hmXQvzqYMOB4xk+Xfm03TCsiCwET/hx1jOn/ZxhM1oqOdoGU94jse8DiiO4d+B0yZYwjxsKUH
SAZoHvLDGmEfQacVCkvdaQf4mgxKdP02yAzusdxtD+eQ/N8GlfON+36iqfnq7x99uszyHBC4kgOU
LCcTz8EnN6+js9FO8y6Mam6oKe7ik8kGB16GsdrFwyVxwTgbY7czMop0uH8MNgZqBpnXdu+IWTEH
sqrZz38YtUOUc0/4t0gvBajuzzmENgGCXoFuB2dspGYM+vn3wy5ZHH0bF3nNolrTefnOAAUz8g4b
ndjkgESU04CHER0DybIwagHNPoVfgY8TdN8rTH/Xkn19PPmzKdg2w2/i26xFyFspvBrlLYwysjCy
OQZYp/cYgTYxCmoVTT9fB6mDHgKJJaWcJj6RjzDOCFMQAZZDXM7Js/yTOPQHhXdE2nCRZAqLODr5
h4gzh084LTyOEQplqRhyh6nGfO7Cy0MYazLoEOXN4MWpMmALc8SVK76GPYRkXQgXLPKA0/hGfflh
Jl01zZdERXDVsQydpeggG++fx6cBM2qtluReLr14NFi35MWp18YPxzpmcnGDTZjxLYwRYPmk3aV8
jraceD1ao2FGifL2/B77JCfdhNlwI6naDjmVGraf8/Zy7+bsMYPJDnv1YCnLR1AzllbOufNGWb6o
i1gnQ9TR+y4WGVqokZj80pede+jbSDKHypjkkBR22su4Ew6Yl2FXNHBIwd0jmxbeDWN5oTxccEnh
dpW4tF6o8SXcXBgbdYik24HNvSc6OilBtSUjOjb3udQGRO2nwTEyODt/JWCAk1XXvrhv9uwFD35a
SWbS8UXF/vNUZg8aWCx/HI4lbg5f57/klGJWLQ/J2iQq4MiaNQiA/iYFJQ9bOcE0imqmYU27dKJ2
AKXS8PpbyD4XAimxofqUCAVZmgJHCps9jSTNudbueX7w78F1TpWUfXeHcJt7fKlxSLwdg9Ol8RDY
OdsXFvOXuO2bY0ze5h+67Hf37Slbc3ABc1lzBnkv97u4kxZgMdzdFqiaMFKFW29h8bYUs1+0jEYy
J72yuzjbY7MYy+/bEUkzAsaHC2niF+EJd5493CI94lmHbqemwaAiqO756xSNF0pK59uD3cCRx+vg
HmLlT5grriyIO7Il++lUOZZ7rA5l++MVv3zLMqePp1DtmOBBFgMGmEylpm14fY+BQdCBdYvuCHRe
gc47exMzFbsbsfF7g5Km0Ss+Zvx31Bp0/t3jZiabrzemP3MO4WtP6hi2t7GAnmrfJ6IgpJICMYdt
lohm723j6M1DLTpWF/YokkOTST3pGVYVRyOzplpjertePrrHx7W6pdVAijN4ulLfvZhmdUixdhgw
TgREH9uEZnbM6NGvP6ySV8xIX5dclnDp5kuOL7trDwBZaFe+PNxBYspYZ/ZmbDa9AFenfWaMaThb
OxrA9fTfqA9Sgw8pBRHGu6gDA0xa3hhmYphGK4OvtayECUVJtudeJL3VQbJ6tsnPghHM9yIgg14r
Hs304yCYs/CAyGzoe5KtDYiQiE7oX7VDJasFz+63POlRzeC/p7P+lToE6etY/DInaChwMJ22hngD
gfHtT7Dnps/5OdHR7s3bLzd3Tz5+JX43Y5z0jr6CaL6rgGlVdMu1UW8sLd0ueB43GYbtrA5X4j59
mvTYS4M3pkicmIY1w0vvxCfuo1AjvEr3khbn6AYXhhbp37bBlmxA1xuyw8fxSPsxVn/iVdBeFr6W
4lLOc1Xp0fWg2tIeVkMtpbRmfHTXPc5N5jHYO6jwmQzMKR38N5k84zBpChKVxSvN8JYYYu9Ebemf
YnPaRCpdEd6OM/rE91Zz08Wa3wF46z+gBy86xMtdJ/0iS3Ib2rT0hIYFJEc6QyB/9Nf+FQyRo/EW
QgGfjkVYdPb51z4lOhOuO9n1xAdoh7pT9XdFQu9I37ViLVOHDa0VerCz0cWpnAs/13N4C0yWhifA
C7oUfOLd7jOEjEDKwaiiEuEQ3VeCJ9XsW5reV2aW2G3cOl7Myv2Nd3iOseWFWdBNqw3zvicqs7B7
gTk9L56Rtrq5zMWmroFOMmAIBL6eBA4U7fq2JAfJ2TWS5oP80Zc1I7J4Zi5cvdeuTQRTcSK7Doy+
EWiu2LE/OCIhXHtI+jdvbGkf4weZOnUSSdCwHUMzT8Wr6IqDknz7Ecj1PhaI7Zaa/+BhcgRRJ+TL
Y4TLv9g84ZAkfvy/uMpai9w/DbUIeT8ELn40xbeIHi/Hq+7pHqUaCRB0E44y3s0B4HTwj3ariIY6
m5DYgH+SjF+HVIrFzY8tSriHhkc6GuXhhOsZ6X0SYHkFtQ84chyRuXAjJ+zno0vy44qcEaazj6AJ
5xwghQ0VrF+M5Wsw/TiMyUNdOfxsxnD0UtFU34POcC9YFweTmBB/SLfItW58Jt4XQ+7wLxPuO1qk
AccCGCWi0NwIwWBFPMLGGWQDuTOqzegcdqIvtInuSg6TOtbYEfzNmXWmp/12QSeljtbszYYCkTFb
JCeRbKkJRQNZuEneJgN1irG5xP2rPzkDktCl8o58UaIVySDtWsqo5DaVD0xWSSKQVUkGHLId4smE
u7zDvAOOoJc9vDNgPqeC3pugKhpuV5y2mO7LLHuSEk5m0J8pJ67UBaSYR05mYBBY+wEUXbkbUAnn
13npX3zTuW96bh7XwSHhDppO12lepCA4Jb0YfIoGFkCvG2pLajUzvM7vG5ANcpjC+W1IkUiTfn/s
tMqnyOEC+LdJLiOMMaOz9/QxwMP5pwu9ovakEV0ThLA/517TArU2P+/l4TawwLuPjdViCQB/HF1K
eJ4cmJp7oA6BCLcZCND0IZU3I0Yf/RzVw3IiwCgmBH0Cgy7TR4zafgZBgqPiHAJUkFKCrD9dhmA+
vN2u5/z7R7sK2eFxcKYL+4Z1wSlJYx8xZy90Cr8J7oC6xOc2NAFYX0Hdw6xGHTe83h/pYlGEJ9UG
iSjCChcYnJ2YfamMkI08vF6waw8xctmpwFpUcGQkUj2T8AoyOYDAQIM5VHwmt1NzOPLnV+S92G7Y
b77r42n+gzUFcd5TyYjxiFlT+v8FgPsEGL0PUO7CRRySDs1yHxP4tMtYq250nshC27Ss60SYFc4l
e2FULaFe3I+URI17Hi1olsiLdI0JCNiU+txVgKH+cZqJLrviaSLMBieX8uKGk/OO8Jxgn2qI+x7J
l42XASfo104eMSwP7HkAXtEu7WAlMF6AiZEWGGvLZbmQDbLsKJQ2NEbgH3FJuc9Z3PPgQMrF6oPG
NYl8tFisbiTvQfSDHRIzXUznNBGiFUMuoW0F4mCrj8V5vQoeLJSc4Q8xWO/Lw3uFOKx84cfInJCP
By3Xvm+h6KW/XdcV/x6acEMhTjAXbWqENAD/qBeEYvQI7jfrAUX/rZKPB3eZB42NB2OaDUcOV/Ij
Liforlie/14LES/A39liaEgtSgNnTWxi8bfcCRgsQVXF0qftaREZGUFErk24D8T3P/IGBwSP+bdo
M64twp3rHDLzpIH9wdgsHMw+BH5ukzeTcCKfhYu3gdpZLwYpkQxQJJdiON4nxhyT8iZCmg19UZp8
YMpn+gQyjZkPZotnL2KTEF0AAzFObDK4jHwiwvVOj6HhBbgsupsLBwdy2Eifgw6YZPVS8IgMHAUT
NZPuUbrS+yYo/v/JYHSg+yWBS+iVQ0MRXyhqJ+kQMCJZrDNABxxx6ivwnbsBdVC1ApjnEqUCiSEY
2cDMZ33JWiNOscoqBk1Jb4r/E6T8CVZ8IoydvMtKuK0sWnkZPA76oCcsH4BWuXa54I04OxISqJqY
J/Kak7XxG3oWBN0VAMobMlSXXFZyQ3HM5edPQpVUwbdFYi+nIF6T1gaiFFY4Hx6qCvxx7LcJ+/jN
/Zg0wy7+47pJnJIugYAP8mBfMJbIiv3TBJIYM9olVhHf/dBbzXAo5ivQ47rMPDX4Zp6u/PxfffcJ
m5TYJfeOA+bMcEnu4xlZxwI+PmSjv30k+/+5Vr2NZjPsCjYyKS7SmrBlbSaDJplsejKa7I0Onrk3
pD4A1Via9QancLFRnXz2TFH78VmJN0wsQMFmm+zcB1vKtEdIw/sGxD62IVQxwC2aHLJCivA4+3jn
8IPzlkRhOcvOFLD5kNqWbg8OJtxBRPSKSxFl67Ecd/yBSsUtVCSU0wSwl/eNckYGLNrjLn1DnRmQ
IdfEgAYZy4xTCiQqZHDHTDotFAFKhN2+8qX1cgDEA4mIT5PTkObj32426Ot8qet63HymwA4qqo3Z
THxH+XtLGML97BGfdCGegWPjVtKO284BqMl+jN/Tq1Mseiae/gAvHMfM31oe+0cYGqRrKbuFPn1S
cfKzCzidNgYx3b56/LWhMStHleIKo67zTy5UDQaMJPrw2KUmICPjScKpQuVC8wrjqa60kJ7Ztx6W
cOK51vfs/rJXH+dXOI+aijFPlE7U9siyj5jLbt7uVXdXWN53YZyHK3RKy1+MLM01Z+dlvWxGA6Za
O33eU7zf6EZRgRDuCPvMquktOAe2xU5jrUNP4VtY47PrkHdzal6E47hDStZbwI2BR0geiBrpFdOq
/Ud51rHNfyoj61UqqMVOTAUFVxZnvta2fnHsCOEPlIzc882/xeRrk6Sn9/Ae1mGb8iIyEZzxwNFo
/S1fM+r+a3tX2jeZwcvMeJFKZC5spx+7DxWWB4ymQVXJWLMz+PaP+BG3tvqiGx0zaYwryAX5YygQ
eAjKglLJKssUNw0Yaz3YmEIiJGwhBfo45GOzNgVktKFMI2dy6QfRSAZUw9bhyMHU9r4u6RmaZKID
t/aWynbKfYpE1pG8X0sONCLLYeSVDJlox2DABLy2g8B+CCpVLF/xRRZVPpKP2qwNaOXr1qDrPyBJ
kmpgi1czsFF4xtxlDmT6siAIFs+8xSkLy468ZEJHG+Xmvx7ySTxJuJyCk0LqU4BKZOiYVlnn3bFv
9Dd07zh2vURyS6DMFXyQ87DLdPH/h9OuSCLDJGE69q5vgzcsU0ywC8sZJeoCs9wNHm3Ej9LqUxNj
UL6AECwOyNbCCfpRxHA3IIZDGC81z7QOtgsYYQeOQ1s/CNZfpgyuXZgaNp2xjESLEEObCkkDDdeI
8QTpLYymAcUYk01HtL4jGY2sUPvB7hUOy63a54kgA4w3u5exemB0aYrAlCjxm0MAv10ileQb+MTs
V4xHXWrrouhfyXsv3uHg0ZQ4PwJFCdq6CwugQCNb+WzGZ1fooJQ8WKnySD6thLX7nl1SRLfpgByd
VPWB/KITbjOP87tP2gWYS21fOyq+hNTrNxky6QgtFRHz4jnTD36NPTSbBEg9H+R+a1BmZZFcHy6V
srEo2cWFwyqEqSQdTfJ8Fj1vCwRfMadAjRD6FdT1PNwlpB9/w0E579LVRcc6r8fvpKAHiQ8iUAYd
f5hqlEgy82n1ijmPSCgVX1jwNVtFQI+vTUYxllzQkDHXbQK6vgVzDnPemkOGb5CYCC3FlkJDSJ/y
oQBRu6OnabPCK3xsYfQy3fs8gU1KfS5gIUlENeiO+L4juQya/nFHMtSO/4Jb9LR+RigvnWD8na/I
Pw4zzqgerNY3fobmqI1kH0s7mHGQFkfsXCJehMIU++S2fz6vkA1eyrDYmVTmalzsYIDxI2wWOki0
LF4OgCUY7GrFxuUsMVCDLOpJzgxOJSgvUQc1jq2w8pcqzMY6LD/BN+Vh0/mADZexU1aXK7uU/pc4
2R+av3hUTD5bVG63f5BGu6MfgkoAHN3C9PLHs7/MuAE4OCMRHx/Am7j20FwhuBTCMDMvML4xffL2
jg/B1BgjAD9gl/7YGuNzfJjdHcq5dvT6pv+jWXmC3qCBMfzZ4l0pdqZ1eMHBFBL5XlpBQu0RaFf8
Wiv7p5M8HyPw4zK5TGEmHff80gFngLUdUIUR8ffkPS904/Q9rXyHyraLLo/6DE/o+X1uUqCq0l+R
su0xx4usQ4ay/NDv3v+Ib6/+fU6DpJzqZBNTjR6zuauSR3DY50NslWkC4aNDGnekocusm7+ckLl2
ovg+jjLToRNeeDUilykzS+E9VNPH/CaSNVTTL9K2zwaWAHNfXURXJGoM9vwrIQUnp1oovLZ8TaBX
z3OSfp+BC0A6ZEJDAHRnRpEg7B92DDj9ibHAMGg+c6py0hbMSfqg4ta299cFI8EcvBTrBuwa4o8E
XAz/4C5cfTSYAWTk/BDkV3rBJVWt3pmS5UKMITXUhp85L9xMZR7mo99KP8xLjUArklYqySAF7Yt0
WGr6w+i1QcWX03n+BDhp8LRwbRSbIr0K4GPcpvmwU1F1VyMM5aeqsIIg0UFV/DF6Fl4iAu09BMnS
zunw0NCavDOIpkicq9EHOQ0AyS2CZNVgM1B7tGCkXm/ffZp5FVYGpHkdjzl+qKGIDZQs1C0rNNVa
EcDi6VCD6XZJR5VHneU/953Rc3lgWHYd6mwVPJkpMrojdVvARR0hor0wSZWFzckBTyswlyq5JIhb
pq4uz9HBCA90kOmPBqcNMsqBsSpa+GChpYfK1AP3XiiqY9y8J4LBs4vtnvpx37cQKl0PsyzrGEJs
wGjrToRD+wYeqfgYNz7aEaZ6D4Z4U/gtGPr7S6DofMSaTz+GTRt3DZlg2oCzPmy1tm+LxzGsAUtA
bzC+pDnm1e5pfrpb9d36KJExrWrGW0IEDVoIpxssm+7epQN8fS0j3uyO1wUPpR6pPk11DFpo5XbO
SDntDnXG2cNv/VC4N+aLdLDHW+eDJydwEbTbNr2fQ9q6h8DTL2cx4y+gKqI9dVU1Q0N+vDj3AqJl
mUq5LfizlnRGgjbOJOM5kSr8/pJXAmCXP8ftV5oJD0pJGI1ub1y2EVLBcZeg/HK6JHDIsKmEGlcb
PRbqgLl3AwVNmBEDuMOt61mQwRkNcHDKf/cFMMFn++lxdnn3BV68b/Ah1aeiRfsHL7awF7OTPetC
tqJ8BausZldEw9UEvfbpHmDTT/VI6D5/U17p+QuNJ0DsN2rgwEbvi6uhN+Lb6oR3vmMxcIXQ6j4W
TFbq0ZD4i331AlL6jcfdi1rwMbkjyJBOER+gg+Hlpc+488MXFpsoyhm5ho4ezruWPMRIAoLsd/RE
cD+gEC5PY0Wx22DnAqUUMRJZB2q+vvtDXp/9XnhwFEaBMOF08Q4/Pr4Lfg+vBfoWWLqx5a3rxdHB
wOMqRFvIULmw6Ld8Bou8Zuerm29/EBz8rsdB6zwHeb9a4lunWJ+kzePwDYzj7PvoPLpGd5+JPsNW
KJYORVSZlrYpB0iu/dbkZLrQDWUI0BekGSkFVm90XRRr+vGjwrr7V781HOV25bK+/F43MAYd3B9s
ii+Bm08gQqdk9IRaDziEhGrM6oF5D5Jsw2FdH2x6nR4ztJjl57Ucgd5/QN+oT/4KrROH6lsJdUxe
wYjXB9P5zh7xETtq3osjWUQRRdgZMX0E7uyvRwlTrvU84n8SOcmh/zq1r95lnu78Ouv9wge8aljF
lsqYLB7IP91/O9VE+3rn9OtongwA0LbwU9mNavym9we/z9cmtXvwrwEEUcF1LknrZOttCn0DbYhB
VfP0MWGDOUsrEoDR1l10A1ZFM57ZVS7sc7drCdnug8qzwsKhYAjpskSRsrrvKww0MMfyqrd3YL6F
gSDRvry9a8c76c65IxKE+sYsCIw/3Dw13taZcJg73Zuvk3Bs8uwG7dZphV1toGNNUTn/jrB0uenn
5Ip3y9D4MLgsOO8V0zuOlQB5jzQ8+GLHu6KbOWBFNTolV9+A5vawRkfT6wSsz6/f3Nx3H/vGG4K8
VQ8VMs7GKCp6ADlfVKnAlgecwIAr9qc93ijd3L4yU+UE+Fe9PHzI5PcHp5nj4BvSUBk2AIOUymdf
hX3K/XMYwvnTbfXh1AxprqLW7rb5VJ5uuCcNhxvsa57926bFIY/STv4YRWEz15r+Fc8TyEF+5V1H
Wv+RcCAmzzGeO0pcBEhGFWBmW49aozMkeRQShX24O8r2jEvCoGTsqYeDAU1Bom0rUf0PHT0ZSvH7
h1CD2GI4dyX5MrY6xLsD8gtRlcYeRCmIky20QMBaDzB50maNqVTNgiIk1AbXGVpsH+JEaPPEdV+N
8vHPLtKlNBRfbiupH/F59nLPacdr+c2kckzTKtFK0vkZ4y3tseKDZtix/in9i6N+rDvI9G4cwKVB
AxuuAzsw3cCO/iZMa1oMc5zeT7QW/7qud0d4T3SIzu7FaXbY3VgpbU36oj9+Gs+fU//SmiqabVL5
GLvC8MplMzEILLFNYs1w8Z/bK0P07tqLyeyejmX6w73ir9Dxi/bg3LP52fII2ZFMBFc95zPTG++w
U8gOtm1amoXbulvmFn+fcPkz8LJKvgefeRsVHNpZvtCj45Dp5UrhHkgNmRJ+Cn6zE10n9xu3oiYs
YF5ED2BVF3t46xZOMbl1FeeET5+j4siWtVE4p2MKNUmS6NCBB6tidXdHjoyXJCEJTzU8s5m6e/XH
pceEPEDoPagmAWj2eCMTuyNkle7XizQFpnaK7oalBTkF2rHQ/0mRVGE+CrSPAbGVlfa2ayEAv2v+
PiMFIm17WUM/TQOi3dn+F6XzfUaJSft/T7eFMrd/b0EZsgHmaDSA/SG5hFIFU7xMtKHmbK/WWvMY
GkcVie90n6GAjBV/Oz4gne+n1/R+TN6T6cMnHCC4M4YIKQK22buPwTTzjkPY6bS+CJOo4/yjVzpj
LjaaytNWLFzc/Iox8Jj7HQaEgCiNKTb9cANVBrCPjwSU594hTixEJEgvIGAGxN0nA4SIgQmqpHWC
Zsskku1wGKe9qM7KJdZwuJgsMVBs8FogerEJc4gyAybqGjw7rEpxWc7ek1NWBKcMwxaiISJzsp+u
pTHvjSkkdNUsmvfOckqMTWWwvYFxjc9Wreu0HBomxr92o9nYiS3rtK1GBop31eXoDK/ZoXHKYXXo
H5fVRDll3CTlYj/5Z5IqcaphmvqOsRiZrRWHZYJo6WKrmFoBfUUIT0I29d0pJ70RjG+/iWEG+l1I
aoAIjrKgZQ9pjRmTlOtX6IdPJ3VPQQqlU/dlQNbSJJIY/rdwdKSDqX7B1swuaOEtWj4z+o67r8Np
TKiRM/eaYnVr8RmO9nHYIgGI0xhi4vKDc+uDIpi5XX/ffqJf4+jRgVFlHt+9vkyaWP93QXJDnvaP
bMzc9vzbpMNgPIPDyajBCg47xEuzrlfL6JzwFmLM90+MfpdvZ6nb7/iwvAw7GAR84NJa0Oc6VINO
nTaTe4bE8JpqnuKUqKWGCnerCDB413ls8lrfmHTTbXYSO2/DInjChKyt37qZ8P1HNuJaiZUYi3tk
ZBBTZ71ZDhfP7cTfUJ92TbAMHUK4X5BNW9GB/ORjK29Zm0HAHIyk7SWJ4wRYGaCfwMsw+Fr3ZPxI
gPOc9kxxpvrHWsu1QO7pc/1rTZulZ1rRpZJWDzddg8m4EEG6luGfgis9iTK4r2+9sLl49Tl8mLKe
jDV8qsJHGVZYohIfR7bttkap23bv5xDJUxCN6UU5o74Rk6PqgwUwrrSBjbFgQ14Ciw8gGAh5kcwC
lIG1j6aRa3DolLQ8zq1gd7JpsbP9ojR9Oy75T8CZzsJz7ejiRWzBs2uznX92FPWWcFI6gZ0y07LV
hVJytpZkaG5kR1d7FPS/WcDa+tnHEg1hEB/DOF0WQXqGxlLF82F7hMnEw52Tu5D5cuW460CIhWGp
9cgqhNeP5/x02LOfuj1szbbzNvMyZQTjiZ16H2mfMdwY6P3p98sjhvH7xGz58Zl2m/AByHJ11qVq
RZrunlnJGs+Vi1JLa/yZfomgcGpcO71NllXPX2qVlbZnacoozppVi1EWliz2jTZJcMyZQGAGPSbl
4oSBjWAcyYbVdXKodNp52acXo8+e/7F0Xs2qoksY/kVUKSjiLTmJIOYby7DNEQTFX3+eXnPOPrVn
as1Kyhe639S7B4JOxmL4aGK+J0I+WMPAQj9r/fyyYGUZhoxQV80GvyvzYK0rCcenOr8W8U/0fGgn
ba72y8mrWvlR9cPzFcFdyCmUMxivto43M+numRManNI2i/50YrsdqRPtE0otJLm2Xvq05FxpvHm0
C4rLCpVigLwqWJb9iyYDvNZmkLJymhXO3yxLFodHLAPyWzPWkThBbgYM0RbJEakp9GAZa+qW6q7u
HvihbYcdwcvEN2a/vbyJWhs6AT+bcCogmEVg1PcaFkK85ULpwaO3kxN6K3w1Vi+RgrFn/RDSfuY8
wKDlFlM4aRRJbcAuZ/3YVeNHStbBSAJFmNw8wR8e0Kqx229BiRNie1633EdwC2R41Suo4sYuxz/H
YNP3p01APOnoNr6kK+I4OQKZKOgffZUNePUf9t9IzpaZk1zGwu+m/XSF1KRvs1FPdn72wCZ5uJTq
Uy5uio7wHF6Rc+ibi/twX0M9ItBCXjqVbvTxsREzcYON8h0UPNvCotL06+xMjU9oAzZo7Joocvof
AhoaPN7sMcXOr9zLlRmGiW7OOH7ib9h1CofDkyuAky68r79Om1OOC59vif/R4W//kXMmWwp9BZgZ
nRL2cu7l7DBsJMG34i4EFWHyxNVROfTfSYho+WOvicUjTILiiauUz6PL+acExEHQ/TB3kur1DN75
CaOMTSM1YRVjqEEmjUjdUoOZNzukX6eMdZRpFTK2/vLpKBR/9PIWcWT8pN/+FTT2ebSg9BrX02Ld
x62zGrZcol4Dw+S9LHjdz4nq4wmnDZJ3D/ugK+EXxO3hFOfyp75DImtmIpk58QeUz72GDJ11OHB5
gPdkNX9yrH+gA3hvet4leN4oND82HQPHUssuuI5IheDzr77CiEnF0/Yiq2Pv/hjsaEv/JQYNQvAI
JBnTmiw42egZqYd/eKy+Tje8JgC6rME+xSX1WCRVJ7Gilgwa+bCuUOZwMIzWqnspuX17YctdzIDP
toDpYfahnZ2yjihK7H4qz18lpdi/MMYRMdOiRYAVbzjRxJP75AMCpgOxep+o4aVWKbUBIwhmunli
ZiZq/5jtJ/E8kuFzszZtseGjI7WYbn+yugM+kZjasWGueV8v82v4zB7u2ypGss5VidGRQAF4Bq+m
HNqVaXeN1tft+NLCUjA+B2+usQnTTLzCu4bsMmvFJf/GTZS+p93w8nZ+hkUs+rpxNa+Qs5/nSMEd
hmHHz184uTiPViu+jgG+1OR+J8r3TXTOnlbYBBQGdJS6wQ7tH1APqu66zqT3veNdOBL/YHO2VyiV
3rHOrFz3gt3arWwjn3VpCC0dn6TpVTYtBwuxjKv503nRwQ9u0NOoKPuYhKlO0fyLmHRU+BervWyu
6+2ZKu19tPh1lZ9P03vEbsETpqeartd10pHklPPXJCeaTs3v76btT6g7L5F9XbElVhGPrzXLO7jW
TebkslkGB/vL7KsHSz++MejFVIe4cNgjLZflmOA2n+DMK92wNxV7+nrFomnY+HnW71p0r/eOmXc2
+WdILPfZnBAlbLYnFxtze1h7CaXlOjkghOXpJ3cnzOg/5ZwIBQSZsOFVAilOF8sPGYXLy2jv+0ge
Ue9AhdFCsd4zQImH7YQvEBEGB3Nf6hFYFzsDd0Jjr+ZhPWJfvP9RYw+z8GD7BAf0OOt83Z9QiXC4
G+6Ek4lsl84Gc6OL3M9ndG1i1QmRE8xxggmhtPmQPQm7MJ+qg2mBdykFgvoO73cSb1BAVBifGYdw
QiVtlY+vedrcX8sbvpkReo8XWozfF0c17pgUhdvJ9R9DLJWCBDAcYb8nBX16a1BOILWtsLBYh2dI
GId0MNLJ9HSnqzuHilCTmlOvDGXYCR9XqGCtiinEiG5kFNSBw/X9HTfsLYuJwP70KbH3rcavXeM7
nB+SE/LF+wr5+TG1kfcwN+b3WKD54GAFZLo5394EmzZRE6+sl7/75vTX81CL4NpogNhIDzULJIcf
s0aLTVI21FeHEUNAbA+OLEACsFHDaUUCM2GjrgiO7nDyDi+qs38ZHOYloFToLChvDkeb+PxkUSRQ
cA2DaEGvOEPYRMgPdwQa7wwHOadi+z4Nkpfn/LRdZ8RI8771/oAWyXLtoaxyfbklEmqCZPJwJznh
DwuFO+y+fFr7j/8mfMvS0nbwXpDLA7b6N4j15dNYEnVLcj5L9fOWkPP6YvoEEu1BPnaCKKpfh2lO
b7Of+q0oJziNZroMkpy7E1TIzSJ5nACEut1a7tQRg8kdbYFBJq3MSKCxZ2WJ+ronBhRWjdKKfeVs
7veqj3TzuHxOGhPgjfJ1kIvY+lOb69CXW6q/YD302J5kHiDvOZOBR7bxDbreJll5V7UdxpDz/FGF
SsZFfh/knRlzwrukFAAKcwVruhXKpZEYRNHa69+aquL8tRdtytBObYbtSd7a3L09mzA/m0zvJmqZ
OsdhR7ITQsqvCVAIxOUzxOfgTH7LMClvcq6FNDah4fO7vw9AhOAygIPscCX1S+5pb9cPGJcJFGje
ERLxKghTPjB90+lwt2XHjJLT3CvBfvdd0NObAKOfrEF6uiPX5YMN3twz+3DZ7ph/86v2AGHKIrtn
F3v9tuimwBc4zAyKpjdybysJLZ+XAWmpkFGT6W1np6XZdEo0KuOFDzbJSBdcWjD5O0Ldn84uA5QO
mXE3nXaxnEB91b2AnZ2drdvsTGQJoFtAOEtjy/oCLqALAHGn1V5Ej1kG/gVuYE3JZELxfMQ4zT9f
1HlOd3e6B+x2Zj+fvY9JJgcL+IhKJDuTKFP+Iz0RwwaQ/L8WTi3G31XtdfmwuRH5Ca2Wwzththev
TafhC/Wemde69QRMXuYvzomShQA6RGS52fFbiv3jeJlPeKiNSwTcjzhmLA3NYwhbSiX4TjSdmpGD
nmsuyqi0LBX67IpoOwag5ueLZq5Tc6p90/pjTlcAd9ZRm1XAKxGSlsrK+siEiWyX5/v+9xyAMbSi
a6bOzktGs+ghgN7Re3Z59SQlpvfJytGTTlL5vIQIZS6qryt1FuEHbjcFYySCyGFJXwAamVzr6RHT
XmAOqKT1OW7i8ALG8J0yyfRiX3Jm0FNX8rvM34zrIItk1wvQIzPPgZERDASktGBeevhzJie3ZVJr
NRS4tZPk+uyIujgTBr9yUELUpG6LHf61RmDymeJ1MdElEWD38law2qgj7+7nZJ0XRdr6U5DCxKQw
fhDebbeICUphkAYLeDhAVsl8wJYH49nQ3P97o3KLEWmPWCOBvFCbuTObYsmkKa/Z9FEQeueMnHJ1
Y7AnMj3qlPZvqX/SV95imAaLIWwMs3zi0zPvkyr6AVHZ18nVinSvnAplLfwzEqIpQxxXGeoetTBt
JYeHZXi8lp+mh/X8JYp5UQYz2/BNEY2BKClSLX5l3Zh4uIonRwxdRLzmZ4KSmf28rCZf1jz+vQOD
lXu4D9H5IIfszjdIOcCCGEEi1htr/CRaya8yQhUGNVF/xLquRVezwcSNURvRHTz3b65tNX5LIXga
3EZEy0HxQgfJ9oI9EXJcLM3YUZaijRILuAyP6SKZ+zNkatsC8gzYH2V31h1CvKgtJliZsOlxE6Ih
N5KuPUfsWJIQrvAdEHWgrqo441jSp41oT5/ebbjf7dAtGNmLaW9dE+ZhijQSQkIZQunDwg9e+y+M
/z1AKeNhXZsa3hPJNTaqVPcMjxC9U0JcmS9Dlkn7DT9dk5/B/0VOKGIZFAVZkQIW9NCfyhNimEwV
kiiHGAy8NK34wQ3ynHNaoUY0q7W6lxf7yngb8YKtP+tVyJBk/9C3kPc06HaKMVwFyt0hjoDtYX0M
jpi/MjK7MQ3CBJ4l2IQwqw7ybXEKcIyePTVBdc+yG7/dN7+nSvQasp4fP7mw9SX0V701+AvSzsgI
QSMNykOuOEfA+CQonU++E+mMxmqNxQIho+RiHBciFL4gDReXFtJvGVKDl2f0nuEjx/MO9zlQRnyY
TWU9owqhf0LEh8ideyNUxZaGvbDvGClE/cUzgFeDQ0ZixgEVdOGDn+JjugxOnkqLQOD1hY7qZWtZ
jXCWmM0tVzPGGxoZh4oWHiX1XvTMlfuj3iY2s7TVbTPvDL/wevQob6c7IFHXeXDmXaMLLm/P8xY0
i+RPaEQ7ikvzCU+xWC1Ijn3JaF3h+LsGtrMX9LKqRpdvIAqT1kRkB2jm3YGUdu5clEx9hlogfyN+
ArE+0sD7WMZ5fW3uD1RjdVzEatgC5ERm1UOTgTZRDXVOG+Hw8EQkivsgOqvmD8MqkxXLUcllIaI9
QfSO3EnmpSiUeEpcESTEkwWEIHrNcP4k1BaF2o+MkCXChA3AfdibL/H98/MQjiHgQ+ONu5+XiElt
0IvQFNrA18S0kkwWFakMaT26br2BO2/zaqCPOeLY6wEBeF8En6DcAQPF3vRSBxMtUCaS6j4hslhg
+b/nzVYkbcwAuDkCN4/J+AYCzlsM1Qzj4wJWJmjd/SOSXiT1/4Ihdhc7YmwPzL01pgP5N4pIOEQr
SQzjMSPyOeJSQ6+L8HuI2nCsxCQnzdSRkfQWjJPxT8PC02ewUx7sFJxQubLvE4UpsGdHukTKKJ+m
AyTuMISEtA77N29wK1GYeAtqhKhRJCoMhkN1gj0kUPLe9nFDMRI8iQUOkebhhmv7eAglxYRcnmmX
UUUNKkeZYKvkJbjkn0SH0/Ve+iIBghJE8IfibytiXbTGMaMWGENJ6DTqt860hXxUOyGkBLHN1IZI
D1um8EpihpqtsDWRsBUd6F62+oTgbcofunz+2R0LvoAQvPT5a74cjN8zyaPZvHOMqj5xgXZ/S14g
Nssi5Zc2iFFiBA0zybkPszM2QLLgh9f8QLQv4Tw2g5u9CuXvb6NFiEXcS3jGtvIPLtEd4RVWUMek
N2+F0wWm4wtIhXbkwD68WSmElfefAREfp6RxXDHGip6OocKjd9pWUfPeh7cPUYudxTvCGTLUZprf
m5XZ+Ib2HUbQY0JpRPgrGB/eyx7VCQO3JOfibD9zTIHb1gVZXiWzilGGvda6sORieKnt1UBcaffg
HFzHZIrhrYcSR/WH0FTsDrrNUGwRvDNYTByzchxz+oVyhl1jhRoAUYeRiZhPTDoS0/jD64Y2scNV
fsDGiUqFG/4bkIkV30bNtLPHlGIRVnLCBmidDTnO/qC3HmeRktwGbR+I212Ft5FY8vsixUxe/Oov
UowvYTPp4y6ZqBN03uXo5J+IxBBjNnh+AuUoBxxt+GOrDZ7+ytftPsO8Dp7KKO9/l394OBlHgDyR
rct9FyETfow2N4e353mSsOyfjVCPbX10OWJHN+/1DxnRP7l/CePxVqJ8wkU0EIflxgAxICYCJGNw
tVmqqeQYvybjob7XQ1R3REyOujg5RIX7WrYm2JlUqp06INAcEaW4aOTFof5FrkE2O/Nx1jwVSHR7
w6kyGqKZ7Ay4tzkBiYxCMI8kjCNuiKQXxUNSx4jYHX39dHsuZOmXh05ik402yCGGQE+/T0dPSSYZ
EE7EGv1Fr8FlWXrll3ILe9CfsL7IxZ4kXqeD31B03BLNvabqtIfCdUV2qBx6fcSsog5Bn+OgBnHh
BDhUC1uIldI+cFO0dlvNA31YPYBlvZsr5FKfLuXqv5PaozYAF9ChWRZvJtJagomBh4XMYye1wa7J
Y2z8irGZQ9CnNrXrazbtmnOORy4AkRiiQh8P5tK/yK3bs+mph4f8Sobmrksi4V9eBKfIBwmxGsLw
svvnf6ridQ+HbAQv0A3Vo83sqfkN7oVGqvCenugoehxiL7AHhU6ZHpfCeYxkxZn6B1c84iKJbpwX
MU+a3cg7fHOq0Wf0CzrMgyBpgG2hzXAGR6RiCMH45QI4LDkSxhzA/8p/BQgKyAo7g1goBrYN+zF6
GaDDkFZzcMmvaD4YOXUffPx+AOFhKQtyPRf0OCuc/3b+AE3Jm1kDPvbmXWpFgHKPPIcr4g08m4wZ
wnYDaiLJikL582IprnBpbUTPTysq5x0LCwAyJ6YT4MiiAeFIP7mCy8IhuMbs+deVhn2QVlLdSe8w
YMlIC6FKBuCHyAQT/YCSQogDaJbDC90QH/MvQ8aygSUp9h6C1Qr1jerz/dz24ByBk4OnADO7HxqN
ionNED8rR0OCILZFaDk/6waE8Ua0goXbWVLe7clHwyMtPiGyN1lxYortYezUG3YEkzAPUePcEvEE
qaivoXpFnj4YzAc243wJwqOnZRaITVM5ImVu3Ele4CH7mpk9vAsHnjUZf5rz3oo+SnROWn6OsUOJ
w1ToqHMsmtQvmtTCPgcfa8dlQiFBatDgvq2sPuGp57h2pxHGTXyVYhHt+1h6sFL0/XobZTkBJXZ3
0ArYFwvVh4yAdsgXzGesiXpP0IxYvWBl5fk6ATElFgs472QDlNpWMvsl3oL3GiSBLm5H180zy6ib
VxYuA/mN7ynjucmiRmyKTkvnEJZa+z6AJNCdLIfbxciGwZ6+01usjQ3DacugDOjPk5BXTo3uPNAP
d22VCl648zhl4gJWO4BbvqDtPGzhssHjGOJhHQfKzrBaCZUF9zrAmitbiSuTLm9RstXj8s+DX9I5
pkrCKeOtUmoOOfIZR2Oq+YyEHChvL42ZnmGu10A0LT80Ywz6MhOWKbQ99Dnegm8JDEFaUKrYWb6A
cPv7DLkSKEkpQdXxtu9AiVkzKCtD5Z0B7WKl69g/WrpNbORGIU+0jKaKSy4uz1/BTmWgc+rBorTl
tbwibdxKjC9Ljd7V/uXFXM1wMLm3+YogZrchqoegE9027N6IkBR88pNS8tAu+HP6zIb8YmN3CnMi
lQOLAUedGLh6AbMPkaBIw21XsywvzFkPXBnM3FLt5+g71aawYS7sNsmjDH6z7mDCHT7Jc8Bcm+g0
lO34cD9j9OMEaWtWsX6WfDVUPk0J9AWd7bBdkKrWy2502kjc3K/XQjLy5TsX5IitmuSYPKcfuyZR
LKn3LVfp2V/oyfFzDaPtveHfXzFxPdjwRbCWhAg44FNjFgPhq/3ohQhooZkdzGCHtSxwNdTmd8SH
H8FieL1o4fSRzl+EqOHarplbBcIO62gq3mqoDErg57c5GrNCXFJiINu7kJeQny8Wn3tJkS7Zj/QI
TrQQDkMXQsBr/B4ve3b/94bzCxt/30HuhKxp1zDbCogKRJBBQijfCrqclikfCpS0Fan+bwDCb2nj
78f6IeRrOyqiaPR7C2VMkiOIOQc7+IkhWb5v9omECktRLbUOkewX074wug4tWlyGTNHD2D1u5+qA
RHYQCvGUve0zJU3Lu6IIBHEBTaCR5s75gDiCgfj9eAeOCto5uluPIZP/OOMqwpEB3d7/ClBt8LED
G+ns7K8DBHsmoLvtn8M9q2TRTTvJuwNagqyqnEkoOR1y2g0e0YM+RBT0nHbX4DG9JPz28pEn7v6I
UwGWbG9YcFVgGOBTpBaCwoaOl4D0/6wkz3acTVljApvtOJB9vmSKT2nIuwNeeY3LPYbRtdgJxZRo
eJd1B8U+J4xYH7u2PhGPgeLuLlwDN6IDHNJp1GC1e84Kv+BoHv9/8PFW+3NdkB7V9c5r+JdFZ+hV
xGw8tlsdTTPxVzaBUcTyJB3EPQzI1bzuoHT1cc9KkYm45ogpWsNA8joOzr/UQ+Mxq0NmArG6Ychh
Sby/0dNisMH3hmOOiq7mTMFvEBBOcrGIKWAex43+CEsTEn5njkC2Mg8zae1IkuRKPjiGzdmAGgzS
JdOQoGjInyBdYXqA2p0eP4sm9RN35hx9gN56j87GrNglgJjXJE5T7sGeB/HprXz5edOZ5B6+7HvE
0ExbHX6PsEE6Hfa/rqMtV/4p1q5OHT5xgY9aQStX8x/pJBT52LyFLPvXQ5B45OZL23Rw/4jC61kr
SMUzp6DmbZ+OEb9DsrgCYwjHhfjTbdz+v+/y7SFdp+U6A8gWGIVQ/BGH0GT6gJnRYC7430jzZ5Cf
d533Ypba7g2Ky23LAiFaoOcdNg+urONA4+7h7B/vboYL/se5jgLQ/8yQMUI6Q/lVWIWxdIo+62yB
OXLNRHjSyHW2e4uTWxB0ALyMuC7kYgsJ87CoKFZONj0GkkTyd+IuPhvufe85uC+rHMAXxHQSfgLJ
HbhsX24/7E7RsHzXx6hIlPCFcsA/pQvwQOr0k7f9jXR7e4nVYTPkcIO2h7VFjaChqKsHf+Ddffng
Vo3gMKLvEsezTykH2fj3A2jslEBEWZQbJUQ+e/K57FHx520GdOCMPrCNewHL+7T5pv24xlgHULih
pKXs6A6NrLEMOqPwtKYnrCzdIXu7FAydSrOTCOCjBXM7sxxn4eS34Ycly1vwQQvJTjR4T1rRd3CZ
V5CyZxZa5TYUrNaPPWuzVuAXJzebyQXC1d/sEHHMCwXBY/fjPwXtqSSmPYLX+KtzM50jBuHqVgkk
md8ZMAtTP+PCAA1Jj//KtoXk82RD4xjwpe+B7qPm4AIYIVagoQoYwRwc94TfIp1EQwlnaRPibmxa
JpdAE/xJr3pocJniKnTk22HqVdzji0Rre2LeMXGAaN012E7ulecaBZZzoeA0y+HNZSrnhWMOZunO
hXhFblr6XQ7W+XA4dvsRUjSIkzU9vanhbl6tj2fnBUo35iKBUzi4+52OUGXUTnedpZary+f8CBDD
LzJ8u2pymOk/E+4VzJ45v9zxHImMM7tgAtj35pjfsK0I73e2TjMVSNWMBnKc0R5I2SbwRo/p0RTD
+OHvFoVCF0Cvsqa7FeGPQmasuNXKGWnc1LHMYPAaPup9O/YRuSTf7sNE6ig7UU5ahpuDm1Co5n/r
6+ic3Ap5wOSaMNpXyHWuUnBh6g6N4gWkuMVUjcK1ERP4nWSPCPiX3imQkWPAI3M/IK7hsshw3EHX
QcXzDe+DFaJr/pDyPireNvcXq1dCRKQ3MRwevUaHsHxmbecN6YIw3ooq/FbPOPItFlk3e8WwrYq9
487y6Qv4yvHRu23EFw7H7zPcS245CllxtMOA6HyLikdRmfPCxikpTt03avW4PadpQ0Qo+k/EFXFr
OyPdWRJZOcce5E2QVRf800GcSO30i1n9sO8b3BjkGEjAYX77C48i80wQwRq54cK5hjDMiBcs5ooW
jjJZuSfLgw9ZaB9bTlcFlSEsLQc//LX8J4hHhUL0mzRjA9iZuje5Jj3vKVJB9hoqIvJhlLhra6kU
sUpwFGxqrh5RiiMpKGhmJNVfVORFNmkzEbdLyuVMH3MjqYEKSUBJKcouyjK7B0KctZGUv/+S+jxq
8tJVd7D40ZGMu8I/S7xfsRHTP9GWziiFM0iM+LNg+HFaz9CZE5JSU9iVbk8+k8yBBxEXra+nWKPU
Q1cLF/J+Iulo5iJBxjCirNsJMbIsV9bdvppX81PwJSmddF9GbFnNvJuh3AMomz/mv4cDywvuwp4U
BLbtlW47K92u84wkSQu7uVvzsrihI+LRPsz+4/Yl06lNuAszjdreJa4BwvLLxwSw/XzyCyT1sJsd
ky5QutMLtWmZIg7wRejxJBfwaH+5orYf1CUyX4o4yM5Qx0YbH6fHaU0u5PxrGWq8GiLfVHCQM648
5hQBtNvCVqLzOupuFT/RovQ59kUidNj2/xkRM1GhyQFdAKrt34ABwbn0oAjHUV0zcQ6F9WWHcJWF
cEhRHXC8UDcZTodKh3YR5piHrUllv9AgM5nOQ6cHgiUszz38/gupgr4o/5RlL7tPjyNOPBfDptfZ
IjwXqQXqHjtj+V+o/GjDqJOiKbAch6xG4fUFDaVviDtJ9EBo2CXrAgGGQx4otTcj7i1wU+GX2D5S
s7WH8O9L6YcyG57jeBIr/HsO3v/BpiffinFXZmuT8yJvw9qjlUCtaIVZnx98cSfOTH47ZdnJn3uZ
XI/9xy0DIYelhWyDuP+kkG4T3tjB1IgRwHo6oiTuZ/LCyjkd5tsxkVS1DO7kNvoXP9v/d3FrqTFC
i03EEu+P+FbgaPn0rhPLtCksPG4/+8zv+9ixMlhebDm9+Dd82g/aSBtX5LwG2vmBD5GFHrU5D0Ph
hHk9vpzztD6xHE6fCPwCZduphuXUshXRJtKnFFgx54cUx4UogRD+B46PenPHqalGb+9t8ZgYkzUj
iXP7pr/OOzlLrDVHE9JFOm240lYI2xAvkCVNiEWucGfV1iy2rFyKDI13tz1sMjHKN6ExuGNDgXcR
D6j+chtPxqNATFoLoKYY0ONAu73fTbtvibyoSQWSRyQgw4Vv1qUcUGmURYBHVjY8Apc40nesOgnV
B8nYzI9aCHx1RWRVMS5k4cw8r+f88xaxg+xo3SAipE/THGTfeQeRDcrJ5L1mJe4bzpeXjR4+dtah
JafUHf3Xiudb2R2qwDRthz22Og/4HXK5UeLq8aw1nLEAwk/cctEIyFgS1OfogDDkLBR3Km89uDi7
AH0fapn9kbOwz4Ck7pFL7AHjcaf5eguoIdskQ4V//FOvyT39meFfQUNJM8K+fL1s6STRYK+JX+Mm
W1mZopho8iewBAA1WKLfXsPZjLYXmeaXcjdOJtLFT8rgjlcDvr/hUZXzLWMAbB2g8TY5ZYKXXjxt
pI/bCaL8QCPgQsKB4xmrtGWGC2NY2k5MJfT0JmGLllSzEABdSorTzmjFL8jze4br9rT42kr4TNCD
s8B83jOuUHPxHaD2BIKggMfai1/Mvq4/tk4UnQgx6bNnnoauE5/qrhP0EskOpwSf9Li9Bjp+GMcI
vozQAfogcBoEzO6MCcbbdND41H6HGC9CXsAm/txDLcSFFVUQjTs/+oHgm4AcQQ+57SdU06NbdNsg
LaJwvltW0nJfVH7lTgo5kCAotW/4iA/Mlw9Of2uJ440VJnLK2ulx8bCjS+4FVhn1WZjvOWWwd11c
mkfq/yr+gTmsZyTgUYL1vH4mKuyQjVGZTOLp+HqkfXmrqIAB2igIMRBZk7sDQSHyRTrCO5kYrBbD
0Ud0g7vuor24zBTX3hFeCRvEQcGQIYJj+LeSg49RzcwwCtviIgbZrxGNnIil4K6V3Wbd+FeskQgU
ojvbzLAo1zw5OXFXjnu2oJb0HIS1FXx6Tdo1SkIFyKXY4lKGlU3KkFlPwKqAujAAL6A8FygVuF3y
ktDmbCmWDAlWI/BvZIzOk/7Xw0JyYA1zYdBqPydvXhypC0DYWZ/Yjnlr/HA1504yqup1XGPOsLU/
ybBAR6RB4hWZcWsJu9mkWlLh2YjayYobctwKmjo6739Zf9Bdct8+tnefrwpUog+ZzId2QbLcyI2l
fEKLdPeMhFFkZ8+OIn0g+NLZ2929B2t1olHveDVaNinabpR2CNMYnex2GL3zHbI1f/nfy3pszgOK
m/zx5wA7hsgS0hXvfCfRR9oT3Rapd4wisbKHU7vcKNMIVQ5lK9PMyTgZvj42GXt5P/6m0svRyqQ0
bgPKH/c6EWBVYX7OmVZQmP3atgmCm76cilKRhyLuL+bBhP2Yk29/jrVcqPkiJt5s/R8HcfAZ9R2d
Fx/SUL/buaQzXVNhOomwQlh3minxcSCYYH/ctb9PM7r1bZ5yLQN7XhvgtIhMkBYsQW1Pn/P5AL9q
f2uEsCsSVXMic0fiZAiUwaFN/jGQ1DPSF3BjX8pJ4Vdu/pMjniYhbFP5SR4FBenwNq2hbxmVlZKd
DAnCCBfONt5PzfxhUj3GLLdbdI5Vj+YNHqtlLfuk6xSEONU2kghxu3cymY2FXOQvMyP7ygi0zfiE
rKRDHFCf9YeCwMGA2gWOebtXYGFprLXhVF2Kb3V4bfOh1ogMLbCekKUd8X7yuA9DJEWIOuwLLA0x
OzZGC3QNy4qvOdG3844dUFs/MRzILSrhRUTNskso7J8W/2uD3FBEvHlYTgTHkRzHSq5n0tCz7Xao
CX0104gE/LE+LvZ+x+fZjKwg5WsgkhwmaqFxY8LWw4/AvI0Gp8SDRIsSUoPmXvp57HpdZJEZLIHN
Tm5Ce0DfC2H1+ve6OHIkJocO52I3ITmLwUkkyiIRwFaJuf5ceJC1uNrEqb8h8dngtZPy8SUB+e7q
aFUIKosYY0cS0FbB1dcKGPgL6TvV8euQHB1UDeMGzA+lJNg6yhSODF7Od/ggaO3st/40EpXfXbkd
lEDUpOmKmndc9fDgl/6uj6b8QRZ/0jDDBLh3U3inbUjXc8YrrYWin0b0jsj/OOgx8hypLM36X2t8
RqZdWAp6HXyJUj72g73wKwrMBL33vpK9dQbxBsHl+xDL7q6ZOrybcBVKGAhn8NXaAT7ShyruHrE/
vSHkW7S7W4X3ntyBGY0RMTZLyaYihcpZ0k3piMYAIXhPgzJ6AkfRqHYQa+oEjLBuhcBqeYfpfCdD
FPhMmBVkoUdkpYy8ivvjfgzIMOgkKLQEbLfmDLYLS/ZfDUvxcNh1V96FUTMStem9Y3eSetEBoG9w
LlPOvqL2jv6XHlDqox+7RqZG1GgcHtPjkUTZgg1EBE7J+SIBmSjjWDydUQ29OMP5GdGVL970G327
hRoXGtlvwP3ftLD0zgYsScdW2HcM8v6Y6AefW9ctWRwktL0DDS0OVkSviL9Hu8JoSATIMS0Imbng
MTmRanMY6ZzFWyztkv6CNooClYxUgmuEAeUvEqfcMcKHTZ9fU2Q9fP47RtnB+uqSmozZZa8S1sQh
4nOhS7bg2V4F/74YiEj5IyW6BCdMZ+/9DC65hgEfy7NZZYMh+Q08Vj+k0eiGtyD0gSx4q/4Cpiqe
8ss3UOZgrwFmQ3o36KcGr5h3nstxQMY/E2ziFsEkQCDr2+hnFztjykDdCn8KhRt/4BzFhb9aGmAb
fBnYhUb2UTB35/NqTVwIXBYhUH8sTjv+JGR0pe+xq07Pu3uqoBxrAwol/Xkxpmaj+36O0IcKaVoF
eNUw/gIVnX2rGd+2BNBQ9X/iS2ps+yGq6+Oo580I2XQw1JRz7xceMXFonpadE/M5EvcZmDv9kXVz
X+6T5a6EhDZ4x6hli0WO5Or4NV7TdJ2xUa2VDOrW+YIGeckJXODHmOKaPwXdqj7sD37hhUFXQ9pF
rL3FlMJkAMcQrIaXgAknp/F5/bOqlclAInYVyU5YkQ44QTSH4r9kbOO2hQRlzYhWrWsSFYwAVhDZ
w/hxMinlEIsvlPCGb+NHP7Qw+rRBTBSgXsRYGd4pMKgiaSsppbXwFa/yC14dnhszAMQINf05ioco
cXpe8x+3UCal+RmX6SeQt6Acdyka7uFnh6muzsTA0mxWiXhX/11g4wiIHuK6p1uAT/vH2wBiY1Pu
nv02Ds7BM/vAydYTgL/v5Ig2foRZ1vqilkAPIs0FoH89EUIVlyS8zhvQjcR65C5uboWTrs7vWObS
TNx5JrDjGdHm3mdMw3AaH0fnEUYXCuJXeku1NQfXkqfMY8cjPnrsDlY/fATnROydLbvGtI93Yojv
LpxQzbvPrOCNgVOm/gOak+QADj05ibiD3D2/GPgtXnNKTmDwjCGtnDkGkbasdFJ+ETu2TO0fMhG0
Qshd2WJnqWP6w06o7iUJWUKM2QzMToeLOU+IJQjOWUERZhNvE15wtJAKY10duvoZElWk5uRZ0hJh
UrFf8WFMtO+2DGCC/KfBedtmpbB+aqBHBn5MAPgp3yl0HZLxvcsEcWwxu9YktFjvWZ9qyvkA10EJ
tkFBDp78Ux9i86V1IuIO5rrnSXYAXkNeRXuA0IIoA+hg9zQ8Oi2f6bV3jzOst/j49wGypjMTJDbo
DZLfAtjvg/cZU0wrM5Zd8ggIJcveXOi0pqD8KMV+5GEJZSK5hyL5/oIBpJ2ReAI0/7FBehwpXYvT
kfdWFtPkBArLYGPvDnO+qWq3v3gy1N2+Dvi5fA56g5x17H9xvS/VjbI45OoGUAPg/sO9c/UA/xwe
ALcAQJ3iZtMBUDy1FSZ4whjxfnOyM5eGE5PzeY0M8uTDTpOJJcU6d8FUkFOSoG9yYVRHFwYUfsfp
tCzjnHV3K6blEcb8W7z8ou1eNgZq7PT4DbW0rrPbrM3nMiYOp8NBWDh91F1wXSnjByXNrlZQf4lx
rGAqSMi8Sij+Ca8JBbDaZjV9NuQFYBLgrvrXkKTZsXHi+QcmCS8PNlQv70b9tXr/rqCfh6eNRYil
CuHtEfniNjPkERj2Gju/cQXjL4DEhe8QBVuX/JyPle2MiUROtpitLIK9+Y2gOHXPlI/4kHznP9Sa
EsK5p+41JsRg1ov79gTTxmAv1yZ7NBqQ/XEOTvuaQLHnvCGwkgG/XIjFyYQW7PHnti7sIwPCkM8S
8WLq+Mm2CKRSbX5b3xLq0uOYmKYumEf2cZh4bB1+FmIxHLm4f6Aar9v2CoHhJWHLkOl2HYts8YT8
kPApcgi3rZDiXs3+R9R5LSmuNUv4iYjAm1t5IQkhIewN0TjhvX/6/0tmnzgxsWdmTzc0ktaqVZWV
lXlY1Sel3mDKJAGJRjSSYotY4JVY4AQjJag0qOQSjVXHJdJ7ZYwD4EbwvHMyRT5agsiVNCtBpADn
4LcekEk5hmskaGw+EPbTXBVoMTWLupwPg3GYLVg3Ctd0kjjuxc+opywPJZHSg9Cx+DADlJt7a5+n
1YZiQ69kuwWOhpfQ8kmPGmHTZMtUEJsO9Amh5LqNHtQTJ6ZbFzuF0aRF+tEApP5PXBOmXXnySkr+
GtxdXJeBNUDSS/qKk7g5qNo4BWDXOS/EhwMwPlJ8fDdZoncmFtm7GZqmD2dBVKJ1AAkXajwZMgMp
qhU1cgEJdnybbd1B04buGIgQUAgvXj77Simy2GH63Cj+QCNMLUSyJC0G9+MgMqmJwKop3TZ2HSqu
V2UFLp4EQcIZI5Nnm33QWJBdFUgZAu4DeRH/tMG5bIgXKeUZ6Tw9VL6DQsgDpHQKGaTCIKAUGI0q
xuAQnOBR4HhKteTAs0NR50TCvnWZKhpCWEdaCo4rhB0XCE7oYZAkjER5SbK4kcvrndehvFsDhip8
SC0eKnhVyK1J4HlCSX9TG9ySGsuWroDJ1DesT+BZg+ez4FJ5F/S9HWYjgP2lio78qgsBJxV3oWkz
WcNsjRhEC6zATa+3oJxTb4T3h3vEJ7lBil2TGjGCpl6GyUQGMYpKl7Y1JTIO3eAM4l+stu66r4YD
UKmmgYSbvswBH0ec2pOGZDoC7vVJ1ILgdnExNEUSOv0syQMhBrT24hJC6vQ60xJ0aJjb/YrkF+pU
yiAVQwa2shbs1Up2Aru9sEdSSB1zhIiOoy1c2d50D3ybIx9zJeHehjDYK3HBu85hcpfwk6cJ/Fee
FIJmdKbUZE6VTBQixwesyN6HzSgfbAFFa9TblJygwKAYRNTRPoQT5m7ow5NL0jpPIFJ4ABpvh9SP
HJsDA2Zl9WOvuzkDoaMibL5BM0KktI3qMlfLTeEF8BB+xPW7RdcLfZfkkwwWK7Bp6krQAhlOy1i+
CQUhQlUzarH1S4T91rwCnx3WOL7Xhw5pdHElAj4EpMEgSVaUdz8tUhzczDiKoLGE57AWB6gxMWGT
bIbTJegNS56rwNgAYSm4nPfRe851P1bwONGCQlwONicp/KiKXNeUv5fbO3iY12w7rg+ag3c2RXCz
jAb61G22JaXbGm27+25rxAU/6TfSPKcIYDjgyYFZbVvX7PKH8N1ngLFsG3WwNqqD/Jx7WBlRJCaH
gfj257CAFcLTOYbaHU3gFaS6gFBUjOvxMeVRJuSzIa1qWrOe4ytZU0JRRS3J7mbbCIoCsaDKP44E
8DJGR7fwgabiPnvCApEFJce4tfF2gTQxr/6lg5joN5zCStZNbMRT+NeaGUCnPlRdMIEAgtaU1LKO
EEKOxHO8GXgldx+Ov4U5l1dvn9hiLHQNH8Fat6KJs6HlL9HcjZsavjOLU/RIxAKg5m4E6LUirnhp
448U7xj2IHpLjt49xme8Cw6qpPTqeFbiJbJ5NAw0V+iFkD82AT9tpGzoyjqfhahb9W6rg1PSmnoY
KdsKEkEMVS8/0St9oBazMQ+QYgd3/wsjljIIcYgFh9cDCjqLAHMT+o8byrQvipzA+Ks7W4HsCeUx
nVdlG6HYpLpszb5kpJi+4KyGYDqeJ4bbLX1M6o27MXfBfl1ptNfHNMmQSwZmpSDcOohj7zGHwT6N
eRjGd+BB76Egy4VB3vXi60q06QFPuWK9QQFbHJ0QbzdGVmJO4xrD6/WQ/sc07d17xvU/qK1w3xCV
8tfoyX7DfZfLukJaRlAQ2UzNEt1RNt10uKbboI7JwBWB4WgNbTmmupKWpBztaZvToT4vdky84Di1
evrTNphTReJ4rDmJd4tP+rHJs2CBV3je+6w2qozwBeeRi9pOYcuIxwarEB0oHJRQicXRZecjYv1h
zImQZR2tM6ZUcWyRoAwWLJHVhyctxKlFXFbEYK9MkzzdpNW2Ejrov7yRhKcr3BymevQOB1aLOH+0
oCj8zUgrGEFUW3zcKSAqn5EXHnEoQW6S9ak/pRHHyrVbRh7sUuzoiQeC4Nh3SOXiYr+6pccu81dT
t2qiNq/b9kXeX8Mym1R3DuAMwyHkvsNdhw/VVnSjBKcSQDe74jy5BRveWBq5DfopDUO3JvuiOCvO
P/X2Fbn6IrjfPynljNaxBGBRNw9lKaBENoomcMQhW3MdCYDBDxuozcvEB4U7fkAnAjGC9I1XFZ/S
L8H4RJyG56L/HtTP8IPJhIlGsEGbGDQyofVRDD8M3sCFZB88SaI3/GB9QADN04A4T2oEIEXa9GFu
H/07EE7ixYu8azSBFv3vh0heXgnJPpPXvFMwSMAmdAE5OfHpg7/ePmcU/4NCvFEcXmd5h/hyJQAV
ek0CZzPRI5AAX8mpE/Y+9qRJ1Nylj87maJUHT5be3ys9Ozlp/KCUvXsvNMLRZUYOQ4B4mZwSPQqy
PqSYpXl99K9E49MfIIrHgiFgDyojmdLsw7W/9jmrWYYor3NDvv9WDz5oeY4PWsupEq13Hk4Y+0V1
hcF1CQTPu/vYbmcPZrfegjQ0ioQmJgWOwGNVGRXna9Vhk7gtVqUWQmvOrdCKKxmPSf1kfsA7vfvL
gQ+fEHfO8aEN+xOqN5BqeVBnrWMV8fUL6AP0amExKgxns0iPXZZqMQfUFdBsJ8l21uaNW4kz0tyS
+D3HKL8Nrjx/B26TOHzw94gTRyIHqiMMC+J3eG5flghrCpjcwgrrI9T+C7MICmepsez6DNcwZbCz
dwiDarIQXyHi7b13ZSKCSY7oYLccIq7I9Ey0Eo5qzmTfzb0abPgyy5c7EN7YGfuulgP1C1qhR/ww
pQELKsEp8m9NotnMMp19iZKa8inanCquLAQU0qrtApMqJ8za0jmdnC9dtKELsW7jHgMo73hVNOzU
z2KAYxFY68oSM/GKYRSyJmHisTD1RpR4HR1UZAy/WNPw+PQ4fnCC8C9YELAJ2ApUH8g5RipZFU/5
munwzqoeQF/5IHRbiCfPBZqLXsM7tc89/b+0wuWPRBquQIG09u//CMcl1Off1LmYXlzoNsUV7ij3
rI7dxmeCFzKhvORhieEobK8RqwY5PjuZnK9uRkxi/3Azf+kz16UpBs5f751hJFjhMNCEF/aDQM6c
G7TdvjQ/rGaXoya6RIwruJcIkVX+TVYA2G9amnFBWt9dx8yJ4ZxicQIEKH0h4NrC55zjUgYNnLXt
0+TaQ+X0zJBu/9DmF3uAwE/MpEMxqgBdK9D+U9GXBneZLTpr8OC12cpEWv0O65zgrcdAwvbEkDfL
/p3k3BU90BRpVqAMyCEp/qmpll8pYMDnR1IUY/lO2/3Ncc40yc+OS7IZ4Eg8EwbGcGPJYEzTyOBM
JGMj06MnYWSs24zpEhRl2EEcAywCu47xrH6foa1t6lXS2NaAkK7hp7htahqGc9QmwngbT+FLlzCZ
zbD0488smmiZT9Dl53dCK9gba2Ld5QpHE0q3ETrNWmWAWboB9gRD1KI54svBaPLzs1VcZlloM5C+
fq2Y50udN5nhcatpLj737/5wAQiAMamWs2UgDtEv2DoZTspse002asVy7Xy7PAu4UC43i+kN8XXe
kpf//68sQyU78+Ms0wgsV76zfz+Dvb1rZ2nGrBxLi3jAz/bT/2xr7fTfY8LOkDjBh8FZwa55JBaK
CU7GIv89QX7yzPmSj+jbnSzLtHbkj5C3eZjumoRGX+HverQZ74obLTgIG1Z+QL8PosRLvj2/T40N
jx//34df6kX//XOjo7dOfVyoeTXrZTlPQdj40FkccQEfrIN/t6X0+2Q86Bk3RfdOw4Rri43AVA82
6NicMDNFGKRRI8c4lhYmF7/RpDfachkLaEZ4/L0X8ZiIqSvdW/d4R8NGw0rg6ydeybVzG+K9kx28
A6keLhsOTgA3YgBRO5wxKdb+DHjSWkVaSzjQTSZKJxDjL/9WiJxcSBi1LLRrnr5kye/8rhdwvrCH
WDCjGPDdiZxo9IM5mhSxFtp7RTJnwJMJ/LNoEsUEJhlTtjisX5ybkwYJeI1TQB5jcPimfQgq1Nka
2ReRjvJ0QH8E4M7M0eM/M7rR4oS4tKnOmYTL26eolcJcHk7DCyO7zEXQDIiKIFTdvP8FN6HLHjXp
1bg3hkU7lXQ/K3YrbGIxhl/dhl1Lm1ktN65eJdoyceF/k6p1xucDoUHCP9ixV3+hKsgPoTuVFWwj
7+f9cvfFJEz/GkyfCbgl7DDmcSt0fsj3iEtM83Z3S2ZDneKfwl7ebo4b/OwrTITSBEpdcJ8Be9bH
pZIt8cI36nbGcybnxYqnZ3pADH+pNLw59jNsDpfHoTyWs6r96WgUDAFoa5pNQ8xonWf73q5FcGnd
OeOm8uBgPJoJslFAHgxl+NFWawPNpjNdykK4B05RpxI8wARuoCggb2EzKk41nGv2wcgexdNIO4ms
RVsWxV9b2ZIGA2WEQI1KlspYDf1mKmceHJFFD7OZKC/VOmKMEy+GIql6jVyC9ce2V5z5mFRN2mV4
QTIQaY5DKFC0l+x7u/B39A5hs4eJLePE0tS5e80uO8HXbVjH/J3pkwLG5HhmxXl/P5QfY3O8o6PM
/CIa3bjec07wLSlOlkxoHswDygIXzF1OEQbw+/iQ3FIkffxHp0E2wlxisuaaD94Xyw4uipHVO853
bit4dS7pJd1h9tQIzs4TI44a45I6TMi1vOnqcuPw3HZ1MyYP5lI1sap7vQgARLwPswQDeZPoNNcy
1wGjRr3ISKi9k3QTkqsJPXuZVEwj5T1V900e/uZ7MAZqTs7k1R+8OxiPdXbJsccc6PDYQ3zc2ltn
rBdUKuhtK5z7O+yTKFUp9Dad2ujMnm2/VoKwi201pzbQtl+ap2/EVbJVkldJ2oM1FP/EvMflBUnl
zmlQGm06OKRu/hjGip8jYINWrxLr9BDAx8jUB0jk6oC0iiUiui5vRfEAbw2eRwKcp0WhSS6mtFkB
LBZWkE4ZragCh5vyKgKSfWPEkriG+CXySWggzxqIk3ZubDbyWPu+ds4MmNMHZsbpym4uM4CU9/+5
fb3gmeBuuZ8hm65pAbZ8c/GUf3Gpg7XsjrO4Zl/QcWZYkYEDvqHRaVqlzhUb0UYnd1udAnTKSkrM
Xr5nzKgju5A2GZ5kCXlwW5/DaZcmBKVt+xvAc4L+yik/3r38LUfMMnVdm+YLExo9FXor6awhIuac
adG02/ZfGLo+o1FiP+hQIZExmIkllTnYs5jDVfckDyZKSuRBXSXuzki0LsjOS0ziyoQH+4OM8p9j
gnYW0PLP06ZMHJX+crEt6OS2Ykg5kZwij8amJ0v5OmHMV3PloLNHH5lgrq1kRkeEwuiwUA4gDcmQ
eFVzBR6AId/msMELtlPvaizd9x0MzcLIsfzM913fRRbYcrsu2Y/PAfzv3JLXmyp/nYRL4iu9muuw
wPbL7cfSz2Y3c1KmXdqVM5xkTwkrDAtxEhHOBCHgoY0Gn5I3Wc8qybu5T8A8wsLsRYe9aD/QTHya
O24MLeJvwOIn4fxBLRjNYv9GZrQJSGtU+O6iI/ra/OvROVGTHOzMJ0PbMGmNXJbr4jfiyLOTCMWc
g2ifiYAbOLO2rtxJ42zC8fg1ngGz/6odi5AYDjA+DyDtd7DuUi//+q/2iU1HEK31iu63Bw2lHk0n
9ZqxZvm5gIqlORbM1JoFtgKSAoibwoAkYib1pAWro9W7z69zGJboDtzv7je+jwY38MUEu8iIFDz8
9ItwAaEe9T79c+8WMS3NvfHQSkHo/xRJIKKVMt4c4m1m7vhv6rBNgvvwOUQnghOEWXAcEZpdjCHs
F6UJwyU7/+a8xgyaMGrB9nqMS526f9UDgOSGt4D3WVy9u3cPGEV3LuZyOWcjcCs2Bhw+aJtuyswN
dbXC2q4D7cFlPtLGfY6Oo7WlSQO1/LfWZCvFGPuGyVfltyg7sOhVqbCSn8iW3IyXO1MkxMEDuOdB
3GByFdqpAWLYKVkMRct3FbfU9GNTvYNUsv5POjQAdErZlzr3RYd4wSD16pz9fJLENqDpkdeNSHoC
ILpyz0ARwpX5ag5RtOrmf41YmO+EoZXeNz7OUX8Ij6GkPq7OGbwfHlwra4RQin6cqQLjV9sQjfte
meqG8yN4BtMu8paYf8mn4jokP3OuswMFy2m5A+UfQ6mZQsoirjU8RF9qN1hRF2KywwwDV79BhZzw
8Ce2AEOpA+k1OOSWWGxp3rgRP1by+OPTb/42g81guxG7+DrKV/QpKtnaR0OpmnAc5PRie6X4jaBJ
VPLL6bd7YqYV0w9sDLjjK1YROGQfIaXwPgLUBdyqJrS4vjgBTBFp+CEmCXgrWRU5AW6FeEy9XAbC
gwe5P+P2NJhR6Ea0wyMXejKAQNhtXYNKup19gPVZWJ9xfTHNzkEtLXerxAsty3N8oUs6LC7xBEeQ
XfOgAZaKbH34Q0sViUKkpFpQx24dyJPMpo0tFBEhnRMHjDxdJEEgRGObYRUBTMOhwtHRBKtdL57A
em/QPPZ5B4EGsFrlmVc/T1EyAKEdlUaY6SIT3mvE6rZtfZHD2J5rv+DdbIYnaHcEC2aNEaXCZ5yB
2/CBW6kaPDRafPHCGTDsnksBM4a18dReLOB4nbA0XYewG22h/z/JKWiK9ndxIbvrfnuQpbFAVbsW
YmhOa22xCED+qLx1VmIHRtAmDWtv8QWkv8A5ug+nkXBpLQRmV0L9Kh+7it2yQCuTWZwQEDgvZKWl
2waMyokhQIOaO6AAxpZSB+choVTmhuI37eo7BaeCadZN7KhnVCndFjTXe/vm0GqPnlDJb4wjwebF
pcIAxt0bRGAqkyJbv27he+26koBBBpR/R6MCjdTdzyrzbehBbjk5Umi1Reom8vzh8serLb9IrEC6
7ZNYttXxNWhMsTG9z3bR2iqxz8nUyX6KkS4Ck1OO2LUVu1OEKiD4X8n1wEY+GEjTNQ9QRMFf22+G
O53DJEB0CemDUFot0zlMXFrLmx//owRvusoFaGhJSpSagcZexJmLrcw0QIc0AgICw7hGeY5TAybX
842vV0ibHvFfvwCdJQf8Wt2Yr3hQp6PAYfLy5o/wjJn1Thm2M5tkjmu4jAGHtUll8uUU/LYZLeQn
8h2HKAfAgIfzO+LBioA+kPCwtnD4kbbBwW1Ittj5dKQc8OqoUJ9EFtAC/YvLT0gucki2ESB3bVt+
5IUBs4KEzbicCF2Wt2nEAiWhpkJGJFnAGocCxxvPPecTdu12fbhnXn/X7QPB8cG6KaWmG4adv2r4
94COguYqsiPw6xnGCRFrdN7tMyyfPVicOk4sSI2JSuaKHzDfMr2JkD4aKR8cneRWj/AUkkzCRpS8
1cFAld2y+9hnSDRBk8L9kwySse9MleuWk/zE82tatYOhZA0gkDXCQYwMypL7hvmN9TgyJ7Mk+MUz
4gPGfOSCMsPdWp/loT2b/UM4pG+iXok01PWWHE8kKIh6HHhLqDfkw19jeRsXe2/qtIOZQcVCn8d9
YFot4Jxm5lA6py+PTmMwCqIoJnvgRBTiBSoQgy04UCdgXjDQuIIgKB4MnGPrg+CmdOBp9n1yYgBk
5+BDuquuM4R7sgcsQgcy8aYJh2WG5HDcNQ3eMqw/Jol/X9C42hrXJrXyoRA2kS4qEw9kfXcHaZc1
UwHrcETe7CK9esUD4kQoMxLygbTeh0MNl2/a/9LfulofajUmhR2CE6GrzvzwFvuSgoPoAZUczE8I
wS/jxSh805aCKHQ2LCAk6gOXuidxXWQGGCnG7+Tj6pJOwW54ChrZFCb71r0F+iUyhlRwobBED2+a
cq7DI39T4iMx1Fg0RYwkav3iImdnHWtEfSJREfc7p9kykUakld1+NIiYFaB/Iexi4H5/DrZQbPZh
NYEf7dQRT9HqY6SGRAjC6zo8joouFFpYq4q5FBdeIJLDHTCqEj/h56Jm7VJsQJSWIInuOlrlRh2I
XgnbjYa4Rf/bWsACcIQaEIl5rYap9XX9XzAqdvbhgD68Xe+jd6a5aWrhRYI8p8oYJMdMnjThmxcS
t0yyuF+B9Ms/UJ3Y+ohK8ZZWgPAYBA4DX4STPRhZqK0LHZtEGq3jkV41ec5L0fhid8C9VXdIrR5h
bdSXOP7QZGnBeFZxrHNuJogNlA4WZFfFX+uXozOHpNlHETMk48bKYCWpwSDEvklvZ72ANE3HauoS
jYLqACwTnG4yUrffshykphqmS9b9Ax+VmilnJ4hjVb0HOZLL4Cx7gEQJJp8BnZ97JLhEL37/dTVL
Abnn5LbDZh3VI+xWkLf6dbSKJtJ81E8j6JGvAfVv+IzJz1H4IbICVvExdAgC8WnDtgjVzM1Z7+FW
OYGRkaoWQHU5ZEBl8PHt06+078N7UCKGcaiAcbH1VYycCBFvGhAHG3XVHuo2FvkveZiE0mqdsi/u
GBlEXzq8O3cKu45CspxVKPSkycsNmJcfTCxx7p0hni1JXTTqugCJBLBUyMV8rGHnHBEQbg20qklI
5sTBsLtXKVngSBPe21WyLX0zSkkvT5AVcpG14vXzjXkalRd3WtVEKM4/DL84B2K6vC7ac6TUAkcB
DgIh7zCtSdGRDfKOPUn/qWpnJs0407XB1jpYg889eOcKRYBDVxAztm3vNNn2sKUN6ohWdMN2H4EL
w+bwadlgHHUftzGS9I4t/WpLU6YSZ+k1zQGCH00+OkazS8TciaMcHcgyNYLycoMdd93655czHpPm
81e7j7CoMoQPM/GMB3OX5aRL4fQixxkgTtArtjkJeJtK+GYrPAgJ6lG+qDsJ22PyEJ4aiG0ACMkt
anY3UXeuSF2wG8zn1FDKZFB4DndU+AxYNJ9qY+YkIBu8db+engn9Her6p/liRgb9DZTkEKg0qDp5
F7MrP4IQMrJz4XziTKTRL2E2TTncCRpwTEDJIYk8UBzBEMd+j8vRfVzvEzQgRzDmYEVT+oXpW0AN
U995B1LYqqXz0EQF0NHEmc4NhjacQw8dSbg3YtugFieQqwehA17MY9hMa90H8/NHBnAYy4BaWYVS
tY62/No40w6vwnLqyzGpI+LL1oHT9x0zWh6QKlZ8eHicPuIlKSu/WkH/NEb/eIWOxeDfMEdDQmVi
A5HIwNvCBnrap2KB64CIGTt6JaVC0SZQeYHVIGrGyy1iAgvoCy50SSoUIQQLEDr52Orw2ka1bmPc
7GiclqEBjrIpDJ0fSKvogj2sWR4UiH0EXeJcw5jNjs6jT0+fhJ2ewqA1UvJdhXcBgsebU7O0a71a
fKTkIk0YJIy8mQuNcp+JbAzrifx/Z0iPutt/AnYhw3JkHAUnOuYpR9GTwDtg2Ma49j8Gk+5MOKBa
3mPciSfJ+cQx9ta5lpDKGwgdtJj2R/mIY0lTwU1OoyvPUepBYsuRd6O2jOjwREx+GIveelJ6cXzV
IMSuxO9HZTYSc6PAjH+V6olHseasg8EIuRGVI7xWkELnp0hoIQfTXPyq3Q68TIRWEVeoozBT6zbt
DaCURT3EoTN8w7JFMA9y7IFJO2oAr2isJFcD6zqHf81HhjwrkZ2CLxmUgv/x0NPnb5J42LLY1pN1
+4EtkXNd1mFDormre7Jvf/t/qL7b6EHwIgoSceekT6KnRkLiaSaWmQSNo10CEdNubchpnYvHmue8
aOGi/HQ2A6ZcINWDF71syJ3OeiSJOv/rE2n6lBbeuVtzNsEFdTGskoE3N94VssQuaNC88gsbOsqw
L/CBPaUvV4fVG0ZCKdxhvt1SNHcriInWwjyAXUP7WKXLI3l2372d+pVtwB+4L8rqbnggNoJivxbS
PKJUxp72MWjNJ+pVqNcnqbYSZyXkfwhrbOUf2wcGHRpon1WVFdKhjIY9hA8EQHbvdXD3IWVfRczD
Y3bqlOFHEVuML7qiHxr9DQaIW+L0vkeFkk5GGeaChhX1Zk0X91VW8k/KlOTkgcYsZeWAEYXdYA06
AQChePGxj/Aryh9+xjncXTj3qJS5kYi8Omd4ntAVHIBTcIrcu6BjCzUKHQ1YRnQhbCaHsmpU6UFD
kxU8o3MMxP2YrPMGSTQU64ZHbwXWzvSSls9dPJkxerLqNeeN1CMJ0aMN46th3lEhqdr3hldDHpQ1
X0UHyWmsEQ5AxdwunDi0Kw+3yXSa0XxZrbVV7X8YHiBa7dwrRKqLfUMGITefTDqiNNErPAd36uOm
Vd50n7WIZn7t3ikdfwjQgSO5WpDdp1nvHmeA61YLyKi++AIYZtOsOH6z/99Ijzb9p0em/xyue4X0
zSQ8k6ATdXF3SSV4RTXvETUYxuSogzlw7FEpmnfAPN8xhl13Gs6pAuTKOaee2pALCKQF1uI8uNN3
kQdmFTYh3Tq6N8wmUrrdHNaXr5pCPbyLmam1CIBb9b9rp5qBhW2pFAodzuRq7xNLg+Nqc7jtg00x
uIMpg/CJUs7ZduTQR62/M3WkkdrgGLpZEkLrDOdSEJSOaW3vMteqY3C55xjCVVjnIXRXfeymrxZv
Sx3o+ossBY3TcXXr3u8gQQjvlbxsSmdl/P5a9CD6t4j7v+U4bw2vcPKJ1J8l1RKkBtSrf/kYGRFV
dK2j/p/K5bV1Zm6lw6fA4/5PCJ0+FpomB4IKah5UcaUEKabwEa4xJ8KaIPcZIk+fBtnH1KouGjDl
K1HpiuOOgfHqzVjyYPugh2CDpjvvUuHnEYqyIDxVroZ2NeI82LpOsbMvL199Hds5ZRQpGvfHfow3
ZiWS28bBH86HQ2ZBENjbdJnw+Cu1u3djCNKKRs+4SnmmJJMP8jbomhJbakZp/avkqE9h+qOJdSSg
rzYIkcGPcEscN6jbgqF2N/3z7D6kozWWTqbgNIgIH46krnD7qbNdDYm8ZvqvIIQ6QHqjHBHEX40i
vOp4v3fyBRCoW7zvsmF/0yriY3DWQDeGqoLRc9i5cxKplzM8e+80DytUvvim/V1eRgH1sTnjoM4h
vFkCTQrL3N0OG/aBVQPoH87LPnYP06yesYK/HcNu0w91bdePwfLocOWsr+lCOWoTUSTe1X5C+GFW
+swjLJO+Ksf9dLGHHhX+atEV1YxKOnX2DDQbNvfvBFmphBHINCYZRSJpcLfxGLra684T9a+9YAxm
StDHYGZ+/vVA+oWGva3mBw8BzF+pOrYZYYpuzMNmAu/oa/gLWumHfpwqEdYhGpuzmTMT9cGnXU1T
D7XZGPxVMrlwAewnbAMUsq2yfY8zKuVZTB5L2oJbEKd+LjNryCZtBhGolhTYHitASCpgMMoqQ7nQ
OUknPhQ49DnIcSSwxVAFMr11DYsBjH7IM+owGCqoTkYHT2S1JwyuL8GRuSsLfQVG6PqVmLk1q0Yy
5QIJh5AaJJTFNAGxeUCVJnO5wZqr8g7Q3RG5vXoPTgiuYmLpWsXxEJ+hHtE7BnTNWJI7Ho0QHq3v
lOiR/VAINfrrvqC1d9OgcUPu7t6iI7NubM/2Llk7pWFjapVmpeAUHVnNyIXwFd5ljzjsLdrHR5qD
pwT9V/4N7UdKKC3fVlDuMwZCbxfKUIlDVAyYRiBSJOwABZI3evQm/wOGYvjLDZZ1ao0Q0Trorkwt
9acQWUY8wEXXxB0iEIwACOO0mz4b+oeovLpDapUj8BTUrHYIUMV0MpbM+ANbTNC71fh5RRLrjT/b
TVIE8wYCXCUpZFh/aGOAEZW9+8746aiYTU9yKhdEAADd0NMxcBdBGrJd4RUH/wjf89FhzfDRl/wA
AgHKgGO+hvdor+U+QvRB6r0ayYf4/UUyybsGEpASXzWpHcr9d3ikm0PUTEvEqmLvaUo/jg9j06aj
x4RLegRxUCX9PgQjGAXJ1AalBfDuBeSyFOUfrHt/wAIbi0Nc7QKV6L9hXD4aVAvuJugR9Zl6GC7C
Xpi7MHd0ChEL4D4BBL7QR/oiWedcjQ7NZ8S/ELVpWm7afTg+HWEM6iNQBJY3i7wDXA/wBKORPTLZ
whCsOKLXNtEt/7LjYGk13Ro4TwN1b4MsYgMrMpr+yIgswBMf9g1S8pyL7Zz/gRHnKykzSqZZ0I66
e2oA8zuNIIE8BcZf5HlAR4KMMlFRh2hkT6BUjXlzUfULYVBgl0m8tNXbwges8feAb7gFKlboFFjF
zj/JSFH5mQ1zV2v7/DZxgj04EIxzh78h8oFo10qA1+luWMj6rwgcRvLL/+O38+8i7j4Qh5IlmNLc
GTX1a/QHQSfEpoSnlirQRGWbjH7v1+b/oogYdFfambR9ZoC55VWRWpEn1y7+kDIBdXviiJrE3Nav
JULDhCxNvO4D7wcBi474PxYbvKQfH5Z7RAECEqnGsjQFxBV1KJ2z2e+HCHFhw49A9CktVBNw+2PE
5wQi0vMF2S53ER7jqDgiqEObmDwGcMKe/zYVuEOb45NAILDwkcBhJKEF2jn7Qm5mgCJ+HPHXusEV
QZC5GFA2X5ClNf5TciDHfMC1IG3SwIpAnQLGmnkua6Z8d3djUJcEI3IBjF1obEWVEHXQ6DL4fWpK
P54cAKOmoyxrnx3Ssqm3isiOnejsw1d7pDcz9p+BeD//uBggNUJDZ2qKQv/h8M3ARk5uSj/WTt0q
0a7aZSfQ+4syPNRT4TEcZrT2/FQvokHFC6m9g1bQggepuEmhwO8z+Br6qohJTatA2xt+G3KXdeO9
elPQczsrxoaTeh1/iYyHZNfeTU5Jg7/fYBozO91gggnItQmxTvRKEueAe4Z6n1g9DXyHa/5CIjvV
lNyJ49cZMNJuvmhUE7/hRoKzsRq9YMD1++SkOlZdfyIGOF1h+sktgIyW/XmmysNF0RfLfG1O3jAa
JlO4s8W/S+fczQMnS91Gh4PXsKV9wrsiwopiDOc7oVV+gkmC8Ao/EJW7958R3mk97JZQSpoQU3Jf
godXW/BI3SABszvDsEsYVuZXwXf+FIFLWzEsV5XFdLRuNLU+LPnJ3WdNj2gUI0vGkp9MIjj6EZ7t
HEJvr5Xqz8wBV4MfAZdbmyEnorxpeOGUUBtxHZByaOqk94DItraEnE9ejFe8Qx4QLQM/2/Yguzp0
3Q0W564T37vqmEHn9ltiFU6ykwsK6EBb8uGLXAQ0qp32pAsg6YFbAzHsX11fa1FgMf7AXAcTZgyR
tN/M9Pw650ER0RavJ+su4gWGVCp711WmLDXRjo9VECQA4pQawLaI63KKlznUz742Rp6qiqrNrwxC
gXEWgT0Ef6sZlgsIVi1NPe+wZbEZgM6uQ/wHSDBjycqko58VOtyHtUlEwT+QW75ccuwhdNRBJdZY
QsSiRdAppCTdHC/crtfy3rtMCizGTSI4cQ83ruFBrdgEMxQnkMIoUTa2aDkCt3J/vyDZ07/BPmTE
qYwO7o4+CHEUzlmRIP3M7XtOanK2ytEVhIO9zRkREVpKM1iKRyrajdEUjktGo2DRgOv/jw+0p9eq
QryK7cYPWVEQUzcAaXXuPMrgBBH02Ir2xqPePo4f6SbIgAFZykwuUC1sR6J93jHVXpBGUKdjAPIN
7/6NAQ3jDPBGDoeGujptHK4czieVLj8Oo/hcVIOQTkOMpfxX59njaISofSuy0/djuRscUoU5BjBY
GRNY9OSxj+T3ZrkNsYDOTnxUg27jiiYj2hZhQX3c2UQQtI6/tUhHoqhMJ2VAfryYuUYR/xliMqhX
1bEt4qJyDS9kFb4uurnipEx1o9T9flYYvdyWOfCDJFigj9djUTl7M1nAB3zYzBnmKq3Yjux6rhAe
JR9ViyVnuIcdxhmSe3B2ZyWeJDMyb++LgujSrdluvqyl6TEgl8Itw77Sidy5R+bIdGUWJaryPrBI
OtbQOn12Ee+hYMZ4De3xch/ub06KTGffg/4DQQMWGkSjGWjtxikx4DZWXGqZyrjWKBAnjb6MQiel
ZD5P+aypwcx2ebTtbDLl9R3JBf/V+k3vjEAUDZeP0auZVTBq2Yx2ITjrDyUqH6c+Yqae/AVcGllG
GoUUbzjs4qN9C8c0+BAEo2pgGh5BBXBZdzvIqRYw77MrUetoNXGa8qtM8JTcQvKyEOoyS9grPgfj
r9moIe/08O0/QO8T2k6flkEadB4WzDkleHuO9F/dOnvUj6Sk1J9S0jsdza64ViJEBk2IWXaXTuzU
E8mV+9jhZe/2XHmcM/vYOhvPwTd8QaixmzcmaHLGDxDLDcifxNwJasB6GVGDvgt5ztqWoI00bBDR
UefcL3Pgn+xStwkipD3HhiPFUyc5T2ujExrWnlgO5X9piFHti/5a75LFGUdKwikPNZsxzOOUrGid
yd9pxdirsfOV/z5daflyFJ1sJupIFcqDwErava0H7Aw8F63at+6b6LL2+hsHEUfNYmjYYmd/op03
O2cTxuRhETFyaB74WACYOXqMN+wGi/NCsh9QpCF9+ATrw3UyqHS3Nm3sR7zrnfvbPqfcm1E4hoZ9
io5z0yikO9uBckgqAfG81YlRrCPx+rDRYvJPzuw0yyKPdgYo5WKBS4lEKJI+Wu/JaNpW7rNIUAGv
Q5I3jozlK49gqILgDHOTgYERjFzIJ5gDCy/9Ousud5Td9o+xEE1mG37ENEyf1gymF5U6Ke/PYKRm
WOL0nsyGGjdw+znD4WoQ1ziKxW/X7oEQwPATAzOQO+MZZEu6DbMRd7bojiI2FazMpr9ZEqNN1705
8wZJWN3qUkCopsUSg4OK/IqCMzcAKOF5kqedXoZb0xMnzurYEk+VLIsZSChsEruHyFX5NZVkexFH
1if5tf0gwpEokfagNzzc/tHWV90k/jVn5mTU6lVZMkyJlUgZdPDesBLgMBgp8fkHJktw5dVuTu5O
vc+xtBuMqJfJhSwfzWM1qDJKPRyFtr/w+4CHUWKVFxikITvcZ013mpAIzEXVU2uRTzyhjBCFAy6g
p5NMEXlWNRu8Kfg9S/TG9e9qSi11oeU2lQ5d04yORe7NGtg2/LhQ+COo/ijEV47wanuaAGk+sFOi
I0exX2wfbwwxvgC52UIwMeFESQnMTwZBzrzYezSCc+u7Q/b6cunPIGTziF7sgWIyiiZ+nALmwALx
C/1u13DT2OeuMyykoTXmxv44vOkdw/McxWWbj7FDzUW3rEb2ddqYzQNpx+Pm3BmL+93JPw1lqjl6
+KvIqeofo+5jWjQpfstQIDUcV7OkRKPoTvtbCHaUTOwOC/cdUh+mKsNCBD6o9irCz3RFpmZyw96Q
A+QblaNqdLLzVcsbHEMKfVGfj3Sf1/4UG7UPfXf1MwqMiDOazDh6ZUzjmPYxcaPVQ/3cXUMmsmo0
+EP60U96UzRkypw6lZ7eCrhZPFfklloMZlsR6RuAlB3FPizkTnNrwNJT+U6vM7dZpDOUFobXHqvD
qa82aYmJcGQgvGJIjSxx8HW7gHbsg2CPLwO6EM10vyQdFXq/2GF0uzNDo3PLpqjPtRG5pEJDMzpG
dQzJj/tkbVyyCloou7GcGl4BosRXsz/+OJ123XvFNZOXuNh85iYSI0XnKW9s+8qJc4MO7MhitoO6
XwVlFkq+xYASRcWaMBI7uQWPWYV7RwfC6KMwe0VwSlJW6if+rfGl8Ej3Wv7G2Tky/N7XDCQb4Jc4
U94RV2RpeSKNSGQdH3yZb0vCCHSs5trj/p+uHX/A7utueL1H/D+WzmtJdWwJol9EBN68ymw5hBG2
9UK0aEB4b79+VnImOu7cmT4cQNuUycrKOpomCqC8Kxo01vJBTWXwYp6tw1y2QauHzjtjJwYDyWde
aoxMYKTpDyQlAvUw5FeLZ0GKLT7tfzSS24NLqI9FkoY3u/TdptVrxDBhSm6dl/DjF35miaR9x08b
y0WE88bOtjhRup+ia7xBqZgsKlFcuD9UvNwzhXGhZWqAufeBF8yDWFYtkVQ6yP3ilLZxehFeFAYI
PtKr7UAcoArLKEv0ak7MIidecW726WIzdX1BvPyTh4yY86SeXEDLaxCCSbR/UDE5Buvhi6qF85Yw
lcPiv61194Y6yw0nhfggqmI7JPiUOgoUEBHtilAD5c4LhVlTTkDCqOTtkFB+Y6PbudeHseaSUmmG
sVM3vyzK27wAES+ol5cHd0Z6qSx+DKo789P5DQ9QKz7uium6uY/I1rBprr099wahL2B0ISiI/KCr
a/VAyOdkUcVhuY0QDV+U5z1TJdiQC1BcdXCH1Hl/m1HdfP+cGdcIcWsWBjuFFNfg9zccMc2a3ZZA
zXNSCNaDZZ8BnmMSRpKSL3GiRgoSPSHOPm1woAp9/icKpggeIEqAhAEz8CjRaXDxhdFpoag7HCnT
Yfqiw7zNonmSqgHiChlj0PtPGP6WmW8iQtSNqhynm1k0BSRjmivWWuNgqNvSLE+cy6/F4y76B5RW
0fOseydwQ8ODEjkcLMTYVLrFgaLmwNKQwgurIaeXcuGbm8FsIc3wbJrP+D5ETvOqLAXN1lnEpWx5
wE4D3p4P6CP4IC4myUSZ8QtVr5lew0qAgHOwJ9GMzia8XnkzqepUuMjsIZDdJdn3qgYhTXMj2tiF
ZcYeHzQKHSWHerR1SlWGatlro3NY+yHTfXul4J3cKTGMEPug6sv0nckJidLleKx8k5Z2AmhOr2Mz
sNIBilNC7C9zFqvI5WdjXYqauqkUNwdcuQNDXdFeQ13RBlSiLIGL6jZp+E03bEZpQRGtaTEZkpkx
J5uCbu5CS1LZ9h4x7ViSW1LMRXqUYdAVV+ajDLjsPMaf8YWlHzHXOvcryEHVmZnOEQzRXgUZ5yQz
xsbHktqQdxkTu+nzKH5RmzbwdaDW5sbs9Asl0yLf9sw6/WK6cEoORu173viy4GGFYOeh98QJRe3i
6S/f9BgRlsUor/Ow3zE8B2/A3HWfb/+OeHZU5Dg1TBZFgQM9eORpd3aIzXPDHAlTmKVIa/cjJgby
aGOCSnBdSrJNNyom+A+WPaJO7Xw7J5jBxlmm8VMCHIj2+WzXyYZvkF6x5vdeKb4Pik1k6iBADEYl
Zrq/aG5hd5FfqjEd3t3TaHDkpYxpDSE1hlgIZeUeOnTlCVrtstvhRZZSMnh/+0kTS/Cs+I1ePpp1
ztnxateQHKX2fS3pT9DXxxLv5280s9h0BKUeHhPn30zdPVCav3l1uD52jloVCvbtDe7EdX9txnZf
bJBEiFQUxmGFf4FKlfChEXMRFEJzSqzaX7GDfsfffbJqWghPh+HgPuHGGZ9LgpZpzKBOBNUwWwh8
3G3GJlLGM6QG0RIfcLNXELFGg7O52Odu2DQh4tHhHgfyilHeWokB6WpGtfRQF1igaI8ILtva5CuQ
UTw1x4RLfkb8CVV9OS5UqLk0/mGLN+NLLvKw0RN55lXDwP6t+HZrJPqq6CsGMAM575Dkaj9E8IcF
Zxw3CN8Oxwumyl4jixKgDgNRDgSVA+pT93PRTZqxJMjt5V7O0Eh0Zcpxq31EcqpgpGSj/ra8LQIx
dNDxGP3VOzYESX2gcpuABBgF4t8XPm8zvtYmzKVLwxlDFpyPVfdYMSvdqZXBTKrxk+64s9//R4wQ
L4CnY5Gfk0ZQ4f6PC9F64pyZNY42ldUvAwtvlw/VxLE7HBwb7rVmaBIMfKYUzYvhZQ1/udkHbN9b
Jk0JlF16zwFz6IB/0AbQQB1JSYOUZWD0YRCVrxHBCI7eQ8Qm7gKU6NcFfEhik3IQs4BvlHgcievd
xPVnTmkwRanfvS5fpton9+frjEsBF2n1+0argEjdvJfxmBJAJwI6EaGwGu5QaOtA/mZ6WQyQyPjc
LrKnUqdt2p+fyokN0WnHMOgkF3pL9bgt+31R/s6Q/yDf9NA97AD34WX9pbgWHB74MZALx2euyiqL
in0HvsnGRm6T9sVqWEetaTq+GSg+LTRY+4j+0KfOEB2PW0+AS07RpT24J47ZxbUo8dI0AacI1Fpq
rJgDdsglQoXEFyokZT6vG1W6JGTMMZ/CTrXo2uvWSW7jeCzqCelNTKQfM7Laj1CBmJI8AHCBRloo
VVvkIdSfVTLvGjJjx1CXVpcROQlxM0ILnIxg19NsPpJvmyEXpza1FBRFsRI/f8sxfymOh9Y8SAzr
jLTDuLzktewojOB3iHWlTwZjJt4MtCEHPwXez4BSkxH1q39YTWRTfTYnBoEkfhrMGEKxuzs9Uegg
uAcdN+o8Bt9BbgQJC4iCDt8HbUbYzzRNA8pBoLaILVyenPel+LK2E48MUX67arkY3PY8J3UEg9mY
bqWdqpFw5tHpTfcEPYqIGFCH6TcsjvOT6ejx2Odbg5/3CWpZs15i6Di8rfkSmwBRF4RdeOUsdQxw
lLdK1PE8HkMIEiAvNqwksUCnhXo6sLyVDKJXFAnT4gQLtJuyPqXvspKOvENxekWjPqGno416c2Ki
fuGHTTy7TcDf6pejxorwrMaQRnF0YpbXH8d0vXhD5JmdKSdsa6XJ3EInwflj803X4rvzMc8xPdgK
VR9Beh2XeAM6aMfjSqACwgbVsrfN3Xlp+JExVARBiBLjxFzU1xyEkhzY8w4WMw/4cGSFpdklaYTA
Ix68WVYX0qg4ZKRtHYS8XAoDFgVCl84vNkS9nmu/7HaDLfhx1ZXCldpC1bcmtKypgt3djenQMilR
BOSgKID9kClHupNUX4iNOeUc/BYlBU6+rAZB8goXFuXBFM4s38DgH8++E0dxdoSbStcYGRUoZRu9
AO/jWxNOPlz8EiwNRuMG1NFhj9Djn/SSQG2pFEhyZ9itOMMDugEUTOGkt/Sc3aYn5je1OCB25wzr
0MPwDFUJzo0+CDI4eKJnddzfORlcuHYDSptImxNVOoCwamsXo+Llg0nAWsxUz1AzLxSUrjG0NlOa
oIXdNUJKCujDxkDBO2MBylkeXwMK+0idWwET4QYDqpwb+urq9pD/e1DRoO6EODV3YGihFN9Ocodb
EitHIUHWgNxHlhvGVCzWNnH3LQxaNLd1abVi7BCY/sG5DKhBxMF1QYurxxtTsh+mWSC4VDhpDkXC
DIEe+AgeklVMoK7wpPwYHiaNiWedPgT5dZgk7Q65v2VXfUYlTSxqBUb46SJhwGT68r8FcsBl8J0U
3xTh753IZGaRfNApJ3Kw3Z3l+q7FcrBpyURK8t5h0nRWo5Z73Th1pkS6D+igTacKvFOgv+jhr0f0
HXpsyAwDhwVjtYaGwiH4t4SEWtEQ5gWXHkMrO5lMCLqsEk2ANJohrqRmsyGSB4YSFeaE/QRregW7
n2OiyivTe+odsA9jAIjoj+/uO2TwYEMO0SvNMh/foKLFuAICRoLZ7xitvvDJbreSqflARX6NaU2Y
Uof8keWJOP1xMmmaxJf2KimHQr3JIMOowZiSqK+8Tj4VxsEOCULAs3Gpx7TAHEBO2eg3lV4NABMA
2mUS8Ip3W0TxIKDqFHhux7Kg572AGLmuTkQMsqQIZtKCNZTIBvCN17YZjrp3wQUhuHDpXbgBSTDM
qM5i+O72+DUXCTGKAQkfk7ja595Tk4I0y8kA+KEfBX/Pq/l91Q0Ctw2swcKo8gm5AbvtjDnXcGtc
9lMEcVQ4qCXC9KlbnsdRWOE1KH8MV33EnwbcStAZ3hHNIifyBz7lnRfXA549HtjpR/qDaMzJW7Rc
Cl5wUChccpB5da4Kv5wYCTfmkOKdurBlAj7RGkO/prR2jw8DGlMjxfH+1zvGlF28NsPFsBr0gnPh
I2402iYiSMhHcpzWYLVbOhIxT3cQTPBoHDFnPeP+ZuyjqPGiv2dqW9y6UBKwaZbl/iJesesCIQYY
gSHcbDaKHtUKFGWVPxZAY0GWGfrqTBZwdBcXHzubXqlbQZZ3pn99bD9P5KDAsHUBISkC9PC1AHgm
w4eyEqw+nQdOwxISpsocJuoIyMXWtokg4HrwXVp8HHZVHJsbp9TnqKZ47aRq9QJKIl7SJv+wSUeS
gCeKAjol1dkCXdNBZcLiPeBg+VyeqgeStrYWcwAhjphhKRrdmOdSyZhljSE6E+fSvYw5wKjFVLG0
j30CDy2Smm8pgsw4eT8WK+Ch8WoFIJKU16kUWbyWXcBFIwjz8lG52DiohFkYUH2NNmLCFZTNnnRF
5zwP3RoU7cFYKLQkC6tttaG6UKcI6GMTARKOYBOjPNHRYyeGUEN6ycentgWji/5w8P05pH0sMLop
IMtVm0MNymSxDgb4dHj12FyVvoZiFGA78DfLyGERSXK7SFTQHzynsZWR4pzamjU1hCSceYRNcjt+
OZzrW4TuLAUvDh3a6VwTIsA6YohOSgMDQD1xGttbxz7gmCwuTpdVLCYAhCKLSN8HtyhSP0bepDdh
7+PYpCwYzCBWifOS9AJ2ZzfABhBj90GY4cuG8HqIipgsjIcZoBsC5WwXwZijS46no80JWcpBRLoS
bTuClK02mKEHOhOkNDpNhcBT/FbriMWmmZgzKiw8lc4K/sgQpq6w6j0Ph4BfVEwcTfUkAvi7hGu8
rEqVnQiWKDc2veBgkmCR9Npty6giUPAdgHZE7Meo5MRDtt5BBZRGcS5O4rnWCPOMdzVA9HwhNbqB
e4crqwtJw9CykBt57W5Axchbx/ytNk6JY+/2QJXsyQ+/efBWTEmFEsdFSMDa4fEk1O75t214GGzp
e+TAczORdlPlX+ELPrPG2YkjBioAA6NkiTquLo1vjzTOB7JK/BcZ3CPTo3X6OPv8aagUdkBm7zJR
p4/Z3gSpydhdNDioqQumdgjQIpGZMNE8DBWKNUaEgpEiuodetXIzvg9WAvPBMSLy1K2AmztEBoWp
Ldxcw5opUpDVy9iKRcAOcGSpeNB8ozjhGit+z7AGQ2/hTvgDhHDYJIAd++Ih0+uAC5Jghrarm+3+
2FCwWLZftw2bk653vD7LxO8wDXGMceFLiLvB+VDrXW9BCYm4x4Gly4cxVfsC8dffTLMiXUgq3sph
cTCxqgG1E4hvI0qiI+ysZDTUEe65v9ocTBRR4gt3C3EwjVhsNATjIYEXXAqsl5c8JkSLoywFgcfH
pAGmihM15E7ggRGUIv7kvLg2c4xwdtisIIPZwOHiMHEoWdnvDmGAA76MXkmxE7PIAV73ORPExjMC
t9dElh7HRFONqMYqmeNSrhgvkqcua83p+4oqhQuM+9peMAXpYruQQVkUpU97UXcLOCU7KdhQgRZW
AscPRRHURvB+dyQauPyjfZxoBa7evj88h0+vW6aooQZxJAR0c0r8pEheceliRLRxUzasOY4gBgc8
mYWAD8S5OGME0mABEbVk965EsR73ArkFLHJgcf5P1iTAZ8RMzIQqg/hgwIoMeJMue4nb4HqyRsQp
eAKDnddZE6mA/EHOW8pQMrhWYsCqu8TGKH7GXRIIYmwOR1MxKRQudgpTIuCR94NIgwXCU6MEpBiD
g6qZQWyEg+dgxt+QpfM49YR6HCYCRIrvlwDBlKyCgBZPxgHAhvLo3AfkzfgApfyZSrDEJ7oTqF5U
OJOaWhmN+2gBg5jjhAgg+CeGeEpwZywoPl8vypERM+DJlaPU5BVDRQQ4mRxqJbJPL6I5HCmkZXSi
GiyvYo4KC6OgDCcxpNBP5JwEWC3YMmsf/iql2nhMuZBQUIkhgwvpPyVomDKSASvBgis36JqpCTa0
paPluVK+FIPbXaO/AstNeBLuBopXQACXMBMcrCYZBLeGa2AKNMIOIdrkDiVHN3STplIs1x74ocWs
cKicydXwvmtPvdLQEby3iMRUzpts2MFP+K6tjkqdrCG+c9YmfhnOekFtkonShD9bWeltKGIu3If8
jz4JUmokX2g3ECG3GnL4dN7EYSLmJQtVW2KNL8iGCrJd8qS4IVLL+yjjMDnOUkAX1REwkHFcpvQe
OcQJBWanYaVJHgbYn94DEXY9iU3xIsSLezwadEh+dSLiLzvcd751ItGvhKwRAuq86XCWi8ait/ns
0La28Nq9F29CItNGkIUZsF4RJ4MFFOkBn4HVqrd7mBQuOJmRxylb3Pz5Yj7xCinCtdSKi9BPcVsi
x8LcpzxI58GLFxMGMAeC8gQuk04G6D5kkCLgIvsXVrCsJ1NpIoONHYBN08syUie02LJu3Ax5Zq1s
I+J8xqn0z1TCpVn7004bfnbm0L0RL7rRACORQLLa9Pxb4fClaBRo0AYXBrlV0m8prnJWQ82kL8yl
efuGtLLH9zp/eEGOe7yCYQQfZpvQwlHh7yNh4agN+IIcJ5+9GcaogMw8qNqq65JfsV0zGzCA6pyn
A+j0lxA0+/G5o88ikMASXGzbQWC4X7Qc8mckHGBUi3M55OZOiSrAfGgM7i3/KPbhrYmU4ik3kMhu
gHnqY7vJEkRIUj/qoSdFiDpteBkIAsGf2AJOJjmWLtqmZ5t4HaUOsiN9PA6wqpoxpxulmG6WErgr
8hToR2tUDHWtxRPThOaQhBDqISeTJMTO1PGYpXkPGJIOXZcRgoQ7GAGsSqx8JwZD9cl3uFd4Wb42
R3YK4JSKoCDkCOE3zhviXQmHQIks3ITuFLdBcRtaIDnizUqwcB6NjB5KPISQW0RJGgZPy+UqobaL
BBlmgKrzgJIvNWD+g0l4BLEOD1D2Yt5M9DNEcJijw0dXeO4AdVfD7vC9SAvIVaOkm3UROaRsiIwH
Carv7Gk7O7AjGJS9ep6ErciIDvchI6tIWs+xjK3JsmE3gLaXEm8SNa9SskobYaCnC34UEzf1NabL
6mOCFXMQtnVlefo+NOMU4CvFJig7fuXWjZxn67YyUULFYit04Mf5QbLgknHXEhL+pJQFMYtrJMvH
GxLCYOr4b7k/ZMnkg/C903cfM/ylG2JhsLdZtv2/OYCzBFfQa7DpFOk4k2Jk1kMx55RwsPNxN8m/
UA7RswHMFMnE4NWOIyAifkfqzrUmzLs7IArAjpwmOCnswxSeIfR8knsaw7F+rwnUKyS51AoG2lsO
zw2n1kU/ZU0bG+iw2AFNhJkZ5ER6qObEgpWJ9Lc4QvQTqwtCyuDj03V0JoF/od+k9C4DF6Wwu083
XWybKyIbmgTf1EyKLmpP+tLwcS/fMwUEMNzDGVVXGgT8j+3N2HY8fod+bnwlF0HdOvVg3uQQg91C
7aHt5RG9UHoSxFCL2PiYLBxmTYlcBd2oRXtCGOPSo6OBSvdYYoIarvSYMFMVghMDRdENdE0F0Rkc
ydauNJnNlBDkUf8Zkef1enNgX2leSkGL/FX5zZTAneHcKB0toGr1Cjyy+pxoq8Js5g7yVYQ6pQ6W
E9rWhM8RnLrtnwD93XrdmiHU3Ty4s7PdXEps9z1+jtdNh9buO/0NMzhcnfeyAjKco9f/oUlj23kA
B/wegsr0Ba3vbVXhSMxzhHg6p3armw/P48KgxSAvTT9AePdlSvBgpKr9htMl4SomLndoZ0ShcEij
UN15MO2UCZlB1foAh1X64rnxALR2i6+39aq9m09TTbCbOcjr3bIrswKsNXt7cov53+ZB51Dh9znf
/L6JD6mVkjwIznl/IR0VMamduVRsYnEpVhALNQmPsgB12BFFvp+2VaHnu+buGCzZ9KvgmPRsO6Iz
7IeaMwJdTmQKNQ406SS4O43+hSDyXzvO1ZkQXvOjAZgPKa8QbB8QEqSTfOUxMdzG54PsYJXEomQD
Wy5uXyZMITlgI3y2byRKrx2kpxHNT94eiVQAPGlAsp+cVJ1rAgIAQWS3mnCQkMCFdMwffWVwJcIt
MS28MKZJ/0bN2lvzOfp5RHs67Ligt0nyNbjUE2m5/ip3CzDFPgrioc0n/ARHmjbPyPogcuJyF8JH
doSz5xIHn2OgXfW8SH4Gqov+de1WJqo8zMhpkjoxi66gyJLKPBIxcXHpQy4AeCxuWUJgQExfRiVf
UzqNvAz30Y2mPkRiCnB12qdVTlgOfk8W5UclZRLJUP1G3KDtWHg1x/OF7nwJZ0R4Cy+4NNlpalb/
xIzJ41+7tJzND53iVGWEWv9u7jQPTn7gpjBhcRQu/eVf7lGU3lCifFtLykA+iZWP26LgJdP/TSgj
bi9ci07ft/Ek86+GCRBn2x2Nfn9VYVZJeVm9aY5SF4qAr2hKGhqUcJiwtUJRAyphdqAefbLX5uLd
vIO7c29weagkUz69ME1HPIQ1s/3yxaxzzTQQs7qnPeOuER2SHVopTCsCV4r9MQNEXKpedZ8w45H6
FFMJfWYw8CTemg6lDQ0gqmWqW7oFQ6JFeUa6IBpfqE7h10/uiW2EdohENKK8jd7GvAiRduXl95DQ
5PQx+4Ob1zEIvdKw5p8BIbGo5EIgsv9keWl6IgpVralIiyyZFjsgg0itAMsncWQEu2lsL4fgC0Jo
KI4SYozf1FRedHzc2DjQkZQAS79/GJb5b9xgPhEjMuBZPeGUaN6aygQrJmZvuULUi/O+RugUqb8y
iZzi68rseBFFYmquLeec5XR3b2ItmP6bCst3CczB489XvPnMZdksVo+Mn3Mm6hBzGJjXwRryN37u
0BM2MG00g3VJcVrklpXT5DhK7V8/Mhr8TUFG6lNjgJCncQUP6pdC6KDXkUU/aJtBHweRcTWoM9kE
FbKHyYM6ejA36qWgN2WvNrjxwjMjSWpUPRWFqReECcTdWhdC6fVrLuuMY7jTq6y/R5EpeBn18tcQ
CULK0ZaoFx3Q/xP1YaG0x7yAryb+LP1GeNWK1GrSlKiqxg8fo2Owoz1eFS59twdcNzWLi4EnxAhC
K9eKYibeBdcPzRtlTF2GE53/dNqzgfyPd9bUkj+fhVzSrq/yjrQgKGgRPgBZUndS1h8Hju07Y24v
rmAsQnjTk6qhysGARygQ+OzGv4OtBdBHkMvZjjIVBPo4WtJ653ID5w1ldLqKARXnyN/T+AaNcZGA
ClVQLBGTU0CQnkQ/DaKy6vcmr/xUmXEr0ty2V8BbqKxDR4yHOG6desjZlhKo1kkrZZihAmeWlWsh
jkkMBL/fyWDe88mKQJFRwXpLuBDePtHh7gfYiVEHqqfAo78CqlxhE6OBmiMJWqHSOB07/stTSl1y
+o26PZDMQxmRp637Qo6bNLZkqSWYSAU9SzqV/dgwNRGxsq5YAA2+lojHSEzZABtI4VFLH5OHhjTr
zbBnDcoX/g7LcWF3ZzZSP5Tz2NKxU1YzF7QqRNpZGKLHFqsvzQ7y1YahL+DpvYiIaZ5OQB+JTV9W
hVf/IJFE1F2hJKrxoir5ZffRe4SRrxJPc6G/NSRiI5/YdCaaNvN+dJIUqBP3R0tYMyqoMDmOwy1B
ne8TkAoS6rCBJOCEumCUGAzeQ3NhiSbzmaVatSI90pRoeYtP8bW7H/gKoyjykt+Q+avVgUUi1peo
CRWv2I8ALs74RnU/yDTdvcqBf5DVF3+rCKbB5AdeQzAWNjVlLclLNWltICA8hvf4QU4IWEcJ2aMX
33t8270o31MqIhtBZYvhxbQNOWn2JO73qb9Ou8O125q8YB3zBFKyCkCdUg6LTloJV1qyKoJd1JvI
XIHgZih4q3IENqvbgnwIO1EyDrgedIIrKd+bMitRe48MTTRWGMGgm2H8JBvLgcMI561n204Qze5n
bM+Z1IrKEDQQHZAOqV2yWFgwo//YA2J7bRXp58UAORXE/46MroQTLZkWRKMXUTitLGkKzR/4CQCa
fIO/qDkltGn+UaxnpWiuGK4TTTX6EiaadgRDCrIeOHrRJlwAI1Z6QuGJK7v0Q3YKCFx51veXIA8g
YZR/KBTGAfmp+qRjZeD8tUebRJpR9xEgCsX2MoxhQ4aaFpQwiJi2hXS8ijZDZQIfp0JViEuukB+F
Zrc1JWLd/WzJAQBeMxaWMHd4ZX7CXjGtUouiavgtKzuZTLXAGDyVg0cRhrxfHuvcYSBBQq9Wgew3
Xf/qypCJP5m41eT2ck2WnEa2SwMXSMhRN9b7iF+sXq6Ls0YWBwNq6nEeVOOz5iBjV5HxQvGhX/Dp
h95Nc0JkKAK49F9AGrgA0fgzqPBKBtBy/nftJ405OAW1fuboa2K5yXhFEeHf5mX4t0x8WC9r1mrM
CLQ576kpOW9ia/4NYX/TQJ4XoWfu3hPJvQtknaMrsjNKX+FZ/gBBRKpL3P0aQ8wQuiHJwlXrYKIh
zz4AOR/p96HyiklT+/5Q/czIRYVfbnOJfuV9v3zmlGdqNrrD1Gfe2T5ZoR2i0Gvv7v3N/N15sFHZ
kPTlSmKhBsIX875Y0/fXrLemaX38YATEi6EATOztPOHMM7Pm2MRcCH+mEYkoFO1dyPsaH4QgKjIz
ea/cZJkqmiIKuBKmTTSv1HyLrCLHVa2gTDlx3kvyTXrtngDSmaqTxLx1qFjOMSaCJexezNd07CnM
zp1CRzrRO5DH86h1s0gUMQ3EGO5Q9lD96AxJUS2qk5XHL75yCR2QM22PLJt0SEv8KeetLbDo1pNT
oeLUNSmdCU1akhmwl+iAQZywV9GDqpy0v0Sm4BCbS42Y6QCReP+VXOFXDAf9DMvqHNsw6tg0lzW4
UcMSoREgSyf/2yaaMoMSyfA9BrDqlQxjVDQU5TKs4JzrYf1tEbIV7fdylZCaXXIchGbj4c01ZkkR
GsgUCBNamcTL6o3HispoDVchuQJIeiIZ/CsCX7TXBW9S3NtQKyDwgdEOqMU3fHWww8kAdWaaK02V
KbovTJRgrgQVsqylWIFKBrwv9vDjFMcr1lHYO0fMrmHiM6r09cX3BfjatX/40/e/BC2JeW569ZDH
prd6yuwUCD+YPRxGHd1BsUpSsMTA6rIgElPb+hzGTlZpA/5miBRR4u4+kwpq2M/kmUh0NMswLVpz
gA0wJ+FTWLpua/KOVw0O7DHUPIJcFrPco367AKf46jRHinz4qUWoAITVxTNpmc2G7y7wXw1h5/CN
E/9wINSiqWgJ6V7n0V5DSONZNLIv27v3PqUpdLupaBMXqARLi2BrAhB5xxUVaSn7doC6SuC2Npoq
ZHg3uLZ8JfAUBV/HvnxUYbKOureB2v8aRp1/0jQ4ch5qWEKUyv3P8AZ0LXuruRlbRQ/gCUrINvBB
MIy1doVTy2DaP7lOdU03w03v+gv1g/V+MK13+lXAA74n91eXrkIuVi9t6LwrDBA0E2AWktVoFUua
pYCOhzLSi3RJgiJ0d3rqBKbM5y5s60bYca2fp2nE3gVvbM1XAfQW8idAZLcw2iznZNqTFVB4i+RW
2WwL+A3bA3zLNGrndXbRWLgvdk4hezR5OMCuMn5bcM+DMbw6vTqG9WV52eLRNKJAKnibv3WyptPR
oEfG5aMuM6z4T4gDuwKzr1ekMC2KPAAi3jF+FC1kYILF7EdoSrN3yQouTJQf8VNu9B/75eDwdq5n
p+p8+pX05G6xtvMd3b7xLayX0VTdQIxF9uTn463R9vJaoxkpfzGoVBCdq8SfpDBeec12OcgnAC9D
3JxXuAKAN0nxt/F2RPaNej/oRwLWvWrPzIL0knkE3s0HX2cxe8f5K6kPizTcgRegUgeA03IrlBC0
9AuQgx7cGhlsChYZpe6hDpMO0ipuJL0CZ+uI7j23Qul2sDgxUIJwyUNlbqAw7yurb9/ppWaCwJZV
R0YI7vpogT12k8UxZlEmiGIQqPZ2E4oVF0Ry0dVbx80AyemoBmYMMk0dHtSm5K4XxI3sZII8f48m
JyRzML9PTMIQE1m3EIlnpBoz3O5upQJ+94Q6jz9E8pxgK8vEtyCu7KIstjz+phT2dypBWgJIKvEu
svLO0+wJMhlfgDhe79x08118hWZWsm5vtzTaQvEjietfGnD+g+RsB9T0nkQnptTJs3Jwp+uSDgfr
UrKHjy1GaQgAgwRFb88ZeDHQZk0HF656CfpCT6x5b+n4aVmsNie7CjuqRoxCbWAi1StMc+cGrgKI
BqjjHE9unnt7klf72S/vCfCqQ55AGAnTPqA2pDOvRs5zMeQVa7ODOc1YZOP3lRIh/Ivbq5GbZIza
A9VlK7gyHukAwlnsU/fMZ+MSiTj0Fk27hOoXCVjDyUl2YRXDNFE7GxUJ8qDr1wBIfebM+iNuc/BX
375dWSD8fYcparVcM47qXCNCY2zUyqVYQN82R6VGDoTUWLfOrM67RZTRjFuDZvri15jAVEOG3iSA
pQGqnFi7sp0hNoYojA/NUz0QeCY0CCBEAhLRNwPesNE4dHqCj6QARLiLHPh1v2j2KnhHusMZRkVa
3mJt5zOwQdAYaOfgCkWyhj1/9pgqU616n3m9/4Q8xdSxJm3jmhDVsgjdhLxLa0u9e9x959nBWTEl
jXBcoD/8mz7TgWKgL2C5XgN28p4SMts5Wf9WiZ54GjjDNMAT2iGtiUhH1VuPHxS0pcj8aT8YRFZ0
cQHoI+x5tuLZugFnvKxameDtL6WoUTzY5cFluzMzdEesY6FMfEpsMybMBXy3OLDmmnzQ4/nhBV4C
igdzZuVVECuetTcTCrbyTuLgXoIDkDA5eIKaQc1WHDBZJ8VPet8eQf+nTvzeA7ybYGejPLJ9t0u0
2df8ahU0gvZKez25merq1oZSzNytbm1NO6Cy6GsZt84oeuU8K6v8BKA8ThGCHu9WcR7Wd8x+cPMl
83VXYMe0uWcMLYGI6Xz8nfOEury2Zg8G4XHYW9hPhJ+AX2vY7hySWgnQkZcQFgYU9mgvmkHeQTXz
B9SwQikd1gAty5MF9c07ZVBq9d/EotK+cUU+6ElvRyTTbSbeWL0PZRsSLGVw8b/29xc+D7wQM14d
NYkNB4+e5tbs+zWQJqUnjalSH+To+MZkzlQY/5HLyOzX7Dq+kDrvruDswxYT0mponn+o17wl03Fr
t1COxbzy36AsOeJuq0STHm/BZnoMhWSl0jfpVhckymX39PdqMylkQ+5UDzdQQ5SN+Lthiy/yYZrI
laEsjML5/QAjUNurTKtQpwhVnp0KRbUn4fU6RUGO0Q/udvEC6RdxLMLYT3JCUSQ7cLEEJPO5CD29
YL/Ic8qZ/FJGHf7Yx6u3sbUvtLM/nZm/mzw1f+a4sV7JY+f0Jifol/v25IBIJsSO8Bx8ENh6AZM0
bE3SgCntYBJJEtAZYotYrVYJ+e5alLF7i/qWkgKQxkgVWNHCtDtiQqCt9vMNK7LPBA+NXx4I3z2j
8KbY45xuU0Eze1KIjfNERXpwaVqPLIegvtfonK+EHApft7M3+2sklyIAtmDifwaehweVrj/8W/ZG
yMmjFLajprsdqRhzpawsRTO0R6iFJAtB4Xwl+KKPTF9uN9hurVWK7GyoQ4NnEG1XQyn++UJKC/PF
BD7L07nBQZugUtY772DDwGmVEgpaQXjrq4FOwnSdxR7X1lCF8uBDO1oEL96Pz8RJ0+iOI4J+r9kJ
zWAdv2ZoyUBs5W+okkReue6f6N8HRBFXbjNvEW0pgqYxXCDUo13BbTsHhtibCiE69AzmAySFeUtj
oDF+0NEvarS9jwvdGr9r3O3PjqK+MmENjXk4tSmkLnA0aQdB1pBEhVUKULdnCPE669dHh7kaf69k
k6TrwEMze4muPuicuk3GrWFTPYLbpeSWhUDso2tY7rwToi1ppR6RPymYJ2nuGJIGs1ZhUVmA5IIL
x/Tm8XeEQzFgjCFwzOYmM7jdiEvRl3AfPChojChQV/0L4S5Uanbk7l1gUEleBswtHTYmDXAAOLHg
k/VYiBQa8TS6UHYUNpCrPKmy5mkgefuM8iphJ9Sh3uRueqsALT9pWyHqPp2D9DB7C7BNC037NBLI
/ozmzEebqQtYSZo28InCmQE9bAYq1Aa09+LQ5Ocg408hpFCHVeR8toeKk5AHQZL3TA6Ejf9Ob82Y
72Y1btaDeUYoCkEv0o8qa49vI+V1fnGJL/q1dGaunLCGV7JH9GzGF8+n7d7uvCgVoZSDraxy9aAp
ONIJq6GO2IjEzeKc2z2IS3Vns7ybfHxya3HlZLfA3Bp2LUbf2K4gUbWhjnUZPeLm5Nwtf8tMJ7ey
CWvpZGf95rSD7Q0dpvYDdfeKV+yeXNRrGjY93ogsUnKdVAeNuMpvehz4AFJQ95o+yO/3MHexN5Oz
8wrf3cvFmt3sRnqfN+LzdLd87pAQrBKtYkjdOw2O3ErYSr013fo1r3UxNdTDfithcf5wW/2PJLUk
j3MYbzr4C/cmEWXeGsuFVCTWZkeTCMVyRA5rSW1lvYHCrR6Nhj/H3sdthfax99wbZDBqH/uQvJ1W
uOnUKzxTaevXb+HDfTu3ySkAICx0qyACc0rllbunDus6nuzvFrwZEbAEVeIs5j+3IbaYOC5WmTqm
OK4dPiF9xzlZcf2EIZCkxje0gbiPQAjtstvwZ2OpChMG8QM4j4TvhqBmLJKVAG7Ni726xzexnKag
atZIw5qJSqBX3MDzwXX3FgxS2jW4spAGO/80nHA40vv+9ua8IO5DgvPf+AVmAqP3/OhqhMM6URpZ
dvc4j+u4OManePhgmNcIRTIyA3FfLhJs5OjJRGEEBAwzcYHP3p093cyaVcuAjPYJqElFFhCgu/13
jdT4hQRtTEEqqlLd0CwLonAqQM3OvSgVJuzJM2SoCyrrDNKgT+ZGqFtHwID7/luaHn8RqGKKCg5S
yi1A+Oa9PI+bfVXfitib6/i+RA38wKIWuvvfC0sL3g5gwC3CGg845V9UVLkrfKWlAiuBAhrKterv
R2ePuT/kJhkulEvxiuDXwuWDWPkkgWlM+NsDsmdz7SgL/DfaF/rML2CbqxEhyoOZKmVe8Csg82BB
vq5r9GBUFgxyWFtb1LhJKZ/kPxTDqWxEa/dJhCEfgji1e/Bb7o3eUdqDD5byMkJ7VnQFmWJvlZ5Y
Lw5lfU2YQxmyJC6cXoKExdlpxXUaadT21UIlhdEnX+FxdC5HW/xFyyVH/k6wqmO4WpS1m22mT8Fh
QmTUE/dLyZR87A05cejTzmohlRpeoJchy03y1+Be37AkJRT+YC7WvKtT8c5tVQNEcdjh8EB8VE2F
MC5vJNYGi8sC4wihRWkC01GJNjc5l+Pnn+IuKFHb83sCp+9no4MGCoZ7fHzVNFvJni+pu1u1qHfa
96qLsSJrp6CN2KqlwVB3GtbbK4iHqpKQRvHMsNhFUBjJP5bRDdWQvQ+KH2fnaq6Gbhfnw8i9B7+b
GQl1IobJMxB58CcYeAzlibUkdCNeuVl3g4Z7E56EqtqTJ3Xcl70O7s5zTiH27Jydn057U2aSkX0O
dh3YJRWW5+LWKPgjrxBUqfP8NIKZu89WzkCF1rf/nFBipMyYxzm9groPDpJWB48GYBtb6sBmsE+h
IP8dJdpcDc7mZN9Gx8HF238Lt2rfHtiUB2lQHb1NjabzCnXdJj2pNe/unNGXOQbFaSWsYLhWf010
APRWFVV8vV3/4l3CMm21qCt4VCGvfotvhf6zXeMtT96GVuidq+/BLLV22bxNyW55x6CJcA0Oh6fT
jJMmFFJwlsUa2JSuJ3QqHxqN6v47XhAIcUkPJB/r3S2cuy16p/p/sejKzBJvdKRgWWprvqv6Ov4j
6cyW1GaWIPxEimAVcKtdIMQ6bDfEwICQWCT25en9JQ6f83tsz4CQuqursrIyX53crwfFHEkZog0r
/wxuWu1kvcqZI6/EvtNewRDAA/N1F1TKxF2gPpowkMPgxZAuli3AWfpL7gKWdD2gXtz7YRVGGW6T
vXywRMW1HpfCNLqvje4R/vW2OTIWycVp+OaszN3bBSUm9/PoZTd8ZqK01qzyMAShqMemYSVK6yDM
4IFSB/VbYu9OeGVQFQl1bBDyyY5wWKeRhwda2IeuwRRhYq3UcxxDP6y2OaHd14A1RAI2wc6ld4XO
ceXO3CHEJt2icwpSvzysxygZA9DQTo/rmJTJDoe7MvjIrpThoojgTO9gHyPIJypcvcekrPINcRTU
AcgxkjjKxZeqHdz2hbcx04GDVu8NXrWnQ5EiRAt5BLIb6IpfWbyHDecJIWBPw5vBbBI7KTDKUpru
sDPZBgOWYGmVeizbsBkno+YQ1mb47GzFCJgwfNRpcIrVl72lU/xmznTNAyQ3U4YBJYMt7N8BfjSN
cIFYBMi7wtSaAgrsCJrHwBhmGCuqySS/1tyHWqMyT0lYbVMSKH4q001jYI66AHBxRcTAhZSvAmo/
WFKgUr6A1P+AnoCbnbcnJ1/RbFH/4wgyfvBr3R0oOGL0mX3u3Dvsxp217zEC7hcb1NC7984OkTk1
lMt9tAIy+1RzjtNyP4eE4BfrZ4H/1QN/p93420enBcUtl3r/Idz/HtB7QRwIhg4G0i/wb/XGi/Wd
/glIRp1DMLihRX/IOO4+fyUIdjQU1QcVB3SVy9L6E+zhwpWD8ionC0zbbI5pgSeJn0H1ghIuf6Vx
3k3brel+QLhCE3q135hzoraFUJp2374L0AiYDsHGp5qj/D14D9BRDzmtogMj6EHj0v0w2Q32Q6Qt
he9eg1JCuluVfqXKmMepA3DonKbAWfCnNXXlYvKQrYZgbsPhGU0XlLid+pDyFp9YMY4V+eWDybZt
OrVxtiJu/4Bn+uenjbTx2p/eoMnn4dubuvfo6WQTZEfgwpys5ajWKyZPT96b1QGCyEcQtYL3Tbpm
H6ASTTT63QON6iac2Oc2FFLueaLpcyadeNBJYJzI5Cp90wFYn+lIvDoNlI2TiiaV54fJsmeuFRUl
UPtwjQWp4s1NHjLbeDHQSYzyqGGnHz8J91Gtl00uLigFLWBrTYZoPdoJ6Szjj+hRbeAd98/O+tkn
+qccVX3SXCuNPgO+2Zj0jZ9Dx0RoZVKBXbwuCOQ+B00lnOqo4mV7EpwuODYQn+KnUx4KAZPApmKT
LqGGpxk/YhqIm54DFFnjcueecDRJavxOZNRAxsue6qLBhu+Q+Wz7B0GEX8wzLos2GX/xjc0v+xxx
h+M465ScsotqB8E8Qbnit+K8/GdYrfh2++zF+79y045/3QNyFx9EFSqQinJMI6zfmK0wis2e6LI8
LTe+2e2py0c/WPQ3ezCZckfcNUp9RBkeGph+2ScLHDQd371699FOwyVMqlnjbZOQ36s2CnH8FzXg
69vbxXuAD7/iwbFKUO5xl2zT6MX5631cfottRMZ9e8hjh0m/4fhmaIcBB3i2TAioQzJmzX+zhwRw
OgHERnPPjiBZEQZCofOAgsTsgG77DdFnRl8oklWOWHO3fXLjHDyCtmvviehNbYY+UeTOYZVzYngG
IpEk9BBah8cujQPVFXfHZyZ5uFkadPGZG7U2URJ+fApDekQMycznCOXNGayYTt/eR3fDVK1SBCDG
l6CsSqsgut+FdyPFTW5AXQ+OAP2McbWQODVWcTc+dqUougFCHupEGzOPydqCaBINfW6G+sc9evi4
UIMegwlwWPH2Z8fnbaO1ylMfSkqTUTbkhBVPRYpd0RdSS+oWruSDrl6SpgnHGQcv6P/isKP7ymBQ
FSxYVlsLONfUw+oe4TLoD7XBiS2kd+t1XyIDD/vAHVnCTeO29/NZjS2ouhTBP8IA38vNneNrK1ZD
Y6XqW9O0q9VX6FEhuUHtrSIHgjEkXc1DN0OhM6ibD3myOmn1QvpdTBlFOB55r0dTBYjL0rgJDGHN
ZZjQv4CB5edNy8mmaUzj5uBArCCrRCOLIMKt7yD1tlFoZA3Rqun1VnwNuE0QXN9gffoWvqNdZkKA
UxAmGzJ6RMbHCmAIipYyFjeb4dSKLHvE+BNZ6GvY+CEinAI5s909oZmo7Gj5JRBxH2xuMh4UDbXN
QWycS2IVQa1PRAFFckFAJaWQEKJD4CYSF425sD71afWmjYBHxsUkA8R9CYECvPR7TvlAAcHJxk2C
P6m7JComTRMdsvggkKVuGiWeE89lg6Wdcwn0L7IOoNYg0BBLXjztC70uBmOYEiD1x/yGXB3Bycfo
ZdKEUwkKw0IjNcz24F2lWY4ZidL3uc1myhCEZIiPoIIzCyfYVzLeQjlmrRjhOC9S8nFYupzgwFyq
JJoghCkcYYAFum8KnlePLUeQkmrWb4yyEPNlo684NLwum3nlAG0xCWt9XOvlVtuIexsMG7Xrvvzk
vrhGdxlQdUc0V/AGaFdplsh14YTgvuJBvy/Qwwz7m7qbQY7AK3N5Ah9iwGaohiFPvX+huPEPHbqE
bF3c9pgyTMCRCTbsftrTnGm65USaIc+H/w11GzUyUJ4uKS4F36x6yM/R5yxhMQKYo1qBxyMzd8P2
6E+AOPGePCzA+uakYJ1V2kwTMBYE36Atmk0dhJ7eJ/1tDoCotCW5bS+kqCenK6NXVKwGnX0LGEmM
uXu7waBJ3/AaMC2rIeojYl0prQExGyQesjm++McqE3KnTXde+kFwkNGeOXpM1yCIBEmxI2u2v3Jf
UsgibdFBgZMqYYc/1OqwPwdagHsSnRE5svGspA9yb2u+p2lD4kyA+GbMLgwEScg2Wt0SSfjLfvs+
qRF+2e4p/fmVcjdcmXB8f/RXV18oQgOFWZBe/coXdwg7lNvatYGH33G7jLM6rIjzgu69L1bUyWC4
SnSAFTdWpRnhAOJvffqZ1njgZyQv46odP52H25D+F1sR+TeKlKptvGmVtJeEeq/KEc/4blHt3Wim
WN59kg9mtJ8SmOnO/kPvuQn36jB+jUUp+EC80Iz/c09SbyYYd+8Ykgvxo7bXRIA+uLCmGVGFLU/H
hJNwyDxpGLdZyD/3Ud6/9ynerPP8ybPqfjj7oDtuSULoecGDQUzh7dDSZEE+oLap4kns48tafdmF
BF0WWKf57GZgFQ07bwHCpmV/NvgbkOOjhoPgx+zUB7Ctr82Gkxza1fVxcuAJOI2/N8+oTk/u/hW+
OTK9bXjq1/GgJcl1bEI2BUswaKnIrHQycTpdsCJu0ZaFSCJC5YQSxclbtTrNyYOAg+JxK35VUcW8
+7sR5Qj1rXdjcTj3n5qbzW79/bF9n9QTfx+3Dkze01f07phCkErXXMoTGnI0UlD792moNcC2DqhG
um++U4vm7Zs/MtiTJDv6QyFMUamgPFmY6KJwUJR8QC9Kmm76nbjN44bHLJDqgR4ME8oi5pmazCiP
rwa8X+ow+oWAWSdqH0UottMFBRNYXF717WXj+lpVEM4+TBOksX5/lhkuQY+R84Q2J3RkmNIIqjDt
QtdxH6xwkJ/q9N3o2F6rrTElY1ziqXFY7VYZPUOI9uH7j9+aOyvCOIVab7PecBBz7IDsA+wcQCdP
rNuM9fQYHaCL1OhAorTJgQahjihDerLhKNx51jBi4gMZXvCMpnNYtezyEO4Ao8lzzhijWx1EVspS
1NGFfWhKtsw8kjxaDPAUHddNTr7d6hT0Fej2VGJAMk5lA1kuSDspFmnEInr/DMSgTicHAhRQTQsL
mrrd9MpuTE45Vzz+zw4vfBjnJ2p+0j2Nw4kyoEEDyfktYHbBABMXVTgk/Spmqzlp/CFGNCDaOVAh
vFFVqjOPKd0XI3z99Vdxx4Mjw+glo+lAmDRaGX/i5OFBMLeF00EVaL1nDf0pl4MYmTuPODA14IhH
ClGbhKgx0ACfqYOXLTll3JL3oU2B5CaZYq+nnlLWG1MobL7JgbbX4m7i+ax5alGUv8oPDLbCtTXA
Gd6TBezhXgOY4UIkqM7ySYrc0wPbpfe2iNIY0HGNgpSTYN1Gpe0+MpRjxMuWDJ20nsR5F8qDACNS
fyO8D3xUoJBDzFfJzcqnefCGbQLFWzBojkZbvY8co3fsGIHJuCdKUsOzvKD7jRDZRW/fg3Y+KOSg
QIzH6neYY/x7q1qf5iYPMoXtvzO/I9o3NmMDe06RxVGB7tOmV0hv0NBthGXEtiGs47jJPGlrXCY4
8q84VCGJ8ofPGYQraC2BAKk3RxdhIqQBXA3rpOdlm0mAT83JfrLNYXNnMqyOpRiKTBfPCCB7wznP
uJ/F2JhVCNEibzOiDuZHnknupqW3+hJGebJLjkNxOd9fBj2YAxxxbfAnkYCeOt6kt9mViM2OT8AV
KH7huYtg+mw4lfZz+x2y56gRU3rBM5M+cc484oIE+v/YhP7bYOF8UqbTWE2ibz15dCq23zYkRzoy
lOzd0gIwAM1V/Y3dClBFQi+dqS4iAOxL8HPG8t5+OkURcYy1H5HyvkWaDEPPKr56NaaCAamRMf1V
n0exRepSn/C/DPqZzBWACZqpTnSzXWmX2uYA39rBu13Fvll+oqf1bW4gp9wkZhs8ca2IHf6oLQxJ
JQn68vAA9z3uDWSEOxTeQ4gAGlFrxjFIQtw+Mr/1Ab9XTqdeSoKIL9ZPWMdAYqJgdo9dA2yTEiQk
bJF6KkMHA44pUoF3VX9W+kJHGxg9paRlNWpa03kNmxHTseNDR42ZfdjsPdxjqJCnvP/qkFcto6Kz
2SF0QuEdaqZ4rYy3xf85HbtmL8XaquCpdfcRetxmlM92ZHxfpp8n8zUY9SRgLX334O2BMEYyb3lh
0KhCFQlGJ0eBFgP72PAbfjHZxVfHHjGQU2YOal+h/3MMZahyjCq9RrfUu86otbGYp0ys+h+mmV/D
avc1hPr0SzdpubM+A5kPX6i8ZUN8Cm50RaEZaTYJy6wAW3pfqOa7fwUSxvnG+NYfSjPojCg+C+gG
ZQSLTinQzH4r1ni+RhdhGgnVTsjJaQgzOkf6F6RtMG65edCqxlyY9roQb/FAScZB5fF5CteEZr0g
eLj2C5mQdotgUWgcNCH17kyZcQIMuYzVkUuG6PpgsJOVzStdpnoVMW3Sn2b/wai75rwqc3hQSRfj
tSne6bFwGMMtPa0DGAYSQviq+eQalynJqOpNSiSMt8B4fvDriPWVLjTFhkTzXHADmF7E5ykYUgly
Lqlj8N/D6+wwNAd8iV+nc+yTaXmIaKIKehki/R3c7Mvw5d/sH3pzfhOrHyl4gnz5uXdqj15dxiot
BnAFSlQs8lSN1ChXrX6/LcUO+WZLUVS69GWQAORFUIxvG+2KF1ecGxB1rFZf2U+jK82PF+1Qwfqn
4DoXfIXnyFzLvaBOpxPP44AESUtCZa/MnhbwtbnXam7BxYGpBsMBkEz3MPkZUkmS5tOZDMc6mFVy
q++MTvHdpegUYqfyEWqYsO6lpwpviZYZ+vgheBJt/poFgqZ7peeN/fQfxTNQ1v9YqGecugYHGbvR
5dwttjWqQo5x8CqNi/nz2O1/aKTKQl3tZhzO1rRaD+Dv+1A4PM1e3hHyBXQEuifUuLzPGow5DX00
TZR9ICXBAqJsFP1h30ZoijjsqA5XoiHkZMgSg/vWVJJD27LPv6LoBIMLEpb4pWRv1CMVyMcVWn2y
FxInXhF+D9uK/OprfEm85wxXgBJlHXp6ewbbDDE4RAebdi3hnNHBo1kpjf3UqTR23Vos8yHlfi9P
onj/X+xFqNRbqKJ8EOO/nPEWZ4fopycowmwN/VLvbg9fTUCGPp8AAm0+bRd2ClkVCayqaS3mL2DS
pVD5vhokSpILvR056PfAyC1qHJIPHqyeMFMfkszEd8MapF46OnWZ2qJJooGwZ5Agapvq/8xo/R9j
kqL3RNmLjpmPc4/lbQFIoSvLv+BF70kFoz9yLILn7AcMm3f/73h9GGxnmXVU4xAzS36Ry4qnrRpc
WMx/MjOJK/ZjmFQXDtQ4er9jiCr8yNtdfcT2+LrRqwnS4i/FjYXn9CWh+Ouh7o5gAtGexCK6D2SN
Q2lP7qURENX0XD6kfU45HpkqynRVZRxKqvEaE1q2T2NxSGS0oRZy2Wl4t7G6qc22AB3dSH145bPC
2464Qb8RG4gbQeG94xpTUPoFSYkt+KU7iCinKRVBBKsP8z8I4jDRV+bEPLpXvwqBWH8SbsQv4p3o
jGxfXmG8GXMjUcLijIN801rheZ++rPtPhhbGSnGTNN2FZjq9nlkACrECELFbIjxuNIoqgjVLBcRj
v9FXMkymmAy4lM7s7MpSWJ9G/L37mXflKdG67UInfRRcFpY82kVjSXyAd7PMWH1fNoXGWQXjMssz
uO3hnJ/A78tTvIl4r/u37IVRDVmrEVRIO6EL4r6swdRVdfoAdpkch3DRdw9We4kmKnQSA12Ve/eN
E9xx8eECcw4ZzFBGsvvBhBD6szB/YfQbkKalV3NMQCXMjgEEXxim3TjyplhHByXcGRP/7FS7dIzZ
/xIg+ka9ABdNbpOW6hBFDeGcZfs1Uaqv0x48NoRz3aGTFS05mk9uA/AtMAn286fj3qm7j+G8Cu57
925Mh1+CWrhRbBLeQw1AV5yhXS19zsegBCa7eEEzpyUOQwcemhyeQ2jZcFU+pBY3Egodkma4OfJ8
8d7e27nmxc/d6ornmRCq9bl1yUPxexCUw1qYLjv3i4uFaMZ5Xu+aUUKDkGo8wx3yHt0mb86TEul4
2a14pBVUDJxfbR354qUgarh0SpljYlvgHjdwsz9kUTkIKVz5D9NwdQblOAvO8fPj39jNwSdiQ9D2
zEbHxc47/tDcRwLup0RCOzoSi+UmCeYr/Jfr5Wi5YSD5IhhGzfFnWOoTn39AqlYiBNOw36UekCA+
QUjAARKX5piIz/ffIeydB+druufCiBHf1a1zg9Pg0Vn2zz9iTK5OLP369GyX0L9lZCwJni5OcIy8
W1WOVnqLLc5HTibFgcEbIsniCGPty+qDyWE3N4+/fJg2HWQLnePmLNnI1XNYjkSfECoIYJgwwtUi
mdSaZxN3GkRXYHAgEFZQ0mYQg5ZSh82QDJhoSRM7715SdCWOXe4J2UoMVsbTgrS3SvETTziqmC7s
lEvWfQF9gNk0FdY1FCYbtnGxOVuz6SUw+2S1gn0F+ww30Y2eqhuB1BK7vsivHzYjQc2aJv+qTI3y
dd0V0P4iqvmIIWggj4pd1qGw6Xyofv1meM46uqsV5AoER6IYA2eeu4WFsHN62zl/PDsc7Az+76Eq
sratXR7sCgdWKcAHF0Mj82ZdmeCTKgPCedeB+asT6TT/KH19s4tKXmtxccs2SSs8LCrUZVD2cTBg
jcq55sqHDaoMQ85Bacd1YIA5uSEgIbxMlipTJPM6heIfFyoqNf+K3y0p2h7am7jtJ8NOub1mxiYi
Fi2atEv5oGQNksh6WcUq29Yw0EHJbrN5zmn+8aY0+hg0gNqJcYRUTMDr4Saz/ZGe9+m0tZcQEGuE
hPX8NIRz8n0l6WSa4OKwtnuytxJnpMxO/gTI3uQvm+UCFK30E7x1b98z5w3wt7hxCLLxYcBgyrrj
Tp27b7JROnvOJiM59qGXgae4txVpNEtLfWK5IAK+Y8ELUN7fVPAt5X4qzdr7nxWLTle6YoKLrFpD
G+HnSi4jr6lXh7u27LemGpPhbGR4zTLHl+CEv2SfrssyavyQEwH/vU8UOQdaVG4GaYM09tNWG4DQ
RUeyk9Sc0h8ZJHF6aT8a1h18jjcSbeQGHa1FOIBh/LJ3k6oWSQ3KmlYNS44/scfs65zL3Vv93WoZ
3XT1lTCfVRfX3OrTAaB3OENMT9/6sWvgGBAkePNq98GnlMftq8A8+EaJvcAziUjeW44IVwe8mDBp
gHzGEuMQ28J7I/7FdycjEb46MFI82pSJ9bzjnXL30rCyNhbfIim8/GaxnJeq/nt92JbuFm/x/tuh
4Z25XBvAwEqfvOwyY5E/mMZsuEn08WlnnCyDvunTe85quoDy00nHaf/JORS2BnBh6PU9vZQakAre
34f1QWvBmApgGIMSxg+c4CPzPjf7vK7XOpSD9bNX6UEPvFj3de3OjzYGrJ/oBFlyfWd8a0bbzFy3
BvvweucweDL+0s0hQpI4QDYbXPg5dLLf7nVt0H5YHPDh+UmiNNqRGNOuPbq3i0V30eiK9GiOLtBj
ON/RaUA0BR2GnGlI0pu6ZZadZ2Vi1Dx9jS8AZPa8T0+SR/QCyEPP+Oi8QJEB5pk4w4s2cas1eO0u
DZ29TpYjSd7Zq77ch+lwHxnHeQHev9wdw+Rnx/h5/6nLK3WOk/VzRKLhN+m7EGroIBpI1D3caBiu
lIVpokIZL9tFaQvykjb04Jx5hF9uVpNTmCzrD0DxCSe15bBw6osPo5BcmHWe7SYHnCmga3abd+xc
2ueq/a7a9Ebwoa3aCcQhoEIorhUWSW0GtQVDGvKLuNzeG+1Hk4oKLtn7bnODi0n5bV2BfSuYdPGA
P9v82sTj64rmcaSP0UDnfzfcDc8VwPZkXvHq7Wv0mDTJE8gWPm4d4pClLj8ThPYzjM3ZOTT8dP6M
zv0HeJtp7Yb7Ph4pUVKzl7NGG0uY6BRfPnYlt36z4OWWtxUPpRfnNqkxsz2DhrmcFbHpJYDGTmO7
xJckd0oa6D722UCwlW7g9rSIKg4ODc/ertM6WE1WZFSmm33CmST+TPI+fhImS81y8/HHNbHoMD0s
ZRHxT+xmpxgeTo6BwAoI4pRmf5/4/PSuKBMcrN0vXevDr/YYSx1aXniiu0eBRcXrfbbpeB9y+98e
HJ9w+nTyb5d42uhe+RKDL9/sYeLsmfzcDWrDYXJ1kohXSKlEWRwv21iwbq8zVjULjS+f/5EK1vB9
/XnbbKHrrDm6e0TxEd9kHDvQdNk7KTvFKjfsT1xdtFrugfU5Ik52YA/RfTnZN4onBmL8D1V+CwHY
zGbuq+gkjObB9FWsqhPhq3GJ48aMGDSbmw4/32Bae8e5Q2M2s0iXiw5dRGJBix7nk6K6fnAfWMlY
S9AQp9ar9XbwJJIHscf4mWI0Bvpd6zUWyZ0aNPttsQeXPdbvyOiqOBdHkbWHbM2WtngS+bhKZ4Zb
BenzX+36gP9usToJWbH1AduyNDtCLgFB+65ggsAuzitWwj0/s/3CYsJazWlrdPkeeMCs2GWPn2ha
0ePE/nph2gCaXa4MzDUuLF7f8s42sqKU0G50jowsLArTflKf8tKIw+9/6XQian3CK5Khe5e+BH0D
yenK4KrWNtZvO/19Obco/93/3nnkcY3nRK2QgSsiQjpUbtSjxpTXU2UoPx9mP2VBxhC4DDlV3mmk
8RQVQMnXCY2GI4hGi5BmGWtIZH4DKfKmr7EfldGyHUg8OqrYmVFcTyrtm1o9WN4OCtqCKpVldgs7
1MNki/5bQePEHJTg8M/u20N0nBzVK0Tmwynr4mHef//SqkH6o0eHHMxE/FWw1fwCB2yJm1CJcJiG
jzV6LIv6DmMDWjZZ5uDm062GhbDaDBOJ2rDar8WYInVN13TL8/MUDDlZ/TUQnKn3i8ytmlFmP55+
bWjK6gHHAfqGwLwmCSxqDhPngmp9FgF3QzPHA2FQ7anqqpEPEuVAh81uFfF/INd0kpHn1WlB1rpS
NWkO8CZGzUOfuwBiEBVo+YOj76Dkg97OmEg/RXW81cR1k+/ZdYsCxox2n3PdomqCl1YjcdImFhMw
hpFNectgzblvhT+XBjSlos/64WW4d6H+iNoaApFdSkJ2I4gBslMYll7dKo/4D7IYbTVx5GRYUMW0
FHWytawLeBQI88mdABxuOGsAjxyxpiScHn/3MKW1Hgp+PRxjBG4ilYELns6Nda3dmL0n6fCDgRDv
Lu74eGNNT1YFOwxPJnXAm9PoxbkCGZ2uuL0jNjFnE+VM2tydgqqtSnRqWss1YTqPWospGNBqxfoh
UIEnVwZqrcgwWvYXEGMYrWXI4uDzVLTMEA+BdIhMLtd1CDNewwIZYvjuglLCmcrWkJY+/Y0Bkn10
C1EbhGr9iV7R+Yp8/1XkZ3AUjTjxkSngVYpjKECDEd6d/aTgZR8A1ahG4dBBrfkWPjmG4HCmeC73
NWpydXGqo86H2GmvOBg7TFdSrJJ+zsuAIBDZyxUaNTXIgZN9zKwzIxg8nboUFFfH9ko9geOQoWiv
vFb/XJDPlZoFmU5XfQE9WVTAQC3eiI75u359doyb7aJ/6N8i7ELXu/6rwkt66VCTyMwCclHab0vf
3L4Z+xOtnvaUiA4C/QWLtXqigJ5Cvd+LH8E6Wj2BMhuaq4d/JAifb5vhVNrfI5Uy3vWXwGWiqtdn
rXXBOP4HVKriyOeufNckKM9s/7snp/9+eeFMHJg7m99fXnnZvkG+sPeTLKyur9v0YJWW7ufGXKIG
JWmEXqLPjFAjbigNeup2FiG17iC7hJWBQTLOX61PdfsF5Z7DqNQp+XjAvO3G3Soy51K3HxD+n85r
XSr8JW04qujrcMnYa8NJT/6Bqh6uIhOp5+7Z6L/QkyTveDr7pn16dSpHIBFGgJbts9nBWsW/SE0E
CYWqXV0ndXzA7FeLQFm7EC9bRffTQDyCF54RUitt0SjNAwqwGH9pw/IZDvB2reaV09LdwUi0jL3X
7OZHn34xzobdDk0Vu6k9SvnOOY2QO4K/4ApDaKTUf9SdCwNvGSH1YK+jIxcUg2ozAEY7NrMPkPOu
9mjQeNI2k+UK4xWrFCYspmK4MmHIhL+R0L4avPDQ+WsFXNuzGRvsCye9eFA7k0kF9ZvJY/2UjyCj
toNHObq1rM6n6k7qo3zbzIJ8y545zyqDN11uIkxWtW81N/9dEtDp4EttoveU55sUGtU2XlfGN+Q4
Drb/VFaXN/15hfsWTg+/D4T6RL7XpgWS3bYUK8ZDGC1PcqzDLzQbhmRi6grAUvrjS0Qoh8KI4cTj
zUxjDXS2MT4HeUC4IjqXfLN7mVVRQkgtJCaB1sggai3rOXsNWkgQ4t3Vt+gV39xRw4d86HfHyO9S
hWMaAmskqlt/UmW6Qcp8t5kQKyFaJf2wt6/tJ5VdRqWgsFLdmX/kVvH5S7vn6UgRg4YLOnWpEa6f
rMcuzaSHPTV7j+11ll2jd8rU4fqG5soo217cSk/pfbPnYigoXdYzWwomLa29d5uIWu2J74Ba4Aw1
bo+lfpK3AZyfhGa5kPp8dvWe/fWa5omdbisv99zqfIChKRLQFmGh0xLOQxCpERgwmvQQYioIBwuS
hgSVTK5bk1OaOVsLNZGXV42AOHuYms5mGpZDc5VvRJVl9gAUhiDBqd37EE1Qgz47iHRT58EzAaUZ
q/lCLPTpcXe7yKsZYUK3U0hylVPbxOpEQ8ZsXD4bsXiJG8yHshJI8wPoR8UbFFewJdxWqT2PM2AY
ujeg/fRzxlAN6isDDA+KAFM8SZceSICm2gnEV9Apc6mXabP/mS4hqzEkOAR1vKbykUfIA+3nW89k
uoqZGlwveYJMye+cgvqdhg01Wh2mBOv8TqE3MYBpt41eda1xnWR4/F1+QgZayVZavedWVIsKsWbn
VO/SckT+hQhGxlU8rOq6QlnXshJ6MnRTm2itNnpFhEvo277NEgiGFyvZls9BmaA0Ox7dZUNumIgz
HSdJnCs+tEZnosJWqc4s4+8VCTMCyPmiPEeqM3oaJDpHGAblHtaeN/oKF3yJ7Qr9ev21WE3aiqxe
5o852vekHg1OUfuOC9Ft3orAXgD+aXcX6O0Us8+83Kf1TZ5ytyrxzqcXbpf7SPn9Va3mTyP6zHHH
RXOqZLXGf4i+2fmq5SxjNQyWMTUcjpqjHwnIMaXOClMjhHyiQ/5EHPEocNtYmxddIyzs7SjD762w
RrB+MApjEEy7ScLUnW2t8zOqdJrDwt+5OOmd+IFW/wf7NfjslWBn/XCb21luyzHdbcGkweYS0AjA
ADSur3YMGV0NfIPPxisvbQyGxeySRiUKdT+H9r63jOthS86tk3Pn5DPJWQ6xp/IuP1iZtXE2O/ZS
p/DTkRnQsA0vMbWiG9ftHyzvFDWhJTnGPNgOnijhnX5OXP/EpNndtAeD0eA9rWEWiEGcOitstP30
yiYABcV1kyvNV9jrtQu8izEEfVsf0y42tfgPRkNn3yNUF1isFTbOg4vL5g3pAqG8pX3Z8JNF98l9
0UDDdnSha7y9r3Y5Pnet/r5pGSg0ZjVrt/hr2oghgIR0ip8DOgaiSiBSzZ3Sc7mzDM6yJF26Uiqs
hoMmo+KGyBS2EU0gwF/+L/G3fWKYg/U+g0YAzyUl5J2Dzl/SC/Jp1h1kvjnU8pM5pr3F+C9qBdV+
vX8POju6O0PxHwZ3vXQlriw6DEf/5ujd/6c4Y2AFNIAc14A7gO7fhKH6mazPJn+4RncULKgs0HYL
IPeNOkS8Jy8nTssf93zb4Tpxl1JAg1FCT4tVCdkCob8AbbPKoMwlibkyGpTDY0fHAJ/Bsn+fHici
kGcV5WtQoAK0nHkRD8I2m41696E+5fDh7oZF+xeOeWVWQWby0K1WOU0LfKcaUbra7ga6jRePYRQs
7BN4Z+hAQrUQ64R/kTkhW+zVZzRYZNKczHpiRFjETZ8Y931IyDv4DPrvwsUdsM15de1ki2fAEuG0
mrFlTDDLMuv1Rtu9+w7abbf9838ltKBF1pm5kpYlzTpiYc25dzjLe2nvzdszVOyzxtu5t2SX0lKr
IKL4Wd9mjdGL3Xsj1fUPz5BlC9bHgJbYdFIRbDKFSeihAItqSxL+46T5CZ51Zj2+/cQPsnYvr0QF
YC5d8T0uM5ZEtVcaJPR+e3CFnmwwEg67/OSJlKl04mWMICKd0brTojaqM3ZyDnDgRFKj5bAWDwMl
IoyKYTbZhBAXsKOv06ULh6efkLxA16FdGf3tV2dSGHYMN0uR5b4iqad14/01nBYNJXf5I+370oIN
9HeH5gNxiD1DwZA5mH2urhrE1Kz1INsoChDK3MacpcGO6Juk5nmUT+XuKgNUYwyJaIULcmIdGcQI
q99wYvyxnNK6j4XdMPM/mO+6um/ynzPxmjx3Gn9/LbqlCIDRYCUGd1v40EJpiiVMWsFq88TgqM8I
2ugVV392nXd4GyynR+e0OI52RAIqy8RubJqdQ1CffBZ0NiB4bu04+pUtZwHDakciKe5T1jWcglHT
M2PkbKuhoqxERfSplu5W48wpbCZCql/Y7bd3DksOc9MGoa77oDLaW0QiYu9O4oXYwrfnn3bURvXE
NcJ3h7awV0FjlTyYoLvlUweEERbmxV52RGUg0KGIMgQytXIiIXw+LvToHYKad2I8o0wlx0g1GzR1
Kh3sBBm2S+ztczWY/BHLA9SCcT42nAzlBhYiWVQGViGP0eYwReV1h38qrejek/iCe7OfskvS0RtV
GtbthkGl73VVnOeOTt2x96X6ciDcbJDC/pYpQHveDgY1XBP+07gpWTw5/KgIFy+p2muxR8lbzlTQ
Z7cxulOBhwdU4FqoKiNE9rukJ7RD8+Ixpj3pM95KcwiWi1fsSGmaHKRQV4Fu2ZcMstCrGzHR1c5R
FM5oVn95NHxjmxEm/6wGK609HxHyB11f5CnoDNJhYSKX6lGtNOQ8P8jkmMwgwXRHK4jZ1RjWC/oT
yz59CLoyNOz2q3rVOk9oKj1QQ6Xv8Xf/OW8u9ObiPbEzhua1zdZVMKTMrtDFrBG3nSUYoH8YFyGk
PvKs+ArSCcvrAqbTmEkg4RadT24LLDVurV9y0qOgQjXy7p4nD5rAyCPctzBJtyRLvID0yU/hZwaw
A4+Ykrn8LQ8bdOypFs+JiKSHP1nIm/45PiMbkgZL1sjw0ueuDhkYn8AER/EFxm0+lLJAyT38lZ1L
eI6rYADkjUd66UnAGAdcRbJtVMxg7U0EGZUghr0ZwD5CbH3/qgUoMp3R+oIlRy6EfJKCweW6NdVX
4NNDngvuLBlQxM4pTZEiIc88RWRS8G0JLDIqp74ZnZHvJcuHDqdcRSOrbF/702d3+en23n4Orm3m
1KEnQCuQYnEd7gCKO+5tffN2UTWhkAQOWaMzQc+WjjdvKsYc8li0/Uc8+lXaLXG6DlEIr+Nc+2PC
Z6pRTOVO5RE05ywuNhJzxh+xnLoiIqkTiYzJmSHmnVdeHX+0xhorxqYW+WJHWT41EGSmrw/v/PnT
Qj8um6HYDuSwqLVbwAqLA5U/fAlWsignB6h10gil+AEHMNb3X1AHCODDFqf3EZ1I0JEW+AxcUBgn
AezCPcvSRWfTQXOoYt/GpwJxNaa6IT2QwbZpxJBILVc0nqNP16SmGe7nn99LbOIkTJvbtD6/TaR6
OrJNBzNn1PbjnsM7vPXq9niUlXm7xghvyctAzkHY7deCQAGXfm+fYbQxx+Ede7UV6c4V7mDqKSAG
pHmci28meotuK2w5/MEcVsiC1wzjtwoeIiRutxmLIEqY/CNRCsmEUrxZOYb8XWIvM4Kj9KJJVgyS
qccm92qBxKKbXjOgSxQdx4ZftpuQdGHbpaGmwUrr6wzIe1TvgjiF1vwmcw5mNJj/rcPPq8ZAxGIT
8KHb+6gJaxlNCFvtm2ybzwqYPCzFS9BYWIfty74SgoX20le6IewSvpp28XsNm2uCo5P+fdzn0rKP
sJTfzg9wptVqX4Y/uwDKGd7WN5QcsNh2AImcaygZjJNrbJvBhXGzkvMM6TFE5Y8c5U9+A+ptYEeK
K30kwrzCqpA0BnRGYAvk/DHa2/N7JD0baFp0w35psRAD2snf2zEGcwAL5+WmfU3HN63nzilVnOrV
a7b8W8XfoQl975SfIZmqkuFSB2Bhil5xnQMxd/9EEzY1ptGYjzhpMpvzIIGsu4wb4ZWncSJgY03c
lQC0cpfDJvU431lWOk3lFWrGn/kZT1htuOXvxWmA+yDCQC4F2uunq4zk+h9J59WkthYE4V9EFQgQ
4lU5gxAivVCEJUeBkMSv9ze49trXXrME6Zw5Mz3dPbh3X1O5Flkqc1QZfVaSNluNseRi+D0TA2TH
ct6JF/jevv0hBIfnweFF4aOnexv7WSgbpqRNUh/xjJrhZljSV5avgEUeIPaxHnEVV1k1kn2wpKwi
6J4oLpbxxalOxIycucNKtC1ZpBysCa9GW+zB4ddiOn0b8fxqWgmNbXx0SpZPZZxWjaRlvOPa493L
NHTyRVIxDmH6snBxSoT1B2bSd+dkT1sozZhSmbOFlGnidXae5KGWAMSDEfcGx4ngHG2SKijPnM7y
sQmJuGaYGKVCi5bCrMm4a7zeSUfJjQ569tDBWuk7cR77bdjdH6cpb1nWgki6bu6GZq4QWK2sRScM
HtKvVQwqwSLv06rL6UPzkKd5L6GWtkdfYGsX8r5PqxAAwWxnX0YxTxkbvulRCtGD9otBRc+r2/YV
heVGU655ytQNmIt1wG9h1Pc7oUaGwI+QcpPIoOVXXIwDGP3+XF8+SXu+jBueLB0mofNFAGXNw6Wl
oSqNK8nd38IFMVoJytQt+ilPmT1W7V3NUaC5Rcg769Y0+br+cdzRkWedyFgYPdDEaQFaJ38phArk
F6zqBb9hOo+DvUaV2TCfaTPYp4wBvzkKaTwqpEASIy7tL4CQ/bA6mH5gteGsN8J70G2b9+C57pmt
ecNkF3wj4+QKhF3OpLUoI9gx67M/DuYz5FZprddTXmT6WLQyKj/mz7/J5GWEN+ruHuuKBApO6TdS
3LvJgiZCcnDwEc5EVVZoFbUi5Wx8KMAxtZex5RlBk7fIpeTuEiWSOtVoCDGLvPvXioQ1lEdZfUA5
1f37RCk+DDyOdSI5ZVID2pDKmLuHkb1xT9jzJVfoPwivEVEUu8GUd82WxHYZlCld3UBzWdVhHRak
nXuDSGp3WV0l3ZE2+f8Fl3zKcXYKeySPmNytq+xIsjbhwM5XKi1PrgS1geGm8jHYkHSK3CPjJbjz
EX8CbtjbkpM2SO5LphrIshcepjAZkQCQd/ddsV1pYuIk/hPCwWfVk5I28KnvewXvgtHi/GKreC0K
AclEZbQABRgT7/smE+nxYRZ5Tg+9GMRBVrjO1eGblHmjQ0S+T12B6T9BlhSW+MGNylBxICpJeh71
DK8hurMGm22fimqiyxR02YkEENL4rlk7XVNUaMJDFKQTiY8jCHsfEET4hyLnkRbQ/w56gy0txtWC
6tQGDYog6PEtGYAiJSe/qPKl0BL/KhxmbCl3RajEDGwSNzoIRAUBiCSCSK3cNzk35cpJ4n3iyl2M
Ryaf4868hYgvR2pDjVzoSR5UEFSFN0ql+wwaYRe7R7MaXHlDtLbQyPXSSwjK6IBt8Xjp2AmERHbF
BZfLIF5aQrkUCB94li3Cm5mwGAIBTEijPBng3RrU/Bw2jG3e+htFxMcmqLmincKSgM4D3Y8fc7GL
A6Hw7OELQrsSAurPZoV0Z43zaslIKWlKHON9jP2h1yNVlK7kF8hRXr4AkQNOZyL521atmgh5J4AL
3hCt8WKnuyntB7pDM2YKiDpDbkEXDZZ8ySQ/mb6AwFHAyxxjaGy9aQVBSsJhUwjUouR74Ev8GCqY
1gq/fs1bxANGKKov1L37oIjP7vcn3pLh7qLSyHFPoHpNGtTyF4fyWGo9ltDu43yjCnuqFVJ9oID+
8JHV6+aa2us10NzKuQ/Y+HEr+jgdasfn/OafcVHR7Kwi+q6vJ1sNtOCdNSFrt4yTf3NewZeg53Fb
SHyBM7yn2/VewRWE6kKNZWRLmHG63wze+N8TQPKsYSYEgN3u8kdNCEWYc5sZHLKZa/C1YspEjvTk
3KcHGGNTVhKKnOWo+I39ZgfwSgXHOV2I7pxrLdLM/vAQiX9MAYxUTPtsII6dCBgo+2LnRQCQQEeQ
1/sTzS7GCokIhjHUfie/A26WZzkXMVWmrFjiAsDXI3ssbmxPEfhjY2k9oivGv4F4hd181YVPQT56
4v/alCfdFRA/Kuu8hJXz3m2wL6XXftnRnqcpAEPEPI97ziHGRiXEfsZ/rD7Wedjya1OxL/Fyk0/y
Vf6EimDuoaBy0mnQNbhOvLpAftJQOdqgYbum7se6g4kBYBHj3hmGsjtYnwwEButBfpJwkT91w4fk
tMJT3vMogzNhG6ikY0s8F6w3dn4iqLA63oh2gjjrkYJSR4jVIwa3UOYgsTl/IgdQMFLZQPNgRqSx
M6yGU8PWJ/5iWCj523/CDlQQBGdiXZjjWoN3gxhD5JakeFgqTKH3Y35kosevIYVQ6ZHmDjF5ECux
VYxvwjzkifiLD3R2NDZTEssvNmI3pl87oRP7hsvws+XolKBw0FtJh0MW9T4dGwaRYsQQbz4+vgGQ
Gf0NTRs+yrA5fEEIVamkv04PLqeD6wDGRyW2MfBzdegg2NTg2FihpxHy1x61cDKPV2d7laWkaIW3
H15pEfcdPtYT+YAkVk0b2u6Sq8jSGJ3Ym0ASPnLsLG795WBFrpxzH0CXC1mEHIMCsrw5pzCAW7Qi
dhpLX8bJKO7VBHROFBcYgpNoOSI+Ag1xi0F2D8AmFzAWcgEgY0I7A1AY98cZsntqTJnBupTS5Yxe
rhkcB6wAiYZYBm4vWLT0Qxk3I4g0kyb8VFmSlLIlRwXHHpM/to1QovC7BYAtSDMnyFxeQJAsNHmA
TuzadZqmxvYAcWHLEUs3h3/uA5LyVQsmi33NIWwmWqQkJOaMkawNwEV5kjuZ9dJCByCQj4pNOx+J
/XfSSR4kC9+biWaB3SbnacuD9RHfOQ6W8Nvd3lYy9IujoDwFycZDixjy/xzhmmC61Pcwz6HTCGbP
L8ltl/HvRJdDl/xTSmx68prVJy06m2f7TIySbIcdxKqrmExbhytcLNQffgSBjiTsnsosnxqpwiVr
DI8m4LakW1SAaAo5m9QRwWwsWLzLeLcgIax46s/FURA/Xo4LM5Zy4gF8UvnNUcEIudDtkpzk6bGp
T1p7sz2+VE6zBxdjRgWsdG3GjHDiNVRPRfh2M57T3slsESN93JzFQWnJpFa2Q+YDLZqT3JwknPQe
6Ts3laDI/acgIhBoVjWsHZU55s1F02m4JTI5uaZIJi9g+CREAum2hw+HSKGO5C/nFti8Cq754rw9
kOq6ZfKe98InJ37OKd/ePiiGreu6GR/X7zksFXeiCTT8hKeyjEvwTGBUYu05pRMBx85VwGYdAFRC
N7jbx0IhTyDCeicGOCskjbyaeATSWmkbx6HEMmIYECFaa5q4YMSF4U4UTjqSBHpWzErObd43ue95
UJK+UkFGD36XepB1evEk4SAHc3Y/6yUOASpw61bpzTWJP183qzu5zhWzxig6/MRL3b8O2xAgJk2z
8GLyZUnnLsYE5L82xP39zM32mZ4x37ttew9dNn6K7KeedCaiaoTTBLq2BKnCxBBVBye5f/AO3rVj
z+5WBxc0WE3GpOWJu87W7MT3KbAq+SE8G+MICTq6IGataaTa+8Hpj7R92Ag7ML9LdmuDXEbN1Ai8
bc+eEpy3yxH4mkrfiGex2kw4kiueCPwAfs0q099/rJaz2aMvxRJhFacNh04V14+0dSuRIafykMuN
On7exNoMAeAYIuwHThmeQVhBgN9CuHsz7/M6hgh2ib+wYz/0f2zh90+fIaartEXpPaMQ1tGjKagX
KFuBb0i/JR72HQx0qlV3p0I0g9ge+Jc7AnW9Tu+SG7y57Z9F768BhpEUL9O/zg8gfZbx5exn4bgK
NnEcH0bC8OZrT0YsYR5MDS5oc8lnYk4pJQYXAGJAayAdGIRQ3hNjRJwY9Cq7sliM6+BXxmC6S3p9
yGRzcJ53WCosikyQ/pc/oQXaSbSLyUhaeF+HMWbmGxW/KRwfUV3BNZMVBaVHhEoC2ag29at9UnW/
bakktxBbLaPvP7eVc9Apj4gugzpInmtyDr3nVTeDwkZGgZ3oa4IXDF9Bm+wH1J6q4gRMvQeX6mIi
xz22+/Pe8DlthNjPp2p0nCgLloBHuGtAJ3mS4X5tZvClOZk2UV/SJo7sysInp0sow/MDgokVr/b8
URb7hUArIQvIgQmPIhJjg5IW/TeoEIjiYAGbe6uvAWmY9EB+rDFnIpd+Tuv1eaBM6/VlbxySHGIo
0MFfc3pKOsH77+0o63P6okSv6PwdfMWVDOkRPWpqGppMhMvl6PCnEoMKEG8RNC8ZTQONgDYOXCFg
zwu8vScggkJsEtYXADDsr9q/7poInlj7LHf/AScqAjznv/vN+c6qzXlyvULTO8mUqxN5j4jEtUAq
amCkDlKUtl+Gb45tuviTanIdapujDKZtRFBIcaEr7ZY/LzB5bON00kpgMkPrvYdLZdKCf9tAYakG
6u/5hHDbI+oupx9MAuXXJem4VcSnvt50eqTrG/p0aJo09Jz8b8/6kIshGaIijdaMhbDO8RhsEhfL
KeDNKyj8S/i2ZYYH1Iqgjw9fUnFiruDc4YdezZaLYqc4nYW6UCMYRqDkgxf0ADwgyrPbGECYoypo
G80dbu8r4TndPDRjLNdl1JpJn0yD1if1R3+AUS6sxU7Uib6D0j/v9hOeEJomLbnXroHPEONsXv4y
K5MvIurjallDJhKKJmfKA/k0wZ8ADrd98Orpk8kRnuxO+q64SgmZqg3EC4QD45JgLbUS+m7YnFJX
yt382DPeeHdT7maM5pnBxGLysnWCOD1W/c7uHi/GT8PDDZjxRSaAoxGnV9s3Xl53954oPD0Z9ctu
on5kUBZpnQoYNIeZRw/+CzMv3+3HJTgbfAr4rvM4prI3DVPGrDK+R5rDsrpvhvFIstiio0qNfPH9
mHw6zlwjQRh+nWLLbu581Ay6v8Jva/feHciKUXeFcGccQB0IuCnmnGrackIF4vCHjD5RYPq+bOH0
49wNI4Z8Ebr32duP681h8kEO1did51X8nH+jiwUtmk+zvxrNGfDPkJmTYG7xJcbTT1BeSLdk3oM2
591AHWjpUdFh//MRIe8eYR3WmP+V4cU9uPdx4RVenX5GrwEMhvg2ug4vbh8opOcfKMIEhzkiX3Xy
hbrWjozWIysUagQpok1W5kqPUYp2+WJzgVvjHhvLn14ccSt2nJTbSnyZCYLRHzP7gCEIWW9IzVas
6dqvn9NlYQtUQc11iMRO4bXmFYi0OVktIVcLMEIbUJ3Msw7VBroaHBs4U+Fd7Ki2mFKVuG4iEelq
pin1ynJE1ilxfNnjf7w7w6W97Cbb7Xd4D5oj1frf1OYtY37NsS7FI+MSAEi4w8Z5d5u102owadDp
vbuTDljlnsOxGoAUzJuU0NxnAiUZ55YFb3Hk9kxp9j6BX9Md6MsaH58LqFcHnFXQZOn95XjVpQeO
JZp7v8Y6iMSEEUwyD70yodzUk1cfmqUMup2RGXXNbSIIDdnYhKUHQBJ1mYEOy6DkTMEBYaaxPlYC
nTQnCpX7j8Yk9sJwDiZtPdhiCIlftth05Ah3pZdD+T6+mbBHqdIjrOxFbTtozIsds5hkLnI/hetH
d0myFBH2Kv6ME0IIU3J29VNBD6BoReYski5atMYb+0gCw7Sj8bOHKdVpVlIIWeIjJJbb8M5kDpZs
HKjBC7HhgDw8bCFmcsm8XRLYTqzE73lBxLjWdH5luBU0lovQcp5uE16WlJqYUPgfUD26HU4efWh1
kG4kEAnm88pALiLyEY/W7+bmhtO5piMTgPQP5b2ioEOCd4ROhturwz/NpbbFKjsOO5vvrjOTndv/
49C1b7QxSW7yxYe7biqhFE6HEdVYMj+MjmOcrF44GFHrWgB8791TRAK1TW00rG110AX5FcB5utmQ
Rs+fYRw3xwIT0919O09ULTaKDHs/K9PeJPtGd/M9Ktl87dWbdFEwVKQDPp4ubivzV9fhebhEbgLN
h3/90lqhom87r5n0Zo5AxJSPs1cfRfqjNGVa6VKPxdIuRvMxXK1iAf0Mf471gkKlX4YPKD8i4flY
MR8g5v9zq0UAg4KsOaDIDcDxCuHR0p1yAS2Ravin0cFdZWJG9YYvvMppY4HC1mEssQ0WR9Pke23r
txEbnqCGTRxzaYZL9cV376YLJCCF2859Z8r6lknRw8awxCoMxL7rW9oAM7zp08TOcTpFEYi8nQm/
YtWH6xkfiH+xYq6K3LCPtVpdTXUqPTO2U/TYUyGdKHhznvTkU+Iys5LqFS5J1+vE147TIq3f3uAX
sJ0EdQM7E77swaudatgaQv/DOgS2NbMyFVqNMheNnI9DP4U/EgftQe0L0EaB4zXCWoi3wv2iToOL
NTiDnYt5zJ4P0/KXmxtZ6okGA12sJj6FQvHGpmcqtmWavmI48ITFE89brMjDSBuQ27KqWTDkaquH
7ifIX/tObQtgwM/R+rKkqG+YhBlYXMBJEMrstwO8bXQnK0Jd9dcMwIQsKXLOw9q8xKs72bXYD3S8
TRiXZCgFsrWHdYXOwvU0YQvBSyPAee3S5PwQ7CRElGFau8+oGdIS+yvS/p8gTy1rVW4vFvGdkh4c
4U9xpYyCSDZ4OAqv62aKyacHhYuYoTwVXwjFNEBrcsD/4GBdGHRLD/SBOP9Aj2jBlEcEkIvP6G6n
gj43ccTsOnEMn4KkG49kFFjgDk1YMRwre1uCsjBUhNm15AS5W9xNgNgkIE4tGAlAoApx6f/YzDDV
J/C56JG1uM0w175pScyBeKjCkbhD7GWKAMV6ZMJ5byBdH0TUYZNJ1wyg84NR92REOBh1Myd9+dgm
pBL8jSLa8IQ5FAkBkxAZM9phzuOM4Y5YVIq+XmIuYwspDFx5NJPHRlgkYpuEsWweMnvlbPANsTFA
kU82pfmMYTTT3zPbOiirRzHwhg/PwqRz5tf+USr3wt9DWQLwRCsvlyIAPF4idRETP3GGX8BBNc0g
dU1eFgY+PklRbVBviNURHNCK2Ve8nSCJTLQypU+SBK9+9BTPZS3XSZ+AnwfHuLyaR/zjZzJpUIDi
/7W4SlQ+QgAGVBdCn+xeyFmD7rwMSuptKWLl7AOEwAAI2snB47Syn8mbYtnocRRZ4rYsNgOwKris
X95EEEEMsRmrxnCwPqR+wGnsgnzm0zzBmZEHcFMWSIhAwRs4Id+GkDIAlJlrMezzuFwod2A1hdsz
QempyFienO4jaUt0qAIdLT78wTS8/PEmKcg7U7zzmNwEpozVHICg7DmqSfpKaDtMTuk6Kc/+YyPt
BSl5gIYkqztYjAhOsyxGSEdIzXXPY1orlpUMt0PQLRRo7GKBAl/CZzYAH0kvM06hr/XypJ8UoyT2
MbgTQlIH9Tf8EZyGJmz0+8H8ciXDs2Y9YHBl0GEe9MTp73VxSdR0Ehof7x6LTtrul31yupApdpOv
Hx9WXafrF+Yhnn6ZTy2AKgR9q7s6CVL5ZSjSjq7nKRDYQayxoWMZ5KW5kxKbvhGFIJ3ImEPRz5qu
L/Xc1cyk+XXCo0y3TGZWU/DB9rdj4+O8CNzgALyTKxV8i09F13B6g9UJj4MsBxwMXxEJuI+/E4ZX
BFzeumXIbGWp8C6+lMonWFnJFdAICJE8zDXekWsZIWsHFlwChSFreMLdT3fSpxIi6BnqmGtIPGR+
qtwS0wWc1d3daw0N9EJeeCALo5dwJ9GStQpZsRqc4MFZCeIFhK1bTB/CNmORFR8aBYfnoILG0iMk
SI7E+hc6ibiigOmY0c1csI+WFitKLLRZkyzQ2dtG0kbswFFKqgtSmMFA5mnVRkSSc8Mdks3iByaZ
WRKQZElLBTEGP4xw2VF9EqyI/E3+2jY1/+yKL8ZoJONV0eNAb6dvAo8FJ3QbCT5jSyKyPzFbQ0cz
WKM0XeXj50imTsBiqv3og8gUN3+ZyfSYUbVq0KZaEL7cw97qcaeugRJd8H2JTnQt6dqwvzkVXXmM
2WZ4A+qZq74v7DJBQwLy17z5XRrSOcRG57iuwLjoF5Zcuyc45lqMyJBu7vVSMto+8mv2OjmtXbt5
9HbeLGzAT+J1KoP7wrlhpDQUKZYTpN9GFmLpEA5lKZwxDntyaNG5uAI/cQCbCwa8kqwzsz0DfB1d
nJjlJOTYpHAp0aF3baXk5AymsN/TpyYCXf7EwUzwRRk5UdPrqv2+O6vg/shoP8IvYdyk2Znii3jX
1zamebhUYoogbjnoSyjbCOOMgZK+GgY4/f/9L11bKImWzTR+vq1Pkh37HjIesBB3Q7qAXXqSmP3z
o0dsV83ZhDy/620nkfnAVoyaE36vYtksoImGdA76ORI3fB9dJtruygR/Fu4/aTgE4GiG3gni70mH
TF0iuBmqcXvLH1i/YKbfOdhx2N12x9oL6Yz+fejNEb9duQPjAJpx4QfUV0uLPBnb/3Gjabch7HwJ
icB8jcJVRp1RI2R62seavE4Gz0q87MQvtz7YquI+gQObOsSO6mT9eKyvlkVbmQgKW9Hp80IkhlXY
arh3QKbwQmMkS6WvBVuAo1t5Ub/kkRI88KA+3gRRZXNbTZdJ63VapoAaUy3Y05YPCu8A6ahEa0yd
+a4RYH+TDqTAkbfoc6uOC3iF+DptQqLr2Ws8jApxMKR+2jXkecRPcm6g8z25DLGUYLwHtFxaNaAR
yJfQIl+DPCLyALjdWISMD4YYYholSL+V+1LKqvad7ARvP/oAwoSRXjCf1FhlNPoA6nARAMs/Qrzv
8ITpzq1KvU07n3Zhkw7y+Eu4uLHhGN3F90GTb/Tp8NOnj8d4BepNAZzbWx7740qXsA9/D29zT2u8
FSFoCeO3DBrDO5x/uB/0F280WxrwC4CykFA9hTNKp1Eb7W0B6tBpSC9gKm+4FXE4pd3C/FT6pR9+
z4jX6dhbedZc538fMomzlVdc/jfhv7ErvU/y5FqRU9PxeustqrAGzOQyEDYPeP0N3FAYYicUArRF
KNzB7XgD4Lg3nX4PqTI30uaf7QdJnDrNHVo9MsBCBllkF6i6lK50Tx9/58HJ5yO5BWnt3ZD877A4
C8V1QRI8lYT/mu7pesAsqiKhSjVdZV0HUuyeEAqI9oG7yMncVQHW+ElmH70dCq3Wn7aWfomQQD5R
Cd6iAPZu3qMvlA6/tyq2sCqojXwav5zdvD4sXPope/RHyNeLcY+6CAF64YWqfYbs9cXB4zoWjzpE
KZJZ36iJTqO7p2JPiCtZd3cft3a4YsybtrbpO5V19zobrA1Oq6t3ADhmOJOA1FcPpAQLfc7usMGw
jh6DVPAN7Vh5z6xgt9ifliPMKqaq04+Tm3ymuQOGSD5fmzTtAFy6zjKtrswTo8yi6swUGCGlJxn7
Y6TY+arvHEavEHCowOgehh5yfia3qaYKaTZ3ET5pCKqmwiZ5esBX0J9L8xXSMqTCRL4htu6qy40L
0l3Cmfm0MBjWRiyCk8Ew7aWeum3dBW6nRorjQyy0MQQBtKuTg9Mz5a4gKdgFpGHS/8cWGOmFBHtl
LYQbmlkpppa0EH73l3knn+Tj5HTF7unuOrgkaepb+NhjQEqjDVq2JPVn26W/jkt8AECG5fnHcMJ8
UppZfDWFPcmlESrgecCbmBAef/R2SfuBbxzyB9hJd1kdvLX45MJCEWCcceaYcNw9HIyoACXHOCAP
R3rGS/84ZywKqSlq1uWVGomCkUZpi5peGFUf8ssLj6tf+OsrZocUKWa2gUEZC8jEhyEULSAUcZVA
Y02yH0pK40ojnIBDV7ZLNfy1sCy+AcPJDJezV/kd8dkAp9Z5ABDmWEopK6aouel4oCC/Y3XJypCC
F6osNSKB3U5J0VoQiU4jSS+/FMLyO8B6MZRVIfyit9RGLnZm1NB0cNkFJaO8CAXZN6scFtF+BlAB
jSC8m8+hBlk9H0m3pWKZISXEzUAg6S6V5LQ0mzMsFcz53piDTZ89tQ94XfJg7piA+Z+Iree8I87v
pFB+XUsw/0Yie0egzWf6YkNeznQq4bJzcXt3QLa3A2EDSwc+nAeBTC5jwOon4Elbk8otoldHAteJ
nwFnoGYxNlioMMJKwYAUDPkFBbqwlgmjN9DIvKyGCw4Fhm7kmwZKgOOa1gj0ms0ScS5YL/Ooy98Q
lK8tPsgfpqhTileIu3pYoHViNX4FNUkFuUJylTbk7pJRVUqd0jV/DQ0GJDQJxz7eVTT+BQEyfFnW
0v+jrCGEXixSDlQ6Jme/DAu/riaABiJ9AbDE85NIRevkaaG/pF09+dKehnsTIcDwlJimJ4UKjezC
bc/VK9kqHC+ilawh2sEsESFe0kPm5dhZvrvtChbutgc5v+f2Etsn+qClj6WqJaalUKX8nn4aSxXF
1G5Gcms5fz3HKspFtNzjzweG+NJpozZ0GGjGUFN5kFB65Pc1aetCdR4KxRbMK+pOEW73qEWFlt4x
FjKO6xoXk//jx/vi0oSonOnoMvW7i28F4Ix0JfeuWDCSUJXRei16aUanxmtqNpxLL9CXBvtAwVRa
5oRTI+F69iLtlUmWNWwhUaIfXTJbpAQUwUKnP8caaRKOPfxqoboWrfYDEJsMWmTvy6ghxs5i9Nzj
tl/jI/JwsV2WIemCXj4nLXvJFB/EhDf0hzUEf3hQKBh5QQaiSQHaO6AAhzK1awIn2uLY0jZloHUV
Lv0BARaaFdwmRahVvH6IuBsuP8JKC8LVh1IbmJOMX95kxbxyGd/OFeHnO0jKFR+JuLd0WlzlitHs
v3GLmFlQlfOP/BCjpcfH+OHhq87wQLrK8MT+s66EDEcda9wZ/fmzRy+cBcJ7JhwUkwXlMnO6fxdJ
DAXwDbQYRldRt2hOG4k/l0rGKDFj9OKJscENwqzsIfwvsJH4cbhgdvnoC2ZiPIsAdUKfZyaKyZo2
GO3EeWEoP7sMqg00a3KrxDtTnMX61gezpjEqeanaL+N6h3BtJZJ3WQwvlgxMMLl5Ukedxgjqhbim
UrW/MClkxNwC71z0/qxG+46mAUs+Porm/7CWh4yr7fhoallMeLeJzvti998sqDJroTHosZq6bh/X
vYPRyXpugQmdPDcXp8Ef1j0ZYadXY0bXWWgDuPwoJibQC2mJR6cx8Nyk3uHBsPpizNA0CuIw0vya
6X2MgMPbmBlQrFRJ/mXG+vi/vSvDiPjomtkevZmgdoXDAwOJ89SQKQFdzhfzmcikuRdvqsftUlcC
crft0/wLBGDtA+bT43MpqgUsC9t7GVBRsbRa04opIb29/mDigPg6ttagGzzyxjtgOIWGYJyRVIGY
K94N5htjWUo+x9NgH28yUDe5ZydTahXZIDnX+jFuFMYHozSvN0Pdj4Ck4iCTRcJnnVBxBINF4Tyd
MdpGjMqPFoj+x6arv4Bs0Kb0PYnbCKuRgUe1hWMBjYOvjXbGovXZcdqgXtxj2mq99El65tyE73jE
wZm2ME2AGj7jd8CQYDHcFOlRhxDY7TkK+Ix1Yl6X+cZc3C6pyrQ+shL8A5gV+sSVfVCPlivsmtGb
Mh3xdjPyk/7dVsP3HHy1TRV0D4h6hEEydGP5x9gCtGYniIYmBSxOI0Ru+apHn3mHC+udp02Mig2I
DkxhdCpcL0Ehpq+erqKKQvsrPJ7jujk6deAUdVGvPamMqK/udIKvdBIaoTISSZw87h58TlZndIgQ
/I4L/bhG4sf06R5M0CH8zjVVAcyk7EUfqzVHckcp2Ahf2CXw7xXzSGNtpMbPtVQT258mV6izoMKo
6mgFUSdy+NAbEg4+UjsIhvJ83/kL/Iqa7TkFNjshSMevRA5EESMtHQkt7V/wVvybtx+JIwVbR/Cw
h/daScCWGNsFWOAwgDtEjHxNWrBSiJ0f7gAtWNxMJGxyTWj6Kk6bkaQpYm0qWi3qpTRrSVvpi8MC
IWTN4N0u0Y5Qz15CBbdrTAHs3JYL34BKWjCxHSgQUTS84ZIfAYP/7zv+RF68ZPP7SlSPJmKrcwvF
+/sxo0M210DQObuVZCbmOGLfIb2jB4zaHAREhYwqLd39KDrGR8xWOg4TSThlLeDZG3NLntYTcEeW
7IGWcmvQBBC4hQIKLBcnrzV4b5hCMHjuTh6+ifv4iq8G8Y4RnBPcNJLKDhAxcbe55MBRdJzlL0Ls
PXmKL81xKe1BEpzmiIG2EHTbfBb0ViQVtAc+oepjFjCpE9YghF8uHPphjv6DJyCRMsLU1TuEjaD0
G/Tzo6JLDpBzsYQaLKtE6L+F3x70Wnp/DyKAl8XvExZUuhakKWBsqn3JOoz2HJJN0OMXDLwyWMYC
iTSGJpUn7u0Z6OtPn0ijkGxql8KjS/5ri//3Rqnt5FlEl07ysd2J5+2FThm8H751JKuHqySIZjP4
0bYkG2r/MiLWANWxkOJQv0M751mE5SMaANA12htUBRgakTFBUV0A4Jz8j1BpX5SMzJBFRVCT0Kp2
KrxWmkxSz5xIn97GShgskhIjWrCO46sX0ifjoJapYbu3xQC/sdQ5sCFNoMadSl/lOOEmCFuYFdBF
GALMs727fWyJaCrzkQwhhMOBHwufSbbXr6A2qHVQfl5t2vcW5daVcuFN/ZEbtYftAKXVUs9iqe/0
+UkHxYbSwlWgzEbQL3kr+XykIGEoTVLvJr5iLVo2MfxDYbvC2CXdlgLkQbIm2aES0Hnku1QjTKfD
RlvdxIKD7LZsBUSz9lA1wYJ92hfCf0t2fgaXwqz5YnDaACgZxHbShs5TU4G84YwOm+Zl1N8tZ3T3
ZpUFGeoGdtwD5r16bYfZOLMe00KFoADHAFHB6AoNOrglnWl+ll7i+4+5O8Z5LnRPxWXiQ89fZVmx
rVAhxA9VX2WvAaUyEASq0mPaABvPKP0aKKXIzbh/HbczRYprQLdBM0bpBgYg1M8CIQA5u7hBSScZ
OvgH9jduTR4wVo8kksywRciibSFhhWBHEo4JfhsU/uA0cbk6kQSD3RFLPXX0n67UHsrrv9Zw9NCB
94cnxd6nfaAtvESHfY4/u1GSQJe4uGTgO3wPNyH6qoPDEU4GH0NqLYb8Uia3HHy3+/Aqz9h03lCe
UYpz5FPekfk5OuUynJyw5Utx2Nwwvg0HjMfvScJe9CbN18OReNfiJCxGphjb450vMnpuioOZ5lsf
qd6R6fN/Ihxi/BdH1SjnQMdXU4zch3/THmL7ri9K+4/IoHgQNrgmTd+lzRNUkJyxzEw+HD1RFbzX
R4wY/IM9+hvSDhxO/67GNWqREwweg2elM2gnZe4frVnju0aExIDbHphxETHMNsGWkdlMZ5906WY/
nfZ0nA/ui95aEo0GF3ItlsdnX9WsOuuuceBtrMfPCEPjq8VIRfcFg5tE47p4RZWCevOKofV1Uf+9
gdBIVunPMM6mFcCa5E6SbjT1zhzPT6+gqJs2sCfpjZg3CwkZV00Me0a9+MltMrgazUG9Rf0F190R
P8z+StkyFf01X9q9aLrBIMaBsWSPdGuaUUWmaK8ZSdJNwDeOtUwFwCWy3qipBkfEZKQnv0PQhrFh
F3eRI1qWlvaSC20PMVmH3z6FPCNKnUYkkuwVo09otrP359KDCefNzYUYo/KA1m6/LYETL5Nwbv22
K/1WxgpiHOnXm0du32qdVYAXXUEpbF1nuPbhjid4D6/VxToRLGbG9M+ohrwKyKMOeAPIIGuTl3pz
zyGdz/tOGKKBYyoW0Abdm1RL+1GL3jmemmLmDDZ00eP+TlSiJQrhYTEGIJGIcbaJl63oZp1np+AA
7clMKfOJSL/Wepr+QhXhzIhZ8fstvNkhkklIui8ixn1eMYgTbs4B3k4TbgIy9Q69/T5u+42dOPf7
9JEhQtp+Hh0SynGb6j13jNXOf87fMQiu8CjxUggOwcGVP91T6mhHDSS6iSowW83nK4RkMTakYACr
47DntA3I6EQ3Oki5aCtXCndg1oAOdxo1bdSws8qYWjAEazreXLoFNlUjhuq8qCy6FBlhdwHBSRto
gw6GKAI9tKK2BZRBBxmOxUe0tY+Y8QHnMdsAvcZkyF4Kh9NruNl7zIEyp/mkyaEBwHKBeq9xjZls
AZfeafkVwyKcr4+NoEfDzJrOQ1xMx9fxcsBfz2Mr3MjNs/sJvo/UmbzdqYNOoEWMnUr4YKYOTQ3V
Fb5DBtHBkQbgee5n+aJOszenxBKLXifm37iUf3Q06KwYSihoM7Rj5oFzvrWdwhZJguU0vTC3cGT9
iRDUDX09X7AqkCGBua3QVwP8syell8F1x7VTvOJC2CUxMxthZsRvDNOtm89ZliHFcF3Y4SmIGjDX
07Ni9zfztAcfaHbyQCdoYON5TyJQBxBboUxqbGGCEbq1DJWM7oPg+j1Copib2lmHd+0XQzVoIwcg
Cbd6f10qO05Dn/cIGQH8Tej7YF3CrRI87J5+8Je5woRsW0V6CKBc5IiUEXuK2O86XrUB/N9xPK8s
sCxYZXpMLGYOxKQnShD5cF2UAJvTCOTMbFDCJR92IBer1qfcwbDkVOSldqdJ5X8TgjpCqBjc0+yP
zoxcc2RuB+0cCnesnO8yD0Gsk/GJ3DTnuPASyP9kCDbfQzJCCB/2jJFmLr1h39g7mBOPoB4P0Z7o
CD8YvdeHO0Oj/NebQBpSsXDmd/ibTMNgL/I5QY8kk2lZErgUOktsmg5onJMy7o5SBezUcDXbJ1OA
Wos+RLVcWBCpJjKKBwwU4ZmDhKW4g5CwkVJQC7SHknkULgTjHO5einIGxo3n+kyeXnA+mwl5pXiJ
bIXz3wA2Mt0dqSLH8H4iLMgHGfB+IuL+83S7hSIA4t5Zmh9SHogtDtj+J+I+g6DTiHulGstZ2rZi
n3HQL2THaBvvJtudzQcaWnvnNh6y5uVtd+jR3kwVbuDNLGCiktePRbf9RXOTx9Wkw092RDfExpdE
6bqFujV+wRfGKGOcY34LsomdCuAiwZJArrVHe6+0S2DSN4a6ivMgXDcikd90ZlgPTXoMgiIjOo1k
3Eg4bScvskHWghh8N4y/K4b53qgdIxSKta2KmwT+0lPBNUU9gwn1EP2OhLL/sRF9Fw2rh6/ZTaQL
HcaZPO13crdbXRNu8QlTFj6mk2thAf2oPyzWPQjEuHS0xMxFiIzQarlGYLh0KN6ZNk1zgNcl3yTB
HiB4EWGm4IOClP84hTHgnpmqLp2m5LjpuLS7iQnkkwDLGFfSx6Lp/o+l81pSG9vC8BNRBYh4qxwR
CoDQDUVoQGQhEOHp51t4jk952nY3CGnvvdIfjAnzsLSp15BJaV6DsSlBVfbMKq1HB/TM9N0civrB
fjoDcySb/+W0axUp3HoJdP7pdzkB15jjoQbMI2v7y2XlF2P52B9/sT71VKXt7tlTizXYHVBUnDMN
C/YqIbD0QZ6JiO8ZJBiZ9k9SuPSXF9LivX2wWzwsaP2grAxiI9hsW3ro8lRR25W2eR0x5WWt201w
ukN948HQhBWpUv/fdG+YMPSi35bTTdCqUTVSTDT6jFWDv2PuaHRNRc+fyyLej4W12Iseut7LGVtP
MYtr5y3nKkXTFT073AK0CIY3eSALXZJIQdjya4oemRGAS5F3auERBrRxvxFORJ9yWRQe+jpdn+mF
JTgq6DhS+lk7u8k297trZNEEMkznAmTNke0j7lRkMABcpoIB+9LU6mwx/g4/dKhyQDlGZ9lF5EwX
9wB6L8YqB47y64jKZF94kaQ9ADo+weIPCuqochs1k9gbeIe4HZceI1Y4ULO+qASdV12nYTZHtI1h
7w5ibMCkHdyXik/cpJz3vKRgRjCDxPmBK9fD/MRH0iG6BbrHNOSpfhMlLdEaINZsP2JdxUdAoAEk
5RLRAFG05bMwp2YI+YIw36ZPWC7bgArgkuC519a6V/qM+ZBOgHQy4Z6KriM6ouT9aEo+WqAkan4e
+KcgM70u73g3Wxt6KWjIlvYR9giqQzJQQrTArq56D9fz1R0IzQ1NrzbAbAATD5UvkHxq8Klp7XVQ
MBLCV++qo5bVb/2venQl22crXbXT33aDaBfsd8SCTfDfq0OpXiZUBKejwSx5l4DqmzfGpwnaOCc4
jC/13mPboTDWnH1qkw3o7qH53ILPSqqDhvaa7fNHR23i5vPHt/LlF4zKUV8U5ulNu0I/RAKSPzZ0
wa4xcpXJhLXdai6jI7SGXf7XXgGtb1PhnaJDzuAY6yyqgDf22M53pylAff6YBvH/Kjm4Dd6EMrD7
9yX1S1qTScOFeq4N6U5ap7ZD6H6AqTLfiAKgeLftuqOOOcJNsnSKcU30F9Kf9QevURz8+sHX3S/J
fgNAao6caYZ9on5cxBqUsTU2pmOchHyfAaPhE7vaTmUOSb7/1g+3Vsd/KRbsGIsv9IFzwAxWVWIs
TUSZn2MUhzBQok6X9NIRmg1HgqC9D/boEO/GjeiLZCNhUbQRhPbokyuhFAly9es+kbyWcTxMlJja
c9mF1r+3Jdcm2bWvgGXshVeSVfaXEKEAeCxAeYLQRhCqSbhfKZM6//69rSNT24IlbzydNlLYyCVI
UisTS0Yi+YljqJwjtnJ0LvHybZAPPPUONg5rtOQJHLcpI0+3dh8cbOSMzYy88+xcU3I4BltDqcGf
zomzUQarIp1/QV63I9/CfJQD9bZ80IvADM+9jZQps57aOMQdKsiv0TEfS2V6rbWTLcioLrNKCtbk
/YZffGfU/wD6C4QA7ol6iE7u8Aqa8z3ZGxTeGsnPyUDhilWhTBZeDSUpPHMv2t6ZHBMZg/Oc4CMV
ufdgTCqxnIAtmVUZKm8CU0XYEEzAcFwjaXUmKaAv8fQiwa3L8OxiHUOhXAqjEnmxFZsQDstWqEhI
gHqAWmPp7mxPYJTlRXmvlN/zZ/jkMlCoACQt6Nt9juYeYzkIkMTy6Z2hI1hekvWSyRZVr0W3owZ6
htM68IsvollMLXnAl6XiFlRASxJavuE4liDyJXaRQ4+Q4GWUuEsVlzILNN0xLRminokaIrRRMfHm
wXQRwhEssgJI9ULhcjZb0JbBghBpAfszomtctBfTZabkJjJp9w5Zp/S+FI6pEV0sWlA6Uqecm9DK
pF56rlDOmjyhdf+oo+MXBKj2jBdR+2nfH4Av2wJUKMfvUdPfzRGPGNA8p0DW2tmFZURyZ3wZ1ZCd
HoSXGTyh4mFrlkBc25lPDg+Yozud06OA/N2HACDNJ2bTTZXlKqr2zVqt0KAnAycxQpoeBV/Gefjm
DbQaBIVUhDuH6SoPWJ/5dHxGlUPuDfS1AOMA+0pX5miXSOsTQuSLhVKYj0nFbDdh11BdSCbeo6mv
K9tzF8aCzSt/Onz2Go8FCsnLcojc9xpQTWc96BgosvrDs9Fe4wfQW5/xGTtTpKDr08x2tdr6GI9t
D13su4MMCUlZZfTCXUpZBYosq7dUworAG146+m/+IGEmHA7R2X3pi4Sq/LZVKKrqs/HJChy55Aw5
YoYL9QJ3h+gyPZGmi478Sb1vMbyw8VAIZOnsl+LP82AZdLHn+1qNCaLWR9oplI6g0jvJ2e9T0S5M
FhYSsZhcjym/xmtMVoK7cbHx9skV6Xjx6u20P6Gz4vSD5qbPSVbqnAW8yml09KELYNpdaL40ycQm
8Ow/s4XdSSpTsPkLH6oM1zQt/Ke57hv4vGkFt4mFO+ticbjG2tCP3ziqCsG8h7aKuM3McPi1d9bF
60DoGuhdTFTamGsg1G/4yxmjHazj9IV/wIeDb1rYPf7QN/C/YZ4Vt/RSax/YVO15Z94iM4o7cyVu
0jYawSY2ejrY6/tZVQIkZS6zVtyKO06vwM4DUSVtraCRDMhjsNkFN5BnNyxLBqkyas955SvH+tmK
e9ywrrFf9XR+eNTcCFN3vxKryLv9B6scV0ExRemk0rbxnopaA/iznvNF08Q3ZfX7qwOgvht/e+9j
sUKlJFJcCAeTcdo1zbC4MMiyC6s1EmeTGAOZm1fwUQfp3S4C1IlHOBgad7s5F/H8IvgjDhX45nX4
cxE8xGJoGEvwYQpl4vArQrc4J43E1O+ywmVmX2kfGkz23Xu1EAQb4ER59wCpD3/eU3g07kRM7LES
ZdwOWPUxRng/S6ASV3sE6XjpLrA7D0lkRnoS5BzGZHaR88tFNgMTRETFsLBihrtj+mym5iF8RoWN
jO8Kf2i/HDGeHtHKJIdEDGOvDU1BG9OGS6guWdvYgnW0Mv43YKnUZ8R0jwEgpkaueL6dmOD10Giu
N4LnxIOddz8l14lMk8uArl14S7qrs9H3FAyoGC8ab3vhKGDvEFm3FeAwOobw1hA1a2QQSkuM3hbO
Aj8mZbZDkQ8TaabkR49XZy4r2hoiGyecBDqwiv91ADQyQUc77mOcOkIMXtzJUY/eqmtKIt6TeazG
RD7gLujVz51NtDmY3PMHPiucb/0a8wKMRxnDLxlVY8ECAJxKbvl9Mns/MQKBRbktRs2tCNzznQyA
v7qk9BiBMISlYchNyN96+Ank1WSmK8Z9e/0PKRUETBpMO8VVtcKQrUsXs9ROYEi0FkabLT5Uxzjb
GDQyZhVrt4POaqGiD74eFTwnobOL9px6f/gDrXYRZnE7A0eyFSNZWpTgZgESvL09P19a3CZWwT/j
PB6SyIbvsBQS5zJWBU+tgRwrlQzSybIsxQmqREYcq2zsJY/GPhPRwufkyd/RXnBbnsKBjT61PAox
+uPb0awTxCKWUeJ+9rbl8y3G3E6EvykvGMM5juWgLh3Kt7AoelqhsovAZEoWhoTi3x3x5/tKWhY7
TCWleTHAfame0Z/QB/PhCBPAmNWAixSjY7rRRnww4T7LoDzGM4wzJU6vmuPwDzQ/9snf1WKXiZ/g
WYu/8mYxWAceARVzqcXyvpg7WRi3cXN36hEXNkpp2ibyuQJ5VgCEDQpsb4/zHaDklsp+O+gAkZFu
TM8a02mT40588lJx2hOPK+iUuE3x9HhD/P0YiZcaRolc2EVHPo+yI18tqL5E5OeGrP7H6GEvDuxE
X7hto5Vi76vvbNAAew14cwFcRP5mP4eAa93Sfgaq4Qmog5a+/vYFSLGzGU8HOZr02AwA8GyCShEW
WdgB4QHRIR9M+xwyLAMWkuidy1KQsbu40BH7tVUoo3qMoeGmydRfRBNpJan3DTQIfnXYx6Ubtpfs
HrE1DFmVL4yk7Za+EpRKjoLg6jJeVTGOBqOdV+GLXfHzbx720AwZem+gNfiArrXaYTfwXpnsU0bp
IE/yFjiTnlanQEzA7iyZ/HsfrrmnpWLl97KOPwPDE8cLPuzclVS8JC86PX7hGACs4QL32iPhay7u
yZH0BQQE8vznZPCMuIt8GtcExfF2mkvBkpztl/VEXUH7DtQm+xT6rFUh363t12c89HS0xBur9qQz
uZlPObISOe56SCgC5ICo1/KYOVxd/oo8JeDKWDyygKoAl/uCUQKnHW1xrnzFkcU2fFopDmeoFnHp
HFwsGfpvMnm528SPEr21O9kldsGZZANK0CXCV7TBYiWumaTgG8gZh63AuBvfaN6JSyDBemHuiO8o
D+qHlQRETHG10+zC1/gWIxxz976EyIZ6Wj3sLqm47DRCil3hJwsnZPR3J340tBPMitmOIhJcs0PU
oSAiIE7QmWHfKWrrZizAtTvANIBns12Go8eM0cdC33GEkrUQwtmZtUeApGFintlFXSx2d8BOG1oL
pQd+B7atVlSY+n2gvv4UwsEtfCT1HsVHNexpXTjvv3O3b5/tZ9xelnFZAUB6pMNM5B4w/esKmSeq
YeygSi06U0/tx6IFN2dPp7V5YqROz6SEp1oaLzgJ0Qk4j1irtOFVo8ScIS+NAQdiEn5nT3Uv/B2h
sixGwp0QYsJHaw1hTMPhjvYpyDmsaGhsgOdxj11O8qZBfQ3YppSR0+yCpWCX8Z4CKOvmlOpieshY
OCVc0a9+rtiVeIeydRUiAp4WjsLmv4h/Jqem6HsO44Le3NveuRgsctxwFontZmF0we90fWTAnMJ+
d7T75jBvG7c5wRZ+BrbtT4RcH4U64NywiitEjt7ZeH1+OMH7+mq/Sejhg+o8r9dB75FwsDCsRTq4
ccbePaZpJFzjG/ICWD3X9mK+GJ//cN6rArFabFEeggMSPhJWJ5xigMek57Hn1iHhawmGTzokAjFT
OFQ4PCSyn5Hh1sJVA4kZQ+RdicyuIwK69Lk62uoRYgjADjlr91U/FqvuprN/kN4Mqb17Pky7Zrju
6C90EHFtUuK28wSwy+yS5Jb0NpSstAKQf1bHTQedIEwiIeaRvsIO5zcVzy4YhcyOFrRc0VCg+UMa
zN/TWRx4R7ong/ijIpYt6G6BcaMXcKCX3PFwwYWNaCVFCII1qkIw58A1tVu8ZHgDpBnnK0CpzK7h
JKKlOZudnTY5+gvPGsDOS0VbNtDcqBiiuwjNo+gDd0+NdO+hZxtR0N8wpLU3G+hSQ8rY7eROB0T6
nZUjHFbBXnOFoAcBKt+48I/+omvZ1OEcoYEAQ7XCfnrIMAWWK/1bsSn9DUAKUcyTof0l7mrLG70C
6CUVAxypKjkTgBEzmIP/2WBIVzi8Eg1Wm3UB9wdMguCtO2YP3zQZy3YtxcJnOvqELetNMcsgAjqW
AfQYyRfk7Hnx+U2jSmcsMzG4bGMyANk6Eso71MWLltAq7Zht83ExKhqjUxHQKigC6aqtP+JE117X
NGV85pJDxpCfrBG83Rfs2edaCqIvGTvZ+biNkuiI/NnqG2JpK/nz3X544nhNSwYvKTo/d6PV13b+
jmk1FiJqfERON8Z20lsf7ipNoAXLHhLhGo6zP7MW+ngNcdfCwJFV83ab6xbcMWna0Po3SuQZ+OZe
eNtiAEgLmjmqTyk+5wegZ9lQ5M8si4uLxBM8q5sHPN2gvlLJ5+PG9BvDD31w/+ABG7sxnGEO8Npw
hQfKYxweLXprHcAoThfzQTi4DC7BM222UDcZYzH/Q9hKwN6ahgyK4IVRepRmxO7nGhApKWxLRJvo
QGgeUvdgUcRfWop6zQaisRnw102gT5LoZh7IKQawoG9E1kmeSQOqaIv2W5KgiUhvuDZpmMpeJmAH
2VTUiqRJD6MiicAS9UNvGiUIorY0ujfSuEdNCLQGukY9gMhZThczrM0mQAaY8qK26u3AbiHluKUL
IVgT+QMDH1q7BWquoo3YF8ErDAv2fwhuiCaR/W7QIO/PRZz38uvxcqnQmRpdfkpUIKpZd06fc4ct
j1ZBOTARsnUWI/o+CECijDcH/CDAmz2jheEYYP6EvqeMLHai/VGYH6QD2OQJXIvkM4P6LkAc7m0E
BGQf3QQJIvyUq44sxLjjF2sh96E/FKPixqNH14F57yKTrxnp0AZjjJtEGxS8IGgAZ8EAgtGiMTMS
dlNp02pt6I/8FF/YMk11sKJ5dWcWyWgQQXsepHYL4HFw2BQQRgTtz7wRYpNA8un2uOIjf1Dp7DFw
ckc/3bEmcH+Y5DQ5GsJRtOd99zFa3kZNgDBCnJZJE2vNRzM4m79kfsgFiYamzBKZ5NPap7t0U+fD
DzaEANoh8vm36YHDYD86OyJt90JnS6jiV3+XUs67vYRZcK1R6zNDoprdqVZ/xBCXMtcaGqQea3Yj
iTSIC/WPHsAZxqFlUc7+8mDCfoBGOsk6CbX81DGIKXbjo8VwyurobM+40PiD8yDhQVOAPgY92glM
CMY4tCaFi+ZlhBT+gyCWMAyKxEZzTUsmkKuQlUsY80U0AmtuoXQH/+m2QVTlDJehK/AMUPYJN0rR
6qnhagx8YSSLKMKWnr3qsco+GAgwrtaSIU+lyQB7i1gYsHzkh3Ukw57o4mvIRuBJd5qwdhgNsseS
U342O95g9mUc3GOMKbQbGAUP5k6x+yTetGjYMq6zuOGjC/YSLRfS6T8Z3Vb0aqmzx/atIapHsifs
VDpJe2ZNMk6CMYszJP9hasXzWsoDpgXJqOusa5hFymvTFkNNIJpw/r8cl4/IIA/uzNztzJCbEkMX
bzOdAthTN1fGqtu2h54RkYaRqDRTFcdOHtYPWwk7FIoeRwQfTea2bUKHdHxl/DX3l6LqQC/F6rsi
n9dl4Qv9deazeuYtdLprg+Aicg1wOvg2Fh4dTusP5g8AnYXOGchETZRwbQCQtAJZui40VdtliI0K
AcKAOnMxPXFFDg/FCCaIwuxAGYJHJu1QdwL/Q54noW/kjwSqBB5lgmoLR4MBzAQOwvKainGrQFyE
PHJRVTAlkDgY6kA2Glq8mkWoE/bLknZuwlxeqCOuPOHf8410DbzTk993Ki/DhnNdYB7g87jh6paG
tcamTTgRb4FYuzDSs7k6uGz6RI5ddwgKAAkvTStSKCJIqPTRAos0XBQ0pnNdiOp9dcrJwHISSVNx
5AGTqzKl4vyuODXp3NIrRW+aGTbLC0QgamFIZvK4AFGzwQmosOPlEN+6Xe1JsiAQOjB5tj3l1Dea
HG9b0gm6uFtJxjjFPdxSMt6dXyC8X+ScwdckgRMU/K88Ezja1wwbqslMUv4govrIlejVEmNGFIF8
WhcAYokCkuGR6XEYa0BYe4ao0gBLQ1Gd+MNp3kC2cINsqI6KS4xnDcJfBwJFb/RkfgXx9KASltht
G+nH79GlFn+WKS/csFmuyIcxUATgKehXPKc8wf0SGmxoLzYDP7QCjQ5xZjwAFsetxYqjP9//gfg0
YDRXQA2sRQzhKkTa/aUySDtMAAuXYiIxdAbEn1UfCHzLIAKQ81VIkzbGzwpuIpOsjwje/ZMmXMRA
G0m6mfRjLRgAGTEF+kOPPbhBwECwobkSeCgjNpg6CDXsXb5orvYGEf1AFDlETTYm3HCGYd+BwTAD
roz5ultvNnlwykVr43gwL+4pugALNIk6QsESqtWdzJT2+wlu4B0YEeMRs4lmmlGFvVkdnE3mJ7us
bVcPVj0exgyaOQOEqzUAUsnY/GK8EmBQ36DEWYehUpGd7JMBu48cQ1/QL6A5Pt0DPqGxX9Hjx8Y+
bXOytAxof09mD8z/917LuJruZNQm7TmORSuzqQ9o9Ln9LSNtoIGgEUihz343Ogw0+tpPsyQRFxRR
yxK1mCtn3oOUGLERtGSukLeYgClk3D/mvdW1mG1YlQNqgda7hSifCXPvOBY10pdOYBI+laRLXVTA
wGYSF9iON/JhYaDJKXuCdlbMyw3EuDfsN/VEgonxldnmjpBuL5eLTALlaLRL71ORTOtbjLxIyQdh
g94/F8eQRtQknxnQGUxp71i8DoPKbCalfvT5NOZ+25fYJo7gr5s6ZkTJeEeSfZT2kR0Tun8xrpwq
LVO5S7fRnh4jsqpDa4nOTEmm8NGXohg+tHqZ3Ml6is44f4t22ZtcUkwC6NSrwGVenIGiK4KtNLO3
+fKZMkjj12SvTl7ENYILR1Q0leMDzS52GgUcMPVfl0TYLbK3X5pQBBQwv53RAHKzMt6RI9ltOsHw
vSFFH5FJcKDXKvPrrAO6xpcXKomOk4a/E7EB8ieGznBSwdKAg+rF6PKuBIctwr4CHqZ84SCK2PDo
8g/ZFgUIHVH4FQA05VNzQWhBoYC7wz4B41OEh5y1m9gbrYG6zYAQAYiZERXRUCh4hGqSwugq2B7U
TplrJUDqSIGeTHOWQIKYKX74ctLS5hNiA9mTesACR3iP1/RtoDlW+oxpEHrVm2ufrv141rdmfu0O
6bqwbKBMAyETeJL45c1mR2eABREgt64MMlivtVvqvZT5sdSTg6Tl/qLwvEaA72WTyUaehAkJ2At7
LsxIEEZoVmrXu2on8xPnMKqOSWc18XcYH/vLh/UGQ2Q9sKgABLPSIjlNa/wxpZ1A4IsiAAKfFRYH
fx8UPywYJ95+MgCx8dy2sIDD7PM6WkCAX7fCi48cqClwe1HYe5g9Y7e6wxogyYZDQPbd1c9eN732
1WK2b5kPYsTThLbXlrEgDhjjF6cSB88l0tDYBctD+CLHR47j105o/Fp98QBSLwPnhfcBH4H4K5NF
dzBThJfY0KdYA0t/uzL07VlXli5rwG6DkKIEEE0XYgCY/ClOcUYbqbsrgBY+EO0SZ2hfHCxr/RI9
V1FWPUzI13/jQZGZBiKvAZDwDpMuzBKKgfnh7xBUJCpi+gtvkdvm1GHbyDoRLffCwF/nqv0xkRnQ
Hb9q/YXab+t5vtnStznzKGyAKJjXqbn5hiuUcl2I2khXU1XCKZibKXslgFDwpHLhSVB5LybAQEbi
M4h1Kig8+8aYTRSbxNrD+pO23MrMM9yAiiXOnBGTHhcZ5jXZW0Fa3AyfZvw0WuLxd2A2P2IpjvqM
FhrZabzqaWc3P4+I9qReJ2pqSRaebF4OH+vEiHLMp/rOqgAsMk0ijD4RZUDX2yHeo4rw86vRrtu3
2eK6kdKBlHXaAA9xb5RouLBun4Y3xWltg2CNFIB3x3ROYR+INC3PF/MLoR97VGB2z4uGukfDl6GD
YRKXdZ3xh97NFEJ9egvfnvBfgiHsGPAvjCTQGctCevpmDlcUfQ3pZdOx/fWf/lImF9Lhej/UlHaO
KKEJ+aXY4lrvdlAaewCkhDCFodgiF+IUyoklTsSDnPuIoAOM0h2K8btlZTwUvlmYNV1QNHxzhn5k
Qp8OjnjWi/oJFoZJtV3kgjmCmEgHV8f99JGVYHhO/h3TOWFhiYqPcDs/dD5QjDf2NKJOTocV9E/c
4uQUQmTjLT4utrAiNfGgFyjfgGAF3W8pXt+m9PNokvGTHRNuiUgz1us3GpYnh3bid90NDyhdNS1c
0tbAqHC6PPndUPi0yOiHb7NYIuWGIn3Ws6ik4ZwO2Oc4oNUmHpxYrHFj7+rxJUAhnJePNCqo3fjU
B6fb4tp+vzBT5r0woqKM5i4ANtnWay7m5Sot9YPw4AlrZYhJsMay4xmK72DywsT5iZaKO0wOrFOq
OXyI7no/eZiPtbivYQuNbOV522dozsShdBB9CnvBA4oaI+iz0eRGA2Na5C1UXo7TQdDL8Q1tM53D
n3WrHM1Fjp32FkHK65btgg+Hw8/edoiC7p2r/URiiRfi/3y8x7qYgmPCUwg/URqiUHywL0hK3vH2
Njs5SpXYRTpPUIl2M9JPOwg8yAah7dGwWw8AW99NzTk06SLJoX+Tvn9b932keXP4lm4HIY/xjiBv
noG7MWybXOmW46EHEa6iZ1GaNQmNu1g+fjKJzZxT8YBYPGTrrBwKrc6s3CZIVbNPh9Xgjb7h4K32
yIv36pexN1y94Lzd+4MJb4WwQQLBOrivPxGfhlsMcSridkC5AmrE7cUYwK722gF2cdKLBvkiV5I9
rVd6z+tBgLrUtkYM5Z11Phqundw4wGF7dMXwClUw/TGGa8aFx9GbjMRqZdX0ggkB+03YVaINsDP7
jvDKkB2Y+G4E2ozEu+bTd9WA6eo+DMnopREkYgKVEVy1HFdbdrcgZJBF4gwm57ez6Yv80F9GHNQy
TSHPx/G542bvlFFmvqNX4gUZHWheEzERtenQH2N2wKx4JlwzbCQKUUH8aLwsG430PJdTolJ/lEvb
2XnMRo6cEDTsmepST+SkTIQXmbU7ZoiGzJSiEgCIL7Z+L0QL36iqZgSTJnWmm2xRPFD/VH+JChiF
kA2+lJTAW5L0ucyteVQSzPrAdeWzUbgwRkb/wh4sxTnW7gigmLNV40qB6J1tJIikJWlu+YumdhlX
Ee5g4tF90fuzmm6e1koZx7hMYQh/X8Y26EnpPRdNVZ4jit5Q2JouAEVwgmKWzdIe5AOReD2LIhrV
/17nrMFrHVEDjVuD7R6pIDbr+xS+ZxN4x5QHzvfvpt91beKEKMG7Xve5frTm/GGyd47bfqm39+An
3xhmZwqWO04DoA4b/7zl/KBfB7WO3SMri1XVtrrJBd/kFiytl96gWU7SyhmUsdz6CSdDAE+ZbVwT
Lad3E70di2vt5c2oIz/OYSdMRaFGclxvRWlcpiFkGfVakKjtiC8vQ0rS3deusyZHDuBoMae/ZXv/
AgFWlNPctjWkvncVYnTjbgwCPuvDLCkBO4xQZI1IDrr4kwIRluTk4F85+HlfXrybfMOGvSBwRe2I
k5MN9iSU3SgUeWeO8uyNRpwQFQe5jGkwC9LFOfvjyms27HYg3DYo2EBP3aZVgF4jmhBdBfLKmUFE
F/hnVxWxy4YHLPXk9yJhit/XojD7A8sqCZcGx3J/hekmSkb0JjWN7pgGYo1GwtJNbNtjAHRyMjEq
AAG2tUcai5Y+xcilwKadkukepTY/ZqDssSWfoHVBs8ImJdyI+9I/bnoR52EVrXKiA2/NJsSuhswJ
1it/ZpvTf1pomR7I0OZlMHmsxyxMNhWDwEPi3MxXcEMGlPEov+RoEOBux+LswY2w4MM/Tzp3ttg2
OSNE1h8fGrJ26A3+Bulq5AAoinfmVlgHL+rl/V+S0FUYbjBEizHUpX2fkBZskyF0Sa6OYldXXhgF
i1LXVBIy9hRGBejhBXxivlUat3LXgiDEQDkwsYUWKnQ2jaZ9+mNPYt+Z2t6ARPF0N1EUIdEgjTeB
O9/1jBfOV440CE2ToN9XgylZIt/sIYlE4e1NSWO8AD0n6usIejRztPCqBh0jZJd53vHLFQw0gHw6
imH8Lws8tJxUG8KgFujBCgwKjQE1y/P7uMZWRaDN0IH1jUgqijZRZKNUzZtIOyPnNVHnfnNde4fv
M1t+D0MBxsP2zpa5s2RPmR5tdc2D7fuzVQ9XryDNwyDPaFXZovujoZfEcQRG9qaayBhKek2H5zwC
UC3QknzVnLxGXf6pJEVBwSwF9+SgI4HYVdsKSq0PR/9kpkEAoptxPNT1rx1fwtJyigmTQPABKhUq
h2t8RemWP0GXkonw+G5YcDKOFmhTGV3M+CcgOjK+P1vO2rEMalODnyUbNFmTpIZeDJInRGXW5CFg
t6GNVFq04B0wKHdg0qkU6L6vxmAX4vWRhiQXOhNq34D8xxyOYNK7oRnc/Cmt2IA3A6vxGjNw8gFP
xLekil6jgjuF0NrCHaqn8TArlwCDDmMigghGKPqK83lhIYnB2JRN1k+IbinhIepLe5dnXWEG7mUb
epPbiAyKaEBHi3uKCTO3j66VHrAGuecEmhgq3MiykHgzefQcw6IuxoJibZ1FYjKTdiIVAK5IMtTw
eGIscjrJKFEanDtg4L3f4XM1prT0Np43ZIwrshFEyoDYalN2N2kJnxEaQ6yaVpoK+1d8p/ijrCHu
JbUU6pSAu0KebZDjK4GcWRCINJ3HlMYjtCLQ6MQPN+aRyzqiUuGy2AtMTmd01rhM5P4iKmpZHyY+
n87eJAA7vAYq3DrDarnfgdn1ehqNCEdNzRUHNbNSwTIEuQD7zyN0MyCbZyx+NhE+EwIMFx05m1GS
LMkgT0njgaOsUNKLNgkqQPx7FLG5h6y70uLdvBv3hndCtUJagNflkOXCFGcqpzKfivuum7hWMtem
T+jBtdSchlo7oYh/0lc0zTRV/I7BvLcBQuxl9aYPhxA9jXhkgbky9UC2NcJ8KPRxpKA6irbnDnf4
YchxwJLia7kl5K9esAruXDa7C80JMhPOQh7qyeHvRWFQPpLpNEZyl0hpfmRaUgCOBVW15IVSZAB5
KU8fGJFt6jtUQwP2QeCk7LYPEBhN9pyoi7DiBho3n+xL5xTVPWIUaBESGR6YHNBS1D6NIFDkyMt0
VAbZVKRfcpKw7pR1k0Zq0wA/EKBhZzrlJOVhU2rwOGTydnFapqgO7KkIUxYYNP0gfLTYEvK05Jhi
eQmUnjXzW7rcCW6L8ycaIlA/JD0JK844hmm/Yq+FfgjgirBQy0jxUjRUv7rJOkKglCswU4dVgmSS
Y6YhASj/clTyvQpIuEBKYlAuONMCPGIIT2LKLxnOhE7OvQd9VKknNEUDPsyqpZIMApvkoafpPik1
XnCVChzulDiU5hf96oKa34mvVd7iEmj9yJNZBXyQzGS5lRoPhGEGT0UebksPOAbYNrw83WagXxay
2UbAEXTgxsrl6bkJPEyNNYPfQAmaDicQF4cQDQnGB1RBep1w80AnAU+XqS1ZKx+VdT0lNFGz07k3
5RHzKATL9GJt85hYGcBc2VasyAyZVE5eEU+pAHHFseXTjLP8OE4dk2ly12Bs/NfQvkCPZ0eGxAuO
4oOuzJ6s2J29CkB1CbiHVUIQksXN24Jn4t1iWk4x/3w2Uu7rCDwezyPmUQo4kTdF7tZU//oGT0cw
QfHQ+ONTypMhD+KFFmMAH7zKLOYpvXXTAacDGgSQD9c3tpzYCU25Q6p15HPx746lgtj3ufYD4Bnw
E57KRuM6zQWY3Fi1ZvJDgq4ADro2VYmAco+BwPF8Yl8dsWHkPoV9Lywn4kHMSjFEY6WyTmGqxiey
c6cAtcap8wF0xUK8WBvaXhuGz0RdTveURQNQLAXJFabPSRoSuam3uA7wWqC/Prwe68hCMVzWm7AP
ax1M2NDkxbaimeZRhpBYkB20jZydOyTAMCjU1muV4RCfXH6Ou5nG/MdkBfEEpS9xtWSztfgEFkCP
mYwmufGI8QBYY9+IxkomHCCqJjPkVxA0OLN1L09jJo+YYVk8fgBrik/V6nI7HWgjLFcnBep2HWWB
TryTHgXhiQcE3IyPZppxw3BCmkMBKev/ezbjfBHFzEC0nSqL25WL5mh3faNewBP5wDHCgSEy8yzH
mjouAyTadAU+89Cv290SxRCSrzt5q7QXGHBIgk/jQ/upmvAF1QWznkJ9Ez3FZKQ0SP/fCHh9thL1
CKdIf/FaU0mEpGQot7RE3uYAxlgxxbmdKNEjXxQt1i6HqWgOvGkzSrtG+iHSy3hI9k+vZRC0KMNI
tembUBGJ9lLD/iIzthsdp9dtBRnSGQSwHQejHrUu5c6AMn03leZBRC/gVzh1rAENDmqqkz6Y4CKS
1YCkbloNBp/6AtjVUJoT96GK7s2XNohffKTi4nZN0BUJcGOmSpE2yN7/UJLdyZ1pDaFWUowYXX43
d1o573UFYxvGIcchLaJ1DwQY7WtqoH7yiXoBn8AX58AeUYwLnDUuyE+74hP7ctHIQG5Byisqnxnu
NNAtElroVBE3fQeYGVsuRqYtIxHwwhbKA7iHxagOduakxBQvekBelfvJEItzXPTStsx9mF4vJ2yQ
bX8Pv9pA0JdhnvA1Nmy+8GKycMj5w5Q4+tbB3IbZlNbexWyoaIwYEIkhyi5PqJpA92gy7B7gEi+T
rzb8wT3pAqk6zcS2nWzw5tNpsElfgD6yNO8Ijx6L8p0dl1I6lKOBu3AH0yMYOc52fMoLVbp20kEA
B85ZU1IRHzgsgIKNHTaBBvIYoCIrll0mVroCPaETPC6OIh9LAXOliT1AxEbMb5AlyuBNpl3ye5iF
OkRAkJ3U09Q1HeNBYHibIrNTReEDGS1iXU1xGtOiZrs0XWwG2KrkvtSO4PjO7iUUkJkCNmDdkegD
bPYMqv9qrd7omtHt027sVAooAWfLWd8Vtpf+1/j5LvCxAOlaAm4sIR2MOTbfHBds+xe19Jv6iojN
WfRW/yqkpAiK6vS3Y3ifHZpbfD86UJC1vqAbaACn4BvikCs9+Jzbe70/uhnrIhi/XdwR+FLu01lj
iDN+q8EH0Ox6fHQgaTDwBvQQnScVhyZ4e6KBXGscQ7LnLvKNNLP03yI4R7FjMSrnn4lNeQBmCQNg
tZXzfdptRRDyjvlr8rLOOzwpOtoHVx6agri6qSN786K/iEJR5qhjhklnhxE87xICd9Ul6KHfyx1B
KoOGFrJB7CRPGkgZUOQ1GQJCXj8Yr4QoIh/9FEop6S6VMIbjWnPSB9jwBmIb1BpabN7MD+rmA+ut
A8MBMoeCuHRZ0T61v8j6qj+kNX36gptSCbiD4CwAkp1hUSjMx9BUBGEqluZX7TUpyEhCWhQ1TjNK
AXj5lA5c+uddu07RjoMCyw7U6KnjhQlCnmwjEuGx9G1Xk73Ji/fAzn6O+h8RMXccNX0a4ZEVcqef
Z7fUU8jt3usp2OXgRPNJMnjsoikTFBqXFY46ZEboVnH0fVyOeKoWMTziOM9XyMLRwbVEkYzdxeq4
EfcFnCksgpsj2nb/BzJpqtfpUagUpdsH097TY2CZorlO0gCe3oIVwdeMH4huT9KNPonNheAlnd4g
Nf/eNtlZQcceZREnHTgSfg+U2HtTmvni7/i3c9vOW6Mpd2mxdstc7swRJT8mD+AspznCVxQuYHZ4
4r8OPodSVidsev1p8cIgU3/EAGj6V16gha5TbSocanxb1zxtFPMB5J6r8K4xHTPewSQ9pnHp3J39
/J2Cb7VZwwv9h1d/e8NRC8D7QI/FlkT2XM85BwczXIxJQsx+7DhhvkoXDnGYTBbgL/kFUE9tn1QA
WwNaH+hIZZekQe4T90B03oz+fyydWZOiWhCEfxERIi74yo6s4oL6YrS2C7ih4oK//n7Vc2Nmeuxu
RJbDOVVZmVnw9aUzTMuNCBwruPoIt6x16fBM/YUXZJQ0FQCZ89fw58lBBnYme2OAmjeqKGKEV6JZ
wTAuwEZlu5aAbEUI+BeW0QUT91KDKTdtFoqpYIjQ86Uu2EkVu2Ia/CKRIRCbdhDKGKho8LpHdIO9
AVtWQZ2vUpQ0xhEJPXxrHuACuQ9CFos0/CDiA/9gPToEidSmgBYv1guivcqU1aK8ROUvvmLTKA7a
NC7DrZMsgFkpqzy/G+wNXBQgJnL8R2nVCY2a8UIshyYDScQxOm+5jkhBEFEJYHl1hTcuw49nHR69
e45u0X56JU79U/jkxXJF4M21Mc5TZpUJ68qMoJ941DxGtHOBP8moWbRSOL/WHSc3C5Hofdcf6cbi
hUpzTEG2dKU6jMshS67wHDFAEHlpGezNzw94/+81RWdHa1nQ4hEW1ZOT14xviy+d6lvW83dvPuk1
P3CvvhKVM5wG4HcWHWTy0NScrnu4mZ0E5u6Gl3FtK5GwLT/Q0eaVva3sQfTc2+qy3CnTNrZfXBBG
sH+5G3siq7k6Gkz3fgf0NRlMH44CKSY8z6tGqJZhTSUgHdhomd/Ch1fs1tus81eA9KSLPkAG+Vsa
ENgKKyVBYRR9J88RaLDkRXOpXYL83M1BYZxoWAhmfBvJonndlrpRkvHKNe5mfbsL13tS5w2Gr4jQ
mD0m7UWPIYu7Ep4NNA+f17Mvk14LNkCDOyzFHrCwg91DlZPtFRjFWMC2gw4iGaqJYxoB1CyVV7O3
/rJkHAw9p5G3/Yrblt62B0Js6yFm3iNPpTrQXnfW1NL/OpdBG8Sd5Jkgrq6QhVdmd0sEFpwRSh4o
6aIWncLr6MGYwGPWqs0zNhaU1RsPuz2vtfyin1cm0mhG2Ig0FZXeQBAg2WCfgCAm0nuvOyFQdSm8
Ua/BLZCZs3Yu4SA5z050WxXHMTyFiSgxH8u7v5rQfPw+wnad0vU16P822PrVRpcooDY0WNw11Y3D
FFJCv2v2wRnR6T69S0QHyKgYN+s2T2ULmozCkXC+UG1GuLBcE8TcPpfmE92HKnwEGC44cd0JvWhn
5WDkjvOCBjukP1NOxoAerZSKsbA4Dcwn8/XDuqbolaHlzSrqDk8fRetqvv9FzgyVoAuxpbH0u/Xw
G0q56SVWCIHnvTnNFpVRd4fpBtzxDS2Bxee6t6ln9Y/cVPw6Zt+dOuQ1Mt3eZuAW+OSoOO/saZH2
B7DhXCNtGk6zAcXwSB12mA9QgtL87na3TmfUnvzk1dgFUCDWt1Ct+5QQKDQ4hc8jOUbjjp3SNWwh
Mx3Bi26goeBsPTrNLjtYDssPIPwQNjd6c23Zw88cBWI3Ukf18OFcdisGw3hF9x9oLZSWNic4yjLX
IGuNNdQg1NM1KkMxi/y0Z13QZ7qrVIF2zNLFP1QaqpWl9jD2mWzJalIsKRMkIT1+c3aP0cHpxwhH
iB+ZlpAuHQz/QukYIb17nCIgYh2TGVjzWAutOlj5xdOC19+i9E3GOCyTByNfNwb5e3vdm5MvwUfz
MVVApm7+3B6HzfSBJ3l0c6txm3x/NAjaPB/c82XXw3Srck4MbCQJI+Xq9zEBfVIBAopcFjdHC1TF
7OYd4Fm4SADRzpulj9jA/+I8YX5DzRrk5+UN11QKvF6VnMasX87JQfIS77f7iHkS4vnL69ooL7N+
Rkhn1qx7JYuqiNnWkA16xLZgmugCkR1pXmnpCNqO7sFC8NDaFsPn9DS+JJQZWR++hAWuuqy8M7sZ
ZFz3L0qyt3FjEumb6nLvvmHxo99wBo1VTPWL2RHhptI39MWHB6BjXLeHcXlkuXtvz1xhEfSRavaJ
o25Tba3mlzHyIjgAj+lANZWH+am898csVeOOWiM9bPRtQx2HsJ5JP/uEdEZFl3hIjxf7QuQ7gQDw
86H6Ti43up6tCwvbiGwQxkQRS/VJeRIIt6ndNw1Fd5I8iljkZ+SPFEL5lqSQ9K8Z1Y46pmL6Tfqh
SkUAqmOONBwdfkmV5vpPoQ5vzitH8qj/NXZzT9PCwTgH52zpgvcMbtL3G66STvli7zB3m2XYQg1q
DDaqc8y0OQf6/DlAZD1YndmHm7n3RH3TMaGN+K/fRyw3uOt18yN8EGRErpKzbiJX/ICIhKEyOraN
Mz2ycG0IvhkRwyrs7g10tGRye2OAosUhWgMkQeG0n8rqfEhWxB2kHevj8jF9T68klBw/2wf3cQnx
l+VVn1yCdEvOEDS0yjquCWlYRp7udbS6cnTPCEXTY9o72rz5wYEdzTfiPe8BOctGQ0ds2cbZlw4R
iGdIjlHCPWLWIuC6kmdW9wcmIMhhEQFq/GLNLWA4olTjtSbatAZ36zK5/aBonRFM//adbgiFhYJ0
4MwxA6CsJaVBcTBh6k3wOaHY+XGU8XlX+lSWqgEz+AM7AUr9xQxGQki/xxxCEd3+OJbGLEImm8Kn
hyPFAoi1P+S4d0vdMLF574bkCjoF9TqVjB+awwajUfADOB/CzcBl5h/LAN7GEHcWPkysP0/cV6rJ
w8bFwKVHfVkdU3r8UbwKuGG/fo/a8eCXCtoFGu1r0ZO2VdO+r0j7jmxgYdaVzWBlQAwfKc5s9/Z6
dmV90wN82YcQYekfD7R6HGOLIhRJBfsuGn4a2o/YNt1+bxUUNLidtMDDVEW0AEIeX5n7sQYnBuLp
X7+dG5Hk+rE+E5KyXvWxWbhWlJxZuPcJHujwRqfCLt/pMf0nnBZNVbFb9A/bcvoGeEq7pd2L90x6
tJYP9zl0h7BzteEyrFe0J4HKvj7BSW2ZT8qzqfgLY9YKMiFLbfcX5xicHxfQ8mhYlL4DMXQpRw3p
Ovp++pNPB6j33EeO3yix2i8LbJ/SHTL59EJ3o730D8ejEskepqMk86PDx2igrpas8rhqPU047YIN
daIBkXcX9o26qSleA1mT2BBD9nNGHikbRwjWfyPG3G8/F4LSlT+I2/je+XvdftF/Z4zwWvSwZYJU
TPWuCEOZ+KOTOCiPurJ2yBT1np4oNlzhhZrMyBfBoZn7lbwb3Bn0ve1nfMIcpk8q1EfUw1yGMBvO
ISvM4v1T+1A3DIWsnZnrG7ZtnMTDgaFs9h4uPvaZ1oHmPrucsccVbICGYrg6C/L+8Wks88bW/E21
tj955CT95IqTG9kVn2/3FoB6ZDtUnEtYFmCaPGRodc2CpGFJgRayFV61Ltw4QJxRIIhPHxLNPiZc
zD6gJrclZ06et7KqNQr8EPks1+KJw7syr6neFgVm3/roZgMAaVQDHrPBXOaswn66L+SNK5fHtHSI
11F5g8lsUeCymChIAd9blWRWNK/ZmeoeSL0ITTGIYo2UKL8VPd0MPJLsph8cbdV7bEVzXa3JNFmU
yCPIUj7eiYZiTCHe5Bg0kQYi8c4uloYSdzV7xq8UvlhW+4f0sGKuF3v8ewheI300yUUSkAp92EVY
THHPbWiTZ6nhOes6ddqi+MQJkdOV4LwJQLODqZVzNiZHoozJ5GtBtqB3LgQ3Duj1JT082z5DBIUn
nCapYx1AjUH1ReGvxHIZvzlicZlupcT08Z7oosfH5XV7Ggu4Iyrqa4Qm/WPsRzqav5y9vtafNbMo
kbqYa2askeRLqGC32CQ5t2kxJEMavrwPIvnu+pIQQ1RgIoAqXjeoxscRJJxhmy7hGmeokdG3eCr0
EZ2eputkYPToRkHirGTQ3gLGNMahVVIM70mDzgAIWltXYz7Evid3gvkhmRhC3hbbodUvhhoNsrfX
IxmryCtXJNqnZD9S89d6lSKhZb05OB8eM0T7PEdOZ4GKFmB7eo5Wb+T55AprnrrhfokS8/eeV0BO
pIRfvAnGyORHLwSi+D2NzsOb0PTOHMVx2dr2GNmlcxx2CYc0YjCF/ZP7uF1GgqjrWeMaWt1jRnEB
U8NGAq1lTGLTvA2R/haT/XTABfz2jffLljQdCq15yd8LLWpPbnNMIndYfqoYCl3D77Cc7f1ebV48
1tHaOM/bPpLNB7juCe63nrTmqELQgmYa23+HqltBoPEKFMZarFs3xWiYQDG+Mk+Mx4mqOwOMQQBv
xrXKzHJGO/s2zzwHn5xbPIZ6WNG4ZKQGfaKI7XXZuiFdNvvrp8uAYlRFDbLsujaV/MxMIHJuHI9M
qZrgksEXAiN/ELzGcC5+LoXbrp0DBPK0oPK5vi4xivVu2NP+iikCY3NdUepSw2vWM9tMqIuXf43F
tYE4d3TgESSs49LtpxqFqudbksEPrU4wigb10MzHPNfcF2g7Z1z4F+/AOskE6a6cFpqfp9Fs3iDg
Nr9+bHQmK83ZqKM7ci23uMOnH/Qslt/67D5wMLI+w/a4YHo+UKLCH7eVYK4SFmY9LFdQVwVbE33W
Hn3k3TuaJyS85vYc9dIiEk+RgS194HtE751FozrEn8S2BJe+OCesrPMfavklVRZHfwANGSegHK+c
0HWNHUAOkMnl47f4R3wBNsUYArOJ9WNKjCWOHvh65BpReEnMq64fkZq3r+YTRikjE/UwkYhOvFqP
m+0XU3p6oNiPrUj41yIIpv/WVv4XO4nKWc1oNQDeQiKg87CSjW2fDN6L06YGkPa9QVDSDx2+3Mu8
L04gy8RBTNVUi7Nb1pl1Dy6rBvi2V3hqqBj7gK6JACGgW7GUhcR4o/DqScu+TypmMRQuNkl/Gx5t
a9ZDGvsLu7g905kJxXSgZR8WDZhB66dtivWC9JZoA3NjkYcU+o0HzlBFeMCWg3n5+0brAFDbAUv+
oQPxz/VjPXA3AjialGk1ueMd9dvdu/Vq+lSjDlbt+B61jQ8Ns2v7+LGwIjmdzW7j3GG1w/OCRIFm
6U0Hjn1QMHOfiEWvOFeI+fDBuW3PQ7XrN1HJkl5xyvfJOasnXR72WfMMO4r9+Ln779k1PoLLZnRm
PcaPGQYRPBMQ5IcanYhpZ9Kfd3arIT0QdkXWouR+shJmvr9SFo/XgYq49NE7Z68QLvtvZ3bNTrXX
zIDvv1p4YzmX1hbzHuF6RbOOhkwWt/po6YPWTpZL6ue08dM8YnZsYwaGtEDnYnVhPn8srgDro/Y0
oUEq9sWHTkscCyvSWa6jhNu8jpY0JaW2cM2EmVPEn3ApOvz5kl4pZm94zF5+QQMJed1wZF8WqJcl
zTZ0KgwAOrsLpEOqXS8cB42lhTtdAMscfh35BHvqmJWTUK2jjrjEfWKweYXXWNw3qKNtbrPT5DJB
r6+G+o5beuPmkjVd0Pr4IMYMkdMEBnnbXu16OxpbnvDCj8lCQmnj0UTknBfYRU+ieL3DMwOCl3fX
WpuFHyLjhiWDNYISSIOLBNdKjFL2ti9VZAq6R3HKCc7R4OIXb5BO1pWr9wruAU4NK4ssmieTd7NP
/jV0lgmu0QS0VohApTXokzD2GBVo/nF5wYvFyPbTmod4gLw1/zI9UG5kJ4QtTLXEX0R5i35WTEmE
KsJn5t30Or1FZOkkO/ZJNySZ1YCC62Rfmh3d6qNYdMqUOEvag3TRPzstWumQmz34Iz0sgNOPsbKh
/jk5TSJwZ6oVSqLOC/zvbsS8FhGHcvc/2mw1etpXqtKAbODLeHkwchFZHT1y0wuWqciB6NLUgea9
inrtyeFsfp7uCl/uh0PI2r9TzhxQ6ts8dfMLt3H0IlGalLz3YB+vweUbH7j9X//OnmkgRCCJ6QLP
wNn+UGBwqjZh3u3o7au00v32NabVLS4QWhke9m75CVaNqeA8MCCS9oquU9VDvTHnbbygGqO8Jh/N
7FeTq24eQCEhHXK31QX71h+h+g409HxtFkPnsWPQXQKoT31LjwZ9/zX4gSff0I22pm8thU9cKkkB
DndrdRJeaXm3KOHSnKYyvxuKrBqeOlDiV9EbBTJljdWymD04AozAlrBNofhuaJNQk2N9oaavljVo
Ey2QhO0JExza5GrJXvioU8j//KgZ7mdQ7IWqXs9fc3bLW96w9G9s0h1TkL1oJr+EWs5rPgDmKT1M
+NoF+kceTyTZNeCY8ltKu/sZL/klX+/Qu8k0oUlAZb/hHWsfqB7/vYMNefd7yA+KRnbBm++owpkw
//b193PZ3QnTf5fvqBu/QdHZkFa7Kjm/UN1PoRwU5aW/Y5GtOLoZO+Yvn0k/CflKRgcpE01XI6/r
+XHHf///2ueg2kBZ8iZtzBHwHraTQ2mMQds87j6AFzCPsUAhH33dLP7CgaVXCy+EG97qBE0Tneat
5SetMOJEXj+w33fzAehLPpd8KmPwMlvx6ufFCbfM/Vr9rRef5IWWrWWS+H2SVta4bPbeG+1I/cXO
FGUY2lzNqulAguMq4vTaukuHDdlj+iX4pekLhGhX8ztAEC/qWZ+0lbVAZqkLkzj+eXywv6tk0FQB
iUjST3qiW+Xvd/xJulaRF/mA7i3t7JzT1CX+XOgLjFNI+ll0JzRCdelX2vX7k0HYQMGlvK3SB6z/
++5QFbgFfQwFS5eWm+jMOmg8e7Hy24u7+LKTU0pv40eg29dcmbT6xpc6dQYWLNuTCvv8Sa/5IVJo
P1FSjLvl8ocNexk0fk+ZDH77fnexYmPdPkSH6IFMlGZh0+7iti6n39LCbRiBaVpOpcWG1PPeeCd0
MpCy+JnzrkxLS7rQQIL1++mTtiW3XFvc8g8d/CI9u+VfWq7QkaG7kJMY+DgUpjfa39LZkn64Oqov
PR5Yii9SNPiyFn2QsSH4ty+dNp+owsCjkPIEyKtTOYlfbFrNLl5wFsIDfBbxcSVrL4CJYyXsNNYd
RetCTRWHsNrvQqP/pu2+c3AV/iGiJRQPP0+/FTfZgUAYQUSDKhbAfVlv2ngyCDlO+kI/qUdKmywJ
kfAEOzLFH+AeCtPEPBFaIVLAdoicg4SPDAVLLxXcqbBx4srV/BZdyYIkVSkdH7M1+L72KSFPOiXX
CDcrFD3UGt0zNh+UumRd+LK0kKxHYF74rEXiEqbEesorilWU8iSTM19eTex7/qvHHafnKVZj+Xmq
2KuU7yIsAUCTKZsjxkr19BjhSmYfo5o3HeEv8XEkOqRofMFaaE+B5WAp8SuQYJKgUHg8JLjHJTEh
IY98phTFcTUNu7Ya3wMdwFrLqMN4L3zBCG3pknAHXRVT8p6FdFMng6abBBJO0NxI91eE60SpVpKR
m3IlJ1SQrTPmBHV+dsXuSmQLUif0aWJFkQ+rO7GVk5dSry2EjLDHlIccVTA5ckLeDntCLh2p9WkM
8Ysaq0IiKz+QPct1kgReAk6kBuztIwt6pmRnjOXwq6Ki3eWmEApjoiUIMgEAFUQw84CEh48Q87o9
7xN0hXI2WTvN18BmuEgs+0QFk/Ukkw8Casf1DoM3wnLSSU9CeZZYLHY64uMH05ikmw+S6vtfuk36
hAsTaSnOetaZG8YfqomK3Uam4fDN9BMcoaZTP3txiSWPuOc6dFexO+NScXP1tM4Bh15BTdpHssG1
X4UKlyXjyBClcBkCwdOlrLnnzuuknIqZ9mOFu65wTzO6XGRy2Yst6KnP0OEkX+SacL9wtWIrucTs
lR8LOMANoO7ZTrdbxmy0/Rh8J6zodtq3071LBQ4Cn2SzFf9qPuvlsQcqn4yIu3zLrv8KdSRJp3Wz
KKCB9f7GVYvkkA68aUrJPd72fIyHONhL8KpcTC6a9H4PWhhO9w2qp1XeByPmJGgQwp8vSvqs45P8
SoXgHnCdqJFf8p5/Dz4lh9NjTs/lpx2/prAClVEagtxJ7uXYiggpivvF3PENu8CryN2OZP2wYPi1
bCR/9rh1sS+G8UQKzvIjPLNinmCgRd7TfxiblSPvLSLJwoPKAzucqHAXoJLFOF1moA+OFlEHwu7J
ETNN7QshXT7s3xXiGDiKL78kg105Z9XSlvLwrJyH0yRNwucRasa3jeqyDJtSkPVJXDvYEFNT4DSb
9Ov2xuXujuiAIb9Ji4GxgpZABINAbHMcRF+X/Bg1Ne44rhxg6ylF3fOczWG4+5Llbs7zTmGx0zMB
OI87wrDktmGX/L2gBgEMg+0GFRtBxG9tlDteNylWZy5n1sPoBYj7YvEZ3Ly+8ViwDy4CWx/WdKlY
cjx8y9U6UgOXqwi9w6VHghYBWVSYbFaeCifh65a7ViKvufMeB/RcfGNl1qTcPEZQ2CTakiO/kYTf
NliRipWHDG25kh36JmgRV+YzXCG+hdvjH2Yq+bk+IW539j5NOD4Iz/WPc6Yw/LaASQ4nAUuUZTl7
znsU/YDbe+MOW/PviIU0vz/tPmbDGrM5h+cQBTun3rU74+8IV6Yhd4Ia+tM5zB7OMVRdFfnAiMup
LtXRd1TuemzdGXMbOgZvidlgyaYbjh/1DIcke+E+tRJ1iQ1SUu72Pof9dTtjlTFR7k67JgF3qI0m
oVNrbXIZuWjfkTIAeag8jpPQCb7Z3nposJfOc2XLRePCxHwvv+c28EtuA4yDo+Aj3C1lxoOxApIA
r4ubtMO8/eUZZJwBNGNeW1j/bulzwe3sAFxIwVFmDew+eSyEIXP3nnjkp88PjjQDeyIcJIghrmL2
s4wFB7ZN3waR9Vc8Ncw2TN6sFWYGbcHzdX8i2wS9hU/1EyNUlhhZ8VJQEdHBMXfhgcmiAIskodhG
XTMgjZW0/2MJ43L2SxM+Ol1MK3P4IybNuMfMmz/pCZeCJRnKNLEowh6WD9vgBJxu3GGeEXtc2Pwv
r1r7WFrlEPuzDPwIjpms30chMuGMRubIHO/77YXP4ijoJQinvGS1ximTOTYDzjpY/grqXnJwoL6y
eoBKST4omSatiNiSNYPg82hQoHzw4xOVzm+elQmbQ3gFroEpLGsReSigsqw3/hMq9Zo1WAq3ELvE
jlX4chl8bF7JykiKyHIHij+Z+E+8EU/OdeTL5uDTE0pnslyenITDv4+r5P33fRNdrBqrU0BJFrtJ
B788WPBiE5kkj+wYCBcQQN5Zq0AdLdp/4gppHb0lnStrULeVS3ZOvg7LsbEPaYQG4wsdDX6Xwzzj
9oYQlO15JHUzhA1R1BlC9ia3eWAF2JiwjlAbfQB/MKMEWT6YyVrKtxJQXYcVbHk5VR5pbteF4ADM
E7zXcCdfACcOAsKefDSjDY1Iw8HNnegxC5Z/HxX1YNNRG2Qe6ttCGBMX0BOX4q89Jf53tgBmwh+T
UAYmkUD3bxdiD7VnI/MNiIaSNEttuWSt3nJ8WCXKtA+0j1vCwO7ATTR/0EqShfDwhy3amBl5YW5h
vsE/hOXNkggPcDqlGbLRNtBf1VjAVQjb0jQ2vSHvT2186EQXMoVIbBZ0NTJsGqmZ4gJnFikeeaaJ
JYd/yLBWwK8MhytaAO3TsIVvURheQ4wQ7ByrCn3MK5LOJx2mIOMkp11ldzCwwF+OI6OoOpi2fKhV
9CuCW+C4kz+l5QRW1t+1wSYKUpeb2nTa6CRdOy989+m84Fw9rBueb9/4n9UU3oQuq8jfLM0Tw1li
JptJkb4A0BOc6mbCxqwxoPrBH3ArvT6PESEl9zJzMh64OyFHVuU+kYIYechUw9wASsojyBq2YaHv
YZRPoShZ4DYOlTN/meLEZOO32TdpTmZLKw8WDRNmuJ3HufhoD3+4yHxr/4QkeDgujbmgw/hHwyTu
GYphEc1Dwtjmcsf86O1LryNcA82P+4Nvuu7sTfG14hYhgZ2WNn4wLpOI4kO12rHM2RB9aOREV2U8
THTaT+2xBJTXrCnu+GKPr9aBAqYzlU/GWYzqdfDTwF7Zm3ilY6aiwT1iOuJXbNKDrezEJ+m3jRWS
WKcYNrtCtSg9qA0Ut0PNlmNx8Ew36EGOryCnGxucAO3aTTro4RPGW0NYK4uQTlZPC7cwW7592YvL
z+Kz0/FTV0YF/ksMnPvs7DNIbMQFdsh1W8grDMPZqTiAUD0uJuyx7yojLP9Cm0Z0G5sf3EK7mLDn
wcg+/Sijhc5114b4p7hxI17499nf8cR0IgtxlrIZlvvJwsY1a/G3VxqyF5NHyIe35+KgJ53uFhxR
uMCjqjJCOxSr/XBhxLy0ORYcSxybLfmQq8/tFI8ZbWjTa+oy67smRi3uj8tVQMKC3RUWXuDX4cde
SIMjHKf6LjuV/UIS+ppySco412m2xgHyAZy3zYfz/pwLwXclxlV/v+LzOSzDxFmLn3MacpD01OMQ
jv7bWgxG5Q9XQR3KYcbuy9YTfFNiVzfc+IyZjZyNnpxmX9AT7OoPP9RYNtRjeB71pH5bEBsoUUhP
t4O52lv9UeFrIxWdcNJO6Nemj8N85b1MW1t+szo/XP0TUXZtaRAgrk6NWj7vAxpAiyjQPDuPj3ul
8dEl1vrmIccj/WWuvM2WBC7l2exP+0hBAT6YlqSWIJmKEKNJSrJM9bIM3Q0rL5bWfjdrXwiQiZ3h
F7POsFqQxVq4zJZG0THAKnvQ9kEsmHdvLqU87MA9BEfFSFzJKR5UPNeSE8EJj7cr3yfw9ye+j3k8
GQZ5g3eNvjm8R5OPkEyBZRcDa0Q1TLPPG+vRPXkyReyXJ+t+MdY4j7J6siJa7WmzvA41T9Y0Sh2e
EsO4oWzIlH1PWMelKByJsoTiNDrK5RmZHZLbP8FVwaz9hfkLU5sYlpRr3dhSbHIgWkTR64XTq6wx
dEBmTicjlhwm4ipmHCRzD6bzTHGh67OSlGEAqSGYoYdDZLLNmN5vVrVrJ/nCHJsGUWnOQFXcknZF
w7aYVQ5/rr987z3Tp9+dtSb0rLu6J6bvFg6k1IhsehftmYJOcS4x+yZFvYKw7eXM72F7hzst6+E+
g4Pii3blQZ0WYV22aY3FyJ+gkfbuPRiiTFpGiKYMYu8cOTiQmH2YoCwBtiS7cG6FuUTQgCwplS4E
4UK144Vr+5m6PjlrsYAH96XELvYnR+M32F1owQp7nfoyED2rYVyTVWIz8969SFjjGmhdwHm4lSzd
Ddyfl4OoXjrrQkNyfkfS3lXPOoxXk2I+5Xg2VxEJwhhngflS175Qfc5QA6EvGxgJUdEkgRGvOFTw
UVRygVHMwV4J8PeB8OqxFxHowpzlJOFwwxwmxsy2XDV6rjKb2gx4wzVxBmR+oA1CyPwvBqLCkQM6
p1zFQHQ3hTePlslhLiMbSv3AgKUtfbsnIPMJVPSEz7DuvoVUEOGeUHsEfUGlQNwTvCkcKLCvMNqZ
L4mYuNja5k9v5Ig2ToxNqARkCnSFpcKAlBeag5ax43JGqOiRVCJ2+LK1OAuD/ZqoKyl7SRUE+mYQ
AYoToKKCIs6B6M5JI8NwsWyZzwKko9ge4PLwZZf3UNqBk2Kh1teXhYr8pmHERN9UB4FAvg9/CVbh
IRlM+r8fLCpLGjr3cXV7g1O439rqdIe6raMAisvtyjxMVfYcKBNad0L+o2wP75Obb3bgwEhYdIDq
hAPEPn5hMcED4I9u3v0iiJmvYCJ3AGoxf4O5tURgKJJgpC/HDqKe96hBTUIoPscKaTz8wZ8PrczU
8tD/NVMkDRATgkiEcrCl11mWbjIY0Sj3tr6DEtYat+E3j5BuidKYbiIeYZVpPJ3QPG7KAEOAQIS5
J1EMojBsL2coelEZgvENb9OulO3zKikTrUY0ltoZ1zoRtlaXqe2bF8MMxpZMWOKSj5gb2TXqMo4g
WRM2b18wHQSxuZKEFG+vXoMZMatCMp5KzkLbVJd5M3PT7V01u8Svf7VcgK6UqnUKd/NJ1YDrYMkI
0miWzDT6BK6jlOQ4S6t39KS9eQlmbDyhhO0pn4nqjoFxSCnCUfDsH2xh0lDxlB7whfek7oU62XnH
oiMwNgRyN/pJaoQMsRg+2tMp6920Nln2PrOfMsDZ1pxKrCEOv/gTU3Zk4TnF310f5uDe/ex6AyOv
jl5/1FsN+6M7QWi+EZhk77Yn1/mf8RbWq/EXo1w4rOHb6UeQwXmzU9k1lfJBdKXJpWNjNox2GpYS
jzsxPvLroGeLC5pYFkBTx57brR18M3ANtOiXfafp9oEJg3HN1vPgagc4J1AvqJ2rbY145lld652Y
/X6GMGwhpNlnwOfoW7G8pakgAwUZboppHUd3/WuQotAREuKSl5KP85d8WhtVHScfRHmf3BV1z8bt
YmF6YpG92wWJOG+zN6SpHXL/jdANH05hClJENdkfQHES42otLlyKbhpCfCyDDXC04zTbQoHyxe86
TTvJJoXNoocDm6r+0UzTlwlQsbmzdtHnBdiGlDLNJC/zXR830bRvavEWoCjdpqguOZm74JI9vwMu
Ehw5Nenj0I0HOEyQb1d2K3lvOPF20q3M0wn6gVqZAyZtgK3K24pRax5mHBa4EPKqSOvD5GTYCTVA
AFx0FTLxI5ykWUlCoN5LlViYv76RAdbBc3l0rItqCy3qYJGeg/1quoCIzIECX+p+vYZLkLOMCuBo
bDf7sM3NcOWseEbEFB8NEmKp3GBpNxg3PHIFfuAdq5V+snL9RcnlIXJl1YcUoy9YjGoj5R3s1K2x
vjG7AYwYbEGJI1jmqY/AI3ZVaAdivfHRjdvwM27ZJLprLZQyO04M+BlCmhmASATIfxJHGtythi2e
KiZUBHIinlQTpl90U76PeCTcRxqpvGTZkEejASsU631vcsoVFHMPo+3rLEtIgNzU5bKecpCI4M9h
AfjU53BJ+Cjz4GQJ3jDSAti6t9HZu6cChVP/IiSiMMiw8TSvFVX0p7sj3oCv13MjH+//A613QEL7
ZpcJKObLg4T0kHOfAS+rXKTIW2B5MF8gXj3d8oUCCkhtd30dkvaaa+z0qfDDhDqbX2IXsLK5vrv7
le9Msgp+YXxQ7RSgj+fXz2iP4bppyIpphHSSdRmGRtoZrzxBo9KHk9N6NieFEDdhZDMQ1YUsH+OZ
3HhPDZfZBeu+4QtkDc2LliI3ExWw9aejnagBPRqAL9bALkPgCbomNBS8xN6BPDJBBei86aAthIKX
VYW4tixl/iUhd5jmOn8sBjXwszR1XVwB0w6HQIxaGTWpH9g3QaEsCzpQ7xGz4lZKf4RY+DEbHhnR
K6e2GdOplNALYxiSOts82MMpSYCo2uh69AcOrdHWFENh2jkOhF2L6CoCaedSPghLBsxWJyxGJH48
mEv4Bis4CUSGjYl7H6kXPgit0WraiV5PWjlDiu1aM1i20FoJqUlaZXe8conZsFvpuYeJhFEVziWI
uDmFqB8L64hnmkaeROZbaD7hPWB4IU3KOBEhB7rbjrFtY1Qb03wITMvfP4VSJhoqYavtUU/RG5TQ
vYQMR7uBaiwOAV95JL7++2qj44TjcDARLt0BqR7WMYMM2AYIq4Q0OCknK9XV5pdJG188pGwniPQ8
g4g1Mo2rAB2pzEm6sSrWvLZ/rZDBS7RYADlB1sCtpedSTcd9l/V7Po9qxIok9xn0PEonPKjUEdp0
1Mbyug+970wKDzGf3toiY1g5N6tN03hkXFp8YvjfA3hlGQvopDdp+RtpRD5gwhNgsG82CyAAt+dv
UlmEKBuRrsAMhE1jrn6lNCBzYzF9eQOac/cW8kH3XGTlUu2ZUF6SSoakFC+Awei4PO/964jyOIPt
GFCK8x36RW7VgHguWVbpM9OcG6jWalcujjyM8TtWCSUkwRET0t2ZCJDjEzzQ5XMjiQP965ZpgEeU
OEH0/nC8iWN7poxVAnAtxDWBUBbtEvCRAIRSwZvwpNiyCCLvZPjBgAEfAd0CI0smGetPTY0H8/s1
+An1lJKrKkQR0MHz9CZq9Y+1ZubDK+LzZ0sCyfXliDfinHiRRInkJMCMBNoCgndGMRXH9VKOAjYB
8RpmSfgj757UTGdEhvZsRimazMA/i2n8WKqpo1n3l6eIjFYMk8mlBWMZ706yT5NHAX+lEg6uYHSO
uLZIWVUMrIX60ycYWQO/klytFvshhyusFz09jFHoyvoALAplloVhk3YWghJDOwVk0gnOQTZdKY+S
OmLyGNDYhzsDBVfATuc6hDJI6fQLw7bBgOYR17/3346t6fiSNGbSfxkwoU9oIpM/OSrhdkJvj4bg
fEIpDb3LmSiOOdxgYRVpDREcoy0TBg5P0zPGOYe4zT1uOx3rFbRQAkogvO7wEIpdzZ/vzdIBgWTG
emdXWFGjVlSPNXpeqQZLCg4OqSiDNaL1ZN1flwj6IfcQdWEQv+xANu9wDNZ3eXWkEyKONdDHg4Ff
dOjud4h6cY9S/mKFAZs43CyX0E9l7vRvkc8IxYqIG2vNEfiNn8AKU3Rj2zte/6hyltWwjXLoFwNh
+zSqUfnqCNjOYz4xvGNcfBi+13cIejgrl1Mc/vEwG42JoEkGWISt0xQL0vDhlfQ3uK1pOjpinDCq
9muC/uUdx4PWsDXifzTEN7szOr/Fcs2BZT1UUClDSfjA46d0v6ZjCxfNoGq/fUIdwColuWyl2r6j
i2lFR/GLi2De3JlDc9yhXkU3wLPVGHAo0jGNAaMGqYmSYob1h7PBfO/jen51ZFTu7ibDlp4LOLsE
CWlB33n/9BoJYeiKjpzLxlgD2Lc7r7HMrNNlyySWFnEwD0bS/DywloQT9B9LZ9asqpIF4V9EBIKo
vEIxOyGKw4uh23nCGfHX3295bnR0377n7O0ARdVambkydZwcUS8dIplwV0jd3mpOmbpAOCymaPTU
rJ4ez9Wuj+8F5jGImCnOZEGu+236DQoi2Ysge6nS2O1pPmU4qmh5+xh1pfd88vSvQZSJFdI7tIkL
87copWlcdth07+1y00Sc1N1iwHTLRZrGaYPip1ttzuQz2BybomdDp/Tzo1Ut+VgT00dtRHYw8Thy
RAnMQVNGO3RqG5LUW3oyr6ojQ8BKTf3TveN8h98rd42JetSE4h8nJ15ARcpC5XXwtji5dfnF+gxL
hk9P8jbxXWMUxBTryakEFTMt+DP4RInPcvlMd0EVYN/aRl2DRh9x34dt0qc0iBCf4yjDGTh58VpF
OF/g/5YbgewNN9QhtzEeP+W4wS+NxbibmcAO5lw3xwUoxbDRHenKIIuUVu7OVxARPy0BLSfrXj5J
MoE36dDI99hSFYOPrOEiWaVYJwHSuSyQHbUS3tyN8Wj0BbEOmZu4K2ktVrnJTMoKXyhoPvyQU51m
kjWu8GfPc277cgZAQk3Cm3VuzEyp1CXD3duF3aI9xd6+6/z9zYf7AMn+etDnb7q7EJyzK+nx2EXQ
s/zzdbvO6LHiTTPKn9MLqlDP7NlZ5xTVJghEz8TL0ax7toFG0UYHa4Y3xoJvgZlUBeaMuPXUdCfa
kzt7lEkOkLYniaqf+L2sXSKTmXJay4s9PJDweVAVvHd0aSIgTe9YKn6C7bHLEJKfWCsgCL+FBhM3
s6s63cf3e/CBn7Gy1ql/n0flolXrbbEmTo/opItw14zrJALc4v3J+9xY3PM3/7NEAWqKGBbEpwZD
SERHEw36+AzAd/ceoHBftLj7EAzt64AUE5ueXhz8gVCxs6/jctxGHTsPUOzmLcSqdit45Uz9+U/D
2ZFg+XZ3Q7R728V1wgFkZgmAzQ1me+E+NrV71CR/7DTRZkSy7oDsKz8ob6qaFIY6aii/upXh7l9O
Dex96zbG1/QyqpJG1xhcAkRNGMZ6q33PGH86raW9d/dacELKdmBmDtXPE33/MbHADSy1qUWdSevr
zfSOjlkxfLCO2c8AUHA/eHSXhxc0KE+igVhqWXemvPWOM44zVPsE9wObuKcnmf50G9iJcO5NTP64
DMuHu3rjJIXJvPPm7Gd03fl0vyxPR0O7lFcDi1BYFB30c7My7uAwikVAvfibiCdM0fAtPBXzHjMn
5H4C7y1KLymvHknNdsmuebFUuXzZ/o5gaGrlMiyok8m96pcOXtbbmntquHmT2oLEhUNSnXFK0hNz
WJTtxqweV0QwYeq50JwW02wE2Yk+O1w3R+TpeM8WKmnnjP1B8Y0HqNENcKi4jlCeuHPn2i6c+c2B
3SPMLZ6xkfEwx8jorszOxeU82dwwkWUJRKnJGF0W21NgphS54csl1WhBXVl33Fv/vuvcnVNoXv2i
5RzWBgXQMN22HMwD+eH49na6b5QKWWOpD2V8HciavGRm2bydHtrl6LL48A3Ac7sF2hPMFdgrz4rU
Y3faDHT/vrAq50OHuiGs9nRhLju8PPx5z2A2zQN954Vi6B87OC0sjKQtsSZxLM6yY/yNgbd7rV7t
7n8BG7AfDyARzhErrxl+mH0Z2p0n5Ifxh2fMe3O4gPmXyvCFd9N9w28Hg+E7ktmgAVYGfVKnvH30
UMwxwlJgfERr4pCB8SXNwvMHDmzDgtu1OHXbsReyrh1cKsMJAtN6kKjYdS4nmLrA8dm4ZzMfghjm
3FtAV7zjgKanu3Ni/BKxYAu7HgzNNZ/3+IoF3wcUCFIGiKPqjSH76CIDZ93+u02IboGscEd3N4bS
ADe1CHGaZ/ZM+DQSaCEwISsFVTEB66UBJeYT14gPDN1uuW6BngqIhhuXRx+5Fmwh+lv/8HkxPPyk
zDLfPfrI9jQOdzhqjxq+myXpLkhfYi/eqTFij7If4wNfK13m3ohGp1/yLnRZEpqkIevbiKfnIdhk
DSR6GYNxp87GQNQg0BIuk9gS+Vm4w2LeDe2oYgh9wyRfmmLQDnZMT9Q79iTpZ7MqfwgmRw6j7J3N
RgdEvKpUG849URQypDhdrYoERyBSl0vnWZB3dGM68YCksEDJ0A9tyz2Mtv6esdgHE3mcV5w7VoQJ
LNrGQ6cBnsrbvcYllNyWcXJthVmvw7A/Om7MhIxwT43zDg5etbRKym6KGL4iNA1PbsCTwRfe/Jz8
K04SOyqd3WxLasmO2ptTSqMkXOHnnOfYkzPwKOb9HDj6YJPi8/NKxB+QkksnLZ4NmhncBGSYorzZ
t6ikNOYe+HHiW7BUDE25imR+PLh8D2IsmONMm1HLk1m5lNdPyXlJef8AU+JmOyGQZJXjvUDqB/vK
uEj4B2+s+Vp491v0SLGuU65SHLNcaTqKUPNNpz7LVxy3TJpe/941Z4+z7C4y8ZQVz1Wcel3KRuwG
8m2F/xTns68T8a0x3kjD2BMP2VU+94jxAaj54VNntz8AsKA/dsY8T21h1mnonagNUoBZPmgMcJOQ
JVVcsC2HJa/a8r4ZL2OvUhLlMXFD/Q6cK7hknoMB5S1mMDH5byrq2pCrkZBq8EDfauMVte2Vy+v6
0sGSNf54WrwLb8O6r5Fmc/L+xRZ9DBJGLjdiZuiW7JK7nmVSZmPDyp+7RW9TJhuuOwlfzG+yqlaA
6I+rhwu8BG093159UCsR7tYH3/4qOQXn8bd/81Ytl5j5nKPr8E8bjJNr8AImt/G/nHsntwq5OR2W
L8VUuiGB4eJieqWp6+zWu+JUURFr5bxHBIvwSMFhU2DxKBNjxxqReVfsOrnoIYqsgANCTG5TFqxC
m0sZlNL4iZksa2F1cFMLGe76ssZIitWw2WYn0q/EivaFdBluRn76FrKwQ35Y0JGDFyL/LUnwCufd
TTG2VbqTF+TfKdHUhg+apatVUlFz5fI57H4DXXCSg/am/MZOjkZ16bBeNxtFm3rtZKsU+/+Im3Xo
YObJ3VLhKBQ2jx0ie4Q6yxXnbxaoNUQpIZc+wRszTzf0p2VqchqCCMVzIlQyKf3YJ0W7j2O4k8Pq
wBb21EwcF2FhEjOiHEx+9nH8BevW64GhyDialrESo59XH/0YZnO/VgFR/jHHFVclQNx0wa4Uoi4f
j6KV8kvAIGZpngrsC2dNvNSx/ZQVDmdKOUzQgmfhnE4dy7NKGS8oQYKuekWDcwMRB1V6YkLICBXO
/PLXYot0du4yB8DMxExjtjTFzB5D0ZLDKz4P6szPXZnZfNBDC5knPKYFvWbRoD46NpFmrNonGCV4
gExEVeRdmiQcFzF+RBA7HZSmggQzBRpSAAiSJMmRjbiFEyzDHDY7F/AdcOaW3kkENtKPs4xgb0To
+gHFwEHvSqNYdM8VzcbLe08KPKyBJ3C/YoiAuAE94FinpyC7U27DDm96sZg/sEMwNICxUAt7+D8m
30tVLLTedtAgApdvjQk/7NN3ckBSttA5HJvCp3kHMBy61JichlN0zCuGd/ddNP+0DxjRioe6Htd5
deZHHhvzDw5N3hor1dqPGdVda/I2HOtnY7hEiw3UtYSXI0SJnuAJmkH+AKbE2O/tFxfccOvM81L+
4FpJSgNzEbxFp+FSS4ZU8zR6M/uP4SrDZRZX7sEj8Jt8Si705AEH0Wa8HsjYZ3lc+jg3vXKUT3wc
SLEqUCxkgEKUtBEsqOYQmMpVpjPEJq+rJGtBKUjBFlpB57WhQVQaDvXUiQBHL4/X5iN1+CbIrQgq
9euxdGaEFvysINJX5XJxH2fSDgSkgYEdMD0F2oIXl0Qz0DVmYhvIvQE5lL2RQw47X3/iv+dQv6BH
jZIPoJjNafZ2kWCl1FzwUnfV2DyZNp6IS9ps2VjoXukRW5xXBBpW3q17xlKJtSFb/6F9/8N0f7Rr
f7O5zclPLcfMJcVf0ozKcA7oIEa2GobRVvZ7KMT4FQNppc/QAbhwl9bq8PaaK3hL/j9KPq/FVsoZ
dF6yNfFdycZbC5qCSU4L4wFb6bjtl06LKuWlbI3ym2pCHWZ6eP04tIzPjpG0Qi12u1Z8z++5841F
Z0XpJOqWKbIrb/xxt3uHFpMivX1wqNdQrJT+jXScptt2EP9UjCyEsTuF/UJQNB9bVDzocEgTwwmS
hCey4Oa0N6ndp98NNha966akwQ3lhCehxmt43JRiwMLDbGhWBSE7HRatK7Y39jt0IRL6Q1gi1QLO
ty13BX9C3SChAvUx+TvkP4nKyzsAKdUH2PMQ+GLibeASR/R35Cd/TkFRxttxnrh7tZFgUwWwLduN
hZsFDbVsS1wnQvPUyeOsxBeUntnmbKDaIn9gn4XnzL3MUFJ2HSQ7aGkoFfuUed4I5sD1JJFuRBEr
IOIOwwaGfjkPJCtRVFBhxnFLJk2a812q8C62ShKKt6DR/lTOFCrS/WXiSXpdjSQrCyFWrCOZGlHK
WkEXXhH0qN3V4kdE7JWKEVItYsk0rVQcy2H4s8Q6BeSuZZuQnTTdZPFInCLkjN5sAMUAnDgMNxkn
C9Z8m40YNhnyCaVIg6xOoIpWKyQP/OPoZCmnCceKHGvgnyvc1aUGU9VSmx6zo8IBki9gca3ki1I6
8c4PEjE6iy55slN4tvGYIn3qgRhMudcH/HlIMe3ibxQiCOME59NdWYVS+lXOa7mynFXIKZpmZ3Xz
F3GG9QP7JcchNzq0Rh/I1VHFCatFvCXQg8fFm3KRxKXlrDjatyp+p6fwkMz3jrbZuk1Uhce+xJmW
PjOR6g8RVVvUZh4qEdjpNfwcZPe0jWiINMJRxrfYc43O/jPNOPBNWVO/QrVkWVGwBhkpZdmGY/9F
QKBY9uN2LK7zXF5+kLXF0U/JGG6yA7tISilYstkzx8md54sIYrLhj3OqTT70tUOBQT20GwnMKocD
5U3CX8kiWglmY3NnwP5AA0lclWoGSESJbG5aqq9b+rvu1lD6RBRhLq+dSSpPjsVJykgeERAGg7MT
tljmo9hrWew9nEybyK86DZyr4Z6TC4r9rcpX6W4t7qGA5y/wbMan+OTY2K+wV3PsIWU8P2APLR7G
FVtNqEWCksrpTw0jcLjFn4OLP7Gzusu4ELtRkOe89YczvHX6/Yzg7ti1Ll8/QLnglLoTEC2nKRJX
MTvTYf2ZsD31P+0l0PVQ0GkBIEVzupRyBMXHydfwMqTo5oWh0bWsIhIlqJFhISaxl0dceJimUmmI
JSssg8CDMktdd/GP8IjlTokGggCrqX+CKfBFAQcrGHsJReiIFccbne+S0+fnt9HmDytOfTk6e49N
vXTgib/xGPrtD6q0hd+mCBu+yWuNWTLYEYNC8O/Khv+hPgf3d4+pDKjIDCt8xs/sBndseEKcS5Zm
goMILhMA690WhpNHHEkZ8OeyiMub/FMQT7HXZsCbC4C5/X5hyEflJNe94QNKj/092zfc/QxjQRjX
BlzOT7TGbCwT/5Cn0XkN2iU+jyLxaCamOk0v/VfXVJAJPwUaaH0mTLiFfHuf3uC7YWb5WpATb5Tx
kkKCmSE5lLh3nLA/xWqaMfpb8OqIiAnbPn60rpDRflGLoceArhe0GAM/iA5cMMV0DpwG7gFUudMi
7n1Pj213T7iwRsf1fWkc0LzPoznsWRfyD2MR31lj9ipmIgP+bceYcFTDdfIK7WCP8aZAU+5S81F8
vAb70McYQQA27i1aJNDtCpUYnh+WX9xdhER4NeMnWHE1Of2FJcQEZAlMx0D7dWgzZdqfxziwfbGT
pPJYYsxVxGJQUVO3wZGx7Rlz6MLHQJ4d8Byo1sKt7Nwti8fhtgqJg/DK8cTTLZT4UDY59vEprtd7
Qp6ZZhFlgGBLmCN20NyAkMx9ogx8wANeFdNrxqmh60RD0IjWu160j7E3ODNvxEX4JGukWtwR2E4u
+nCIjbXTWgD1Q+giHOP6U8vD37IqMIXuyBTXFvtn3J8bsbilohVvxTib9J9Rb0LuvIKG5pMLuk9D
KfazolBhraNW5yi+tKl+aopyzSenyYh/STMf5tEoEqUeCtSx+/U//Ae1U4eSDetz3oTaK5Bynvc/
ek34cq4x94KXARfPyY22oeHMTBW0eeit4hAvMZmtEe0qe5jY4XH15MwXgRSbOpGnLvbILrVk52eY
Tg/J3rTrhG7cfvkkqHoLgR52XuvJSZfiuxxh00cqXmsgWypbAB9BpB/oGVPGCFg0wjn6OdsfERkS
YON3ek1u5XDQRzvXcJopouqgv8XcG1+NeTxjZly+8cQgz47mj9EuIjtdMfgnn5YIcTlicZ+iDCsd
5MqciXV/Sqrrtu14Uwz2MsWJizFYQJWLSMjttORzgbPLxOQZ6ICz84hTImWDn7p5giyIGevgMqxZ
xNC3GLghkUlp9CW0L9Tph8wXz3rWKDQubQ1ORaKmmk8PvVp4mx3TD4fj010iB+P7oQHxoWBZYltY
aXO5T1lU4FqsOsg18cAbsE2t//AzoiLE46hCIWFkJma0JNpgvaXHgKDnjZkZATmr80BYjqdsrHJj
n30kBHvM7H9pGcQgrWlC4XzRzhQlfzzA4/1J/lJNYU2CRhNLNwrqR47bbZ9Hbx/eBtcVsxjyBVg/
tJ1icSDMFlAmVZWZO9w7Wop90gx7Pl1p5Z2/YY4wj6OacavgWXf0ZUlI9ohQY5bMNbh0dvEtq2uu
eycVlfrz5DWSovfo1cPCl2PyEmTzMYXDPbjP7h19DFJlUow8MvfVx7DSo94TEIvfNAjrLCP3ilS4
f3dv5KjvyJAHU9K573ufSmHj8qzDxYQJwbA8GTgwu3XQrV7ERV9qf3Q5V0gYYit4LgCKA54VHhNA
S3kCTiAX2DkRygs4AY+Dup4PHJZZF9W6O6KKcLsLj1qQRGiKcOpyxw6sOIbxiZF2IiKnDnXK9nE4
n3Snj/axb9CZALh3y3bVboVGe+SaAJtLkBE+Na+XZRCwz86BTKuw2Xc3Zz8Ub7AqAf5yN3tF/CHo
TkmFdeShIssyJh0zLUEYBMxx0R9uzg/XHqoNw8geKERTyXFPn0jGGIe+1AWofH4kFjFqos2EyGrR
RZZxnfwxGrEYYzcKUyRcNHiTAwfstb1d6Bs6ZAxJRECyA2q//RKF4MBqGH4Z6bU9SSYlpQ2r7+iA
wZG3BImMQmW/OScfXnJVprW+4Inu1OmDD7ubX5+Rh98VuW38AGUKjbHphHabWWiSDJ8+A+uDHWDz
BFadrbIjOAj3RFkr1J94odW7+LipkHg2nm/5avh5sG0ktb5AMsfledkafLf0XoJdsblVCe8pyNeW
4KIhrVeXkhKwE7776J/CjGvmsrZIdWZtZhS6dzooKtJP5xNYuZ3vPKMNNK2z+pjNwCwUrQmwJmJi
DOlpeNJNuhLEtZSCdxeIJSoOQip9kEd/ZOSf8tRof4JrU3qudkFC9sFjxZ57d9dAwA9zzlI+/unO
qLmYj82cgTV/Tmo7+a+IWjKAIjd7B4Sbtr8MMYxCbnJ2DeRJGR1kgGRhKNe1A7KJ+9NiZbpP5mNl
F3QAgVrMkjejPcODfCLWtF8xh16bArIidlMNdDwKqzlz2iQQmjBWCVIFT/4QcX11a3WH/izu1gja
hvA64ZEK6R2WjPGb0R5gGSNdOVjYgPJO/oilEL2F4LB0aLYL8NVyawLtvcKVstv6oOUC9tJkUYMK
SLvi4btEHT7kldd70/D3wfQIliN3mZBPXDAHcGaggTGu9XxiILYb7QxPhnxKOkO69yoQSCoRvQmb
OO6FP7ky5issR/nve3pVO/7Mw5pgRIlNyQtCwuZL7TnC9hDaW2byQHByy7/FFepDyg3HnnOgzsDK
wNmY4OOkPgNBYXAPq4z2AV/Q1QH7a+zL3AluOMIsfto2fm0z1QShEQSjgN+/EsuIqaHEUM0kOYXB
hB4ZKH50xQDQO2LZxsE9E626UMJSGMuQ2ExNJAT1ltx4BhUuD8FzWkdzgqfC9ukkcBXgyEqbXljR
yQXaNWDmH/OLSJCkhlihgMx0Oq0AMGTiY9jDp2kRHdPinQQjY4CNibuZsb7BmF0oML9Ih5EVjd9L
bYAmfaR17ww6orZkvK/GXMMrsBNqy28i/8r8FIWvSaEOIieFCv/haww5LqQ0/Syhw8GtZDjD7sqs
t1TCJjoXTuiQegj/8aWNY+i/AM7tz4Ojmb1iIidoDqo4V+h8ILmAi+8ONNHYwO5Zsu0ZFxqxX9JM
pzgfgiC0BjAVGc9tQOv3O3p8CIjfKUGlwcJdzKld8Fai8ccvlM0zLK7q3qmPfzHnWDIku7VKWcAy
ckHFRQk4L/k/Mm93UWfGKF8DSnHQNVRK2egd0JcT4M4SlINoxZMjeIL8AQ0UcbVWH7qH9pu5zpDZ
KbpK6CCH6GHpQYkH55cOaZM1iLyA9f+iiyYhiZQQCTCWl8rcrhYgs1DfUStEF00h1YbqP4VPNiQS
6l+R5EV/OXXQEEb9qDcMAn6qP+57zHZAw2y+qb4yTKcFASNcPmU6yl1AqfaWYXUp9BGKBu3p1ami
/eSBNXfBXkSxhOyHHHR3JQJBdKq/0AP5hLJv6qAO1Ep5M+M5pcbCoZksuNagBeQWNHHV0M+4N79Y
xnWsOJ0SE1crM0GHaVnD/BXfaSY5a0sSgv1L07uSTk1+9egCnm+RnDg/J284bQsBi6qVDpCbzWDc
wSuWkOddFB0ADVjyJfcJXjKSR1J45+Vx739q/usW3FDtDL4ANPgsuS+q1w6loD1sDE6BNuVRaR4c
ItQ5P484Yyw1KGnExIf+5x0amIAOwRYJHa3dveuf3UZyhrdJQQI6ia24mhqBMXv6B2xY8a3+9I3B
tekdeIoTe9Ucfuv9Au9obfDYwaQfOIZ5cfbT0CA8kt63jOcPLiB2nb1mxoQJlsXfRqzhwp+czpFJ
PtCXWfztNm4eXNrA08G/Iy4mE4bx3TW+SwaRjbpD0fjKS9IuzmtUThUP/tHf5vaubUrGS0Vr8PCI
iSQTdBsUlrRMgO+vovtlT64xTYd95Rbu1EIXbxNQAEB4hLAb7KhhxY7oiegDVbh5x5/v2hoaKDxa
3kd3zsz9YGjQvWIWkd5eij5Wh7a31MmO91u8yQhrZp6kxXhNhIShlhWHuIzVBdHvKaps74EPW+m/
2Cd79YWBTPHiaWVWsC0Mzsgvh1fD4XfR+nxpEQhMEdMY1Qju0fPt7sGuzymqj/vOqcGvNvrft7sl
vgkXN8bUDvTl3rsxbGAQfmeZU0J0tx/3EVBIA4UfAm2A+JcF3kXHwhZ3Jj0FOiFDHtXA/wMnadHZ
MbRWvqYHKrRG+3xI9mjJkzl2Tt4hKDgWMHfFsJT9kTzxihjzFlonGOnu5ejVrV61PB37TYIw3dqh
y+1u4WBzAZxtX/5AcjCR2i7mVVhjE7+JQdBOhlZe9dB+e9uePkYh8WG7eN+cTGrlA8ZpUCE4BvrZ
KS4QHF3DV9YI69iqPkO9jS97eVUXvGe97QvWdnR9sLMIETcfCCd77yC1O12DOnYOM8zgb5hJ1Lzz
s2tjwkny5ep4jp6gOFue5MbLB6WtmEOlsTGwOfEuXsunnGZLayXFzWuFp3CHku4wMov++eS3n977
yXSl4T8p9p8TjeF/l1Ffz/qwmVWgew9m8PG5eYO+UBoNKc0sl2rDwCZ6zLUYsx1TVpR49teh7VYP
Ig50tJ0pbHa73PkTvXudYKIIgFZEV2++92ye9cKbl/G+aL/rAcqihxbabDVFiF1F2X9Ndg3n3b31
9j6U9W6Nn4+7X7YKT2+yonst/e9z7J97zdOfDKsWBY6I3eb62lAHvsHcaTDZRPTEMXyQTGQH0zuq
Y3CczTc3Jq2bwlj9PO9YH3qCv5e/1xgs5iSy8N0q1WlQwLk/ksvHf1BhYDDNk07azc37fodnMLZQ
Q9N48+uEk7qxcQ9eOFNQxO/V01IW5S3ypZI54ppbfZWoCArTA/KHET3XI3PH+cSJvnW3zY5BR1OG
b8ChKkJVAr5YZO+Xen3bx9ofvvxV3MKTkUQFYBGclPaEntf998u9WYnReV29G/mSZdzMqrisetq+
PW+61z/UOjUwV3SPx6DCSdx0ikc4txda5xy9Lb99HnKFijne+8sPlSQdBwvtzvF21twK5YbhH9Xt
4tDRG2M9RF1U+IixQH/jDP5CMGO80cBZ8GVjgYJ9g4pCUDDt3AI+P6NYYYi4VG9Gbo/oT9Bb4TmB
tIXx6Dn8BveKSeZnIMPOFnXxdyEwr2C3wP0cCxyYUNLwzKcOcUZNileoaByaSUAYbXtNERLMu9se
tILPR+bzyLoTW6Y5vy2fCC6Ydgqr5sBI0FRw8l0oZ49Kfv7HoSy6cgdeiYXeEYSDI4fuAlZZvge1
g+AfnFMwUaIDbHXrHFQ4QMtXFcXEwTPGV9SDl5GGM9ShY06xLuHcF6weYogKF41Gn+2pjSMUtawW
4RTFz9tgJ3hK9R9jEJRmxD8U5+ktfIRiemVGc/eWaG0pB3edOcTMSmoNOkC2AH5RfnUqf8Eno9Q8
8qeEk8pH/GHEhCM0eYV6twWhc/N2bT3dtbG+9prKbQ0Oo9N6m13WL2xml7bmbLPDDLVWNaYDuOOv
CyWlcf21SP9d5222xQo/QijToHDvVGNtyg/yjYMLBgN41MojSUOKH3sPnS2lfJWAyNOAUp/aMCVS
iAmvwfWOKYjYlMJ6YoTc9RHru3NNr/Gr/7jCae3C85RFoJDW9c99zGLcb6c2qoeNZT2JGfVdCoWy
42UuKXqW5AlOsNkA10g1cwY4oAZruq0Ez+0FrRWd3IyjOr75J9m4zNGd96ki/maX3K5Oofu3VVzz
CHBQ80nZvnardkWExtUIvicgMN2X0W/WbaxPdhgnmEHp//2yllgBPzAc7TjGL+rpjOuOGBxguMKh
+0G8dMopcKM9OisL+PUPUAd3B6rNBk46oNJSJwM5Mrht/6o9XFs7Lx4S9ilc0lH5O1B9L0gFLHHV
+BwxRicpHEy4SQ23dRd8b3CqVvgFA+2z0X297TM6rkzGsNx799inAfO+Xh1d2uAWGf55aMVXXCh9
qC3qG9Rhc44s3HUbWDbsRbTWrJhgb/SsYDs84wuDYQTfo92e1qHzPu65/cfwlDcW3cvYo5oIflOG
b6f/J743zGks1qBYQzoCgr1xLDbqYKeYLijYAre+lg5BJiUIYOJq6cy87dEvt5hOYMDjMiY2wZsP
mcba4gvTUswJmYMPGoOwyTgfBl4kTPiMN/0ujgzQe9jZUPayBSFeQrRLz0CbbCBxvHgH74mWiRnN
a3xBJyKVOA02ulkmECGTWCTsLr4Ovvdr7IX3g8hRj3Z3QdMLH5Qw14sSQlZahiBcaStRuFxSgRb5
5wiGI6HKp/8WxEg4pQLamvRshl7hzwVIAu0cC24jyhueBmw72IH2PXrra/vaQQ2GYCFFC4kybAmR
1amgdBpLHg9PSMZb/9BSBIy4vAs77DkbGe162+UpGD8yHpTeqFzVFq+hyDk9bWPhCxJx4+3Ahes7
MtRdKd0vlcxzX2geuNcs5or7eItwQHipijidc2QFrGemC+fhHvIHQx/xwaoz18RtqK/Mzjw8to9Q
dA7zJnj5oKPTOm/vQw/C9e/qLFVsNb0uTyDXCR+LUbgSOb1YI+D3P+WCQ2W3x1NvwX0YQQtzsDjl
RJb1lGEuoCt0ghdHWMMvZiKHsAuLxr/HcjfZH49+xmHKdcBXog5u3+0KYZwtQGi4dalKO9wn5rcY
7pVobVB+EKWc/+9Nu9MR02Js3GznKwg4jFuT3OWclduJbk920k1+AFNtgh1YIO/DT9KrgYsDkAU2
rfjVXy6XQ/YJTF5p4id5TqbR1mdxwAkqekKOaJhdTiGifuV4EPpa+NkNw78irBHBjnT2PigVS0Lc
+SQcnT8RjbwQSTIO2ATFmoMxJ5NfyKPKpfECMgWOQaoFUpKGHLIAWqxWacVe8IF8a9BvdAkrwctB
v1irvEnp8SlwsAEW58Xh4n5wx2/u5oEqR1xtJxfIFP4Bd8bwAaISyatHLu4a3eNY3plDzWOyQeI3
cg6VLxP4zJ0Bxs06EC+8LL+cayhnJkzzCA1WBktgi3kg8goUOYD4VWwy3kg/jynhkVpPBxp8gQYk
5mpfxGCTqMQJUQQsOaj8ytvfk1OJvaG5opK885EouJ8qrFGIX0K9AtTL1YNv7NEnJuprYg15XO7N
3uGdVuXfLayeW8SIRCPVfGPAG9ntd4lBK70hpypTIN4dg8Tm0KRVI87i5X+RQgdfyy14SDEs0ybv
pkdhShVfjOlOLSRlw7lON8mPm4AOb49WYA5eVw9oMm+EjkUVoCGIUheJWoKJMiKRq/NIbBozZAL4
AY7pIi61RGZ2QlpD/k0CEV/hrmNNTSwkb2I02QeWA+4sVFFz90xZ0T8qDlg7slijVAiUNMqe0mlr
ABMq/7fEpLNmAXCPzYyhZNpUrjyL+w6DJHKzemc+mgiXUQ/E+hjuyYDH7ICDv1kq9PYgTZqE1X+w
cvCN7k/Lx2q7d66jDaLX4NThO99prqiRKIbAJKjFah49hHBFJnrcQuoCIE9bRB+QP3TOqFQLhXDx
FdamXPy6LbwzfzT/UpaYQ0oTkDqRuwlnTNSp+Be9Uk4GPKvo87DoAGnjeCA6555Ay2EP4qLbrc0I
pfEPYwNkGCryATg5/sKTbGc23b66QVHAzeGc2rfx+sNFJBL3DsLQGcsk+lZIJrFTwGVZqNrEDnOh
cG2nx5AnHAmh5YBuH4XahCfowE4OFx8JKCSD/zsFacz/PgKYwUHwcRmsgwhhK+BUUncfC4gUnJUt
JRORIaEqohI1XBR2bEaZ1JNwjj9mXSW/3UnJfPmE32JIhONJ7qoAL1LA5ckKrANpKzcS+10liasi
jeL+IX1b6nxTMMSCgUaxXRbOltEG0Egg8l/2mGwjE7YOU5wZePCxGeFVUf+ZP5AcEJ3nlh0jzHnb
rGRnFSxYxA4fBiSFnmd3A0olk8fD5ZeBUcFReVxQyMmSg8VTxzG7mGCzLH6sNAThOtIUnbMYoWcc
PgOdIwzGL81lEkt+Sy4Uby3y8fnsyouJFE6WQI1cDcFeTWTkMJFizyGJuDYpLnx8WAoxM+XhBRUU
Yr3k/rHLwPlKCje7GlIAWIdKNsK8CGUOEM10yUFsgEmz8Ykc4UcbGyQ/cxUzGzvURvrwEm6AXLDZ
bIaVAvAI/+HqkkTJp5HHRd5MAm65APwKGPB5ce42ggZkinwWOigSilnLFB3okefosrGL5UJvRROV
SX2Qbsg3ZX3AibCB2jRiJwJ0b/lb1YnH+O5ZcJfoTU6EiN9s1l0kO/GJoKSnL6IHuWS/FEWCd3d9
ne8BSsCXwIaHaVdut1AschHZfoGh1UPkkSgPGY4l6By2We40F08mOuUQApgW0eQrF/Mx2jp32UyW
PVEz7KYY1MsgfQ+nnBgIVwgXNKBoekn8RCEnS0koFnc7htkJjnN2aVmvK+xsk38Cb+FPDkiL9z5a
pFqfuU1iZJHJ8tuPeDt+xFf4JJvEv5fz3Hpiw4BWDhJKEPsJ91AydOup3GS0K6I86cn3qQFhHmei
MsHjTTB7uST/7EPYhYZc4GjHyixQiXx7ct9FzvrECKYV/Ls+J5zb3/68U+NvhQ1I3qrcPCV2Co4J
xbjiHDYhnKpAyC8RpsizJvZ8LEfWI1pazedp/OUI5/KnIoWp+ecBK48YZTzgJ/WUM5B//eAgL5+x
6WgZX1sPksmbOz/h2UO/I68uV5IBNyXeNJL+IjrCd7v0nm1oOG6z7EnbUMz/RbeKlb147EtxIKSb
LFeuqXjgfLhBPRz2mL/Efj4Wv3vJH+WGM7LkJDCbCsUYAjpeu+RuSwwUz5e8itAVULmMSCNmES0J
Jn5bDOussCfm9chIRaAhrAipAwwCQmwQ3PJsy6GONkOgcMyBieaphZYTbirYVhpralXp3Z9uF8kd
tRtBd24lJl8VEGO/23UXp3D0CeCxUPS7PHm8BSUWYDMPy/nibNRqkpwiy2SS+/9iRMv0GLUUYVD1
4AvPbex4sJltFBp+MlsuueZSVOUJXXqay93ndqBCNnv7vNF5+/LomBl7OE453EvZrWR74cSTKk42
Qs984Z+N/jNi4AspKHQnkl4FkMJt4jb/gVBeHhjLcFm8WlTOodF2pZvuEOSxFEo3Z/Mr6RmyOUgz
OIpnsKvNwQOYFEUmcfgVDsDSSmt4O2RN+9GZ94IYnMIKMt5EYXehVHqy+1uUUIhEZzoKTs3Nshpq
1eDVry3q/h0WudoGW3o9rOJsTw9PFpJ0wqp+5cYT0AFGvEuk8ti4BRY23URxu18oTg058NDei2XO
qQwNqJzOubcjU8vntjRRLzCw+nVPYaxf1f6q3mtIblQ+q/rytTy8I/PZac1ueL7r6XZxy4mQKL0z
dhQsXIsN8q/0LoayMBe7egaPqIGjSx26GZesm1ud/bse3toWhq4vza+btHs3SvqmRVPD5DyLGWUP
k5s70kue7PjsQm8f95nvPCESilkt2pCrbz8SYGh93Xwo7TZFL1Ts3cPfvA8KeKL4oMNPCwgpjNFH
a+YS9aZ3wT0cixCLaglGjQlDxyj8K4on2h4eheO6Nvyimjo6kb1EN4XJAag3LkrglHi0f5wHqN/0
M8BgtzkwB3XVHInlBn2Q/AMplYYtNPmueFc0VuaV+qIpSa/u230ymb7LSau55l3GvW7YrD34wrA3
VvCamJKvmJ6c4Kb27bYeGcP6sK/R9/MOgGDayF5ssQn+0H0xG0b/Ni0RR277+/6hu3hFD2xGgDUA
d0XCZE8ZnNj2np1HD+UqglsXIPnMHLf/otctsxOQrrYhGZUxLRq/2mZB9xs2N4Z/w+BLLOqK9mdT
qZqH2dwJ/AFsSzGzhLg1ZjIMquQ/ms5sOVVui8JPZBV2ILf0jYp9d2NpYkBsEBBQn/580/2fSu1k
JzE2CGvNOeZocKVm3gQPwE1ODFAG4NrtScWAKJ7/gQU9zOfoSdjmnA6aefdr916gbb0YiDzMLRKy
bBKbXZur3j4AJsY16N/HVH667nnYTM6N6f48gx9lwqs3Mt2YKBONOu+HftJ8vnl23MUHpIWJ82d1
9TrOC5FecjYVB0+gntPLDDtzUBgSOeqWdGosX17bLS3BWoY/HXIZTVeJOLD2z8xlyKI80O1Tu/H5
viaad8SBjpez3OpFjTO0ITkpEQ/vJseeVdidH8YPZn92OV2WnAXt1PSxiqPa8jFyALXB/gkt9Wky
GZbWzYeXvSKjlliCIc4whhZcx4BJk8biqXIu0C93fjXur/np73rRZaiNVKPaYIIYdIzx4UUP3jgC
XxgAwZwHVzyQr+F+qNArxEzqZkJKq49+toQMhF8IJrMXLCf5XRHGI55eV3ASplmFMWmARX4mF3eC
TZ/7417RBp9xV1m7BO4JCHuAlAJy8PMJ9NHL7LKsbLKz8QCcev71XUkK7U+Vn9ao78JfxVyRyVHb
5QxiUOForj4V8GuwyfzqzNkibOcXRITD+NAxAuhUJ/61TTm7tigPi5Xi1IcP/b04zREm6bZXuf/k
MPmckAIcXGdjxrOUw1vDRaUN325obLewlIGa2jw2+kRROC5M+0NY6oBqyVW9pfmcdYFxHnTcEMYJ
RnULm9e3ba/wO8QO8jLJF+qm23fsjiOejuxHAA3WOBiPUToAffAWuVtOJFJ1L4BbgknDfWLW/Hau
xvoT4OqMgfdnnURP1pEfoUZilyRWn5M1xi28OpJgU2I3cWrG0EMoenIVYx760+fqJVHn6xlPab6M
A3QnxyQa+D1JTru4QroU43roYLAAboHm9bHTEL/7np8ey+1kdsJP53RyebALlT0OrtYJx+9Q5uZE
k0VIYmPIAXYLuqLpSyrTQ8H+h2RpLn+GvDMxxydbDw94os0ZcY1SntxavIwG1unpPdbuM+x1WcTs
gYUXt2qVjaHRSKVm8ocxEz7Y7RjTrhRkDn+lGaueNr6NkJZjdoJZDV8nzGOcM/vK3aq6xtn9rlel
o0TraiMO3EP6o7W9jxgn2KrTcl8HDKMYX9vQ6O9gducJWc4F59QgSplzc7FsQX3kBLuvkhnsKGAr
fggbHYNTVA7u+meIxycse6nUphakPSoM4ExWSBPwJ3ZQMsBJQViPqFNOJ1uxoN3H1g1UvufdeRZ4
XRpj1ipqsdCa/gVzlqlqsvRqCFz2eoJxCspTcecxBXEbsizPhkPNHXDixEw04Iu68KtKPwdIG1DY
2IFQs8BmRLaGzAGX3C5rJ52AuWyIt+QkE2BsYJhbUpVxNhvDdjc7xhxCECAyoOwsAwNPjHqmwaUK
1ONjZ9awbXKGgSJ8Q+jAMji50kip6yusBQV8nT3cM3OfDovQSBk20GmQ6ZxZj1mzAHmbQ0hCG/kX
sNjiZIEV3Rx3MXgELwaEguaIyWvtwmx6QLSbtoaeua0cuURAyqGhnUhsXnZ4VlMP1RlwR4DkD24v
TT4kcVg7kOrAOlIbStO0QPQAUZGpivDgGWDapraVAYEjLAzluDd5t6TWFTMDrnOEhrCb1tR/Yq0R
O78US0Le0WGKCftLGhm5sQOAh9hYGActp3BoOWxoPUYY0xG9HChFGCVXtiQqUYog1FqCFKVQY8Qx
BB0hJKnki+/OGRgt6csBCdGlT6nPeAmkdVDMe1N6XgBhtLlV2JrIhKggPJaWzVOphDgAyBIjD84W
EwwLvZHmAzwVkG5J+Ea7xX/oQOiA4SgxwUAIQO//12O0IW/diiCVaf1TUo0fjxGtDDS5DX8tDTNT
G5MjzEX8JZzQqAxHt/HFk/KePkP6R/GuSP3CwurC+MVQkN2VMvGOJYdQYz8OIkCopPSqMBiRcL0s
JGaibHoMVYSmtLwRzdI3iwP8QxKtREuXbPD8MT5DMI6v/0hpK8GHV4Oh6XZXEzj8QZB3bDu1r0im
hL3D7+7lhAPQzzOdeTK5GelCnDqg//k93lim9ZCGf68km3ShHImy7eVIuneFOMuz/rw50hhU1mcs
9H6lJ7NG8I2Et897xounsYWaQJ1Pw3IUiBXPLl4R5q+sc/SxvVU5w7NrTHhHcBpMFtKcYy4kNCJW
xBO+RrTt2b8Yrz1HuoPdJPVexHuz2cSzh7+7Tnp/IiZ8k3oiMjL65b6h7mCd8R2wpDoitkhotIAt
n6hwetLWEkJUUDCTiFMpJidWZ9abdcbM4KwazIEJltedTG9rddwj4qXdMtRxhbeDbqkzGMY4iY9p
ZsivQZoB50+30I6MUWQA6l5dhngoq/hxzO1sCqlFbPUZAWbrLwkPge+x/XJ1qwcHojFA2qDiSOh5
RQCt7utPS9vuZ2TJnNQZj4d1KX/hdV/B9ZQBSY77W+ieQIQznAq62LzQibfg7FMYEZ63Psv1f/0G
I/O9jEinX84oKm59IoxFDCFi5+HKD+UKCprwPFeY6ydBB648k7Px3Qa4vznyjQziFKvlbilNPSNg
3dzefERsLqI0gqBn55tZYhy46a8QR5JDYykWngZBPlkeKkpUVskLViTi96SILUR9Eo8dBsSqk84S
r8NixCIYASKFJtPBh2vdp3NPZjiDdRn1Tf10qG5sJewaTAt0N/7FcAGLWqZgMvJjTPKv96TKxYDB
4UT8sCAy1CIKcvaBIcnog7EEUigaLBEUnVHMl2topxMNCOPbpt9pOhPYutF7ltmASkh5v9239HwC
MrRCrm+vCd5AhLUjAhTNyFfw7lycVP+pYeg4Jc1YWntZ2QDUQDvgLsXjwQis5/Wjs+tN3268ejq3
8DP5azOl1hYaKiE4r230AsgLkYR9BV+hZGwVP1UAjY9rRsCph9+fo20POzHrdWp41m+f81PEkZmX
gy5ICDToAI68FjJfIG8JI5LzDj2jzQnK2RiiQ6sRAc7/YNsXlmiFZJ7eeGXI77CAcmhvfzVfiJaA
fPMsgkZnsfcxfCIEmc0zqHmXoI2wyrK7ydRd5tHgoFcb4Zv7x6NwrtqQO6c47jIQEXhMNtM/Wgs6
GL7DZIql7k3L3ZgsCIAeixFUTNApDP4zPFIJtIHfMoc+b9bzD6gFE+MVZjUQz9G7YL0D9T5Sg/Ps
NgbZgGG5wDgRtr2PUSkaFEkhONssPo17dwqQZO5ZoF6o7oJ8ZajSr+h1InAU2PMHcRIRVBKUAO7k
DjViPzqPRdcrYA0JwCBwSD8hhQIuvvkm/ysZRbohhCCzN9W+yNEbXTHvK++UkKLJX4OUcuhG3CRQ
p1dEqpwpI86v/YnTB2CCXWnI2xfC4/qr7CcYBKtZaeekVof7ZZ95u1cRlh7hCjVK/SZg3gO6KqK0
O8cjM2LoE7GNchUXx4HItdaKfeV6RH2c8nKrac11x8UhQh0V7YbbPlYjNcOPsp4AsuH4VACpm1gB
xaAB51laud2fCwymeJRDe0q9/DOKy9kr9xXFjUnqex7IpVLvgb73Bh1PTRzGXu2tMI7ufuomS5UB
CWl+NucBVRxPcHN2bgxWUlvbtjLoR/Zne4Eejiw8Jgfbvz+jgZ1XTq5BKEfKG+M2SV4ezDDFglgX
z3BxVtn5yFf2ZTXXQQg3b7rkuV7ad2InLk4JW1qnCg4vR0haBQPLh60u92mgQMKhagZ5bvgKpQ/F
NJrtK5yzntN5G/mh0jELrDC8A+rBRvRp56XTrLCoUI1B6l97OCNg4LWfZhzueExA337aOdwO9c9V
N+4/Xcz5zLT103mPLn+vp1um6xfPFnwTOitL9Q2/jS6jGghwan/XZEjTyUTBIIg57/w6sJ8Xu9kj
ByZMC456G1U8NAMRf7KcxtsOC6jAEvbwytR1dYCkxfg6HzY9O8XbqETnQAuuUwI1ZpxgoXzFcRQ6
wehCCI5RTQo3a5lttvptytafs+i1zfwGRxIHfV6oFCPplNqSkPWP/7IK3LKDPrpcQtALqxU9iXYg
PtYiH/CFGy7AZ9f4zLNDz+0EFfgpum7dTSZfj/Lu5jPvc3VrUDrBPnFkO/RIxhpeh1/Vn8hTyzlb
lV+zGNHOIYnvo2jkLq7DhGR2OHcmfMs+joSfltmgBp/UXBmF3W75L9ZazKRA9fAmg4KTnnpsq9M0
pjoEaH3j58GgDvJn5+59CGjLLAYZJYPFTFY9nefv8uOXOlR2KdXP7rONca2CPpOYvIm9MXMtkxvs
mXSPoQmokz1XMH4WcPxs3FRcUD8OrXsRrceA/U/8jIUyVCzzjq3Qb+2a6Da5wTOAVwFR8WGkjDyC
d5gyQ3HbJ2EU/d43TerdmmHhIHhXod9cqG+7UfIY5cAEBWZoBVyewVjtj6gFcq4XjNtSBgidXWnv
irfDU9eQe7eMLhhVFmhQZXtWglNpK4wVC2Zhl3W0H+nt8HlmWgPsBVqA1Vs92oMsQCshzwA8p8Wq
Rvs6JceVLhBgTiexuhoXPgUfakfsRH70+UePPsBzRWL3Y7f2083d0dNIY93KLQJXiH/QRtcfVE7a
JjskxGOPVRIleWcwh2TtbqELaT6j/sXpaQjni8pT4fOx3pJ2C0eg/bR+u7/ZMzH25Zhzirh5lBiZ
+cDUJ6rHg8SuKSmx61PYXNXpTeYt362PkFikSVyrfTuH3rGo7LbqJecxt+AjasbKRdLNgjJMdx1o
r8jPIQbkPtRk496z8vbyQ6orM8PG1mvI2Hv778JZcxnhv9UQll47t3z+264XrTM0UpOysOU9f0r7
pRtPUvEU7DhUI7ksUVsRX/60X9CpPZwq2rpTXcILFL/jDbyEi3z+BDPG97dl5rgCPhm+umfW/ZOy
fM4VTCzElS/qD18Lkorx/Hbucxx7M3wucLqgFq7Gn2EfUibbYIk/aMe8T26zZnVfiGTr2Daio8D0
D96zF6h+TmsgeybaQnw17hhCdJCpdf4GzKtUGOvmbcCelHbNTwS/jAGJFBjg2iDeYtGnEOL50I3P
hVmVDN3KQN3J0K6GidA3Vq+o7Wdeqg67i19K3KmyFvt9ddzePoXxzqWmsg3R4TT4A3KVqsuSxi3m
umIErGoOQ+Qss0oIcIuOTPE7Mw5thcHAOln+MrkTO33xgb0gQFODdFFgaoquDqPbFWmudBdng5kN
MpbpeZwmFjsBtwCyz1EaYaiaGT2uJ7Za5A8Y9Y3uDBGA/qN0yK7J5AZpX2FkBKcWmPy8pxUnSttg
Y22mnwpfoN6oy8BleiZYG6+JZqq4KpAuJRQ1nTHyIzw0JebrFCMQnS3EhbFpu6n/+mGdZJU4CMOh
hzsfCg+XLGaTWosZuWi9e+5lRZs6Tn/fsFUXL787rDFPewIKG82o2vUhOTdMpjnoy9ItjY5d+xjb
vTHARQDsaBVun3rUogCpbBkM4loCTToHLPfaE/Bq74qKeE69v8caH7ZCjmmDTNhljKH/SOBjxTa2
DzAhvW87h/q3o0uelFRMvArqD7Y0ypmp2JFI06lCJpCZYmWfx1x3NHwychI1iu58U6vYwyoqhKeN
pbNbDOPxt7WaqTj1rDiI4oYoo3Pk6lAY8HrAZFj0mwwEutytEEgYuDYcCzxU36OGNKf+8I4cLxrt
Ntixh9SlA402iaLD1vEd+ucCwZQQWcgnCi3dK+AgxCReZvaThb/nDjjwBZX1i5Ks46o71icfQX2Q
DBuGlx+EZyhiLriCioAfRgpP40x/+LKYbnR4Hm0WM6mLRrH9wbX47uCTyxUHJR1DV/jgNpUSftnk
W6B6vkzzpUQsS+YC/Ph41z+TzXixa5Je7c7yyORMxmPK4Qp1L5B5s7TsLFJ/LyehpdirFmdc/CdT
RhGwv1AbspwQf0EH27gtQ3NuWC/W0SWsJ8/53aLUtSlcG7ezasbF5N90kZnxsIf9jLQdSEBNnboQ
mAFf4IJhnYyHBXfpIV7RKIi/BCa/S3nLu8iTA7/GWqhn5hAuRJQTMVXlsHAi2EyMqYxJJi9nSG5R
zKN7tr8VZMnCIssSwh+rfUyd9rpaaus2YZOfYw5kwAEJRLX/tmmGZGgujT5DNjkRIQ2JelQCJ2di
ae1cQrFLl7OqJYKh42O+OFJr14VFWaegb6DIExILAMN3PAg7wfQ23AnafyANGQ5zawCHfjTYxavB
Mv5LGPI+YbXIyE8q9IErqxpGl2T+Mm6n/J69oAzI8ZPLWjxiFFtG/aJp/DhvKhyJscgRhtXoP5/w
lPThwJTZd8VSIMIqcbJh20TRBTRAaJiAVYAZyIVDjE3DD0vH16iEdlFIU3uCbBMWSWp/2D1gXZB7
Rc+G3ITBkh/TKJUM2aBJ0BaJ25VYtOGB+/18pxOnOnTuo8eo9dXYnR2+g0ksZlL8f87f4891JX9W
fiKWG9KZNz6kozGEWWaxHbrrnle74JO02YyOKGvsFg8M25e7Ei50Ag2yANGOTQje3EoxVGY+B7Zx
A9r1fP6HXyjuXmAH+KcIcVc4p8CdcktgMgC1wn18n5S0cfB/+Cy3l/AwCYMSwROPyT/oe4LYy33g
/cu9jPd4GVbQwKkrZVrAj5airKS6HY+3+4j2Xm5en/B8CQRf/PeIAhnInQg5XLHQDfFRMIx4w2/s
OH3SbIRark8bxxUXA918MCS5CLmUUeGZqQ/zPMAdi2Eco4sBjxqDj14s/Dt4CcAvKVNcqj1XZd41
gLfQxVdjwEsDyrEFv8FuE0xGxmCgmPKRBmCfBhoz0O2VMITF7DE2l9AWv7RvnYpLjvY/ejg8r+EA
As3AbjmqfV7f6IyhwbWcgd31M+TmfQCzN4wXORMVt/iR/4moD4jqe2ayLUGfgJYj1xVUmKOEAi2u
Th8AT0HDDMrHBP/FeQ3kcOYS1Mi1u411dvnHsIZ2RT+Dsl38xARGkAtePstSIpyIAeJgbS5kD2Fn
SC8sEiKJcxEcUwBD4Uci9eEfIwzzOk8d1FcuCUv8DOcO+L1CLBHDL67skiv8KESDvhN7BY6wlBx7
9+Fr3KncpbTUwoaQS3cPBUSWCwdHAIjANrnAtow0/iVi6nwlDJUZikwu9NnFPS8lnZH+ImROgqJH
BFTLFi4N6pYejpB7IUehPbTEzPslE5Sv/4d8zkaQkr/UKYSORWnyV+TGJg6JwssbMXwycsNCw/sH
N8b2ixxc4hJl1JPJVMYi7xAKFvE+hBoTZ/xNswWnIPrX/oSvbyaLxPCKAzM0bzYW7tOO7Ra9LjG7
YJhELd5ow8VAA0t1wnBv5jfaeJlY8LqEbjYhFdnFppb+3ZolDvm4a+F63bjFialgbwKVAA+Tl4eb
vat/M4/5Lcy5Fi+ZuRGRMtmSZ5nDu2ZIhYmEFC5yiB/ypQenAgz2CXAr7/IInwgUnUKi+zBoklAZ
ah0ytphVca9yvzKAkgMjt1jkpoQ9crecuwTuynERHgnIs6zs4LTfWCN2GuJzYGQJ/YjqUooNWTY3
lvPlsrEtzLD5mUhoBX8tOZLy90xMTeBWnHqbFYj18ZgQG2BrnHhHguA9PhGVJHYEm3QhLJkXWwJ7
DVUsyzuvBZocVMdkIjvw3pWTFo6TOCPwyHK2SRnyopsQl5uNsI/E5ZazERgZXizNo7HjAbAcG4mR
HlZ/yOxkR/31xAoAJGv1K+lForMt7Y5cnRsc9nl6Dkd4Bda9gWInjyYbMdLOJ0wxRFXLvgVWDtYl
2wTzNuT40A2hQALU9Ubh72/hrCD5iqsVUulfbyVEFCGO8R8yv+dCTxJOUcctCNCSK1n+CbWJbQjW
4peIB+HYsiiM1PDFeipTpBR2no3foAgjgp43VzC8CgJQW0aiCaMkENiGdUxWcJncyAsG3/SwRKNc
kod/mxsoTkBOYKOI8SmIYUHEU3nPcahgfi++KXyTjSgnxPRGziOgB3fBGxHxbnW/cdIY7CBC5Czh
QuAcwgRHUhglwU3+DIoK/766YpQRZyoT/AK53dWB/AXKx1IjVx3VBzAgCacEp3j3LyZIYfLfmctD
I3cNJT2JW5DQ9vgmKXFDuiueVoAUFrnyHeDwajFD4anJetUPNYxzLnY/lLbrBg+uwwikmHz8etIe
UpN5lZtgV9jwmeDP41GociPqMglmgO4sJ9hRpiw8POWJLJAw6ygYrTNELlmO5ZQSzhXuxECGEDlp
K/6tuzq6zt0uesNqlLU73fbJLpFFVmo1YekxsOF3jAxc+b8UijsFbpbcG1Rmm4dv/dx9TndpBXuB
FJwvohvkspCyB2ogDwb0DYMJzxIW3737Jufs4Xf+RvyVcLxe9IIP8l/k4Zj0UEYyTaE+l2tJCssH
WRrJ4r/andqJa04GLkfhI57HrUjmcfX38WhGPLkUz/gCQnS8AtWVeNrTPDvC5ZIPmTy9aCqvaOKl
z3htlILLUIF7zq42vA+BoTZXv97gBSF/LTxUyKIAGcyegACEAsZzAB5FFMg9Sz0vFS+gFdeh2M6L
f8sDIjvQm9gGzIUrwEa9brG/N5zmsUMJNpGdXoqb1BXdIlZ8FvTs4a8+hEQuBPMB2qgBn2kwF0jw
ww4914KuhFKg9NrMzPn7/kRKvE4M4o32ipkO1Y8rHrbUB1a5jq2coQJeBieQHIY/e543pmJIraSk
onwQuo7ITYLDQeSUA+NwWD4ZZECTY0KIAI5JScD3OnoKSoyuuRwHd3TkPYa+10AE53dcdqU4+lqu
8eCyrsDQBfOXKpc3n6XzTjNTjSoXejXFe4P7DwqR7zbNYhq+kdMesdo2+0OxsSHMibdWzggN0LUV
dRgTxrSCUh/IWyEN4j8EtuNesfEvqBkYjcg7JS0EBk6s47IjFISFwJ/w6/AGG6H1L8gIuvb0H5Fm
v2XLo+VCbI9SV/bQeCo7s2x97LrQHtizPXEekMWB3XOasmV+RVNA+eepFCA4ikqeAbAJn1krQhiJ
oXhosQBML/IVn0tyh7keu9ad5kT6HVkr0CNjBCPtjOAkKkeDCwppNkAeHzSEGBr1MVj6Qi+0ZRUf
V+d7BDEA05x90BwS8o3kOv02kM7FEwStZ7/mLx8VBEsevgEd+ygZQl2Lz/LBzILoJ65j2XfYeXaC
1ojj0YeLUyYJwtSUi0p2qH+FWTHUo6elz+nmsDsVLKeW6AF6Rel0aM9RHWMcBX7Fw0ivyMPwINAb
Ieht/tWBH+uxaFZC+mwOsdcjtVjWFo1+RoxapdtRGJBe/mRrKZxXJCI95Oq/0i0jL2D8hFfcCI+H
hIrn9F3oqQbY+F/oYSBFMRwMqQpC+mOir+UNaysMoEu3T/p0Of3XOebulWENDaknB/ljRdL7xd4T
YbocZ/nXoieV/pSh78uSVaoXYArGutbi7ZEVT96c2n+v5GC1WSa7vEkvWKlCla1pONjryXeWOlU4
t7IsCM32/zVuT4basixCvHYAtvjVfxUo14oCXC9EcXHikwQOYQD/K4tJmWDTlfpUeN+MEBC4N3Td
AmbIbQVdk6OtsA49mWozz4ZFe/9uzfchxYH0owLEyAopNyGf0PrCBGdj9jMRsUJLtPk4zonPnOxD
dUS7zw4kTXKP65KN6uocpUDKTBrgI/kJHJF/B0yafMzlsHDqcaTaFNVSaMnxk/JGJDvy0+wf9ZeD
+Sc7yJ7A63o4CGpfjnzJBne2Z2cemWWBxCTZoYRzIBxYmceBaXCxSDiOlPMgr9bDfw7b2J5IfHJ/
KO8wVSYbKq555D1ptCJyS6b47Lbiz4aPnKks8+Ab40lW0xGIhFO171S4jk4/EeoV3IBPbLLz5sNf
ObuP83QYZb4htXjngaGfyjWo7+8TykU7wtBEAQGEqXKW6/VmFr8CnUXJT4KPw3RwwtAPlw4tLGoE
Lzl8Ls2ucS3J6enC29l8clFuMCa2WyiOHTjXK4oCyAujQVCkHDSdk9pqr8sRs32QYprgBIK5U69K
FkcaUGYK/RPyUErHYZLZNTVr31i/nfETE1Jkpbf1APakcdnU0zaAxfK+U574Wl2nxSzfG8/p9fSZ
q1NtSOTNC30kDjdHJmlIvjEGurKqoxfBBuCB8bwMVK/LO5/Rx9Ly9rmNAmkzs7oEPN9gOCG0cFq+
PtG2VahtNXF+X0IomBFDOElOCJHY16qwxMZWDLuhyPhNqEN5iSM+Y32JDQGwAOQdPEitwswcUdv2
nMS7j7VAG0A3+pAb3CVC4MXgqONoAQ5BfuPX7iNoL5/TxzSPeuEj6J4GKDq9Yir/il01LyPVw+wo
KOfZ09yvqwQLr8FablyPVL6W80+MadfVZjfTzE543+UiIsEKDFMcBJgDjMnx/MGcqTXBtmVdXji4
CQOV2JLptLwOInmi/ZgPFjOAkgzKAKMLFyrzc6R4Bcbgz9FnlHq6K0EJT7tLxDL8Qg6di2cBMkt5
+Qi1uZs3loiTO3zW1oTjvVSO8LARNjdH0Jd5yxfuBaJN0mGasDtB8//vcLZQ6i8rLw/TEZv/CXCF
Se0WC3NtG897wvoA4lmLRzkfS4TTEW85ZxQ3i9GxAp1PqEt8HaGqqK+1LW5MyYkvUIvm1yXvD1VL
IoPCL2IDpRx+k4gBBZKR9x2+BoIjXCPi6IzsWtAlCSCojviDIouHIoIEHVYBzAIILCXeFohU4ED1
xrQL7NuYb1Du0xbJdoPrBx8Zi7vEo0nDt1hcvC7aouNMVn90aezO/DSim7NWvxCjAJOEGgABufkC
HH+Y0eJCKk9xmroCdLCLsMNoCw7w42VqPP2+qT5MfS41Y0pF+voFAGdyUrE7Y9vT8hLkPuQTmmXF
491INpUem14cEKdGiNzz4UN6JGatz1PZ3j/8v1PbBQ4MSBYRpVM6YSew1ccK6rPtZXk+9ZgX3wzx
9EFAfnx07AdMB7xWyEeMSbcxLjt+wI41ah/7NVVDwxhqQH2RcZt5cwlz983cjBN4+b64VWxWSwD7
4m6wwXGx9vh5QzUPLAT/N8LTSUFjEebgzfw2N7Sn/I5B13tZkrp47B+zHf+plo/5myNyzMWCaaqM
+p62xmRUOb2X+pqbN8tqdI+KufwgY1LA0EBf3xHxzBug12yHSVVr3Yyy6Xv54GbZlJvP8Rb1K0oe
2ibaESmF6Hb4gEfFjnKz4Xc1I40kyiwAogn6xONlQZ+WidowopJyShI1JPMnaEtpuLyR6Mh8kGJI
4+t7lDAFbE736Ba8l82opJiIQ3H/03HkJGhSUChap4itHiS9BBgqR9WpdLuebBLikXinwwdgpxG5
Tr4G5OxHNVVAHztQtrzTc84GNNZpyZhwulkgcDjtmXezOT7eE7meMtLDh2RqKqP3uLXWuOmN8kvz
6oib8vqTTT15jxhouszjQvnauPLzG5XjM+JPNa8Za6RgkX4JFn2DSYLbl62FDQZXze7hNLOHU+1g
USBMhEoOlNW1iJXx+I27X1243fXn5t14PhfcWqn6/Bu/a1vc2837AJddl2oxSeFwtS687JiHCN80
hVez2F6ZlV9mSYteMtr3ptEbLwt6YjiU4/fz59G42exxtnqrztl8PUkJ9gvGoXWQ5/C9qXEZm+3K
8V7ZxeHulXM9lKvm6p1hEtNwD6w3HebAetRBG/l2aTzY3wY/Fw3chV1Q8dLecH/xdfBt0ls/Tv8d
1nE4gI+JpvNpPvHDoQRrjQq8ps52J14Qqu1fdLPPmnrxzxD0MJrvbXOVCmLUU7yMAQmDryfNKeC+
eTvpVGRa7Fb5WAXhQ71K0xaHKv2Aq/ewgsX/PLjlk+wW3OAtKmOkTS3Nu9Zut0AIR4u3YgaHFeHb
oL2uxllQzK/AnxStFXAo1hf4VyDDACkyB1Dhl0x5V9A2oLlonOM36b6fPtlQ77/a5+Qz8SuKAwn8
ZNSZ2Pnh2bFyiWfCRcwKKTru0JXMT9uoi42qWnfwNcgN5DwGeNIKb5DyrWjRU1PiUQrhk4esTkrD
C36tpQMvpYKBMSwpLOGqeIw8C6rK66+26chAxL23aVO4log51TVzrQH4XZ2H8xk+sPFjcagekxRv
Rwo1mdU2d/emoLaEYhTA/POwu8HrxKG+Qg3rFT78RDEE6TAGTPyS0gHOEkSLu9keloeeqcRm/XsB
YGEeDTf6Nb88Jupzlq/ShU4rp3SCCxnu112yN7LH5A6kVDLQ2CNQwqt21JlqBWQVprkVjAdL3F3a
cEhSZii0uSRoIwilrZ5oRsVYiMkmvTwXP0XjCf3Bk1cO1fxDaUeJy16yekxERyXhjekw1ucb0LaC
Y2rWgMRzhrIxpJUxlypK3fb4ebV0QCO4S9MuB+wWXofqYe8O4G9ePMZPTc0q9kGh9vGIi6h29GAQ
cZpAgS7H+ZAuB7A9jszv3wAF9555AXlztM2eJa6c0R2tAAiieFW+opZiwVvKQr6mjZkDKaWWuh9q
Kr4o8RFleAIg6jBofv7U2kG9hYRg0WQN2/MuZrLwkXMk6QTohDfwO6qb2OrcoOr2nk6f6tdnLo3j
NRZXZWv4aVuKZjF1z7tgu1SZ+UpA9QbWxzwlvQhv7r5kAAAubrQNCtVIi/ovZ9PZ258eaQhwnGts
rsA8ehp/rxmFz9kZzz7Icpngd8E4oNhwSvXguqHIkhBVAP8OQStd88UViey1A0XLbjEdTP3zQbs6
OeSPya2eVTg012amw3LdxZS8HdCXCmgGIoHCAHuUDoVsgWMFGQn0WExNcxO16gU3kgLHJAb88VH7
jp3wVev6eKJNgVBrp+XA6sLeoGfFe7pJujCA1FdItW8OlgXLHytFPWe7oZNnO27NFAjH780NQsRj
q64kIhieK7AGQhOrB3mSOaLX3xI5RgqpCpGVMdZ9enV0++HtndYFoZRg4o37pFApXbVrvGiVBhgU
gaYnOCuN9GZyf632E51TaQqMEGhr/bZg6acrug+RFo6q4MXIClVR8LZZ2J17dG7sFxwpEmpAJpOH
fwOz4YTDG9Nu4bDGkodVygR+AzFFV0Y1NOi08bLMzOosSCKwSQzc8hOSj+e8dDUs/ZKAEiDHzlcm
DcxLdtdttWpvIB9VK/iDf8nT7TITXN8zB8tMeMp7uO1F7JIBmfwqwTsxy9WebOkrPlT06xcP1kl7
b9zu9D9ayEXvN/Ru03y669DT0+M3Rj1f/CgVJdORRWoQdCgHKuaUvKnwbJwW5u+4kzsq1HLxRCMy
noYIlZQafHAH6/qlWKyab/IsDuusb+7x4gMRgtiCPg+FywlLmgRBBzoONyN2mMSn6LJglUNIpn7G
r3HLqjy4s2/WVivxs9R7Vw7A2csVpoLM68X6CC/R9qHA+4rzw7kN6fNQYSKz9+8z9Wpy9zqw3FAf
9b5QGFyASW9wfCEtJKoJxYlTbs50sIWh/hRauNe85KDwVqxYCOirSwMuWQb3ScDXg3KDzMY7Le2x
ZnAyq2+bTS43HpgQwg0030h0odGWk8eOXLbpsDttByXR60pUF0jTEsV4BhfmG1afxR8/ilO7BcFe
s9fx5AoWYl+xBFINfSQBai1U8BiWWT/iM98Ck4P4wkjtay4CziGABuJO4Nke8TXQh2QMPRCqCE1+
BF1PqN/9CUydJxWzo9IgMn4gLDTmcIc6DLDkEZAgXFOAaQ47QN/rcpLtFHjODFKH+KGar4X28/JB
xEFoJimzc9BoplBHNrUjjVZ/C3NEmQlmCqnVTebpWmcLf1otb3+3Rl0rhhA+fc0+nnIx9GOOfxS+
cNcRw0/N7yEseMCNBmDwKV7yWTzDQLowWizugjWkA+89pdltWKNAadl/PsMO4DIMBHYsuao+rHuM
lSS9OZuekZbcnd6St3BLvCSFHWevF1dWyZZ2jfYDK32avWV7eG57N825gKO05rGnaT+CVCvXQHr4
T/EwWjARDuw2V5HR09ggJBv4Ks4l0EgvTn6DpzdR3sKValb1e66s6ugObkf0uOJrL3vv0XkijErm
LWGqwlIfdvcG1U49vM3KVTp5+OxurMSQkxjZDAJq0rCZ4RlwhmIjZI/WXBA5AY5EzND7+kowF6ES
geI5g5jGkk4UEaYytOijrFryFi/Kh/1Hz/twUVnSGPZRS51wtCSFScYv7d8EW86SKXLHKhZ6+JLG
gv5sjK6rXznZ6OYWT/SobcC2FzXcgpXhPIPR/AGR1Vhxtbej0fLFI3iataVevHS7n76nBYC1al/G
7FtyhLiEseVl44DzueB843SMx2xT4CzcAU4JyD3oTyvJgMIsvTEUln8MdmoQPgoBnxlfEQx4uDb4
Wwa98Bb+QVwNVBsaqUNMxd7JOJC/eO4dYdVeQGOE9RaTCtDZxbOuMzh0bIrdBheAPSs8Xah33rXD
dGDcoULUw3IM0DfA+l7ZjQhDHMIn6nyMip0ebj+iSsRRf/HZh2DYCnfxNGdMkQuYXQWegqCJzElQ
XazRpeZY7MSvWDcWlxPxSwDXN68F3lV6AmMrU42XQOityjApPqnmrrI7uzaBUTF7oR52VrcZqNY0
22WQkDqOktoPvB/gcZ6dDx2lW6N1SvxqYKM6pk/0syAOKcrgUYJ1OoMpdNqHH5PDdAOdEyuDJwMf
MD+IYlgMzDHU5ExObGqKPbWjF72GcGVLdjrOtmTeYQrdtTpZqGO/sYrDO7PJ1KS0qIEkqXNorIjK
tTctQiwYPmHtg176/bePzdssRbXI1sXoFg5yo9v36D4wrghWa3ZUXbHv/UCtZKaOrxtdLP3yLjeL
D0xpI4G1ZNNg13g+YAjTt9qgq8SpZsjV7XxK4wzJOOSavTe/T8UocYhgd4aejv5ofa6snEDPnlG1
Tt29icsmZmDzB9CpOu7X1K9dsBmmvV2HFqQ83BNXG/j3m5MduJIBdkE7cG4eXyeDt1Ht5/0+O9Xk
BmACVa5Lb/Cy++tzQAw9Y08cP6GVPEAjEObBerO1xGtgEKOgbrkq9hWwU6MSzvjHb406Tv7LHtmH
DILzGcQZhqW98GyB2uFuiVA2/h9JZ7asqLZE0S8yQgURX+kbEUVsXwyxwQ5FsP/6GrkrKu65depY
boXFWpkzZ5PWFpLskD6fjHdExrnPpGbQMVFDHuKaQS4nhnnW7fcBQTm5tTR8P7ztbA79I0TP3L6/
/N7R63GxkWV+hw/V6UTvBXhh3r9mT6c3KokAh3gPu50rHuTwuEscm+NV/zcor8PWKTj7N1+xsR9N
Gtttw7qNe4NuaUNvwVLcEcxOzLfuPjjrCk4hP703IB7TbOx60Wnw8st+1HhAe/wvMrjZEkd2XL/A
i8921TL5gVcaHHLEdsogdyvUS45eu5cKt51PoMU15E6gv3vbyEmtWZfp1aemZZJ/Gj7Xj5Q596C3
ASmO36eARZe8IOiZh7E6fJ6s9pvup8OjfpTHBFHtQTcaEOYwXd0pXFHWg6fenC8Rnh3FuzAk+yEm
hU4ctEqbi4rr7R3nYigu0GjzgGV5Z1wHdZUDHMcy2D6UcfvOVHdWswu0yrNkvJSzYqJbusVxPZQT
efYwhrlvD4IJZU/M/F+mVf/HAzKFwfcrc7SXfSydC4OknApmtBq+X9GtM9QWXfg6kP/ZQYVowod7
szPxHjFPYYcthHSZ3BDqGrMASUa3csK27+GZYPjzlFyv8uV3W84FUyUqH9DCcz0uuVHq4PMWG+Ra
s9iRaAkLvuag4HZleeF//PPyxFEKv9DOP+nhFP8QSCFaisqxVk2qF7oshoC6GNc3Tw6BP1xL58UY
4GfhbP2eXUVftvpa2wLFEwo9DbMV7jH72SdrMNwASoBFhZyuAnfJmru3Gz/vQqdaVyhNdVzfgPmR
JZ/NEvhKtP8n5gvwKvFI29ds863FCUs2NazuziePxVZ7T6ZHbuCohekWPNRuer1iQvNiAn47+OBB
4Gzhe1otvmer3v2wgWUgsL6B+A1XA7osswQ6d4rRbULsL9gXNyNq1maFec7uuuyoRtWzf7RLj3Gr
hPwGYPpb3NEHXHGhbgNAZPyAjteeLGlhMSc9Z088ngBR4+4bA7GYI7Y82TXXjXtQNnDtw50ef64e
kzBKOQyQujBFca652xp0hOWPp59z5eihpbggVcFs2HxMoLR+GavhFkaFDIXqZbWJnSPFQrNrOGSF
r8JzarivV0ptBZu9jQHs5Bs+2CVYc1cEOEweIGNA044w52qPvjiggGc7B3iH1E7fE1xuLJKf69P8
CKp3sJSogm+L6519j9nuAuqTtjFDZR4eYAFCWCLd5zwCkUvOCSU0hTCYoHHBfuBJpAcgDd1o0+15
xQzu+4TM5aT5dHPopEZL1DfPcN0mpJZQ2Tf2ST+TNiP/0Z5uxy/IkfGJCV3LROhGQ5gyuqFG6UYV
BLdZc9e8wH/tGQpZ2ciJFPA1PccHGrjvQFT8ncETdLTcO3MYPjvDstYIPYHT1H55+hOa32dzem+P
rNsnp2c3Pa1Crc01O6UKwwIevkvLfISgup1rHla9BaWOzm7Xte950LvPWpf5F/j18Rzk/NDe9MTs
Rhu2O7NDIy1KE4+QBud44SpP2hE63lpzOjg5XAwKGp17PV79/CtMbPprTQhLUED6lyEPIk4nNNF4
EBvREZ6cYqoMYK9pqMqQT/JhtC//IKdVDXqGUy6Yd7mKkE6egot/ZJP6g1ytaxzra6oYANCMI+EW
pKu3n92hn5NyiSDg+wsycJfLKygwuk0Zx7WBS7rjg7S6MiG8T4tLgIwC4OpoLB8vhp+VryEmZPMp
vjSHPQOEE8yvY2WttB7AvJAuu92luAzvAuvPqz50V/QQWcq1QiH3nzBCIzsELT4a6QFHgl1BKqWR
UM+joTfOE4wlklTF1YA/6mLDYqyINWL/5ifB4r5SbgMpEoxayYQQSx6zLuzvqHN1kM3KwPDFxwP1
0AKaizUNVrqEgkvNAX0guEIzy49mxFhaozFDJmPmoLLwrDv9GwEIPIsG92gFycYtCrAD2jcHlzpg
BV6CYw7oB+nJSC/RMQAN83VXX6NVcbeWeY6Ka0nLPI/mmJkbZeFcV64mfXBGOFQAmEv30wMKhoZc
LgBz7fS+y41HpneZvsZLDjSYhx9SHbq16Ty4PtcYhNFKPl2hwfkpsADb8ccY4vuwe8zOZtduVeZO
RVcu/hCnrPm0aYp36kKz2mnXvG9ycuzwZ5KBqw9hSvWHB6wd3Mfs2jKT1crD1ZpLz/g8PS/vE2RK
0E78TmVqR+sVfL7mEJMJpAAnY0fE1mvWTV7Gh7tiNnrmrmf7NxcyFJVckAG72c532jZPUM23LMyf
n/qFCuUvuy40M2VUv7vjBWRhZPLCxsK9TJENk6Etw+cLxFejhxID+tZqyA0v+b7ceE6fW0TJdmXc
qYMUW8IEhKn4M4plylL7GRHt81Wxzg++ICpCmp2WJ6QA/gbWFBAs4l/b0jHzNGL540fI+Q+KxwS7
Ru6S/rDvY3ZyNKCIaAR/gz0YE5vYbl9oGo7f70RGwomaZhmsuvlqGaEEuRlxJprPb4Qoozv4GKjh
y2HufcYyvsr/d12XDekakD4A5EsjwwjDL2cJG1iTFjReTTNw2zjLksS/GP1VPHBhH/rMaX5GtbJ2
DXNYFcbm9DVmLi28xpj15b7HK/IFmsLzHIM5dXHC/VASNlXGxuQwuMNT003UBSLBTpQkX32qW9S5
YCtYaORGyWELnQUR673t3HhS7Sf/+EH95NTiPiHWUzztksncTX0iC/VU1IJYQvVLikPcHTyVAXYL
c0PN5/bwLwN4of2z2Vh3MWnt2pq1cq7h0T3z815ewz5G3aQz6OFQpFm73uARVhnFynlSQIQ9B9gN
ux8vXwoaJnwNCK82lfrtxlzrDiTE6BulA/5JbN2sCsp4hjbiDUdsGNMgEjE8lZEJwAvjnqznKH22
BjPltljMQd48dfJCoSdoZixKLJ5PCHIFODi0QDgg7IDsllAAjTpiB4MZglC5acN6EJ7wGc6cJAIi
XYnqCXM01ixJKzfkMNiRGRkznAAPHOEOAt/AOoXMx4SGLcpuzVgpMA9YZ4nuf/jAQqqQRZGRjGu3
jARbZjxeqAjxX8dteKhb7G+UdT3TlX//Dnf2rM9/BNYhawyh+NuZzY6mMugMdmqKIz8tuluGbbCi
9P/VTk5xwbcQouJlTG4gcwhQfw9RCHBV9PHOE91nrPnhOx3Z7ZoRe6X93kmMH2QstDoT4MIbbtRc
bUZvrVAJOyGDxNuoGAEySAZJh2Hf3QWTaDFdu/AIQW10lJAYBCgbd7IVqIp4cxnBtNE09KBlqPY5
xG+BwGRilIUmxUWQAsuGD0YnHBYBHLA/fYgwQBjXCbeEEV3/wOcUDklK6COgGNRGCnhhKYFAch31
BW9opkJbhmnJnXxPhPEBLLGVF2Q/ohu7MKFkyidXntExBuKYQMyF1QhDkqdUSDzZeyD7qbzij9sJ
JMoCkyWWydhNfnCLPQP3GnZh+fVHuZbPzNYBeRc2kHxw9phyzFSMD89Y+mD63PSc8ooMNS4cHzJn
MchjVYVytx4ziZ4hlR34nT8WMrXAc0f34THEaHGomg8MujfVzKhKm/63I39fCOHU56uFPCyyIv8Y
N3+L6+62Mh4lLglMbx5xGN48bSreDXC32dnzJfVYwrGRCYlaT1to5hh13C0QfZNNHrcq8TD4mRpu
1uSS2V3zu2glXRjuEtKSwL92h3+rdcdvIXPnNN2JXHuCKuWekDSI3B1UUhjOUJkdAzMpbJ8wD9pA
rBY7LflfM75ja7UQ9yOECuIJ0+KX+B51SKDXMODBZxlqwdfAPKGwbPuDNKI0FqIKCcQSG1dqkXLA
fRFbf/gpEYxD5B8FShPoCXhBPPt1f8XfkTeHeKyGdC+gw216R1FaKEF73gry9DCwb/0c1y9c8EcF
pksqyFO/GUsyyS/IyX5QLa3PZmZ2uBhdzNLbQ1W83n4QPn1l0OWSVbzfKkaFxu/uVmvJAN4pvepr
vXLjzUWPAP434CQuJ/FwuJkRGOj7cgiuUtX/UQBRiULEXjF76twsKAOv7OCQBKJRU08wcDIyLmaH
PS0Tn3Iuf181/ohaB4fVgKakQ83UJdQIVYmfyP0RwUIiLulDEQcIi5GXIV7gvO/axHNO5G66m92u
cHUMzy/GApDP4G27ZtM/Ze+FBn4DdMjXeTpvzLG+Dqidy0XDP+mSiOZYLLPezouzh92+r/dxj8ON
7ktcjpQNZy4LOxYwBh3vBq8qShtjk/sqVk5eGWrY4Wpdu8pe4StrUAXIifQieMYXyt59osxKYkPg
rlDKBGw0NyYJ1QIOPDQC6BEj+CWBjq8Y1vVsn7KMGjZAFxQyISq/4iqO6d85OS7jVibEqSKoDob+
tCjqu22bDBnwowvDnXh1J+PEOM3PACAoEWi+mO0D1GHLi6wEydgRxtbjaLWnVzI/hbRYDKB7UcF/
CrPJWBFdS01OV5FEFc6WwtaUXR4muPFO2P2A5uRE6yZHLLS+Tiso18+j0YiAhXBywgF98LMnd/+L
4xoTbSCUh90YFamYN32PBpMh52G/59SminlZtx0ds7m1zvfVjQN2I+IrgjYfQ7Ha6pco8g04UW/Q
ptkQ3zou/csup7hDrTWnkhTgx16cRzrmx+3wLJCpgRugwhP3Rq10Hh4SfXNdvwisXsjTP6wXTV9Z
qmNgZ1dxz/12y6iYlPrvOfgVZm49lt4xYk/6IGjmh5UGSi2YV3x2PE4eNgED5onnD1QxeLC3us+n
0fR/CcaRUU8KERY4q6U9ZIcxG9M3bSJbX5AjiYO5cbGVSOHkoEDU/uzhn30JHzjjcSfeeBr6KSi5
2cdwzzSSIQ+eyz42+SWtRPU7SdM/zKhCPOZG+svsXa0fb11vrp4CEG7kSKIU8za/45LW4iFeOe24
6Rfza/herBz22viIswNfkW1AQWq3L2iEuO1QOfHjGR0GLfaPwpc9pCaX5WA+9rghFP33w1XjK0Mm
84g6MPiNaBP5Jk0eftVnZHPN/rZ2nu2uvaJk/lEOorRloB7A1Bn/Pzw1Bos0BI+W8UwOi++UdIqQ
tKBAIxtEQWxHhJT1IS8EuT+JlI9J6VYwiKPLiKSLWLy5T5NDBAKgDvD47H+I20GSesKOqbLaI3Wp
L/8ItrVNHwSmnrsP1JfwTGWmqwaPfjEAq8X4T1p3ZvvMFW2pdKcIoEXH+nJIYY+6nHkiDJejTLYo
BjXwzLvDKTJ+t5m8zTkHqKsvPigcnoFuF0086DuWEn+Yjag8SGR8GvryQOXmPQOF45PJVtcsKkgI
Zg9TlLvFB4cDoNZM0Rthe/Bh/lR/zeP+9rU63bicv3JL2fQ24MsB3sToCJszjVU2xtG3h/cA+AbC
Cc3KqTCexosgkrulMznN2su/i4IaG3YE4DO0C0G023/2JWKchfputBVE7rWBZ/ydZGIGrGpWhTqJ
I00Y7DG/La3VB8MceBZ2C9YZ+gHepQKAnCpz5h09eMvs2kssUrBapkhYCp1YuLB4QukjYeQiTAAo
AW9DDVv6py0zOOZPRmdzSH+bNs4sRE/1MXNh6L5pjvSog6Zx1I1pYcUQpkgePhYVQlph2I3LQQeT
BA07ZQoOM3bmI0TY03LeGQOjvBn0I3N4YtRiRdLFY/pzgDUMwhPdcX+d10zyeHd6KOOxwRTGfdAn
gyzQjltb8b0TR0iRNp7RhMI8i+GGUikoHO/HIQbzCBgfbBxNS3d0mKHjNwjVLdy+0RR4AVjCD6Iq
ik1rBHVb2xeDK6o/dcT3hM1fMC1g+j0ksbAY5D0GA4ALWwbktbHa39CJDD9YsOt08TK2nCuQE97T
g7xcw4OGeCFKV4YEiHBr7kPb4moAzFfYRupZ4xGcOvZ7Tw23mjWTdgSU9lmcZ8Bqzy7qfzT/KowN
t8g0u+GV2C11FpArweZ0yNeiPMIkDVYl7vMoMWEoxgcrxugaNQie4xRpAK04hZjTd0DwGSCECBmJ
yGJcBj8GyUVP+PFzHiKj9rr9g4shvcmnGCoQufB6Pk47sRI/A/kL7Vxk+trg7sFEGsDYGOrc54U2
wAs9gV+puRf8+EpEoXpydZ8GKThIO3jn0cv9Ys+FhMTcSuhEjcJLs2/h14U8geFXA41JffW1hIfp
E9eiknjgyN22vns1EA2OGoij0IkDZ9pAdlDYJb/FhLO2L/1maTZHPY8L1vNWcLMRuqsQMq78aJJF
Di6Arv8DBgfdpD3xPjenu7jDPfQ+uJcAh5JRILL5DvYx83aEbYN4HP9iiQtekSz/DN6jz1DS3rEn
W749ESMPG/45lhUEcvvDVuDOyAf7nrt3AUwE/tyyTYDBQHJhOPhkY0GodkLfw6NCzglKVI5wnClk
sP6fTvq1JawVcf/yOdUxFGAzp6p/9Z9rLbik0LswEr76q9Fzf6JhYt1j64AMvsCB5DpkxCC07K6z
ZF6+QRMxVShw2SQVi07DyHARxFgTwIpRaNvhTFttSfF7g18Q1AYb4rHFOcPCOYOtAAsTWFLdDYj9
rs+xwQnNOd2wX7MeUAcUbZU3A7BY9aURAIKfnMa5XcML1NdIDWyWuigRUC0SBaiMVTx9zmuRCYBs
M7Q8Ldr2bcRjg/ZdyhBpY94ugCAdl7QqJCgPrukxefSb++7mqSMFaFEwwQUUUuEzAnmk/JIXyspW
c7Pr0c1uqkUrfQ7Uacs6hz3aDSHf82Li7PgNNZpwK1veAx9JmIVfii2Rzf2848e4TcC1PSCsy5hc
e5vuOWKKHzJLFZ0pilAaFgiqwo3LYP4PFAZozmGhwIvjmimYMUC9daUzG7oQm87+tctO83ZaLift
0zlMSWJQIsptu7nt2BQblJpdhua6X2WNFTPbVUOu6ct7eccdsYYM5W5MAoVK4D2gF/By+X9YKCK4
ZVBY1qh6Nb9G1GV/h9wGoAFXYiqPbifpJDRk6IiosxdFxN/MaO5orPzD+L5jNuzkwoLwVwCZ6rDy
VL+5UP2G2Ub/22HWS3gpvR4ypBk1fiUTD3gQiAvTTDVPFJJIk3EJq/HlyKSBP2G+4jI++83yAOkR
HmJ4nC9ThiasEQS4PwsYLjxHZSZt4tH8c/vFW24qzVLHpdQ+mmAyNq2qo8ykaR0eafI2dwCcRwCN
JDj6zc1sgyfxkeZYXCtkZxALB5FOnQdf5uhtjJjEvg1y22hO/7Hb5cA6OhmqOmDF0b3MwP5ccuhs
Kp2n06fov9B8aDgdq1RtX+fsY4dLrjezF42nSpBgTl7/zWieqJrSyr8YgbMfNN2540vnCoUEOvDV
6c4aWWHfiAZxKYiUqzALceahxq/SIpFngOe2GJT+mSNqPsVmi81admAkSJgtiD0WuzGG+IDnYjah
4UkvKhVRU3acy/Cw1dj7uvNLymG9KphDqu5nw6QapzrhcegBzAUtENUuUxF7uQQzBVDdlHaSwvLA
RkOYFaAG97Uw1rFKg4UuxviIX6fKYkoGi1ijiVkDv8TGnrsqai+auR5yH8539zbFnG8P2atEV3X1
ITtcIcZ9zdamRieL6BBXK8qN/nOvwN4L2JVvAjilS8GvRVCTISTlcwlmQHvOCnERsRkxxlNGeIkg
v6vJ9r8jQ+WKHygREDkHk2zITyGaXuZ1UFM/Ooh65434kFb9G25ktO8MEgNQS9x4gku/NybgwJF4
nwqXC2yhAr7kCUPVk8z6ORUlA6EkLYAPhg8mGKpAHSLP/u8UTIFp++lNIA8PDNUBSDi7UjYqYRZp
uFnMIfzXXB1BSXK7FTI9nQiAByD1w+mp4zF6ZfvwnpPL+B7JGAN0DcijPQEKnItoVsnYbSNBFAFr
SVWX626+kVfiM4sjQm5tqdSI4ZaDkw+MMJMCTNJjMb3EQpYLInAFWJlgGQJFskcZECLIADB1DlVz
Gy7Z6gUD4gKjIuc84YbKZeLhpHWv6GorT9+yjaATPMSNpGH3bCDuNkNBREsPS6VjBYthNIBBSTP6
+PGFvEE/7oWNh5F+yz6sJ6vioP+wXaYr3JnH3wHBIg3ochR6hJ7XpC5CLblwNK2M11oxscCkIECR
0WpDE/iiaTD1n3U6EwZpjJ/j+yLAprpZmCiBgvEXF0Tu2aJrtZM21Aq7wkt8qD7xemBWqg8aqVwK
CUfpGE4qZwcGNPD2kdef/oM6bdPRgAmXLDCUejLoWGaop7hgjCaGuxmMObvvDoHbE0Y4ZFVbb2oA
JHtc3XnbjKZb4kFJPiSOZx5logEQyBQCjL+MeJXYdQimE7QtxEQIji7ufovw1UfCIS5CctNY2PLC
G4CROKBJbOHbezD9xWpN9CQMTvmCuXOOywk+Z4y1IcrxFEKJSbvbJ2Nn0DnshO+4lQCoQQ1GOAqJ
WtjyzPNhmqQKSbCSQk9cKt6+XUUUq9xy3cWPtr9ici29EhslK+nkHteUBfqIyhmqtOY24mLwo8UR
BmtnvFoyU3HO08ZYdpbz/g4Ahc+BHNvTdkSvJN9oGTHJBJ7EpUFQ2I5XxfB2MLNOHmkX7pBH7Qqs
0BQVt0x9ADVl1nSDn0OjhiovU5zIBwM9WA46bsaCNuw8fvWg6N6YeknYhmCTV+s1hmeTiIZP/DDK
MXAtehWsFZhGsS9CgPpZ+P/2UEJChEXA3eQxwpdhiqsSdFwaYX9e28WewwyyYDuAc0MTIxJAeLUK
26uURS3rFTfYqD4QHImV8eH9y76LzjJqkeurStiF/KIoPnA7IRIf2Awl/CsTOB37AwFTYedPetBB
/sDSJMNaFw3hfPRmC1NnRwvvWFhJSIuTdiKNJcLQJzJB2JYLYeqzs4FIx9l8LgXgjSUztSh6TKwW
+xCqv5h7qgy5X4smvNOh7maCxjmJzyCJXRUSF/ZOkMX5Fjx9/EdmXWezglPFTgA6nxv1TkEW0l7j
hEhbDDn8MERnAdr8tcWS8czHPQz1UXd4GJzTW9oDEpj2dPRqKlDdVA11xFt3GpIrczDahyd8xgbB
uA1rbK/FPQZDmsIa1C+eJyZjroCmaqyMniQKwB2w/+zYGZdual6LRIGn7G0EuGeD/UygJ2FjSiAW
i+3J1997NN9myz55HfObItcDiCUqC3BoIbAOo3D6ux6IaUnYguZMxA/7KDZAbjkZF1Z3Xf7lGDYd
UvN057/gD5wjvMc3a4LhDbGS9nl8xrxmx2G+PLdplgSg1WYAHhgE5Y4keGHQhn24DnMAwDEEcAb4
KTPdOpuzTrSBvzQk2ZbztTsADu3/kqPp9gKx4um4UKzcarqKH1PNeWH8S8wo9kXH7Ic/7pcA8iFt
p3ecn0Js3TeXtc7W368G7/QzQFgHALM+DvX4QSqjtvns8xQjX2BhAGRncGSqd1irG+qgL7gVBwo2
8bej0aOri58OUzclegQvUxGH/ndfh2Fqfy11rm10tqo1V59WAg/iq92yr4N8SJwAFJfwA6rXRl7g
n7yP2Y7Fyp+ijJjPCmLUmvbd6uEMtLj175U33IDVnt2krglGbKBfwyAgWJeC/Vma05u+ENyDIBnX
5SM6BOPx3Wn32+wGf2ZDA04DfsGqcDgU3hYIuegldUflvHTQwY1FgEdcOUtk//XETQPHclotuCXW
eELyrT0W6eEqIa3+7j0Wd69D4rrc+wZdWB6XbBji2rwHAvU+H/MUEO0Jz2d/wUfebWZH58z5ykf2
Hm8fmR/9KFbtbLMHWL9C8Qq1BP/qEO/wMZTsBwrLbzgWJ6avR2jHpIyub59aJ6iiYqxm7WzFSKJi
AEmNwqfEnABZaIb1Oz4Hdw9Mjh/w5heO0J44Gj0mmnd3zicMmA7sSHjBww7bPVwtRIIhZwnOmCYc
N3MtCa8Exy5Iij2zuOk3/fzGYwcJfEGfWXsv/NoGn8UKah8XgRhafhTqcx6tGj0hqXLOZaRlMBd5
SsuIT0w7roViN5WjYez5+xdpLzggFAT43p16e7PadDaQf9DK3hx82WEawlfAk9D2ytPmaxC3TLbN
M8udfUflpNQPTg2jy+httyeoByXWiF88Ia6uFwSLJ27TEBgRr7iF38ItwFBGbTyfT97bels5wlvs
kAh4AYUUdZXVCrQNc403ahDOsrl4XrOoiNgELJas2KLfgBq+v3ly4nfkpw9YIsHYhscKzNxf8Mk7
pXGYICSFLrbXuZRitV9sJNmgEyA27gV1/HJ519ofqH0MITpBdTRvLzS62rwYPl8G+9eN1IUafn3I
gnnerAqqzxb21lMD3ukjB1gciXzpOrcSyGX1dFovG4JX6xQ2lDFrqyTZvd/ELYyggo+7vqcL+5gu
OqiAjIIZBsEaa7yAAZ5rHMImF298WY6R3mqSPlOaz5+132tNgKfSNHWMol9usIerxeMSrmRvOi1H
bQULrX0DqabFK4MKpjwpNCZXs9/vXwg2xIQ0t/o2cbQDsY8nF7kniNDRmqx046tYrCtgbYnPbixA
YeiKJwSwBo8E4fSk6QW/n8Ez0w5B2Yj+hYqqG5iloYn14FgOQnIoASbALC5b8UvBAgBAA4tKSgPc
HjvO2ww/ZAmAhkwalidIR6S9KQAihTwJJHjGj8rZxlCwayi1TStxawXHKV3DD9EQtlUyq3ZgwgqR
Avu8dMm+X1lYPfj+marhYmUZB95aTnSd4hHquXvcX8k+h+X/a06BOPNZWICR/RadLSLdSyTLhK6U
aB0ufO9jdW7uGx/u8fUsX+wZbu+YgMONmf3G7Z7VOHIOXbv95s0C5Gk5x5rHRZiIT0slr0TyxsVA
Lo9zh7g/bsNf9u3DvS7ZFc72HiofYbWUheXyyENILiao6RU7om+Gfne/7w63o5sXvs3LDW516F0m
o7DlW5866GCxtKR8Fp5/uFqGH2gAxp3LRFxpGjbC2wxdzLwVz/E2b5qoSZ20pr1Io8iSOiO3uDPz
CMXqyYqz5XwOLjTHD3AV4T4EPUr0ZF+6U5ObcVqRbQoNaSTOLWfDOqE2i0JyB9rheDQ99Kdkmy6j
VurQqOLGt+Bb2GLjhMN2dB4sayOVu6EpNPw+02pCS/lZUXjMKIpfzlxzIzoyiOJMkJm2i2MmreQG
RygmYfh/6u78PMXe3VGnUMUN3AIrR6/M7YO90sS8hirGoVFkDfi7SvGPLtSCM3AIA0iBBXjLUfah
6ZPaaz6v5cIx77aAGoT4jsTVod+hUqFqBfgHMGLCmySHLKFhyrAggKtpArBRZaGkW7Ge5+L1IWTA
ZGX5qR44jg9bhEidVZCCdiWYlkakLaATw3VzT24cKMnOleX5TBwDlkjiOznRG7urx5yp6A+hPcIn
acKBhFG78zsUutDWl1Fam34DA0nHx2b9OY1i8gbFaAny4oA6GYRvWqx5Lhrl6ENrD0EUjAOn0GXs
OII+LZcVKKbBBIRo3gbp6nDGVrjVKDSDle9kR/EV0RCFM9H/ZQy3l8UgxoCTRSLedFEE38f3/cYg
0bfEefJycdEMm2L4cSDxECEK4O8+AjGO4A1B7vBxbRVWQIBpmr5NetSfBow2rii8pGW97gn2Ju5M
VcEHy8qhA9VL2BAwthChQN2CxYK4Vp2KW4vcIf7s4e0IsTKH4N8rrwHIhHhoR6udfDJwqplYz60s
fpQ0amhXxNBDzJrwvaPWvXX+gkARqho4P6KT4tSWZMJ5BPlyiTVKwiAYVcmULRX4Ik0PDmljmk9E
ElOGedmT92C6YdPg81mkVRIpUW1rd4f5CZ+PeAxuGGtLqey8E+pff+5kQlmuQDotLnMU8QDX/4Wc
zAdkzhsvQWxXOx4u4c9lfGnoPFw+H3ce03UPs+HRHzb9jZscJ50E9IOLHz9wT5X3hW+zQxnA6fM2
8HxzmN/QevHcRk4qPnd8ziQlTTLfCz7DhGak4eeM/B+x0DtJ09sENomXJsLBYV449MWIizBFaKN8
DzcuY4EwCKOGf5MkfKDaRDQCcjZ/bHh6uBpypXwfENLmzt65OgGfoStb+xy8ZUXxDFkBLiwaVknd
w/FAoUEuEtrtdGUJi0IworetMqWZz7tjwC0N8Sp+3A+ORx+6ANDcn/un8WANqsBRcEDHn5YV3SjF
jNFvzHDhhwPozRa2bQP5rspwzf4GcxKTFbmWccxDijTmxl509yzWKHvlkpsum5cUBiwHKXQ8Huww
YnwVy4JLYYjlQL6gIPFNTHn31vxE+CbxODIsgQLOl2LLYkKiGOyjktqxP7nT92iKsISCmrEe4OIx
Wb6oFIxbW54hnJ9m3BP4CWRADR0/ZVd+lybDIp7VciiXT3JadS7inF6WLhjc67CBUnSJfx63J3sV
9K8f9JzHwYpzzBXK50sYQUqYtidHZE58aiESnl0kEMR11ICx/HiYMonOPJyuDVXHHzoLDOOkqTgD
PW+uWjvvo3ksw5cG2pN0Ls5KCKEPOH+mNsLpn+ka6uPRYeXBCeX7f4mLPUPk5XRGMnugP+ZgsiGC
MXBD7bRypUuseZ74kHTAF+ejmOcuD8x7/xEx4JKbIlxCHosYjAX9UAtqLfSWLfZJbC9s9h8wyjf8
W/pkqDqgmIJGatgpGA+GYBebjIEbrkpdhvLfSGtUDiNTDTM3ZfBDnc0+TgUdEnH5OFsKpR8lqvXY
fVsSVE9o5tkMINSYF/rIVUJiE9QayOOU+ERZqQQukewyplJSTJM7OzIfjAOb8DQshcYGqSzJ9N1d
bnZ4WhTr1IGxY5dJblL4epSRe2ZZlPK4i7KK5xFUivMA80BqjfEHe4L0bWjIMGbUY7SSvNXkFNK4
/ki06kIEY+QFfsaYS0FjuNgX8Z4yYk+rsxmLa0xxt8dYxliBAJP8MbrCU0Blq/BBGcvQxbTZ/8zf
FmyWp9EHVKIoGBHJ9J2RQPNbbMGU9m9ecgHPtntbyheGUsQHPTMBrZjapc/c6NW01de/dAP2ypAA
AWhG0lpVTsi50YQz+OOmO041ZqcvH4aYCsfHRPgpQBxQ2sD3/DgiFEgAMBTJEo26Hx+t56zrlxwd
fwbjYsjHJIbwd8wNZUYgj6WI7v0DZT4GhOj+2U9es4Rddxnx13CKZSd4IyItwGDvAQdw5WdxXE+y
rMsOzCjVn88PN8Bqa4rDtuPUbvp3fvqYYmN5DRmjiexzvlSs5VJx5kKf5kCDHc12zvaJnyQFSFp4
B/jfoC2b63C55GibX/p3gbINBRyXh5OT4BMKxakxKJvwdz2fXZCtvEvTjFfqA7drjAf/UJ7CfqEi
YIpCxB3jukRbkB8dFxg5w2cSUg+kW0oiMWHFN9V6/KxkR6G0wkX17J5aWH9zgOLWxtnG3oTGNoTi
IwYG8M8B5tz2n/6csfaJautB7dfdiq0udnnoAbjTFKVcfAJmRpLtBYMcCA0k0XTYxS/+VEC+9pcz
8Z4h4pDl0jEYposlrTyKH4sKqBzLRPg2ZW+f9rwLYANBYnvWH60ySdxtd85/Vvfcvuee+Nt9MT1I
kPLZUIGlWIcbznknTRocKRyFUjp0oUZU1vyDi6fUF5VnpPFS8qXlb1nTRj8EOxTfQfjH3DSZOVPQ
QDKhIou7mDRwl7nTYqkvqcDvxvAO8cY5DMVAr8URxawf/Fr8xlYBY8k5f1ayt05ZG4BfvIFD9caB
upxHzNUxZwTk+3MVYSYh3ANpVcB/f2bUnILVBRGgmoyOlj2wPuauYKY+cTS8F7bE2C+CGrJ06yAc
df0RReoRfxKczXGKZXGjXk1Zn0uSubfgOaPtVrLNGJsTk/tJl1DuS1wsuYFkF2NyByQuTmJodNjc
WW/U+F0vY9vszRsctWnJSqbqIsaCQXjZ//B5blCxll1Ga3h4Mk/D7M/ShtcSWiP8lZ+FyuDzdKrS
PcK63/QiBfW0QTrqL4GpBNOxmEhlc6ZiU68yfdvxkSlr/hY55Rz/mgguy9w4IAQ5LUZ8rzTuic3t
Y0ZcYpJeOC4TglX7d0gLf2jbYt3sDwa//dsyYDRdDF3zh6hBtrq/UxKXJFmmjcTOUKWrKiVSnOdS
ePjUxivLjTte6usiXYYcSFDa8j5gZoWHGEsW5HdDkV4bvivUHNiivIz6PeykISUVISjGcSDqAojv
vsPzlvrMtuP2h2yrK+XbDtUiFRQ0YjNlk4rafCfHx5CN05JPtENC/nA2icQPUIj1mAQUxnDV6a/6
1dNpEurCNKpJcDuX9kFUrgnHkInpQDaOZ5TpU6DhBMn5/JjAc4Fn5J+G8OTs9JOx/j8taEeFKzsa
VGWpuhPsg8epT96uh/T1NlB1tkv4Lbw4gVJXb2a5y70KE7oVqfzYPEDE2YMj2Mp/RGI59nv26QaF
FS0eo1sKddiAd5g/dvsyeP/c+mLXWH4VAwQxj7unf/z8FBRqqORTWL9EabAbtULh6rYhstbPdAWc
Ak/UX1yET3cWGh4xo8mBdUHvMXm5jbO9wpoSASquYWBQHzJ9K7OG0AE4BHdfw2H3brc9NSwcHGis
VWvwxiKPUMpr28Xo5MaZ6vT2X+YgbYCMM3hZiRHf5OhM3mNydF+t6HN17yiyDoQVQ1Qb9tabMtyx
tx6dpLyMuOmM7zTOl5/bqDBgak603HFIfaAdpst5r48/0f8/gh+4Khk90Ktzr1xQtjLQl4L2GJbD
18OuDu6yXVi9W/zqM3E+2hXGoNDBcVNdsciyr736R9N5LamKRWH4iaySIMgtGQRzvrGMiBHBhE8/
3+pTMz0nddu2wt5rr/CHArZP1WWI0ZhpHfYkmMT+MEubfTVSMMVJ9g3aMYHxDfZPWmBMbXrv+fQy
zx6BzJ7Q1wOediRxq7HWibFNIXtyBrvwQjf55CEGQj+U8j8Ygc0SSNt7oYzM0mOGh0Rw7ZO5m/hG
/PxlGVXdSihnVtbNVZa3aRzeOBKDPuoU7Z0lmUU2LnKv9aOGvTMNaFF0ocfCkqb9gtBQY97yX6in
LXQtXoF/OfLO6nV1Y3zLkPgOMuLQluFP7YCdQ6nnZU9rB2ITss++PmgPROu2BT0hdx+GD9iCLRuN
tQ7bSKkRLecopYh6Kvap9C6kMdsGLT28iOkvQA3i5Llewjp3GgQ1Ahi58nz+PgrLvEVtQGSj6+eT
UQAW5qRQSA+kB0HZBKFPZhVTkdUVFdDjx6ZIpUBBw4xwBT4bRoDM4FsCiUkBgAFHIwt4zznvyFUI
pH8GBM7p6RFD8inxl2ys4JDSMeQ4jY0YXdH2WvRF1QOmXBLZmVBPaViYNqEfBprvG3sFoc/phqyj
ydHsP76Oj18arMkdxC/8sHHH0VCCaJWhpXAVpic146wRecvTOL+EBRiu3twYtIBD4djiWdBEH0B8
pqH5R4t8rZwvAx9PGTGOInPu06RoT5fmnHpgPMbclpOkIhYTC3QAyBYgXqFQ/EUzd4x0lTN+TYZj
ZNuaiyHDsrPhRL0vE7H7kPYjJchrEn03IpCU2/nbHb/2J18FipnB7bgHFO6tIfQMkNubBt0NblD6
21JtcRtWsEvmKeDKFjMxkU9aWmwDt1hsLFtvkI4d4W+qnE3gGN70U1gXGTvsNaCLgbBktIEEZCIu
6MC8VVyYDtMsvHfp+iB+4GNCJhkK5/nHW9LfENR93H5HgFWCMckYUmYodpC1GHHzANctv7r4x78o
xD5fTyXap8hfPOycCk6WS5oNaRu6afrp+kv/seaUlfITRNUnFrVxxU83Z3TExibsQXsMOJtLKvBl
cjQm3xUqMtETQ3nAccDCP0jhGkRzWgsdmETNYtIwWZyAV/yizR8QDaW4ew2VBEyW/WFwDaKkGaF4
xVXq6eh3QXd0FXIlsuIaKgdKl3JU+IpwBDXoXcpMaBbakbQTrqLJs8AcJBeKm/RIRyxXkj36rlxg
t3dvI+7JoNPnwtDVWhbikMJT2AVYWvYAe6ffGp6dL/AZjpkn2jtIVVwdY8dUTo1+Belm62wbSd6Q
UVRT42SDvlDhI7zVfjYTKqAy237VACj/AiQNeOsK8X0lbffz3Z5t27nbL09hQW9CDNEWl5Y/+8az
oC4BKG1VBmysoePPNbFErufKE+KQKSPO9odlZ95druUKGacmn1qBi1q9xtsW8QsszUL3gVJ7jgeL
b8jb26AtR79PcoA83p8BVBvuVkc3ihHLk3K2q3NPuU0+gJz1e2oebkNdRNaYfDWfdPDz3Yl1U6YL
9AaOYHR9TfcLa7atbn6t2J9PUOC+ueeAdZP3gSOQt1l0hkSTP34Y9R48LNhFn3RsgaYnPbzCOOGo
tdWPvadDpNjNiTT55sZy7nMUY1BeQzUCR3V3MDVwoAIkbXgf8YdJ8WPa7TZuOHe/pydka+TH0QO0
eyXoa0wPoqByPVyYlbXydR2a6SGTrAHNuhAB0u6iWFtYLdl67S9Kr34G34tr4NTBxPaso+pGrZCR
XyCz15bGJXlbStYJDyGD8NBmVITcEtIC+C5exuTAxuBEnDbZP1rBMGbw2XwhL7ftwyE8WBEIkipE
hUutoyOrcQQyZlsf6P9abO4niYBbAiSV4ffXPZWSYSNExibLwiVxMQL4RfPJIzEksVeY6f6CJWdL
iPTG2c3BT9JBIWWIrx0cjU+w8tzj5M/z6y/klewkwRrj44S/u4N6UuFRzpNiI+cpYEl9iL74Dihm
aO0AQ3WmpeJqSNr1VNbrn6w5cbgNCIa46NzbeE0GZOZWBkkXku8LjS5O0sZLTroTAuv87ZLQVy/m
WvEBbtmgV2E/BEnRVCat593ePd5HYeavgHk6rWgHtpOH0UAnK/8MN98ze/9i0o99II8PxAWREde/
vUWdr7KXP9WWrrtik7eh5GzRr9tWbLe3TLeC63x/mTXo1bX7EbxEFu5REFRa0tP8JW8As6i/eUWr
BO3K/V8h6s61Qc8MKWuAwaAjfl0jRn6t9xlCB9EschuDIphVwPNJMxzia2EOrFvYjlZcJmcv6J4h
0j0BGL6vIOCFICrMMWRDFPu949VKNLm8RAHZH0fZYLiHECtp+FmgapVzXxKfT24bEWo0P40FihaA
ECNhssIMpK59kVIgE/wCFBEJ+YR2lMNOP0OAu7nfne6sfhz1l3E2BFzB8dx0nqqci2LRKU4Nd/jv
U8pyyPQo8cnuJ9ejxbrXd7RZoSjYxpre4ZfU0BfJY7OSbpnWUYiw737WsUDwcHCq07pLiyCluSCT
ADKjI6HabcDjBZXShdrLk6J/euWkSwk3r0Cxr6Zs8wHkPQnL9q0KGgA73U39Awckr1c6ANlQSsAe
hNg/2u5wrwND6O9LXiIlvuRm9h9FKWkFRLJ+tGrI7Y8KFKgWJixJutYmYaZgJDSgs08eS5PGfm6s
IVeRua8baF2G7MsA1/piQ0Bf7PcmnMm/F3wkibWj/utjRzwHmBivN4bOSwfh2e+N6erZw+0XZEFj
EgQE4uEWrpR9XN9suGmVJp7rxnxhz7Ko/+nDYyWJcFo00ZnqeaT2hKUZYe2McDhXx4v2xSySiwrL
j8b8Pe6xlY+k+9qLZPpGq462CEdusvTBLXJywSvlBM3iMZ29km675o4/YFMpuhj7cAq9GvbwuaHG
KsNW08GLRd4+CyrjjIp+oXxb77H2e9LVLAt8KhDBPdqRYnJVVv0xUoRCeI6C5oLfNTizLEH604LE
yuxeOyATRjV9vOoDGOQdvEN6wHSAbqNxe9ojj5ArxcSQ+Vqw2sm9emAa2AoQn+bdy6HepKUKZbmJ
7JxbPBFLryHzj68Ou5Y9Cwd9uKG9tUJewmu+wRRlOA1+3aJyj9CYjt1r+AQ5mRu++nPUtmsdgxNy
TNelWQ3KbHNpTMyiV2kxtQimJ/Xo3uy1cXzN0wowxc0rAFwevSy81B3r6D6Gf5jQyoYdZsEclWyh
Yo5tFn8+6PT18ykBij0E/JXO7aro/8pUPyhtpH3o3JCnXVUA47F+3zcshGo+66Y6WD6Qsi2j33dm
EoxpcEyNX/SGJnr1dGASiiEd3jflNVD88c9dSiOdOwvXXjaZ5JLs6BqzF+g0qCfatXRsrgqL4DI8
l53Vnk/FQMyQKydZIp+mcEIRqNmXfhgzyPTlNUbyqrMucEHp79NMBiOGjwOHzZwQKkuCi4zOZp+p
ArM3lhowAs4bQi4jo54/7m1AaCJKgzquhtyaCxWYDtsAGDEM/CVKg4+AJ5GYhUnTff8N9yXw4RR2
IJmXKIOJUpgKKfYZvSM/BfQ9zIbpcYwDXw/BikbtM6HSitAAgYEoNuw5AOH3wQ1Lgz9rAQwJkIBs
T315nl5RkK8BuBU3g6qbh5/1M/ItYFbtGA0pgdnyhzA+ag+ZVzH6aMft2JpbJKYlo8PHWuBrRZSq
CH9y4+JP8CYLJp8T5N6xj/ia97m6BEmECAHq0zNCT1Zkp5DvjDmRa+/Yf+I0BRiNEXxSJufuB50x
sZTQeAR/HwogXmT7X97yTa9EPZy73DPOmGoqLiS480KzKaIL7HmUNvCajYuE3j5SRqLsJhr9X19g
vvCJoETI3OMYNKhc8GjF6VrQjzLqwXcHQ8D2IEX4C1i99ne1wI+xCJqOi7DHhh4SvAtv04B+KAFX
JJN/DDuvQNHIMoNT/9gH0HdA8cw5IbXZfSYisPFMUOsUT9wp7WiZYuJOZyaDOZMWJgK+ACvHhduA
byDNy9JGIbhH/UvKMp/WA7puHbc++Jwx82OCnzN1hqjtP/hdH6gEuDndHMNlbZqCnJUJDLBrNj+a
0anfIiQOCdrMLKgxx3lHDGPqqejxC+75OSeb+j1cY8n8KW12y8x180MJPaUVnRxKbTF5cHGU4Gkz
xGuZd+ggmxEVbTsFxaKpuAywaQzz0WFakN52FRfsn27SBxipVEn9Kn1j9yDEBc54cmkT7u1VThes
gZ6dVnoDzHGztwmg+MZU19zLoanYiTlQgqS1zJ3fIAsYn7YT09vfQMqLXwiNwaetlY5tIdVP9IOc
QSLKKXAk743eD7gMmHVM4HRtdQDiZg/92JTIAtTSfiClXdDKTae4YgIQSC07xUcxgoWOkYK+Xoqh
4FxCh7wXsaBqjFIWbIL+pctRtB+zt+d1DDYglZWA5gGSmMgzYAK0ZBGV1PCUICFkdUGlMtSint8N
jvv31pWd8IJ1u2ZgOZ+74eEKQsvokDLvdqiW+q+DkK0QeOm/IIYsTSp/9zJubf20uaaHStdcP3Be
pX6NzdEqIiEi8pNu+C//lTSTtecBUWAsbYDQLIH89dAXHRx9gIir3sc94cMOApjGJWlTPUFB6cXU
WIGzjpsCY035LoQqznuOTOq5BuTYH1YLvEGlaSNYoAL7REC27Jejc8tl5PvcFG8/nwglXo9ItUBg
UtSfNuqJQ2+f7x+I70nvBIFqctYTDV5CJJdP8TcMA/560cx9Hfx3bEYkTQpcDjDG4ExOFGfsz103
fG0GbgcMwh3VSbRhVbzZGFuATUHkXeuccaVE49vj6EvgI1BtpxzVBZ1Vhg4euNfJg17CGw9O3qno
j6MUQYjIu5pY3DG5ridNSD3CP5Y8h0omiP6co2hXQQm4LJpT/IP1KSoIaJLnzGygJrVtdV+MVuc+
Sizg7Oh+ETyRqAMeLuUMXVgyF0Ix40rJK+UYkufkhQ+PvXxw6+m63YJaOiajtRwyWrSK6WMCs5K+
xccBxbFER3dMoHF6XA5Kd5rmGJ6Gg3zEAAxAAI0NmlKMcmTqch7kAz8FHjEDBw8yQOC7hBIW7g39
NRmCjGnXxlx6wAzQQMiuyFwo29FAoT1B7kdq/+aKjXMuJi/su3lMXntlQz6uchIcd8wvQUpTjYPw
O6aS6E6XLn4BLZsA6TI7oJzhkGMOxQVmdiqnHmQl59RjY2qbEi0o5plkaKhVMBvDWUsL1f3N3Szl
LZt8s8y4O/MlM2zYJZBpOEECbWbOkLvIBmeOwfs+G1Q0+pds8SrVOhuxufpMif99YecwUh60iKh0
KdHCj7E82/4yAv4FJiPQAdTnNFIA7LlewybuRh9mzg0mJ6v4R0gKlHmBOS2KqvER3uN3Tj9+8Onk
PpNxLRoAm+SUqRHLYJpGlM383c4YMErTSczg7dQQa8aU2szG9zq3H39aOfrRRhb61uazF6WN5pfV
TwsOUovfwCqIooJrj01Kp0H1HfWYntCd9DdyZxoObH3kJsQTKWeH31FFFKMeHxOkoF94e3r2QT95
uVKML6qoHXYXSA0GH8jESRF+qQGH2fLdySfthdHf9+2gFdhcx+HQTn6OGdQuE5TK7z89fVtzADht
ILynLiC6Vsm/LtM8orXg37da+us+3Dy6JoBhk9vagrhpN4LabwULBsxA8yADVG+H/KkvUMJzBGUC
WbAIkQaUut8EeuZdtXskPqIL5ehuC/kZ5Cp406Z3muk7xhMXYBgyMEQ+NNIBHJP6t8iAkA+obtC9
RBdB0t3ThqA/y/fGQu+33faY70bahiqOavC54TiAj5c2vNsGmkdSdu6osM3IlydaWoIAAEe5tBjP
gjBC6KblFbQoD6eDlp5mzZGOjkING2cEnNju88M6D6SGwEsZzm/2/bmEdzQK394p92mOTL73kJZa
jaZsZsMYWfUhgoUtUPZX8Wm4jUi6ZKpi8PFwk6dnBmApVRoczid58OxTHZQfTR2yCWQF+o/5d/CO
k+u47B4h9mFMeuvekXaCoEUpFXwHdT9LaJj7jX07oXXCKWk6t4NVoERZ+3/Pko3NQImvdEyUAajn
ebvXBkyqHS4k3c4ToxXVVnLn1ReDvyK4Terw2tOhuIGSffRaFLSD3BcPEHNxoYyV9Bk+KimRAWFD
W4AwTXN+7iZ3S0QaOvnzz/hF5ipIEwDFfgMSDz6uGeNTANHQbRxeCToJ0Rc5EdNBJAXtKBSR+BAT
11b8YhXKN1Dgd+vke3h78EW8BwuIiY1u2acu0pGI/acPd4v2gAcDE9fHZNFdlw6ABwDzMJtCzVnw
DdNkMfmmmYOCAm8fNdvAZP0hx5NmUZMPnVqJggQ5KBtozJWguRzLAV57RNaTT+jjkraQ0hDNE9Fs
8Og+IOJUgwzOyCZ6qCsPH7MPmonHZTaqZubiCIG/3a06OLIydLaQ7TtDP0ifA3CmIDRoF5UDNUE9
z39ETffhN8enMNsiucxjq5D/bK+FXIlBPd+3Y+Acq+7RXqPwcbO/MUcHSzwDIysmWcSMwtdEl4dW
y5kWzJFRlwgv0aeaGKzlZq8I+30lFp0T+JfrH7h3naLZSs1Ut++wDis3S0qwRZWXR1ZqTdA/yJlL
8G4RtAhv4XeQvcClGa6KVUo70hkg7VpqKB1LkfVc0D49HZ0ibEbP2Ewf9PkGTLTyiJ7c0WX1ZeOv
R/szcx4Lg7cOBD2uw1doYCNjRaICE09wrfN0eJy9k/ecHMng+rgPRafggZag5N8dk2lwtjZ757Ua
r4i/n7iBqRi2ejjnWG7WK9KcuQCLllLCyRfHUHGq5AsYutsYLAz47X0RQRFf4BOLgw/wvCo3sJjk
oNTpS6THidmHduTWM7E+VtC1UZDi+uHtGyTSi+SEEa0WEe3M6Ly4JkRP1ivaFGjI9BrLp5fDegWn
cHXFhrhKjkPln5JGY3AcyqBYMNy4IOfYA0+6C5aSlX6domVvjR4SHUsaqlzI7il3qqdXdLXps4uC
Gfj0/dErxUS5dkU3xKBFebHVrRZ/ju5CYVmjl371cwC4bE8XqU7SxJOogQpTCjjrBjjZE6UOXBes
RIlOIAcDhYEGonUrp/Sfi9InwV8xm6dPDcFb25m7BiALcNyXAFTRFcudvZ77agdSd+fslwCGYCZw
XKuMNTlOIfPAVETUEkxNp3DbE4M2bHvQmVvh4LqCZjDyZrPC+9CmxICMVPTWYhMqoEugE1r3eLX4
brSQRhB7GOK5KKaAGkSNgC0HRgaGBjMsYkHQoDvN8R9mJ5e1xlPdmXYymnPMZSv9oi6uoVSrLwCd
hNc9nTuraw33+36CPQctcGSMyGHQ04PZBewNoKgrB6f4yNFYeSf7y6bo/BFEv0M53H6xlb5IWF4B
pBO0xTlFbUysggWGJgRqv+JFqL1VWPl5dGNlHc6qLQItDaEJmYTR9QOXKMD+8dOz0nPyizlEB6KB
W/siYNTl5n3cSxc6j+oriB7JLxDZEAsgBbGLiDNCpGtCF8kXT8M+jxuDpi9nutrTRw9owHJSttmS
KOl4IjomfzLjwh2R+T1Exg7CWoH8S1x3jyBy0En+64DS1oWXjvoeXaYcQa8rEtlkGvRLcVeMhD7J
V1zpnAqUFRNAckGY9VQ8knJK8iZdQoQIT66JzJUM+Xlu0RMTO1SyOUieE2BOq4Xk2sj8IMfCHUVv
aBX+AtlDCIrH8BjgflPsgPTiXQn1+D5/+bepCN+wD5QYVlO0pt5wBfJ/itXOBTGKS8ggwUNVc2fy
AHg9rhmcIyFCMe72iGZRvRUlJ/kxIoh1hCbz/fvxX2T0oZ1fEcRpQcOQMyYbW4MTzgD6fGVnu/Vv
cvffuH61nCoS24Cyexs2kE0y/J9XQhMyQpAFRKkyuEILATLPYRkA7ccxzaKHDhPTo4nlgjbDxQqj
bqRe8BaDQnWMm6HaeTTd90BPyljz9KTqv6JjyEvyPomFZHQj+PKrQlf6gURzjQgWj8IgzYx/07L7
ncorkq8rPEpjWeh+I/5EqnsVNZm4xqq96daJPKLokkeMVRhP4rxWRTFEPL4oa0o+xPft3lcIMhh6
+J9IPq/BeflEJSsOMCX0djhLML2wUgjA+G84T3GSqxlViEd8hmTujVQA9/KuAUZo0RhXWJb9fcG3
oFiI2akQc9tOBQniCc2SaTnyGxLQ7xvgg13xEPvglsadJWirHR2KzcVrb0rSRcO/9y/ibFehiRKL
qlhz/nLh0T3tgGwWrStnNAihKHQGo9Ho7j8dzzvJ43nDRF7DTgLoaA2PlcmcBjufJMdIgQpJhkdS
4hSkgsMHEpUVCxxQEYU5dEM09kR0Ct9eEYjGR5SxMaK4sCtj1NjQBqAT2UM1GpDKSPrH5Bwds4t9
GFncapwjEGRAqG94GrhovvDsAH9LZRtmQLnfGI0zapxIIit7VJjUBkh+RkgumRtiCUdn+QcikKII
GViactLb9a8QbLXwTBehQo1C7ETuS4SwGEUMKJdgVFPp3FBhRDh2JjZdWofHUT7delVKWY5RK6Lh
SNrxCaTx6GBDtGYriyHyj0oL5YZAbFwZs2JLdl0y9g/OA7kSSvhinMKIUMQdDC6VFMerQLpvFipA
0kFDXiQStD1i39P7QezeL8kH0YEn9JOciRcC33R1eRjcBgH8yMcYJBxyfKIPiqbev760hGHuDAPI
fy9ImOPSPbuT1EudzslLjSMf3ArQJUQdvt0BDOZd8QNF8oFf9DBRk3wwaIKCzkOv5EIieycMRYmM
kvi9ObLJ3puLdrLlypMWvOOH+3ZyEsLSk2T05XL6kFWTZLGEeApOJKQQMGMgI/sNfyhdqWNqd5Km
M/HjjqqOqO0JJ2vRhpbZ9Fe9NwaH8jxyhM0I6FRTqi+JRFt02miv2xPUqQlgJ4iEwkeU8M8eRJWN
Kei8nMKhIm+v0RR7uXLONCao+5EnM82AOVr5mNa5W4PXzWlF1kMO+6f/x9RtBhCNF4NjlfuJGtA+
yazgs1HferJPTh0xe3xC9JKY+SJR+fJNW9j+/4QTf9x1kT8UN3uOCxokQiCRfQB8jlN1O0PtdTik
DwLAXcpryMBSyMrwdEmXgt61jJKllS87TYoyAW2hU00ghoBVu2REqAnZAINHh9oOhQJYIj7+DJ6p
VA8N+P1iTihsPeiJ0K3OLpgu0SrqMonzXhFTUCBVGhEMURfOTz7+ri0oGBseGUx6R+PAlbNAdNUU
RBF/5L4K4mJy0+T0FACfPEKuFV9lHcCAtdUR4ylr9KEPi7kT1PGVmH906RNjIt0Y5fzt64uTrnRv
pV1PY4EZAu1plh9v++rRflPpZrdBiCNJ7JxESZK+0i8E1cJ5ymLlesgvkVJscywp8ZF8gnvW7/c/
fl8+zS2UpFMEQBbBCqGdWEq4ykW8jIR9gEhbzevXqOGa2xaHmKSaIuZ3j1Y9WYaMCOiujjd06DGU
xXhIsE62tpVGdzPG8yUW0ahmrAMThh0/kM+ZvS/dDcG2onKNyTY6Uwf8vAS7Lu9UekCCamF2yL4U
xDPLBZFKLJfAMp5GmCFRkNMg+gVQWOeCqpBrraN1KuuLjZI0lhqtWzoKfP7FrF522y8oYNO6RGrT
AyFbnCgn0E4OfsM2ZRrPEFMYxtSkiMWU7KSKFfvlwshGevx1Ntgc3E+5lx9Xnb8PUmr0T92mnyML
ifY9u8jYLj5+krRHn/mV7Joc/C9beHq3qexOJMqRQZRXSTUfsQZ6sz4viFDhbNFblmwFsBThQF44
bRWJH6uEsn18nOlsQpHKlegiYj8iKyOKevJvae21aRdeAz7PvqBe4KT5d/hQTnJgSHihbyI7WAXs
JAIg+JHOnqGcI63ucUZy97da5KktVHkbnrEQqRokcAh1OB7yS2wU8797o3qgjtY6v+dgu5mnQXsT
pLqCPoVMmwS/JRRBzIPFbkBl0RI3OVLQb+C4EAWBRle4WdYQFIiA2vkmQf48OFZEwpfpFDkga15m
0vLM9A1oM4v1svI3hRGs9qVfg3z6Jqs4Y1QogqrFuKYr9XONQ4khfDtoWJNWhu+0jPD4Y3l5eowL
v+5rrcMTQ64JDUnGJKe+WAr//8QirfLzxRpZfhUJEncAlwsA51TlzKiOhoegzDQHjHQA0iwziDmj
lLCgcDr7ejgCm3F2rYK/tn4BFsCn+NErnJFCmgOVXHzPnX+B5u471H1U+F5BLEcMo0TRNOZP5dDt
8pmCDBDy9G1PVjc7oU9Bjge/GnYCN6QvQignB8kujxTI3RHLnDCkGwuoARgKU2CEApDDEJWL9hDi
Yw1nVoziW2DZrUSc4Pm28ITP6kf0AOCXkjWlj9mXYc/srnguz9Hsan8yG3QubVEg+PV3pasRtaTl
6vLDPzaiPDrKuj+gduYYvAe2WQ20XxhIRpSvoUXiAqZXQvqXvhpZS1RsQP0iVxLS5k8bQyhnnbvI
h1NG8c9Gdy+VEtAb0dptiT86ydI1FqllkAkzyU1ufjGSo+OvroiFOGWRJvWyJRAEW0KfyPGCgtuh
SURjnhE2GREdi6DdJ5CAHiHl4RGvNKJs4OCBUEdDGSUqIChjzAdkhJHZNOpPZD5Myen+FuBA+K5J
a4YHBNnRFxg6yY+D2YQT4XUa9NALujGUAKiuS/rEdsEqhKEpC4uZJWBITiIIZ7R9a0+GmN12rE4b
c4wCkQFpCTqTxe48X0hN5D7+U7BcaOohoWdPmdCNYsebrcKnPfv4niXNpWuSePdoUY1b3AbUJLzH
keqELhsH1kDEmawemj/TdO5088LOV3zhM65HRXxftEOwxf4Ka68/dPFs1fl+vIKgNHq1AtwIoVVn
7rSTUtFLa8e7wjvzS+AgvIcng15TuuQa/BgWx3xJN5nbLecs3bBYX9lvqpWb91ufQNv5l/i0vPaK
fT6qN+dRiTftvjkrJy/8adjM4MIoQGnTKM4EgcpYnZ1HYd25SKpOWxBKGaBZmpC+yHwIN4pwMpU1
Sf2PVEsm2naplBFQ9CkVGkzW2LM56NY3tfRB2cJ0pSU2asa/OSDcfI1HwxZ7ByBXfkHXc1tu1SUc
VNGXexyOtBmL6NhfDbTtixqQSd1rirMRTjHqGiSwOv2R4R3uYOzGwAzMOYj0Zkm8PbqtLucLfjM0
9elaH1ZzPbfVec5VYYxMG2h6ROMREJwlLjEWFg80++j0/ob6+Nf9gb3XIbWupNF8TluIrz8pn7OY
weLLzTFrsjYtioXG7BchBAg9LTKB3tEWXQ1KNuQWECx98FAfKL3zQQQCDfCcIHICKzIXVl+6X1CO
Gm/ITPcO3Ri26xVSGKSIG5ZgGW8VkbbH5rvQFq1+vlGHdUbb5qi7FFQ5yUZt4yYh5IwaGSiXGS2o
hhFQLzQzL0TaEnhAw8fwAK7mtfP1m8xfwZkDbU5W5JGIrjH74rLM884dc2MCTEpPpOzcONYy9IrG
ah+wY5bCznl2XphZ4TO/V2aQfTi4lseG853pixJfvI+tIvgHcaBfnVx9h/ZqiGPRHH+Ypp89sfxD
QclD2ueuhTrxrcD+pfspPHhs2MKZTH2Q8fsG+vCqOK2PcwZ6TsGI3MniBRzp6wE0bi8huzAKf8+z
abmt4kftqAGWFbxZfNgqtmMJyq3ysiliD2BlRq2HCz+nQaWJU7RYbohNxwPvrW51aHZbfSVa7Vms
/ABtDN0ngQPIT3gc3vBQgB1SeBzw/0DwJdEQAoIxfoZ98u4/YiJVmiVfhNKrISiZ6xQ9z1YPdOC0
OHpYfQDpWAP2LmkyAahJVgwCIYGi4QCPL/giu7oa3qmdxBgIk2H0P4vox64d5Wsz0XraxflCPhMt
Lyafq8gaYlpCQ9o4UUIau8JyDZwFoc/Rc3wEdLcuEM+G3CXuTTtSkGqkf3QOStiLuAtuL2PuL3D3
QS20xEYvp0xoO4YStNCmZWROS1Pcj9HRiQC3PmHAAMNOj68YX6Uhg82PDGK/s+HHRA8LsB2IFUa9
AJd6m6/haW69Z0/vh8hQXzr99kjVHGu+RMQU+sqog9ipow65qFiXYRRzHo3am6O96qBf1cHFLbgy
MIdI03aIvVqiJUytgbHnoBne+BEMDGZMeLJuPzGKm0kGNnddrcsEKf/PBK+2TntBac8kxrt0cE3r
lgnLPSchQbGVVBYkSOGcKE9LAiM0NbS3FNfyzyQr51gZArva6hi9Phew2RgIWqMTMYGDq1+tv7PM
e2KQ9kLrqfYs/2EA/zpP+aoaF9il3PrnIeRrJvlnl1FOq7OCRcHzaSMlgo32AVWPCiYRhbZCIUoQ
/C/Psau6nIcn9wNiKOVSMkJvdcx5vjZQQMFSjYX0tOzq6LwO1tbymUTUOJCz1cjnAM+hpQ2SU3WO
2BZqHaRHUoPtxqIQsUrarqh1c5ol6vo+YBK86oOgAFhmRJcZU7MJM/tua6fio0TXh3P+aFsam86u
KFZCXnVzWMXaGHbl72OTapyk53OJVw8Pq/tlGSAHG3ASnRg67trOZU5ce87z7s+SCEQcqlHLRrZ1
S8Bi53057JaNUcEY49U5TR40gum38BpbDkmJOT5vVtSGEGi4Db2vZb/aNFaFy9HeV8Dhtr9xDg/y
Z79pUPAu5jpCQUdvxeHNz1f9Z6DgbvFyrU94P/mcV9XmtyBk/rTh++GiHFyQNB0UCCoExjaoe95P
w/8AvXwGZua1UNgjy6friiN1ASMNaQpgv2Ta+1/amhqEUYZKTMbnNwCoBWAR54kM++62f2HsYqvs
g30dfw7cKVN1Vnir4BmzRvG4RVsaRRrcEgEYFg7WkKejS5aqo+C0Pn8ZeXoYqkyY/mvEtwfgJyCd
3E5YW+9RvQQsXzETn5asr2qq0+v2sw5cAvQhW+wVKKubdoaQ+a9yn/z/DJtrg0SXcoRsFQE2tGk4
SgF1YpbKRJAAdIW9OyivDsjmz/q9K8EEM8+E57rjS3dCVtVBRFe0+zjfSmIZ2ByU9tANarkGjCM4
KZxmESbomEVUg8sCT4gZIFdRbxfrsIG1+a5EXpF6dvuKf6OfhidyNa1RXOFnD96RcXhMbxQBnyHC
yH/+PMD+OKgBgREmShUWG8IOJAHMS0z0PsAMAVOBu0gdAboScRoMCVhhaPlCM4HZa7cYKM1gaxdI
azsaxoG7Nj2nvT6pUEQc6z2V0eMBxBl+CkxAaaVMa0THKKYrv3X0uOWstPrnNB+OCWX7HDUeA0RW
0OQzUNXODxS/uKf22hSTqKR3zVEVn2ldEq4MuJLZuo2AEfvjGKD2yxr1suFnDSjjA85ygLzhd4zU
0llEW/dPhBqXn7QGKVaMXw+I4srLERbuWpw02PyX3j0GhNeeKipeTm/4c2zbm6MvQDSrJ6Q4YUx6
H9phK7fJabz70JkYfme5h8R4yibHz87lRx+3zfS9w4qxAjVM5+sO9UeBNJmF+vSd6I45IzuPETYd
3dzT7gIN6Mmoc4eo29EVoFz1INf4m076oWbDUYLyNH2EgJRrjl1ectxmszNkdjAgs5CHzMJb8t3i
c9zXcNCGBLMxkHODw697RV8JaxgiuKSEChpaDafa553LDhSeCUS91+KNM3DjYqSkO/gmTm8JApvg
edKMMdInJIIOuAFg8MKjd4vbXRU532wNTemCXDQ+yCMQ1j4cN2B9tgkiBKfhTYO/Oq8tZTpEKCJi
wmjuS37H9CU8oaa4abuM+fURXxi8BFMDehxukE7bC8kpfBvtsv/cfahf/iKDyVN0fyQpD6CIKBbU
QWtx3ahwKHFln5D70FFVKzSMKX7JvAHHcnJl96BGwSmHleISXYzguFMRn2YXyAGsQ/B7BeSEBkUG
g2o4Ee6bYTNfRpqNIFqF/P1B/ox+GZO4Eo4e553SI26+avesp9YOoKZTLM/cqioEX4FdpN65sNSW
NN+vs6f/TEyYoVZSxW9sNbE8jjnwhtbovG4OnvP79NvRF5Z36zxI/0iYSAzag3fC/YIj1qGc6GbD
dnCkz4fGQJQhULt9YXivhGXn0lmNm1hU2Rb4/fC5AenQI7IiYLAFAeoqwwfihv0nXrGYK4S4/Iaf
qX6wAIg+KdgfXToUtMF/2A+IElyj+0Tlk7OKwIYCUQcuCtkUvB6NphpSzW6eKsMyvM3IcZSOGdZp
3vksTwjuNrlbHWPxFa1ig4PAPi0ac6nOClIp4L9mmEMuKsC4Tzg2VwtoQD/EFNxP31re1vX8OL1D
Qfb0neUhQkNidd6fjFig7YgbzZowpzBW3IxzuJx2Tlsgpxazc6b810Fr9kZWE4OdDz94Q2szzZec
pQDkMKTEVIlx4yqpFlhelZtsYmFFwOAwyLYypaqSa2Qtv1yqpGI6g3wfmJaVW1JFGA4cA16rMBTM
8L6kqF2el2+OejJosRo6YkzuGpS2tDRtAosFYnzlc/EKDbXnFVkSaCCg9gnQUhaWQq+GerWu7Ofb
ySgl0IRuh0qz+1JQdQV4fQm1b+fNhOXbIZ9RoFGB4ykHNarLY3JcuvHu7emhvf6R6jVEIkPS6FX6
RstJEFioizx3RV+IWjYnj0o4Izl6u0BjEbAG7Nl0LqDAEK4SdcvlD0kDC+TXC8M/ggtVZcwSFTj3
sjfcw3KH744dGlD/PEU3OBedld6D2/Ae33bizbpko2vn5Z+APpmaHkhw+PWVUaflgoR9kVl2OkaA
rsHbXd52HPQEIgaAqPMhBhUSkgRFmLMtkbXoQ33lNdOnnb/H+qSnTrnJYCNMekWkyPGrShBLf/zQ
ELYwnd9mUw51Y3mFJMgJiiTTHOmwA+2bzrxlhuz1pX9mBdj5fyyd2ZKiSBSGn8gIERC4ZV9ccfeG
cAcVFEERn36+rJ6YiO6a7i5LIck85z//EnOUgLh2h2M2VDiYQ1xRuA37AonJPo8hTI7ZFTF+NquY
aCt/r8Icf4NAl9YWjvL2GkASxWuiieGbQH8lgBltGKFLgocvxKtoErgQBu0+Ax2hn9vf+ayKFDQ5
7LDuDrcEqlPLIKCicHQIJLL17PGOOc3IVQ8osa4BJVtE/ylzPLTWGikoXgSRvlji/FAHuGVxwEZw
ywzWFeyz9RC2ZfRGo0SpsmRj+Y2FmB9eKpYTkIsp3JfvHR5XZThW9/Ai0TNEmOsABQiLrfbc82DY
YXsFZnilyJrkO23N2hQCSm6DnY9gNePrmWMsAOvkL7eCrRKjlDG1gU4gi8nCQ5v7Bdu6Qv8Axyo4
F3gjfBca96XGMb0usCQQK42fIiYOSEcMQfnrn7fcHkZ9yIR5WsVFyvztENtQUaaxAaIxWvKjYeUT
jVEtBY26DpTl1/BdUBTG2m6+G/KzCH+A+OzrWyw1ltrgahEOygKQgtbDnOV1YKW8hfEUPPex8Fpg
ejAHC1B0u8VhH3ypzwzLWBGxIaQ47FwPwC7cvHGQ24gBknS3RSLfoVixJyHhFPlO6HQWAlaTOjYZ
N5KZLKnlsjLqOZrqpPC2eh6TKDoo6w7WwoPGs/oth/UTfZWx+4mcdkwM2Oixa981Kh4L5Q4KvTDP
Xkda5XU1oSzVZgqyvXb86kK0eQ77CVYe9zRGOvdyZc1/O1lp9Vqsogk57w9T7CqpwTTmAYWxw0i2
sctzDzwLtwf1yCw37ifYO17h6C5ZPdwOZXk/fgbGYUtSO3ILu8O2XPzZRzzAK2nTEWG8wynx5HwL
Flwoe2m6gj0hpgwsrQg7vS3INuwraT/fb12x+yRqBPSj8nUxACZ6iy2Hm2TLPEM4dCztW1cIR6hi
2A5QaFkwVV100sO1sPihK8Vc7I8PS74XtwyEuLUidw+VFTa0INPzLGS6taY05mnq47C7J4vdQw6C
s/0Pajw1HdJrKJ05q4mNoWxNNF0/3tB2S0mwfwVbsR+mbI7r5uaDQ3+g1LnD11o8G0Mcu4SqlSNm
O1d9WM8MRhSBqfJA72/3kHeZLDi6BUnWheP6W5WLebuQiQNDWCo5gnwtkuC2X5QO6ZGy44vfIWLa
SzTu3cw91WB3CEI/2uIvtBaPFy5pFG0RPhflibQ3MM4rVnMifK2An18H2y+1oDVmWCrEeSK5Zr7n
k5cWa1esHJaZwU72mY2FX3Fa4SWcj7Z0TVvDZJMtd6TUy7Y0x+PDttcshsQ5Lrkk9FBEbOMv08Hk
zHoKw0K20e9BWARBQ6LEESgogFmJku6+gevKQctE4rXJNKtLfyELNTeHDOcazGr0a8QG2expssEd
4LXZYz4H2nyhfoQWvBODruuc9wY3GOSk6/RDzXxUfITHUsP/AbbzdS6ehO+fvTE+Zxw2iDld4lSm
iRPJAbSl/hQVO45tgijAtUkxpxMQScbzJI5HHjUA6BE0UcVlpi2Ou6Qa3G5h8jw0H3gGyucv834F
Ku9PozaOphl2lUMmC2D/QooxpCak4otorDDxnmF3yhjifDw+7YjNcQwLRzjWDNUZv/6NUxEL0cSL
VAL8tdwthTaraf060Huv8eqzh5iVXF7WkDh2mr/q4UjzwlX32DF8IPJgqgVqFDRsNfV3nyDFP36o
mRFj4tFVnv505yQMIq9mA1ejliX02GqUAGznpCjM7uPya5FgYCDd4OzXnOyEuBvi7ivmSDNU534f
fFQ0N00yQr7DPaHHM4RMll0YTRcrOKA0jsj1pL1HXMQzMi5HSHv4GRNU0ktOYSQwsWDYj/YAI6zB
xby0XuOXDlLCZkjV14iaSR1p1SR9HynVYn1DkugKteMv7Oy7dwe1uCwWqcaGL6/mt4V36s4O8hSy
VJCw7ZkNnQlUIDZaaKLy9rpXwdFUBnT3fb5WGKRi4WvfDO8l5sdGuMu6Ll9sBitE2i7WB4iBsQcQ
a9pW8NEKYJKQFSv0LJTeGP0fsREpvU9hHbEfwj6AHGvMwUsOXODUDOt2bv3jnBPdJRwotjTWX4U2
y+WCA+tAZsAwfEXlutleCXmH9Z2yd6UHGtjvkQJPc2lhM8aK7ep3G3w5zXkwnpW9BTtjz4KoqdI1
K93hUCEA6EGCDeA6iIHs4CEQrLFFZ0MWrtze/En+GhT0WwRitk2mYqMbtvhtwAhhFEiWJkunWcw5
qFLEgWYK+Gh14tO1spLMy7skRHB0IUcQagQIzbBKfn5OtNWNY+7pdlTmkN/5/SiTFtldbjn8UWEL
JfXF18+ZD60eFA7LrJ4lTBBExAnPPfwVA1qOQ+u8F3Og0oItz4yTk/Tp4pHzWAAwQkCY5bgAMKQU
yWwutT6N3CPMfZV0UDGP/hF7Sw152z7Hwmsx/rBCgDUc/n70moB6AJfQEm37IaIJxNa8Ne6euY6i
qaBrRUdpIipUHlKccgJsfvrHDqqLsYspJVyH2KggHSawQDHvCMBtGMBW08obY6RprMQ4lM65woeB
gnpCvBymlWhDCD1znnMxJdm/Zvu1HfmCFyXym7CIykbp5DlY95FKfVuXNvDnPi+eLQwdmczvxAYp
isM5Xh3PAeld/IX4N9zk14CviqCRPGoPkeTwWBKXce7M/qzqqPvPivdzs10NPO7yC4gKHR3CGQh3
uIz2xHyAw+aOw71IUo2Gvs3IMEIY5sJfKLnyuAa5rs0AE181H187jEfE/yaW70Zii6IQ4zeOKeF4
kujWmLKVu8oWMKSmB0kW9BDUJtjCDXH4dLFD5LuiyrHdjiVcTKiuhMHkdozJ2TwOYs06ccv7iBxO
p2A+H2LzKLih8CHA+iiVOKS5vRS6FyaSYCOC2XNAZYuvBRkvTx6wNYwYZvT9MfQJJjza9Js7spcu
ZUrMAK1BoMwkr/DrnME+xTTyaIJstRiKFhsifqYKQ290Q0LrLUaMHxE7k5asXmbh5G2aJ31u4NtO
bh306PRs7PIGJgCvAKDHstxC/y9mwuxCIOR7OXrNBFHiORNZqZzMVDIAfgXlP0aH7FQ/nQ74IahV
Vu8EeAWcDwgoeJauYnpeQHWIVo1xPK/6dKuhtEcfe0dLjy3fSnSk1TSF03sEHKWHhGph4QJmRyxX
kTogvM/sc7SEx2Ki7LlMzes+5rpDyopcN7NOwrvgxzJ06VhYuRFONy51UGw6xOsReClSb24endlr
D3khyrYaHKjSUU6vDZkGgOpgajRbbEsXkEkGmyxEu7vLEUW2CzFXzhb3q6V0XagQXSdXbPQdBwWM
kq7NxdEihZFkMmhyxRMmrJNfd7d+sfS3Ljr4fP2x4PxedXgZGnshqA8uK77hfXP7B423raD14IQ9
yHJrIKvmM/eqDq2N1UWC5ZBLKJjpRu5DVj/GQlLviFE1WavuBzicE/DILJmhxbP9x7fe7EpGr/Vo
9IQmvIMyVU979NsWpktWG1Ww3ratOXuFVj4BS7VlLOt5ONEnkL7Xusl3lLYi6RD3jl7fuebBKftM
r4WfWf3EhxYDwRbuMMWPqbFVpCo1VzOU/DgDooQzf/haJYxWzsj5rtP1FbinBpZmTk/3f07SCV+7
ywTxRPnmKsiQjJebdtAEBnoR6Golj6HVQXvnycNbFebP6cDASwGIwUrmNT8ZY7Tupogqd0XoEtMj
G8SHkd0nsbrKREgFiOppADIoRmYNrIN3dHx+5rq1LB19+OJjKturdRXkAnHW4fW8a6aGz4gNw8zq
fCEpgyJLeKruaUQeZHe+AjLD6ZwQ8UBTExXeJRd5vSKYPqZxBGkWlhRrbq6pToCvVKjce67vQobf
thrsrFDC4gGQw4Jn0ZjXYRXViX+Ds3pkWNqZPyLShu59v6MD83w4VR9ghG/8fku6wg/8lr5ogXTP
wGBhDKHyj/OZbJSGinp+TTg80FrD9PXfXZ9WpYfiiDK3Rtv1N9jAiKJitASq9kUZZj1QESLYw4m5
tovrHuHL3bnXXskk7nH+AYRm9O6isKQF3RNxHXiq8yjGnbtzwLOA5uOy1D+IhnuKq441lNi9sJMt
0jps37s0wDUro09OSoxb2Oae5gfl6waJCFwkyGx49Sv+1/uRGH5z8dq3dFeGlfsQ2Rl+viyBD4XR
8de+1k6X/rnZKb1QZhQII1yze4jHCq+WByInkBvNUEoPjHKaJTPcmkbMvIBiLvWe4+fys264HJGj
CLsJk8XbVj28oF4hBCMSUoFsIBBxmsIigBbWGNz+C+F0VmfWQLAw8p77qtbdxOnykyriRiAZXVf3
GqPCvNp3q8GVGJP8LFXhpdqXZ6WF1fLoOZ1KYmThZ8yg4atePm6nNOyareVe0JBAPahxi3zMNZ5t
vcys22PJmuuRe4p46lbX3lW+u93uVDKwAGCpULJILwCZBB36d1Qk2/rmPrJABVGTZuJvr+3kWz+d
HL/6BwZfvfJj6y/EeOmk4lzQkkN/UUmYnV8Wr3egJgc11Zxvh96jN1KagXQ5/LQvqWUgxjlSsQyq
WgVDrgO/nolM5qn9QCKg4tMCW/TUeqAWXZdXAAjujdV7/OAO3dMliG7ZWfe7ix9HUwN3XE1dxOE0
l53G0ytzGtVMpjEJ+YD3v33+R2vCN4VDOv/Um3t6yJ4IuvG7VV5RXs7u9FjZE9cKefRBP/kC3egw
G4+T3jj9+E3N4OTLVkk+ydttkJKZt2tI7GapuEbJMd7wZnGMogBhvkl7xVijD+nO/tDGEYcDUixK
enZWC2E+lvPyAFMw4ewXeJkFqBtWg1HCqM7S1xsRRUuQMsdiTHNRTyjK8Ynpmymj4nKEunGp5pDG
lAVYMSFpDOSo8imxqZ06h/6ZDwKNYa3iOMFuTXlnlVist8zcU8rkbScGBRblJwwZ2AEQFUovaRGx
FKLNIUuTlKaB1MbvCyfHZaNnnsyZ3CP9st3/KDckWImMflLZf1IgN1+v/fgdetIhv78ujMVgwWmD
BoNutmqmquXHN/qo8dMlc9ZWwsGt52u3HyzH7uTWCRR0/GgA8iBJsYuC+9ULei+2kW/87M7LYvHL
g5ca/t7sLUysEutajdJX9ILsZdj8+ktXRcSi6zycRvQib83RGI1aPch/fecCxvEyV9r9fG9QzJCw
xlTAlXOP1AgD1CMZvrX9L2zXv8TJDXgD3M+DTNd20RaKXcLvvOJmbJX3+FnvPrdzZjWobarRTXJv
xS6B1qGYP6LBC//+8Buir3Gt8ms4et9QJ+sYhNnQXQ0yuGeM6AZuFmYm2qjDoDDJJsylT/nDVeCD
QBFLOOzfaPMkR6nHHYspFi+wkFQPctYtpGLBS+fqCu4jw4FVwNguuXrUMtRWdHzS6oGqSlgfXgh4
R9JuI5lXws5hKwzZwF+woc09DKBqVEyWwRyZitP+xswiuN8QCyTrl1joiJD5P6MK8T8rExNyOogv
b5v841UHiVtuoKabMsddGcPyOZXZwqGiDi6TzY40ctGft6joIXQtNoPbABlN6a50yZyUMlWmlbKV
9n2vs0NBU6O8E2k+L17Lww2/xCc7XLOVZqMtvUDgfZkVMjyGcwRRl7rERnSG9pfS+25/YSIjTTCA
Y+k+4w2eBl/VHNxLa9U3qV4le/UXKKnlJ0rZCc9ujAP5g+cNz5wiGog3HNaWDymQBAdObAuN2Z/X
lpAbeSsRrbzinTXUkN0AJx6C/U4ckv4kXRaMpQT3PCxdqI3+5GtmJzi7B1BKe9DFw2K7SUf3rs+3
M0cG7FLcGoCUBHa/YA/VLKnrHKDTDgYmU5rA0wD+gWK3FY2xbm1WLRM4HVVQF3r6qifZCSilZk26
AZ1Tjyk3QglLuLU5CC+W6NykcLCSh573hWFSqpD5v1F8okDxMEI7PRikF2SSTyTvZ21GeKYNNlBx
m9L+kLY9mvBdABMyZjprm6KHiqLHr82UgLjAjuRZf4E/7mF5SXGXQDbIboKQn97myU7IbtM7M3vH
CpMoUVBAsEQet0CYJZOdbK9lIpczdK/agjGX4HrThnGqRGPhZ0zH4MN5Ym2I/nKesztRZgmBwJNQ
IbMHZm725pxVPC8AGA+rXkksLd0VwuVLx6Tkeq6++FYilrOYnGGEAMSAQx9N70TYIlytmgw81ZKT
gSGvG80r+hyw1lezGoTbswEL66O69wKxUOt2oI9TA6Dgg0Y6uL2C52NSEr/6eK0btor+Y574V5ZI
GeizJwNKBWMJcLfORNH8p+o++5EKVYZYs7ub95b9KpSuPuuUAILf5poF2XUPJa6CICRPet3ohPkt
tnMDx8QPG2TWdmOtPh2E+OAOm5SyGRyOgc3wog0ut/21ithssyF0Bzqr9uopxlJBZI+AY8EA7MdT
yjw2HxrQRO2yu9Y+5w92Axc82GDqOgZZ7ummZyxp+6hW4aAGWevBhWnJuKe7v9JSVY3z/Q0wvPla
MhGXUFSI47Fwf8AcgkNDTGs5lN6jjtPrmFxwNgje4AvBzQt8cfphtO1A9zCEFAJRAOIt83e+Y5MH
TVCkMvVcgyNOn61oNJneweqGQf2A733zuKuwf8jS4s4x+EtnJKl+Ve/OcBldzd3uIuh/ccesD2TS
PheLJu1du/rFfYPZ4RUsKC7p131Dh4CbBvkj5M/SNf3wJXzC6zINsnhoCznyuNxQcWn+LDoyfK0m
l3b0kkJJQQZC8KV76k0mVwBPKPpm9yA2MLTg88Lnq/NzSWTWG6Hx08yPC3oYwJq+kGxCzh9f/dHt
0M6rIDHTOB3RPJ/7Y7E2mCm0IGM0FhcZgrqwC+6SR4EABFkIAM2caajIy2WqgTHE1Zp8XtbhpnsJ
zmqQbR+MEPFMwc7alOPY3btDCLPZ3vA5hwV4SokNFxpXIxE4cG58BA2JzeBqU8CFvmPbAkSakeOM
CNnNGlsfdpChXLzOjNIeT2oRDQC4FGe+OvjMbzz/dNUaGJrAhypGZO/te1RMqLe+jH92Eo6kJDBA
hZRuVPcIP8/wrcyUAwx2PnphhI6Djn9DTBchJp4zaeSAhlj8524rXwmTulqkhdDYB/lC9Pf073N4
wpjqW2MR+Er4RPimYwMFvfvrUp7DjhAIONQztPGOSGMDXSEfghmaQNGZGIJmt5J3U13IxR+F8YvE
XK2oAjoSsN7xe3ibYorFA3IDIrnXFkwL/emmesjPFwqozx5GKkv6BAi3v9qq4vO2Ml+LcHpLxxzx
n9X8cUHWdn2bWgQEeiRgIujc57oxeGyD/MRJlqG6RzqtTS7jY6RO5Ld9kUxpWFtv9toxpPlTLgle
fNm4CHWw3mgtjCkAMcBMbrAF2i2tXRLWQQ/B2kSIC3B6xUZgMbrGVFTg94echgeBzxfGonclfuDJ
LbLaeQjBg1L90oF/pilcnjs0b7O/urkVOghX6UAyTvvWk/GnqSgLiQOpt1ffQiiOl0QwQh38NL9o
HO0eqUQv2h5bxiyB8EoVAg9sUN3+0TybG+QeXF/HmPIdec/WW3d3O+5UGuxpCm2EHh/Pf0tHUw2V
yUWUdSehQ4+zm5shPUb7Cj0q8YhkQ37VdQjJI4CsNS+z2fcz5MrZn6uDV5M6gfNk9uLiABuutqmj
L8x3PabtDCfFzOLNRJPV3Jm8XowaeqSifsdMNFPqSCpyrHC4uc75UTpPT5d9/8XUoKM7xdfy3/uL
zV9f7DfHzooErh8k7JutKxBCzlOeE0yV/JnuL/r00ApGO3b1DDuQx+zXY9B/hO8nA3362GR0t2Y3
YBNWGxe1sHr7K/A+6nM0YGhDtVC+ep+O31W3t19cvWbZx+1VkQZV4jpSDLvX8yuAIbp2+h/aC2bT
yBVyXxej5mpU/+VMwSpW7rZxiWsb8pv6AI/TnyadZYLeAYTjZ5jK07p0BsoWlrcGZ+sDqeQ3+b78
TCOETGLH4SzWfO26fSD21gKdg/wxFhk8F8zrCJntfexIPI8s2ZIJ9YcNh2JD7UDlt2qXnAzse+pd
moQaDbV2oZEB7+x7cPnvPRuDXSFGIRMkHw3X+rC1BF5JNRqYnGmrTUl142Gpvt+SGioCOR0KPBa3
mLHtFeczxoTS+DPs6Zrzl0oZctJlk0359FqdvrF30GekmgUbVuAABZM2JI/x4wwGEyrXgTZEh4Qd
AjXoauTgeuro5uCgLZgxWfpcCOGFrI4Lz6561c1gv5eE6+o4iLPFifHjB4tkTxvFWOOM56K4w/Iw
+idc69w5B57YZ1oDqIubzeWIJm69ufXoyBQQ0XvXA45DuqdGwgLm/TRX12VTORIcavMSDLynf/pE
psc1gLCN7VZcr76mJ4q1x8EbiBDLp+mshD8uaYVd2EkTvMvh3GBC2EESs5FChN59/+VM5j2c1N6I
Ue8se6KW9DMURINq7YeIU4EVx1y6G9CiAxXQfvO79TskBEnA6kvCr5jxd1WRwZGjMqUPFSkHRG/1
CYQFThdD6T+2BM3BcCu0B7a+zanPGGUk0x4wnMyfMbP7m58VJIooFlhzbUfdWBpHbLEg9gwsr0SM
og15E5dDtRvzXZKbHsUQEfYK7e7nhbgIFIssFiY9MJF1b4gp2h4apxC08ooMa5/MlKubT5MMTsEC
pdG3rgyJkP94FeYigo6jt0BSQ5H2otx8wZS5QL9GPXGdHZVYt54HUgyXLOJl6mHNNI0u+8o/Gkjq
H26eubMuT6Z7PU3LyJiDcEwbK7ubjM+jY39k3xUKCPNamlOhKQAhM48i5QdaxjNwtziD1QMc2rnK
vZYKt+ISYRu95tLuW+Hr97VhHppvmGP8OeMqmBu5uSRXxZpO2/2UoLh/lk3rtUz6ko8pOBa8VL0h
XmXCJZH5PmkJ6/WLuYYfWiOWxSjM3elyDaMGBjwIgmz6aDcZS3ltbS1Gu80bBV7tOM6MjSsyZozr
l+dOAIJuj7DgHziDg4eXAbNLGCWPMIi9icO3Owai7/7Y2fkhNDSwElOJgSQfe+zkn+QaApJb1+ns
tW1mEJWt6ds/ypPzxZ1dnRmzWGmCHIpQI1xHOLIbq5bN5gMEAK3zj8uCHKgeYN4YopDg7MNOnQSX
ppqovVFJAmHYzYJeHkExUK5+foYtRlxkEsHw4OhA9nwZKXhCWr9LrGyldKtC5xc7y0vMi99OSnCs
C/8Ibo1hirGHQQTdeEt/u6fyw2sfBuhg3MjhGAdFQcRjzlzq4C2dMWtewp/hMebxYCkXWSwlY3QG
NMksOeJbp63FOmT9kQlFxcUZ80T7wn89wo3EcyO4CTCNmKzCMjjcPybMDUhO6nN+ZQrp6lDP7d+6
fxmm7ep7XWgl7taPMfeOaAn5w8wQ57RqEVOAogBTH2Ht/wo/1aYZQj7CyOhXYs+jNmab6NBzqj32
Mqa1Tixk7kxvfh/bY/fS4n5DQUvlgvPs3VaQL7pUNhSPyAoYMjMEyRipCQEWRLZ8lgKhwmV1i9Su
zrRneGvBOq9xEQOLn5Jr5JGv2YGWJMKkGLLSPoi0nlaYD95eTELyOJenDzgXsInAfBSMAF4QE7U3
Bqp4lzp9ZVq+rJKzp798tMGD8AjIdcFj2gyFN2xI4YQwHaXuCef94sFE6FTrc32ifLBMDLWEStxI
ybZRPr6aIPQn86JS7OKyAc+/rzsOGPsfqoNyIgaDarwUyXVrU3F5TWNe2PLfNXOIgs32YYshjxaf
nr5jbkhnarABEOp3ev4YmAUqWWWWBQ2jSj/AUKE366Olg2ZqrXLAYDTBfyrn23zXDEa0ho290deJ
mU92YdecXWY8+7Mu8b7MOC4W6RNM950RLeVUZ5TBs7UR4vWcmtkuGDKWy00aZ0en74bUVVZruOfu
6r1qE7ymIftoEOTs8+vmpE6D230oUjf9GUVKYvUu5vLhtx5bHB9h8DzwhMr0LsxKbKDKBhcsEpyK
E8M7hAkYM9KtmaUbjkQiaFG5qKH5oMFO+1kj7WvX07C/f21FEhUDLoJ29uGHZzhxGQEtnlOw6+lX
x02neHiLgv3rSNzy7QP/0LQSqmszedkKti0OnhcPpjYt9Hh3lB93ysPcEP0rElsGEpK9xs7v22uF
QrgPl8upaF8wKDxdb5xo2jTviRxhxAaYaIiRldyPwDhvoX7ByYT6hcHbxfY6S89TGVMntf3Vpomw
js5oC3k6UO7EQtsYz+lIM2p3llzHmo/fU81ln2ZkjC8rUqnoXCwadl7IvR4jhu36DuMEboxsNw/G
x7/Bcw6j8EV1bhPALQALNusfp9yQclxI3f5yBZlAMDkltCynn1izkYhZuzDzhEMw2pdbxnLOPHW/
Zpx53cBzNiG611lx8n/DkFhZ+BEeslAxbr+PIQw/IA5l7PbM3UMwNcfTB2Iyd20xycJl5d4ZSNOc
DYbrQo+mB+/MXL3ddnyP0v0d2jUkC9pWhJo+A04cNgw7QxXoaP5cmCgngXkvvYpWz5K+A91uOsjf
nJ/GyLAjHN1o5Wjo4cQdM5GILjS1GELhM9ZlHmU9otywf5MGRMaeqh/nePssYedV0bRdCXciHkDZ
nmFR4jPOw84Bd5WR8C+B3V2b56kwamn/4qPU+WdTrFMcAJH3L+8TmNvWmipDLgP16xbFuDZCRCUy
FrYMPeghRUbHUHEAq0F3QBrM+PHxefpx2hF8Xg5IlK7VIncQBNzJHpP4o8wUIlYZ3mc9F7kTBPTR
hTrbzAcEwD0SY+BqSUfag2C0FiEbky/cfVRA/p5/9YLTV8vWt/ZkzJMqaijwI1OaAPBKPFLptik5
5zgMpxAZesPlbUkNde7iuQtN4AgAv80oVHhALfGmE6jk1UrqOb0bMjaETEh2ScvhrVi/Vzj+zhFP
O5iRSmKNiXx4inZGA2IOQM004wUQ34vtUURGAE3Oq6nMVWACDlMpM9GQbeGbMB4+buVBNVVwTKXC
whWZ+Kv+UvTOgr0D/CMsJ6CeC5KRXYkYe/ibnPuE8XJMMbO98mPw9jAhhO35mU8XJVS0paAS4TcO
FWQrCvNMvP5D9sYtl7HbRe2lHtb99+KPGLrdwjvkqRNuLafM8yZ16JknyAnzPfyFYkC6LAal7hzF
K/r2/Vhm6EB6BVUOqRdBsgnGzQj7cXidP3NM5QjNIciBoqwYC3CMw2uG/IX9mYypuIjJ5Hnh2ZqD
jxqAETTlPztzOiUmJzmfrOIowQ/i5oxhOsouc1NObjHyd6CslIL99JiOnxuQIoxShfdjBpYCDXMx
do01pGyBeWyLTX18/AQBvOuAjok6Kz0Ox8oCfMuG7dQyQRcu+fPfiqRNNEp+BzWTU8W4q1oMZAE/
C6YIzkvMPLHQpnh+aHaD9mANaYS+VfAPe0OmTvf1skeBoR4wQV0KS3ih7uIvKQ3eo3GNvbyt9KE4
JZzBKIUIhYYjfBuxWMRZDDtREDywHSZLlvWYjSh/vpqPnqj2uqFg4716aJwQZT4rv2GShkgJAglq
E3oBBmMIoJgGoRwR0yfAnhFY6aTElu8Bc83FeWRMGoPL1Ec8guPPB2IV6QQnHhCGBGOwgBtcjBu8
oMzpPl3scvCTEZdUuOpCkdxmkNaEIAjcImcZJR6TYijcD/pprsFfIJFqJrn3a11wot3fsIxhs7Bt
Pv7/NmUoryKFgZnZHxELajTRsqA3LLAxv295USRoOODSNVCkyBDfMx6RwgZr/rk81HaSTCjPb/56
3bkJewMi0gLKcVGqUwlx3frcgnsSftwUa+yMDlhgSAJ2ecScEX+se6jjUek8Wis/Q8upeAwM0BIU
k2/2G8Gv/Ap9u8h+xfEVJuSwlmzaam22hK3GESabl9XfbcXjIYhVDMj23wlc8R6lrPjzIcx0NFy7
J/E1LfcjmbrDxqNMNgHW+eDIJLfMcvlSsEAhM56P0zdhOi+stTHHOkTUAFHbdZoWk4O6pPI35kcx
148K+F9dk5lnGR3fInk5MqB2+0z3wymGWbYqfLjRDxpP89yN/Gi55iyjpP25V+dJsuQ5GwvxsfUW
33Lxk/j8XMzgbdwdSoUivLf272IVOKS5u9Ezs0Ylge66H/afdhItjLAYbTjfdVpbDNc2huSB/sKx
0N+MifrMbUQvDUvlodAkdw8bJiPO6kE16g6U9WbUHYCM8fOqrnkUrOMvDiXWC50UKDJPmtkFHhLp
I8nInyVPJxunbNLjMDuOmtTZFQ47N3r+FJczrw+4axfDxyy8GnY4ogKjTbq35gpi0wrPNxP72OPk
7W7wFsD5qnDCkKtDBxJFMEHvg2UV9p3pLJ36S2a9V2uGL0FjWxgNTo9fiqyavQdY9YqlJ6z84ewa
tYMR46PWDxdwCU3c8cQRXqXOCNIBSZ3yAjhJ+CMWliESva/TzuScaCbyh5JSr/h6yK6jYni+2EeF
VgWvEes460x8cquL9fK3ia6IxFRTOqBMh6BBk+w1ViuFoDlPE9gmU4QdReGijfWPhMsWw4axhFn5
RnCm06EXRmFls0r0K90oOvGHUyj2ZY8ubU9Hh2S1WmE8DlED6N1LRmDIryFA3JSWWgVDLlGcCE/I
880+c53do3Y8Hilj8S9MYfcsUp+OQCg9MQYYOV3T4vPlLh+n4T3I4Fu8MKykm8/ahiX+Dv3p94Qv
Oy25RUO6ALqLR7tZx0aJIvK9ceAGQKYps/sj2tEp9pbC4YkwHCv0z2pAKbB4Lp5WD9zzXZhgpI/N
xdoh16ZpHpXujDu1lLouzf95enWwO7Lq3Sj8bkdv3N1m+CHdLDxMAO7Yuk8QRM3LAR4Pd1BAhdIQ
DCaNN9Ky3r126c95p/bIcmpvloH//OxZaurRSAvDh7vAqYTmeNnmUO9pRR9LYwYvv+On3vE+9Llc
rGccHJy3wMdvqykP5uw5nMJwNVTrzVR4nnqaPFHtBKgS8TSdZzTtU86xUdvv76B7W3db+5VNZKH5
peiVQrAFo+8nw5IxiwnHZHufgKpRrOZxetyOswiz5UWObTYn/Wu2lyl9tpwvZCrAOVDupAKxc0Hr
mV6D2kWpmlRmBP3FVJJJefNpepGImnTqtMuk2XI7EEv9Kcxp95f6to9y7uKIxDf+1RKQHYgKdJ5z
EbFLZUqDv1N0CKH9IyxS0EIA1ggKUWcMiiNsnBqvuwCIK0evyqeJJnaP8qgOO2BNo+0n6MFBZtNd
r8ewu9kFmafRU5GvapHW2YHyIng2JFFg9awFmGAgf3lBd0365l5iik32Jqc4Z6kwG/nwSnsyanAx
WImR+VymWbIQLFkpzCBoeqTIYf7E+75T+VnbNz1Q4UC2otPtyXOUvbwrOFjQRzUbzvGQwpIuo8Ai
EGDCxPAJKOqGXyUM8pcNbhNa+tsaQalgWTczVsq5MemtZbQINCaMN9BoBbEbQG6luBjeg0iTTGDt
zrink94uIxvKx/DdO25u8gluDL/pQPQ/ZAJnA3ebUShCBDElQeS/k/03fs2+EUNCbIJoAmDGUenB
foH63SyaNzi+84ZB6Eir8sQAL/daeqicMcffuAmmtBPAVgZQxL7CYjqGP8XT95g7H67iX9eyH9N6
7Rk9VQvJ/PSpalwSFHHzu5njLwp6rA5SYTV+haoIJB2MKTvktQ1k04ZLeVbjOkMmxZ36nDIdxYkz
vN18+SDpHlA3ISQXv0f1HeUqxd0bjLJ0TnO49klw6mGC0gz0OSE4dvdDeIqPJt18FNZBP+JRQjZB
HOcw3FnOaDY52uBCQhMXkBzdHjyyBu2pf34NCZKyM6iSK7rmmHhv2TxGUmNNtXegtDaovor5Cqdm
h3Vo71kJn1n3S3WPDnjf8GD1C0cSWrcP5ZGdThgNUqa8xeE9FJgpC79GrYv/hIPEoImfe1gC9+jS
cVORuE5kEBY9F5jWbpx7wQl6BRmIXfioMaw3UBHPne/3LtVJZ3Dk+BX+R0BtPKU+WzCH2Vm88eMX
KrqNl2IQ32gr6fjmkFLR9ojdgmOSS0D2NrjssR+rqnU8KqNjKwdwLeiYxx9Ye4IV/9pAv66ooJsb
3hM/aj28DbDJh8GbWzBWRJfdbg6QXSD3896zIVyWxprHSDi/9BH8IqjgFP84GKUBUYTShqsp1Bls
VxzgCmeciN46gnc2UxGmMbTHYxzl54a7/w54G1BQQCS/+yAPn1QIfyl0qOdUmxrF1xFXDFOHL+HJ
2Ues68xFrxBpl2JOdK6hMKJ08mXFPs+oUnB2gQX8H0tntqwosoXhJzLCGbnNZAaRwfnGcNgCDqDi
gD79+bL6REdXV3Xt7VYgM9f61z9AKk3bTltcjYw0ZZx7v2xfFADQG98lzV5Ny0/3qHolFgTWRXeV
8Odz/rD/X0yvt0X9KryqZaQ3VHXgDVJJb4ale7H5HIr98PGwaRAlPcjTiB9P43Ky0V2BWDJzGeMW
cvaKbSczfXwywAn7Hu9qqotBT/Yo4L88OnrXeLg6wWjLFyT2AFknX0NoEGuYyY8icbKdvzYR8FzN
b5A+iPEm1kXxAhaGF9w/FpfF6zeBham2b8AIIIlTwaAN42dqZhyvQ9h+L2aYYpNbl5ZTOy+mpMYX
yyBcM5z7VxJwfbd6RJA/0EJ8l23y41/WHfvSp4FM+9HY18GY3LQ4NyFgZRZfRX3zTb24VLVAK5i3
HBqUdzBe8huntfoK75kwNdMD3UgfDado2+fMd8qRSVaV4cTsZmgOJktVF/ubJK4/PHyal24QQ4BV
zbCEnULOixDe/RUWOBamXzrWarVMRw/79Q5VCByB51z/ScMbQqchtiOnVGrgqzTZYd0Z37R2vjgt
FRajA1s9Bc0a2+jD620X4K+F/NG43LD/kD/8Xn/4cAj9iE/U29ZwyiUM6LL4mXlm3QtjqKo3MPWe
t9I1zGLDjlmaM0o3DKz5DYgg07fcXD3nIQ3dVeC9jrkKynsmo8oN+cLCTuj7IS5FNg+t//DIqqCU
6DXQaXAi7smZ94xDczOBwdSJ7WBFLMDsN4YGsjKDTWMxcS3PuCIrJ/d/xGytOry/Aoq3Mlf8fQz4
SVCo4CyQibxv4v1iVedGMLrFzysHA7DSw1g8cJKt/iDUTsPtQG77m1lzdj9Gi5EQvrvhty9bUDGu
V4wdO8xTjhCZdKwXRS+XgeldTFx21SxWVzny6oNLc7UIbJtQrnGyz2x71X3JILAXf38jJTWw+Wh4
g091e3XBwdX8V4VtxPbkQEKVM7MV/2RAAnBKqdRhBMw2xmaBaTfjT8dbUbLde0GwLVYKeGwbYbcX
tEEN+Qf+rCimq8b83WV40pYhhZyyzkq9Lpa2s1fEvsAUG4dhY/sQmFmaixsc9FA6l5nTdy7r2ZX6
/ycf8+1mqR23KfqL1PPCLMLWsZ8GpoLsHBn7VEF+HM86lO8mUz/mdDnTX8Okb6ByBBCZeFcjNIP7
kggJNxguw9nWaUXpzOOS8iBKGGeByauufjgUAwb/uLZmOJPpJkzVtwaBCsIMYLqtaszz5dVQqFo/
wLTc7osIVnnUG9tm+Ooaq0WXEWPD3b2yz46HKwg9tN0Nvwz8CU278idpDrvpC8MZeVoqwAZ5ZqRO
IuJrNRS41nqAG0tELNq0VqZDoKmd5AzXRXlFQq5/WV3mCx2jvwcjPzFax6c5LHoi1NvrKrdvyTeo
D0j1v2M8QZmfsnoM+J60X4xKDPacJUBxgufoVYSjZZtTE8w7eyPyov6/iVnOzeBBDYAxRd6e9I6E
QffmPc+M9NlisSqm0OpySdolEy725ckpPs4JBVp2PVwGZWd14Pal3Apht3GOmNlidXVREyReY6tT
wFDDpvnyH6LmPy1VdZUwjBip9iSPlfSplI20seVKt81voObCUAOzqDG/aEnN28j49xzdcbgdp2ej
K+gRA2TDPmcfl75FONIPhqcIJaeJwwlAX0Tv5EjpqYeDNczRc3h/5CGzjJtkGwtWkfKSvewIR1Wk
nQB8dMujLMwX8148U2Hk4D8aKAN9th+PvvDO/4ZhuB+9ZdB4gXlqO/SYM6+ULZdtt7obW+8Wbtm5
VBPJv004Y2nduwaaCcwYULkdn704vOHGIhg1fCESp1G7ZfU6Xg+a35BcVbjboPMIQ8TlN944++EU
FJi5sSKKYb8MG4njfhDy3uHHB5AfN9y9J5wxyYCNwDpRReFqwYK6RqPlAKSQRweHT33MXTY/kPb0
MfT8SAW+8xqBCDPJocp8QY4KIcOAVAUXkFDwNyafqQvBMhD8SOA0n2Ek+YzqN9E32pNmqpijMb0U
Db7q15hqQryCMQobKxsnhAu+ZqToRMKUfe4EBq9UMT+EPtPkPOsjQRD7P8kKkl76GKf0itxyk2gW
ysVXy/1S3Y8sHRwM3hfBicZ1XJzNK3+W3WhvbxybKAwyhpZaFdm9eEEmYjJE48i1GkYJPLfL6290
E4kqhYF4QfExI5JuQdz7WUT2MLoSGQ169tc/jII/7CC7tIBMuZwfaLXd/igFXRuKCwEEuzOGYQy7
qKj+ya6GxCKDaWWQVz00MCXZi/zu3ceidkTxIU7kS/wIKGV8oo+71RSP09pb9GHM2yb3fr/6YA+i
qUzaKnjDhDtbQQNfIkcBzWP8Y1cMn+EWqcoSX1e1o76zMQrN0Sm4zIeYMQ8gmS/I/OF5HDKAucPs
EDbbOOcVcgVqF/a8wQNT1yq/SWi82MYGLcb2AnqHIqiXwhy2eLPNY/eWRTAM8FG+bCRkisVlDvS3
1mQ7zQC3k2+Pna6YUf/yZP0DGr9KpsZVU/GafRcS4Y/10WUK14PHm3djlvULWNfQkU93jWx1zfwf
4NE3bV2N7UzOeEcqUeXr5+uCxg++N907gBjjD5cJvC69YnmLwYnAGLa/OUjR6sVf8IB7WUd4Dy8s
CajI7W1leIV1TiEH9MXGbB2IrjDeH/EAq5EXtCLWVxMHdLEtYzClSqco54R8O4X14aiIW3TmqMV9
uERAA21jsO1w8NbThqPnx7S9neOSi7hKP3vQWZ7H4G60Uxv6jy5Lpa0qFwQGG33gGWOQ7Pe/kOfq
CVXP7U/qJYVCCDUa8T14IuORpHTE4uwKNXQccMvys6OqBox3geDFnQESTCm7RvKhYUY2iWDJKv5s
N0pgAmtmVBsIJYZpDYjZyMFXLlZfRnm9VsQCxzKw8kFyztOOR84L0uUisxedgdCZPCuqgaIPMwo9
3w0Gga0j48FRbXinyr6h5sPmFcVX9SVE41dbiK/w1h/8ZI+zQb4rDEENjUaubRR4GiL0ICpNNqFX
JiHJweI6cG9U+5m6jmm6hZTmEQxASkdYvdk+tj+AmeN9pzbhn0n5pTH8iT24CcPw8pd6VBLakTPq
9DMbhqrWatiTJsc5JiPniQc3jfqUQp+glIqfADvIdi7OtiQPxJP9YKTGs2n7SS/hnDH0rpJHg/WU
VLhTZsU4AZayg9hOBQn36B8/0/NNwUC5x2X+EupBl8+RQH8AXmViyQe1b+kfFJPt0E3mzNbOp/gM
z/52wboxU9jcBw2D7IDePRvr/KXH747xwRJaDzuseduGftXDcNIGhFnFZxAxu/lgkrqEBEKWWWP6
QCqbPl2CUsJ33Hk/OdQekwPCEcXL07DqEM1+vvmrfJBs5NLMyPCmMcYluTOaBKqqcUzuEQ9K7304
ZXgGJ7eH02QmbJiee0CjlU2w0Ms87CY+YIIx98977k8BvgTzDnQleabrIJqQj7ZgnEwwu7JIQB5C
n6NGKzAJGPBp1EssofgjsvSYPmewSGLceeniAHZ49wD+FfK1QZpdece8IugN0ZJ4rfj+76Ay3umw
hx+g62OtwZpy+zAuXnL0g/yDUITcdWqfq+bDSmjj+YQxkrKIAGU0sgSUiG6dNo79yVznaJbNyWmv
+4OWzIkEh76J61RHBXsqAO1xWyGbVN9CQ8akRfGtrnOMNqCiVJMX5XCKuQn6EAD7es4EFZHckU/8
A5krjqBQzFkYfs9fJMzTr4CbQf3BI8Ep9/7bGog3XFX4SmSdXWFaNEyB5LxlESvDZeWvGUYoCisU
KP9ZzkaFg4spCeQHrbB5LLLVp7Ntow0Bg2VL4jn52j5tJrMieixHc1vGgfCeNoe2ZqlRAqSq7slj
eJDbH9Frid5qGF53dOTvPXnUq1bwAkiv8AA0eI/zJwp3qGzHA2gI1c4OuQAY/P3hM8y46R7sqpaj
kY30MHNE8FC7PjKDWYHy6bK9gaMRniFqdFj+FyjlZDaaGb92absLhgFWvJFxxtI5ye9DPfDDEBA/
OeZq4YxUQFM5SyvWElSkt9mGsW40f8T/leJ1OIHHYhCWsE5VUJoqmLzFoKaeWJnbmdp9BZYnOfCW
Ffd3kFlf0UCG3QGAoXWvHXD4z5IiVDDBcNJ23+2+LYVOfDB/BkVQnxUW/bJ9gSBC8wRN2STkUFXb
TBihZKGKM6fV+O9PVaEwTxYJ56OtwpFXKGd5XVoEO3L7LZHULMdLC20KRGM5jC7EIeGV3xbkB7uC
/8IjegPZoJilZE9RHf/w21swq0XcrOxPIHRTYQLUx/M5divWhPwJQNbdX44f/H3BkJQZ6gzW4mMy
raFPilH0WFQY1XOaKwVNbSHlbNvQT5XIlzP+auTJBirIcA+L50Ht2ZyobwqC2NCM4leFEQ+eitZN
XKf/WlgqVPV90BDvLlcP4m8HQmLt9i3vg5SUiSKe5dBpL156mzEewKiG2UApm48NxvUR+WyTtNyX
X6TshM5h+IWdCFGOSxwP2Bm7CSETTwsNM3dfR0jHg4HQ6ETWc9BP6pHFN7AtDDx8H/Ji/ymd6hme
e6TdAWOc425ltHsEXG3ejLtbB+C6zOi9Vn2MRk6spP668oenGFvfYlL7l8ZD1bo4VdbvC2jD+7gO
7GfL+RQsWjAK6PxDThrdjQd0+85lzNkNofrI1T+3hYatBFbhxDaBKxUTHljksdprev3t3hmaDC3Q
DF6s5rpnaacKjido3tYmPAC8jMzDi90YSicL4gA8MmOQ0OMx52SsIhoj/a/ChwMVo3hCVOgHm5cH
qMH4Xnw5w18GBFJcSq982HmvTQyTuTDPwaixUA28ETsBA/Qni3JOQVYHFF4rBEzh0NqWX/dVQ0N1
0VGe3z5CZwJui/RiNuP6RABXp0viqXfDa/oQc7rcTQhtxotLgMs5re9NnQQjSUfDIkTuciws6H/k
taOU1WzKwUWHUBZSXyvjBalZbKb2d2IvXsbKlHhYOy0X0IiBYVnMdaM1gJ8eI0LWoitosrydjBdN
p91jpPcR3yZ4Nt79DR8bNovxWWQ0bF/R/JG3I0qmB7QBQFkCUvUP0ZVoccrzf+faRWxBBzqNzBuT
0u1ITlAGXRm5H5DAxVP7SH8H6oS7MQ83jelD9GZDRm4njvAjT47sfbzsbh9yZEu00DyGnZWGQOKK
+uQXlLmT6Ra5XCoXKa15SqguMnl5B7kPAw+Q1hgO7UKH/aL1YZvJIZBQwXjrn02JklZUPzeb3572
N2bDm6N3poXjOPvhW0E0C3SHC9CHIj8rjLmnHEsUSZKjTeOg4V6wY3Mw9zqBlgu9iV7IuUcPfol7
FdscYWAjXlRnsv2zIC+ArgMXk0/MZCHG435o4gbRAvAbjhXjtM9BY3OSzxl/Tx4cLS2PuQ7nMuMf
ndn+hDfG4BcFNYSpkf0MrjXTZhVYT6Gg+AsSs+kRnMsZx/Ckbw9tpAUMYpMXzHp5KPfvTsA5YmRh
92tu1kz2/+YqsSjDKX+QomOmkFHVyrxZscC5PAUO/ZDe4lKmx4xqVcZcavB53pvyLS5VGbDG4IhU
MrEDvGdir4H/4BYNagoV48tQW2yOVfIzXm9j8mSYyPgEIJ4IIyre/+boGHUd/70GRz2mfbN6wkKb
ITpiJcrC8JXAg2KkOsUVEIGBYAbXXs1mSTgOpWLp3zjhG9T+CezAcGi8Vm0Ip88wG++vy/vy56Fm
nIb1dPsqjOsKDckkhREdAyLz3syBy0j1gYXmRw5N6oQmqP37M7xgA8y2ol8TnFF+myP10nd/yf5y
0riepzAj/y9DfMha4Cwz8o1OrBPwtlIYvDildJdrhSsTJcRH/i4cgvi0Ci3C+wFwyYTanHv3gmMt
s+pRTHjTS2kWuhCZ2LInbef5d8N3oZq0AdG5EohMsBOmgNpvIO4RkWn0qOvb1sDT2YnAbWafEfGI
G+zdb0n9FrjOe3CBRws2i5ZITzz/kM5n+k8OZjPMcSCXGRu1+B4cSgpbg3HInJz70eKZbQUnZf+J
UuIpvctQhIhnuRWYgtwVtKIAwTtmUYdWGzqh2eLh5qZSFEJJoO76Suhh+EIpo09JvYifbTpvBT0W
naqAUhAF5jJEunmwkqEUsXe5aJWh4K4AZr7+tU2JboLbxGQbwqG2Cuw6X3Ybb4WeAZlbLTxI2iqU
BUoH9mgNzlt4FDBvnA9Yo7i+boG8OZlhSJ/k1Z9DcuotkTAwxLgqYS5hHwLjOsLQoZEAHN0N7B0v
GAXBg0bQQZm3J7JP/PM7ZFRr1ozxUF/x2FIow5c/zzjPNNyuQbFQWz6RRrFz94sJghNOyEkpq88x
1lYfiuh/O4qwnqWYshYyitk1LGTK1GILamr7Rpw6TwUFwa0AKwCY3r7cTOpzjm+uDs/TT8SjsPc2
aYlehcUrV+wGuakigUZPv9ubId/5KSpqwe3AHrRzCbMeEw7mpibMpIb/dObkdYQ8NUAEtOp3tORA
lTIoAH8ZojwU/JallHYn9vFtwJkF5vYSD9hWZ4uKGqz4OkvEwm7FAHOr8xNs4RosOsnGWkA2nStF
LitR0lDzZhTZHPPcJVE6Gh4ApJ+p/ba96MkiWoG2c2L8+yf0ZnTuunGZ4eI68md92llUhvTHtkKV
CgNPMupRUFqQ36D9tFVWUCseLWWYi/fZ8GCAmJs9JrCjSoRdlRB5nqQS6FwhKP29vv177KDm5WmC
XuTKl23gEZ+IHZ2iSrkdAWpEiWhe3Je1kV8BdKFxNl8z+Fys0xZB8desao7vBkRm1ZEzSlacZvmc
wL0c+rUiCz9M3pfSHlOfBUH7JYKC63mXW+YWYe0CgALTMoECgu1pTBJo3ckY1xMt0dSMMalgmY7e
kJyxrQcK02Tmmq3xIG6NP9D7GP5BbgA53Ko7yB/NXgwhhsyeHD6rPIUj/hbQT7LZVCZz6nUZrZlu
+kgjlFjKwTqFr9lYwtyakHwCz3OcS0vcJymjKyqbu6tRUoIYCyCoBTrHE75KD4GYNVKeQJwqYH6g
muvpKaXUDrVwX6+i8nhGGc2Fg2DRao/rlz3KzMdxmBnlkXgpEHDSI/tofsRwILv0GNgIgCE1iMAW
YFXHGwYagtQjymBOcXximWsNqFeQqiK6yZixDCcVHDVRffwHRO4LMGrI1OAxV8DY4s28A52NjqYI
mEONb6AgK+7O6saciaGFmR/76iKpeMiFyqq5rhgZRHe6ZyPgRpnvcHtqDPNxcUOVpsULLfI5XRIS
qamwh/DsNAXOrD4BCBMcWhAFZh7br8FUI8upt9Gycy/BM/wQ6jSH2cNakcTLOKht5A78JvXEfp72
Z/k8lkdzxb0/M2umMM9kwRIbgHiADNeuuWqO2iZ6GaA2ZuvLF6CTUiMFBO7pcIf1CbGn3jcljAe8
/kKvnNnDf9ga8EogOmvbHGigVI/SDOFYMNYXvy1fzluBRI9YkvnqvRTHa+XCncnsE1mg0GYJWRqB
C3GJFwPPZNIx3I1oxDY+D7fC3XFliP5yUj6wZtxEf3+aVL45Rq1GA0umBlyMz+HB5NlGn8dQhOHM
b34e8K1wzIMKZwUA6ZgF+RW3il8g/FCWDub33KabiVZYUO3xn/u7mfx83VsxuYu469PkYdqr/lI9
8h1zCHmUqpJTKTOOB83o59ZRd4Fr2WDZNw6x8wPTNbDx55yS4WbPJIE9gZ60FTFshdE2U0ymYaYM
3GeU2E8RqyZeKUIKHM78PIj7CYDsUw4OxLzyHuV1lcqUbiNLOeJgAr1nsJtahgJCUGr3HDClM7GZ
VE5t7PX919VeQoXB2VwNdv9pucZPfClxjrBoWyZtKDJKOlUGiGrEHMhlQgWs2mtHM/6ZosQO+Uug
YMejD/5wQ0akO4cX4mrxBYvQIe4KH2rg1x5xiuUAHootpGF+ZmCfIMFpOm65SX4D6GlZYVGdc2Jo
EE3GTR+AzUkRNSItBSd04rSB1lFt611GW0kHRL2Paurr3G8eVIUifaO4Ppvf83TwXlW6lVdJrUDZ
T9w5o/axCW7+FtaXNlFlXvJfPz22yB4mf/vKIWroNOWXWKvXLYYrjz/1Ie+61f4G7UWB9MfPvdYp
GuKugf7DuqmIHRIHikn5tWENZOxWWj/lXkNMw+BsGCnyx6/rP7/e8+w/xqMB8TyokxxF3rvlXtHd
QTp42O9LSHFSvcAqzyuaPvyj2AlUdXQJQw6I38fkKQQ3mnwOUODVVsL+0mWjZsAJ4UdA60r1gt90
b8aMvqUyvsRetcCwyRNHpcNXBp3jNvy4wBkrnB8WBbpnijJZGbOUtvm+Q5nGpyEJixbVuI2fLEMY
w08rbxPADCoF4wn+q/UxhvvFhk2S4wBN4k1ZUQxuCnGPMlKNOJPUMcGpqFoUXuuY0lDZs5Oz7RYU
fZTcMfT9EmLiBlXpUanBKAyDj/X+jdUHRvWymXzuYxBdYOX+A8R/85T18s35HTxhY7JNQVvnp/5A
G4bJg6CR2i1+Vs9D2gHvxyJSnPHyymQUxt6pBgjraK9S5iPm7ViwKbp7NQb430yjPcWu+IA4sPnw
im33bQa1LoLVTR2HOFfO2RnN3G8TvZDAv1uSDgXv/EbsFkWK2vffcl9vxuyzDw63b0CZwvnDJPkW
evSiHhuz5GAr7UO1wyMLzZpUSO/4678QShnHTkto7lkNA0ldTpkYM9/f7583cvY0Hi/xIwL5T02I
UL+EjYKeITlyOiw4LQKTsoftiTKKezY59mkLr/taB7fqKzIB87dTqEa838lfkzEpMp8QZ89TnnPk
0sshx406V8zP9Jag8LaGF86D7TXqW+eRw9+E23Dk08FSlBmp5uJfpGEexanHeJXc8grGAHul3A4d
xm0c6r1xklzOmO7BnxJ2FLxNBNwhTImNX7I7N3YILL6Z6OtFyLR8duECzbrM0x/J5i22apajySjR
KuZe5Y7Tu48EhefsOg0ZROJYRYwCKJaq3KnNHBoetjuqU2jA9ZTZk8Mjp+gS7JqUb0e9sl5dlo3G
0SfQkugnxYBo7lafSevTHOTjshV2rS5F+XP5nmeHKwIgZiUvBg6aEf6G1LARzqd9MRvMQEw4jZhn
vmTv2PLe9hDT39LYFX4DReZ2ldaHmM03BP+OcLPYdgfQAe5kBg66Im+ZK/gfsj9IIAhfjRt8neBK
mJ750im+KqbL96gMcyxLOwR0G3U5aTe4QfA97WmpG/vNNOEUE5OMcRAkW5wtG5jwDXY7I9h4F1hS
didRl1uEzzEMHH+rFn5QLxdPRvm6yS0R59lJWWmgaMBU1f1EeL9QRuWxTE/otiglKKgZddBipeeR
SOHHhBy+3eXqjYk6Oner/kVvqPyRykLcuOU3wDqoJTsv66cJZjs5tZA4N3B8BXwu3u74CUmOulq9
LGKiFZKrDBs5RlCfh8P6ZR7IpYDw8m9yg/uGZP6oNhQxgPfYsa9g41c5o+GDqrAo2G4k2//xTICi
4kjVfvtupyf638fFxINb7Tbs3it2YwfTCTsdSHa3IadpyIQnk5LTmVKnZcvZE7Y5/GY9Sq8WxUtA
b6iGz/W0UDYHD4+ctOfsZp9R1z3l9s1zADlpUvK0ipUo2HfN1ex6N7C4w9tviy5PPY/FhHD1Hcci
DSqaPLa4RRZEJHlKeawXpMuVmCID7HzP8pN+XS87mKpxmBypo3oyTMm9VxVC7D3tWc4ManMVDsCS
UtKGsxISMEwkJ1x1e3IFGP1kFMZ2FfNoFDKAvMx7UKA6l2P0YwzIGbFSnob9Zeh5UJsU+RsTQXp9
LiYnjzxeZvHvZL46Ji3/DFSVRn5ov4fyCW510dSJojAqBtbuUYa/o2IBQH5q1sromC6dI8M5dikk
oBbxkT3vPTdn0ql9UDZ6fYdW7B99zssdPuzZ4tXyM3mJPzJx6RyiI3eonqQpb4PBAt4YXKLLuhkQ
TX9p3IL/8IGwsejmFr5hCyzjC+jofL3t0Ep52OVQ6lMPgzkAvyNLMZTAgnQCh5RGpnQccWwchegL
ElnDLbVRAWLi8bbSy9jvlMEbT2LsQRiHYQd4bDsQvG9JY5PqDdjAJal2d8wWpOKyP/7ATSp490+6
eW5RF1dNAUmwz04DvBereUbL58cvl9ctDBimNPwRMIYCiJvy2eMmgYqhIUP5DHIPEUo80Osob/QH
mK7CKmp0RQod+h34LgBzRMAoxzAd18UYL2yoNS/vE1NBgfCislDCaZ794sWdZNKuYEROAdFnMwbL
u3Pm3jzgEufImeM7Mv1v23Qy+voD2LTsuP54eYrWI9x2EixDQyY56VnAs1PQBS8BqX4gvHbwpDxI
5dFvIaW3ukAVEXTg9dNoe2pa1keOqsh1zlBdCS5K7cw1asT7l//bcWFwrT0ge5349Nw2qPw6VsnO
yfLGQVC83Vdyieh/MntMvMR3vFsPlQhsV/bEenzeqozAvv1QfPABmvrhNRpW5uvhj1rLunQa4Iq7
/enMcn1+aiXFN8DdQlFVjxdZjPgkm2fYL101LHBieIUp41p9Bczeh1YnM316jNMjqBZMztciLSvO
6FaZHNlEoiOjoP4rPE/gk276rgrQmsENzL3cHA7H1dN/nO0b1IzdAzbZgEeWaaB/ZhI9stL+rg14
O2MbbdACbdhCvlTwsr9rEaCY4zJyTH9judW+/404aA625tt+yuwplXD+lrBtHTmpQLTIluqLFLkL
2Dx0IFOfe7wW+IEeXJX1B0RFOi1KFBj/BGixLR7nkOTvzr96mAK37auxFD3f3SzgAt7d7CNu0COc
ghKTvexKl9a/k0YNsAdlaHWN/vUwtLEejR2ODqpBrfkXZg0dCdr/sYc6gRzsgPm0hXkEO+vX4ODi
iD/vvfBJaQKO10aqYJUzZ+bRzSi/r5AT3Etztl2MA2gaQ/h4oPNsVpTUQ2CTIbAf2E0JrFbDjIDj
j1kru31h6JHicRprZPVjaLNO/GqLuFrER95JBTLASjg4xzLmxjrQ1mHsr7/YqGBbLpbzeQzLip2O
HQJCK4Kmse/TV7EBss3bDBpi7AAVyv38xDH5bqpQuDvIUJWACeDGUQYWyisI5gNWVLmB1m9tzEd0
J+wFgK68SSyw1BQW4xCRqflsQy4NYTlPJD1YeY7xJjNU4gEhWG4Z/DIiPRw0vWabBUNwA3Ia0qsE
Vr43QyfPOpfEjuFbFGMHcZHsvsHIPA3kHHOf54luquKbIeb3PQzmOWfd5EaXxHzPJVeBfKPBfqzE
dO7P+dtA+idonaHdjk/uj8Zv7JLy9WP/tioVjSVr0NwpojYkitQUsHr98ZsClcH5MFbQOZedD7/m
5ejePGiSKNNylx/OlgS531pjx8RkoTN9GPP3ioEI0ikURBpzcy4EmhS1M5xDY3kHpDT6dm//1hlA
P5keJ7pjLM8hkS5TjO2AwR08qp8p9sXudZzAMp90ZRmhD1UCCkQOjCQBHHVxDsc+SZR82cQlp/ok
sC6/YgTsjlZ/34/4SyrsotCdYO5EkszyEw94M+e2Dfg4iJQK5mGcCjFHbsWjdoBJMwMxBnhKnYsd
D8NDfwx9n0a4EliJ+7HTdvI1o9qd5mouA7ncrswhZmAXozdhEMLPqteW4Z/V3ALGxXqX06ZLy31j
z/wvkqXCHRJGnJhrXN5x25xOdfBWUY/z1J1Cpxwvad7/RaI8V9g792381NfNFD9NOnEF9F6dSZKJ
/J+rgAoWglOJrx1mNi74n21ZiB0IbOMu7PA5L4kYQ7MAd+3jApT7BAAvGvwtkat7mZdQRLpWS5z9
C/7dOCtSrqqg0MdTXcUiRnkOr0wLo/y4x46GEvkmXGKkLSuPsB+ZnKwkqfEuBfrssD5Pzt2I/qCy
Td3L3lWy6CQh8ruXuLk1dT/2cqwsRnGVg46MPATGlUoMJkVH230RF9ezC1rd5+STcNMTpnsdzbr0
XKh27n1cmzzUGTyMDBWyxTBt769L5TO+hpCxXGvOjuERyDYqWXcN8UJpU9vxeEzaQMaHmlqNO8HS
DJaiibhkquzbUOis10rOCFBxF4jQmKmxsvGDp1WZrotkMp6WHa64O4q4LFDrFgs6QfuPy7/TrTek
ZaihVknQHQ6CjMzMvm04aTNOj6oUsP45N43fhVifE+4qP0ADOCAqlTk1xHgI8CbuImpXhamhMm60
Si0o6/x3wa+oIZ4ZkQIa6hZq0w+JQbA7fwzc6smpQZj1bfjuD+fg+sGdBjKpTh5uZ5V56EFs4Nhd
lLSSigZPT0WXpVhIrQ+VNCRO1Xz2mdZQXs1ifDeF1qFO+Zg6GP65NPANfwT4jqhrmG2XljVNcAn9
p8n92KxOOJRK7aHE4DX//IsIpsZRdJKLS9UAHsUYzCh2FEZAMTcl9uswfj6BVFFb+RQTeJzYZyNF
RuqjxSK45iUPoFkkZcASIqMVBSiq1w5O6sb4vFiyhb8YwA32r+PYetmWsdQCIl6xEoCsslTPxqV2
mc5suXkdZ4LI92MyTRAqgQq2cSWTv8dGuu74jWJ2ikPC9ySS3k9EPFqz5O3/NZp16jr7fsQz65Le
irsULi5gbF+xVHHDkIBYqwwqv+F9DU1zYLh9hIPmmHEMnA3OiyElYyswuJU8o/xILuiXmRCcqhn1
x5HuBNnZClNupBzzikPBRwyvdkvjt2ffWGfOjyXTreQE9+HD7ur9n1WxumLOyJtyf66FYcjN+WCh
6SY/JX4GxyzBJXFp6WOw2qcPoboN6K8/Bi3C1cWX6s+Fo/f5L4LiR8wMpk9DI1pcgwJBgJ00Ahnz
pMmB9d6UX2rKOelwjR65MlTZxDwA8DZyk0sxVu8S6dG0UKTTL+0PL0aHl/EPQ5+uXLd2u/W6t+wi
en8GJYDeJ5xeLMJwzib+QqKi4DswR2LGhilg69BXt+8Kz13VgLqwMB2t7Klds2m7/GFnrfuY9cFq
1eXusdo1xgdOsfmcDgIOINbt/L77d8RyepwoMNltN8jhKbWXJ1ZvJtYfc8m680HViuWM6cAY52WL
n9bCIEew6asBtMpT05w1n+32QoKoVvJtypmEPSd/M+gahATg0wAsw1yGX+i1eer/zjeL5WmPSMdT
28HJYF+G55RoFoK/zpSZP14G/0bHL5UMxR2y9wG8S8ZfXohygbEIQ7OahAbZV5kqN1dfothXp1/H
n3Je36KzY03LdNdalOnJ+gAh8KOnk+vYfQr7ZQSatzJb6yByXQ4NFG4hI/TZTcmXiGM/xxMA2vUF
0wsqbC4mFgdGl5PoZCYf0BHZN2C9U4gpO5Cpy/HCXfQaQRZTLsn62cTIPvXwS9Ush4XKFluP7LVa
TDjts/SnO53r3Y9LdzyUxMCcJXUnexG7jxYhteJ33FO+gRiQQn1+zjg8RwCfCaGTP+dud0Rrh3/m
ase9HODShU8KMyqEKnwEXNkI7sGtB3xYqZfeSNSxDmLI6NWih0TPhnSYzZdLa311eLjO8X2Gn+j0
n45q/R1YWPGll2BM7sbI/bfGqIDFM+LGcRgUa84Xdpb1yMMvHfXk2tJqbnNbQdvKFIOs3qd1kI73
q5kvm5STlDBMQg+s9eUYw6Y1G8T0Pq4kSwda4ZC8KERjqi+bXPZWXpgb76MtMYBCodYzJiMEsedw
uVR6S9fFV2KKFQSUhyyZK43asdumEUerJuY+YifML2A/cHixA5W4SAAOMvjk/dEcqe1CHXXUSQyk
jYkOHj1hf2sWbqS0Ara7c4d/u2J9nRHMKXrBPzLiTtVqPFUNVFQLawAyqzfyeAPGPn52h9/qeLHB
7uWAmZMB2w0ylaJEQvqYI4zm0g8Kkb/xGsmcd8TTxFj5K+cPC9Ey+Jviwv5Tw3GZ4vjlzZfjHneH
VApKpV1rFc/VGTUe2WPMmLpmn7XcVcESa3Iw/rmNNdhatulhgeMZhjPACddLABO1f0JOgR9p4EVm
kUpXPUQnBQ2HXk1/feyHhxaunrzyfUh0H41q/Bw7H6iHRkUa0E5fdWnNHf+jPoMa10Jh1Zi7/mPb
/Ttn2AFy2JUWQb7/Y+nMmlTFgiD8i4hwR17ZERCkcWleDFEbEXdU1F8/X3knbkzMXVpFOKdOVVZW
Zreym9LrFjhfUkz3TUb8WwPzshbK6gILqs8CMgzah7xVV1RTwhLE+2jB8ujrQ5UvuCiToz4pfiaz
I8PWaAyzBGmkEQJSlpeNku3Ht1OEF3kxsj74uKDrz8sXEEQ5aQAH3HYMQeatGnebnBgNr4d4qb6N
3SF70IZChoESwgybv+yU8ocZI55MUJd6eZv1FVyWFDRmk+/z7lmsIGpMet6EJVrExfTcoD+cWHPk
4cF/nSODN0xdo2CgB1ckaXp06R0LFY7VVmBBcf1JvHrRt7aklKhxfNwUD5PwilcQptitnpnUAwN7
rfCxUh8yrkzATBc7Ih5pZURsQEmiMwrFWIcJXpLJtH1iw/EMHlQwbsd1Gfdnoj6rXMYvOXJFk+iO
frIjM0UcabwK+Rgb/ZrxC41blgv8gr7NlDTEwhMbtXDthlw7ZUr4amAxIvnXQkMLif+TenNF5IJI
CMpO/8xPUZvfAfxM5c8owLClsZ5aigMVEOqpMNvQGI/ZJ2c96NcwHdBEl4115oIYJZEWASXb122H
VORrCIFaI5owZ7IJxfK8HOtGsoH3H44rUCF/sbghjNLWlMLhPG5ebOA2hEj9FVDA4Cmn0Du3GdgS
9aIpKqcrSn3SRgAimUQ7nI2/zYOJogwNlIhKc2h64pe3UFgaHXP4h3KnTpQMw9ablNUuwYH1nc0s
b60jSrJnaEIvbpzI0TeNuz0xLnNEDvCaZMQdUAiiS4GmKz61CtZEI4rQGkmpLs5jCQEZhZkUEbc0
b1lf9wxSlYotVCTIk8i5uaAqZInzvsR1oaxQ+nRtbMHeUwoYnNVnbF4RWgoZlCdF53KW5O7+3utg
R31m4Hq82OHhw7g+WR2D7bOe0QdXYFHtdPJy1JJlzBw0CjD9+8ympB35nbP1Q6rAK8hTTos3xwk7
ECMD+vEOFqHcrbSa4KL3W+rvbURZVP8h305yAcHmaiScnjymLGVwoY2+TGOFETVXGsrFLbprouuF
zRX2JjykjB3my6A1+2y4Ve6MCUOJx8A7Q5YIGnftiSlIVLl5ep1iZSWKizxnKeuJB+KXrkqL8xZc
V/9EYfhQUieIJVRIekT5lN3uFr4e3KWOlb7PBiLXSBNdOTbsMhEa0HlGNk0SKillErZNUUFmQCVZ
BtsdIcV7tjkw66mHtFyCNs7Ber/0u+wetkVKTBBNsbSwOuSQBXxikamioOEMp8BIRWlFDDbJ+zOK
OZLLrTNHtX3wwxQniTFmsXpD4Y3nboutVlCRa1aJcRIYAhlANUqLiaf3w9rcsmupTu+C9tOC0Hu/
SwqmlJEuWZTbQ46WKY+lBHTSqce295xXv37oZ8LxQw7Cb02XlV+KXcCuIelHhZUS3xGpGdjo7wkI
A7aHJFUCucCsKJklkdwT7aSDvZzlL+IDWy1dLF62r5GPDzpuicYeVqgiGkqrEm2DhakG1BXcVB0m
SY5GWWkVzFuh9UfIIQz1sO0Wrp7c+PA7wxDXI0BkpG9kAyJOIq2MNL1haPQxpRI/8CpJVT42AVx6
2m/jxC5BtyILFywMLko65EphXvfeEiLXcWfAVpcNVI3fVl750edigtIgaaUziAxnig2PXsEiHBow
vHZTgsEQOBlpEWB0tJzj7wy7Qpz7UZkYty53C44idpWcTuqoxnSC+CbuCIOGG/R073OpIhL0HTAq
ZTRt/bBpzI7gU4D+KthAwr+hGRl0JwxiYk9DnAE6cM6GWBLypWMZz+kj+A/3PWD4rVRk1ncgGvh0
ReEfmUrSp4kIwMBApWk4j3Wfc+QFn4aNTEbHveVNtqXRznanzWCnz2/WK4llhgxmOMQcaWkrPa7K
0kgmRqtqMbYoXJ4jhjVX6mz1XI0PlgFT4Q+c84+MYxZApBBFCAaQRsdMivvkkzhfrbHECWiuPFer
4FHQzWZoK1sH48HilxewClnSXjK3mIIMVo9g/HKuJ3s1gns0tto1UbiIG3Op2De8rFWrmG4HBfZK
IHn6bcgpI2U4z3w9MF6KgX7k3ixQItFP8zgRlUuMFnfsyC+x/jcWlX/+MSmnybZw1nM2FcM68JaD
Mb1ay3F2pnf6aSOQcQxpOTNROu/3YaxY8UvVGbdCu31NixYZ38e68BxPDMri9nhN6cpHkc4fDZpu
1wXS8Awipnb0YiVcNnmT8fzBV8rJbqfjKBELonOcFHqPo4ch8MeEfY4AWjI0cbvgTQlbEVHM85ax
YoDd/BY6I4pOUoWwneLDyf0efufKPA84Z/OwIPM8pCFJqDh+PDhmsJdlz2+BmRJEFFyEaeVYXNQ3
Ha847Cl6dyN2PHzHjbwei4IaNaxjrcbQbmAwrVbTktw3HtHpRUV5nOzmjkX7zwBUNlhxCZe9+yH4
PzJmh9sl3y3vTFNcVvngveExze/ZyTsmgUjTym+DHD1zL++RtVwdupLNr2YlH7nPyC8fp0g4BsnZ
0JVVjMlh3A3Fye5gE0GtvgMCbpQNI6FxjCVCRc70dN+/XiIt0phRQRrwSZrm4mAc5m9gXCkrJIm1
kl1toJeKOpSpDujRahr3UsKtJOE10FzpVHvnzjJhJhPPDhmBC7roQCyYnWRAsc0MT1/cDOQ1aelS
VVCJh1Ge7iMnqe0YngJln7TKdZZOEp1Z+Al3hTUH3Faxx6EEt7x5DYoEzsFzVfRogS0UidEiPFqE
XcLX1uNc9xJlBlQnY5J1MA+8BGE8UjSeXJcfMbbwlxq7M3ReOD3BNWjaOmQUd0szxCTdMIox+cbJ
ZvKeXCPkMLWBIycUs6H0bwDLtn1rzZxfQ6GMvnTv98UVkkLmHCGoozB6GwT9UcBBWJD0j89hvRXB
4aVHnlWiIKXHmGoNR1n0cD7cr9ucZb5nXjDe7ee1CZWEpc/obVq5j1XbbJwzrpGMohMFCAOxUwUw
ovFPG19g6rCxKbU/8yTp6TqLCokwRFJJdoMDXiuIQwmPpo4s/mZ+8B3YmdKuGUDtgTigQPAfH2Ro
92qysu85AVXvpYKd/M+QDMgOq6mIve7yk0uLxBDlAmgwnR5jiSiJMu5Cb/bTmXRsi36oIBCwhdGd
jYYGnRh6rthVH83gVyPeM697GZfpZXYMIEPcmYgcTAdLW3lRDZXRc+k3JXCJs223rSW8t6a8mEOv
3wZA9kBhEDi87Cgyyv74+powfwQXs8XIKaHKgRkA0z98bHG3f3ask61B+HpPnhwtz6g44LKF7uqU
/Cva0+xmyVChnDx6AfiCgc5NBmRHPGhm0yhoAxb9x7guYQu/azvL90KM5bm3SZAQTC/4IDWvkfJr
Bx+0j2bDUSSFVhfNE5XibdTXKw60pdu/jS6KNDCGxicu/soZQKBC2YVb5nt06BrDN67s7lBDVY5Z
xwijlvWsE3JK0piAQsLAiJytTPZBncWPFdslbwKziCnAaJkU6I5TUDMTeGlGTAWp1qbF+ftSbFot
omeYMbFANwCF2+Cwt5D/kgP/RRnxBPhiuAZPAhvRHoVEJCsl7QvD2XAAxg/vG5kjSQBRPLqu2A/o
7qOmsxTLZMqxXNBrdU65nUdZ648aKG2zjKlh6cUMqaI7OPl65Dyk7FmGxRT5a6WaGK+94a0ODXJp
9M5xLF5cBBZeMobV9gZWF9kDw0eXuuvB+6s/Jt+OWUnkvdjf7BbAweSAmyvgPKUK6cDAeEzy/Q9j
sB92H7sLnnkUsX8R2Hd2A1cNPoza7LFHBy3jIuzrwFYQDu8H6QlUwVbmPUSpos+HogslUetis1za
+p68vm93rlz3C+aCQaJ0M9/SviLekwT9dZno9GeTInJ5sAt/ORmGC5SCjQPoNXqsm5l6kh5ShkA7
54RY8yBRmfGmgZRgg+2niW9a1jC8iBo5ODsBpZI8knPqGR/M6D3EjucHjLpjRBS56XG7hUGjc76A
eBnZk44AZuOCMkGg1CNF+gVXVDVNLwLE3krBhxAp3ZqrdSVPNqP0tbnYez6cpulQTyLAGZaU5Iev
q0UPQ7MORMOgW9ooe07oe/FuqFpSD+4k492tvyNz+4cYgMqhhGnHnh8ln6SKyahEgaRFDXdAao8+
UrYgnUcZ3vdDMl1KzCPhgxRKG7NTOWGB/kAxifye7kEhVbN5aTiJHP9tEF81Ybxh1oqAertGVVsN
mReFiKDjzw6LmkpHmooPcb99kaPeLuSvHCbMVbGBTJszNFoUf5RuFD7XrZw2iJMyjk25se+AoiT1
uB/UujgEk+MLcYniZm+DCtr+R+zkKNlWcuz1g5yGX0Hwffq3udQWQH2AhIyfaqH6Q90D5y5gRkKm
dDcwe1T6qAzdTXohplJUj2DgG83cdFPaL3+DFr3rhu7I5upCTvgZzBnimrh+9cf6vAS4r6Op2my5
jCj0b/bCpNqE5YrV7kk6oz4oEJn+KDQ3mzfvBJ/m5rzdt77ZbSeMC7FP1AhQphrTiYlaXQecep+C
Zhv9nFkCMwSaONKQY6Ljm97g36LDeO2Q0mOSacyYmW5cBRkgZn3mzFD7gGMiZRRvNl36tJQU0Zu7
ovEG9KORY3LgWhwmwlBlstSgxbRg2CN6jwcEV1Y9fNmzO/uDXMmNAFOi3RFkbCZfOgabP0aSoPac
MiHoNAAmNEk4cyv/+QNqSi/b4jXuIMHxz3g/zdmGi5Ox8GUH85J7KHIdYhtC6UKXuu+zlKmPTh4b
P6yEfILkI0JJ3zkUJQWReYw+oiXPp+A6OaE7GoYSlxYzMLUCJgTvhMEBor9LnnuYmUy4u9DBFE++
G9OIfDxKlU+61fIKTDeZhevDuIHdwMX3oXIZEOVHqNEBCmXZ3QPLya/AfMThWsjDBAEiMaOK2t6C
a6Jr8Y3whVeC5lIzgYJ+zHapLxR7RiflEpouF+RLeI6o4Wj35ARnyB2QKFoi9OED2u4z2EuWEhcQ
et40+hfZi67GhevQrPRGov5ypdi5uMPAgbg4RwIHu8PEOW5xniNgtq8Wm5vN7pAXkYCJsAFzJaML
KQyoyynITBgAbFinc6OIZCdRngp+fMF6mIzas9Ozg9iGJCapYAMKS0tmfdjx1AhJcUdU3OJVUZj1
mCim10USjoAZA4P6y7ej5mjyBQ/BgplqIV33LEAUQ1rhQB3pe7NOpLZC/zfUAEpo3jFqT0+ce2Kn
d3gIMdejukDm4+9cUY/xykFWH8yZ/CAo7jPI4Pru9Pz9D5Fd6h+aZsx/0Q+nakbx4peoAv5wCV4A
LshD7HgUdGuGko7os8XBE88W8GrSBXouHae42furB4zqD16cmSiqAyjRVFn2dR8P0NN91BcqwYmi
G+oSIQk34LWINV5gSBplx8nqIa3H3l9naLDcDpsrxRaI0Ec//IBEIB6YgYQfyOLineb2Pz+dFRiC
cZ0gHa2qo+vkaN3hBIN1E7KOodNRHOybvRrMb784jjzkzb11ZxMPuvRPHhRHwHRPl9zekjr+ZN9/
XhtIAndm9QGf6F3QnzG8cnLs6cm/1jcqKsAmXdpJ+v7nOdfbUnwuYzi/FElUh2lDYCk/HG6Msc9Z
RLgmDHhKLTnAwA6YtAYAIll74RhgVOgEOmnUsfKhLIDo8y1ygKUKlziq3NxQZL5nvuHCZ9L3GUyt
yewMukw0ayzWS6k3VDlD+hc9ninZySL8LKMj3d6OGbYXcgzqHiXkjaXOqDy5Y3L3t6QjADoHDqi2
TlWBNLIjdJA2KEb4Zo3x8O1cIISU2o3mEPAE+EZfdiocZtq7tP4zrNw54yigemiGzXsmtWOSlDA3
mgQFe8ol0vGOR6OAw9YsHT6qB9fhT+VAXGn64K8za60kQ6FZZVbOGlhBdqOAr4/tbqjbKWjriQld
vqOn4V8Iu5uTLkmomvGCZzPQmrOB2z54/7oUQ7Vxp6MDRnedCvq6vUIDwMIFFwIqGISENMjnjEmC
s+pIy1zcgSnlBzSDsOJRZ5WPAi+OCz0Lt0RH/ZZBLwY2LGufTFXwjNXvcyb0WTVTZjFlEjAJ7Z9y
pHtz5xcRgAL4dAFjqmVrzKhTOUy7mkXjFOk0UN02NDwhjvaCESNLvQUBRw1fE45Y1VrCH9ehLcKB
feAlKVX/EEy7ZyqGerHOiBtRUwvOpX5MgGuynxeKqjcJxTRNHKQhOax5vEl3vK4KzCBdUj3i68W2
MQ3GEczMLgxD8V27c9iNDWhGqhyhNLD2tfHZqUBEy4S2LR8kqpzUydy3+EjsYbhqy3OVfl8Tei9p
YgJObJeYYp5+I4rmpMMseaED/5FWCXYOqRelSpa4mXhdbL5ondIEXmWDlaIPIJ5KFj1bGuaoWiNj
BRsKLUZiEf360b4DnFAhQO6qNycFW9F3kHqR30T0UeNZSQzY3Q10CvjGFMo2jPCnS2/cjJFMm/6M
LOK3ZgxMpt7iairEGEAT2s/kDBJ9WwN9MDu63aFOSk9zrhTCCLuGM4jkgr4mNejAU2pADBeYp4Cw
KHzqg5mRzi470IdhVx6RupiQvyHHbgy2t4aOYtsHXeMy4iS+sF5WT2a0VcoDK0AQjx3Xa7x02TO7
rAHFqArjorAT6zAiikTnRE6Mhf+KuwQAGiZyJfSZKcRsGeHxCejwxEaCxF6Bi7t2y0BlA1LHhhwo
DLs7LC95D2DV2tHaaEagi5s88NXk7x7sHW6V8uH/FB80DlrGIc5F35++BruCXyisewsZlg4PDJru
9twnupe7RqfZHvokYEJmEextg+uACLlx/oN3v/E+YG6H8H4nlECOUO28lIZJe34EJxhgkvKUBhOS
cxZkBe5SM67cjgWj1+n1TZGI6w+c5YxchlQ7e9LDThSLRUO72AVJF6g56VtSse/8MdxqwVLagYfE
hnXQ4ULUzCDlkoUe1vR0nUQ0/wT5YznOVgEApAPUBYPgElPOeG3/RTBOW9uDWU/PxpEQAcEHQjqL
B358UBqE77TrHzoGMAl/L6y+uqenoIYOw7wWc2uaIUQJ7jMp3MfjhwlxsCm0pPfbV4H5kBFboZ2n
8xJur3eccPxXgsERCLc9JmX3GOawT34/rFkatXDef0dNejeQ8HNofyXpeUIb26D2sjm2AqiY6gjB
Plw8YuFipbQLSpewCzwEUIxKRZrzGLcgeckaP7BAjym9Dz8pYCKUrmgwsr19lNxB86ACcocwOtMd
QQv5RwgmqXYzIXqkNmEvsDoBXq1bHVYUzgVia5hRFUgYYXPTAUzY+3YEH5HMQcG6DWUVHVba3aMa
4scARs+cciWmZWDeNARJgE7mydZ5KpyyDAPN9cS285DcKLOh7wg0h/gqiyksmYSEWMR9l/OHfJUS
ZZ1lN0jM7ARaa4PN1oMXc49pRUmijJ5gGHEiSc0I2CddeE7v3AzNLpNkMwoB8hqsvY2lmcTqdCvR
mjuOuNte1eNmQduTMHV8Uk/UWX++MytOdbqyhMEs7DhkUz0rt2uA4qGZyMwoqZ0HgYuAigZwKqdm
M+YTiklS44MMFJV6UAkcznx6IgCtOzuBgo/R5oy5dg4tbpGNDA+bV8qDE7WabYvXyjZpj7f4Aykk
dElv7wg0dl04jt0KAXRgl0ARoEnEAb//lomjA7XYl9zxzRrhq3tuo/u9kOETgQEoflmeCYsUnVzc
7CSfPBvOx3nbuodHGNAfgOUiAuZJ36IuU7LCJRc4A9no9mI4NRd8jZdHTs0O6Ko6dTdGDDacrkVj
+BvE+6F/Sl1JPy8jbGf5lZ5OO6c8hPgZ4LOXDDeJp2L0RLWiw/onJ2eq4m/jkvubWKqgqctoChPn
MqlI840MS66BW5yo7Gy4xc5pFegnN9lyr/E36404Hc4jClmw5yN8RdDFGyeCYtxZ/o5q6Izb//7W
5q/iMFvDQmUmHANqSUH2Zpc7aogE9M4g2LN6fujn0ymhqDeyVrjQ0pkJdxsgCKYBlaZ4ODJvfyDV
JgZx32nJWU9J9+SdCkNRfAyv7fxL+wD5+a5dpiEFcfe7SwZUjHuPjJL2h3X5Xgwn9+0HcuN5knoI
+QDzJu0s0EJl8ttisIZZNqZP+HYfFOsW1rxwiif8SnJKnokjzWd64Sgb0x74tUYK6OUY2jTpw8OO
qwZQ9OYOFW87IAE9L5Jk/8Od3EX2HUeTl0uey4FmHZgqNW5+3QBfO7QqOH7osJE4EyeILo39Mn5r
lNEZ1zUOf3hZpS1g8Xlwn1m3MVqaMlrWWzwoFowakvEPYDAOk5BSjPMjbN987c0uaDWGSr7ls2To
nxvPvBj1xRVFyB2eevLSom9ydLPorH6+v+MwBNmapCgjdyl6XJmldb03ueqJcULv6T5zIJ23AlJP
n742zuHtCaG3IS6zNLmVF05rBLf4LmVhQMar304fBJ6sD0qHfAhqR3AIOhD1xic0BM5Ywo9umq0y
Ic/U5RORkNGgY/dvzrJyqldIZvSAzVo7h6hT8dwrzERo+/SmPP3+Bx2Us/Hg+aMO1KucJZQnJhOR
Nmis7sM/8RvS4OuIJ90CLVImDY4xQ9q1aic+KZOBceqar4+Nrldeqvr+8cNP4WFJD8n+PI1hYVx3
8yfNyP1oAOarl9TSmwL1fg7+rt2rzFxtwQNHXt2ok9vAu+P3MUwOx+jeLC7Dzef221z9fWXzKYOz
c2V0+Wb1tvmbKVPrjvFkjzKm+4r5oeMbxjKcbBQikzeI5RKDlzI8aj4Y7olRmgH6UD/DWdGy+NOn
iPnNWTOGWA4r46qwW8+kBeGt8K9Dv6Z5i/K/l10GVgfFvwt0JKTpic83s9/418NP3Zlo+j4WtyAo
2ov3BB4pu33rST8YLAyy2z3ICAEYvoQc1hEbEZMUV0jUChXAkbKEE0Gh0UkMyDmvQd83MTEtgedF
OczIObFanTfs3psnxUUIeHpBeAbgdw+9MpMo8w2LqeepxIYv3kedIPwC0qE/da2C+fIfyASUJuE0
+PfgaVL+AS7NfHT6ULgTrmYIbf+SRsMVhy/lO3lVQuPvvYlbgP3kCShryhEoBOPzwCx9uBc8Sxj4
wpHNkYKD7pSf7PcV5lzPYn28hiEy7r0XD9bRHqM34/3XenPalIWt3qUJPQS9uzB4ojkUu7yBprcf
jrLOOrfNSYkqTHbdbpFfdk5LY1ksP8bjZR7v9CCd3S9stHB4ne3rC2LdTNypCwUuJ4JT4bX7Oxwg
Wld7PP471QQhD429fVCf4/ctX6ikowrhwb7AOGPWGB8LF7LOhBI+JNwt+j8lUx3igtGBNnwHBGNi
moF11WKm5p3DN/5lVpg+9Qa2FZWkAAn5MzrZwxlg6GMGPtLR67/nmoZDhoML05ozhpiMEP9PiuCP
RZqKBajQODtMrTmtm01PnREbfDr+hF98fpMDcExBUKEBSUOEMiR/TCgH6S2DkkxziPRRgtoZKxWW
IeJWFP6ScODIJkYOwxreAzkOdREEppS8c0vYWS9JCrQzD7H9tAuJOt4hstFkNU452RlxC4+pO7Sp
4zXggfbtKKRH0sxsdOyASzXyy8/cOz0JtUOvc552oBcLsLuLqBKzvdljmJxortFjkLKEME2If5gX
JAuIo0abw4x6CSvGi30YRP27/m4syoDWNIfi98heQ8pvU5njaTUuWDN802h3wq8C7rjTMaLKP0Eu
+UDioHcYwUrPwuHqZB8zAKq2SrFHXk9Flb5++nMhl+5h5vCi6PJzZ1pTv5Pa1lf/SkLMosVRGLqH
mK/TtIgGf30g/1AsO0KYRyCk4KXVZP/D2505/t/jEGyOxsGOco+e//VK/H9MuUk71Hb0S0HCdYXs
8AGTeD4cmpE0JgGP+wxMEdfbLcrKOD+PaTsx97Z0dkvm3oNb4atV0Igysvs+miXkT5kC8ylpB0lz
ie9duIkoSTG+otG6EYvOG8wLJleERJ0qCaZlRmQjPya9HPVKctjJ6D7IaPDZ/7TsPd4zhYlI+x+Y
62LRZpIgfaG8MevNnt4xge+0M/fkjeKjBCEw6v6ccTJlaY6EYNwY7R/A67/G3yyNM8RvlNvAahhC
+YL+1JSs7XXrYlyZDXH2guO9jZDN9VAYslF1cdhYgHHREEKIBb7J4j2C0TqXFhgkFKMlqFrfVjRv
YFCzksxIbd0gVavn+Sl+ABaMnx0zWyxR3SL1kuwvLLi8UHrSML7TNoTohRKpXPwgBGG/h5M/f6O5
pIrheQVDC9VNXClWKNmA5+qb2Qymb+tGen1nMAGBoclbJgonm+/4lDT0SZho+kNpaR8oQ7OIahGF
BWxzyeMWYkwlE0j3gCkhkHEySY15G5uxZDYqL4LKmIW5Z78oRthJNG6Il6x6lhij/QJPiLM7ytqY
OBRUjBR9HoBaHl2Tvg3aUa96l/h2pD8Mj9S4vyiNaS9AhGEAAPTzKaNI+Cdi7cue421zpkwqIbxl
ufB+39M9tEX4wyn8Wy+3wwfVPi4JQMu2mHjBZjxE538nDi7lICu8sfqzwJeYY6VlkUyXuMHiY9Jn
q7fB9agTW+LdSQZ/hBXQ9dMjyiNUezkjEimzPLbmP6Z5A8FeSkVSMZDkpJvTi3s7XuUCiPyxVYBw
7GT4m6SYEgjokTiDDe9ip1jO8VUAPSLI50mlsvqh58u66LCtcp5xAlixZT1oa41NyaqXQkdgj2Xb
Pp+DEthG4LU6g59AWwpQZqvV+infAm+I8QYPosU2X3rOOragw6BkLXg1DBCrzNoQsyLKv2QYkIl1
TcYvI4EfmLda0eI54P4FDoiZ3ZcmSHdGup8sNobIJrIm3xa1IZX30uxdQCFlKEmQxbDiRLbK6/jB
5G0Z1mO6esPw43V7nCb2RXXOPYhhBJKII1awVQIloGAfBS57Z7/RMVMcEt++hbv1AZXh3+nbZoB7
eqWhcbSfW7w5UB0IHORu6tJ/b+bKtBehYHMaYpljAxwxvyiqwzwvYOWhNOVYkUYiK0SKqx13r294
HgUNEMzLDjHuK3UsSrzk5nuUUfwYMuEXF81vzO6tYKslDlyfLUAsKYxQccguMMWmRKJULxlHZakA
wHDwe5CK+D5Jaenb+yj+/+t9OeuPFT8POwmgracLXiXjEq0MgrvdOBESdJsIVtgp6i9NiEc0C3mb
7tskBweNowoKEI7Wx+AGngBxJOgkr9TlxnFB0sMYFPuV+SHPuUEnHAN5IBGaHLB+IUGxs7AfhWRm
YDAgGQCsNo9pcbUglZJk3/0EA3OHrfgQJmrW+TvQGgr9/g9JEbl9WjncPGpjIDA2LO/GNM436+Ir
U4MBZQFaqMxAfYMiM4A+7DomrEjmYc0yTvIxcWDMyjHRO+Rov1GBQfSRIwgXvfCSZty4O5PrCk62
L8baxx0KJ+C1HlyVhGPTLUbUZ1AZGXWwnzFdihG8sCl1c8Nu+ozjgDoc1lmHpukeNgNNnMHVpZ7b
6+sdmsLMYvOIzpNvpqa6HibAnP/sGGp9ZsYY39a/zaXe3DU3GEWEwz+6FVyclGgc6J5XZxGQqQOt
a6iLA4TlzEF4WF/R42V03ZyBNHrKIyZ9BiH8c1pzhEfie0ePpBOGETBlGrQbywnKGCC4FzlxD7C1
2DLfMzwDBeDh2YXaRA2Wss++7YK+jv8Uwb3m2MPcfI+iRPrEMHzbRjpHZ5RdYzd+BzphMKA6w8m0
35Ar0mZc0JIfOiEblOrrk6B0AsTkRbcNV/MOKcuuRn5NcslWuzmbUNEd50OxGBEBhGCblgM6ZSda
CcAksLPMZPuaAPBgvZ5HoM/6tg+MyrOB4E+Y2aaSaMniBlmNbOlTS5KRJonGXtzNl+7JVQinAq3Q
1biZTOiZ1xCxQ7O2ayIkcxwPevYcrZZKxH2JnRYhSTWq0d2DQUTzseMgT+yic8bUIKmQ3XPEvxoQ
ffxy7y7ytqPGgWHqDkfXVZG8/7RoMLG1g3Ee4J96iJd/VVKNP4t9gFB1qgRKcMzPIjTAhnAO4dXd
BZ/f3uRm4k3r9EaFq0UtDPKOHlpybp8ZTUaeNICRjuStGSY2zsHm5B6jMGtcAqpQLHFPFEcq9pED
5wF55GAOUHlm9NrYicc4+pQ/Xe477RIm3zr8H4FJK6SrYKvOk1d/fBWPW5l/gjWAaIcJaQsCV4Hp
yMfiaRQcTXvzBjJKsWe+8N1E6vjvwVBykbTNhsmOUtS+UFcGtrX+pjcuv2Ph+qvH4pA1f3grDVOo
wjqJ7mDQmz7CI0d4l/OxTVNub7d91S8mmnE3Ov7v0OyScb7cl8uBCLDbhSXMUU+nDCL1TI1ab/Lr
O6NHlmq6L6oZ1Fvi8q/rdRyFvtUY1077AJp4M9teOWsxaXuQAnHvaoDNF2fgdKxyoliUyfi2D0cX
TsfDz8s/O2/rZaNBSZdcygzUV/1j9vq582VDGBh0bBkapejsUip4zFyTdBfeVvAfVFpQvmBolv0l
JJk24C2jLny5e3BnMTFExI4F7irJx5pRNVtyDWDuNNBd5nlg68dP9+a3+f7iEv1xEAQzixHr1leA
kQEFWHnlBGCPH9ch+uECC18AYiQSERzzbUoLCU3wlWlbcMKiv1LhaAUj32GTm3dOzxYA+frF6a4R
XegDYdVkSEsJSpkJJ9XtQ6GU0woYm79HI0+6n45ztzhnOqwMhcNtyKsK3rmN5vKZd375BEOncH4H
JoJGXk2NUY1qmHUnwHiuZeh8zKffBhY6O9CFfejXowak8mExGsf7tAxJ8MjoucKjVbm9SQeC1tFZ
y0ppuwcbxwFDY3+CO4r5rQGwiqetqfIzXfsm02fn8T24jod/mlEFuGR6D7uEK1lTabR9zVCnu/HZ
uwZvpJq4wujsPfj9/DLTqxgdHrvLACk/Dwl6fGL1Fsgsk6UamnPGDYk7ZF2cvYMygF458Fbf5n16
g4jcDz8jUVpDDczoE5mJNOMfmA6GGj3tWR/17dPo4qjeEdYBvlxoLVzNgWl1GawDVLMQ+/b5LBPt
JlMUGGiOGy37be7QNNCcowfH2FInn5EW9qLSe+FuIvOUBb/azh2McfSwRf56nea0KEx5vmBiuCqw
9uhRPcwVzpX2LzeEXyM0W6a/cH351fCca7vw0F/gFj34bHJWUzP20Y54wsMjNZCx8j1PQ3C2vbnu
ulhzsrgKcQaaU8nSY2bbUOMjG9aCX03rkIYLWBCy3SyJgkNUXkqtCYpam9P1qgcknpwNmm50ba5w
yIBaSLDMJZ/CfTViRU/vHMAGegMWP8zt/xhbRmIBXpAWJyDPV6O3/bbpberzq1Nj3jzrE88PvOHT
2IKAUzgT3WsKeNpRbAyFJX235jXfCXFrqkxu0BWIgHTMiAmBPLCblVwpjaGIH7/3KYargYQNORzU
1Ss6SRrfmQ9zGBnjlsjgT20N+Ka0EZkQ6+qzl81IopH2o4MnHo8Qo83FAwJODfOixyfIxgV05oVS
1UKC4m0Ag02p0Br+duF37B+KNVJLeu6A6/zr1TmZSGjay7hyBmz5DlPhF2v4g6EE3EaZ/qg58ypu
VUMg2fMcBQxelyFNprg2D7P9rEHekhoCIeGPXVg04AHozDQirtOQ9xwov2aeDmF700q4WSueSIsw
wUQp9JCK9YxLbIPm1HeJiEzStMVaUHjLpbmGDqPHPANjO2TJkvBwwAQrjPS2d31dkQPCWSQ0f3+W
7hz7al6RnvHJYpFc/vuuHzOXwwRNPB2+9O+PjITJ2sWaZb0lTJH9SMXxEsYj/Bh+Q/UGJCzbtM2k
gLyZwipvWL9HMwb9QNAKZr2+goXPb1/cHcHLeBkudNSQTI/x6UuiO0abYEpYDLK0pOhklPQDpsFb
9niRSGQOwIWpkAHpeB58kkOlV1pPV6RcyQzARnpsADm7pITDIJGHwEaBq0Qz0RKvWORsiT2sw9Ex
bBNIZcD3Sg8FVgpcEGqvnQ0QojdOMVp6dxabRpzhZOECLghZA34ba+EZ3VBIpg/HEpMbtEa0dfWH
kcv3ix/thu3XNs7e3XqN7qMi6HjDtD/uJr0uJdgyvfnLTUthUkYbU0Hu2QZuFR7Dj9/29WPWdik7
JleHhzC6gNLU0y6m6aN62jTWY3qB8HCL3uF59A4vsO6ICQT1k933awfFBr/wEaNOKvfp3dJjUriX
lExk3IdI9AyeXtuVfugyvs8H1KC/VaiOi2kf+vhpvgxufivuxQrJRGckkkSUMEaMip0+rRyOEY6v
h3OltSaPEecAXxuLTczB5JihVa7nX54Th92RQKWx2DjOBEYYsiKOpMIyc8hOgQrxNjasTVZvaUhi
QxuMri3md5BFKofiEzYoh7bZNfPSWv/KcDA0XyL/j8IO71gyr/W2ZnBbeGw1d0CAgBvQDzA5nyBv
zLiBgAK4X+RXhzOVCxgYW6aF1yvEd7j+1Q1DOC4NQJNQy2SZWbqMu3GuQTDh+klY3yGEO46fhgcN
MYqX7cnbKNVaZiBLNt1KkSNaOBzzAm1UwlVxftfkAxSWQJ4zxDcQLpGNB8aIRhcra8pK5EWYHHCp
Qc2Jo/IDYEv8Yu5pkq2fei4LnMqREEUhzLV3WGOk1MxnSgQW0IEtvd2mglE+WWmjnR7w3GxZDj20
VUSSRUIadYxI0q4xR/oyTf5j6cyWVNWyNfxERAjS3tJ39m16Q6SmS1BUQBDx6c83d52oiF1Va+dK
FWczxt8Nukc1ZjNFlNM8aLoUCKb/jgRhoeNh9+xYqiCI8PBDbqK4RTvKJqh1GFGxk2pKg/yP18H9
bvATX092mDM3uDfy0sRBjn6Ki4XWhxZ5NGOe1Z1acpgpq3zXJgXFiM5JhmFs0QXUlSGyl0BjXYn1
9PCNnY5tjXx28uaZxE5OKwUdO83kGxFljlAvzHAy07HK7p8U3Xh/BYMbLmKSA58b96xbo2jgFIj/
84rFJcI/cVplcTExPKI27V+CFPe4JCngfBJ6fOp6njacocf648vOPaBbBIKJuArV4ApgIk7yH0pG
LK9sDro9Dng/Z0XVE5XV0/Ad1fwWVAy++ZPxBXPpvn3TYUqv3fjqlAbFg8fjDCGa2b0xk4b+nCX/
cUzfmJpRFZYUQ6fjyxuDvktoKWsOM52BspgouOg44Fh572T00+7ymzPGOs/5nMfWS0hiBm752fj4
2hhUhjP+AefVcYKyHJ2SOev2wBGs2gr9mACyIRXp7dgsI7ffCB3Ih9lj3uvj3OC+1D7UdiNWOVo6
fQoBXXuAEoU3aNysReVIXG4S/1MhFg6c4T3VNXewZMLYf8rHYnzDJpJhhBCmWuuSDt9A727+N7rf
kwvCf6ufjrtVwWIp9m+AYyODTvOfZSRlFL38YrU4P6oou7lVP+3r5dWCz+pWwwQ07RtgNDAvkXRs
Ru7lu1DfM98wJtk37rP0TitWJg/iFD6h+V33066iIGB2BpNZnYb+kRotX48zf/SCzusFk2Uh5L+s
S32rkwja/GVl2GTR9R13un9/p9fC7e+xLkdS/VP+yYptMZSjntbSVM49rQv6h3cJS9DqIVF1v6WM
UJjonoBZy+IuHQ6vw3eNtapUHfnCdQTllCBQGya0HWNITffLxtW4+wzN68y9SXslz77uqwxvS36b
398ifRQ9K4a8TRt41e7hPWWgIGkGmYOZi/4KvqSKGvUCXxllmNS/K82/jpgzQyvBs82rWe/dzf3V
WMpDYnRxhaRfmqHwKanBrKBsQ5P0Mbu9sUPyhy+/AjjKgcjUnoOq3LzG8ddtXutDZjpKTdKxsW/l
+Vg7yxgeatD6Eu//7cNJ1yxuGv3KY+T1SmzVC/05HcnBS1mPm+irgFCUWSxLfmnNWslvL17Xour9
7Ecokt5RxfxaLM//voijWLi2grQ4J9uZ4DOO1WcgkmvJi0eLFGyQYbljcv2IuxB44z6pXDfkmCHe
mGGrcLXOixRFJ16t/qT1X+1tcd6HNHGzZq1RvNk+bCjSFmovAqT8BZLhzSoE/MaAS4mBnzpB3trs
JT0UkyREVfmC+kKrOtszOwI5FkjWhCiYZGwnIo+ZF0WDvQSEDsGGEk56AdMCGcuzPZAxF8S8hBMF
DWHmyCa6BRFWsGQm8pAwiItsoMnMF5D09cRZHBYMbrFvMSkgGHEmTH2ygNoa98+lNSDf4Ont3U/u
IqLIyQxzFuSgwU66fuXzLeIgA2SFB+h4NOg1oSt6KmERqEPtvX/g9Gj8xXjMn23NTTIhaimyszAQ
lT94I57YPlDOw0GoRpaBagcEYntUjShh1sDjBCDNARMnJBGRfiFojsdaJCUBavKT/o7LaIkuyj0q
TiWSU27oznfPDxU82DPhQfxLUEK8YZKzJJLg2zgnoDfQohqhJ0eQoEup2X4P/ZSy8j7d8s2S2b9a
jA70EsjnIYHrWIBMPHyacBjaQ/NT/oDwiwf+H4uD6sRD3fdYC4Ma+JJKGBXyIHQkAFdsxrEP1C+q
fXUBELqaIKPdC4U1cu0Zbn1R5Q+LLSZisE9PWC5OqCYo9GEBMxd/mjXyzgBeF1Q+yBVn0IAHzDTJ
gbvIjxSVG/8LPcyD4mq+73lxyD4AVlrg2tlDOGLHs3j1x5xkritiqQR+Btwj2aPxE2IonA0T1wd7
99HnCRztEjz3Yqz1cq6hQZMWO92WNrvSFmMOQW6krbo+Beos/VGIwc/C6m5jTUu1KUMnMc1S28oL
El2JCqcKEzI2c4U4bo5IMVCOpELbZAZ73OL4Uykg+pUzvT68bBXshvkcZYeqYS9A3M5k7ccdGa7M
oBCnfoIaAHsCQ7z9RogLo5tYtdQZoyvGYdLzwVZpDKEe1/yh2jvvDkQ1+2ENiMsb+TOhp73dHjlE
mDgCA/j+uuTpAGsbNKZCPlMsUHhy6+JibmUHARgP3RY61EamDAIZ9SR+VJSgOH28poG44RbsNk+N
GUIBoHPp//+VZqPmh0sdhpGDFgIdHTd9j2LBqe9Qgp/JfSG1yWNVXn3pm1YzEKS1ITmN5FIFInj2
SLahb2y8ZuCUrX1oe/4Y75EKrlB7H/TzgKaoJXCyFceRHGlWBGGnOo8aQfM9zrAN2+O3c7iWaWEm
5Y/++268bnn9eRWTQ4eHFKPNI6eHMd5OXYQSLfSvRnjwkd9RZYF6WSjSSmbgpjtGKGBFr4uvVFT4
D3k6glu0jdx76H9St0cR0NMv22MjpF38Z5FHVYkms0BvbYzpsg2sGGLI2zNHiYpno/P/rpMehbSN
EPfiJ3/k6chjRxVBStjEJl8ECEXy5OxkwA974gv7M0YyimADmDU6ogOF3OZLetli7Ic0gBrVgjWa
4KtDC+30YlhKlU6gMI7Iy4H8/1sQB3NAOYb81QeKft3x3hxp4w4+tiMqbnP++rDfbgpdWDQvKIC9
tFPsXf5vfhYD4b8ZeBvLDqgRQT27VBb1D6JOcc6s1wyO7wBeL9Etvs6Uz9rsUWB15fxe+xQnyjdG
1nObFYQD179dgGFAtiv8hiX2thGB/1Z4x+tHRli+ljMMsKhmT0h2FE8jXPNmJc92e+2iXN9azU9l
0ud3p+HjSgWYjDyz6hmFhMWqJZn3vWy/q+rl6lXCXf0lvd5TSCA3uITw4StbU11fKG/r2Tsd++9x
5cld/OD/sdvq6Wu8aGmXzPBSJeU7yLh6nVwji1Zmuky7L2oaYv9dLCGpouua07FYaveXo9ZbFXHH
XlplkyucyOp9em6FgxGPAX0PXhEyoSYVR3A20cjlKkOJUV6D/druTXL3XJX+W3AKsKtXgYroiy7D
3Td5bZEdbxFOoOdZQ7O8T62btD+jafujTtpqUlmTl5YwagYHClRE9w9fM4NQZBex4LsLdEz7ADAG
KkH5CKQ6dgeqau/zp6Uf/ryNKC/qbikMMiIAy6CF1zlGkHYtxOLqp8cbch+RBfTfGMQnnssWqRAC
Q8Z8CaMTtBG3IuzjdTfEe0tYcA60Sxk1lIeKRKhQ4DpoGmBlhaaISxWTx2K8QoPouF+ftQlvLKDa
EM0n3uIjZdsVmssS0APcrTblhoaJZasjciZEgMZit1yL7glXtJSsRYHM0vcFBy0EsML1+d5xMKzG
JuI2vgAOfjPYdxAPb/e6btMKIHCv0UFwnDDCGGsQyFHNT72ms3vlHOFZl4IwFU6LcahxGkLOjWA+
BYsCOwDb0TCZ5TxMYWZVdgJlA83eghuYb4G6AvAr3hqKQx7TbQrn08cTyOz9JNtsR/H/oABFBEp1
HrUCyt4+Bb/HvVYSXaJhf10gRWDpQJgIFapwqhghEtyvazE81jsS2jibZIvBYT4CqhzW4+E4o6kA
iwjFZ9FOBudILwMWPzVwuPGMkmVLYSTUJLMRkTA/NT/K3dgq3PYouH6Owpcl4grGGRhktKZLYfyC
uFgYrsUiEiEu/3vkH+QxbHfgEmy6tA1AIaAAtHzDtkEvhdtNvEaJNgz4nkYdPdRVdXJhM5LIEThS
dQhD0dFKZsd2jbJ3Nt5xVxGe6NzOQDC2cRRBbAqg1mx2Y2WC4gq1A4UFSBdOogN3Fbozqp3D6xcW
Px6BtU5grezhl43cfZnfydlL9o9uTy6/2312JuCD09kQTkuk81M+LPTlJ6kZQQHr6Z6QXa5OJjNd
xdUqao+CtUZDyYVAXyuCRFTG5KFSI9eMQFAC4eH6W5uR0Rc6Ou4/itdui9rOp9DiCs3m/0l0eGPK
WRU6VvBjkZ02wx6ATLKlB7CFUkMY+4pwmI5ffJyywNSqf/F9kpd75WFXgJ24Qqhk8fdTOoklecQr
wb4gid3hOFMcv0cITCAVkXmkkRFIkM8sxAYZOyaX+Xsw4RxrRx4WZzqxybvzeoT0GCcqxfSsbsBT
ivBOh07IzbTqCewaOTy6Aw4sjotyVXi0faTNCGobvkmme/N04W6wKEMLGM0jGTKDd6EIy4Vb7EKO
Jvpqrj/4LJERgSXhv+tBTnzWMKSmj75GaC/wyMBPKDEKkpfYa2j0MMuxzlgYguTktJBYcugTbzUr
5r54IRd1S4QZtzNfFews4UEseo7j9UiHhDZ/j+rX4f2MXaqDh8/GBEXzWXRlSFFLm0nd/Im4UsR+
BSqIFI21LlEoXlcgCVxdHntdYPN8Ad9CGDlkMNb1+0jRTKib+L8qu8x5/wmHE79NJH6I30pKNhnv
jvnL2m/e7DO/X/I/uTu6reZr+DR+6ekRS2E1FQuIxy8eFeUHSguRmBudRv8lePD4jlSxAs8q0I9l
BgejKL/qIEKRBra/xFXBNsAHNkFBk7Cv2f/IaKS9/ggOmn8sPz5adfwUbl+la/OnA8acwOYtcz8D
Q4E7Zz29VypIlfgWRODAi6Nhrx8Alxq/dz40WmIC2kGU8XjlRGXNCXQ8NhFsPDorhVvKACCe8GnW
QsuJNvJg+YBJvPNjtMahQbX5IQ7m8hYTWplDIqiW8Z3wjHKyRNnN8GoUYtSjyIn7c7uCBOWOdQ4G
SnoNqzCSsYSihRcQHjQAZpEcqKDEj3j6Ou/6HioONxVIEwmue34OPJCPRpUoUm1fF6JxEKuXLQWZ
D7oJOGjgh9O8JXBrYDt6wlwfWBZldirQbQhtKnr2XXrDDA6ZJUvpJSVJJ5DUCWW1IrGWq/f2LsZ9
hsYHcY/eMwmHT4tc8UNdayL5t9XvHp8MPiAaESrpIQ8/MJBGHFUjV+H4ynzaFt7cTSxaiECPWGTD
lzMR1uAafq/7KII1yZ3hqCRFQKauQrt98SxzwfDZ4oBSouymEmTu163UcAwGdgvqTTn8cWwnL7bZ
uT0uRz9n65cEPghmuGunO3UCPn978oion+8/THTM0piURmVboIXoTC88IMt57DAAwq+G0vQd4n8I
tN3RPFsCtb3rlOOy5FRU3Eh27PKou0/Sba/uMJvvrEma/16hJzrncve71LhG3ncxP98oJx/cw9zF
JNvMh9np/sJkUDinnCEb2EgBw3DAOup5+/Kywfme9g38UPXx7wyc/rsfdTEfEWkwS+KAXonQtTso
HDUl7wE27cuY1uBieiRP/idG371FzslVctAVPVkgdDSxvLug/jTQtKFBHfQ56Xniy2HTEW0FGMrH
uU37POxMtrnzwOJ+1SLlErUVssfCefij8zVP5cwvoKU0If6peJSMvQAMzLbVn7hqR/RM7EDucmn1
8T/75wuxIaXNv/9lFcKl4auL1fhaeIi1rxgUg2/KsdafaaKQERyHibYDWRQfi12LnpWzONJCXunC
bvU+a4SQlLD8sYHs9jW5vufGVH674+l1dhM3HV++5RkcJxv6ZE4UouYAnXPqBoS8fvn3jj4Rg3Mh
S443Zpn4n51gji81v234LUIuaGSCxw4Nx5tbhUIZYLqfrHlSr4N+Hqfi4ZO3RK3u38L7xedSfJu2
Ng7BPb/axkT+uuKu3lWMlQyyeaVGZDLU8fXlvueXPDLL+WiicsQ+F5K0bvspZzNHsElAwgtpFUBf
u/7Ic0OagfJpp+dgf1fWyH965mYUXLYyoSTOOwVSSx+r2/nRJBzaCowqyO9QR9bHJuOaJpqQFXb7
sY7Vj2tuW3QDb7dbcOXKuY3NSaDi7x0lHng6NgN8C/lqnIBBe23CgZTNi4moQLkSDXZvFs7PFa1v
sblAiAhdrWMlhDxSLtO/cdDA5/5cfWuq//AlfaCNbp7lV3wXa8QFHNMoKCzWBVmDvzI8PMepv7Xc
F/ZhwbYh7KU649rgP5S+QpP5gJG7C44LEJxKaCItdVQP4o1lrg4lpLEt77xFTgIiqaff8Ibh4bXg
E6bfdEQOtkgsgtOkrEArLA53bH8cOnz4g7wDjebMAVZGJqLhY8tP/PIYxdB/CvnDVnjLHhHNECZD
ViVZzjSFTiBgkAuqHR0r6HnX+ZAEBQQNGVAfbgiRRSU5a5K3wdnpPnljFqgDCIGjc/4eseynWzIH
ehhnjspQKEPpHP4HidFj0zTwkQWbOeahizO2FZOx4rNAGNiQdvlnQRrX6ERyR6Qii0loPW20kUIr
Qae5j3W5/kINrAFmXb4+wRZBUlRowl8B+t5AEe00BaSzFASluLBFmA5FEVfiTAQbULk5Zzj/YIx/
NYsAgnhDBPACaXBSc2kBrgl+keqgddC4S2e14G1LTwQr5Jj4OIuWeKHigljnR/IIL5wEjmU45IPg
Vu59HUJVdkezcTDss9V12qem/14qbo4Ldd1F3WyMkDUdAdugLY3GQEb/zJnGrRbVe2lzT784/jt7
2BcRHpdA2vbukMLCB/Xu5iuwHrjnsEiitEB28kEUsUNx83aWQu73ph+CVuCpidEC3Kb0p84adYIT
VL+td9LxYvOdbQs0UW+0S2Of1pCfhyxzspXMEEWmPbnfoKE749VrUKbOa923f01nH5IhTBgWoUYl
xgapuZ+ncD+n+t/9tyPLsmOcH8gn31Mx/YyZZlKxt/fa/jl98+UANAgahuVSIxJjeCBDiNzLBlyL
O67ejBO8FsdXYAkaBk3PIp/hNWKTPc8Q7fzlyAQfXrDyqEYh4IRY/inoML4UM/0GT94uIV/vWEhq
TDaW+Np78kS2WBSPZOrh6jzzNU30Exd+TnoYk3TqjLlk6iz/rbYj/xVhDQgUX0hYIAk1T45viDAg
4il7jqSs4p4wgMKfDFBawoqll7D/N8QKbRtADcF3/jsabS2f1kfdflP9434i4WXakWdwVlFkBdcZ
gc+URT2Tdm9/1e/XM8NrrCQkUkGRNYQiiMRGAcuCNUOLUUHGGbnwAAYq61EMSHsz7ssZkOWVkY7a
B5rVELvMx5kVPpLCaZMqeSefK7uRU6QXrmP0yMAuL5DfwqNm4ZbY0673wflLPZeMoiws12pj74lf
YsQFJi2EfJeHS6GCvitD/fP0rD1RRX0wZGn5wIs7fKLR5mI4lhlfSu/JO5sJv7WxvhTJd3AHXlH2
AVjAHeszPNi3JZE2MjABhj2uBF67ROlST3Jf0INidBJZF5HQL/3XVQcmyOdtAtF9hlQryFEGGeQy
v/rarpw1qwJFJDaUz+7BGYGTw5W49uagPh4GYLharmshbQ+0yWiG9CH+Lt4sN2jcNpanbahHTSio
9bP4uRknvZ0i6tGCE29iJmRAp5b0RcQBAcGKSIGgDFGbOV90IAOaCqaooYr4IFh6okV8MDz3VyiR
qLiMxTuGO046jj6qZH4BWZAiQsBCEiEJeheVyj2oJywvjjvKQZFmLujJ05yaC8Z3Xokcvs5nJian
wSWaoz5y33iFG+cHZ9mc65OnQCUP7W66jEBl7F1CdICQ1lwRrQrO9TypXNK8ovuWuxA0EIos1UVa
FyPemEWCkYLSZVmuhTBRg7ygbLK3Mg2TxPkLqsBJKWpqppLYqFvvoK0OxwbQKl/K/MU9Bf67EA2U
GCIWHHnQrB/kgyiQ7tAgHLAn+lzcSoshpitJH2kZVWgRh4ASacrBjvzFRMIjC5HZ6OdtICPjrEXN
l6/oZ8kPQsHCqCJnSMzpu7dHy9bXZpd/mmutQVimxeGTqF6x7EnMlV2l8Ynyak6mA7wdLD6+GADD
pcv1I6QsTNZl+2L/CkYIPUgQSSgO/aPQe59FQ8UmFvQFsyDQ0zFIiStQ5qrE1Y94FEIZwlvoe8bA
2+49RpT1ZS2iv+Oiyp32aHgwBSTBGqyvKqxkhBLiVKJ8CoyE6CF0evRVtfd2cbiEj3mbjk/FFB0r
xQQjMP+VKfzs6GB62dJ07rtqIr4ghC42Jknn7zPpGW5mh9cEHNWt4d2vKGCEdPMawymhoyPXl0Cm
x4YxbPGi4RHohLINjHm8yYw2fCWSq0yt1CLnWp0a64F7PkImExJ5NmkCKV5hVuNBQ1o8Jk+f+RB+
Htxd5rPBXVS8wNXWfaG7uzDVgirdyRIT2m8jMdDtnm5M2IxfxR0zVoJeBzFC6ZnsDXmSh42zGdxr
eHcHN5Y3I/eDiE/3UU2RZJ0q/iutEelc1vlyzInLGcyrMdsIqdHIBXIPXv4JsSFz2DbP6B0U/g2w
HCqT6RXio5eTilwzp4oe0Sh+nz6A5LCvztZEj0Ij8a8ltejlVXs5yiftFZrwiZBnJrna/Mrg1uxu
F6vR8RoP4W3GUO2EoTI8yXySB1YkksrzRTMpz8254oU/58IvvbF3ZT62hM0OHSpvoGXQY+bxbEP8
nuzADdNpFmPwyBN/kxiIKyPPB3x0UMJj2H70ASfK4GN3UDft/JJooZwO0yx+zN+ROBCfUz02Y2Nv
7AnCB6hke/tGCocDljp41Z/6C0L+jYqQTG7MJEgPc4d7Ra8J7S0SdVue2hVn8hQsF0y9mQuFLXWQ
o/x2nAfrEeTpNSJzLzL2o23HoDIvj6+xGiL7dfK4cb6Tdlr7aD6luImNs5oTmjKsH4sqVtJ7hc2B
2XG3/WfaxO2yDCGIu1WWaIxjsK+h6l/m360UW/+ufLe5/Z5evV/dZiX40MrvoJnELBF9dao5cDuU
kLT2C07veBx+Fo9EVEuZXf4S4/JMW86GqZJCnBBjVUfypFk8Fu9De9DD6ukoXKy3HxmJL+fhY29C
QNGxMOw5bBY5JDF3JqvwaFyikk4aAzAjjs5MEGeklE4oDZjecVO4L/oj5pEyRcZtJtUlUo7t5rH4
EvrIHOHBlf7R8M/Hnnl8XBydzhh7I9qBxXP2mGTjsAeheWIqduV5BzSxHC3r8Bq8IMp5N3sLzlwK
Ksf0nqFFTP5lyagZWMmj5Ndedii2WJcFgqYl4E0IRmhbX7Wo1/sN7aVyJktSPjZzawczhkv6eZAy
tyOdBzgRITODTAmvOdxB0j6RpW6+7e45/JiYF/NUueKVZrwkgukc6H0DHTjalCzT/fXUo52w830d
EzylnwcwhhTbNBfyTAVoYT9zw0Ft2RdomnW3WJs3924wodDRLw7gu/nL8mVUAms6swfUpAwOp3Kq
bAn11ginUx/w5tVzfspP/NbuoNMKMG7tRtvIX+fHCcnXQcVtFqP5mxE3OqWXVBC782wvjGNxR5O3
HnW1D6B8S0Yvm8KJ/96woOmjKdXQPnP3i2G8LqyPgtJ0n23HKb+6/fusaZV7wqbeK/7mMLV4WZzK
v+bWIBjHAuUcpxCCjz+sc20e0Hy+I/Xr8Zv59y8Ec6IQuoWvAPSATApOnhxEyzBtIZ9ZfBLdLamQ
GLA+NTbSgHQIVEm7oy9MQZuOEXogMKEE771oCC2vSozNLbJPiAsRYE1uE+otKjCoURs9CuUj1UmD
8+K2QS8ZYoJAf3lc0/uoNtR/Md8RUZJSoAlBJ1wj9MIyC7ku7d8HMi8hZBYiJ1DeN5QclbPaE094
OVNwUaVsSOBD5pi5NGr+3LRPJIpSD2Cy9ZqwmCik8hqetqQGD+aiutRopmmAgMJMF5EAAkx3PooU
rvnMRwBlOCUnGLO6PIm8cSGYnc/B5SmzyUJAViea5HMTjh7c5ippCKgIKUYoyKfsa8/yqHV0XlJC
rHgjP9eizhtz12+45/1bIKKEkidJIs2O8N6QO5SURdFzUfSSi7QTsMWbaQFCsnUjWozmWPQAom/Q
fwCsUGeZUbNrjh+KX1pm8guSs+5mPsMK3N3HUU6dm0PdxTUcfrPNlyMmJK7H8X09UJxsm1+aANqv
3v1R7Lh3u0jcRIQkeEBdXhs0QUMaMrIWjSspI7T3+vtMpQl5USpyZmY3hIzIfPMXrC81RhsA+SYX
tLfIZbVEBs3wnu7dZ6QrmYZ+PvlX8HW5JS5u57NpJxwnh5bWNXjEZDLYQ2QR27XOQwCXZIiIswie
jJB6MjiT1xgioA9XQ3GjYExhGhYqIvvHZIQzpeJGYZrv3b/RO20H6hiXz2TO9NmFIQO8J1edyUzL
oAyT0u9S78L+ajMoHRej6YI83SbqmMRgENNiI42jEdNG2ilBHveANuIogftu/kPOrMIfJyjXGhP6
laGvIq7ngjRux2apAxPSm+8GiSszsWc30dEB5GPM7i5hox1AgK06gGBS8bCo0UWsVTQtxER9eBrY
c8PPTlAMj1dwbTn6gWwozHt/dPsrkehVLnEDEzmV9tZ1U6316p9Fedo4L3odoEfTlb4+NP+9niIU
6JRDaYWm7ivSVFPmzZjhKnYpSIJbolYJONYdBUyX8k8rgWAYSRH5H2lnibUw8qfVVJZWJBb3qUUp
OoaOpEiNBpnJ1W/VB3a6EtZxdc9EC/VSeKPMxmikJJk2L5vgW/j5nbZVkUIea4YxBLHuQSV7hSka
mJBTmrwDZZfs9wxp0RnK/gzJmDWnF+5NLGdVzORMJtLnCMjrP+ABLZYeCetWoYQnlWfsZIwZoV6a
Zegzt6/Grf5pFX367tbbOerm8OWy3iG40idw1P67uHcL61eDh2eS6cGavBFeBw9AggvwbsQkaNSv
QCab18O+Jpe/8uMSjjJ0DsBohzTEDB5S3G3NfzxCVMJXA6yF5yas3R2TvrDONFAmLgFiGTIjOSRp
CygzvIUyh+pvXdMQDA1mcbvjHFlcOrRotlL75kFlxCMOeFSaRCR92eQf1JLjuTztr97Houyme7Km
H9m7aoE6fzPz1fC+I6f76Qjg/cwecnw1Hd2IzIv7RvCOdN2Iss4Gfhn+XpqjDa7B7DGKviEeKX43
QYCGZUk4qmbjBC1lteomXJFPSFT4rXg0+Nn+xnSD7Yvqdfv1FI6KaqbpSbE2OOsHm3zo6EV+/9cj
kjK94bLIvHJwiJLrzfMItWg+k6aZWyFslgmfIfFgEDnO3SPo5KA2nesrZIRRU68tzDuARa+wfgTl
uqhR9nkGUgLQsFckMdP9V065rhWhRYMUeC1u8XvXhP2PXrjlzrhH5e6GtuERI2gYrTI9ehoRUA17
vG7c3c998J/cI7z/OvXaywTbyVIIim9ri5GYYNOFSE61GINLk39fToplk6oL5iiiQCmwvYFzYHSU
95YZXKawzHxxeSTPlOuqKCLSizkqeqaahCUpNGP3/XOhJs+Wj/MVOax9n71mzEVn8//cyRS4x1/4
AcUVU+57920kr1v6fiZXKsgtYooc80l6ab1HNlUakjFWPNzPVB9xtLiM+LXWVzGECf+3PdwT7TNF
xMia+fp565FaUZfxiyndkcaQwhfO65wUJgNNP/paxWnnMJsKdCO5mz0Y/jRX3ezh3qn0R6B7kjuE
7VkJ69mXJs4LzUfEiNZQo33N7UyPy+BztUG3lMPWMmeP9LO/KbEyOLdHoMmujqmrWd5pHrT4we1L
MI1Kh2AEPZ6YYy071bkwSVNFlwXZAW3D9Zlzujg89c/+zvB1QnMNhiQzckrkOhVITKeoYj9w/a9J
sUATERp3fKjNe8u1Psr/nhvuy/COvxBfhbEkRAzBRwHVhA4fGUN8e03lCLXz3SYSgVnrz8InR6AE
xm2CPnkdc8amvf2K5B3J1n5KUjGquAvv4C9hD3U1zxpHc/vFtv6ngBIBY8kua/QKGQtazLdMWVO7
MrcUb610TVTnc2FBUHrqQhF5J49S64gNTfGLgblQc2paWC8fgIKBFWcyzhF7EGvKKL6LzzDMi8vN
R9awFl1vHoRUPnkmo0Wzz6MvqVr0PmOsmzCxurTtirhhcgvBPzAjAPdjLvts/pxggFEjOA+eluZC
UEFlEKrlaTsBdNeBoviBX5w53i9x7r7OcniPLfRb0MTdNluU0W3ba4l6+GIzCQ3ZbgB/zahl4BDC
LrqncuTWQXscL5c1E53330BZqavn2NFX+T/5IC/z1lahIqgxAHCgJJW4xV3x8L4bdccM4M81+D6c
9qflOmYqIEKiRR+/wRBmFbZ2IL2APPrevmtRG/zGDPKmSv1p4amhKH710xir2X+eNFfhGD59HP0k
GeJah9Ej3lJJhmPPdJ2ellzdjQljOVwUz+jxp4cXIkto2gDUATER89Iy1PTOYmLwd8LmCusVG+wB
hHRgw6zJUDqqqRryBxmtc4UpjN0W4PZ08HquJeyrrprwEjr1DtX0qoUfl/fDCLG+Of1TJnlkzG66
/ZS8NoX0ZtWwRQ05Rc9rpCrF9ZoFSQMuOePK/x6GNixRfDBd5sXsaX8AobQVd9pqi6Y/9n+fPJKa
eZ58dL+aDtRF03sH8jX+vWDQgGgbx63u11nQt45MF5He/u7voFfTjqitKukuyTODALS50R5FfDMm
xTvnVFJGtoSiUZta7exNIKAWtOzHj5EiliO/3tVal36OtlB74nL9qlONE/DRR5nXZQ5/XFbpWGOf
k4M1MfXFGLF+hjr+DcfsKdC/y89cLRbdf/KrKv0+f4j0rqQJ6UEjQvwdWOCrMRNx3tJ/PoSPZ8V3
6AozvM1fgD9JQb5G53wZ2TdmXgvejlGiLcdXdGeeiWQ9Qe3dHIpJ2c1fUMt4p6juI86jp1fnHNiy
0Ga473LSkUftttTLPYI8+3VGRIndf/QOpZGT/X3VICe+GiRn0RLisaoZ1XkwOUNuIYtSXWhFKhYn
X3xz/MLDImErlm3UYmE2sIVU9OeWyxRVy7XGdv9dPoy0S17Nx144T78Ft+l8FR9mTWQqC9VynliF
5x9kVxSffPDKv5u2mbkjZI/cnJjhS9gxNGXpRbdldBlMkwJqHmItvaHCWT4iuYlQ7hJ8u+a0v3xR
enoYrfFnmA7z2Nu0WTc/CoHXbjMv4NHIBMlstWGwOyyEhyQJLQvVm3TK/2T/9dt7xgzUnlJEjZVY
XHEndSKWAYQjIuQrJsYJSggylwmE0dZMfL3vxnMdZYyjReNI+xFwzIffnkeXbXEsg2ry2NQkeZyH
cHx1wXweGFszw2alWHSjEPduuRnAyvJFOZHmAs18nLvE+KEhMOYyJjTKq+U10ADgQAjgMDXn+6MT
2/7Y52l27hcvemdfwZbd+quXi/uwd3pxaQNnCdslwKwH1cYoZKwi5L134TZRY9TUbungmd/+cQME
NRBPh0rbwN8NXuWXGxoQUgKZye6AigR1MubqI2Tf5z29vRxiIezCK/bePnwE+VmfXlHD2s+jQDh6
jgaNnd+HL8T52EWg4toI5JeicnX7RVIG2Ax29fodeZepNvsS7/X1cd7/A5P7zQLUoat1G0knbAno
6TBkB8o8S4H9NGfDd+Pkyx05pPXSRHhLfU70evRJmfk1hzZILjjesxil27IIlS2eutmV5K4vXYHy
K4L1XvDWDhYOjKihGbTgajnlp3B3M7fJH7wxv+kWflIdpBuuA+Emx/aYKYF3OMUnIsgilF3mC+MU
UBgYAUoFyAFGj7BXjACUI/JJQfw5lRjjqzFWF6BzFA5iStSGEhwD4se7hoACAiq92r+MS2RsfTAk
uvfv5xGOY2yMST0r8UuU4StqlsBo31/5HwhaasU9/ne39imn3fe0AuCI9WSU3ubFWpr8H0lntqyo
koXhJzKCQUBvmSdR0e10Y6i7FFRQARF8+vPlPtHdcarrVG0Fksy1/mlJrmSX4citmFPyWV5T+nqU
q6EWylZKQQS7I8jQE2etq+OZIvS4sG8zqN7aPG07vFc9VyhsehhR6CiaVY8fdaZEN+bRMwLxlyUo
cE2UysvHuse2wHLiaBX2PBTvwoV3AwLljD/rYG2DgGAwtwhkJjp1ySjK5oq4D/aHrh1gUW59Ywb4
Vk8h05jAMlwPI3nVzK+hwRiNX6o5CEJppbZmpTtjDGuY3jicgv0KsR8qiLRb8Oi1uJk9UOoSnpDS
7A2xcPvV7MLqroWBCGCJVcCfQ6+tgtNct+UWjSQzFX3+NN1euUXIPXsnmstCkJAmk3KGAwAk6A69
fP29RHyBZqmv+JEvTt8vPLS+2nOXiFVAtLgtZ6OQ4Aqsk5hfS8hlQR9Lq/vvcPU5PNgY0WrAHqSy
LdSnmqus+FVyifqD4kirVzrY3HzVfRPAC62Q8IH4QSHewHwJ5Yp7scBT8d3FygSSQiogpqBtCC+w
bsgn0Q6QXZB84zfaZj6gwX4rNFsVCJzDsLzcuvJS0M/87sSn7z2M/vzfnX7mx0PqEgtoCfc/2Wsg
HLx7BCtY1Z+fMe7xcRL8gzJmdUv3Hm6gJQTQQfh7XwfwZ35iFfC2Im8Ki2QU7iEZZTdPmTzD36xX
2ewKi8H3JF+Md54tc6O6QmUXZrM8NU5VjMHj7ZCFEZLJMSdmqyF84hogA4r7MGMSD1MDGB/xq26F
SWaH8k8I7ASqfScRAmbmiURF+YGySQwyJgYbKl8Etg6SczCjkqFosAGdJQ99sFFKPewDzwVSlSJk
+Cbq8tmr8PVXwvqih/qMrfGA96mafqFacOfmEmNjAg4ZDQsZYp9qWijT0cjGiNYuq9b6KN5dZX+4
B0QAdrywW2P/M4T5aRxk/z0mNEuhsR3Zn8Ydj/y34nETEI5rQtgrPF4lH/d8iFYLBv8WDJrwdvfL
LwdnfriBOV7lWQ+LUJDfdyIsq4VFVDzU2GyeMjeTFvayGYCkOrcb/MbbaYfOeJon42lxwHfGq0sk
6OorJRVxenwy7Ii4KsMc5eFjFMlApBWKaWJIa7JVUzKgexvyCo1ZHt2MRaXFVcukH/N+sTUIxVFK
aC35eaRJojOTXOYpq7CFbFNZNBhMy9uhGM6pAkBR0HbrX0cHWrmjkwofD6/kwxt3kNlZx7HH0nli
rkdY9nVZtwWf+h4u/0du6cfet0AkrB34V+CvBCpuR2K+Yxd9GPJ3JYGrPKI5bEHN0BNhZBF2dvBE
kwa297MVgMb4Mtk/tsprUvSLzpFq/7vHFv+mKsTM4uxPBRAmQSuwfqU3Ggs+4TxgScXQzX6nstPd
QeY/rEoGjOCxiIoj5V0dyb8qxR5mLw7CATomM9t19E43d3C+8hLc3XHpsbspLvsmkzwA0QkwYhcP
L4SfeJgfJMTAQCOczNjBi+g0K/1+pksRoEax9/F263Ejsw+jz+2icuzKJVp2xNS0VR8zn2D3eQzt
bC0RMMmFgJi5Cow2nryFEpRr/WMxZwddmBoZayBvlh5r+P6bA3xt6uQ+68994fw1bDRPwN02TZC8
7tbQrBOiq35eEyEqy0MNaAar5ksw7P+bU3dYrUtSnv+0wEmBYvXEaGy4efeiiBnnanSLoMQME9xS
WPhJ1pk3e3HGs4lT5nYx/eJPtRi7A57/1cb3QUFRRKKOosy7foJXE4232Q8krvw0JVylWwYKP84l
P0H2WlfyYKUGVDOUgIgOxCAqPGeEcGiubtjIA6FJX3vnieqFCVLDSKLiyD0VrQ/zWTB+0z2KVEBV
O94KR4LDtb53AvzM8Qk9+mf1XEISTA0Y6vaISXjk6gFyR2Dmh58xC+DlvC/BqPcKHP6mxtn7niuz
58jtad4Q6aZXal7IHKZiUTZOGU3ASIfih1kJRBV8SM2Nmgh53agVmgq8VTiUSVIdWersTEddRAzG
HUTGLzTeielVE6hXRFrsdc+tRtIAYwzJn0axxCGFs5OS5IOQ+MewjTI97x1Cb7WgPg7sG6lAaGa5
gSgzLibTySY0lWi1JI8uqw7l31Fyn4xyt0WRiubgH6gGvz+DzLMpUD/r/OmzZkEdA9ocznqD9FFb
MmAPvepmfxbUDAVvWag5T782HDSa1Ppl7eq81v5nCoUWgBv0++jLV7Jh40dug1QAqR5l6AXnD8mO
M/ZAJgRzeuiPiKEW2aHr16i7gb/A6QELX7hcCodanwr+UZ+kM7uAHD9Cg284ee8eCMU4tDp7PGWf
I+6h5m+RqDkKe+ado/rCNo/MBXWMI9tUZSVOFiCFgTg3FigkRVocJ/gZ9466QQzHyppzf5jlcR0F
ojvlAlXcZ38rliAnhtELx3RYojTiC5p45CHtYWScXHKyLScl3WxnizHLK/bZYai+CfKitoCqCx+O
lHYwj4y6sw1OsGH4QdSA0qZA7v+QAzmzpd58rNpB2NN+Dl2ms+x3+3kVvBN99XSP2PGQLnHbU51u
LmO6PC3an3o4vFxMQJ7yEnER4DwN7ufv2GsZA4xn4xJVmlMuJUzAfEcRLXavKZ4rW9El+/H6J1W/
Une43EFGArwGr/pqGiVT0mrShmkEjwXazkLx+hW7MVZoObfLHGj+65LMWrZWXlkMTlfa471ZMsIC
X84Q2bD6IrbTxKKMwLJOCc41Wo9zleNBKsKK6o3sKhR2add6HawM9XFLiLqnc3g1/lsOwOfb1pRK
5swm4uA4jGVSkZOG97NatXugaCzYfj5cZpcID6uh2C3Tz3jR7n7xjJRb8OyjBpsWUtjDGBSVjQIZ
zd9hzBrigY809znyBQioeMPSY9+gReQy7++wQyVZc/a6TR3wLOW31RAjg0EBHdrIGhk25j3O8yFm
BImG0y5uwat2MUPVAweIrsmcCzER+0Olxrds8nlENQP4ah/fE/2mutkjtGVd7M1bbj0OdKsZLVDp
sdBBk77EbLFDZgw5dVhC7zM/CmxNaVJcYMZr/mCc30FFLUPJPvYGF6eCds9qP6dsospAdfKEUqCx
p6G2usoeD9zhB3O/U6/oVPAV84oQRLbbP+h4L2tgWVBm0Ga4E+tsP+eZM7+49H/uixhHYI4PRT6D
JfDXm/SWYqzMbz59ReDGocK+KTAfwoXt93HkkOwdovcLGJDL/AEZnYv4E8LJLBIexngn0R8o7OM9
5wHvHvpSRFiA7qAhQw502FZqxRGNaTfN6D1/2W0ILUCU8LIMWuQUQs/7ElivOO8D3O2kSMECzhm3
mz+wYE6ZuC+gce49yMHgV8rudbUaDsxYDsT5LVmMOuAQmyOmd248wynzlcqkO33OOoD174vK+UsH
eBEJznBMYyaCeUxPwzKChPtOhNbVvT/DYo5G03nGmYJ2e3ekQ/AhNgjKojNbI4xGNWS4uDY6t0H8
Qv4ZgsbROdMDWf/TokH58vLibsTDM/s478wCW9SddvEeEQ1zw2xHRsuRvihmektOLLKzjxkUkS3y
cJCMneGS+eKoEbbCoCuYXaRaq856OgRdaKTPkibF2IoGLyUzQW2hOfQLxuKJCZN8Q2RKdoACi4G3
V0uBk9UmOaOG0NFoVkeHT4EbagRn7b4JJXD6jIiJW7yCzFdXj5nkVhTs5AZ5J+kDTSunPJB17ZFO
hSSqc6fkuSDQwmpgv2ZUCHwXoQBmXDiJWBCykNho/xlUytRn87CPUHDwU7htrCauG2paCXqkYnll
H5o5h/TmY1OhgSAecmRuAyclVG2BX4rQMhqUzXNF5pg1jGWHfE3E0AMHbjRjS96jum35i+zr1gO2
k3mcAWJYl5v0tBTMDOj0+IIlDO5UEz14+PWQR9b/xM+uLzYZxCQGXMPLVCkDeOpI2k/IjVrsXTnR
7X+o0NiHAfA9W8S2CGLyBdENB2a3aZtU1sUu1saMTgG07rmisB6RMFR5Ly7QRGzi6ifpJKSFTLml
ahIPktRM2NxQP5XnLyJWxq1z91sz3t75GoV7sUp0yGlNpaeZ6tN6b4hf3ermB5LQgTsISeTAPOs2
4SiW0/II1NyhW16ScIfCD71fwbhkEZtGQhiC6+lrw0Ou7Q8pIcGJyVtw+OY1uaHDtIe13zpw9fHd
jBuH4BuENW/q2LtVFs7nbX7eDoLmT4Mz1Bun3/umfsQgh/RYynX1GvMhmAjxTpQkiSOX4Kio4VCg
3Wv3FrQ8KVhw7etkDH+jgWCFENaDAm16I2zJQU5TIyYfTaTGUtGmlOIXA8TcvNyiSmmToSuf37bm
Zeltdq/N/X46+PzIqNk2kBv4AyzDGwlzCUH9zLp0x4zlJN+P3KOR1Q/T4d+vh3hI9pO8cdQRCKpd
pirvUNqgtNbBUmRgt4t7YyxYaSnp0+boc+CdYOqQ1aPiozm3PkkV0PXPtcX7vEezfkla90vOZE/U
5y4/AyVScTBY1lZPRKY72S/SZnbxOV5W7xOK+XmUAmJf4iA1g8JKp8IrNU/Okc9iNp8TmKlm8mED
hSB4Ws28ST4L+YdlYC6e/yo03Dlq4/Ca5svHbLipFXM/RnNBHk5zkFwuzLsFUI9sIj1PgBfOgg4u
QIG+DoCZ38cPAPMq6RguXiXjkGIjGEVAiU7poEaC+A3LnywcBAKTQpDHaInu/IlBtyPJ/ZAeNw7H
oWY97HGYzyREeZeZEe5Po82dAd776dvVUPTBls8U9zbb312tN+mvcsUez3WMyQfWUwMgS+Lcua+F
FHa0gI2lar5BUoHNO/p0OP2cgLYNJCSqp84VbK4Xu0K9pxFzoWyfUQ+fifSfPADaf8KW4KKBy5iL
gWtITahFCUzowvEuUc/DzYH0Dx0NUAL066FfG5rnO6ikUFB+qQAT0GkQemxK7tX8IY1QRAbyddqQ
BU8e7Xt7PaqkTN0jDCVsH6w7t4qea2mmBNJUYzf5sr2g9zhAK7v8z/6Qr2SEb2C9esZJP7sfDO+e
CA5+e5ndEdis1DmxeEwuv1lrKCL3vSx+hziitFDZoDXhnpbpR7GNMw9uSEQU1DgbWE/ajVkemC2t
s/OJu5s9PBmdpTxpd4xLfiaapfsUQwcEkYnijswQ3R5oL0Q/COzi4SLHDurgs2gn7ykSbPexrdI6
ZjvMMNZqioMKjpO7R0NEb2q3IqGJ+4ygGTkQOzt5arHhSYjvKDFF/JI/im6ukEQOZoPtFQHouiZI
vbb2lac8fW1oPii2iWoq+dx3azFu7fvwBmdtJSHvQgw4K9Nripx+v5GR8WEequwr3dbdb8i8U0K5
idEv6N1iPBfLQJ5Dn0tTVkNFrczeNlc/dhGwvi8zLbzMronBmydNaOUrgJHLpAgKxRxQgAwdqLBe
tWL+cUF32FtvOv5Dc34i/BkF77dVGbZyuh7AVIEAHIhLGP7Ni2S63qWlu65a5AMfcIHvXFp8tlIg
vRgnoTSWscvfJC2ZZcXdee4dZcE16ra20xjx+GFCO9XuCaWIWiaVw6GFs7ASWMNl7PFlW9p2JjLi
+0LqXXj8W37xMnx+ATuPvG/TnD9kYUKdXlg9BtbFLtpXQb4UC+2hYdl2tFB9rV7BFxMKvLkgBI3K
5J4gK04YMhg0vRiJWcToHhr0tFNSpZExyh4Ekn4qMufFmR42TkXcJEmZaD6IzbzXrtz/PeTxHJIa
roVp19LmfhjM2VOeBB1emP9THp66eZmpYV37NyG93fcuC1aAzDwYYJU6c7ie9oy+ybD5E7z+5ept
//0ev27ODSTDChEGvNcpG3Fay7hwgc4d6ROJbM6XXZ8uXL91lTwJlg4H/exjxGiM+O+NB21qR8A9
5gOLoQ1I0XnLhc+rQPjEyGkN5UjAclE97uZlKZ/zWeYXs36IPKsPPlO2tA0qVREY94n5+lPNG08u
nOlnhv0FL51IQdljh4Z7EAOjBqQLiB5MlHko9/g8kaZSLuRI1LuMl78RK6tbH1pw/EWEyA2i+8O+
3tYGoBRMF9t9ypOEYcZuI8xZqOL975FIMCqEUCSs5eTCyRHaQqTnY/c9h67xm2mlWF+UfGggxaeA
1PDH7PtCXqv+I4SrOJAy8ivE6f0PoSk3+4sDpkXX4Bp7i/gNWkXHSPIfyujqmGN7QfXfAGXaWoI4
FB3iGvb7bSPKUQdU4cSegHHuw0cKqiuaXRAoKhTsDNxHXrzxBIcEDTK/V5JTMr+j26t8w0knDMtt
bBVkFyM5egwrn6DwumANO21V8ov/ceLP0gtjE7cP5rjhNqnIGRxN91NWHoOPZi+W7zXpQDWtwQ+7
fbl3OiXQ7Q7HmZ92R76GROp9NkX9irphQgCNj2tNPlJwYOYlFfWIPI3BRM/jkAyTBo9DTDJWODrl
4yAzoiG2fm+/GIAg4fEi6FOIEtdicxMz7eiwmWs5xC1e/Oy3Y2CTgRgpNswjtQjYqb3mtpSPQ3S6
mA6Y6yYzuzW4YPbClCLUibLfMMTv+F3S8vcrUAgddJ12kwZ7UhEJ/6LIwqTwM+YxSORJ5timGofD
sFq9sI4J21ZDAGWJFYfRQWthosdgzkr5ByznQgkcgNG+KpY1rNcb9Fg2IBDGASrnVFzwM/oOo2+V
XhFdqCbg4oChkW9SUNGTn+Sb27gf0HpsWc+3Bcs2XtTUP/spvSQ8dB/KBIkO0Qcwh5ie4RFleiqh
KCC4d7E/KBBYQ1HWBq81QvUPw5xLZG24Ip32G/5cCSXpJ3tQPqtwr6Rd1etBjDFzRACdqRvmuLTq
tZ4gx589jPBczl+K9V5U6TC+jpGTn39X9FLKalIA6LVkYPOLm+nff5hnmP27TmoAHxMVvgUFmnlv
iMvvNJocR/b9CHqAO/NhUUYjv1oVK2ZGwdKis56XFpIoc0FH+/bVGeQsoMuKlG33OblNG08Vk6DA
ZquQb8Hg1sai/UFE5wnTAnoG8E/CjtCLnmmwyWH5sgGHDE4in+JBzjObuObc9fRJWXPbPWqXNi5z
QMjCERglR0L0pEQCypN/5W3DKGcI0tJ6Y6jGmu/ovfX4+qJzHcJwgDHQueK5CyGAfNyNGEH33vtQ
ryAu6Q6C++8FwOr0Wt1WLwfhNpHIKaclKNw7GEu+DOMLWoC7zX+9UX+iop52/8szhDmFgtVcRSLJ
ABsKQuCKZCDkdWaP9r5Fxz4IKqudIzpirWF44BJ9XjNHwgPyDu/Wda7+/AVqmpjYyCTQD0KvB2V1
6GJCSEjMAq34UoBaDZHw8kb3ao7AMdhurPfQQhluhhXaE9gwQRXBAXttgC+GWo2DoG5NzpnT0//C
0FXLIRAa+/1iyIgmRyU1HdsBUMQDOuoZP1boKVAniYy1hz9KQCnU2YD4ZLvdnT8WXRpXeg0fFEfa
/GtV0K7kTXuftUbYZH8GsXocDDgdiyM3fL3o4Fjv9P6eELGMFzopssKNipaHkEm0qkJG6yt7C8kT
mF6HwkkkMykhUPX3aQJt0ibw8eOZYDg7ME894fexZqRMCOZneM/xURUxbohh5jmP7jt9YVP3wydt
8OzirZPe1B2ugmiRoIPZmg6sfga+n6bHDeO2SdNH6ESeJnOXEKiRCSQE4uSFiG1EDIUtvCWAA3gF
cBxwgmD8lPDCB6EGYl1Or8FwHnWQan1IpuCm32MoQEDJkJxpFtcOQkdrZdgr8bfZVbBhCddRz/pF
Cshx0rmtq4lR4SOP4AaGJnoPchd4kZj8zhu7n8NlulV8OxwRkQBsY1PkdUTLDg+Dg5cTberuouh3
gWVmBn93A3iviAG6oiTIF29g/19EA+Zq0iMadKSwOFTxMyDbg22NfAid9Jcd8RGMqoKccNu4XyHn
BCPa/aX0AKfBYZOIQAa0hbYBjZRznMqSuSQKhvs2hvtUrOgX9JkxtkJrxcOjfZ0WCf5lrKmKV+H7
JayHS2Xq1JFx77winAU3b+xQWp2Mm6lO1ImGpv0MLtBeQ+bwcnIsatx8O8WT5t9fRjcwsBt1GFo1
3jHiCiOV3u67yNd/zmMhIhFIkO6I1J5V5mlkaqUiGdUmlOtIONLVU81VicVLOj9bRJwk7YhdenrM
50sw1aW+7ZisyDXesRkBvPAair7xmJtimCW45vGCzUyEvFxSzD3I/DO3sAxOtc6f6QyFEQg0wBpD
xplEBl5+DUR+x3ghUjczFP2t1QFKzgc7Cd8xQsnTk/z9VLY06l7+gZ81yFYX9PjBAFgGGNesWMHx
jIkYxEDNnHtym3WrJBzbP/r04xoTbMjKJjtQdXmFamEGaFksaIFHIuQZyOcHBIZbFd331nUNd/BA
wIyr70YmJHra3kaqgG0yxQmAzhpCDIbPUue5JUlIL5CLMckNSVuSn6kE0UujO9ujkzdsCj1u09el
m9YIGnF0XHXAnOUpi582akH34RPIiYJhlwUqg6K+4BlzyHwwnJ06cPc0S3cX9qiMsxZzX2sfd0Dw
UJR1wkNZLXQ/9D9oYS4w093pexIGcf6TlIRyyNilj7wUYsNlH2UdifEOPbF1pOWuL3hKh4xnACOi
e8P/yZ5n7AiYNcPcXiTxjdgLyDqKJMSRm0cwhiPDlSBYt5K9KACZWl5+yBWfURMMEMWjJL96pPF1
ax07CWbyzqrcZ4z+5LUigAiUFB0U9xSAD7JijEONDzze3ao0H/MXofpkm6Pcch6Qmhe3pi88KKq4
VAZi8PcGmMugQD5SAKs25BiXZpo0k+rTVU7a0e914F03MlIgi6jXbgG1WG2bCt/JWJ+SW5upzpBw
KB+L71NEcWXv4IOqC79253yb+RcaQdAxWHBVX0SH3fA4drzNegph0a/HOCaI3S1eSCXDBog5g35/
LXt2z5z3/3JgrBf9mVDkbF43hBxqXE3zbpIBQN5sTVoMgezuDjJ+/AA3ydFGAvv2Pz/lotU84nv+
IEuhDaKY/kF/LtJt2uA6kxz0xhMUwbUYvnJdcnaxnR8IieKUz5MieUM2kX6D9ltAzbBDCHxxk0Ks
Rdq8d5HW0poixfiRuXKIyzkwG7PRUV6kr9kDiY0S3W/eXV83WXifN96Q4ZdkD5OHrAZ6eq+G5mCA
lEFBkPz2jdK9qIXZbHu+F9rHnbzoNg2oc8t2jXs21p5zDUQXyWxnRldk6QZH2edha0siMrZ4Qx0N
diDmsAjkkOSA+BlykidXiJyk/t3Sdrc4RQ7FcnAuE9o6Avrs+67C40nKXjpy85MUo458LO+Oss52
mFxAKeVD8YvgmYfKwVwCDY2YUUjNwWQGeC58bdL6Ez3WyMbg//gK6tDO1wOfKb9QCj/dfnWBnpwq
PnDz5/dSiqKrSuoWPsVuFI+sA5lGHcAxs6vD6+vSYGZpI/m0le2qWSnIoFWicZnB2q4u4GBwNBXG
HLLE0vvhBYnXm2K0g0BSBnM5fOJdwqDxngmYGLDve37iLqX1X+FqUNgU/he2sjUDsubbNsndEVJC
l0TbydWpp4UL6laZKrol7AFh59TgoWxp9vaAKBFFnCNQI1RzGIAq6westEXidbGGvu5mvuLKzl9F
bALIXBNJDMkA6zTCJhmpcUYJSZzTxc4i7iBPBXS8p/oqptrHfPtgU9tbz+5mBMJNenVu2JupAzhA
xtQjilfGCk7pa/yZ3zeSYb3DgV+5K2jG7du8ToaJzrwMfaLMB768GBJzO0J5+w7lBbm+2wzenecB
7USoNlFiDDvimA3Oez5vEOmToQefZgsOIwv0CWWEB8HyWFUUeHs2z+4kT+uQ1fX9zdAS2TD4XD/M
fHHmHOQ4ErskZmp/uCMFYPk7sH/ZW2gFBLXCHJeKPiskGQ1FzYCj7B7UBfNZ+TuC26/c/T+kiWYd
afZ3oU4FPa799t471BmAheRyIsq3TUdlSjNk3ypzhWjlbEwvCTsCo4EwFROvAOJ6J894NJeQgiYj
ryPkxJE3eQIjxkRIBRUe0CjCzsEC8k3eoCPn/52vS17uz7lCbDAn3Yqsiix+kVKRLfODRP7Y95fB
yEzeKZIB0yqk8HUWTvUP8c6S0y7FeMfbHEtmj7jTfoBHVh7t6RzJCKGnIpeC2Ue7clHiL3ki5CIe
i6CizG2OzD8iXhWGeaHhdwZH+OCd44dg5b9YY7LD2qmQssX9w9FRghkAcq4cj4l0wxi6fqBOITKH
GKJ2Wm15H+eIn3x+Q8ETA/bLaYSYRnfvsy7QVcEmk0tBTcGlgkcLYej7ANy2qWIam8EUnu5CFCFy
uQRTcLxnzTX2aEIFGYo/+3VhAClRSHBEjQaPphAvdktkN1tuEAQ/4fUZLXTnaCQ2IE9UBgglTZCn
BUwr+I7hcyFsmpSsjNW4zYdUb/dgPy9hvAsqFVUcrfNnfDnwKB8rkcehQRoilgbSAFpLbhM1ot9e
k2LHPSTwh0C14T+WVzhEywWCQgrUXczxQmQKNpjmCUqXeyByqLE79GYkxnR8XXIPeWyEh9wJgqgC
kXHR+TXz3ehyhLzMrpZI3VgRCuuaOo5o1deBhBuP5YVSIsqwRzfbF/NniDMJwHMoPnpvmHQz5sDO
jcUTSemJ8yolMoVNGU3sMME7UUTPj6lwUdmEN2j/wxsSGzG/fGG41wJ6ilaF+sx52wjJZVvBO+GC
vIxA9BBxIKnGt0+1zM0h1iZAPiF4U5U/jdmeAlJz1cxG7aefafzoBDL+CE9VOg8W93g0KWAcf8gi
44T9IAxAKmy/wwhrFoJFjTwg6YXAWjpTXXMA069ROZJodAJt+FP5E6gbGtMB5860m44cI344D5aC
AIppUbnL4ucQnIf5iyEUoo/CvYfJCTCrZZcnIYFEQOnfLeqWykoELB5eaLt4DYsVrz7ZpgTHxBDZ
6S3lw8tYhhthDAJvKy9bQYzQ+9xbq/OP4oYi+1JnyFeH64yaj+tcMU63wiWjs2DJ+YHAuNhfnHAk
MokYDUFKAjiZ0gzaYZaJuY04BLjCh8OIMFFRZ/YUnvgxgUCzYh3OcpAQIUJik+YW6ZcA2D39AlQU
IYDiyv6xf/tIV1xCNFIsgaagWFV7Pyt+RBRLSoaxNDk+UkzMiJBsUGdqwyWRJeJbDE2W7HUG4+y3
SCMV6lt0KwiO6cMEoxrlri0mdcqYZJG1UVyJ1jN4so4R0dBGiVZ0mVvrAoxneB4iuhwRlnENaEeQ
TOtEwmsnIbnUYCtDtCCGOzyI4KfsT6fKjCr2YyFUFo1J7fU/Y2DMNzb7AR3RZsVLSqoloCaZ2lg7
axSWx6WYGtLRaxBPYm7OluyggTJXnM32JI+w7MD5jiGjPQ07tfjRe1IbXVKexbjK28+xPxcIQI+F
v+STneNu9ea2i0QqcQpUS6wvlr6DQHAMsj9ejuhj8RQFU5FrKPoYIYeSQjF2jTC18+rc8zqI+GLg
Eka9gQawTbET/RlTNq39K7ItSuv3jTLh/xZI5AkJr1Tu7I6GSSY9XnvuCVpR8z65cI4Mpk8KQZHb
eBQc346mkogIh96mYW7hEqliok53XyYhfoOvL6enNbjzsmAUZu0xAFI9HskFecYjbyJyPFmM7LBr
icEUYgoKY9wsaebJ4RqhurN8WAF581MRzTi2EVXodNm5zxvIauP9ikgFM6fsIbax6Ah1AId0ezCW
x7q1n9uxW9op49wXtA4dViVeMTjWQUIcfO8Sv4UWzTwxSK11UlLBH5A3MVS45jFbhIzFzkfg5zLW
GwSMvYjwUFCZIQU895m4FbG6UNmCqVkzGjZw2xjrO9n6X3vDW3VQrE1ldyVPgbQ/csf+IXrGmMTC
yGymObsc6Zu7p6cQiB5oDiAQbWnwBtYeBZ+ZgIvhNyzZGzELh0ORN6nwaDLgTBlyzNQbMlOdVzT0
2o3ChsFRNimPLwg2QnqoaKdKkAcI11vrRqTP+0D4AQNJ9uSTXVhlwgSaO+KNwoUPbTaCKCFw3alZ
Cuz4KsHVd95ETaR3IB/7+m/gagZ8oB94+mjNAiPUtlcokvGNUrLDB/mgoLzEt8CYrGuGWZLNyBe9
hAbobWtpKbkv6dujoTEhbxECDKx2yVCKLZIqwFT3MUFUgGFAc3PUJDS2hK4jzbguEWiQACPjpc+m
Mo8SYw6u3ExM4s2mSMs2PfWiYf1jYBA7NQngzoDX+crwWazADlM2uMzL5IICTcd3ya7tizlhzBVr
g1J8qkr/D4qNKhbIvVuPE/Fh/HiM94SWcpyKDpHuWvkldHb+EfrPcap8gF2e6zdwd2u9ai7xmrx+
4XiselEEAKp+641hnofRe1oBmuPtdYSXvfcxvAPFU4xHiRLhJYICrTCtX/2Rv/1smgw26nmo7Xry
9ev5nhl3ndMkPa8FNPKYdMZAOWkTaJcygnTB3aFHg7m4+/xsRFVcXR5DmDiiqeVT3hjsDJESsEBf
G5PIV0wav2F/4JGMWFstsxhpA4ArfGWB25COW5geHpuP+yax4x6tFQgftLPZ4bW5Hsbzhrym/S8U
HKtgFJCKtaLkB5SneyJVhM5Cn9ZQ2vkSzHIQ4DYM1Dke/RV5M+QBiainZbEkcQkqC4nDYE5ed+5o
tDOMetIDzSMvIy3+kbnFTCYsxLTRIZ+PppcxOxMRYcTuQT67GGSBg0co/u03dI/hviZCZLP7skdy
zilsGU8JSmdva3vSRB/WdAfexxZMLAfv4sNi+mCERR00lIIO246owQQscfwwcgr+0EQw1+AUuKSb
ixsh1CdvjGY3gPCloShFrIeYG2BBN655w6wl6a4UElTunAZw6k8/LZy3N91EwOpsCnhjxdxCDr7p
P+aOLZlgK4OhiYhmLNrm6YNkAAUK35XuzDQH8xndGz9p71dMdkTyDhKm828hqlQBAnM7UnLoxQb/
tafpyRluvtBDsMIECpK5YQYGiwGGhEebQ2XlbMDiFMcXTr1Eq8DYI/LvxVgABnERCMeTF8OSl0Ki
06FtESDvv5kTIknkd4ZcKqQRBcuxs6l0BouW9+tlTqfIiBD2CLJe8KlUA94+7giyYJhMyxnMyrXe
PVjSRIzsEBNFSy53ZsxRkzjkLUBms/9w5UHN32XohhhaPRmGMJSc0gj2kKlWlA5iB15d7F/sUZdE
OYuieUPBQkUBis5iF9mCmQs3BqKC2YFERy7/eUyvLjEaQ3N7eM/AogHxGG8IjYm+6B3QKLsXAKW7
eRhB1pOK4/yc71Y4EnMHE6YPdhSVFyuO2YTGrKp/p/hAYCmtbG/+yNb3LNJ0Ki9z7h5n7N1Bs2ct
FvTB1t3/OhRQp7XQbpGy9iIvhB9bmSKrSaQf5gQ/NkCyDUOZuSukMJY8CjYkcj+GDE1UwwIxFtEZ
KFzNkCgosr7ZZeMfUeeyZfCI3stuNZ5vMS9ZsXg8ynKwkoKvFZ7nV/S5LyfqAIQJjJQXD/C40mIs
5VsEIxphC40N32iw3mok15lL3BnKOPIsEgQEf8M2tkj12HONCWJTRkTuTXWl2MM4/EB5wGpZP0La
wgtbwkRY14NyYks6aF7FxnI9X89veJNflN5K8E2FAphzVWfrJ52KUWP17MtuyDKzhosPXokJkTil
Kf0KJFNLS7q7NVkvzpB9CNPISZ534Yc2eSIW5mBuzPOZvtGs/UYBSnr/PtMuyXxx+qhJE7Ez5z93
bnqY02OLdBjeKAaE1rS1QqhBQ5uDn1dIHBmHI0pIXhc0MiEykwlnOMINffOK0T0MRZQhjDtJkwjS
k+HmFVyT9swzwa4bQ5LWjN2j8wqgk7Zfp00yqGKRsZWg8rJH/HF2wuV+yjpwURAEzfkOkTXfo3lC
NaEjaIsv3gvLP80cOykvOTYbUSZwMkY0KMuGbL0n1n+EFuMd+jseBqKDmOFGyISI+Fr3myLeogcg
1w6YhvP+ZecQHXYjWGQm4Xzn/Yk5q6F29zgaWgdVk7AnJsLFJsQztyUXgxKc/MxA2XYEoD5Qb5jj
I734T+OPnZJJxi/OIEKFka1t9j4qBWBzsUeR4EHYxH53OeznRYKWmE00kaewed1sz3Z6fgj7/ABK
kbiutAxeqzYuEhTkLugIjfEQOF8JacQYxrqi79TD/kw8wIwygX15dM59dqpYIn6BMQy8WBNRzvaJ
EWG65e8Iyr2LMlyFSAMpukfkiQ4SCS8xuq/GxstbvnD5iGzx/qdjEnnrcDzFgx1iQNB3cDdavemV
1xNkzKVpRFqF/OR1khYGwF8mhKDKVlHFfILHj0zNYGyofxL2lKjigYEPc5552XnMnoyjFmkKli03
o/lgfrOEtbR38MWNPHlRnfLVnq4wBFditMWYvgRfHde/HVM/7ZHSPaLPfxyd2ZKi2BaGn4gIJhlu
RRDEeUg1b4zUTJlEQGTy6evbFdWnT3d1VqbKHtb61z9Q0xzj6RMeHuBk8QPy8iRG4Afk4Eaqs7UB
VyLjYjdsR78XmFcMP+WxwjZf2r/mr43XwzjskBemCOTHCXXBHoVEzHlPROxd36BmiHS4dy9l8gRa
El1pSi48W4DBDsMzHBJO0fJb+CHiqLDI1HEyb86MjfHOXb9D42wiSqXhvkqRSMN54bC1ZXK1SeGV
JWF51kGdcA377lfiJUWri0t7bgbKmVeD3tfYjuA+nrV0+jzcq52MmY+x/XB+XD+tf9niIyahxzBB
Qv30u6UIP5Tfz02N6UgDzS4/Q+vUIQsE7/+sUW5q7pZy/aoDmtYaHwzR9wI0F8q0uKvTJHZkKGx1
qJPKubHP1RGyInopel1fnb1IR2aFHbLFy2/OduGmvB8qUjrqftaW7tD6so7TKuLycde6vOvo76J4
3H32Vk7p8B4ccggilyp3KfNoqiWsU6GRYH5IMay4OfZNGbNvp4cnh2NW7xR/Sef2Ush/wcUGU5sa
VjfdMQDWaBKN8Gv7AKxgOornKHMnob7QgCEBg+YJTT+36j0K//eskNlemDh+IJCLqkL0DDY3Y+9h
JMLEmtRnjgDySV/u3JgIpovFv9ubFAaXxLhQFcIiDZzLIKFCdtOTyHzHyoMKriNn6cWe5sjv/eKA
iQQTMW7vO/sVrIJ5kxu72EwcRNXFePiUUmjkcwpCCvla9JkzJovU3et9MznHPy1UKfubq/Wnn22r
LxSSe4bgF1pw/Gadeo6f2iJCTIwjFZQfqhkfrv/IM0ltfs9gwLE0Ffjh4K+efsZzPRnf9PMWtGaX
IMproJZQ68zLq0yKdeaqoOTLlInDh/OE5uTHGMbqHaiSsQjnB1jHHWcQsNajhvdGe7psGGYuDTqe
QRSE1IzMs7mmHRzqkSStdGg8CZ56MVppOi0KfwreBtqN9nS5eCcjCmAG4oBnmLJ58c+HSaiOYZae
ss+EvX8G2zILHyT1snMGDC5Kb8jcFpvueJeixjJnFaKtN4Z+wxcIJoSZh+QYkA0xZ4L0guZprdJ/
qqtiXuHfSMhudWNcyMHPPfJBD8AQrKBRhN8W/V5Qrc96muG7zNvnAtOm+annToWIjZ6pjUDBWsCi
FzZZHpGgXxZ155KkoiRHCDR+xEK7DxppvOfggThoggPYvoEvAKJ8AWQi+PxlagFQLmIs7b3B8PtJ
UNhlwcnnQf+Au42W14H+5cbwsbDpgKn1mJSlL9Nn4ppI5DlTCN8MiTfC027+HzstmSIG1Q+ClPgX
B8axxJnCcCqi7oV+DWz1K/hG4L0RKjWHD68vJ8MBq8cPxCTmq2Qmc0T48RnQRpaD/6/emIKsasNS
JqQbUOKORseCV4uEGNMsuEfCoNTmByQBSqwX1WdESyq5uJLEJ8BiHXFBvdCw3rImKoueN/RcF7ge
Y8P1CVUugor/8cFz1uLy1UxgTYrqH0Pk6ZNElQW+yn4yrRNiZyliOIAIaQgRI834WAVkLOBf/YeL
DvXpY97N5O/Cr3yYtRxXjCJou41JRct7SvdsCJPJ++yJEYjyXLHJcesFIcfCgYE0fSTI1SMY7cw5
spSXx8QfngIX6wK8OXeLAbwW75JbuTb9kU+a+/IB4VSYVfSAgEd5J68oLqgxli88nRPWOCKHxKGr
nMFBbsHeCPpjtK9sUrJIAj5fpC6UGt2k/+F2BWRgRO3iUB9998dBX77+E33bWX0yVjIZqgWUXoD9
UKPIDQkcmkJT+6Q7uQqG3/T4Ekm7TJRXz52BbIQyHrd4fQoW8ZVbosgJUvwoOIC0r/5ugqMDcH09
AFzKvXx6wgvdV4wV8XhbW1M+S2C9vlw1MXKXfs+D+KhOvdH8N+HFkGsPheqxrbI/Y21uH0gVyQpu
jzktxRSHLohGwmUfYOiCG/P4+Qk0eXqJ0DvIsOMsGlIufBJMNiry8nyb5h4JmA/65y+MHzcK/dmI
oM8XWZhexf5fkA4in4e1/HKNvb1sMeOZ8FdBFTYvtgxYYIt81TMThRgsHJA3pnbgcz0E08lBJMLX
M2YyUqg/ps+bvevVX9vws/vzZjGvOPYd5jHxHwZDOokUpGvS4PKsIPoxTYNp+D2MMBGgjgBDfXEt
tB4TBnG9mztt93hjVPK/r9JO6eFxgJ8C2h6noRGNa2yhAmltFb7Khl6pIc5lK7Rfa40TeVt51Spl
Bn/BylUrod6OTejNYLtTQxCAKoL+QMuJVXsBKDHhWROnRJbcwHgAwz3dh7n5ZNZeBBj76M0qUk5w
E7uB0phhE87+oPRO14+tam4htWQ0gZCU2IVyi1snYhXogvG4SVHWQusgoBkzu+FexcELus/bEY6Y
9iwbgte5KdwWTwGDEuiNWkjeqdaEEDuL6RepNeQ/RctOmxk/j8p/7y5rfNqO2nI4q/ujRG+m719b
zYXpBtmcohuqhWOd9YD2MN9h+ZSsntjR9ssOxx51zN9Tak1c8vY4m2ky8VW7AdgFrMtCwTWBkQ0A
QykFXV90nLd2pgFDkYEb4G4HL9cOkXvZgBTfnzCH8QEfHzJvh/9DjfZc9hl16h4/KEHiiToHxyCY
VGfhZNh/Wbd0aawoQSEuzI09pyM7vL++r7Q/XeegeUxgrXdA0sKz8Se2J82vDfVbX9X2OB64l++E
DS6thq5gOJV36cBrg6qKKcCuuRUs6cUzRLALHNb6oKA0J4v3NVlEi+6sGu50eaFqAn1SqBizua65
7HsaFCjTMbNfe/OAHTfCtl2Q1xz9N9Bno9tzPpI8MadCQ2hZzuVDB0Hfyyj1c8bsngMR1wTOL0AY
Lmzm3aCbD9x4IozhVhnoCQ7s5gT1XiatZeZXjEG0vb6sj+ZEWPOjaI73r3lTeyoUF2jyzYmEVChT
MQN8ml5rasUOBaME6632cQJ+eJU5IcRVL75ywEMIpsjRV59bjrc4dPd7jRgG8yn7EujEWe8MsCIa
HybhrUtZ26/NeCw8prkE5yPClwG026BdyxjVI9HMZx2U01/SGLcVDg8Yk2KIg+obzx9GAdYyXTwH
/HtpbLalFORHYwuHnqt2BK4xYEi80tFgbdCqbOxfzJNQM7v6VDkhzvxICwMDkyIskAOPCMLF+W/a
C7nsi6fpKSvJYzCureUpVDpGXoMjXNFUxER7c1i/bqM9uz3dyBRV8diP4OJy6bh2PI6e4Ukb7wqc
UmkTFV6KmFfBSBShcagQqWeYmP8i2IXGM9+vUs9iFoiGicLTxwEFF416W/9EDOBAZpqtYjN1VE5m
5jVfOCjjos78BKcNZp2gdu+AKlRkOiH/IbO0ctWlpnjWARNvKPAuiGwuqHvZN4EskAeYh1kwjb4j
MKLGGaVzhcF6wxNPGFPzgTrIipx3oAuR4mhncALWO6oF6myGgPSjAwtQg30XTZtbNEX4xOwFvdX8
jTkbwB8vSIik4d3RoMK3CS/nNRfx7QImAXLDHGoC8IbwECSQ2/XLJn+3DeDs1AsuGAuOkYhUBGor
fbBmrKOfv9KNwWDEAHZY0UZwZVIqCHzkeGGsEvEIXpuPOsHlkTkG4kkSU0GFACqwLZladJjLelbO
uwVEJubk8iIKpVVHWJqDCdqLMR48zYlEhYPlMCNIcoZX+cHad+a0jb1uXcyTU7yNv/BYg3weoBYC
z6OVrf4MAqteYZNMB1x2zorf9ZjNBR9MQqVtQk1EGopsOI0WVtk0w5ToEtrFpDrsiVckm/v4hKjh
srTbgMiB10I1EC2aR94opHPKw3JSisz1LgqMai4vuODLcaYEaNDN/yTtd1hoS0UL6nRioIdXvBTG
C8c3Bsgv56EHKQRtbCYRUr1/LB86DcyYN4SO9C/f0XwFxups0TQ0mAXOji3gwIw9jkqbJqmcs8wZ
zM/6/ZbqwpHydcGAFE6mELokOObYnCyFxWD2MsVXg+kc0P+qv2U5t3dgYNK4tITCVeQn1OTCZH/M
BD5+qbr4Ssjp7WPvVSacI78tJ0JGAVPwRDmXjDG+MRgMzVJSPqZUm7yY/M7lfhGOizq+u49lMXDP
2nOjWb6ZUTCPnmHele8UqLsNOe8GzGKqew41itEbUd9TesUCHS8IRs6zi2Y5iwM1A8/gM2FjvRiC
SWdTYhs9SfZcoMudMWEo0HZye/9wqiGrwdnpsZLJMWFjZlPJElAJllFb5isnCTiZQAEk5SCcrhpR
0yJBWvfs+PqHT+Mj5Nz2SQyirU5A6WxIqN4d9jyDi9wTcIKYk3b/3PW1M0L2AG1OItCSc+DAyhgX
ob3W1u3NXgnLKp4/8ea87gLGhnLZpNZ3ac2ydhK/ZjkktwQ/XDgJRHtwUQoSQzeNMpeawETX8XIv
FGHIYBV82t/U4TBKzhJxsdVyFINhf2OziavcXEIOcdP/UksUx9KRzck6VeLro8BBJlorl+ul9jD4
Hg6y+zB/n8j0u/jUG2Bb2qQoQYCo9YmxzycGE+LiJ/0laly65Ig9vToLaq5qnQy+BAc9Xsa51Oad
LMw/4AGQUAdN4/MWpj2NiQgecxjZF241iUnn/oDO+aOOQiAsqI3QRfFeQqUYTTS0rYo/UieErEMf
tE84jnzpOBEyhAF/Z1vBKWVVoY54k/9UbXD6Q4KE0zqWSrY0KRBOI7Rm6dWTlAREWxgt0hOs3sgq
H44Gff0uxuE4RRRm2H+W6OPrxBHURRRxb5AOYNoIemI9zt4klrV4y7m84/pJ2Mrr1x65fTPThh3X
tSIDsKDrND3eH8iW9tpLqPdfm/by08dbHToIvD3uZyEE/zAJ8uXHtKaqhbbIBinbKQG88RDa8CBx
Jx1EVQoUkUVeemKlsbpYRNCke4yUA52IG8WlpGYErv2vZbaZvtRJao58XRfHTEqL6prbkrCaDJEt
7F4QU+J1Xy5INItI6B6tZkW0Wx77z8LPO18p/DcUJcJ1Ex/v48pp6UrlLxjoee/TYDIDmSSHSxI2
SFAMzLCzRYa4Cgu+a8FAEJQxLX3GJMrTH21heTLXg3dJCYHbCvArwCpy1HTW3SyeCN2hASHc8KXK
ew6TiuIAS62tMcFEPEhglJHowoVueW//dZXTtUQUsIoLSb7VFDf2GmoxbOYZyUnfjddv4zvdKicL
os9kjojZvGv37Pd8Bn5gINjDQSYZRaX/+zC2L8aL0/e1Xqh7SN9esYUOKhAfBiiMow13lo1PVEzM
Vp9kJlCHRzMVMTOecaDzzE1gp1xN2NGpIwOT5m4MXIs4GZwr5ZEUtzYXMjFq28eWpAJcGDF9Rq/w
cR7dQYiOiVianqVDO0v5Eg7iD/LCdoN/j4LmO1mXOJNw5l0x3dVjuFw4/SLUG5Z65WvIEZNk/sCg
UfjCKz+j95pjdoHbl2C+s6Klfjk8v7JnqHDQLIB26JVBhzNoWbng43Olm4FRm5gW74jw/exke0Kk
7y3G/5Wq/I47R7luoUlD8wU5I/+aRiPxYkvEanKT55uRH9Gn86teqm61pM9bNAbhwScJo4qPm+l7
RZpFWxEePbrxaUsX75dekVihLdpmZzDJHMX7DeuDwV4+Y/eDefiOqoWdly3x7zJhUti1a6G6hMxT
rtNmWmpQ8tGDyy8PkgNDSAK50Wm/t9nlOMGzQv0s8i+UIqk6V+GFEW59zVJHsBsfc1hn0Bq2Txt7
SIE2N/iNfQK1/76ku1HvkXfcG35KRRNR3GSIp6Az8+em6bTUiXcJ9a3GLFgNi4/o7Qgl4cqGEHtW
SCWYDFNqDgr21sPealw9fYkbQHDeMhufrAqKgzLNhGrCekyhsXX3/OPml2Vr+gnE+VvzGkPQgEpA
Me4V0o5T6Cm8PXKkp9KMOwrClYHRW/bEXwh6Fq8/Xy4yw7PB9QE3uXcWbO6jEs1EmTpgpn2+rDj/
xuYPGRhX7cdaDevRMgGViAFKkZoiTW2hyuxeObOzT7y4gPYDgSfTD6Jo5mYpDNZy2jTrJx6T1EYL
7HoHekWRrgHS3E2hJUPahj+NONsirnoFz1YFgXsQMfdk9PrzyI82q2cYwtbGwvBsSQtVXtaInJit
2de8meV1gDHCz+eBMvaFnRmOJtaEDs5AagghIfmSfoG61atxVDvv+ZyNdByAPHphNMG65eV4MzRh
kZGl/UOQRqsRiTGWzVlcH3TzGwx9iOaEZ1AGxvi7X5PPxFDccpga3MpdUFgbk8kFVNekG7+lLfiA
XmCQicIxFKoS9a4fEEVC3Aq70uuypaQeRshlyu0HMIG3gh8SPAkyyspgYMwsu8RSYeGWWUiGSbau
tna9GN5fGRijHWrCuobDHbfNM5nxzXOX5ofkfXuRlQtDHHS02Ob62YDGV95Nc9v9vGFK0FlXaKAQ
zkWbkTYfPt+jZJuuuWblC1QLoZaiQ+MHyjNtBZvd5wn6FQP0o7qQNznGG34H/+CmT0nvXcoLmKAY
3TxmheG959SDAs+tGctEbrUglTfyoSQyXH2vcfHDw4o9ROQ3Gwzs+XUzZjQpjFS/hDLksa65Kcfm
w2m7UFLnCraV/gdLEGGxaq8RU+FGzSwbrO3eMd8H+P5+rozIHynCpEg9/y0+2+Gc/FV/LRnP7zmE
UYgkovzVY8BjGJPvky65lrpR6YzJT6fi2WKuZTIUOlEmsItGWGTubBWnP8UbzRXwtYcL3Mghnmz5
uUzsvuj5gOKdy3ZSCyJbuyfFpCXu4gFuN4FEDstgDUHZv1DT5RCYYLpRl0yNjhhMG40V/dBjz0jI
U69CjyPonvgZbKxOyGCZVX8m0dI4nBZ0GIJPgRzmxKNAkDEvAdPB6fHpM0Kb3wCI3xgJTySbX7DR
Lpfk1sbqRL4PypQ+TerCl/7bYUEC1P786xsSL7U5ZkLGZ/WkHaFyh5BZlcK1Twf9v5mI0xA/0t2Q
e52/bkjkrHxq3jhAJY42DpuIR0yxVW0QN2XvKxgyLvANo3I8AEDFBZ2jlhccwCjYajy1sT3Tajf7
ae4fAnxohMESXxRBgcw8/eJXpXNhcD8jkW9s/KIs9jmI23LTwH0dzS6xlzJ4pfNd4ERb4VAn2vMt
f+hzk5dkyeNnXuNEshtI3gsa2G9/8TQ6joTCphlDqcJE3FFW3F4aPLQLd7R+wygMvrDuxsAHPtfI
V/FFQe4RCAMVdCPER+388QuGmfRjuRc+w/3T56Hgowbf5Nj76pkA3Uyj5pQRoTJD9SiJGET1wZXe
AKelpUK3VsLZIuvKN/DUw3f/zIA9GsMtaw5pjccTOQ2TYcnCbLCZ7z2JaeIy4do7wEOZV7/UA5hk
tk4MNE7dMsMiuvyycPN+efrbGS3hQ8EXMNAJM1P9ajoRmXJVsHFFB91tEdw0EN2v1GMf4UiwKIdt
t9Y2zL+7ZqwMYnb64jPs3ccdX4sGLX88UZyZ4aVqEA+wFMwpU7Svl1ui7lS+4vuo/qFis+76Y9vh
dbrVBqGLpmDKY3zNATsxn14gZWblprfnMI8I+mVeEg0z9MEM+/iwn4/NB34jVDhYeMVSxLWT5eSL
SOgMEzTGoiITXGjLy1/KiCNDzoftaSqs3IKOkD9mTUZHuElhXh4ifH81n2+p2fuoWdW0qdqhwnId
Sj/8OgYU2hXbzOyNxgqpHPtFxerzFVB/qF8jlPiIsj8whSqbt0jmjaegt6Nh2Rbgg7wsqltO7X17
JcaoPyK6PmByZPXTAQVOGUQzDhtrja8QJBX1ApvlLLWTTJlTtt1IIKmQ1v1w44G/JXi0w8aHQwMt
5eGOZDdZSI2nQC33ldXb20w2ycRkADtPSrewyXa60iIrGsfKaPcyA3C4NyfAMG5P3bIW6SND4bUg
Mkq2aYofhPLkWPJhU91S1TXRrNEnjE1jrpFiYpYYi97lmuO1BKIbBXrnm7r/ArC5DPs6/6oWTGKQ
ZR0hx2AOdLpcLYIlwO5hg2CwAwL8V3yTUv6NRKDlXvxmlMFAB+aKxec6BVPCr5RwoVr1KnT/gByx
L9OZY9LHtE4ev6/v1ksymMYDV4LGqIaVh8dChfcTJ0oyxg9Rx9Rs87qBECtrmZMTQFIhAytIVoXi
YO/PJNHXIUcddMDO5zjBsoOLXPXk66sa7zKvhEUW8kVw9dUlpuCwySITg2UDqyQGF/bwmz1CxSLc
5NhrMHHhDeLj/txYBCFzLvRs/pqwr/VzT+9lM7xStzWpjCNABTxxEKR5rNf41wCSRMSJVow0eldF
zUvGk4THCtoIGH60O58RNYJTYeVUTemnHpi5FPDi1UOaL9TiByv/rHe1GqKagBnBnq1fqD/M16bG
3HTTIzPs4o8EGh0+139MS2uWhKUDCxFDIqK13WZjzXA4nO8oVLijvQto5hT+kJiCn+op0eYhY/VQ
sUP1jAcjrlv9KktdaTT7FBOldFPjOwO5cd84RMOebs88ugzy6NXeSpywrPg1k5J3fiovZ4N9oWMF
ao0uM7kLnuSHjJZxvqiAzqJ+U77DtHL5h5p0VuZvw0yy9yYtGtLgLGTeTjEfzWrllOMa7SoQKclB
xHMrFh0cmAfgyjFNzy/VHSiGcCvI8A4A9zLXOT4XaXaOkvtbuw7cvfWaYxIHZUh1b2+UbiVsJKTD
E85mtKbT+GB+1JEg4bAC2Zb/Q5WWjAZ5g+oxwaVCn5iAP1iiDjOazCkU24lBs0gcLwZDA95fS+Rc
gzeaNu8pkSmSGtTwDeDr4Zr5y3ARYJpCAjZg7RbQu+xppjuUqc8LGJ/EGYMmgU6e2sHgO8KGwNHc
dnEaCCi2ARXoYNDjZfDGYF04j5dbV96bdJQlkGeORK74eQb9qWZlvoIKZ7evxykFon0vkyucESBb
JsgTwu1EtjqqhmEsvVBBownHcYlBOibG/FymqhyxseS80Ijn8PWwDij99LECveFTK0kG/IKeo+74
KOCQsJ0/4X9A8h3GJTaNIzzofBBJwrQGQb5IrxFJLSMZFs/Uxk8JehZVejxmRvRi6y94t2On+6Xv
ZBiOXyr3CJgTxAehneWkqCF+wae8wtyAsg+9y41QUtIFiOfS6EucYdfVTbV+GhPjFyjLVOI/2sdx
4SE2EN2h67zBDGtc6g42uWqQJGDFRn7cz21s1LDOOErD5IULbPvZsuXAM5+XMFqwlgyY9QerDeLE
Kwt6amEx8tLY6XV4WdvNmt30ueJm7GlHa813xUgWXjfOOLtnfRzlJ6RM0WPJq7evrxUGpcysw8yP
uzHh1NwaiFvnJnTyrf5rd7ccnAYeM4Xp2SCIAT5A+dNzlyfgRMRJOEV8rzN8FXcYCpvkrEwzsll5
UgYeHFU8y7lCfERROiBuZ4yz7DcaMb+CJ2DRax8v9vyBINmRoApD0iERr91FsPRBLdWgeq1LziyE
569zCeRLH1CozfitwUO3gPQex0fLMErbD+hiGND/pCev+yMmtGUcGVpnnjbACBUY7mxYEKRHnEZA
EQ+1INLsTaGBldE4AjomFdaNPbnr5sZiBSkH6RLCvkk+Jz6MHmPK7YdkX/xoqn4qr+Mr41qbSU2K
c9Ak6TbJc/ug0GzSL6WBrke3VWzT3bsgZOw76gLrLNSj1U5/T+r3SrO8+okVJ5D7aJ3hV+w9mLLr
gdptUn31SletfU7iGfcg1VdXeNmBMxQ7lhVqY7xWQI03EtFKO/4ot4tDa3IhrAaAhnsINwLASbKE
mY/tNNImdgWZZJ23V12hAhMATQK3iw8BXJ/+yo/pSG65b18NuHuEi73KWabvTF2ceIYxTm/WOTqw
oy4YspAQtfn4WB4U8FY+fjUVWdpMspitchf7mL6gZuAXiAvxAFBMgXCW/Npac0yPp6bTbxAc8fwg
7POBIDTAKQVPmRmVMoHKULrPytdzq1/G5UY45mtuv7DLOZYl4pD2P1/db7Ivl7HpdPuI4YgRGl0o
wyu5uNr03CKVf8M6fH73QI1EryF2h3DERBKHtUMtM9V1H4vkONJci8/wWJFOOzx9PVnR+VcIUOHO
Lrh35eOQrVpjeaEafO7jBP+xu4JVFnZV2sRk2eHuIUuzbC0Jdydoq8hQh3FpnkaYWbl4KMHyQ1tq
M2mmTToIrGD9WWozs4fvw9jZtypcJeB+rE3WLLzJCiZGDa9wluMUys0zpYpI5R8TixgqPapVCiTj
6TFnsZKrTuAZ/MUp92ILX5vVHVx+VeY9B8aoULUcWH4Ldp+NxuqYn+oJfHlg1YzBnJvNczSE9w/6
lhs2I+nDNSDBiKGJiI5gqI/sgwsBKbuCnNf5xSHjZiwaTr0Hxg8F7NsFGE52lclEY6YF7rF8TIsr
Cap4GLn/80pYK4e+dDRgdggC8GRn/2XxEmMrvRzj3PC49tviQOYgDDhFdskFp+8AiEdyQTGMu7NX
ymg6GsRJyCjz5ai7PaVTr/qGMTcCXLcrfTJQeqR0PhlSzZhtmS2xC1q9qQ9bzIaS8A3Zn+5fa285
DuAZdAbbsfZU8pzsKFn6OfPBrj1/kCTj6RyqJKp16SQtwKqXbTnrpO1F8hv6ZZhZneG8E4+hHrFL
T6dLhJZAE95cJqGE6Itb/CxgHj42duwnTycdDniZE6lK672mFKLVrwOQInMx/PI0a+wx6HXq8MUU
D+uacXIi56fCNgCiCKSDxzqHsduEETHqmDtDswKlP8NIqIwlLozUD1poXyavnfQOhaoPaci4OSuj
sO+3BK0dJU6D/6x02qX0avKh5gEw9rufs9/Kq8p5eLQ6SoBpqTjDcx4tUogh8jhO9pW+tghRVFcM
+qlWeKFH4U1jM6y0XsKUu8QX8gInF1oh4iA4bj1Cm7WQ66MlBt9EQBkMZyT/+N4k4xbDl3u/xQ++
Q9AlXAaBzM0tVzMxH7itWjPg54AWFPeCI4cKWUY/Urx9rbWj/JP/aA8n+wGVz3yYN3D3A/u6Bwur
/xhaaT6DqJBUDFw/JL+DvFQGj3WzjYaJfOCWg5TdXp8CX7Z+WQl8hDh4VtNkA3YMLRpR0+toQwAI
xfqkxfV5rfz1LCa0dAAYIMbUvh9z/IeBBwAimDYMrJOO/Gsgh3f/OcEUhuKAukFdmL9t62YfdMxM
G8eqwMEG3LSwIkWv4uPONB3E/6WHblwcoZLdw7ZcvOCfHaQwMs+M5PRFfnGNBU2mjjNNZuKWiXmR
MIIR6jdhyLr3ej/wAkNHeEBCSkEggE9DikT5A2OMKhj92j6dUIQKwxHugEWwCtgjf1jLclHp/Joz
PnjiS8vw7nKGNTDur/Qw1be+ZlTwvW8We37TxyoBK0lgCty0uFv2tIvYigjhqbg6MPto8T0cx7gg
kqwBXaBycR1bYRL9n7AP4giKFuaUwCy2iZ5BhuUOO9W8ndf8+wm/79ru9owZK4fHKLQiZjlpmf33
YcKbTPxqzGg9R2fPeA7qM7TT9Kx/sQy9ZqrSQJN6M77Hsx2GUY9vHpQ+9mf2+b7RKSGpvFKXsJ/f
ovHC3wnNaypCfBb4kZBuCtLJ10pY3MOJcjJQE9op9TDzAVwlketZOtXuzT6DFoR1VmxMSDrzysPu
MR2gjY83oDXjzQjMZbG4jsLVYoFdDFoRWHFgvDwLAeDdpYmIZH5PRz3BFT6dkVPQvbG3d1Tvz/E9
957uDMchhlPQeRy33STgHc4PXiSIaBkwurOfzr5i8l456biBI2Fc5bFDlrPLJU/vxHDP6yh+JrM3
fsTO85vP3AwgeMPnGBHRjsgfEXxE2oT+8ME4T3UqSvROXhUPv5KDERaO024YTzROLTDI89trYDYs
Pms+oenm/nQ2HN4wSRYvcmeOpaPrfukUNEIWWY7kiZEJzXSZ90JOWbGKujFZza8ebydpotGFkZzW
0oLh73/tW+z7zlhN8PY5QMnDYyp9YHFADcHAbMRXx7cUNo+xebT+J4E0FXC7YGl98eF7KW5yfPbT
h+kmL0ghmwrHnzmz7PyKc9LSRmsylS/OKN+WKdabTk9l2jnlc55ie8EmXDbwvth1T05FGPApMKJb
ZIvR24kQf6LBp+6z5+/LNnkCuE575c/ocC6WboVySLEoUVBx8e61qVqvMwvrJVYYWXHICeHWVETg
bFIVgUIAiwd6Kw73j0kK34oovyiHJYIT4Do7qAdAqnyigEevsZIHZSyBLovVB658jyUUbGdmOG/T
l1ZMJYMOsPgJr9PhZzDnVx7e8PW+oFe8SOC6pDlwUweslNyT6P1YQOaEYDnLxNwil9cW0G6OZx1n
LSGA3ruBVgrhSIWklb18NZq8nmtVJgEJfwgK7jQh6s9va+aJQ1Bf/NHlJKWLnrUhqsC+u/Uwb7C+
g6sVm+LM0dEB9tOCJciS078B4krmoQ/rHFN2Rv5b8xmIvsM+WfUahinMcciqXebPbU0rnD+uOg9G
Cal9uQDN9g8JUhvkEsJVqhm2sx6YOcdOVh2M8vB6LARxk/wdeEkWihjytRAFUwLnSEV3nIJH6qSx
OVo8DI4aKSz+VmMr8uly6MIwhrysaQgsb8859q0X82jGs4Ho/cj2+0a6C39CWhm+tPM5KZmCirqZ
qwkvLIzHOER3yXe88rzg8vrmMFxjkQh3OABTAPGnVvgi0QOrZS8I+JBQvO8v573IBOBBicOMxp/v
eFl7KO8W4rCFcCwYolTvCNo9qvU9LUKEeyH4Ky39vvcV3HBWyTc8V/BDB0bvq103VL28Z8wAH8AQ
JLSm2Dnz3fCU5Pj+hNxz6HPDJ9kQw1whPY42bvZGRLZ54WWeTpQrBQKOFY+NchwV/gP4lsuQCcxj
RxuxoTGonEDz8w1yXS5s8njA2UjGmKcruOIocIQ4+xNWC/5d/DDm16nAYYQ/Y+Q+dsw+/viikN0n
jwNetbcHxeQ1u0oIMVuAwXwm+z3eBfwjP0h8EPzNvHLZoIb9Bp5Y8P0Kx+ZNT+E9s3V53RRv4NS8
v/EqxQ7iA3jFlSRcLEuLL8akiD+ZwUURX1YvOCp5N+ImrByt9Tpwlu9S95P4nrhsJMhw4ls+/mcf
z3CaA0IpnFY4JpWC8JC7tqd/fbAidlZZeMWHCBoacCwlMJfvsExvNT+SvOPAwsbQC/bihY2uqCQX
W5vrVDxhbYKTmXD14ucwjrwuSiFs8EyfixnaPlgpCgY+tNn+igkBi2MG78djv8TedtXvr4+JelhF
RIXPKf3XOWakUFjCvZU41z26ouDP6mbRQnyL/AAqsNxmMy1suGT+uEmm0SzguhbLqRIkLGqBevw9
OhXjFc8XkWrejdcojyGBoqxseCL9fy5oNO3WN+Jn18PvbTgP3dhcokSRIGNi+JN4W+I0DJ5G9r2H
QAu5h78LBgPfP6gP4LHsnGKRO9egve7ZkZSxnRjvUNrQSZbu32XC7zEPoHZZBfmBB+TzhyE1EbYc
sGH4c3yTPZuftaCPt2qBsp01JPD9CFI+khWEwi2LGK//pNvzRv62sMRAwI/Xy9c18b8ZWF1NRCnp
TshvA75LsAKzFt9xBdPg/88NWMgxeyj6VohtIVWRubnC7A5Gyp8odNjlOtZ14+dVgSDi99thhfnp
C0IEwLpmT57XJ+funxBUcoQl4jBm+Yp1zydP6bW/6JMAmVg83vIiFlTC8I/ZevhZabx2vgi+v3j2
LCfuVGQ5wwy/lCPoCI6zPFA0EMBk/hvh240JynTuArw66Gh4OYkjv5CEUD03YnpxGRfnH4M5ydg2
JzSfHVTyaDEokGIOgO+WVDjUrU6V4f27IWG4ideXAtJZj8KkcGOcMsyvMg8jOTSrsDnn/L7a+E8M
oGguH+Y+H1UTJdkDm/BZfMArzjnMf18/15JP6zUiGpi8NEdmQ42+4wnzH6U6tr6BwVUgUyAR0gnO
nS3kZm+DIg+IJd/L4vXNxHU8jNaAbkMxN5MV+OzrwqyKYA9nz6HBUxfVYIzCmtXLWsWThpoXcX44
vl7Yvf0RPqOQxaeehIDbqbFxBNdlr245lwOuJPAkdy0HxyOwvrd0sfcfl0QKrppdgtEo1SDspTGh
pWLUxAHAR8hkyAx/Snw7261MoO0OKJV6zve5c4BoFWjyWKGjvqDo1NbaL1kJByisYYz76eYe7XyO
Z4ZSIj+KuvdXUFwvzn33aRf1Y/GBfv2L28V/wIWojO/3fAHNlE3o/CPpzJZVRZYw/EREKKjIbRWz
iArON4QuFWcRVMSn7692R58Te3evQQWqKjP/KanbTASSyn3bY4wBVYsMpZYPCzkOm7unWC7P0RyD
T8ogEk4fWxqMndmxU+zpzDyAs4sWcV14BeWttZpMTlsmKqQ+YkzMO62FlNKhHa800dkZD+fv7ZKv
5TyjOA6/cbluEA8zy3jcYKkNqsp+EV/38BQUYET3ZNPzH8Qe3kZolCcDLEOU8Y6GR4sTmiQ6wRaf
kSVI8dwMUpLO7YNZi113/Mhsai1OH/pz/0yHbgQoBs2jYgPdoVijGEXSCxULX578FKg/0Mjak12P
vnRunZB9Pf3DwY8dT9/V4x+wnwr70t6krb7QD3ZDuJs08cV6zGONH8JXohiVBfoNANuoPWEUJsea
NWAmkmnBncxOUj/vPrhucs5sHZt6RiVETzGG2yINpydlcL2yEGMB9AwXQeBaYkitSiHAzs3WWcej
94xH8cO3BwHGImyNT2d6Tc8ufh6+2nFvnOgFcQNPmnBMiDU5DbrUJdQw4krP3WavpCVj01c4HPwS
9i9WTgv7poKfpcIkFbotRpX3pgRQ6XmchRyzDPZCbCgYp8HGxHdwlFz2AdVETlYXJGguPl2hIhLB
2OS73Wqfw9qsYHK21EDwGYLoXhwIvc99RWgnn+LGpguaCeVyuFR+BobyuFERST3T/n4HuH9Pn0Il
Kw+zYQEv4e8EUSk0eBCP4ORrmJBcE3yLYHsi3IIjb0NyBbJvKjEatogH7bc8g+gVklRGSxoRjh4U
b7oYuR1O4BxDjylngqonpmrLO4nac7G8Wj7hQWB9M8XXBmYY+AVTmWHbnFAhsueWeCuuPtvkO+A2
qIKpvX2yUzDk4cHm/1zxOBiRrXHDeSFIODC4XNRg9vRxcbg9EDOZT/vnPCJhxnKZ0Hf2b0TtgQK7
MEaywRlgHGHgTGtAi5v724u/RbfK6d72p9lTBHvmAGqJcmbVHDBs+aiwKMfSfDINqF68RG1BPIQA
RNhGEw0GfgZL98noAjkyo2UuWiMgOQDNG4v8yKfElXqai6ky06R8fqLFz52Eeowj1eXZ6NRsEf1p
0nWiFYfAQd6dzSu+IQVaaqBDGMdUxJXAH4AGeXN6mEdA5G1cklqO1DYv79lxbp2kdXHbb+7E1+lf
V718zo5fHl3NWEPEwvJ19+27F2Q1tsfl5LlkAgeCrfjX0F95uqhlTpjO4HQByiiyzXIIzZpqV1XR
d5fj7yH36HaLtvQSimYY9yDaI/X5la1c5g1J7jrF7pWO37AxYeS6oToE4Es0h9nbB2VUjhmaPaXC
xrsUG27SAlsw8o4L/IlQb3LsFrg21W23pSkpMGUW1ixPOVVS1PwnNDEyBywuz8IdQ90h1TzgYwzD
7ugWxFUvOPyGSnY1wTj0FcH+Xy6JAiLCiKN/StAHReywfQtKnx8b7hVEXCFrVUMSFPnR29VH5kyD
t9AN1UbKY2AEnTHdD7SxhF0FC0NekPJbwM1BFAslLoFF+0gq5V11dpPPYs8zGhwzBD4MmzSEn8bw
E6JWg4xgd97S+c43Jw7aOaf9GPN87+02mts6RYhVDSiY9i++klR3D58ESkMUhITWGXc+EyMboP56
v0aaZbMvGkmLg6flVqtTe//GaSaPuta4/XQ/9EfV2GzN2rh61TC0ZzkdmIkm9mhnH2qyf4cu1RY1
a1+VrQMkGGJKHvy2vxkhP7qK9QWTrx8CGi3FMPiX4iWbvJnstDy771U/uR5hufVvXSRfgQXGRZLe
02+LCFhRn94xQdJhqKRR9Jr3MZiww3/yLlOkhNASh8EJHW7KGKixG/bJu3QMJQ5GazKHiwwJBBYq
IYTkHu/RDLFcMPDPn2urG/b09K5vfvDYJPuKKsGn7QVZTQHDuppcLjznJtvp9LsAlJsxRt9/4KWj
nobMhYMT+vrvgqaEiWJQUbzf9td0utUdnHxIDOuFa8xfDBYqxK4iVZ3LVJN7U1ZuvSxxt1yZVxHX
9uI3IZenLUUov8OQNhb7Q7shp++WNiIf0QUxLWE2pS/S8LnaoC9qqDmItcGStO9ufvMNDEBsMKnv
SiR9PeG0lhfyIiatZYUhFF5EVzf6UudjCI/ESYUGVS+8j0zsOXk7LAFqY84qJiV2J9VmLyc7zXpq
sFDbbd5e16tJZKpCrAtdnb3ZnCEaJi+rcroEeF98c/Il5wxKUhPXZ8hQu1ZwxFqyEol374bNCgqM
dgv672G5AJ2i9ekClsg9p++4cE54v0HXC2oid624sm8PSOjBVXx0Uktc5gc8+qzr3MGJtx7qwDG+
vlFacXq5n+027C/IejAdzDB3obFNsnGBsJA622N7uqCJ9jyBj+czLflAHhZGJPopNdw1LudME6Je
qvynyFtn4XZs9v5A7V1uRzbzUTcaYczhsKkx9vU/Wzq2AKcmIv6AsJh32uMchcC/O/7F3I69C585
SxHF166q0JRvlqeE2mOgOaw4TWl+nROcNphqIAL+PmEcQXlPGUr7KbcjPgrnI3GJwtX5xNQKGr61
s5PT7MEK8JhiUAebc084rkHJ6DEBhSMiOQVuM8a62ZhsCI08Bk6Cmfr4iNUNdHnECJG1cCJdFP+k
RIzjDRWgn177TiNSZyX+PNAE5eHxtP8q2zEkzhs4rE0aU7yFnzqOh1Zj/AsXqh6+o3UT8W0aK/tT
fJROL5micLVzOLnJLr1OKD2WqUyv0j8O/QHp4cxH7RmOrcoABSeVqDhEq8uU+eHgKDqLVL0W4ktR
wClb++8FHiO4qVBBybtHbbpOD1oAqbLv6DgaScBVJrKfGWFehowJx2bstD9/RXh1CJIyDg6dTFQ6
3fXf7zwc98gXlwSldCdATiBsbemA2Q1mYO4XmdaLg34TJKMzobUP9cLP25IohEpMDigCBRlK0Qqg
d3HlSVHnZVzhPjHYGDMWG/NUYr3vmGCQpkfQHqNK5R2Lk0R71cf9bgyLipMDqtKOq8OUuIJhZFsP
17+54Rn38hXr9ecU8RtvNrALEVsHkn4Kri5Gs/LwmvUWh5ZgEMxmadkTGTKL5Nu4uvad7o8xc2tw
Ogou38OeMQH+HeKZ9Hfz1919gfrJh7J9/eDaVDomtmmOMoOdXPcp6lvwtsKeNyH6VyLv7ztVs+AO
2B8O7n+0RuOJzkju4zCTnrAFwYEzxIExaejj+EvMBLYgKima0cmUYlLJ7RQd2lLqqTXENEo6xQuH
LAmTgCK4K4buaETzPp0ORzUMFQrk8xgF7Q9TySJgwDEEO8OP4+Vel+VZoFs0bknOyqDcVrQsDiVZ
YrdBIF8Lj8Qe24GLXASO1KDZ3mfaGHZx2i2Sds5lec3SAqFisaYr4Kq/txNAlHllMm+//xX2DSEu
HMeXa1Ze/rB3P3XkkXPYQyp8HIK3btU8X7P1F3+0tTm/ydP9ik6VC350yI/6ytewi1J4BqcRppUK
XMoWjLIw93k7t1WRaN4PmzGLiNF5rbJ7jnd8yrThe7no4WmmfMPOkv71wmD3vBh37PcSfmMWkNdk
eK8DlC8PcjU91tWP05wMGodYec9/SRnTpKzCsx/yaqQ83KW1gsVrikp1bErg2R7hBYpAhIP16fs8
lKxMZxY/g2j1oTgAEPnL4S1eojNjgbODArt5CSbw9/1RqGXrHiDjTrhoCLohXWHnAZwpFR6wox1s
S6DwQt5UBv3sSdcLxzePYabRA7+YGHUwh+u5P6SbtFfLrxMqpwckEuhLS4gnsm0OVmHd93u6rcF9
heG+YYj8uzt8E/4IfuuNQdVxcuv/fe7OFczq59TQb49OF4YORGL+eSHnl1VNZ75Y3ZUnE3vJM6TD
oYrM95APVQHIeI+paC4xT0AKqEZaUxzW/y8NvwwWoP3A2kHASYVtprclw2tTobq4FJooJ1urq2WP
ictJ/8bM1fDqIq0swguKQCuWGmAK6KrIlzBuQHfEW3cg1LJZWeMJyUARMAidMybY4vBgl4WqD+Zz
97Ikc6C2pykIns+W5cEuUBlfzpe5wWWMouMo7+xVuJo4SAZC/0x1CoGXPIrPymTzn865MbVI+ZEY
iVj8nhLPG+uwlr04nKmOXuUIaFNrfGjxOHLasWHkchbDCx4RjzqJaGrlXx6NozgKeZrQzHtxTCve
++M6LjJ3n+32rYACsi3jvjtr+Wol5GCxCNn5J9ysVFKAQwosQtzRBAwHX+j54T3gU+UuUZcC8EvH
9wLOCsabx+F5D6gDEOgdw8+wlI+pES6g1TKSJERZGXVlIxhg5VzG6GxUnkOTpmHj1/7kLA+Ho4gB
yXkzs83/OQ9MKCoGQ6snztzkuRwONQEd/HLHPFMu1ayIi+tzKMVVxAOS4TVNAvTwEZheiCUZ2zQu
iPF7cEg5KTg6CDYX3LjrHiCpH4O7nof8iNolkefybnVfT3YAfFikoWGVaFRA95AsUmvhLXabOkdC
jaJquWgpOF6bq+7/F0Y5H+XoX33EKZPTiK0k6BXO4eIe5GOkPUX43Ww4hoq43Hyfu1/lmq3g2hp9
786LrU+/zNokKlZ/hoJnWsrIjEDET3sI564vNtek457G/BAJcewyXdA19d8qv0Pt/d5m5QQ9f35z
TewFBh1tmC3LzdEH2SlRAmL6/tr07mwV7WEcaswBESO3SbT2rLt3G3ePQ5PzQnO6YcESxlUKB0j3
mOS7KqimZSVC6PCY+7hMDCmuS3Gadr0Fi7C2SxDhc/J1bh+vk3uPHkogYfCx0LddiBLb9ZjWtOIY
NlvBJZiz6E83igFepveLqUgo2k9jdO44sXPDLZY6jgIahKqgwIKlhnGi554Fy6NvcokqX3tttcfg
8g6rd/gyVlmX9GNx5tyx+ZOkagQwRWxRa/QU44rn1RzcTVwjaDiwQmMzpkVA4PBAFGZx+Smne2/2
XP0j4ueKiMEVjJtFf/TtF7Lpb7MTjdfU1CclOCE+a1hZfV8lEXJpdUqMLM0eIwzzMxFa87hQsTfm
1V6QWMnw6/emU41ytFwvTDheCLNer+jR3/KbCgPVJ67/jvZ5y9VVOMY17Xqvegb+9sMb5uj0mWBi
wlI3LpyyG94FOnF7RyHVfoKXgeOcggYy9gRN0mtp6CuNCr8DQM81iuGqGPII0iE+Sfqs3cP9gp/O
vN5OLsJeFhze1kBFuG7NPqN9fCU5M/BkocZik4FMNiXgG/8jNI/SOg431s8h8YAYcLqMPpSr19bQ
xmRtkn7YGrbcZxWwXWfiN9dAQrjhF/KeK1zlmvSCefDT7bFxojp7IZyULfFgVRT7m5syffxeHK3v
UPnR8fQ5iUWF4Y0VAWQ3PPrU+DIMjyG11ffhameHLGOcLe6SMyvlc05+JK1rzBVoKPEjaBGuh/Uv
w7zGPX4H74phgIBnRO6DETZzi+kUYvxRfUkZzl0ZqABYo69ofHSGPRuZydlKUCO1vO5n0L5PMapf
6QnsJWI5zInxDTNZQv4/YgGmUwm6PfSl+AbxGhwbnttmWoTxhCQy17aUQdHlFeHhQLgNILO4Wz7U
Z7AguIb+0RAIiDH5YVoKjxfXEWlxtT5Qa9AHM3ugwYxgKcKELafnEpkdNkFU6JQnRAIISqNJxxQ7
SjEbqJYH6H3glZDboE58bivTLTmBtOmECnqWMoW9ueQaHGi2ByajmLZNlUbshbO++Eyw7BeJ6rI6
218yPtO5Nuhzef3jw+0GN5PHoQXTPvhhecsGB5vCBjphBO86kvEtYj32evbiz2xWj9hiJ9b04D/G
pSpRQn+SV3Ki2aF0In16FYuIPFHavTM0XwF/jHDC8BHhIQWjR7yXwOgbwK4EgqIaaPWnTEtV0zw0
R0MmI1OGRZBIUKJiDDQOMGmEpA/W4jEEx25y5Kw6pMjgKrroyRHKZSCq4LbfgzSAgoHPnN0g+TM7
4QJqut0TJ8Zil6OHtet69kxnGoa9wscRDSOPmxa1miGaGJwtPHBrNJc+tn6a20vvIiJFseTM7rZG
OUI0cXw4Rn9ABCOmjdg/7lgrl+XshxgJHbYVfKArwpy7ySb3+gRW/oApZf+4tnCYl20de1ractxf
mSYLQ3kb/2LwIXP1/a1aEPVwHbTCbzK2TOR+1CLRt+OW7GBsXcfe4Jl7rD3ESuxXBE0iFYAb2IjV
k4eLEcgy/sw/xGNIMh6FZqp5EczDIIMVp9zAxjm6vhrD3d/RNXhVrBceL+8P/tJxUSz27Lflwx5j
5EN3SBch/z7GGu0L3IjtaX8ClMsAFGlyNSCxLo6k9v6s3B/cBHzfSDCEFJ3H9G2j6UBGXtpRhIkh
0gmMVJjRnDqsCxFSZ5xWam5jsd9rzuY5PRUj1JEoefITsNYWEPjIRKk/WzYHpG5vj2ErJyTBYUdv
W/1ETX1GW4wYBIdaV7UxBJGLgrC3s79stT39F5ii5gELaK5HGqIGG2BW7+JdD/kAmz6qS/v9GCB8
+qNHeDONLj9MHhVroxXo2C6iuEqJdYcgP8dN4K74agXzaMBb2nsKaTEdLpXJOKr+DhNx9xdl82zO
ep0BoH8FVnzn/hRiAKhiu88oqEx/A7ctXHvwHcEjOXqHTkaPN4AXxP6ENcyyEw6HoxvzbgVzdh/2
Y0b4lbI6H+peV8yN6e62hfA8pugZpOnkvdj1EhS2UbZHDbIGaek3DNj/TSPgFKDkesphh5g5ooA7
XC3DxvLstGZyCaqlAeiexZiyE3/O7tm/VqTDhAWVARJSkZ+jzqihp5PX3jLnQKIeq5L2e+Odij7U
JlRRl/BKIFSXk9BpdZxHP+hCaUFSWy2RbJUUeflNvm2coFdtlG/Yd+J2hiLuEpo4V5WuzijIAqo+
toKmWhZvJj+O/scXymZtVtGps3tXjtHlyqBl3X97BYIs/xs+dUrcFjZoHcCI9qTfoSwnyG/0/ep2
wQGsQ6Qs2qsHFpzWeNFq22Yb4sa+rtNLFvYe+CKgPgbezNFvkAe5hyOvpp+kWXW2mYF3kV1YLMZX
Zzlme8lNh4vUf0lrQ7+EUffqyLiLnhfLhKznI+GS+7sRsCiAdxjTTBXh8T2hMZaBV/gLfCqxDcKy
SbbUSJiVOECjjYa+p4lfJlsfp/dmlgoICl5RDEhhJ8xeApx2zs7+zje0XCaW+2ILoZKh0vSNiaK/
78b67i95wIxTtJf9/s+UC0Z/C8zS/ljtC4QyqKswBpjt86ElX6E+Gmcu5g7YpMhkn0eK3xP9GqzK
Xsx+xhA9cZTk5Z4f/9wkGWG0q99xASXX79AKUGBL8+F4DPAY9wM+AtAe74HlNOPC/4QlJuFOqwrP
tOBN0CVTqEx+r9mtHeUZVmVWhtzpmuCSk9cTrVjcF9z40oIGaXP09OymF5UaD+1n+kXhrh8vYg/5
b/yBuKmndc108nn2ukwEYS7SPttmHZVQ1OA9sJ9rMzBHdGUbWHiNPzkAX06yhOlJylyELZvZF3PP
m9eh1ZLv90r/+OZ12XuvvnfmY4NMUczAe6ZVHXxvQwTxyPlcEDFwHyAm8+NOsVRe97vuevQMGbYp
jVt2lwUGOcj2jtcJnprILcxiYbYYDgOZRo7zkkzYcAfzKAK/f+C/L1ubGnAjakZqB4SatRpwXD1f
huPu2mPIDqTYabuas+/j7bI7lqmiLdWTC3ISaGyiGk47MBfznOmiNeBt5OskswFPXkAUt679ROV3
chEpsaw79pFRSUtyre6IODDYQXbwUUQKEbAjvfpuYzrPPASKf+G6S0ji2eF1DDLa1I7V7+D9OXrx
zLW/ifHjfO2uQZgTReUEbvsAXYgR0BhhBEzGoNFULPTiwFj5OMfdAm9Z+Mqok4eYEFci/noAzJ+h
dN4ReNMKb6WZOkfwx4wWSFkELs+rmeFIZoX+rnjZu8Ok5dNM9jlPwll5txk4Zsv8HZL7zsz2I1Yc
H1nOnIU1dfLDFuVN7upGQMVzgCeoathJjlGb3WlvG+zzqTNF+In5Nf2HQMs6vMaZaNj+fzmW1H8A
Rj1UPEQwehicNLnbQSRUyjNkvK/CGGvn02f8ZN87Pvof5vmwiT20b2A2FsfIkxaN6hHPBCuDqQhC
H2B7SICXrGfwQ1SyyE1CCPmL8AAiIwHY2WQKcT4hZOW+wjDZfnDAWSsXwKeAJHv62kMqQDxxxzmB
hKY9/P4xvlrO0fTChf0S3pVjAH+Zo6eufIaNuYcYmTAVbMjZvzFgEM1RLu+6/WXAgt+L1RfEGP8E
pSkIIgOd0v+1bcDV9ehO2UpzBdasIN/p0L4umTkw84P1BZMD2sKh3F/3h0KeQ5kNZuCHDBbS0+gA
qd8eck6uHy93rTFU/4L9NN9J52qIaZmiT82l0Q1Ol90I3Q1nwwsjIKyrUJW+786/ub1aTNk4GXed
8wV8oQvdGgxPnvvug3IbW7XwJr3e29dxkc1wyXCQq3NYaPu/SL/KxXNpSqsT9srwdwrG2qbpEvP7
DF5aZLTCcXCaKFYOmeQ7gqa92hpSc/ah/iPZeAqRtHbjRb3s8HBzDDBbjLrot5kF8DwWggVA4Pyz
HkSNe8HNTJA6cFND8vfZYRlwzyCcw1RDTzEG84OeLtZ6OBx1B0FixEm0QEzZV7xKJjueE97DtN4e
nm1nktvpbzbDTXgnjye5eppbVk532VjD+OXkiL7xvmnEs7/5nf3i5nVbXtXEn19Q1QOjOyir5Csz
bX3Ed+HSSZilnNsTrRUeEWt97GebpCfndWKW+CLutWCzyS3x1BDfsLeUr/2bzHvYD61ZF5zszS1H
TDv54adjkkKGUTX3HDgyk9jZsAvsf0n1p4puuFhHe+9CgezJgNKbw3L0b0uaTpvPsPVw4S6gDSi7
HrsidEgsrflVGLB8lYMpKwYsRIEcD89YJIpdFbZVwAA+wgpbZ+NVPECohLaryGWK84jAUkH1/4g7
L4HhCZccTP4hgf5hnSmBkNr0vAAfsf+pYN+BG1z2SHTPtiJrwr5AIfMdjNDvATdjdtwliWpcnQeN
0jrwZF0fPtgrbFE017fZtF+ruICA7X9NgkcR5jmvpegQ3+1T8k7bg3c9VBGmxqAFRBsGJCFQCqag
+Ij4zi7/MXeCKVgRhyOfVTGQzoqLOGBxlWe3GYLbY+NVfMI1tp92xqCEGk2ByBRV/gnlFSViYh1d
WFDMZs+xRp/VM9IgocoM4PRx2cF44JB8qQHyEA7/zwfJhshwR6/rUoiy97Pb6NiXeDUcV34G5R4s
TZoatHl8MaZuph7uNXKZJ5a4JDlEeTwN7n1k/IRh0Q5TaeM78MZ/r4wgsuBxrOpEfVdULDCaV686
x6DGN+U4zcMCX0XzkyALbh5GUo52453wVvRO/OREQt1q5+Tr4XgxMlVMEuFD08xOeqoVw+ZutD+B
j/Vvqi5AB3xCzrQHwVPPHDC8TslhRtBvrFy0rqBvBMJwnWDVZis15OWxWmNnfh4d2TVgBJdgZZ3Y
ROx531g5w4AnItq4RbfdztTb5Yw7dr3+6ib/PbyMhBm/Qh/4sPuxEZGnqV6Yr532TJjivZYkXEEl
LwDgvkBbt9Xzl3MkcEqehKLd9THFJoKpbdOH1PhGk0RnP5ybslHAy1S0oGorZATx/phTIh/U2D2L
Bq4fD/52Ck90uP7mnqHO0zZxk+4W5zCekfG6IZFWLH+KQPQDi86/NoALBB9EPFQIfftP1T3V0rsD
lXd5m7na09RTkn1DdYHGjMIdwAWKo/XrKlqGfF7dXhkAjKNfvLT5wnneuNnoQcEMSk5K6TU9dRNs
a2u7IOEyx8wUXZG1/klqVhxCMdOBf54Qbm6bmaObwVeu2PQjNREs72zgQVufMDyMPxtMnmnwItrf
jBclIBLtzUa7OZ3GRcB0FzGb6o98UNrRsQ6GFLDySMZwFelGsJsyJ0PD5Ga94P2n0tzx6ETSoHIY
yp57MygHCtjojL/fQGiyfYijzvI1R/jn0TIoWKCDoGD8u3udU5LhPcKZHyEla09e58WpwaJVWgx7
cIxSnJwWz4PmmPGRNI+WMe6MMR5G6EpI8B/lPf9jTCFX/eVpd736YBZ4yblgr1s1lAZ5O/obcPy0
j4cF8+zVi/Z7xVT2J8IylGgc8Mv101nY7jHTn5j2ISUdo3uzV9fNinnLsH4SZfPP5f8JIMpnxSPQ
E5KRC31T48K3yxYRiTaM+mCUHCDnUIuocYkNO8KadCBS4JXEBL/31yvtlaBvgHNJ6c+JdR9Z31HV
83+FXHxK92LIRURej7jzKgfEFbGCBeq/uj0nWaDrEVR5pRh7YvortSGuxXRrDNKLS7gg5B7dg6z/
NLBtpicpCqyoUpmbXvQrE+0LTVdG6lesFAvyG/cHOBetXzL8OavTlLfr/kGB0WnTStXhEJSDcqD/
/ZKQmVTL8vCVuW4/IphPyMntRT/lDcDLZFDRY6IaR/fDgh9seFoWPXpkXJ0obDLn7RqNfzzo4IJY
SjDfqOyu9yPogNF8cdAxNiEFthYMOqz73Lpiab41FYMQP7uaouO47Tq3i4unQ7OlsTq57Se72Bfx
xYwHo9ZUw6Dst9931xhW7kJypKtaVV8uzDVSMpovMbYoe8TiQQEcX50Nn9/0Fh+wwvmvdNveWVV8
zoqnJjw6pZSrYxJFbWqHF9MWXgCHBh8D+U0OEQeeR3/TxoKEXkZXfiUf+CYo3casYyeU4WTQtYHt
FQJYD3BQzm1ZAoGvxMKc0czxq2O6udXCkbWfAhjywPXiyxZj2KS1bnnvcJ5JcIlyHV59iJ2/ZKyP
nn8qVMIRkFXnBW2uKQZ+6YUxhA3Ba/qTkwHH8gvP1Bpn2H9c5dz3K0BnHn4gLtSh4+vQChhF0Gw9
ZAglheXauIsb5m+jKJQTnSOBaHhZDSjU+SkX9s4G0GC+YrDAUoxugSPDEqi/9DYOD+Ialg9XtJ+u
fhBQw8l7cLKVKihevA6r2D+Y0x3y8uHJ3VW+OZ744Wt4BJc87PSElQYs8whigE/pz7/jLvM5ilm7
JMZ1bnADqMMGE7gCaLjFbfzavDYgk5/KfQbQ4aatKN/x7w1zIdu82dx9/FoZRYpozHSMpEMexlVc
xDi+mJAL7MXfn3Hz/9qeCLZINJLkb8xm4YDjw7yOviGbkQRovc4OzQA/xoE9efg2Q2zwN6ACY+g5
G+kfdMuutpM03oCGjfPog+rb9sBmR86GTvHwXhzCWDpjVoOdFFt1YvJ1Rzhp+t7i2+hNnlgOwJ0F
Onc0oLDQYeICoa0iNcyU6jUAEgtV1MPJgNV7FLP4GkdRM+Lad0ZO7Et6UpRNdiqBC+E5wGiAtTEz
n0LGcXSLImcD8sI957I23A5EaOEEL0S50wHNrjK92ewrKFX1x+rUS7IObZoD1YPT5he+LbZQgkoc
UgdW+AWCfcPHY9gAIASJKoGQw4mfjKm5FwiKP/xIJz2SaULp3p/CcLUM7A072Op6ENqmvMhIDXDP
sYwpcsGrBz6basxNenF6UKSG0PBgunwFnPA9XHA7eWsiMSV85noUkyQmSCBin+xKkwxsxfpLAgD9
yA3E+RbQi1B/24sewdSCgRd72mXqhCXt/JkV4ZymEjbKL+2mGpulg/1MIXgSDz60NLhZAEmLCH0v
mwLk2SnrstlBcvIcuAnd6UCGz2Dm+8z+CjtjAOW0U666XBFNBMmkEHLHraSZncw7oB8BFHJWKrs8
U6OQpJ6Zb9mP7Q16K7yAlh829iac+b8e9/QFaivorcknujpQ/4++iM6LyPk4kllEmJ7lpF7A93mD
nRQeuwh3qD+6C+7sLL2NcIqmTz6ByghHel5vlzS7t7voi5jFVItw5rCoLY9EKckjfJXlHZ61BQZN
Qg+A1CZ0VuPvhJ/dpNK/et0AkrvTt4ArTk/vbTIeRXovBxU5WAxyGXf/Le9TKL49mtVeqdjdXcJ/
Uu4mYDMwrz641e5ndrJf3oHFDgWOCQWRydVRUXdA5oTCZXuAuPxN548bhJ5/vX/Wom2tBpUJV+Q8
Q9DflYf7DLq7QyuI+ThZlrfB+AydxuV4i7GCbKGlw2oRfL9LTT41794Gix4AqOTZdUBhzZZvHcyn
vMeX8VX32r+1Bf/bBjJVqNy93QH8AheuI+MxOJVYk4+M17aL3ZtiubcdcDTrQIYUfEKG9R2O6Zad
r0671zsBx+zWs+/jUJXTgs6cUr91mXUgVLM4IgBV3QX7LFvBBRdIjMjxhQpfc6oQcqjFDAwNgAdq
DtNjwDvZzZAXvnNEs8GXeRpWxNOjgq3gEvSTywuMNLyhqOPWnLbsoTCB7tJmR8jif6HRdcc7eox1
azl5FISnvjlF1D7GnozAQXhe11vFHdZicbXhTZ/phr+XCbYV437UZRS/ylB9K7iFxgjJcD4cc2Z3
CALcMGTlGG523oUtjmtuhpsOh5jw+0kqQ3ahj+NgVR877yU0qxOzGRf28QUnTmAOTFMqGCY4pXXJ
LIQLzziVvfo2jrORw+ZyCTgpb3aJH0qsI2PZLCwGPjUVLqdrE1uIBN6UVou8VIsa8OkEQGzagkIW
9twRWsZIx5ftun495w3m5Hi1rK7GqipWeckN5sn4bCj/EK+jiQQu9qDcttHhE5hYteK+xjwZS+tR
UwWvjebVfHxsitrYfcom0vt+ZrB0eyceL5w27nZ8Qbr7RFTKgLqPV8cU2KP9injj1MxHrwv6Ns1g
bDwUYP9oMGYSK/Pi95YgZ4D6vQSUS8HdiRU+2KpOdPPByxx0HwgiweKJMgweUX/EjOtJjSWkIgZz
E1suECjVXd4sWv0t5YVO3A/D0R/m9tt7e/i+4+XsxdUYaIsr8HWaN/Zd076Fw4nQj5s7SL7xABrW
e/I0bsCf1JP9XIX3WOsKaCjGYw/knvX+ruaytzxf/RKLQ4LF+NxabxCbdEIKqMZ20oh4Z5fOIfv7
bqim+FthrI6QGShgAe67JInzL33Yu8+dVeAbY787wExX/1WMK/52z+IIEyIn3lBZMakpYTGAVhsk
YpL7Q7LMA2i4UC6JbWSCkreCo9Mr4nNgicXp4tRR0WNP9a4bKhBVaPYN+keqU8p6oGCMS+CGFncP
boNBMwEr4HKT53wJZ7HFb23caAGeRRwltT0jRLTCnlGTSvTURVY5OYaRWCfTWfGC1zTKT0m0AqHL
ShLWznfnzZzd6A30xm0w9lMmSJVDvdNyW7ztEsoAGaoHOBjy2gq4PRyk55/0yq7bMaTp8UiyEqAN
4Lda+exfWoU0ge+6ZKPSpBsyGpH9aRMc6dhuIvOy0PJhMY8ULRIS1TF+Q/I/JQjBKLEcFL+wf0z7
5bR7g1vuLWq7Z4krVq8BH8/h3v3wfuSbxJt3enU/r4SfP8aLLxfilo26lG+0hQ/imCp09X/lxf9A
sLPhHRtnXJUxhAhKyM0lWhECULIhBsStJfgP3xMx1JnCI3kAjJZ+u7ZZ5CccaPlw/K3Ohq1qeeoH
Z31CtkoHG8DnZX3tDZirvRzm2W/vDi6nbhemtuMjvppdDlyIYRHxb6xwMh2+NFCGCual36HtNQkh
mebM7hHHAMZYwxXD+x6ZHgMskC+NW7/58eh+H1Q0y28Y1U7eTTRCLUYczrzvvlfCG8iPyYofwSKX
AGX8H3WdDa07yY/Os3GxIXyeI5q0BvSLK9LwODCgPUf6iwP7sqBf5bPq1bImh/g/ms5rSXFlS8NP
pAhkQOIWeYP33BAFRclhBBJyT3++7B0n9kzPtAWElLnyt+SkAU6snkxmHVXf5O7sx2UkODh4tTEu
np3M66ntqX2GWcwDx4CXUVob/+zrPwYTYHQqN1lY4mlFlJ/V9lShRUxQUDGlgg40/CAIRthAv1ZT
Ta9vsE4gi78X9+HogKrSWa/HSBhenrrmjcVDe7gS1iazgizP1royH/yqFHZoudM+3JxGinGA/lvX
Dt8ygOrGjQjVSO5uGfQNefBWQoBPR8T8XnVh7JprRUIOHWsfZ9x5oJODFoQQ3QUPsD3Gg0+sp+aQ
p8SvcELtiBGoxXsFA5XIy0Wm+yFey8SEiJXxK0ddbDHYlLnzuhJvy84i3V1+Icm8bv5QV6Uy6xV/
0Lgj1ULo1hxT/GGN2WOf4XvylCcmWapyTBr3yMTS0rCpLOgxOA6cDD1ZmUBhcDWZe66XENgyrHEl
FOH3Cxzpq3UZIUeSPybUf0GWFh7Bf5mOlXcewo+picN8Gt9iPAf1CvcNGW/zbBnTO3Q2Y3K1Uifn
sfZZlKmfaN1WnaiUbB/1Tep8w2z6aUwVc82kP8b7zpUXo9lglRSnhmWPOZb9/Rx2Z/M+7VC8cRxa
F2BnPD6HeqXeWuaZFaLslH8wFVJiMmj0W3WqpgYuxLGVTAdss8QRH/UFYMM0n+jz4cbYlpTPDdfp
vhtZeoTgLb7QNM9BgYPIAEOhPXI4cE2ibTf5G1rLmJELONl6hG+P4AZruY7FgVR0gR7mqa07TwfO
kuyd8y/A4wDR6C5z40t+QbEy3FR80mbJM8AHlWjroq5+cOqINuYMO8DeqJwGq49VXSFlnW9AQE2Y
SeBrTktV67r/7VZIoDfqb5HZzbI+JpG+IbqBJj5b+jVa1MA5OsxL9WJm47s2q+Pnbuoov53mjyx4
HdRpsGj+KnJAdD/Z5DttqvolKJySOC9E9Ti9VS+df6ZhcUOsV1FBuX0t0sUXtER1ocYHh/fmi8SS
o6xWLhjQkSW/kIKi4NGcViTwOhrTRkCoDWEQg7/3jgRbajfW5Px58d83GKdcuBGFDeiwIXCqo+Q3
2IfXXZi5j1AXchzZaSOOzGbeuw1ILWIvohZBJHrh5fu64OVhHL5mJaT8jMT/aU8sY0oSA8oJEV/B
fTXGS0v0IEg3EbgLnXxHmQE2ZFfRJfKWeNv1gfwFlGUfTGtdPyEuGqDw/Jup/geUdzxLMbQfk/kG
ML5xvsQCpwYQvn59Mgr+Iv6lcok5vJTND+OxMeFfRoy2j62lfHxQLOeeZ8TTnAC9ml/qkkclSqBt
6rtQX8kee0nnZtSnrB7pDPpBxV8lMvNg/ok9s3kl7DTQW08nlyYGx5m/fpd5/fR+ytNjdirErJot
RxdO00FOTP6ExMuEIK5JF42HDDbDZeewyBD8rmQcOahnwwiBboXY/fNmSE12mWFowjaF5CiZxQtC
61Y6X5rCfoteke3wPktmHFhHc31qpJGy7uYsMnDWMOIFKZCeQRge1+spme8pyet7WSgpVhQA7aTD
OYDnZtldfkWSGY9msywKW/kdzEciPjNUgx4bJQObkA4xR2DvEefD565i9wIoET2pKQdyYesi6hMh
KeHnQGSITXXywrV1RS7wpF+WB5A3Kia8MccY2Nw9R2f4CTZnYpCxzcX2SscC+L7RJ2ClU301nDFu
cOwBDOiOo41GmRm+nw1FZ9Ovw/7H4Ycq9K81Q5cjzOIsHprTRequR5fZYtbllyYrJED4YYzgs5AR
M5GqMHmtCIKyuFNuGgN4NgMiRJ/Jf1C2YJCJ494YpOyrAVOgLEQ1PA6nSFA1eFV47yOLvDY/39JR
Grb8KkR2qFmPA/vKgT2Gk/nYTjM7jkoHXZhd0Tqyue9HnDdxXlgEaTrdlaONx1UBmtR+Y1d+MAuJ
sC7t14gwZk3mJ8M9lRN/QUSiGuT+/srLb+larS9nVtVwxLqOboMwiQ0k5gbpmUYtBhxF7+m0M1dm
vhRYezp97nXwSsaUSNsQl416Q1s/Sd360J0nrIKLs6fbVDCQNECDG9GbsGU5eQYpgQ1oJwpaotEF
5pSTEF8Ib1zgKuJZ3dMWFLwJnSgnxECP1weGUWH5I/CCFVWEddSX11TYjURFdGyfLWkmCDH+mfAF
FfXd8o94IqlLAEJnj6AEui4wlfIHOH+5q+tqNe9sH5cpMV+yJ/+jmgRnxLJnXi7tRneQBrEIiEQB
kdB1GLiH1tmJ1CQ4oxjCmHgbs5p/T+9lcgB3R28a0Z9q9hs5qjbE34Dmb+CxTj312q3VO6eEkCdI
Elis8GzFN21BFMRF3IYl2VZuFRpcIgJfSN8doHL0NJEoSTBh7Q1ZnjwMvpibJSyPPMG4CS386Rij
oDeo3DapduXiToVAgT9NygH9puKtkylhwxaZNDZClvBWuPcZYUhCkGb3Oc47aDdhM66dk4NkTbV6
SwkaYdmFdYHMJw3USakTxByKJmFIbEWGmg3m2Iu5ovmtvXC58J5iGGWGn1yelICInwpikPCGbE5g
xhTciYSTO1+tKD1Ea0ZxOzcT3uSS0gdeCSOk0JPg/UVH4frO6cCtduGj2WRWaqYj3L/g75BnHJqx
ZMHnFfgHK6InIKXs1e1ywTnmEgYCv0OMDPcXEWrk+ThnN1kghDHF5XoHMp/8uyWMkfQQnlBhcxZO
ZNGALOMq0x1ssNGTltSvLaql+eZNlAc1G/mJD0RNnM+NOPcXjXMFiTRBxKl50m7dlvpV0TXxXOhs
I/pkt+yAcUgWnLQY+0dc3x3gsD6Zj3axd6Lh0HqvCDKZHEY22gguAH06q/EkWWhIOVmZc7v7kSOi
Nkn/YnS3FH55xU0wuQmHJKAcc4TDFIaRSPyB/9qveWUFDfPfFrwDOa71EHKJxKd6nfeBEvhfISZP
LSuMWKXgkBc3Ud0O6QnyBAqBDoIry+e0H/aF7RTqVeJjcGNbfOyS/4iHCBDVTnTuOAaatbzHSyIe
WKJ8iPTRHQ5Aa8n+XOrJIhoGnKSgpHnGeFF7i5hVLF1bqGzVIqcmoL6KEJTNGyuzEF2TeH12VoI9
BDxm5aSojtF6C3GLu1nc59y6c+7i/y6DwcOB1/Iwmlxbfo/YFsYAm+JtF1SUcCcKpVjNqf0m1U48
8uIeJPqQpmcNTzLZqW7NPxrAwttPbr+hQ0I/LmXhU2bJU7mmF/GciCer975cF476gK6UjNjEoMur
G1JXpFPaGr+jqRFaJzswjGIJRzHAEEhXhv2xBsGU+1zkH/j6bC8H7n3/2SOUUNlvryuhSyb0HzQJ
6Qev5txGPq29q++BzQ+FxaZEJQ1BToieBlFbuAzlA9K66t+C0blE/S+sxkW9046YsBqmlAcc1n5Q
e9DD6bQqQzyPKENgnjX+2tAd8Osfbc42iIPMHdGXfjeTB8RCu7omqCsaEDYh7I2l0wPPthwVvY8u
kHYcTiFIVM/6fKD/fPR1RSoxV6Ql0mEx/kmxiJYQOvvCMPecaex9AWCbCag4H4rNOMrOrG5o+yau
CA4BRnHXMRV0lIJOXvBS8nQMG0bqxdshi3XvvQwnu4Gnr/vW/KLaOCUkh6CyiZFR/y1HL4D8Ygq4
L23QY6QhKHPduLhrrhDL0Tgaja1fgHfSv5fZtgfDs1Ve8pigSQD99KSI1IvVHdokna+z4OFoXj66
oN3WQB/oxZ2NEb4i9GbnGMwB0eqH/Yhe48mCZOKEFGOzSObG762k9ZjK7D1qini5YsyAcE+ZuCfM
GtnV0dmuGpe0ZsKVRMwTYgvuja0/rxeY43goY8QcFr/p0L2as8Cx2uSTufEzxV9LXhv3UcJjL6rR
qf6ZzWnMAshl634vv+jwHt6JqigkSuXpwhVgicBTPQDgmJLyhHyfQ0TG7Zug1VtCAX6aSXFVlo0c
IKKllZzDiT1UoLI5mmgoMti4Wov0FMBn5/dvcFk31b+hMmZ1BEX+8JCitz2OF4hYSvMP5dPua06p
7EpY0YdID1pgaPEBLvSFCoETYgYk/wQ6kEOOal0EUJ0Y97wKd2PNkj5unBiU1C+O8/dpI1YJTJDS
jJWJeKEzyV8w32cLdQ0SrHRJraz7vSE1eZzm9VoMdF8sOCaiUOeyETZyaH32JOO4IoWimjjf5dhR
RFgxmsDQuBFkRayHQZEmO0ycBCIqiJWH5YzdWPDrKc2d1DqzY75EZGp645Fh4UFWj8l4DKZemZqQ
tRHvzZrO/RIIsUu5LUT+ODpsjiKIYtgurRxcjRmja9BB0BjORu1c+P/6gOgyES0lQpI2d/hpNDp8
i1hKL2QtMdfIk4awe75zvuxasVTnwZaItrJFn/Yu2ItE9EP1ew7GnKaEr6J2IGPPaN3inyLFCVDa
mEuj9w+ZI24conXB3Xz7nsZhtSh+41BP7CanGVHsJmw1lfcRN2EPstpZd9UmYkGdiIQSp+KefBJa
nTothhRTCIyCZM2lyQmBcfq9TJAW8V7fU0wLQW5emtwqt/8mFOKlXByPKLs/ISqRFRc4c8jY2jPf
E4DC9J/wDLQetBZBDyl/6byQw8vDBoMPFBY8Pj1fAuruT09gAn4Rp1i069Jkl+fZkcDNSR0TLwVZ
Loix3kNHjoPxyxBJut0cORHpFYRCYHfMsD0yRMxpXhZSoie3p15NmFGKhAwGW0wJW5HlNeroDGaX
QANDfhcTFV/EytgRgs/js8ys8/HNb78Z+PSBmLrcO4Jckfjsvqep6P5QL6j493jPsznZ3dDpaJOo
Jr7RhnhFZno9e6weUQphl0WApkWPWgQ07DbSroB5xhzNArWGGLGJCqiIYtid58mqsZ4zZWjHXdh+
V1+MUqPViAMY/ACMNqm1QaIsj3CJ4/u6VtBzknBAadAWaF+jJVMD0jxqV0QKb9A85N29bxTkIhBY
ObxKAGnEBBkmjXQDf3AFkivAKTsHxNKGvS2GTssACAdPJ/IzBEfsg8HHMySnE4fICjGX8vfWrlW+
LuRNi8qxeP4m43393eq00W2kzyqnMe1h/DwzDySrk5Y9TV9gzGPVLSVfq6YfTqu0sr+22oBaseGY
VulPzb4vuWm9PJPCtlV1Nsm9vqKjYoiOsPZRoev8Ef37963tJqOD2jIW7ClnE2GCPArgDOpwIN00
iYqKyRB7E2rsVX1h5Od/ESZRAdlyVz5u74QZFlkdazJLDn5Y4uacjAy96sMXfXca7huC+sS0yLqx
7OgSO1WSSeI5TzZi1+8dpayZdma1bn9ZeG2oeoVhFrCDLiRldwfiNFvn8KyCyrp/zUPGrMh0XFtI
id0aT7jKgvKcbh6sEaUQjOc35VjK4RtBF6kkIvycIghxin2lLjLGPcEP8QYT3gEWIf7FT5YiInpt
sPUZZ1iYe+63f2DaHF9eN8wIJc8PR3YEth2Mf3fQOzPPovpbWKRzUcAyiV9OBap/vOlkRpgj3Dx4
ORl0ElxXDi0QKVGXJlp2zqyMdtbq4yEu4fkSypqJtIT33AYFKQbbX0xm8itaYhsNfnDgr+IvRsWy
FL3HrZn8AG7SPLdvbWNyPhyRxCCacjND8FGEwv8RDPNXdBi6nEFsM0q6r2ifYmkAoI/I3xlNXtGH
PG22Ketl8FM8PaCGcwI20veykpelhWwJC5AR3S+3dEsZc31hHDMmK4LeJtc92DRsDYwgzOEkwzc8
HaEEfk/Wg3C9NcJg1kVH4AbwYrkzSws902IUjU1Fcj+0wrvgyYBXayi+h/eSUensGJSCynYBkZHN
5MAmtjx7kxmyL/72Ntn2j8QWZecTAVDIKIuaYrKQOyT8wvEjuy0IBh9tSMuL+aPauPHNjAXkvqS6
iCIC/j1HYxIgDmfS0fWQuJmXMI5pm4JMeGAyXaGk0pYYfmZaSnsxeALvzYIcfeXblD+Kcvt8eJyp
fl09EYRNRobXRK19zrYjqu40ghsxl22wfhJyxw9YgA65YmkHhUuv7Z5DQPBeSOIgJAoGki/KMo3f
BxykSsUq+A2cEnyLCuBeNOY+PALxG59lMfAUaC+acROy5wSbheE0taSK+42qyiV3ZPEzGm9RgWXy
9LFhbaOHC5q2HtJ9VaBdGKmYfAF3zvOGdUDFejuhuEB1sx/l8EymrbSQ/3DOmkI+Vbnft309U6iB
mQpUWY/5a4niEoBDHv9sqFuwTXhlCp6Lh+Wip3na0MQdBArUDG9+uIWjx3IQSdMWwIdvCK+ZNzyV
Hys4/iRc3SwaKoFRHoz5/Qe/qas5hMeEZ/ul+j1uJ5UT0Jts4GX1WsRCAyN/HHgdKKN4EUOTmhGc
jdoz2gtq6y7Z0D1GbMOcPEr788df4R4YdyaUGmwZ0sMXJPZEdIJoh/ioRf0UZaTNwC11nk4yLZZ4
Bd6XIBidhAYS83awOLrIR3/RH/h4T+/Ihj9O/SeTjwHvhfKTIFKzH4bP3cdGwWa8LQWFmO6mmj2o
3I9wJgVfw9XevgoN0VjDDmp2m0f3P7Iq38UGr1P2g1dOwX52azwi9n6UpaxaxrTCxnR4Pd2kRsKN
DyH1e5wgHGWYSTikDEJlpa0MW5uB6vO4fVgheHRTXz0xPrfY6VhGeXIbJ5vlm8zDg0cEOwYHnVQa
urGIV3giryW30+/gdQE1rNH+SMzv0IYQo7iBfIDhVnUhb7irvsMEsUv2WOOdwDKsT+UT1CL6KmrE
YEVC7XD80WhXie9zBRnwY54j8TOs+tRcKJ5TgP4ZjFWfU4hNb8PzaoCVTEuaC6w2Ak7OOP7d4SbA
Y9Eub6GrHpMYPdt4OmR9zl12oK9g5JTDwDkiJa9j84XQZRiAVS6NSJy7/M/Dpw21fGGAMB9LYIKe
7C3NTFv7PbKeRpAcGhcGblMPEUO4Uuwm2GNHBH7jkp+ybB8amrv8UQASXv7R4X3Vr0PRh352xbFZ
RRlK3y4s3pfAd6qCBdYutNS5zYTKIDoylRet3n67VplalZt20x3mdY7tt5hCFM6XD0RMSFmDwiYN
ZVnLLvcrd2jyhNT651AjEImtbfK6AiOykaphrobvG0sjxb6FVV0Ydy4ftEtNUA+Cbj4g2g0mF5Wr
cDCxtfUEWprlsXdxIq2bj/ccOoF2p+TJrgfT7pr6bUDhFOcsXhp5ZyQKCV07RlM1QyNb0X+Hi45l
5Mlyherh/YaEWkGC3ul58Vm/IeggmAkYjipwehI/aNip3BbKv8Rs06m3R7IqmWWASfK1dGK5f0Oi
wqGzGJa2vOTDYkMbTyEpjy1oJrNHsqdMu18AYPwN6CaXA2MNourAKZrpNpX81xVWL9thjOXl31az
gL2b0KeWwmU7HatyOUEUBz4xLx1QD4FUAKNAGJ69ZkGs/JSdAXiWAGIShimDw4Gmi6h8/2GDzSsb
fcWpB1B1OItPJeZisn0yDDlCrI3Jgg6KT6h8j9oZa6FZXUCA2bAGwD5zfBUm256nLcivm+w/D5tF
ou9YmnmYya6TUY4h02rt0bXAVgqPe5QRzz45fLdPC40K4Hbj0+G310k3JI2YNAmO6ZbmcV7vKBCd
vubq13rMkyBeZzdBu26NFXqZ6XufTDk0CjEfkerhZ9X4OYkv5CPM2p8xXyLqGYCY32L2nI0IX4DF
539khl9YLk6RBOVyYObg+MOn4MtBefoj//F/hqh6WhoeNo/NwDJYSFE6ZbiZdmBBwJVvoJrvJMgP
pHFAIQ0nQsWvIxMjTI0nkyPmOXhSGFn5LYgaONwzKBftjL5ss9oW5IIQXR/tRjPdGm7UzeCUXjIa
Re+38mLYVJiZ4OrnTVdZVLI/TT7fbz/r5rGLH0dsGYP5VfTkclvKQTJLN2N3dFCYuFiVkPzOZaqx
hXzCoRAvFOFFLWecoNhSWcqL4K4noiMntW792eYOmANuBFKThKLzuU3gQPhJZlNj7bwWpGCQgaZ5
HkiiSOj/TB80uJMXsBz7hI03IXEkz212MiiJWKISGx/h68q9sYLhMtA97QcXnSIcFB2ySdYAag/Z
pNE0ZUKP9Wu9Q9kSpbiiMl91x8uGfR14ieE+23z4XriDvlBb1nh0fbA8tBaOiGsLJstTSsXfFOAj
mdNQyRV7RQpZ8GRXcFfu838q/FVql4T6vsx4WYfPNRjKjHWOk/BjqTKRQ8j4CXmPrUeyIIexsFjT
7MDdTqTr03pDJHxCwCaSq4VnpL+AK+PceGNiAQqPyfl9Tat9vEzmNYr/5vj06JhDZYnez90PCFcS
SdyVsEDAORD15ulMtpzsqc5MV6OgiN749P8GAfrKawc2y/UKxH31MjgsP6O3TXOpQIRZlJn2G4K6
eUb1LRn7c4p24NewAUQxwzNTerrh4HReK1ehonr4YhSPp6TxusZVu57nva2agDHu2EK8OHA4ybm9
/f5Njx8MeJX5U/oG6oPRJCIHxaYEp51J/t1d/sJmmj8IrFE2vudQAi5q4Tsds6JJATVj/vtDEYhb
BM8dkrCnO7zFNHA9rNzw4jikOiffVPqhslkTuVO/JFMb/pssyx/d5efKtdWt3Ge1R/0y0j2598p+
1v5hjacI/Np+nPHSaEJCbO33eH5++6N6jfGqeu2wCasiYwC5BoUayWqUO1QT5tqCLEak9thNUpQY
A3NMIiWeHCyYXySqw0k/ZasfgpezRUCopqGST2UfAXXfzUgucLL3VOGpxhQhbj+iC96oF07of6rR
pcF3HhyM5Xg+vraWDpynMntYw/eUFtY7qhkrbHbh+Lob9rOUzD/++gAAb6IrMakFFuGD9KipZ64C
A9ZcGbHRmeXqHJz/uh9BVT6Pmt2un/hJgATE4gyKjCvqPU2utA9YpfNepjQUEOPrgNZsyh1FDbP7
JlvgIVedak2DRhDPEp/JRD2w5q5fN1XAEo9lGqgXutCw9AJdcIFMCrh8LfjujL/GHrmi8ISC6Z/+
QMo5lOQPXAq4yT6FCAOw8d8cBeb0l2GY9fNdPJPmyaIjZXZgf3zMi69A9cbMMhmhv65xSg1TXLg5
oxSxHIJ7vy+4WKyHPM27N7P7ShU9tY8ZxbvogawBVTBfO56Vf0VUJCDXZ3Jqy85+dRMOsUxHiU/e
PRFavPqMI60BbwG5w+LEp+jniluQCYJheMUSkzqsOOOjwTvLUQRwcpulK3loy0yxu5rUaMOMZwoN
hJzb3XgmpEMzERDwBe+vPEQp3IqHFJoT5Y71BLRqttCXhJmwntmvcBy18EIvNz+BSZEbEqYnOXws
nw6A3qnyRr7xe45G0fefVZGQTN+I0Eyz5aJYXbMLcxpnwxkLMVDCrbvDI/0XG1RM2RzaNLTksYVz
BPkNWyrcLeWlVJJMib4acjQFJQOQ2KjYkNmdp+dfg1xygK1xiEDBVvfwwRPZGjrK7kFn1z91QpBS
LyMcUqxpZBZAO4HOMdmKd8ZW/7kYdJelS1xufcjxe0QAGnwG/mPavCAt4NqoT1kN8T+iKqrsn/3Z
uvLkzNOIbiU8GDrB4Dd51hx5xN7O2xr8UjjK7LmQ/jHeRtSKQXS8QsPQsyhfeAFplraiQBE4s573
g+jrgi5D+NHIRkYimh9ygd90NXNffXz9lBHj8vV40l+So2PJ0PzhSkPuE9uGTyEnED+Ew5KOPtRA
erVI6w2R5nAOSnI9b5Sv/9yL4AsUVYjLccm5Ek2yT6+maI/sML4mv6KaU7cJxLp8PKmgodDuBeDD
iCSuHPa++z4RvhyeYaFMPRhWugUEZF9OVK+shQ3u7OOOhzl2R5u3RISAS2Q0xjkyXOm+BD56TKne
uVAl2UAIvQDxQbVtqh6AoUte+Cg/TLWkBiloOC6iXOtCfvyisNy1Vu034H7v7b9yRAgm6XZunWfv
d2ey69oAXKwf2A1oMKyBfqrPNpANpzbGrzRZ7ccITLRJhhRD8E+sgDHmnRhJXLdAidY+F3sCJrDs
YN9prp18iz9MW2ZGJNVaOcC4he2F26ZGG8GPL+pIuCXI9YWmz2yu3vNikPBt4dRVUOgjSlvj8uno
f2P16xbZRfO1X1ZjslnJ/MT3mZv33dAtsUwUpADXHgkwAdg5/s4eVliypRm9Ew7FV3wfI/J4tWO6
rcKxDXxNHqfIkWc9nz2miD62ws4JGsp2KntzHiqeyhXkGmASgBKnZIA9Eg5k9438IQFchXOzz/4Y
IPOHBD3gcWyLU0F9axbLwzL2gXqQ6ErL1ka7Q/W7EnV+RY0aP84I1VydEWLEVGfOPmykCO6NA/Or
5gzRrqp/6h+xtQdyI/0uenOaJmEFXEf8g4xiyFU5hS4RPgN25ebZ6Zf7r8WwRvMxx2uOBcZamX8P
mMfU5XDJN4hWmqPRNNl1V5BLK/WNNUtDHnFm4VCwk5epLz1naKcFVpTsMhawKxYtVpYHqbBrjYPQ
yHof3lDp7utA0ygQiRv7UEm4rYk7rUXYheDVis58Xzlk0fGIrEXaxZwTaEBTNkbEd1iB8/9j0Z7a
9H5BcqMsKm+MZSR2z78kRCC3M3xODIR/cxoIcxdmtKFYwEUTcQG5B8RWEbhbT4JTZJh3Qc5AXizf
AcBrjfsT2rv6/fwOnWoz4E+oEVW13SwNde8Jo1us3y1Rz4xv9Kw8tu3lseVgy6ljj7EVBQA6Ir5C
VIQm4r8KQow34CJFgankrv/wLaHWwQd54U6jizCTzeq7YK0DWwTHFbjtnmpbMflJHin0IL45qn5+
FWOyOPsodonSgwHz7NM82yBsK8VZZ5SEXJ96Lf0gphha0J9khGRj5yxNmELJfcjMIiWICpkKL4z2
oxK4iPbg8diDbxMt9CoD0EdmH7AyBK6GagJbnmWLBxcXXTLC7MoSMxwyy38fpnYdTyVCXUxF/uvZ
0TO+ebbSMV4xsL2ZPKDtxOLsKzByBOrw76CbKbvKwKrG1BAWYiGXduqS10F5C+Ylz6AJ8jcmZvSR
MO2lLZF23Jp7ubYSoFum4D0WW6oYaK4Ji8YhsOGWyBOR6U1NGRkXTwgwAr3RTRLBmTpdbZ9/CSMB
/cYFDeNFXjjSk/esJUx2my9zCkBnQ9HiZVUDdPnUNETyfYn7m2hvwu+g0ZaRcRitEV0daJe209i/
V+ZTweUmmQ90kuISMhbJeHs01MkmISHnQTjAO4Ev0u5nyInJLcJxiBKe8HfC4PcqTkSOTGmofe03
ShgBh0ooRhvmw4dYlKRdyyXmIWB8gxPbvDb4IFgRRhYBGr0J8+YVp/v0YZmz/T0UIPTAqmH2CenB
AUtRHVVgIg6aT2QdheQAwtsWOeBfiTyoMdidyjndGxEHWezi9wZw8JP552IaP4+QG+iQ8UCMT3h7
UdK2473BbD2utviUJN2Jt1DleYtbdraihhoSV2ZfcujbNXZALyMAG/GLErouwulAkdhf6UfA5Pyy
CXkSHlkxTQBuECb/sJBCj6cCHSaxamgTGG2d13UV6ed9vGgB5jns8ont0Vqn2XnJARDwGUEvdwWW
U+mnAAn9e+6ijHv2pwVV463K07KYNL72eJhN1O/y2sUOoGk7WbK/EZ+14YjyIHDcHQaf1997sBhd
aapE2F4zgJE3x8yl7hDja0RJDZ0P2ja8T5N2x6lhVDUTRPX4JZR2PSbymEPFE88+KDZzPQf1KkC9
zqMjUqtqXBaInH3oKIXmi6P9JKrPMq7ZCHwUDxdaPqNfJPcA00JROkXupelKU3bA/mDQyrUmMqj3
Aft5yNAZ9j5ulDeRkRh5r6j3q87mTxiQ+kK+zgXlomhKRBgWevnB4RF9/roYUTS0Z4A/5gVlgm1q
mfT4dXU3WekkvM86FYwYBwaIA0vhX3Ze85fTscuPX64J76Cz2z/+TUAfJVkNuhkrxQP5ITFpWGLL
yV32HxvYC0oCOC93KFk3mTCW8iG5fbEk4EUQNAcheyuec1De8zzffHb3HxrBzO/dgaDjTKhQ9SGc
BZ1gAAlu5W2n0RumkAhKzWIMqPgKCv7j/EYadzZjc0IGyYU+sR/wnOJhnmMpHIIQB4MLE/f9dDdf
YYMP2FXnMqwUd01iKZyVhpOym4xOHEcQA7QNfWwve7jmyPuMkg/zIvirYyyboFtq025pbIkmCBEO
P59mfZRJ/Qw+SFndXpkljXkHBsF6V4mcYTX2aKWLIZWMJZXCObllWJQLK4Nh3+bbB8MxHjQ9Stal
EvY8OtR+sREwCg7O3mt8A3doBHeSklV8BC9T/PFW1AGIBaHovNhXA2TWmC6QDe2vt+sVhPDr5Gxs
hMO97BFGBbd3245NXbneezObGXOwrmzXwwnhn4ynqmCKoddQzAX56bX8rF9cuT+FILmDUgA4O5I3
9visQhYney30IaQYeSqPNgCzZGnCifmSWNx1LWQTZ7Ng9+BR7oiQ9QhR/T+WSIDWaN7I5D+6YO1Y
K5j/C3w31ucPSHVqjBC5Cx1/LfYbhSk7tsenD2vUKJIBQtBssl6/hNLhymzGabqyn0xojQBFxa3h
952JkwA/g4DpOfugYkEPLd4AhWa4LF2YinEA5grKiMmBNBfdaw6jOXd5QsfLE1p1QgjZGaAeJibB
n0DOmYO/k5ygxOH4oGLr5tODbJApT4j41y5CDWkqc796Or+mQ5TG4on773Hn9YeaQ2T7vSeKKCjY
LHmm/5AMKa3To8fEQ/pBQWimU6EXfLubKmROIXc9rGhgKoRuipV97Ap1bXnFgDF82T06eU/A6sMV
ghrEUImpIERDRyIkhLnLvqaveI8cixTxJZFgIfokeE+kG04WQo8HtQrXm82RBniPrSFNIIN5rEOm
n4YXRGDKuLK/pw7jADMn58HOGpITJa2Kfcx+YifML4T9edpkTyxuIJHZINzCqNaEYBXxY+4Kgz63
7j1sjhAqPlPFYKEzicmrlMfiXx3Dx8arjFUEuKnwYopmTb5HlFSDK0iz7jJkAHO+qStcsXLgvmEN
wD/04DCuFhzad4ocJQqdxbQfDkOiACLmCmQ3G4ODNWvLx07+UD8Tk+phXwoFwAwbpM3lJc/Ec89w
kN/O5IuHKHCdOoC8P+DHQLIsDJ4tUidOl4MjDceUt85qBvqM+h4mq8JwPvt2hDMtLG9oHTKAL4IX
z9aLTvEBTPiQHfb0Omn1nCHkm3OPBwAU6ERESXnYU8pAdt5QZFAidVm96Pcl/WFJ/KFguV9O2m44
01GajibJFe+OOY5JjSPceGXA+3C+KMinkidaHfKwLOqOGNfv3Wxgcw7KFUatsjm3g9oTablBGyHO
3gsOq7TzyeEQuzBKvQc6WsZQ2qzCfJpOY3cwH2DkBVI+5IsyQigBTwnqhcZKjYiCreuVFFSrM5kt
TyuJ50DVQQWbglXhfkpWxQ5KFwuiysLyuUI45HhzgoqnPyZRaaXFP1K9zXIvBl+z2LhUlx2eNw7f
x5Gi7b0hDAVfjIKPs9TpKoXQHIwJU4UUpcEa0QcwXOpThIY36r7TsFPBXujL8TBU3Tq4h+i8PxxK
vswPE/3UXFnh0g1BIaCMjBNqgCushNbngdanyjWZsRERmdxZ2Yw9jT/MtokHsf7TDsPgtRn+sfkw
PMDkcuslpJoA8kjOczy7Kxu8YXiecYJJDmIQ5k5OdfVWzwEzxyfmXN73p7wwN5M6CFdb8oYZxjpG
uy2LgyLv+vEeeKAbecR4Fu38Q8/0Xl2xChuLhEbG5kY7De1wTjpEjtUYtoTU0mVLmMi3nkkxbG+1
SwlowJ6rXfEg9n/3H9Iqek9BWkzUFLUbsDZcRulDXIunXNm5EbNQUJ6+5jxEfLMM65/dy4dbw88E
kLBoNPwmrvqnIYg7cPkxI8p/Lb7WyXPW71pYeMOr3Ne8vrVoiNb5lRvE1rGdsruncPiLhFBN5NG2
Lrt5aeWLM5FmPt5TEthxP99nzAXnQyXST+6z+DzReQ9gZnT3ppiwUDZujLmce7AAMElXIh30gdsg
75SWcQ8DqvbzFxNplEBzsIorhEF6tbRQQaylfTZjsYA+QPUib5p2rS+ZhzbnNVtCd+DzSlPhwUSQ
wCGVBHW2R/HTxoHdynYfWxzyxfy4xMqguoPrI0pkl4mIX4LsweyR+qN1HehT7pfvZC/2HWVeMYiw
dEFfSihcC87uwE6U2KGxZQHaENGPOQExDJgPlrjxiqRGznQijgmNFKf7EpW0EFM/fSUgYs8SWZto
vJe0SoGbt6hyOB2i++XZ736RadWITkDwUeain0IrRusuM8ysFBJll6iJGSDoXGJX2ItV9flD0NxE
RKJ8rXc0uBb2/2g6r+bUtSUI/yKqyOFV0lJEAiGT/EKBsRCYnOHXn6/Z9x7K+9gYg8JaE3p6el50
pKBHT9S/8qr9Pn19fm3QeVvkW+CA0IINCjYJOmSr9DQELRQOS+EAbytSG4DQeEchYme3OIP29G94
99H5I6AnVKKqsIHhvGFqnNiIHLs9IMANt+4fb4HEaY/8OirRuQxDjhxzHQsiaQO6waDBbz08Oguo
v1LmpI+A3h31LTAASG9IFzR9CozNYv7eLga8uuIZz/6hRUtO50bWQfOcc1UmDXm2ZJfAVGgfAYPp
EB8iGPNzt4BKRcX+RewXRIMOZRuiVMnu1x3Wmi/88/Cjuzn+heu8EwuZV+wslWSaffmzNWzsM9YD
EYeqC5PjU2s/e1Wa+hif8UI8o9QvUoKBxdpFI8DdxlTH9zYqF5KTZwJznelh3jH+y/4cck/r4a8y
9UD9IUtQ95mflKngRVkL+RLqWZSsNGyuQe/Vyb/47QRNfn8f73rv4WNJueLJFpiXwha6DXfvmqwe
VuG3sGaDMYNi2uwvdWgOSw5lXRI90I8mpc5NyPgAWghgCfHuB7AGkq5kzT8oGLWsxrK2LBgGN2CE
BYtpACO2PdgcbKboeNVoP6wuSv2jt/8tRw/r4r+nhLhItfrwRJcntPHRXyTARjIS2hNt014dOQba
Ffrn+IInfdptd9c/BI2c1LKGdsV5dJ0j3Evyg+heTMd0ZbiJ3vEmXDmHiLnjXhvCLxFNdqC9blhZ
O08Nd297ql+2kx1BCkR9CIeMOQJDvsyvlGpGUiXjC/YDfRUgyEYI0cY99u70Wn1Xzdsl3r96Vxfo
fWcVaRkn7XZGN9AvwOIWZCTAf2gVs98a/Ys5TGm+UAQYHpHvfw8R0iOlHdHX5LazMebi4QwfqFPc
f2hYgYNnL/F8nDq9lVBOezNC1T2SXm1vTxpxs5jKvUTQDlGJtTOirrNyyBYOUSvYpA/+uPLzCNvf
gFu08FFIy1ejU86NQGZoNT+Njl9Y4aDq7SercY2uz/5lUUAWNitIZg5zS/YN5w8aERqhZ/Og0Q9B
sYwxmtaV0mtU+MlUmaVMgVSfOd1gP1JnN82kdni2OMEji5W0xzmwWDUSpuSsmFm95F5H1NERhWjz
7yla5lSTzx6V1MJCjirpINR1/qf9wXPq7Nx4miMCwkS7BYLj3bsDlcX5Xg0ecG4fBtibRhswYLds
NyYP8zAT2IEOvsi5uifz8lgfTJ1pBBo70who51uqCfFG7yktvt6WCUEPRtjrIY0aVX116Ki6fA6c
9NKoCny2t+HG3OM/p2zV/YxKkhnqH41ZkejQDpJSHUJNcWbEORKdFAfB8cOTK1bKLALKAjmlJZev
g4Pb4/8QuVzSVLsU6vmrXTN6jV7FPM4AVqnTADop5VV3/jQoE6G/AJXgaA2HAC5cyKUq0Q+fza+J
HHSrnvw2c9oZ5sOG73C5HxatrsyDpxUag1KYwjBZ0y9YUS/kaIkFqbFfPXD2YMXsKYRAiIpb4bQV
vkd6gts/ReSGaUPzip2o624qDuJ4iiA+1L5TAPXKfjhdpgT0u9OEa5Jz/bh6BNIxMSvXDLQHXKVi
yk4LWYXDF0rPZs8Nb+KlIWzSMKPVsDdvZv+MmCmJzDE9pUQTvdbKqfQO/m6sqSWMN8XKrdyHP+Om
rfhu5XT6paluE/Ad441afZ5x9p5Odq0OBU9zcYij2X+UITkQRHerUWF0tTCFrAnWH406JR9pbcNo
eK1Hvo5sqA2a/Uvk7LmMa/c8PGSasPPnhLrfLGqDbdXFYxlsjB/yW34vyallvmX1zHhIe+gwric+
t4Ab0nJGdDc73BAUbvTis8d6MuFwPh9mKG9qkfnMVKJxombFI/irf9YEd+GQd9IOc3YpgbGjRxym
B3uYCjYySNHaJT79rBzaN7CwDqoI9rSA+1CdPO3+FUWokJtih2glzRFPYt1ky2i0s+Jo+WfdUOzZ
exx85ofvIfMT/DZECU0IerGP3zlpFDeVES48XlbGmCUMTdMwIdXe4gk2YXN8R+hFC7yKzMxfv2HP
NxYsiaZfdcDazQwpDxraJ5rpO6yAbGmehtiot+7LMVW3K47M2PhcowgzY+0sB1+CPyFCpfkK5VlX
J11HA4bHcOsV8SVqBIVX6z/3NupfCziaMY3T32dvtjgVVpUJVpfs1mu7p/7B2TkovXH/iobD/dH+
A9GhJVQkHWkKbe0lcKH7lBxQ4R0WbCWe3blMh2Urb8w1pqMf5SNvi8TS42vnDMs+79djDkzEIgjx
uj64y8uv4q4rML3wtrqKJUJZl6G8V8gj+2+WDBtr1y+gHIAxFhFjzE0rfI6EZzEQhl0dbAisGIEm
NlUxuI9eKLi08uaa/VftInXossm6d7BU8CzOQisZW+rSVxN0uie2D8ftsfNkUtAJs4cQFVI2Nhps
0FY85gGbNT3/++9qhIl5x0mikWNjOE0EML9fUDdcYkEiQdra3g6NM0RbfTNlIpnpk9mv7R8UOabT
ZH5w9J7YNZfrDOLEcob0MyhhiviApq3romukVRnOUbjuTunB4G0YA8SeBwKxO19N8+wvEYtj0I+f
zjShTVZXduiWwbClksTEhuUmenqP3jF9eicEoK7gz9hdfxP+9Y7MnKou8idze1BL09oj7ja6ZlxL
CKbWGD0yNcWeYZoAotBlx+FLwWq+8au4GBl2tlzbYECzDF/FmdJ1y7o8K6axhuiUMZIH3ax5I5xn
yLKpuxxyFYGYrKepR+ToEFygFMnCbNkdmGMnimGBUbcfjdLUz7KyFe6YM3L19qnWYRm20SaVNKP0
ylB9Cw2X1yNk9Lg+3DELGK8TdPqPBR64089yPUcrv1EEh+3DnN/GKCZ5lY0VsXAd9vHDRsnTpkdY
fIaLeYWN3o0UdeSHK+3FsoWglxNFTuzGyMJHJUlk06h4drbQGVEAKPmbLvR0dt6zD15bWKMiYM5G
pyvBBSwWuGRY41NkGxE3jkoRGiIsNLcIrjjjmymHLQvuPXSGY1Bx326ntw02wbYrAWgItqbtbb/q
pCLwM5IqcMuk+OIq8c6N4E311C5+dUaXSPaIZ0fEMt32NxFKq0fTTbIPAKnDol/Oj8HLIL8TfLu0
Cjz3rjQAZXgZCWGwqB4z8krByl1zpTffPImPRMqKhUFE6L0c3PAW0jxoHqEyzXRhe/xkSogWtAhB
w7uHoBX3f4aFqEB9o/l9hwZZJwV6IMcD9ZdmzY1o/UlrY5uu+B0qk1SVeTccXAADKWjFxxz4T1VO
sMNnWGlImnkfaUaotoGm+3BTEoM9zn1/6afL1Hn0ata9P8LRZJl0z2zHZiE9DBdjqfApnFY8VDct
1LAchsDlVRbFxoR1i//YQI7DMJQsrBIDVOjLorVt41Oy5KQwAn8uF0iRf44KXBUOTv/ipxgGvCBL
EMXsMvaExoH7d50/0g7DqVnXb4wcA6uq/hV9jufw+H3+PmWYNhhydw9SgTMvE5msbFiG1t0bEqZQ
JNZqppORPLFlI5aJfD96hDpjepY+dGAFCjPE1KmWYBUgYt2CIQC+szUU+83Wh7OO2ptuEB4d31bg
aOXRb2QrF7/wCG1MxFU5maNTs0Y4ypQdcoV1xbkPsxCJuZaHv5vX+cDNQOtDGmcwvGwEAGX5gbIR
1pplYgx+lLnyVorWvXvj7tjGz4giMEVrTBMHNp8f8acJ5gAHqui0yr5NkulxREVoFyCyCEeVVPAK
cXcVXLkhNyn6cMtddD6RM8X7WmjtD4e2mRI1ve1ZT6y4br/CQJN1TA5ORogil9NG10KN6T31STG+
F0VVu0lWQluy9UTomKnVBLcllEuojjilT7N3YS8aPs6EJmu1Wa/JTbDdX8HA6ytT55OUqfMtFcEC
a6/TV+CYDPcmay42iOZNFcTBoCPp6KQN78rEmz8taTi2tHP8NIyn/LagAQUkV3n8zv7VwFD4Lubn
50lhX2v6jtXEBTrzOaxQliYQKE2iL3zAP5OuLYbCvaJnQmJzJ+rh2tI+hm9DsO8RoDmBeG7dlXus
snAxjsRBcs852YJpDor45hOqJ5u4nRD9kbeWHFh58b4OqbIASHDaSUdxFeGXSJy4UPPJnhX2uso5
1uTOraBCMWFR+iq81lclIBwjs9DhIt2HhKdWvEx+J+BD7eVymdNPSTqtk2H7KDrTmSnq3GKtWk5z
UFMcwpe6vbVOSf9WvX2sUI6UHDOk0FHpOEuKw2BmBwFHIzgsmomyDoWWskTQzD8ZBMvL7LTHvD+C
2218i/iouPhVZL+PS9NSf/X3+Rxq9uY9JZnBeq54c3InHCJpNJHvPt56HWR42kkRN4KNh64LgW2N
DvKTubpVDxpZ1SMRTve0Q304aO7foOYiepUw+MTpkA2XfiCdzrzN17W7HlD0695hKNKpyFCcpEDu
4UrPFfR5v7VmeaLVwpJ8GJrsw4chDXuZF6SyY/AY1dxLsorWftU0+K7OQl2IDHz+OiQNBtGsfL0U
4Sbya9Y8CtIVlvYM+qca+Bs4pEhTOnXoDacS3MIHMXo5QQWIPPBh390GXF15KMJYq9FXrqPbs6W1
ZEZkKPf1rz0fGU9rsqbqAr2KZlraZZkPPKL+bagk0Sn2dpso+yAnHtNfIj8+RO30aJ2CkncJzp/k
pUomd6pYITJ5HyuOCCxoyBk0xn/1oSfanVjSgZRZLyxnxRCyj4qijxZJ8tWI7bPrNlImbX4S5Dnw
bXBODstHgOCoC/lFySUp5sllT9SJp/XYmwuRD4mGq9WEvl2kFFpYABss2sdoLTE+F412txxp1iCR
UZ1gVS/XoxyxoHrbdEYXqbjNbtkiZrkP9ySxs8VwSIo+fMZ05DCtFnvH1M3PyZ4HzGciSlTOpse/
Uzlb9BJiT/eDuisQ9hK0wqoL/LrDV+6Q9XuHNe/krAIGc8OTqyWMyaXAIV0AIEfKUKoGQKvydhMZ
mJZZe6u4hVgMA5+xwMK7ZUU0yZI3Jp2HetRGptaGdQGk+gcvCWuLCCuiBvqxkWLYjiMZ1ISdGRHI
6zGzGw6aYVbJR1OYZG4XVeODf/AbTsd/eSVfmgDoyNtX9+oKFABaQI6z0VcMwsBorESjzyyXfpve
FGUdLKXpZazlNQM5KyFheXaqgD1Fl4odmQkK3A7DBXhWi/VgLqE+9c57w+4N/vIGUuv3nybDkR5h
nfJE74yY6CxGFSIsoTCU1W6kOXBVWfBPMry6d5/UvcqP1iwxXc39BvZH/+LurJiJ9oKweSRauxi6
K9kkrOuXTVkC8ua+W4au+3R5yhmNRoTjRNvYroCkbU2evI9pH38sbuMVzi1DqxWXFuf8i9UhJGZ1
YIWU4spenT/xuAxLQeiZKX5Q/tpxWgAoLacRNDCfWzIyNfO37TTK+LxRzVqOhOIJY9kqSIWMWh+0
nIsPwrPM1anwyYqVZJWwsc1EX22z1B/f2MQXGhiKuJ4wlfjfpaXDQ+/E+3W6eh9MmadcWPEo5WGu
GsQs/pAxNzwP4MgNLnu0G3OT9bi6shYNh3eXf1g5eZ7Z3SRMMj+KIiaMnJ2J3qvWk6XQPbhyM3Xt
CW4xDj/XyaZbTunr9h5cdH2tRs2YrjwYJXE5WY1nc9JTqzxg/Jq5omPsvPu7qG2u09rXDdXjDSAA
eaVpda9TmhusZY3rU/JrS9okuAKHxQUxLLAIEKgSYc4qmw2ACh3UDyh/vfrEfZDT3Wh2WhxL36fd
mrCbWDFmya0cNU2x0lhb7e8qp391m4yFa/N1d0da/HdXsbuWIfNfTqbS08V5hEUAvTt4hNoBukh3
Vwtw073CtG8id1IO6x45THrsonx7I8Cnqwt9Eq03yjAO02g8sDf3DG+CZbkNCOaR3ogJWI9d2qTS
pgcfGdkPt9Tr9CqTFSRAU5mA85BYEBuhQKaSxDel4i8XfZS3ezOPfBtsA8rq3jpR8oBMkkezrrcN
JqORH+0D153oFXDTwnq652NueXlnGJ/WANvvxntaTw4GZvcfR7yL7gS/Xp3OuFd85VRL/iEXZvgk
Zan1yjsPzZtHK1yBlVZ8KtN7hGckLCAlkqP7z9NRniZ4W9GUT0ecqbEf3z+sEXYoxqPBftsEcCvA
vLUMH2bTrfys540eMgBsRfzoyn86OyiJwaZj7SIK5ilDnVkAUMMhAaER0QBySHccFwitjW9rOu8e
9TzuQvEl7ydJvKPzhAqN6WDmRccfXSfPn1uIMjNjwAtMEGTsqNQFZxKWimwM9YDvmkUr69pVS93M
3FDTreMwSxE640C5KPHiOUDekaMgg6R1WDHCkZkQ7e8H20RoQqN/AzzejRvClLtISKZ3528Abu6+
GDnETjmZXbSpO4cxvXExQiAIbYcYGGC4D8hGiOxD5/dvUQ3Fu3F9Zjulf8bzq00zTBO99fiOlVhg
DrbDTj3Z09xI4MQvmLdFKQWsFmPNhg1WvZUr+3PLniCue1qFwLHwWcIXBd10xJPBy0PUFVYHlrPl
b7cehQ0sxj8UdBlFcYzeUYeI+unS+slV0I49sElPviyHfoaFbI0wRNEknqCk6+0Drhfb6MxFUHwh
u0WiGlNh5nrrk4k20EYk0PKBpex3tlwSjDGTvIT1rC6AjJ6A4uhDrxnCPhswgxJmk4LADTNtyOxv
EZ4GyUNlNgxw/RwSstU4GY4dayXgWv5FdlwAy8xQMLEVaSqW0wHplGG2sdv1sx5SIbq7T/dJF8PV
0WbqZPIInV7xtUo6SBHPi69SVpmUiXgmIIt6mzUjzFlQeijMEsTOxEE8GDCjkNCD0dGw1rV0OR7S
rskk/l60fIjV1uIiZSDUMeAU36SJ1YsPAItOSmSdy30AZ+Yrl9g5pU6E0LVXQsBEQbkwUkW/4Cwg
a8mQfnb9wDXq6YyXACiK4qH/EhspJZjP51MllJK5p6vKvbhs3Kju9LsmYZbAMk0ZxppMu3Dve+Io
jo2igqovlCXL89EIzU+bhjTdcsGfzAG0pQxECAsegsM8jRljxrprkwbmmXIBDgC0V2BNzRjLClbI
wP9AhSKlS4bzVrgdQPsFbX04Au8AyNisTl89BeJdK6yhsNemiPZCjle5P7U0jn9rUTsU/7nPFBXm
VhDGkCVr3AjpswajgwCRPq3Jw0mHFZYBWwnDzTPGzZKLkhULMNNGVoJBkjCEfBDsFjNT0db7V8/I
8z88/VIgNFvBKChW+sFd+SXD5t4AgxA0/sPHlR2TOOtKsV5JtLgFbKmlvH7qgw6DUiDi80CpW4nY
BfAJxNyvBAqH5HBowiVDbXrnLv1FjJbFRchtCJpSNeZNIQxMW/5amS0dRrgOvb7pKactk1t8eM8f
oRBlvS9i84pwSDxFPHFS9O2HiId+4lFCcntIyZOYGFDsH/TPInXSJfgix94iODmBJq8Q40vAgz4A
z5qpAKeFQolK9kkf8FntkEkzMM/q5pLASwz2X21PXuw94WRwntjuZ/+V4lZ7DyoVE5kJkgjqMTSC
dWEkz9UQWI6ai8KaNyfD/LJQJQOfjkW58Eal3g2LQx8QMV9BJg1JiEDi3WsatD8wlx4GecOirwqH
YS72V72m7n0pJlS5/dwrQn1SUtjjzmkse0hRrrwA6cWs8h09PIpKFOLMzrrB9PMt5JNe4QUgixmB
vRaZP8XP6qDhLEv926IVEEaRgZNUP1rIqZpx/aseHAjwaJilLZZCn9u8obLQSCuIN8Dpo19TpTwV
MWgZJl8ddli4IeTXlwNDA74vGhc1aNz0C0gI/EJ5XM208BrD1wTeTw8mhOhhf94Tpf1+9WHVMd8w
Bzh1+4yEHwqGV389hIzMzCNK8QIa4DcUF2gK1SkYrmHwWa/lzX7KkEhcIUfMn6MN9U0FgRtjN6P2
YmuuA8Hi1HYW27h6QBbDbfVbU0jkJcaeTDtT8nKojai/U324Y4FqKBQyO+y3Bd5aclDoR1hlc2S9
bKjqCBJAuPVjoV6UMhiQcqTk0k4ONHZy7SnloHe3nqskWSFbwP0c7es3l+kSYeIkbIqV44rVlu8p
USvtjMyx5G92KFwRBLJTFRjufx7ABD8vNGkjhY6drr/ceGw50yX1gSTElwzHiyZHRA00cweCrnLI
aVeD5BEWsLrdvtf3ut1kmjCUhHCLaty0DDx6CkgzQ8M4RUZzZ0jl5gq8/7DHPHygCTSWw6Gd5Sqc
kTBk/Jcjp6qSa64XYwUwIJFPfStP7SzMbF4qSeAPJOHJjON1OXm9FPsOt9UBtcAkQVTgf24n0FOa
f8j3/byAnoblWTkbEC1el/oMCFBMTtGXC8z/jG+nqRw0H73lYiqUkQP81DJ53zVvRbTBxtjGYC32
keELigdKYCsKekrdtiHOoER0oaS0ci4LAUYUJRArk3fGR/8DFz93lmuihIeMXzA7NxDEys9zBAc2
KAhirkAXCFhwfAIfZzbXhcvkXJ1ohI9U+VV3OF2OFOF5hIWjk2kyzEbLg1DcKEDXo+ztcpi8I3xp
QSGbEvTH14Kx8wZLpZZYbfsDZYwmN0Jt/vmX9d0MySYlMQ2lwGVTDqScrWKgSpZkGXxMVPXway8v
GkXRKM25WzW63fGAEGFDplozPhlSa8emx6kOSbGWggpuWTSCA1WWmw8TxmOwnJSAH61xxZ5iFHgD
PJr4nYxAQxazxDZtQ9Pp//5+BnX2wRmhwPz072F3TDOF3rHP7AODV9OSparXRK+cySCxfmWY0wBa
52JSDCVFE9p2liJiJq/C2QOn4Wuw2QpztnaEOwfOw+WxpATH6aGUUhU6gXPcGvlshaxcVtYoiyXl
fyq65riBVEGNFvsWB7f8f0FalJkV+5qgw0+YP6TyT8qCl1ELs3nyAas15spQM81YP2m0VB2SRNKZ
RKM45r4TcROoEUL3ctYij02sSJAp6rhjlG0ekerU+FtvyfqGD5yQfqY+ybg+izCQMioaNfLn4Wdc
CTUm3w7tYY3QltEB1MkShprYPi7XjwleJ5yoAvxPFIgRji+LzXADIqp99DFPmWEEFRhvE/RbYCxz
WsLQF+APEMCikce9O0IMLkb5y416zogL1iLOEHSayjQ47POUBS2wM2UlOWR0dEBg5QiPJhPCJY/1
OWKb6WpvuNqdQJ7NHVFNHnHndM/ynGuz5K0JlSnuWHrDnOqTM4r8fOXKmPAmbCvhAVyL1Kd40XNd
UsiqMs8PTWP0CYRBbXX/KWFsKCNTyxFrYTg8EgGht0NgCTPDU3lsyPIlAAzzvAVyqw3FCWifthNt
K125EVtM2IVuF1EPe14PWXiFebJO9O73bgtuIIyoksMHZ+DjlGNkCNmZhOnc1tvnzbQ+hVjohmxs
xZUEHtxeWVBMIJcSAy4YBLSB99JpZhn2RbUY3a58RYS75RWfi1gL2jIkWjPEAhzJmrchqPFyHIiO
TiXTm89CdEYX7hvyolxmPk6xMfg3/8Sv6MGfIvTEkvjQZVJMF1fiY68EimKDP5VXYiNU3R3uwi76
W5AaYWYm3J00ZUmWLYcN9nr9PHytryJuoiFzimBy/dE3hc9OThG3FHk01l5B79PnjeFtzZwjChD8
TCAqxJ7VP9h4jP/EXPqCqDm/NH8Q0DLYB2vfHHS+8MkuxpBomw9ZYmrBsWi+AhCziM0VLH5/L9w1
XKwAfUVrESxo6rUL2FlMeIPzyjouAqwdI6OcdGfNhnCaRI+Q4SU01QV1qDlTCjlhkmgJeP1cCUJK
cRcyg6pFbFOCZ9INMEcWEa0MMUUsAsuzRwrCzfDr9C6AMuMOq/4hombwzwyBWbHnScJeXqdbhRRA
H0afFafahPAwImwuUstao7MMnPuhQJEHVtBAJj0kmmYYTtikgHWIiBsUUqGfNi118ThtcwZvZDoO
SeKyYC41qoUXELxNCohbBFKqKLPus3XJuQ/5rrqYAeKv/DdNTg7yOJKf8LbDO6ruJ9N5TKvcGfpv
UVenbYJRo8GVZfhagAQiRq3FeurNogrS5zSYwWujM6xOPyDCnG/8HXq6Py10GPcWBf3d2cvXtBuY
c7xJZwnHgfY55cI6NKZtPBvcxs+6dYcvZpe6O8qfTG0DA8+QwtmjY0UlV2HPLWtW0C5jcLczrA13
olBRNDvDCKHRqZjTiMTAE4jQjG54oFJg15mqsKRPAWWNg10nbDPoUFDYbFmVnU9P2D1apd4+m61c
Da2fPb01Yz2gmtKfu4bwuQVupIdaM2PRyFkhjktrW0jvEiF/VfS/Div7WzNUg1JCczITYpoSHGg2
bMYEo5ZIiwh5ioXARRsNTQbJ2qtvxljuVmGj5s+Q5x7SUGEo3J1oCrAZSj3DeiI8uzjdzallLvyE
16R1GIItUoV0L+sA3uqa++33KQwyVmg89o6GQE/hHVNf+KpAiBE+3uFv6Xgw1NpgiTa7VewLB1+g
C1dK6PZ2i1ExfjRs9OiP0ayrZtQmLQWU6Z6INCJd08Q9I/gnwV8b/Q79QEsE+Wtf3W/0H0Lq6FDK
k9ZeWIvoGbG+BsGHkzrwIKV2vltxg0CiZQ9+fxGFJru/xNJ+HAz6SoKJHzYJFPsb4D2Di0aqfjKg
/WUXi+2CJmi68SqDvV+lHOJXkn1ENLH9yLIpG3iI7UhYcHH0rPLiJ7LKd1bDxW3Z7+QMr6HfoqXv
HJXMlaaP61jclC+19u+n98ANBv0V2n7WT7fFKFXm1NwNTXYB4xw1kYlBMxRgb4gSUZG5BZVcHJvr
CGVFYh5KG7bqMqjyU/JUN6P42/Vek14oShMrIATWPWHPnw21l1Ed9tGngVuNUmTrtVTlHI24hGUy
7SbUvlXuoSUR9CLdBS9XlZAD1WUY616VLmXI3PoQVYA+NaKfN/pAFrLvksvyyhNk0iyGBLS2ZPqq
hdej1921u4x9O6CvAk8Z5U1rwOVrxRRKJiiHNQmPt/Qync/W7urx03nnvWlcVePl1aLhO/KAGAjE
UOa3TpOZT6dTd/xz5vOGnI2hzxmdSATXiNYIDb2uJQ5+ssugBQ7FI6iS43Bf/9nG4xBaFTiE2ATO
MZ5Fu375i3mYlLeUf/HlME/JgiH4j9uFrqCNvl7ycuDNNyeMy3LmRzWlFvB5qERR4hKvZ+s/vSE+
9uPeFEgT1fkpwRCBkQ8SQpkccUnOB3G/McLNF6rZIpnughkl6zu7Z0+8xAxD+EWEmXwoZP0KdxY6
HXBR051T89fgRNTYUmScqfyroASCxB8S4v3Z3S7jvOAMwFtQ4tS1PG9gGdaSERTC7L6MvAGPQj5I
1AEWM7xi7wrr1LsPm5A3r5zNv6JwdsNI4mcJGZG2zf56YgxuqCUWBrdH1imvqPQK/mGRZms3z5Vr
EIUQ3UAvwC7nDKuAlXHiJfAvUkhKkIcAtEnXEHpyQMOEjtEy6+paKQpWbXdmCLn0q5WbictJhRKw
BicswKdMAxhxjx8RxRCZZDBBcgLIkIhkR4izJeOCcqKQaMUBMbPCTYlpibshLIGwFJafMYdPB+rn
CviWK0VGXNykil/LUgXcf1YE3BiTeRC7OxEBCtkjDBMILFE8iUHJ50wcySm1/HsohXmF+pex5Xju
Fn9P9lJOSq5ojg7hbtkmZm1YESrKuMkLzvLZWy0QlRFqtGJ701ANRuLqj3nlSC8WoqM33QSST1bM
zghEwswiEOCOWo0ISoSxvJ43upiYCJfv4xuFtOgTcyjRA/VcHp2lkzkwNgwZ0Ts0LBw9tN0R36GJ
SOZCeTfAXb9ukfeQebOA7OHww66YJ3NULQH8WFGGnY1kwnzXP1pagZ2YvxcJpn2A8qDnSJGYPLFF
jFErnv+CQdBzpbRysuLvmzlYrtsLvn4HmGRqnxCs2QFT2By8O0mcdgR/f2QNMZ6OJEDrG7YmSweq
bsVm2JaekaUCnEngoEzH2gaQO9Esgok+goqDABASjg1QtRP2SFzEFp3KzApDx++FQNLq64kpRXfF
wY7x6RV7zrW5mrqQHmczKuZKmWgvTplE0y3mDU8YkiYF0/YGE0bgBUhFnRYYjpbkJGEypE+0SogN
O9DrkkTS7tdgtKw4K9rZHeha/wg7EK3Y25BuyM0YojLhjURasWhLlRoSum5IWpNSxKh1Mp5XInHt
DEM5oVeB1s8nNel7qFkflw7Sd2CyLhNs0BgtB/Ry++0vBmOgIkjHGl00uxhHHSNSi3I7wBSep2TT
deJ/ffV60BN6qDJXiCmkVo1yC+r39C2af072jIguTR+ol6KyIYrML6p7UuFQZwvKHv3CYdLFjEjj
NwDmDechcRFzKTGbM1mxz4XpTrvj/uf7aRdK1tnaQiXffOLTPPNJCW07TGht+/n9vfsDYggu7fRo
TccqhzP3GuunfJ4ZhHBFJdUJH/jNfYf81v3n9G48Xeb7kscv0USDn6nPYfSspdnAAggEpysiVnBM
g6H43nLRfZ3n/3pdRH144gq1+kQIR8YpAZMLmz+1/O/rwPLRMnpA9YK8CjonmsHZu8LtwSYORX3f
iu+CtYIOGW7C+6+Ssar/sbUq+BTwE8RdVUlahDRYvHS0wMiFhM+fEFaLd0mrLznQv1xOTCNCbbBY
UfgBjUiJVm47WTkkYy2MICaTZIxBVyRYSkTI+pVtKXUn3yKVUTJPLG4aABBLPa38hgf4kgyuCi7U
JFQHZ2jRB3ao9BlaBZVV4pTL9OZjDWuYnYdwHD/CjflKH9Vxo6qNQCTSLeXfI0GplLNhm0Dy4R0F
GitjRSHeFhD1AetA2ymirTh2gnpyFSZUkkHK47B56NF3cog+HGPbYHKFCL30wYLOTmSsMvy0DHFS
L387VHbK6ZEKkOH6OAwcFSb7ZUME1RQMGVTHiZb/XIsOBB/xyZStYTgf4gWSmj3En+KvAVO4xDcW
CKeYZ0yWZQasR1MZGOR4TGRoDIOVP9UcASU8cmBrTmBm50AFWF1mLbji3YisqvKzQAYVCr6l+UlR
AAZQmaKARoc0wxoF2QdWWvVHwRiy9cK721zRNk7uRFvI6OyAIODteEAyYiiLVTWq477dY4ARHen9
1RyyGiANgqEHg4UCQps5b4bKNghJmce/j3xSGGjRFXNkDEmpVz/jaW55gxUQiM5KeY3HlaNXuU18
gX/fAwyR0c8gFuSql+luw1X8x1PYBC2xWlVM5JSphqu4rYeUwa7dY3DuPgxZLe5MZ3f8oMtgKtwc
kT86FENUJlepCvyczw2hJQQ1Viv6YDVoE1gKxm5SVafY8O+vwWPISbNsuQRshOl2AwMhyaeOJFNK
ZNgXR1qVLJulQLgAuEFTjPOvILqDY/yp/1WyN8sJXEakCmqLXIWuGMOvcNNlbAZVn3Z6MwVS1V4L
VhZkrn1APxFXnj5+OMnbYDdX6VhlyKdLWXIi8kEtK5D0007Q9VwjQ6b10LEWdfJ77n2+D4r+nsu9
DTrZYaT6EVQ1hiZY7ncPnuRXz13oYvQW2FRKkKKNdaxt/xxs+iyeKqNAYUgy3sHf9mFF87eT56Se
ovSWbmh9osheTf+xPFrU9tue7vzD/CW60IjYWhdaBndGcvUbyRIgXE8fO+dUtXfJQ2S3vP25gW80
8Go/W/YiPf9u5acF3wGpNLcaikbxdLW2VEwt+ap7URnVWwjb0I8nw6oU1IEgObtP3UpXKmn6FeuA
qlcVnhrETvox1c95DXYDNsL86bSxdZwTl5Ri2fe5S8tT/k0JzZwsdUHpFmy+kJh7rtloECiIkCIh
c+CrSyKtKkEXC0tEbV1WHYO2pJUyKB37SIAIfgHPjM39ifUI3Wmu/KLgBetrjwlAiJpncNIKxa+M
wX3T4UZYYMKEp+QXbq4ik4vT7TMGXE/aJiTmJTgFfFFJRXVhHwFzC8NCmClYVoge/gAzLgu3+8Bg
mDjZdeiQny4OoTNZJkh35QJcupDke5DgGPl9/N0j3rn3EEoJYcpTM2YuAlCRWhVIqj4fMaTCkHQ9
y7PVsiW605Y2JHwKnoSg+fpblzkD5VDddZte46EgMSokhP+fl3N8uB8aPGj62bnqAaOs/fk4rtOn
c8vmWhGmMNASf57MURenSIu30SnjnlKcmH0MlTmwRNF4LYWFf4FkWGKO8gkB6kYorZVdsAv+SCNr
Ht3FhFGVUKguJWAos4rGM86YHdtxXguBfsIKiydUitd4BwjMFGq8xxpwRamF2s7a5Fn6NBHhS14n
pGYpTqPSMv1fjN0hB152kS7/RwIkmUPpUqkTH1nmVYor7kzYpt/yUyUWXq6TIoDDt1M19onQGDxL
hxFh6Bh4n2DUw7rQbaSLSlZxBvBU2sL6wv1ys4kx8BEivxIMsCo+N5+QgU94uGPeaHo3U2HiHAOJ
i8rVD+u0kKESc1al0Uwn+fkVbSGiq+vm3eN6xPvL2X8iB5jHYjWioU6bnbpEFHh91PN3kCw5/saH
9ShYoCmmOKFQQ586R//zE0wlRFPBk/CF+AtbuYn9jMYWgmw73H0Z6gYlh8oYVIOuGjWOUNJ5ER5b
9rfK4MaMYI9fky9hfwkJgINzfh7yIWWHRoBu16MnYDhc/7AZ9MG0b7pDrm+2chF52cD4X97GAogF
FQrVbQQnjWi/Tg/4PlXfQPpTMNSadXQiAb+jlGZJDmAJ2DjqQPpq2xFtNmSRDUZB/Yo8oIiArSTi
ADeGC7pENg/acCvIAZNByqFVtweNfiMASmWU6VRe4rbg4v9u4Q/QZQrjmBiBVjYaloEMPgnyhymv
u1r2X0DS9Mlsm3h9IqNDVHKXqu8QPqWj2S8qNST8G5unYDn1C3pZqbBUsmZc/36EtxC/gyx7qrJD
9RtIEdaRVQ1HVWbrkOPR545bwIa7ZwiZF781hY5kFzHSOK1AqDgHpXScfkiQ3IL4hwUCUmixU9gw
do1chrNow+sxt6NBl7S1fEM+h8wFtaLD0FUUS7n0hG4EG+cJA0r82tf7yGxMFRcpJm9onSOyDPa0
X++/VVfclSk/Nk35u5K9KLYXXm3aLgsPjSTKeVoQhXZv6N6iy96pURaqBNW4gMjdTiCcUkdZjarp
7LsJY00sRyI/upz2v9uYdhYpE3sEwJkaJI7wjuPn7/v35NbdstjCjJnlrErTw1HB3u/xwJl3guaA
I8dpiyv6hNM0Y73hEtc+E64H+36jxEwkTYcpnI7Zo9r755UG7Qbi2mrHP9mPuOagHFq3FQehQ9I/
wqpUxFYOGUS+M6Vsj3LqG9d4CAv7TgRDIEWxEhSfGgwxwDUoE6A8Jy1ypqDpfTfcMg79ZXMn6adZ
VrJKdjLVtJW9EJVP2wid2veVUWxxQd2HuUFpJ5PG7AaJ4O2yTHwWH0arhN9AbYpZHzRcE02JxF2y
GCeDZAmiFkeXQXbwSqpMsbWfN1sahExfiY9zZZJKduDap0cQeTUg0ME+7tdidC3tRnojaccMmJqZ
P8n0Z72OR55OLlrDAkugvRj1mYPtnrqn7vpr98m2KxhWkhxXhpKS+uYXJkG/I9n4mJLLqtdO9t5f
dlvk3LWcTkmMKT6iDASIRefO7dCXUuaCk/iPpfNaUhxbougXEQFIuFd5CWGFfyGAAuGEd+LrZ216
ou/cNkVRQuaczJ3b9ADtxfp5kKN77pzQtZWdBinubzTocMSLgwofpopXYoWO/EETr65fa6c5RpwI
FFVH+SjM6XG2X3inL3VAOxZI0P/SEIFacBoWQkgIpQJseTJqWY2p4QX3sArSI4bvBFC+qe1Z4oFS
t+A1BudlBTKgiIQ8JMyRuNE1Xyl4YlIh5aNy1PqgIe5vFNua0CkPOksqkYkqPIjY3mhU9ClNV3rU
0ZNRGufcmZpri433tnvMbH/T72L730T8bbGg5BYScDTmUJ9YQdRHaAX797vGwdpPGLJKUqsjaqB1
UOOiNkmrkbhfe3YY4Cptdje2OwmWLpjNkBgBWsNqq51UW/OvIgnYqhb/syFoVdhcbvaGtRxgTFup
3pN5NfyG30xLHWUNj1pLhAPJObQ+aiiYwo6G4KF+DRhN5Qy3XFOSLT6jGkwawjY7GSuCVnPQK2FX
DGVpRxCo/0aq6mlUttdYRcSHlhaPiZ3k8m6VgZroiPexVm2OT/XTTXsYxZF+/G+h5txokv7jQMaa
VhWammHx9vCOawyetmwr1zFR13wilCldnd0/tStiBP8bE+vy/Tu2ak+8cv5GzTn3JUgio5Ki+cZj
LlmH4g319RGXiQHnr4aDVw6Gqd2ZM8ddqbLp13rz9zIHy9nWNqIWfN7nNuLuYtH6ke44Z0iAHH5Z
VA66pKhx9NGo+Ziqqv6rddWFQ7RCfaOPxWL65e4Srwonwbjg7Za4Wbp8F0grGl4qQya+GRUBhNWJ
CrEhMJIqV4EYbwrWC+EfAtf+qfTQrrWH3CW/gk4z9bZuo3+CKb4BMiJ3KNwTSg6BqPpgdLl6oIAO
eC5Y9P8+XbopRrb/yCC6CMwlk8xL/tHvOFG6syi59OveefmSwUkjJZ2Gaj2t65IxqtLU/SSiqLpW
XB1CJqrUqwK6OURlSK5iVRkcBrssr+OG4dkTHiDoQWPGX0+vu12/dEdjdUMhWo55+vV8DCN8CwBd
9I8oR/Hcp+5TqdReTN8sjar6KWuHLHXM2lUcC0YWTMCn9y5IsgS8iGWjgkWE/j/gD257cGuu6+5X
cvz9m6Mz7tTjq4ulD8Tzy69/LfneLnXPY4NzJ4yEB51bVLQf3Szg2vqLniE9IDoTD2h6V/cKCU4A
8L8+X2CBGe36+26BGxUsgE5KgXXFHyYgrENog8CEFq0WKnu9mU6SFhhdQxZN6zyh+AZH2wbYDDkG
pfOxP7dqG0GT2z5KYe8YGHDzDWAwtTvP8P5XiHIANjwfwzLSSu5fD0afp8kyZThDj1IrIe4gQJgd
XNZH/4aIZOuTGNA7d84d5Q9sI3QA3UvrNoR5+hH9FHcVIVncW81agaB5lwdFydKoPClzmfgevvEe
D91xufn+e8fHKiq6D6Z8Q3NJjbIdmjmU4i+ZwLz6tuYNDxb/fmdSM31iZfwKj6Qz4AJGjCJQEVJe
5zDeaDe5WOS2g9VTRByC/bX7cbdf90Kz3SqOG4Sc0F0yOLy43787fCc22QKoSLb5UCOhFfa3w9LL
TVGUR6crUTLFskTrTlXpFNSgRv+0JA/nZUX3R1R0GutzAiPshfFi/0a3zPyTKO5znDpl1kgeZMh8
tw6rIp5ayCOWmJ0xKm2+mDQ17PeLW7aK7r4wIJKBu7bSS0tM8QitJB/6OHwiP4lNmAbxo1kDfcy8
h1ganEcsDh0kpUPtJSpf983FrrsnvYdIIpBtWGPl5g1VZ+MHgTPgxiMIylMuhZKPvL2hdXR4Z+qG
Hmbz8eWAMNTmf/LNO0rHzFtMa3QUe2uahkRwweycDqvNBUgpULEZ8ggtOEk2+9B7iZcAt7aIeBe/
RNQdkcwcBd51NIPYy9mvvY3Zknkk6ODqfPqPCA9X+7AmQ6pPNin22/1Pya12638HnxxGjtVoHxm7
Az8r0rFqDz6MoxmtRgfo8jUHF0IzKYxewsc3FQxLres8KoPqAZrXk8fNuk+Om8LshBEYFMbML+yD
enLH0LAKvEX3NzIIt7QfUC+8LV5jqN4T/CJ7ldmLYgvyWLMw/PbMDiZXPLjdr53yIa4M6zTgxUQc
Jm/BJ5uJ1Ha3jpcsVp4swhtiTUKmDkDKo3dc9HaEOewGj801LkUNmKk7pTlgvvokKoY/OxwRvLj4
6Slevcio4qRUJqSvuYWVGh90BwJeRyXIFsyYAjce/NL0kSwsfMJdWANiIkMk/XXbO8bwGf/hBYeD
GXnQ4dt5EZpAuF677tWD28s5uT8Z8eI6fQ5KtpR+rg316NXHwCVCtXNZYK3L3TNlNKM9ZZwhc858
zKqBY2wcq0FHGZYzNYuJOYcK/vQ0mX1gv7ljCsuEaMoBgOrra5+e6fhxF35EDz9ztLZIqv+J4N4r
TZK1dWHyQSn5VVuObwuPrIUlKZWO5rKaoMyll/jcrVv//HdsT7V2fXgZ5ocYOyw4+MCBM9TsIZKY
AArhxAIOj8LvspMRM2ZthRYjp02hVcLj7D4pdkp+uYNEGBbBm9SVdFDBHqseHvhg+KpH2/4z/oxw
ktoGWvrOzLrOuCPZp9+05s0InIm4V13h6hTUZmUU4rXWdYWbIsahLzdD0ocMmTLjB0wwzU3xC3zG
ZY/8NArUd3xp45NrN5AdNvw5P8Swy5BJ7uGpD/PYQ/UeFJir8OGtKlJF/rTZDfRatD5IKc3fc/tx
K8gaa9Ec6NVmZCf6cB4fgydqzDpuPazfbMUf/9P+4qjeeigMDr8MCWsZtXucFZSUl8iM34mBZcDZ
gU6UegETCyIcWif31XvhI0DlF+xd+VOYyz2j5BLHRJW+fs0eFA3FpjkW9+yyhobUwluiazYlj6aU
GLKkv2HYE7IguWGMICfE1hfV/r25XeO8EhdAlQ14rtfg263F3+RCX7mlnza60tpJT1fjq3R/lFO1
KfLnQbX9hA9LodoW7QredzPrCIH6tBmzBPtZIWxMN42udpkTX3yOmWM3cxpQ8DVJc1IamJyD1BcL
06Ov0uvQKSAFrPY/yIimb0YMhTBfqvlhbAJnXZ+K1niNSo1i32Cv590pz4Cl6TgQZdlgCRTBT7s8
y2mCK13ETCmTi3NQbWdNY3B2JbUUkG5g6dCAJVdsGyHLY4KuEPzj15tTM2JtaH+mpfAevVFY4Sck
jL3SQd2GJlmwAekCo3prS4V18T+79mPXNO6dwsm7TUTnq7rvHkVxW4T9XgEcBaodBG/NjCpdDWgK
gwoU5ot/HdcxoZEMVPV7aWp0rwEmapGuT2PAMXQeqwxaGR3Pk6AeMdLibYx6oP+lKt/6ugp1FEfq
qqpMp/8KzSrsOmlOCW/CGUo0kuHf5ON0iCqDwlwA2nhM2U6rrWNYn5EIwq9dG+2dRGYScBdpxS+x
QGciQYwGXTbQgS0TD7OHkLT/ZFxhwhCx9vFpcqCkUqwRRfQCEPy0ysZV9+YxNJA45Blu+JZDH69Z
UKcR0P5KTXqCohKxWZF+0eiWuuX+j/FmfkEvDmO1JKXQbCGmA6PpHePLhKbbewOrcOTg88kxfq3Q
IDwZFuSoDlWlVy4WKA0C/tT71N0skf8QxMrmtgVXMGDC38TTlJ7qHBTb96jYJv7K2cbldiPIkAiS
UsKUobcNpeM7xrJa+a4ABHYMBDkE1GD9EvPZZV61XjHWYHaNRCrouxOU4jkcN46pjKetjrbBKfjn
DaY536sFqqrHRjDHDZV8rfPeh2qAqKCVN0hB4797HKuc5CifYdzxaApgeTjzHgMZz1CbTMtxjKvI
3H5513wsSG8PjCyOw9r0SSoXb8c1iRodZkpAPlWENJVpIS4CTA0r3cJfvb8d0gRxpShPeNyCLWvH
jTAFHGTomyphiefkNIFfV2SCcSe6/DD6rF5eqfPplEI4d7tx1sRr72691VdWZ/u4QQ+xunlIkwNR
FXl07kG1X5pem4fxa5pxi89tE/ld+zzW25dQnvQN1NCFPzp9H6Uv8gUslmzuxHrR/Sa/F5Al1sy5
wbJxjpfCNTgsTV1HqW3uzR0CmfW8Xe1nYzAvoETE1BBV5L1G3Y59Ez57cED/aD3pcWxcyJhyAr1V
ulfwReC6dYNkyBPNfcoiA4/ygPrGvxJbvgTBmB7BR/KAb+W0Aql/F8O/l2duPgxCtu4C11DlU1zD
HJJDzkz8A5EI+34b4gGpkl7JFTto57StGN+dBuir9vAAHGLCAExqQY1pSp76Ba81aQZYYAsAF3pe
cvWWAokYd6hXfGxEeEeRQbFZTRotw4dYZ61MmHWqzrrrCwS/adf1mY3ilAt/jEAst0thL69p6Vw+
1gpyUOi72KHIAoOsNstYyBOFjVizDZpMTTQ0Dde+ldEsWZfoEqnnB9LUaspJZUkWtFqILz9dwdHO
luKiqlkSZvt/rdsI1Z4K/U1xl2BEzp6WevCRZYe20SxZ5O9al4UbWF4NM/AI9cGtJbcYzR6Eqwpq
Z+viFSX+KwfPOg0qKr2mZONmYIJn4SV7ibBw9J7JGSsttZQwCc6UFmVgNzWYQ87lwHCHr/aZr/Br
RK0OBK+/5cm2qdm/CFYGu7UQOSDCuOy8wyFNee4c/riMx774ZzL00ia+KPP6HLeGH48euEw/7LdX
XzuA724kYhSkg46Akh8O4F3ss4fpDYW8PJzAIyhr6eUFX+tM6Cz9sTZBfD43aWi1WeBCwT/s+RPb
Wh9JdQgy/MOI1YHKXODCALYQ/FOdo7gdg6moTX3yLWrK3/ZjcozZnSa15DOpEAZtgaUqTerM0s2Q
spEcRmavtJq3GglfZMXbh0Q6IsnOI0TeDIlBV1n09+F1o5mq1NlPHBEltiP5MLry/xoTa74uWAlQ
hjG/+l3d17Ol5rJyvXhv5hWrAMD6YpQ8b+kNpRk9xa8zq2qjI2FZrXNCM/10G6jY9mHa1rRWPw+a
rJeJhK0l6G1zePYp5A1RfhdtY/Vy6vypzN70bzSug0Cu8WKp1NiSZTwusj0jL++ZRG7t0X3fgRHq
9nd1edrz2XyWR7SX/IQv3c5IhlZln2/WLsIMXbYJtyMb7pMxwQmzBGbeDcYEhcBEmL/bzIeF4DQR
Wq2lvNDUhEA2D5xfWYlwwXhWVHsILKoNXkxrIBHkfcqPbFxuBzkgAhl81oN0DKf0VwobXNZ9bFKx
t3IfxywAv2uziKyj3L+9LV659TNCk+1mLsQi431lNwlUw8ZdhMVQ8tLgAhHBRFV/gu15jz886c/O
lYXlPDhRN+Y8w0XqO7ykhlRKSW16RJQGwtc6DovL9xhB6J5x357Jzb5XhriLVgERG4O/lKb+VrVh
GDaoUoYv/j7czg4JAuQU3iOLJLAHHPJukc4bxjh81t//isu6FBRpUp07xYoPOo21DKTF9Xt8I5H1
bKMzxIEJijbfj0pUmJF8Knm+tr3b+kKMCVJDfgJYMvE3zhvf1wRsgWoRhNkoUOb9luzq8vaxSojp
W9cOqromM1cGoFev3qSA7qQNazcpx40RhBVw3IThAr3fDsNmI1J/pTbmBPMELSQpymWvtkn/aKcD
EcQ+/Pca4Q8O9Qzn11NbZT7kW6aookLdiZk4Lfb8avTmnSLJe5lCCmAULQ7hPCmuIAdPcmygt4vy
SoMBQvMc/MNkq8J6euRpGG00yz3jpC/90y4qYMPMPdLaenPI03DtOuQJJjTUIYNavBaZH8B5uxJp
TAwCDSHH7Kxhf1lkczSQ59T8PQe562b0JPpcu79zt+gUojJ72CViNNzHgnd2DMCKXa5cwtm1HxzZ
a/bqMTSG/b8RcGDXm4cJ8ZFl0UQvUZJzm77t62jbLay202133ssgdncqq0t8uLI2VCnNqEwxncBf
YEspaSTz4XxdnFGiogkfs6GfAb+QL7IvjlPKQtxjWVSpNBCqtiZSsSq58xuXiHEhfwAHt92ikDw3
FHmn8L65rd49MOo/Nnlp+IU5bmNQsaf3sYfvJbiTz02MVh5oNCAoA6UCePPwPr4usRnosuMAT8eo
4igvKf4+BEkxTSH+myFFY4D4pEoqQTcdl/1C0niScmIhpf04f0yPfP5ucIqqncbsQG4C8YV2Jben
UUo9ZkzNGujjNPM/e2UhnoJ1maR3XGjmg0/Nur7tOiltxE1MK/3Lsn5h6OSYPPTt4nTXImN2/WrO
p/PuraLArbp1/tiHnklN2a7+lUMSMHARJ6po2y5OLqMac502gMCXmW4luizSQbljzLo504iK/SLj
4EsysbUDAwvfhvXplZACsGh1rmRSXVd557l6UanDy7/LVXsixIm0gAmI0XzycQ/cJx+3jLbW8IvE
qgzy0MQc7ebfO2Zw5PdSqzquNk0Okh3tM6wvv+tLD+dJnx/ewnswOTjGuhyUgwvuENQSuJma4weY
OMYr4PCEyZrg2RIxIbLSEAoTKvZJsCwG2ls3OqIQmgoiy+BxFBggSOUGUynG/49NBqqoC3XfoHax
4XyLrfAAC36Omf9Gp+gWnaglyn6vyB5uuI/eOdl1WIzYaIWZS1Otp4Cy2i0u9259PB/XwTNvttpr
cwwGq+5oZhI7vu/VA2PNmoIr5PA1fF2t6vjOzv3B7t4umbLdgpyt6TThrAxQWZKKy+p4G1FTD5mn
tnag/WOYbcpqvbQuLLCEwI5Tuh5KXrwxwAQ7tWkOXms/I9b2t6SnQC3N6t9+zE9hfMiAj5fxjIbH
IUtyC2uukA6OoomRYlvGE8iEKRM086HQWj/HFKsM1Hv6KWmCeZmE+5iZMiPsCoNUX73THH47BE6E
3rDzaAYGarPVTaP1ltGnnpfalB4eI3B+dWgdqNHeUAe5bFySAjRCWUogfnwiz2dGwhb48vI323oO
rnvuYl4Ys4xyOrFLY9Z/gWh5ohvjCRpq8t8QzYYbhAqR+5b+XA4xkATc4OLXOUL+McCPjBPYCM9j
UF4skOhw4JNmHCZcmCHmDU1wzDfebweGSrjTQqHHzAw+PH5UCTwPknexl/auS0RU0QvERQR3YGHd
nOUmTFBsNxkrBh/PgFe+j3vc0/yAXbccp9MTB1fmsPc9mX6CA4GpvMc50zU6JMTX5F8kT9DhAowK
Mr8Yy5x6MtDKOhSEkJoeXHAl12GwFWhFzRKUijBfKB8ZwU5ENLpxqz07JVJ+L1GRlyAeakupcHKr
4MYlAB5uxeidvJnFy7DQ+Dm3nT3ejMntAcU33X6MYwuGMNvwjKkscWWQc6nvSX3OKF4bkbKczeXP
xQs0Zd6+c/+Jg0+N0q/2JULU/Hi7xpSKoarMN1TLbeoMfLhc/eeyQYvMPcRVrOgZbZ3JlkNWfDnH
gtDPUY2Gq26En0/ELYFJJ2J09Kglrtj6vuTsdmkIeLncO8kzPw0yK+EUTBcu0VcoKDzoXe1FEjHu
7TosB6wMz6X6DKpgVcTSE2Dd0hU01NlA6EGHDW1sUIhF7mHmp9GeGgdKA0AkJxGBlThSIH54aMzv
+HMFyh51Q/M6xtAUiz9RYNVw8vHGPDS8Hz9MM5lrU7DLtgVdRMpR2LVEywLDXGUSA1cSniK8FvVA
dTt4Un407wHng87ToZLT4OtB4dF/WiNqRvpaCfkaTllfYhZFk6SKP9HwlAPe4VgDj4OTOf47+lWg
E55FXQTVZY0/uZTSGoQScqLiDKq8i6wJ+Wn68br2rHlrnQ02OU42xrCsMCkPBB95Q0fBM8SCQbV1
ggmFw+EQKu4fDzi2FWs2IHqjIZXUz7SfR8jTnAg2wMFmVMiz96HTgvB18PgrExosn/zjTLIO+RNr
n/2e7eTXLtLWOFcqRGZb0WedkWRfHvNgA6dooaRX47mDH+VVl3VEggQr0LfwuBR4KHlo67CL6SyD
55JLxggWmkCz+fBEf5YVi+aEGpxzF3D+NL09+iIWoffkJtHArjKt9mET8YqrfH7kAgAdavMXyOMV
FTEvZQmjwfoxqan+uM5LFiJq6TXQHtMf3hkeTsq9C/oCKMLYnfUQT6N3AFoh2xyz9ccJtIacElSg
b2ahnH75PGKhwxCNNRDvNk6Uptv3nz4WDhqYqGaUsIPg1uRjCONsBiJfbHsw6JpwedgjnnOo04Vp
2oEwzZNS3ePIIgSHtXtdr3GJ0w47ACBqcXwZ5rAQuVVzIJJNG9+7mo3KoZ38/kldQC/ZDBc6CsQ7
NLgaI9cxRGVroOxHpBEEYl8mW7cK2Z8rzrY3NPhLvXlnzZNFKnh6HueA3xhz0zgUqHNlAy2uJHxN
zcmxLyb8BK0fgQx8TSB4mcS53GHyEu0XROEwNyEMcdTo1SJB0XwDIwqGgOqcCRDiCvegx3zsIjo3
cn1CBhborNjOwTnANphCNcjQ/jDG+eJ825hd0YMUV9tFTmENMxA7ips7R/73cA0f11tf4yWcvigq
maPIuiNHeqUQB+xiATrQcStMm6lHHVXf3jtEplt2lwNVy1W0NgwwGUw9vcLsPXmTLFdovdwb7yQV
HbE4LSnArkhQZGGQe4VWzhjgxFBO32vA1jGic1gE+E9pIsiW+4kDy4xzy7HNqALAolvbYL7YrXoy
X6w3aUjwyMAuHG4YDxLMIb8qXk7vQeV9jK6JwUSm9Rji2D68rY/UASYbZIHrBamBBaLG0K7c3Pdo
HqpSZbP4tRjXXg4su09gkgNPKJUHtzPNm2ykC4Bi+JcOoQxVuMvFzGfRUJbGiaUfNCZjy3wCDTnn
K4QxHqx8DE9nQbwtj/+eFNmISrr88gqkOjH2Bxwj15VpMH+g06OISRPECygi0P9SbNHY7Jitvdx2
cIZJBza/7cETKwYR/9SGI05jTVw0b8JwesnoGQkbAuZehNQoXiSs6xRqou3SqDMWOLpFFPz0StsZ
789WDozNvgfc/7d1Wep+ZoMsh7+Hn9ogHzNwFc4Mwt8YMKVwH4ZVBPmXHx2+Opu0DZZ9c8oETrUx
H81z64W/C33x3HqEV9Jt71arY0xOuD+bUTVK+5/QgGIkqwyM5cA4lJKC6qKHz1zaPmDDcfNuKya/
MPpQZHOqZinADtSBs2vOwIQ/3Tr8uTu2alcX7bgocmAzjLAb1gxMYQL8XSqx29ycIvMIqv7k59y4
IoD7tQJYcOqQ2edYs+HwBjTyhi+OpgsJ50IDCGxW4woYyptQcaAMfEzxj+PQmFZmznPTSE6YOG4H
xwFUBPB7CRNIrCIJfAZrOVIONwQbt0ZQzdHJh8/Wc31wB1Id7WHmnYfw7RnxXoLwS23jp7M9aiVn
5tGRDxEZQR3xrn4WnLo7a2f1WdwZH4fk5riVJqfR6d2wWDlYs7kvqnvJOvfuPcIUM/vexsDeLhJ4
cgtP3XyR9Q9fq1Ue1aNdcPprAAjaWL5+nX33C2EkpCnkZSZXp1t2CSSJnkypwzS4hcur3Qfl7Igw
D88IAAwOImqOc/sRVrxPyDPiZb27JTUv1PsNfHYy1BuTOe5LJe+NNq2773L1De9etc4Sc1QAZGEj
3tuPwdy/jx6Yx74Xr1jMjsHBD1uTitMkxoXcl7j4xmmwxGYPvFafnTFszJq1GJP8cYpn/qAG2XK0
LLZQpPgfzJZbWQKfIuvUx/VmeqVoPHuvX19VWTPpi15EXStT2rqxKwOkkFfqz/FMg4vRvINvq0SX
YWVJoStn5BltY7C7UQI+PJD3y4SJVCV5NSyZstGUA9H1DiSx3zL7TOz7Y1AGPSal6WWfU+uT5DPD
mQMfQ2R8JMdVdV28W48uvBX3NkibF87KoZ0tSuiISL2GRxWVvKJNm1DDChJFRQc6jfwWqBY1vTCs
asOpDTKIX0Vu8L1T4RkHE/vx6JgzMEmbspkWSy4jnkaXdYRdqos53RIwqACfBvsnEg5OCANk1cmj
DwsFoyQ6Amxou2VK6i+DQFHiKW0oYV9a+Z7Y0VIgzJt1j6zwfG6du/AXibxig9pgK0BDuyAsNWbF
pY0nQKbiEnOQgkJ0JRD+DE8z6nwq9TcrWiJbDnLyqJhoLQReA1vfbRYdEhiIM1GgyW0ouj794jBL
ysvX+gXuyt7KaLGnmeHDm8/A87ln3u5uITHJlecSO7y0X2RC9saO6wZYioyj6j9HN6ZsxQihC9Ux
AZVMWZHZcuPxs/lUmKxzPtDET6Go+lurx9/sBEQGJ6uo6NzJsGsfulmXITc+FeEzbEQFP/2bw7Ja
vOMTrPbKqB6cIlgoWDjQuJZlXNWrLim9usXxa11efigfH5jPyvihUeCUq+HZumxAzC3mzZy4NDQL
D/qri52PDw4/G9CaBhDXUhF+6iqBM74b4jF84B4zudUdCBc3QB5dQq8Dolm/1ntxC3cYMNfBcgHe
bKAiXNowhJbtOKzr2YmYz8RgjEgtjtUjwRuz5xIniI4s4x6U+IeOOX4mpxn71BLoprtfUwVThpe6
1a1H7Y5var31tncQs9HaVt1g02OsSiFIN5lbct7fNkvUMwTNuBkWe+jRLdiuO6sNfYpxbVjK3MPw
0M/6j8ELIWW3NqnA/Y3xOU+tQ1CyLsmjUx2FyGMzP7TWx6YySQc3xULu8RpLW8o/rzs1MDvoK/Yx
ITSshZVEGl3t8seWZ+HuQBR63XnuIcpAqhB+Bya4KHovIuzk8wYi1wZD6b98mEY3mBHykn97V6dm
Xw1r55dAvNwKdhr2cVwOd8Q41jHpdvmZVayswzQ6dtLoQUkf7TvQrXsGx/0NnyQxVD9WvjaC+/rZ
KhQJRTt87M+4hM3JMclmJyQoibE0AmOssDQjeKO4RJLRy9d3+5XUR6yFuyBtzqMqpibWJ0Q3hX8d
8ByXMHyB1pUyuzySDKuGvXfuLsl0W36x0KiHQFxkjvYhnThGT/nHT4cA7stI6twC01FYN0eyNFCe
iPP8nqQ4q7gHpNCr7eaB18QOn41Ge0uQ2t03llnrau9cMt0+1pzt/EnE+S7a9fDEuFGcZNZ3+WqC
oyl2bbxP5t06z1uT8LePdW2VrDsnodUA9KWfQZnB6GF07DZwyRvNoxdbRT4qullQcjIcyhsegdzo
u45/fNCY2C3H3LADVJn+Wp+/5+wBk7Ozm+2TGpy/NcezJ/Nt75GhycF8x2GKeuWNhUd97+MKwv/K
b/t0h9tkmdNSzSoTDsNayAWHPog6nTaHJ8B/rswfxEsAOejJrZ2tXrMt5eKyRkU4g3RNpsDdoUQ/
w/77QEL5ssoduh8CjMHuOkBiAokhJKFMrliXzXOFNd7R9c87vwii9CKIg8DhbqNvPpwiIfBBwZ07
W4ihHUBHhm6QVLkPce8AtvdeVr+DYC1aHtwDTmpE6t6ABJtF03qvK8Hbvx+swQ0gpNNo7lfzUbHF
Ra80uaHWGXYgPBV5l6ekB/Gp90HnjbdJd/cHRWpHSijL79d9DgobfCD+NGA7EYb9h8Xlw4Uqc2sv
BGfltHIBVoVfqm44XQDzSvh5OzC1KZeF3Mg9M6WvGEJFQhhsjXfYh4DMOtMMvTtceYQToem940cb
Ro9T5i1p3+ne4mNzrA74YZMz9YJuC4QzuKCe1/BPP8cEljC9XRfzgSP8ywttMhXxBfTyAtijmSzf
tBlW4GCq8Jc6ddjw6dtvXsLRtLumM1ZcWdTjtLo82TXGBmjZz1T+URG9LlDngWEHZT8EFmpc2uQE
oJJVVXAE3EJfapd8jJiJynlctNj3IObKmhbOD+/zGSabzKN746P+pNdXPuk5ZDOgFXkxjjAicyUu
G2HZ4rFJPod0jqExfZk7hvzGnQ/Iq3iialJO3t7tBooOZ02xcDuIgMTay8qIvFHkYU9vP6I6OcvN
DQ+V5L0yfP3OZANuNwwx4NCwjrslrD6r1KsnjVm+qs2KvOxln3Kn8PCySerXhnOy6Z1Cw35QgvS3
mw+kJcIgXXOKtft1+c6TRqNo76+cyRqOK2QhA+4D9cJvPDjJhgnyzmE072cF1NKcoKbJHQzuOs7H
TJHyq/ukNcNEJ9hxA4bvQZ4MWe9d9+qU2nH6tvjLvRP0CvEix6OFrFTompyVI5D6xkTPTzvNZT4R
VuTcG5bfHtJ4W3gdjrcjaM/WetthhWepl1MO7jbFzg06xUjr28MCCNSd8XRMCGa1Hm8NE4CeVqeU
e+Fh/4h4rKzQA5jaSwTCWQ7hj7gfumlMFljvL7yZPUwH6q7FECQJkLVSAsi5RcjjWIYiyPSmdLRw
M2HxqVUtcRJlMDLC6IXNBrcCvtE/YwBhRDwzdOAu103iFDHQp3yXu/h307YtN+bade8ergi8BaxJ
Djb30hd8vw+FDc4xLdoyNqCUHjPDuYnuxfSVuyNWEKRmKhkXRTQDSDgvnbo/a5UocQAa+A+9J8Rn
vOVb2y5/YLDMkGjOq2XJIdvBDsINRY54M2Pyi+Pq9Jcz0sJEP58gwIXmU1PaUAtRz5OuZTL6q9uj
cgSNcCS3OPQfA5Z2rOl5nfTA6Hi2TIhPeHPIdJjn/WnXrEJH9Cx5elR+/cEBbpO0SpLztFQ3a4iN
KLizE12CQz/6I+bRfHj6JYVXQPEJ2PGqkXxkyxiW1/0ygRLMHumCjt61t+zUrHpPB/QZiAVuRlmD
CAvKCXaGa480XFqm+XQXnQ/u64H9997bEWkDaRl0xq0AqiaYQgxZg9PUHhyggIxLTfZj5makLaM4
YgCz3pIwWvH0hi2jmc6u60/wDU6d+7AUXLQjZamdzY7ehZsNpt7dzqv2c51fLWPMbtXbO6eEIZ3/
YLc/z0pkeevV7P6dEzTkgF3SzqJraj8Vnn0dypsig1sSVg42WctLmroeeb6dY0cHSXh2v4Hzkb8O
d9aMq244nbT3orqgfIZQWMWJggTTdqOP68WdqugbdGiic6gBrSWRSqoPSuP+mlVkvO7LGUvtJr/L
hCh4LWk1I4wvvHMrjbK6m/ZSRjfOYTifkudKdbWjsDo6B3Acop/h8w3vw5P3T2R2xlCDM2wNlkUu
ENmsSM+29t75WH73TCm2907eE4eseZi1UsoJDDcQ/wYM7h0cEHPuNbvKe1/9u1+1G7SQx+nJu0aG
c/FqwaubuR+qWZACUkaqJJQsDWbuX4e4qFByMOnKVQlxKw36mClhctWmm3EgoqABi1UlPqzuijOO
dwHLJ2iSXK1EG1JGOmZGwEq4mvCc1nx7gXclbN9xd43xyxQLDXmoyNNJzmbEvOcTFM+ymHo7MmE1
8HuROZUC79Ag8S/PEIOYD+5QFZ8iC1ALWxOed/jeodndDV/NAw0fRQyWyIf+ua2uON80OvdRRstY
pBdW0oqM+KXBQRqOg8AjNjcS3OlaKhHzCdskR5X/dW5kqwiGkFz+ay2byIhYGL7004OtA7FDAMq8
p+edR1o6fRz/ZWz6N3qh7cvpx2W8j/zOnYFh0G6KYdLKbWc2kynKB7KHCdpR9Oct3BKij6f4gAfM
FNae0bwnJtWcdWCCton15SVtUSe3l3TEDqQRjA1eMEE0KWFxaQDw5xgkz+7WrGG9R/rZcEh4Ozgz
oDMvZIwMoT3J4u+8AYUfhyv8VFAxODX0xi2yCqyFAFFkO1Dt1axOhhe/dIeyjagwK1fSgxY67m35
cJOejI3AGfXSXARN8vQEWNAs0h8qFkbWq/JsKEech4iJ98iMyhBYJlqrgIsGAl6gkgEeWH2f9zpy
4mqcfilN8AXgnE0c8axlDenY3DA2UDwYDK6ZNuQcyVYU1lxI9mGjM+8xbo8NQtLK/CwzouFvFzpz
3yRShxxamOzdXb8KQmTQPYOaFEc1mE4jI66xIqUu+c/4FTzUbLg443goZcla3kVZ9GydOpckP9vG
8t5STHQlyCKynXkJKdnB3U9ZAOA5wDRnX9KZ6XPkUs0YsUG8+7mVDbcsiHLGeVDRb+2zzfbK83Tq
fDG5q07Jou6jkAga7cuYiprflhUEAjCgkDmGB59OYJy15iG/nBVgNUY5wCAsaTvQ498uOIxin6V6
FxBuBciFuftUoijycX7TvK1LDyyiHHRZhsUyhjk7yZWvmgC5dL9I+xHAm3TYcFs8hgagjii0ok/r
1d/WvNoI9hiy+3pQcsk3hiR2A1RnhIf5WWmxbb7DbVMc8q976j9hlVc9yk/Y4XpVCcECvacEr7Kg
M6NXvAvApiBGcIoIs3fTwEQNt2ve+0LBUtqWsst92p+jj614NGBl1wQnM5wS5dfUiCtxyTk03/7Z
7uP7c2Ipgg3iM/8hvpnMQ0lZcmc6lTmeaZVDjPF68Fz6N3T6F8sfsG30wE3oP2ldGohA9p27Xxz6
Pum5xqgYNyIlbaluFkvuHRpMLvURiZLNNIgIirGJglgjTMpO7zM6sSo9qdBh0N05SUwZgDSgJIZb
4ifvoWJoSy5tOe8p/yBSJLmJHkgA5bTxibXIPgafOF9cWaYM70rIU8aHP/crFdwp9t0XuJ/QhwbY
obbpEmhECceXA5pk0qCa2kUdXfonZuzv9pvvFxMzDQ5BzTNhreESHwFihF/KAhpoEqj4KZY2FE4z
N/HZP3oGP+AaNbwtu0BxgeaYYKp8xIl2D+4uuvvnnpaOJWsfOzbq5rt969x/CdA/Uw5rWcL3Eek7
/Ud325GBY4GZxPphrfQneSW6/Zq97ofL5dJLLXZS+sX1oIoz1NVnw27WODtyoVRiWju11iuf8i4e
aM3C5IRVdnlgmzzbSDCa7HvOgF7/qh0Qd8j7lSpCqehEDbBXdUz2SJpsXlcKtD3vKTuuZ3ubfMds
9h5ekDyNsFhdDg858rRkPxb32KJymxEhV/FU9GiP4L50+egEzOkZr79VWWBgRUj62c6GIc9m68Pm
TIsoeovYTsAmbtW5NOtOKaUpNbsH3ySfGEusy5hn+jI+MsMgarltdi/N01I7aDW8BTKs3Pmn8RPu
sbPe2cfmjuOTI9bBXrkrjWfKPKlP5AeaYAKQinIJireBcwqeBrsTWWbuTSs4M94dsWmlbZRn4X1a
DBFNOauafWlycIMbB2Ztl29i5nWsqY8pZmyGN754Cyr0rQ4emEgg7XRogEMWrGq4a1XaO99frcic
7ab+w1qbYDY7P/Uxp+cQ+xTcktVciPFCyOd6nY8ze4TLGRiTCq+G2+Bm4NsQvFilftXZL6m3+ilv
sLPHL+Zetf9YOq/uxLEgCP8izjEZXiWUUUAEGV44BmOCyBn9+v1Ks8c7OzMeA9LVDd1V1dUh16hC
McNpoBGiigddzKV3dpeCo7Zmmy+qubxGLKbw7G4WZ/cYFA4rJD4BgkX7bMt1nd1KQYHYEyaVvVQy
JY30ccGljs/ZdtyYbsdzb2NXmAU8zmf2dJ9BN62sjeeC7yRwAG+gGWYhchXiaPfpAtpwh7hDWiou
aqFdA+f6buMaiZunbl6FWHO71b+6Le/udi1MRLtWqqn6Rgf1dA8OH5B2PKI/C4sA+zDuto2NrYmz
iecsFlRxckVz0Ly1o270DIgUzZQKqqSSnsLCBe9nplfdG7OxDl2gHXOhdTvSvEzZ7ZO6Mx82YsSM
DJO6DzzJj5U0FZR/Fc4nrofrfm1o7P6OLklrOxSAte6D0lBKBFsIrUNJVe69SdPUcu1Ah85/hnIH
SKSGvxu143Zc86VanYeUUdxwYqcSoN+NxSLJt/2OzVSNPAQDXVemFPUq327QcEnu1IjGWD9ael2c
exxuxTmwp68DYDPzOqrSjzzYTLEfgN8ojBWThfQOFETYsHxNYOCKQRO3hcYQnRetzMgRn8CEhxVB
Or/hQ/fG4tWYY2DbwO14T/R8IUrfWvnsFmJv4LOJMeab4ZZmvVdcSdchPJBcap9Mz4PJrOEhevPp
YXxnDTBpvCYpQZOD+RAeHEnaruCUbTIFnhzv21wU2YnPqbqXN+c4CRB7JDsSIf+GXYInTmBDnSGm
ELq+uXcPyAKsdGPLSBdRG1cz0oDwmupiw2efzHMMIBhuLY1UMwNTYO96ODe+cxhfmExN0vPeJTw5
THHr4XzRCoCgfuvWGMgbI/eCACGX2KPU4odOztbqMtnwpw0IYOJnfCTAOjhYtDIWPJFov7yt6sGm
ahzIheZwxzeaw+yDV/Jmh8AU4qOKYreg+9X2Dzt9EzsnzlicIsgmzJNPxjJ4soXsFhVip465oa5E
Oeg15mPg4C6zs93MdMM0YzsMnsPCq/KoYUp7bSoriXNcKm2sguV4QlTy4RP2Z6PeP6U1zp0nh7xu
rMoBcEtvEZ9qYsC7NZMRmujCvlGQSOpStWdNt957epf02d+cjUekMOPuxbfwSBaGnoWMX2WnXQrt
3oRL8Bi0fnAqkKyYQbETkxRM6F7IMXnkA2/RgfXWMJ+jW3QzykjD2oPuH9yL//4tRmcsZ+3O5Dit
MllFPXlEgJxBzGwWojK1vT2a41vWQe6Dq4x81J8cpp+I2AYVzqzZ33y33S+yPOPid34u/iuquids
iZ/+17BwcE9DmP0NSQqtSga+hmd8pSfqTIgot8FXWJCYId7DQIShNJDA9wp37hG18tE5g/nsU9uB
rAxVB6kCOupjch0xTpyyhbsApHgy/+IJhDKBPIbOVu4+0js1HvZuCRzuP4dNl9zZ2pOZN8YHctkn
pRYclOvVM+v0W94GSrbqbfrqGq/chHQgupnt7DK4oJIZHvxbWA264PGFe45zP8GTm7+cxgo+Fjqs
F2+oWub4oB58xvCnJOD+walHlfHcWJ1YNBw6UJ/Qy16bxKjog7P6DwfX6cPgfeVUJwZ3rlgXv41z
fPDbZH1V7k9hOvCAwuJjFrf8k3+MmwtGj60niKE6WB4nnCeRFLCu7kSfjAm1GMHaz9+4PwucipK1
1egBb+AJnbBFcNprcz6ZYdOYtEmqAVNg43ESAo45qNOP/Oogjlix7AlB3T3M4Cvik0Dmy2rPUssH
uV/Qr3YkO3a+YcDygZuwobPYWaQw9CE6DvbtrQns8iIoW7yc51AAwJF1dPBBE0iUqqSdEjanjJwL
f9w7+acZOxsH6oZ3/lgiL+o9PoXQ7MxLc+bly+Fh+m1+HeGvYLbx3Sb0ibzv75PbNtiAtA4lDzsZ
C0jquaOYcj+9JsdEOEDbrvYFDTDhiLTqLrCVEsf9qOjdvVPU8Z9zSidUPEH5HQ+XTY7beJvLNydR
B7SF94bCtzVwfAryhYnc2lRJQcoN5qQ0+d0Twzg7RfLGaJB71wC5QFfYyeWtPQdCAU3ioJ2phgTI
TEVZN6QCWr5V0kTc28jua2aeblNM5HhjvPCszr4M4rrf0NuQldVvurOSl53pMTd3IMT4i8U9yxof
gRatM+SqR32HLPP4ekx43V9z2eDmSKws+/tF6nrj/ncjVXZcUXdTiUENHzmtejWReLe5LCXiAc/x
TzWGwggPedlJcPuHd1/TqIVFfF6+KEmpOdSonPvXfgdhE51cO74GtGnPfWkF+hg6wkdV+y/n7eVB
4XXt3DpYrdXJv8ZNd48MIPcPA/AyTtPTICdMPRLDU+fnHPxmcBocyFwF0+1sHrJ7Wu3inAAYM3ts
DPBWBysZQ7Z1ks60k+DU/nTXKwIJmr4rwkbERHNlvgcSPs5XLfKktXH9UjxECsuLPPxbeSrlr6Cj
A46T5cTfn27zRCiTh3nIVMBuFZqQH1+T4rCU5j2FzARhLC31NcVkHjzTIm4KtmEDvTAB1NVFUX68
i1FqQTFyDOM4rVj4uADm4Z8W8DEElBanq9OhxKCLYXozIvGuR22rMyIE4khacrwH+kuVwFWe5J/f
BjB3q0eU9ltLvpJWD/qcYF1G2bi7Y4uAEzDGNbhsDccWSPfbRBtGEQGDoSiFZIdTOZKShCFlIcrg
Vif02tKxDFWTm0dC6LNbw1mgmqqSrQU380la/QOKIjCs+GY3w4LuUAp1q8ReN9pnP2xB3AUu3a34
Vf7t8r32WsMrcZm8k59lX5L5945J+HuO7hF+Ahjh7dyfGsUQKvKS1S2WPUrxS/sROcveJwjfy0y4
4sh9kPJyC6uAHYuTsOptdVDKqx9U19Hv55+39UI/HamWXPSHkAzyoru+34OQwsSuMlgnMHO76ITh
Xnew+9FhirIfcoVadgRSzz/1sgXgR64wy/tv/0l3b2JR96tqyI3h6aPYB8sHGIQsUJair/ZAf9LN
UiE/ZHAGNwbkPXjy7vSO/xi83fVvPuygFLTf5p2PfNi1h4GkXFeVXHoWf7xDu+qfsLXnQbR6cxe2
4ucHMz1BAKhryIOqkDeiJlSzIvN1lb9VEMWxg/F3yurI6jcuOtLx1bRQb5XkXIRwTJjmPOaE5OuD
QQkCf15Co3vMp+V5p3RsZzBnWvhU3/BkkG+0iD4KEfCljoXYiVBeMFf4cpZyT59a/SQBy3kyk5Q3
KolokyX9S0u1+lKmCR35yPygO0gNmNBlBgIVaivDWyI25MbU1o+0hI8s3YaXdMdrkEXl/WeT7zPE
37IYYGYx9KKsM8X4eCxMWrLgBjt1NPUf4Ktqvf7vXXCcJh2rAtxy8FvXyREpOb9LR8hHX7kMymv4
08PW4KbxbMEi7SjD1KuWrPcE5hJgWMF1BeocpwqDK5PRPtcba2bolWoMsIQmz/vQVaWBUIaCgCn3
6tEeedT0m1QzaTqru7Fc8j+4ygggBjqOfvQcqFTEXIJVYN6jrehMUZ7QYihiKMOefPoPTy0GwIxh
wqpo34H8jEoDYiwS6PzqVQbAyqSs+py7lazA1NhC2ThZ49SYLlkHjG+pl5SNjYTGa1Qc0TTz3ric
CsAk7uLQg2z7p0P+kdccZUPgaOj6wNLQ+1KrIK8f+QWoYJSSCqR9/NCBUk/EQMKvsPnXtcrHkSqt
v427cbfJaQTsHcPgOW3gATY7RhJwgHD2BPrNeqNaN0LFaFcSNS/HqZn6IEwFUADL1GsvZXIiz8Jh
K/gCo8Juw6zQNvJiw7szVrJy02iCZRK6U2FtKqh8OWc7B4eTIAIchS+yGps0SWlMhgxiy+6uHX0B
4wCxcCM0RX1G83JB0zJybUAqve0TpguqsKXomWAWpQDI8kt5RCL0qmlzQn9ZNyQp9b5NoKbR3MRg
pfy6EMwRFCsxtjkoHIJPkFMkItZuiAiClEw4DEcV555eV3f/gUOkPWXy9xqD4iLco2wJDmlrHe2y
CU75b+SJVTFWFkIB+wDK7vGuRNFl0kgoT2TGiR9fZO8q52IO9gV4oXUA69nZtJYAFd4OOHeDBxqU
PZ9OpGa/yDdkc77144Xih1mc5tyAcFqwKl7Hv5Fp4Y57BMkU7MXAlbjbneqEeD8s3B2HDspFgh1H
coY3m8V2wPHCUbvpiX36d9Dqvgvixz1JhwKjivJXEkvcaziKdSZyMpYbid7pH/NEBBmjPCH802E1
B/F7uyeHYAD0wXvyYcBUU2ARc72SfXseApaEnMD8k3nisTNCDJjG5gh+TTBpt34kgdSobpg2qB/L
bEp0SMzKaIPNkwNNCTjSeULyrNhB7Ujmo7Vzdc/B15SOtXzR65B9Tn1b2P3Ko7jVF8JNLkV8ofQZ
VtE+n1zSF+5ZI/xMhGsyMfn8fY8ZST5RUhKbuHDrwdYo0U+eWg5JMkufrqedcW0w92z20RQfIo42
DvY92AEjwvXB0DJsd/eOn6QLkmR+ki5NZBQ3gJMAdKFy2geKtbuRJn/ONJPXI1Qak+XEEL0xwlei
r306NwtneSCN2ULzxZcWy0dTbcOmMmcGX8zRqPC0rG5ctpBoOrQIGlGs+wyEN7xBS47agUjFmGzM
1N0QHI34qk3VBjOCD1op4FJ6SGDAyIAXgXsRTG2Jxbo8KqEW61VF0zYgAAR82DAbK+lqQw5G6sNI
wuOU80tZmWrrFWpLk3QzR/TaAZNkAgspY7X7a7KYrc9o8TOFC+FqF8JC4TQPgz2AacvMmdt6J30g
v0BaadlDAsTiezgvAB+bRkK6UbBYbrsBR8u1H1zBkQCDECM8daE6ysYqvFiAmZJbjYYePsUvAfhz
ibnxZBJtwE2SMxCj5SrL+vcOjSMsI60a3xB/KDkLel/DcBPhb5kpDfPqdZEKQ37b0itirgk8BR0P
4wBYvkvgOU9RG5If62wS0C+zvPo2N8JM5AFWzIJoNTqNt4MHBJyIWp4wU8h/0DRh2MwQnQF0kIwG
RxjXrfVmV2IFD54sKeJgcF5u0t5tgMCQVu2HbbJq6yzG+l/0zh8u4H15y+wk16yBefY0D7sACKRW
oChMuEzngiyOqZ5FArR8m7dv0LvqrDq7o5La0Jrm6R//zv/Lpjhb524zfFPLQDXDzbotEcLwg3NC
lD44rNeYsgegsUMsTboAGnnP6qr57H1RFb3Y7UPSYEDa9AHfPzq7X3HT2mRIvDbZe7AGB4ho2nuE
fp332+M1yMu0TVVmfUZjiUvXuOFXhCMYYWrdf9ntWXu25gcJvKOV2PScdbUNEZMdxjmzgi2ChOSc
XWW+xUfUoxN1RQRwVGHko0dvMyn8LygQ4kH6EWHotGyMimjNjkIPKjIUsuPCfYXtoE7zo/iRG6cZ
41lAnIFitzxui7XzRveNyydAqaQvFaub8sXprQIMmOi/eUx3EhAyBGUsY+Ww2sAhEHqP8Z4MTCv2
H4CHcqA3EnID4OBWUvIpVieNK5QJlV6wPFmIdigT5OnGhIJ6W6adHzMcMWOopUXzCD4vXJs+R9zt
FYFgI1GGlY9hUeYe93TkctlodO7sOUF0Iua87LTUzoSuknl1D2rTe3ANCA+VOvVSmAnwZzCOSOCm
FnG7fIvRhZ1aQtWXtbgQb7Knb8gNmXmgDA2+HlFVMSo6zwEJ3FjHjG5YB1zB5qADWMtfu7bCzmp0
dv/tiU0mku4a/JTHwMt0rQSwSq/2gXP3czZ0rjdiL2GR8wFaUOoZovvhPvhF+PjmcvHN5QNWOvA7
ZYCFokH5l85LCt9Yk7r+L3MBSURYjTzmhZkmdBiT+A0GrF0XhxBGnT2MI49DT5QP2y9wEpEDYnD0
GoJbKygxAW0GhD7cojiwNwPPqGMXyQEqvIF5cw7qDCP9rJhTrsiaf5uPjlJxRKAe0FOAT1JYEvY4
OvltdbYvgC1lho8+FWSIKQTJ3GROsVdqJTcsLPjZ4IX06wogtcAY3m4KkiZcuAvJ8fQfOLMJod+T
jtw5w/pgV8ySHE1IzpnDBm6AyMDK92TwIMoKmTLQD6wzh58aNIPhQRuKQusCeKAo4v8UDpRyJQIc
wRVCnFBNeA9HY9o1znCMzx41F08Mo2kd8LKYvqLaZYwjxwwhk/DvF9BbrKU5hmWRoSBgG0AqstnO
noSDUjxQIuGIoNsPFXewioaIVwR1c3yifCGOKjhLkNOwP7NjEkmXGGZ57I3qYGUMjPVA7gqrLVKO
tw+ZxoQxGi4mCxNWkv+RQjCVusi2EpWM+/Rm4Ru88aJ/B5SDOCR/Z5KDDTV8xkIgcRfY5Uo5ibpo
fBGeIkyQ0EFdSWTtFIQgWjyiGWFggHKDa8BThDNSYYz2BUWNW2S4cKEAxgUUJQdITHsZOEjwcZbD
nTAnJx+ieTkLERRVSU+HucMEFRy4djVJBJ7x7jTxuHod9GeHH8Fx9BAVMocmDVFHHeXvBqKwkegg
kaqVjnSXEsHQumKPsHOsD7VP7YfHIbqC8jxvsIQ8b4SOY6FZuOk5SZu6JdrOMo0RtgJ6igZfj5ts
xuuQGzMhsMBHEczBBcLxmbLRI0+8+31lIEhBLz1yRhG7gSahNgLljORJhEhwmXiRMkT0EpQsjBXt
il1ZhyvFHjmRnxa5gnedObpcLwVPBlNC6fA2vl4IrQ6CjhTWsiUoseryBgdzhJAueKOBZSvt8Wwh
egm1gH4f+Jwh0cKnTeWp8hOXY8kJe7KqB2R7cRtpgVNUaTrmPvGaAdQBRqSbuXelx41ZT1TueAtk
qEUtarpz8FrAQyM7LDD8xZNK7qqb/tX+Sl+cI1ad6kx5QlH7jSeTalgr9scZTE6ZCthxWLMmLQdD
TxWR0NeS2io1bJRuRZZ1KreVRxp2LauHH1A9gULozLKUG3DDGmn7ZZdEw7xXD3einX+gGrNHI6II
iYiuXChrX1jygbmufYisij3nzjsV7D9NzHQasG5sSHa4UMDX4mekR/qAw8r8dUM7EZqw2N8dXwbE
AmcR/KDIAM8s7DnNSW5sLLDR3As1W5hyVtUCAOkIlaLYt8v3FcNgl3czVMLLU5kw3FSque3e7wkL
GW6RGmt51VZK35jg5svKFysZ1tubXh9oZGxhv2rocu6TMILL4rXD9egS1E0GrsbajNR/Rmljl30z
D2BOnsNWueQkn6jb7xtQt7KQ2s824JwgP2Ej+67gZNZr+TUInqa9wOmFha/3rC8rw4KRi+TCzN2a
88HZa2OFdjMeEwHT1e+qrUCx49wpk2rbnwhZHMj8d04+LWfgPfY8YCs9AsUq7y2phHijBbtsrw5r
pbiaL/DYLYc/h4u2YaUresJVTljFxCO2K4dipaRGqMTXHrydDXqUR/sRyDRCImBt5Glem9BUaXXB
366MVdVeqKpr7aJn629o9kn1WdF7TbSnFd4R7CNVFt/lw7VTimRQolF7c3UVPgiVp7UmfIiOKMTg
Zs3Ljz7/PSLhBXz3d1NBAUTMjKkUIsqy6m7Thafc944cXv9SyBEKluHOfgcXKAa0lKRd6C/jChz1
mDAY/YVAU81r6s/8ugtz2HQfIaUnufkmHqjZl1nbrWQ1yhS2YObhPX7/dlbIOTnB4qJ/6PQaf7cW
WjamCHs87MM3tsQxJ82ZwYQq9Q/j60JhwjnbfBlVJn3UTAkvf29vv9Y055QKOef48fLOHbaWeaJT
GG1JjX6oqxel0QrwTo1e90p8BEysk8y6YyOI0IhsCVmWB0vc//r9AvejhgsbpZv5npvFnHi1G10z
9B1fnJfRISwVKzl7+wAi6byBbkINm4veCuv9zRKC06yj2HK7hV14Xyfz2DEOqHl9+rCG1cUBlVPb
Plivk/kqXw4egDj3ZV3Gz7j204D6PVC0G8J5Ja9ZhaDud410rKGSwoN1TU7pe3RNdr/30dVT0Q/8
wTc9bZiCBc5uXeoenk3rhlvS1tw1qCvcYAm6fExeCNLTfbJPkAYtH6fgCe5F113gzU2vTpMzsqdL
2OpGHUiaD6VuznPTO3vHUedPHP/DqiybVJZAtXMY61jNo/xnnV6916Ty/TW5jw5Ik94ILEXiKO0k
preTfFxFtyU69xRVllwRy7e/++UVSBqqRnKmtqCLBRGlyP7NOyRNH1tWUNZoPaU0xGp8AzBTpdyk
NZ0a1gE2T+YIMjrxfFjHK4uzHGk0tql/cxbhdxWv0yulul8U9i4wh6KmKj7hZVqf7QNiOYT1FSQS
oAHA49jWCgNglqzdx+RRWFCmPVpo+YKu2Gj8OjXzTLq72+rVYiT9n6SBbm87pg7bad9kUtP67fy2
Uw6yezZP3tlmuBezeUf/tx0ch7DyR8jRi38yUJK+qAn+lHXrVFGwp5AsKTwZv9RwNlOye5BgIT4g
X16QLNHjFRACAaBAIR28KbqgPnUfAvbR/gPO53jG/LSW3M7Px+4O8hF4//5nHks5/6KojlAFVeXH
aCMfjjYReRTfpXDi8TApq8CciCWLaIWMcUhdRQhD4ZN57SZ9yf0+tIi9oCX/rmvE6jjz4Bb9/ONN
qxTaq2acP94psQBF3np1ZzqVtp+n4iDyz85gx0D4GIa0cINoGlQEDA99nIY7/LYezeN1Uv8TllmF
xKC1kISLMvnC7AtQfnySnQE8Oocohps374IvYd2hA6QKY1AM+OcJV7oePWmlhwDPOcJRXPot+DgU
yEZlUgMAEvKvvLk2PDEvgM7poAuUzVODP2pbCXntnyiZRkw7YhffJAsdUqNXRGqQ2DXfaJWOGRnr
uDVFzQYZFZAPuJ1fJJ1kQ2uvNmpau0y1FJvsq26srhkYhok8ib2H3UeSKqKZlfRBwjDJVZAdbVct
Qrka24wQKi7oRAWEQipxGNBeDkqwdWLSFfRPLQynUwPJdZ9yjr4DLJZkTn8JoIU4nOCWzK6vc4KS
6wkYc24PB7Sqy+lWt07j0T+UCcbQmnU6Zo2AzmO7t9rueXhxNkOIbmaV2AnYaXYfKcAbqOvZ8QhI
BF3eDAQqIJFkRBTgIQcmkWB5WNU+7tdWAUt8TdhdSCfX+H2tQ/jB4CDSmACFjWnusL57d6gDhKTj
HKgBzQyFcCECWEAQAR5dhFpNCsmm81HHOxa97fjKFg2hD9ANKj+4jU9OPqPIoA7qRBAdK3sVBHdw
aWOtbufOxVkPyD57D05WOHUZjiWo/O2zzWq2iSRqBPqcSFo9SM7ALZo81wLyYh0eg93ijqNnAmYW
bcfNs7XjGp+03yxLtGvWe/jekGvceFfUCnjeJ2A4HEu9utSrypPBbjjd21Qe3jCB4xgB0gX1q6T0
nY7mI0nUee5ULp6HddU4oElQdAegzkMMCoQIp3A/3OTmLj4NzrmJhIVDN65hSTET7LoxiQ/nJNWo
dNC1tMd3H6BR8fEWbovTrEx+EYJw4KwDYPXelqzrH6NNPKUcRbpQgiJkZBIQCBkHIWcaVNF8nhPO
q95r3A7Ye6zLAFHIforuBUVNfjAqcH+Qch5xUpd8cesK8IXdp/IfkJxdE8Zd5e4JQw0ILuIXyhkp
NeKH6B9KAnTCXcz9w798qejzRhxI9FuT1mBPiWIeKSCcO3d0oSrh39vrWT04+ZebseMYhjcQAIPC
6vZx9gADAtAPjFm3ijibaIT6a+brky33ODwNVM5SfBnX4WvW7RhPtCJVxuTD4UVPRPZ7jkX2xd4S
xPTe60zzAfCF0C/onuS62OPyASyUIeL0EH5Vft5t8zbdZy2sDnaskp19Bgr54vO21nX4AB9UftNK
atMjlbTbkLcBBQfHZWK2IVsWTKtZg+gDpLVjnCh3qTD4yGsCwogNXCQbQx1Y9U73rJO9iSm6HXOn
hBKKFymNGe4ZT7qhD9GhMwpVScvLgGE9uLv7Re0XsRP4jLCfttkMwf6exJ6zgqBoHc77Z/cFoLRo
JC2OYRh/IdkoehL6v6Mtl9CipOnIqtijgONToL+wnnJlTN5E8tpTCDw83oaw/1EeAmryf3A0BsCX
yn0HfEgwRF/YLULNQ7lJ0xEcoWgXjpJWslSN7V0q9IwVAjZmq/aVJ80HL5P9SNMT+SNoPQvXpRdf
//o9B0jYpgBTVMMQNfsF+vv1jLog7R+Ns30Aujhb7B8F4AhDWgJ77CXdiCCPuK5rIsttJLW60fi9
ktMizKRguRmB61wzmssP5952IEFEKhaWulZvg2tUqFrBrOHvn7Lsk9Cq3l802WNK4AFqpJ2i+tW2
dSBegJ+A4ADGUiAKWsfGx29gZb/3TKggMBNAIUJYouggRukcaIqGD3AREUNsgWY36ILXSJ4IZE8S
DvgE4wIIBJRQOHM9DQafkxZdMzQ7GPJOewrDJUyZiANIuaRXFjWa6/FMYQv4TFbHGEapKOsPSLeH
bKecWJCUZO6t3j7TIbM1H1PqF5HtCNKqu6oBUvtQxf0XVqdQH3ROv+z3TSOcjUSKok11kmWqSGSm
1GHGGieTFyciSISSrzUwNmeNn/voavlKCWPeGfQIIdaGBLbsDy9mnsYB6A0EjxiMn/JU6q/InfHH
SqnS8XfJ7O49n0pHjJUOQ8hq7XMjCeCZwjaJDqhLSVICh3UDsgc0pVtwFeUtyqYpcR99oTJaSCrH
ccTFrVgobJdsmtp0re1MF76x9xyFol2km2FfD9h8bzDhVdZaO2sG8Quk9DXWRg9aRSUk65EjZ7yL
YWxofow6hDQkU9T/cNpuZ9VmsyFKt5tul8T8ia6RgwJlAJe8SZTMAo/NyAXO6CXrSLTyYD/dT9XC
FUcKHM3ooUYfWzUu0uCfjFkDXRdlicAU+IL934HWlap/zkDdvUPUjSW2bVndXzwjMZjLKlO8Kc4t
87zqUrN9Ih/HigblwuqIG/E6zoe4odF/puZiRpFd6eR4iVvZffCIoytfOIj+VZzt9OGdkTrgv+rJ
aR+PqN42poAE67aaDPHxkcNoqzRd2LUwVJibbVysvjAOwC5qK1AFg98qSXBcxTCiPlr/4QHsb5AU
P7+v8ospfmtX8wFiop68stnGCxNa/Ok0y0ppFXdU0LJ03IKHSs0FJgU9WQ5i3Qeqfggw6MaImLpk
2eP2G9R4fU3q5NIz+ptmx94nvKXA58Q28Non/5XeUlSbyKuuI1ATfj37uOWoIkLowVVMlQLxlnn/
Rf3PJFp1SR3L+gKwSxTcQ6KSfHVhCRfehyTtntSZKgQ/TXifZkC67XgzUBXs8em4s/pnB97FGEyt
NrtYzLXwwX+yGVeAlvCFkyk0JVTN3nsKrNKnWPOKd3sb7x18eZuxXHxfSL8QV28nlKwC4vj1uD5E
vypf9Oc3BjpqQCUoSWtWfsE48+D2i8DWb4U4ndv3TU+VVzgP9wRUzic1KktqZOlf1iuatfzbZBvR
Oe7VQ9B9MlrYEFe/D9itHEfAwXRYPQMFQappiESnqaFqw5S69IluiWGo9rv2fKIo7MxReAAvaC+g
Yi2h8nCeQB6HQW3ctR+kNhH1REQVTRLOn9ekg1fRiGS0RQeCPxB9Z03V1jZdI09sG7/CW+5UqQob
3VLPwomgpq/Q80VvpnqvPSYvWyr4zzZFpAD7UpmNRpylxheMpI/m+UqccAkFu7dZiNoDtPFyovJk
deg9s9HoBtJmk2ZhxfWJVQHedCohqYlX+j0o+1JzlxuqG4qJYKnrad7oKfQHBPhMO6N6VBaG1qNj
ppKKfyVay65FULBHHUGDw2yE4QOFrmdmIvEO73FBikb+wQlp4HG4i250p8Km9mkyWJCq5gv9RtV6
TZPrpyd+fGV/53+yT1pPcKiJb/QnWbYGZdNgWBrCzAiOl7L2MYdqv+bTdNjGEIpWuw7P6+9+oGce
Unv+t/ndbHtNNs3CW8wxXO6WhnZbuwr0GbRgY2kzM5aRDYYcLOUmcBQNa3bWDSJy2qAnin383uDR
MN4jHPGoaWYzvoJNNT7G7pdI7fx7wu57UidXmH5UNOxhbcQxYNcB985sb4srxn82eHeFjRaz3I7s
LMCFrpTZEXB/Zp+I9CK5BNXpzf8MKCMYdOQWlm5Cvvdb4VDDIGB2Xra4mOW+v560Zfldw3lq+fir
I+RmtrOtUPzYAahD6vkw1+n5STFi8X3tt/wKkix4AYC+KnFwdYRFMecBKnYnD7YUo5F0pF9/B3A1
tmiGFqE9iDLtf8D/cGrB705aG7p29dqrK03VwJQxsia0RQANMgDAScc+OjavJ/Qwtq87LgC/85ff
Gtz+6IZNff61d0GNp0JPsNef7pJV0IJ0cL4mr2gNillZ7JfXaSUj5XiTLIhuZ4yKhpfPHgSEb2aw
EpuLJBwqczgNajj7hA3rGZ/tG5IXTmRSDxScYf0LnrDYmbWdtQ2JjhDuFBhpJqQdLZKuSsORRoDC
Y5+Ik2Y7cCWfkDdxDri14VnKpL2iUGHNlqpiC9qa+Rw8woOvnzsQtMKKwOLCkVcmexZRYwoIsh5L
P/FPIbaVLIICig40ISbCvxJ5Nq0a2Zcqn+ajOlkYIJwoh1GHUqTbtPW7JZhu9IQcHP+kJazO5u7N
fiW0Tcq26GOUhytWEhmSO/es5ZEKQ2coLlIipMXNqUqIubXqrDbV/RUGCRRCBnYK5C882AM4l7HS
SzqEJZgQkbWvx1cInsa0LOaBWiHOgToE0SF1S50soSUB+f+/ME1klhiNY3YN4D+WqEbm9jKDD0H9
Bo1MwCI6RfE0UZBwgJTiUyNNSchHIzURVQKGOogdksIBbUkkhZTcjEYj8m1Whet1Sbr5HFQGCln1
TVGGBCvkICdIH+HLlGLw2EbxCK5Igc+Gw4hwkUSei0f7Qx16SsToQAahI+fzxCcTRcNoS6dQiqGY
UvUFpSEWQZ7CvDRVeo1ypKS/+ceAC+bVwgfYtsztoAjS1FuuvDSFtEgPzABSZ4gf5mS+UhEVF4xk
TYGwbl3sLNotntiG4ic9gpLq9lrJHa+b9cB7LqQPhvtBucK4UjzVoXxKrEddpViqg+3wGCrwyPrb
nIyQcRdLRFzIpnteSEu5dlTXtlzebFxcbfwUrxYuELgroii99bLzH9KJPh7UbOnt8PHdDimRg0m7
+0vtyVuMKCRulD4ILUofaJm3RA6FQhnYF1DnUYquDiv0BqcxkQDFgA2Qus5Lqg6M6IeKKRkMZidy
IazPNTCAITw4yLtfRE5cskAhJUCXUGQmOmyEzywfNF+kKctGD2koqmgkRdB+QgP1sPVzwjwkoybB
0Y+KNj8H0v28jRW8nASWW9RHO7AzbgOakLfTO/IrnX0Hv5Pf4DugAD2OmbcsSgOkhgvjYtAHVTOx
jEoqDiZCSNXJNV7MvYrJXCShgLLTdZB0w5cDM3AH6Spt9VMuBT2HlDkSsrKXUhku+EuLaI2EhIOH
BwXp2Ka6Qrh7lQUPjw2TjQyEdLHVP7oJvL90r3wxByrkw/+GBAGayT1QPDq36+EDc2VfkhToyJAR
AiTTFOGVddYq+JHGWTRZO2LCk5+ZqxWMQ0lE8o2K1Ubv8U+sLpmVPlAFgCoDbkd6Ym2Wm35OI4+i
O5MkSaQ/WFH0xfrWn/XFpsHruXWGvUncwE2AzLQ86jt1QZqJ+0z/z8cV8lA+SZ+l/zc8SjyXoLf9
DCuEq8v1ce9JwipijZdPpdwk1lpri5FG13hTOspW2WI32I6pjwP9XQJOGJLYcveJk+GD0i/VzjeU
1A1yq+W/Z59AzaKV9tmUwBV9/QvBlpFNS3V7WVy3ixCEG+hp6R2+o6MYjipTBLIIYu6WJOjlS5Np
f9r23zRhqNm49PCLJo+9fITQGeN2Ybs3LgF5foSNOz3Qnz/nUmVL/R5RJYpvfaCsY/S7frBqnjz+
iBS6sJDTgi/z+ldv2jGO1OKqNcHF+/nq/yCrVT/xueEjcL+aXCanbVJxxBVIuzrHA6bfDad6Xx9z
NLrV4w7L26q9OripZZ08mZxKMG5ZuCQRJmDW1TH8iB/4IN4e+j4//xONjxbNTNRT/YPHhf5lXJaM
12E+I9rdLJ0+HdpxcMPam5Y94Kv4KJVacUI4lb+iRBf4radpTfFqxfVIDct9i3JKqoytuvkz5Q/C
onGMtft6TdfpGMusbTo0vImi8XA4xNd/h9fLH5dFn/MNlzH4w0LaNaHuHz1z+sODwKhVdf+MFWX9
3Os0c1AtrrhAy8IZF9bZ1D3JzvbiSeZfPhp592QJ+5wSf4m1UckjRGfg0MpfDYaT8adtRMVnHHxG
8W1Na/a0bzgIDR3H0P3Tvx0HenfsRz96Btukg9adhxb97GkjxwjS1m1Il1Ou/qftU08gImA67XPA
JxmePL41pEfMcGj6DAvXE5ljn6G2/v7IhOQWxQgcreHgD7cpLIrp06rmGfSHxG6Xof9zXT1g3/SH
6jWDvTQmi3R9MptYzvM14OU/OARxSCdJP4swocOkAOLgaIHBlVr9IUUF5ppaqkS9Z3vYJPI4cWoe
Dsc/P74ekCa+iCHVPsgzoIYvMZ6WmNvqWs/4UXyM38Hvw+wNehpoa6r2t9LY07yhJ8G2vrKChhqX
fj9bPhlsViwxBvuqOxLVGoqJFSoEUcXuDh9IYVw8synMooF3zengFEKpLNIQqWvkpIEMhf8oKQy+
wzCO7ZE34oQ+Z/weA+YDxchUg1oo4xtPIkxBet+Q/6E9SkHy2OLdFcGRxW6iHVJnidIeiWxiDvxN
eSKllIQnbKVSt7CTp2xjiFql2dIphdbW8xzHYeNqSfDBf5nKzaXc54+pkVKMvGJzEtOhA+dOvAT/
4yNcqoQZ86fTc5w9vjEm08HJWgZVNmqO+8GXTKv6U+4V+UjTsal1igcMLQvZmn7GreAd7iSxl2D9
Z8z8RFBBl4A/Smt4HjyEqG85bKIkXY5j9S0zYh1se+7QH/9EpjlU2wT6VEvxXm46PB8hTyrFUaAG
BbRK0yX6UX6WarCB6/KOXGeWOmzMHK9sstxIP2KD+RtK9DDgvdk3+07fSbldlgfeXMMhFflkVDQ2
HGO1RQcTdhv5fmlWqbTmjNX1MiFwinlwXmo4rMKUbrDRTRWgpVT5av3/QVSVcMeIv6ZTmk6yiAT7
97Npxk6sgVMBAP/IJmVFB48Wkd8qwf8BzKBy+l95RGlUXeCbZflD84/Rct2hSWfiH20dO95ae3Uf
u7mntvlMFl9THDf/DVJkoeejJWQLm84xHWzGviob8Es3y/7F3OUZWopL1E1yoYwzuykWnTWXfr24
jNAQEvFnypl4dR/k1V69ahXZnHwBbPkYGP8mI6e7Klk4/w0PwWw5j5hmFiPK8U1ox8Dr1MLobRft
on9VKm+9wlf2jO8Y8Zzq2dthlTDvAVtZGWwTbfoqxWmUD7lIqXbRN7QT6vjiTpmTrAdoJYUyesRA
yVB2S853AhDVmOnMJlolCGbpLhOqEBQW5mapd1yPCULRWXdQ0CtqQew2Ftx6guYhaiW7EKt2JRpI
ETAReX8oKVb4LGMKJGKvFCGDXd2wCiUO6fib3wtmQxQ+UAPuKiqThEpXpRn6b8d+Goo6Ekr1FKH1
BCbzDYUIyyRLEuIdPhXRlZOyPBlRxpawfIVc7GypG24TdkBcpEAKzf2EQaWzajlMD7sUEDcIJVMi
PoZGkTX7AYG+brprJqmuCHrKZJlTHI8k7MyIkOjx+VtnJS3rMpHKrQZ5isqEreQMe02wZOJP5Suk
Ulj6RQjUpFpP8atEZWRJNWIrRVC8EMbgP57ObCt1bYuiX0RrgJSvkAQChLqSF5qgUigKogJ+/e09
7HOv95yzNyokK2vNcowxCf0oqpKqsVq9lbjPMwgXWVSUU3xY5A7V7hDAsLXyTUt71fd2M6w5bDxV
GDBxhs4QPPmSVkFCAh3rI1ihnLBIdt1FBNQScyjJ0AdNLwPEOo8IGqVmWbP4IQL+UCfMMrIudjP8
nPGxUNsKsSr1dtI7FiPkeewmm4nBnyABl8vYzCDberM5IPXvhEsGdsxvuBKnYJ3h+0vScfF4xKIw
Mul9CjC0beIjFgJmGRtECvA4chN4h1wQu6LfN4Bw8gQMNr4cNMcYiayj0RlFy3eMeeiT3/F5mIsZ
Z9zgVV6W761H+gLx56W5Yw1/3WmGljzJ9f3dP4abRx2f49qZf4Aj3Nccn+Tf91ctQionrNoug2kC
B1jQqscqUwseEiUBcGDCHQMU0hdvNazIBOlDXmb6uVPx1Ph3CvqSAScOss+3MVQbZ+WgQvk8rdSn
xAZL3P37hB9BnOgHAB6yehemSVF+YchAUrzUHi5EbR8NpsYw4iP1C8pMps6eOIE5SjCy3ilKOydj
h8uvBhXQfMv68zF4qAFRW1Lfof4KwxsIMOIqtM9vjWfGWVgkH8D1FuuGUm5YAT/IG6Hs6Nguxk6m
HzM5RYgosfRGCsYIRya+SO7apo+FT1ww1SL8bXy0TlS3XQ7nJiBKD+LhmkDaj5jkwkO06s0oDaZF
5DHkTSZdeA+A7vqiFJmNOdnjYejxZ4IsQ0a4Kf6qGzRUNHZFF4a1Ql9zZGX5P2Lovrabv4c8tlv7
5g7BnrdGrw6dQOa6EqKHUEOrmArnasOECShjXmG+9uR0QYVJDZ+EMvLQeO7HhnMuWFYjttQj8K2j
j4gPH7VopBI0nyCcHQD13L/UG3XmstMHCHW/yDI62d4MO4xOo4xJHZoykrNu2J08jRyhpEC20z+K
TOeRQecsLKcxgkhiUzFDgO9tIj6RG0p5mAwhwFPdJaCuRP7MHaLtuPtAcfWxS9ShZQCP68HJ8YFZ
RJweiAzz6S6ElIeaqe/NTcunTTMBBsywVRgw88N44fOMqZBDhnHSpqh0nTqwCd6T1zxr6oATZbWP
C4RNeRyAVtKxnGfqmG6YKgPl35l2cW6emCpAiJHrP5f77sIKlPZPez7iUBlbx4ZqnkEyB6h5M5eO
4Qg8YbYvr3C+mbnil7fvcUuXg0GgDBOgBGhushiZKE1eX5H8ZhdeahWm6dBNqoHP5ClTPv5h7qog
7hTEyslC2oAps36bZ8+gJQYZxVmUu90JjE9hr3PmuEhmyXicuWV+xXNikgQwKnTjsR83EWVRgK6p
uvcoTcS6zPm+cEhcEY4nF5x+DLfjpuUWGkbl6pJJ7EynavhmbPj6c5Gj/l6/2wLOnpuUX2q8DsDt
Pj/zOsJwAwYCO+5GXYbn6b4x5QoHPMLmKIOYOpOORh/8UjldPj8vPRr11PxsGZnkhnIsKp/JqK03
jge/4qyWUfrsOdmtcNIl7wrrYX1SJ5chBSIE5BdIYY6codYrJo6Ei2vBZnCvTvlpEkJSTufqOaej
V97sm6FcCFZhnV0t7QMvairuJsLBHrwEnCA690pNLCTP79XlpapeOz26Jli+5jY5wFqjM+hAFy9d
9Sd2f9AKHyEb05CkZIeuhB1NjDtfYFvs9H7BZEjNPP19QhWc293F7XDK0COI8Pk9qjx/zTHO0Axh
Tz8UtRl73QTzgGYEcTeGLy9Diss9KZR2SQGE4jV1oy9roymc77rf/6339TGEBhYHrfcN+9REfyJO
oKlZPB6jtcWIvCCp0uABp4iLXyAMaIbDLFbaWWKoxTLf6uVaIlYYNcDvIMFp98hDomih3kIC8ikF
LPFhdpfTaK0tuwNNPcTzYDASinFtO6Ike79cFrG6oAXBOVAbWSSh7FAsR/fyGxfIDVoBlfOxo/ez
ifvoXAGx6RNAPqJF3+1gSYashoUp4xkSsY01qB0+Xf1cefGz9Vq1gTKqRQRHfjoVVarPlj9dfvG5
xhlpdasUNPimpVazraEemsu0ks3KGRiZknm16n6m9gsJpDlW06qO03Hv3XSUNySVW10Xvk/timDP
QIW3QqbM5mVafPXejHWtxXH1XA4kw3sQ7I6BZsCPW5+0kknQxnuQVy19m3z8AvPwHhVRX+xTWajT
Rlaa/kbHOU3l7x6AxH0/lFmNhVfC98YDG2SO9cv8DQL6L0EG6QZuwNTBMOUS7dA92CMfkGziMrJV
Tgf+eq0myi67sv/FrL6ZCgWENQax6XIoInrF4WxTFULwq2hHlxCozsPvR3+WCkgW5OeF1ODII6SE
oQFl8gyHm+vMwlCrwgv97FQQj56tZ48qDBfNUf2gEheOer1FJEpVZkz6DjMoZLBJR1VJqJBN3eDE
U9ObfWMmTD9p/3yiU8J/7hNly+gLu539L/qXn+oYAXCQuIOu8PSbOIQBFFhl2sIKp6TDUHlBPcbT
7IQhxocQmdD8xhVomPE49Vaf3Tpke7nHpAEfSJtM6ElZ2Dv3vWTMT/y+VhXaFElJrXJjN5b0r0Wb
hJT7kFQCJPnBU601yGvLvHAKcshCWSIvJwAPKXBRhu1bR8yOCvQlf1MVCJ6EB6E2m6HkEDyGXYwo
GkTM5iQZzUet7oQ6GKbaKM7o7fVVg4ubPqy1ta0JdtfpZ/yRxPZKRevJX/ioPzOHioflzK1t+NXI
M7TR+Q0YRi0rxZ7JO3T2yQPlHQzswFglLRbp9L8xrbjP5BAdolOvwJhl528VZu/EnwcMu05Gf7nh
DTH+/J0s14+l8Urwhz1Hdhvv5hhXvbtb2wtxJhAqpNMA6W398Zba1+ORLPgLcW32eiUtMVD9q3ef
uJFJfaKe5CEYTUbGwftWWhW0GrEN823GbzRGrdevRlNNAouF7zVEKseiTR7aNEgpvYnfRGgMrnla
eactY2qCdUZjSWEzCAo7ej4UgdhT3wGloBUMOIpL45+GZkZjpjE2DSN9o6Ng3WkRJUE7rbPhr9pB
EiEHvqvlX36AzQvosYFIxR+eFnQdvEkJ5BjIN1XSKijTfa3oFKCSh2iLTQNtAoIJZBDmmHz9UnRO
90UhpnD6wbTwwUCBXFZOH8yDdcFx+DmO39MjJ06ELgeHISfMta4/dcn/wbaibAbqD2FYGHUZ+/5i
e8gK782ytP9H4qftHlJZ2wGnwY1xKyjrBWMRPUCuwG94IPR4PfQ4iJMoqi3wKrZCxtg/DbK5Jssm
zlLwdbLAvXyCuZoAH6L/KVZP2po/ihpz4uwINW4XvZLMMJChPIILYMkrKaRfOzSTh/G4OFvxkTJL
nLQuedFEVhQGkiALPmShLm8V3p0uzpofCsHimwRaAPfhnxWUiIV8xzyyoaXXW3gE6nHjnf6iUkO0
lHK5WTymFkTfOcd8eM6m8vYsICrHC29Eqho8tvHYDNpnamqJ7+fmdHmkgL2tODEyYWBNDSj8iAZt
CAZa9IbgbbOQEzvLuiV9iU0hRax8FrYOySkf6SSxzO+8pQp0NmDNwv0JcMh2H8fjbf3WXcUEIfEY
gXRqHikkgnjF3lhM5YWU3FhFdqhOtU/aasn8RqGCP1oqwvLT/qqv3Wd6Av+Nor/w6U0sTAPnQR5A
NlsIajHF1D3jppQv/Ao+w3RZYPRA1GQQq9Olvgk5PuD1aJ/9M2OIgupI6hPS7hjkMgPiz+FHxxnc
W3jjap6CVR5o2TMjGVS+89zx3BBRaqXkjDL8Bb1EASxtaokohlAmxxyYp6AIQjDHFEVq15rEJdGr
X4MKH2XQ+PzsA8TyP59b0zmRjsBZJf4APNB2TPv71jfuQZyHle6d2xf43lvzAK6HH2cjoqcYKAQl
5RRUE7tuCZRG0mE2KQP2K4DGdWDIpvnbAe7TLbQKrxdUE9pBuxm0E7rJMCwhB3WA7EBzyiLxUWqd
nr5T5O6JN93WUVjeDNmcB+BE8oe+UbT66sBiRAb7CtioCFXphpassKy37i8Idbleu+5mKBP1xqm5
xkKsJcDl01I3quXfwa5bBh9xBqnrzs5DFLlBZFVgSwSQxDDPEBg6FOwe+Aggi2uV4qj30CJN25WD
fUZDwO4F62OktUKnYrpp5iF9zdsJXvlQI+KcYzPsobt+BjyZIbtfcC7zp4faTGWqtJ79lxkyp7bV
ODn3Xv0ZMCCQAmMlTDRajB56TA8xnFY3WqmL0EPZ+l/nFPvAD3DUPHqcCdTpMNC+gde8C1dcBrXA
uxbKMlb+whMqieyEjdKGeSXWltb9RqfL4A4TcqaX54lyqFdTBpVw8R3O2GsbXCAemOZMfl4Yre1Z
Evi1ik1vlesLtfeQiFJhOJVJtukNXPE6aQ7xAsmZDQQILi2g+flG2V9tkOysifY+BXx6TaLYgQxz
eG2HWvcTaExVKT2m9qX08wTOHa5DCNX6rvyxvivg2iit0iUp0Ikvh9lHaoAgiTUxPkoeHYivqmnA
OdR0g0QdDvvleqcREjzauLS3aGSj/lIxvA4rv0zhAnpBvWz8BQpGavn9dmm+LKIxguPKMHWRlO+G
xGzO9SGSx4rMHg9xGDZifh575qPFAat5Eo9fMEhAuhRiqQ7TKJ6wH1zJDpD3OAWCkFmMV+keSCEb
/LIrzXv50PjmHyw4ZSYfYLm9P0ZIzzmLb15NezYXxGbKWHLJfth3iMkn7Acdnzm0NEZxJVyG51qF
Uwi95zqrskjSWRX4EDpCVqkV1xRl80b5UCCDckHqP5ki+PcGXdZHeqaEwU9hB7SDKFyIVL5CvBP/
9JEWs/RkaERjLQQBwCb7ov4zuYMvn3Dmtwg2ENY1VmN4xwdhsCnaFkEGh3xAFsFsIzGfihGmMZ2F
nwd4OyeeUJnfoNSpWA0t/G+GK5B2wG0Yv5PcBj6pqMSyb6Nhp9bp8kZht8Y4eZOW9fqL4AIcgUcB
ujPHxXZaAlFaYlphIKvRtXuA3QprFw38bbx70u9+4THWYOL029iODhuBwUm44yreOu3E4cgY2gSw
ShMqpwYNdxS0cx1J5d+p+Hbq23FqK6yJGOndUNL5NqU2SLzEKsLUPMZiJyUvgp6DevsVJ+3AnhwD
OvDW6IHyBfkNA6mDrwLq9Lp0hWOh2zTuApqLBGVoxWDWYU4S8Kx6KwvgyWJ+JtfCNmZg96m4XwbK
JrnTbUpfIWHT8bWS+78bKqxq5dxtkyoU4aglZkgLNbCEVA92yEVHXTL1yf78z5SIAYQgzkfDnSxW
ltE9766RPz0k5RivVgZk6eIBZoGok36nv64NIxaXPiVvLRf1/isarxh4k2x0rd4BrL4oo1QZk1fu
bUi8GmEtSghQULX8aCMyyaFCyuTXrqnKAPMf8bOGN8CiJZr6JG2TsowM7y60cO7f83cGSlM0j+5h
EKtL6aDBySdNI/edwWWno00TGpYPva+PGt3KdDcPSXRfRLTAkZcspNkj1X9hdRCuCXsJq7LtL1ar
HG/pJ8+TKI7NtAyj5FAR76jeS8jOWU0fLFFGMp//RkEUxcMGMml8hgm+G87ViV8A0/TuxsOVuVsr
JHUAh2FICW4XecQxXYKFnl5OFts2OPaLPHujf93nPRR580AQjTYgVj29tXOpFwb3x3YD3xiqCp9n
MJyO9U493zTP3QVb09hHjrbhYzuYk0ksuEdDO+eTmH3QIcHG8QxRrOKpGjJ/DnZhj0KMpZxOifG6
rLhjI3wY7mpXicAaswgYC2/bWyyIjXg+QdIm16VMHuzDt0OY2bY2sLJztHg/ICq9B8dSt7x4B7pC
CeY9LGA5ahUYcGuexL08IXpuP0KcCO9plIk0zwK73MhzXqlZUBGqr4thZqpt17nQ1KjW32fkC8Cw
UDuwTSO0hwKZVAqzKn29VSSWHeNO9sPyVx7vtZkfpKShDwBt40cUpjShEqSlJBnAORrqRLfUxAjB
ym3tCOhSEpf74yLIoO/nUfllEfTBOaIDcePEP3oNMcl8m33j4SRM5lK8CX2qxjyLpEAgWXmJ1jjA
zq6tNY4QP2CNqwQXBM4KSDO9gOyWQ4LxiNmtUQSXZN0o0D7Gwdnvu9bZ7UTWndoGUb8ZqEV7gCav
NqsfbwFNZqMI+rtUdPmfzpUAuwSu0XegSACBuL5RHa8F6GXwQElmO9U26xLyHIZ83LeHZeUBRKUP
ovYSYQ3dEgjDY0BsW1bUk1hGheB99RJ/Tu6EEVCeVe4LKmakxFA5BHCd3qdRB8g6tLT93dQfHMNl
U7wefByWQUkqwXa2b8FoEsQB38PSIL9FUOb8HIOpe3pr2uMr7hxX3PTQPa2hu/8JKjYNabqQcQwi
lkPtNmMX6y58Xu5/rZn5qQ4DN1BjjgX/Rr6kMr3G8L3RsN60na5T5R1kJgLqKmlvMUWMgLYd/Qgw
iOnTsGZZ+lmhlxuoLsgK8T73BenQpr0/NDv2/NRm3MkySa5SE9wk8GtGmIdnp1hCeeQ1rYK/UjWC
P2IewXRTVIttXNEoYCDojVbZnjpINq2TlJj78RFSWlm/h98NX/tkPCZ9FOPKa+MUfYT2ixhdUafP
Ql/Eoo3dEeUvib5OESMz0p7DJxUWaCGGZIK5skxxs+VzCYRcPdKgb4D6uKDu+PjEiGzvpEIsAYcA
iMMTd/8FmsSNaClAxUppvm9xZnF/zXbmBe4jYAXhg57udd/dPCMyf0iE4OWVoqIeao3rFj0WeqhU
8sWKpfXCX7bajv3EFEp0LB9gkt/RKwU++f7ZZab8ncEds8vtl64Ris0/2i8/hqf5Zf0L5CA9IU+V
JrWtCi2rFMdCKCWYCuEQel4WGn8Ig2DacIczJhfeO07cK+XICvvWSFDYrhtNGr+bR8uer+NQSecM
On/ZtkN/8O6aJScAU2U/w+LqA83B+gCo7uty9R/uSgpFIYpEORhclhesH8zb7WceN/NoqVVtguaR
OhYTdObRgk1I4YPyDlu6F7WnJETT5+mlngRIE+0DTuc4joL59LlM+dEWi07hedBs1e9Aw1kHZvJU
X0E1jNLWaDBo3moBE5K5jNa4R5JMtQiaO66kR2mmlyTtanOaJLHAorpAb9QAE0DgbQTnOe3xsZ3v
W7deRlkCS0qJ6x8oPJPT/AxqdF1NrUAOsyukwoqTNccdTN4zSrpHWur5+EjnvRSbhvCUEUMDlO0L
2CEAnX6qwE6aAwd69TS/eUFbr6EFhal471qFG7cKG4h9uZ1a4HSwO5R/oCYd6eDaSbnmv9Sbfcg5
6subOiIFDHjxv3nIN40nIExftfcm9WHUSodMxmFKDEf9HD8yl677GAKimmFDibypChxroia/alV6
w05wLDAKK4XUmOClIET3khbAXarx/gXTw1DIZiFC2LMDSXPgd68pVcXv+zeOBvPeVXe1tpsqxbL3
QDHjH8bJCn9vkMR/kqihCbWJAH6t9s7QSq7ahpyAq3scP+PUWXShpsdkP15Oi5uWNukkF5DO5RVg
WfwVXsSWtKEaV6FpUcS1h/UutPJ1dG+pBgNjjF9akHOqP7aBLlRPFFN/qD3X6yE1HrCc7tQdHS6w
gZPJUxYTwr/yDC4699KCLd1P22QiE14HP+3n15EdYB4Ap0y7Qnq8rNECt6O6JCr7pj3xkXxGjO3B
ZPQ5ehNIke2jcxVKQM0Bb4NM+qMZ6TiH8E8lRtyrJYBKzM/AMUCejT1DXFDleLahC9tJ84BSg21S
CuitCHoDajopSA/VE/yPCRjygPhVwJWnFIq6GW/GVQaIaM+UTn7jqL+WG9shNhPoFZnTsIBq3mdc
WLsp6mSj+A7TlludMm0UN2YWwx5aPO6gmDwkxbdaefG2q916GyK4JJPsxkjm/dZK6NogwDEsv16f
/sIL8RA88e/mA677+YbB4Ilegvxn7fhUZq8+lXr76QOiu1tYuoe4mmQWX68oQ3yH1cH26QxUPv9T
K4xy3cvj3/CvcW39fdV+2bOLHXHBqDS6QVAblweb8WXHfRRVmW0dkxuFd3VnRaFmO7qWbxiEZeaN
McyQrUFHvBif2u8ARLoU76B90DBD2mMPkLjY+p0WX9/6n8x+pDvDRNACj6+IykMOIEW2+UFvfB+e
GIVcpLm8DNF5mtGjb59m+wR6Y+8IrPKlwnZv7ZNCt9p5/Q4PpLyVDnJ7KyoW+ywSi8WyOnuwnRvv
7Gov72vy/fJOA2ayb/2ear8JCLjo8Pz5zKU80mYiFJOO8d47TRCrQifio71sei7/UNJ4Y+XLDfQo
LoiVVI/1EsH3DSxl6TFXre3zTPN2Yjb/f0OI8tLYH4MMQ0Yeunkm00Cc2EKGWiipQN0fCQUCGlhX
TBWAmt+57aDdlWiU7Yjdd93MaBtnRsyCK9XyeMn274ixH4PP1pn5OJQNoiIE8R3qpt/wAugKFY6w
SaCwz9ltjCs+jLfkJwHttgOA32P9E9NWGm9AKuv/UBmgEMGgl0zzNvyKIHn1zofg8nqEGx3vx98c
jO4RHBeWl8BhnJs/kBCN92M4qOsluh4konkGaO6GR2ZPQISFAnJsFgkSS2MGndE929c+K7K3ISZV
u3/Dc7Abl1gzXH7+UanR/MtXf/mKDsDTfv3QeRvOIWJ3/sakGps6Ar4/k0tSaZ2H+8c3SH2QPeNr
VAweHk/NarOSvFOnfUA/yaR/inrN2ckKx2BJOT9Xoys6TIda/ERrdkYP0D94qr82jQZyIk6zLQxj
y3s6usPbdY1kJIy4P1UT2cQctp95McFqUk1z3B/VM+BT6HLy3TS9ts6Sa3Gc6qXmU2X+GWeS0ujv
Vr9yauWYIMCJemW5vv0kyqWuTG50qW1m73MmAi6uSKzQymAowIlroQLI0yiv86/H8fuzqkx/6MdC
lJ8s+0ogvFi5IhHARKDJiSLVpYuiJqrha/ji8FDQ+yUcRsGkXencQIUPP1bIEeBCyTgRWCj09oTg
x1rmCRGd05zTDEUtt67+1LZxrndqloYpnXjXA2aFe1ydZsVL7UAkAnBluqU+MPiyQv7ZfohLw2KQ
ZbTBd8BsILRH6gDFGdsHULrdVhZRPeUinU1U0t5qz5Xw3OT0B4d2u005qbOI6dvIRLEhE/XmUwcc
i3sp9lOoCbDw9hR3tSDZfrGih8wfGXURnbP2lNikGjAaUJnCQ3rSWIzS4FZvBwHoDy6Ab23hK35X
a+TgFBCpMmGub1SbTeGv/Hs+Z9yiiA0jYxDpJ6Al4EkuBD5SbTlV8y96AiqYIZ4GUOE7mlaS/EAl
NR1aAfk+5cps8ZpIvyEYNz3yG7+RcmrncF/f9cSjDE7IpL3VBhvg3N/RkT8+4P2mzKCYgyARpwbc
LSJeJ2KHGrxFos7OqQ6ykNgfFn+kVB1k6bjSLcdig7hwZcXhD2Ben73k29CHsm2cmttGqVuMM50t
zHFIyUDtbD3IE+9lgJxdak5uFgMnbsWPAljKlzV+RF0Yq6NmtRjV9/4Bcq51fYtYDt9AtbB17J/U
1Q32j6oH7Pv+e4u0FMxdFqU6Wi4+OpunfbxMPjrF3jvusrfnyFrDUoONFtfKR8/YolS3G6aRNXYx
5xb4qEHX81Qt7KnZSLJC5qmjtEJsjDvehRzt+fQz/I5OrLMjR74p/W1j2in1zzZSlayK93hEsRdP
AXZw2oQcws5IeuMVPUBCQIRdfKeH9mGh5jKMRwrhH9z2mUxPDWNqawToX2OL+jLJJUHRIiFmJ4hJ
2tNMR/HBU1O98/K4FJ7bplzKE1Z4/R1slXt5yamBhUXgo2bmt+KlSLEoZWDLj3EoO6Tnyijk7WMm
imLBsnRVrsiW2O47TFXGK6JnY7Yg0/sKz7fMn87h5km5P8+WG+RBnFeZI1fWKsSURz176O5xNi+t
Ny4YALo9OZZynE3QlKMfRAejXSBtfWv+InfAbJ542VJzhRlHZqIeGDf2V4Dj/qLT5U6/UZPPNyoL
VIjj28BdZ5pJAESN7Pb0h2gYnc/g8+kD9UGms6Dxshluho4w3fPKldl+bqJrAEM3zvQqMJq9UGiy
rVvrhAqh//y0PEuoaSNusJvdGj+tz3DfWU6QE4Bm/4nGozdsxffW8IRkG7fBiav6CjAzOWakesZy
vbZ//IGDjKjX4H1+BXyDTuS1n4HRfBv89QoLTBlvuXyicLy48WGVUF3JHxQJKmD3flbmzj9NYtrX
L4B/r+wjNAu6sE+CKhKR206V2WeWnJkVQ3QrsJQTXe19cGelRqHxxxzWr1ShoNT6QBbJFpiWx+ee
i04lJr5WaNApPsig5s4Rf5o/oGJ46KZiibvaflxBRqWjeh9caqQfcoHycn/0xO7igB6T++gg24Vf
W3JL2PjR/pkKH2eGY0LFlLJeQQndK+eKT3x17AyHgN2wpTipvmATasKQggrIL7BW7G3s4BvBgC0K
OM3tfFIKMeBi8ph4KziWPz9vgNMBiYjAl5IG1K+TPLWjXbQNs6Sd23ADJE/oYKUL4IDcIHgG4bev
H9q5fqo/GWTwIW8rdS/KfRBuPxGmiNOiMdw3CBKblbDQReyzeeAClk8oP4RXJCW0vZkIfCKG+V7p
vdAh/03VDsDTxNlGrpdtHOfHdaa9Q2bgyF6xV/4dbLqKK+RRVriuf4rYiiOnx7dDBrav0fTQ2gbJ
tvOrXU/IwntYaueYl9f4xq9/BhuiXKFEh4AMhzJJUEK97CEctYBn4kPs9r4FVEwoppgd+YooFFMi
jMG2tiyD5suMRfZgGupb1EEfwIRuk/u+OzdzfUSpul8I2XQRNmU1yh1WmqW2YfxD2MwX581VKrOY
Gm7a2weaPegyYRSvRHI6OQ+qbi4zR7cP21mlT7Gj+RoskMBs2IqwU1Hk5280gB1oBNruHJaS6RRU
JR+BX8KFzulxE2rVdN8lsNAPKUxpGyuYDlm/se+wSVqVRDNMenf/bEZqYs+OnfMrk5PYgG73VDIK
20Z5+ExJPR43YlBTtQYgxjgHlOOTgIZCM8W2lbW2xYJOGXVjnLnMKzyhpaxKtxrguy7N+67b1rjI
/5rp1TEAcX7GpXVtKIbNngdTFqc9t+nDISBKpapN+xc69V8qsXuvBQDQp3YN4h4eBx0RpmzxQ1QJ
U8ANDgpF6Tu+qjzMOUNwRyWKfhsS3uQSuxP+yZIi05igmn++/CG//zf7m11X2xHTHfn5PhWhZWQT
jKGasD8roDOzF9V54BYw9jcDLYL4ZslYMDCIiHtLQUbmu/k1MwF1oJJU+jKJPEUMy7/8HG/boBqb
ZTAdGEHKHnA+7LKZvyIQLr2Y42xTVUoXzpbuGTI9ClKTup4b0U86etDUF7UgcEc7tM726Hkge4jl
OIRZZokj9szAOD2xmCSkwW22N4beQKoPjotwvcaMmOst7JLQsnVStfsgMdfPMEVSf4AcTu04tkRl
3Uo3z1PG+0o0s2ecluAJCUyu/2s4CV2iOM+EKmv8/MMn8T2ejTtkBQpKZAO6EoIFfMQ21jSsGlDc
qoZVS2qbwjFgfmXrTIrLNrGEt1qhVWmgjnfoKiJTatEpPMZqkh2x03ZXaGL8NBj+HP72j1EWrTTE
UMKPx/0eCMMfQ7pUi7ksrAZbj/PKTsmJG2Q17/HMlZKCOd5oGx0S9glVBAr3CKGnjXmeotVqe85G
Nd7dlZWxxpy2TogyVtzCXOgQK2twxhXZBiKboylmOMFR4p/0zKCzSQct7bu4xEJAyjw5QEcWEkwi
GBOcFh59lCdiaW7SFdM5oJ47/nhUR6lAA25D7/OPwaMuYDa0ge7H/yIxXGAIm+cZtxGreLC2PlSj
+TeshTNBkZ3fOpDf9LRQecOhADuywxuLw6IfRg/IG6HPyo2iss/sPZETG+QHGnTo6etTMwvrT7DB
GumywL0xOavWgRmhM4Ckm6AshGcSrmvluFk/jE4aGqno1boYnl3qNfRVhh4Y6TuwsPs6Nv73Hh+m
5Ds/r5nR5/TntTS4zg8YCcyotqLMgiwWqw+b61REIZVayoUhbXWO0UEB86nOqBavP6nnCcdd99c0
pzwGCBYmm8GeGd/oo3Hb6ZZNy62gq2gZQfHCOuzeGijUL3Kr/Yi89oSAAOyqzWAcsS4HEpKklwil
4iQa8RqBP5Dvepos2B7aSlSji02O3lWRPReX0F52KPzzc7MOmhEm40Bj+RyAefkzxzlovP/6hsXF
oKR0drCbZaJto4gDss77w7aMiP/JzdqWdAW4gyUjZp3Pbdhh6mErxAU+8HOWeSYTLMbmE9rZEXDI
SvsEZ7ZTnCzbo6AZTNt73MMemRYGUBDRfk7fILzW2kxxb5/bFxKYI4ck+qptX/bJe5rAvN7wkMID
bTHkGY50jovTUkQFlaIn5L7CvNw4Tj/JwRkglkfiFPL0IzWmbW30OiBncyajrgrP9sf5RwT3tcJz
NfdEo6UI7IYBfIhbJ7o4bVOBVb1xJFYrRU5AIoWXxs+AqT7DP0TQ0EZhrAQyK9/wtZcBumqYR+wP
2l9vPGu01YCBfCJ4cUhn6kFue2v06XzRXoNQ2kQphiXVD+2TcvwDxUPG0C4q/QUHAoHZW28/AMST
vGWCU/Q3mXTZ9V1iBuGj9k/g1oJlFNRO5WT3gm+qkEOiQveWvC+d1FHpg5soFOsVSzyZOnN7Co+7
Rq5bRoWrVhmXnlG2W+WGZwAxSBNWxkcL7lfkVofZ/hmiEc67+zCsnqkM2F60Z7dp/CLIRV3KUbg6
mQOlEgwXBdaFw2AoT1GlAQk4wcnNePmuZCF34I7/txpWqv2+WuHcduUJf71uu9VBt9Wisou/rkDA
3g7ejhA66Ee1MzGZ2RZa/Lm+GUEh+6zfVlBQRrdVhqCTH/iY8Jf2R5J5VPsL8nZEVJlka9fFZn6I
3oJCc7JJ69I2m6rJz/q91gkBc1vWtgJbSJsFcu7+KL2uX2hCvFQCZDaClBBwdyVMLaURj++VraBe
wjHMDdAR3vIXW7CMG4ks2uhYwWCthVdD5gu/2gQCtCm7CEJpXTT/dnZ0BPZyYtU5VOo4tl/WWjCD
hnUfm3FjOv0V35NeIzCpx8fa7EXP3f8OqZh+xmlzr1C7PNoJreLCh2AQsHWUgWkSNtxiUOjpHjAe
jY7g7N4iENxUQDhZ6q9A9cdrnZUA39QW1W3p+RBTkrZ9cU17kDJ+ATAzWtl2Gm0QJtKGEnKgtXGm
2XAxokeQ6AjMCQbp69SCbtiHzEGZuY+u7RD2xQOoUBQPbahwGoa/NWgaySKJo2G8XrMUL5B7aaJC
UpE4gscRg2tsaskGKN4igRtP7Ye2tas3Fh6LraM8INYBa45zI+k/g7LVK4leuENr8fxgoRbMX4Cn
YvXIEgH1xEZ1afVPd0IwqQ0dMwOVh0Nzlf6W7TcGTzAdmg9QxlW3qAdcocm3wEMJqVj08G5c+8uQ
fxMzYcKNOHqrlRBERpa2CDl0yieuYWWwArkFjMO/tC1gBroxTUoQYbyLnAn3I9zFZgFQoW5sH8Vw
/8FdYpyDKH5hXzEYhmYfkgnd8An4FX2N1uSatEK1BhzNba+H1QdyDfm2PptVUNuwKXsgJZnQXLV1
A/WdHiUD6TAkPt9c+ERrNiXnqQ1xnf7Ef0zGQ945kMLwPWXoN1g4H6naKw6mrzxXQ9tsjRdIqnvC
lW+KpTTXh18zOKtcJWPROUDiEMTqpb73AFEGUjx6xpQ5BdTYUXNfeduwsLlhunf8hm8sDYVbeOkT
GxCdpr7zxWPVhyXPKUkobkLJplFGQ99+6AYXC38eXBERZrlGUY+OIt07238Wbrl435tyaMgfUYuk
OPtTe2CqB+7sADrIPK8Umt23YX1SAQKPMzTJTTUTkjnekbIbxTiqgYx1pcIjFJx9QMkELMUCGA44
dOMtLwaaReh/PZQ9wD1t3E8T7qIeDHIAahWT+ugJMYMn0kP8U3PAdIS0pfo8GFDP5NJq7edLjVzw
9XnABT7U8g3npsOCoixoOgoxBHfmG1vamV9Q+rsiFDHNNsjH5JJ4dca5VLyn9n3djqJpKy0CNZBb
qwP4HEqdvks5rYQmUUScz76Ma43GrC9s5O1OexqjKU/A79u4p7fAFqwLbes9drnJGw0uIoElQCSW
YyeKAeJHByUBzYw9TVSmqOYhFdiK+P4Hh8XC2Wrxx1U5UoEQ5Gy9LqKMywVYfqMc2+M8nQh5KUQI
DO8lPYIN2F+Q6NoDWnhpAY9yZUAihwsn7URsjUWyPW0Vwajkj2LApZVpTqFDwg5ppymoaS+BFI1t
wjmrttuxFieNgtpM/m43zWWnKcXRMIcjaI3LCPBMAeqH8laWohKVxFqmQwWYz/XT/XyfnCS9fK21
pBOZKocgDMqXfWm9RGbyBtjsodFvDAk2K+wj4p9aklruRi03AB0wA7zh8RAEsebvhjTI0fOqeoMn
2tHLaNm0HQ5QrVOvUwJ3W3j3loOtMAmiMsaSLCeGa8toE2t81x4DbajaFGsgrc7gsayYfQWb6TZG
dpMUnShvasnUUT/USTCnFgFSgA4UBMFJaD+TBPilfXNTsf2t/ab5H3vogGAD+QWA8i1sCg+bAo2W
mSyvfDMVZHpob1ayR/EOtXYSJXEtaqyXnQIDxXBGCqcJ54LLInUAzPFkzFm69ztZq+8AwaqFW7Ke
IwT7SQjxySKw4YJpyTWH+QsTo+DhZ+hmA6fCjqSCxq0ttEPzSfjyTFVT903UIQ5ATSVVcBFYlwkH
CGBc+uBvoIqYtAhAAGuvFYEPIToATBQmHUaOyYTJp5CvDauhxjn0SC/93rPgm+CkZkT1oIbOL0yX
AhfcW+F4DCzQZ8N1oIl7j/5Pk/eeNIk7ups6HW7ol+Y7GpWH8JZ8IByLxN7kezR2LSjTZOt4S1PR
+6MQmqlW4crxWI6I/kZTwkRP3XZhZgJH71/+TVRoeYZz8odYOgLa48gnx6ry9ztNYxzzsUzVSWeX
4B79DtgN/8Nf6Gs5YtqvHGvvciAgx6E1dSPHahEbAkRLYXSAz3wOhMeh6ZAtKKIComaWtGcL3S/9
NImVj/JjlK5K+kEmvbxGZid0P/10ihIsPXHB3+ofCsu/+6s237lxcl7fhqGCdcvaSCKC83qjkeCV
ub0+qYKIAVNnmCAVvJw1lntoq9CHVZLvNgoSCIvRo0RUEGYkt8AuGL58N18kl34zA63ULw9Vqs7Y
l2W3bSblrlk7lQkx0O3f5gbYfiVQoBCZOrJ7uvt8Dgr3w7tSMF1H8v88uRzgZzQfIFKptVYVaEj8
NLzvJWoyE7BlA+6HhyY19zyxpnCHB9keplvBurv+PmUf4R1O5E9x32wt4vM04XSlpEI9MF7UUpfr
7mu6L0a1hy+cA9fGAyi0jvvGikcWfp/fqaLRTpriMmKelY+A+yYVGOns/T1WFlUQ14IchZV8QcuZ
E+TzGxJ5seyRi+NpcrCcHtMRGZwjXqHQwxvwgOpcA1dEVgFOj39b10nZFdz7GZaEd8dB4E7vf3JH
So1wHcZ8OFwBPhqtcp8Fq8PqK3/igzNSEaCOqEY6eBzhcq7n/0hPrsBFHNIOEBD972Op//H7Bvru
kSrvZ4yBRmSbcVYCYXa8KIQ0reiV+SPqnIZG/IP0HVU8fkZNOe6ZF7xr4pn0Dfk2AC63ituOzUI0
xPd5c5f0k/+yDbBHfDD6dpV+KeUWpJuWb/Er5GiUCAlxhmDouZXfmU/NqO3Ah3pjLimlhxU1KJ77
qSH0lK4bUbd7xFPMst63Ek8nXTvMIPgWEc8KgxiCGZ99NJ3SfAxFeioYBtBuUBrlADDLjN2BR0pl
E8FqlutvaBnj9gpMxzjMHxImEKYvl+CJwinjDV0SFy1dvPraGug5ug7OwD/vP6qy3yYFjSIkytri
QblZy6Csdn2bYjzrkBv4p8IDVDDFO+beaXL/NYcgYwgp0eqVuSrTgG48Q9j7St0I3CI+KTfKYEvK
ZFa3KFd/aOUYH+L8cGeSFxubsZnRJ077h37/lxQycWB+iYuQAetE8HLjAmLhwFv8hrmWGB7ZwSAB
Tal+gjNQnAgwT+RbnhjAch+Pbsz+eGOUSrkh8HMzfn/KRkVU1AzoL3ByxUwqq5djRIvjzQ+xYRVg
wuAzXvZyN7I1X66A/jqBIlMPTpoyIQNIxmXPN/a2HMr+x40BQBl8TAtVIJSX6DYvNiq9TCIe8w5N
PBOwiGswwh8W4Z3+EqnDaW4cmN5eTiqUFpn34vi3dAGIQjbxQ0I8wmSXKDPJ9yTf+Ts+PUA7PPqH
xXUI2rF96Vef/rofChxvZ0Uo8GUe4LrMEy0xNBT8JWi9bH+/Ao1Q4IVj+7j3e1QaDjxrnnijiKSy
GM/l2Ef8yfCPew1NbVEqIM761fbpUPdRDkVXgdbkhvKncIfUQx+iv2DPUAmQIPOfcDlg0BG5XZ6E
j5ohavHWtOVqbtpXsAq7bqWRnLFgKVsMm6IVFUD/TvybAzafn/7RbcO/8o9QXrO9E8w629PC4/VF
gsUVhcdVjtmXwHd+8SnWGPyn3N1zTu8BBHYyUWDt2v6dMRYEL7lbaK8dLf2TkI86s9CBv28cbOCe
rAgz4MSrk0IKf0QfCEaR3DQNFGNf66qaclpY2yMYynz8B9WGKT4MtVESUjwgKMYAXdQPVA2q9f1M
m5ap20X45ZiDffyYkYnt4iKbidIN+VSWXwDezYP1s/j9HeAX8FPY0nKXIaa4SA2SgdbQB3UM/Rif
9Zktue1eor8GmHVLMCrqXTmOBbI5A153rXNMBO1uuG7aGgEShmqfUZ1hq5ATYoB5ZZPicdwd3+0i
bjfPLiGtw2Zh8dFMRbQX7LszsmlrpB7lgNNjoAqLaqEOL5QGYmeetwEsiAWykMVbC5fE/ZOCGG1g
EIXjZ0PJjb3qTBPJMLPpQ5PGvzM1O4XJBwNJ0mCvtXz8mwFWZ8LBXy2zknSogmsJn3Yi+CrVJQHg
J/VkzF1Eh1kvC2LlRNzpumFfuZMTpPoTNv6XRpMyUiVNWgyhxOl7bEnsWinI9j6aWRgKijlUeVpG
Mb/MHiqHaJWhklAYU6lh3kcZgeT/sXRmS6oiWxh+IiIYRPE2GcUB5+nGcChRUUGU8enPl7tPdJyz
u2tXlQpJ5lr/+oc2Fvr0Fwv5dbmNlkNJWQQMJLSCNAp+RnLl9Sm3BGjMdNVo+sYXpCGl0pzrwAfc
qU3JL1FgO8asLlKcsflNZwne63d0JD1iSGSICgE3KKCX/Q3GhXK+bHolo1GwEQ4VFC/Vh3LzFWSE
e/wG76mJO/xv8J2bo68YkCInh22g3OgtfuCWU3OiwQFGNQxg/ogsCSbxXACqcoKQXAKdV2eoTwey
eii2xnGTAlHbTFZujkJS0wQxxKidfb9uhhuTRD9rzb5RcGK4noaHJanbyzY4bwqYfy/7vahxn5ZG
tIaP05k8PUZdzz3HY8ADUP2SnX1anF+QMtRrL3WfoMm2Ma9V940HP8wzJ1sXTzbdvimsPEi3im8F
ZIzpGBCMvl7lrG6zwz+PF5xhMFSC5fhF6xJPD+IR3Gb96cElquDp1ysLpi+ZAEBsJr6lK0zE/2He
GGzGWJHDHPfzPzLCFjL8qgo6AW5Rc6i4TKT1+UVGCWjTZnNgtv7Glx2jH5yC+jteHDnLeFUDQBSb
bKVySQb66bnSXyLsbDnP7Lf/PT1ci1c2p48QBysw1VE2a4a5X66ki80fGCy2MobXBaM+fX6iGr6G
/PH8I02i4s/Mq4Y36KT4BCXRe1/CNI5GCR4I9bo2ZO6YruK+V7u3eFa3kb7tituke0459Zff2E/7
9K6HSYeUp8PCbBWR09kRntm5POESpjfRKtPiYLkqrFEkwHA9cYoloQ3vgc4vtM63dv9WB5r08qjf
1x9ftttGGA0e+p3zVwl/MoZMBpt9Zj7ftXkZOIH/DNHXZgocjSMwBapEeKuNnXzGkDMfSfD+jWpY
UzGl4+BN1Z1Gn5H43Bx+h3LrCjUPfpWTAwTng67la02kwgxgVMWk3Dw/KEJN94OyfNS24/74RQtn
Aut2sFbD82ydm156k+8WRwRjRmUBxaGdatDfYk8dauNscoh0RtqVozSBrm3IVR7Eli3Jd+rH6/bs
+ODen8I4Q9mnzUkZCWMUCUsmnd2Ya8vLFPDziB4a+/e8ZlcTOfq5nt/ls2D13Fc6ytAZvoRe2VWx
I1CLJky6Vj+t5dvyCsLosGXEtHJcVfZvQ0x2pkpK7KeyQbXZuQB9/PTvzVXDmm5GZEm6IiFpmFTS
AxRdBITlq4Jlv1/Pp9YyJofjMZnfnG6zRcVSWhRG07M8ZOqeOKeITAtRz7QJ+0yDZR0saaLddHTX
GlgWRl2VyGnnaCz5QLJiPQ3K1okpz1TR//idcsD0Ix8+KT44PO6UpVxk9YxHi222IuOTwJjdJDMo
pvnmfY+aKb6/mvtQbTveacdc92tMASgzptiL2v1Q5uHhq7nit8YPv8XERVl96d3iVRfSBRth8Ndl
nLV8Nu6NDPFs8aVIdkBqIKJCsiWoyg37a2zO1CDJZ52onZcwHVWfvcJ02ZwY7pVD/MMZk3Ikaxia
9owwvRyJVGl7TsZ9loWXGhnjfh+J7Hf0mnZenqU4BXla0dN2infQnVysnrDxqao29jO1Z9WmODXD
2Bw8w/d3qq1SdWSazu+v6AxSEgks0QR5RzSQWGvyc5zcr1FvdaimGam5OiBJ9GRYMn7Wg0Ujgmxv
6J7WhHrp5YlfVF4cO8kbNcMqhVcYVqNv7iizI7RwXWQT+01xYNmttTjEzgu+FOUwRx0GuxQAXWHp
jpuabnqImseojy1AYescpfBe8m3mVlhpbMrTjXEydocYg6qLeIAe+Xg/F6Oe/ypslou6Uy9xYZOk
N61g7m1vcyxBQnmn347KbfqTum5EEl6FBDlj0YBuqzRuNGcYsEF/pbM4XCxmz8kSrrH3DA+ZmzBL
xEDmNztWEaMy8KQf6qYDmy+7h5i4grdvQK6OnmFnc3eUSiRoszqiRUN5ygq89mouGUj+9fkVj3xN
79Duy9fiZywfkGxC7fhmHQ7f0D/CzzQ/1t1hPFjq7v5zfOjIvZf9SZ+0pfcGc6NHUCPY+DK/HWWp
7BUKBkUEXuqOvk26Z7XxbpNCRp1O2G0+Dwz3yN1hW+qes9+o1fykHvY+5+9n3OSD9DDu6qN3d2hF
nd4Junn5m6tn7eXGL8K7Ddsi06Y/UUu6gF/YeUe8Knve1zx3D+H3C3jYX+j9qEynb454XfCDtCna
zPRvytScdZ72ZyS3mJefX7PHxgSyfH1mzY/IWs03s/O758Sw2pGhnNW+zE3Zo5yB7PpuuHil0L49
Rq5epTkPZp1GO9ZQBWkz64NsqrGOT4JwbGP2M3iW76tv59z2N+Yr8zqLN4rW/vih7gx4nNk5+0pV
V9w59993hyYEl/L3UgXxq6YJH5Dx80odfCHRHmy1cBvajydjKprw+yyFxDBo59YSqRD42YQuEmYN
YbsneNebHpQo4simnemXgTDmowS2yI7+jw2LSkv2mDWaTBmVIFEWqcDPd4YjA/TMgCIH+HMwmAOA
Yy2MV2LICSrpXgtg4cUKjhiHvOEyOPF1VBAhLm8MczBW/G/AvUCxEj5daQIXoqFBgR/IGabMSOO4
WTO2k/a1UuUhNUfIBOlbLddBgrWYYbyLM3KGYxCHusBYfMJ4IfYc3MkYluwk20yO7RbXABh9PZwx
xG8YQkOaciXrV3rwwPpfSBNBqdfB10hOLLwfJpYy2US+QT6DVO9I0tpBThPly0kZR2dLkzvqI12S
p7zsRl/l/ztXDl8jbK88VLj68NV8/WDoCyjq3uYqzbLFsSu62y+X+O3WIBFPIYOmVJ699TOYlJPi
8ptnIFXrAmnL3X5h875utaAPK+XhmfCbSC7qe20VUKQ8aCgSh4qhEY9ZZtcfEcPS79rZKgaGZ4VS
ItKmcQdjTmJhmrZKyfnwvxq2UOyGHe4FEBa/9NSAdIw1nvkNBQz+G6MfD8/HzkrxMN0XU0I4rxgo
RtnoSRAif0fezNi8ibThNZ38fMDxhZ/L+iKmx0G3jgw6F73EK1SfrxDchMgSNc5jgISi6xfX6FEK
5933zS1mQ2iKuiMDowQsd/g8PIGbzxvF+bCBGTE0Je03dn9EVW7vDGEg3zxFYdk1hKMrCTeH31xL
Rn1zfptiYNNCI85FMs/ZGD9k1gInjdueMDoo7coTEUqN4kJtssYkpE9v9La7ZGMuDyvKGqfZ9+/0
yPf5hzuzxd6GTVJclNGv56vD1W/e9TBTp8psaMAxvvH6S5OuAIxds3t3/1MARwcHzR0+xgkZMRdz
mQYpXcF9wDXqQI56MUS5IsYRH9bTiA3ht0etGi9u43ftdxsnpdYMMDVToQOUktRiMbBIkOWYOPXA
IMGgbPTls2N+F4LA269jNwk6vg6tAqlPddJ2z+2deQy72rk+Q/W4/XyjICLr9g26pkBSgRcBvbMJ
eLxiXgEHFFDsF/4QUy37o2dHWM0/UiH7voULKMqEftTlAYEfJO6LumtTLiuUkobQdge35iwiQguh
Yc/mliB971yzaTUvVvinMLJnMPd5Ob9D2G6TyQExrX0yvJxTyjOCbwegj0LaV7YN/gpvNsB1Burg
ddy6E5iZ0w5FlPxhCnwpe0KBRtoRHjHEsDolx4dywJjWIFmsJnhZBs/ARKIUNF5MDC/PFYdXdToY
QaMKu/fw7ViyKwROffQPEEXcK7TS+c3v3Z06ExXD0b/e4PZweh2nO28frqEM6p77GPcHvenlS+WF
HxKZR0iqJO21YA+D53N6xPZvbDJ5Hdak1/3ZBdFYNDWboDm9Pq46hOiLgtp7UXGDHvpwZ2HwVW65
efNuPGYlBCJCFruTiZ25FGxdgC4ZetpJnO+YEc9PeOXpRC2opc4bVoedZ3ScnlZHyqpLwYDUVhcd
5FQvdpGSOxA7HwqNr1OhPnpunrr/uuStq13NhjBMzlligSPt4OqHcZsiAkZsHBGFjND0e0Z8eumO
+rWLb4wl6/F4+gHSIvLiNuEkbf1GYy/WC/8B5R88+5ytOx8HmkV32MXf3C4w4oAk8rF13cFv0LLj
S/mFDBw24hXdXCMRUF5w99S4bjwcDbt8AezrdzZvBOkrtrYaaEhwk2KIxg+UmEEParNM/muX5egA
7dDTFop3YBCUOp2X6DTOA5LvrMPKl88HHHAl0rySGJRRDsEGSc1j2YQZGYkayVstT9LkQPs4h5dP
bvjXr0/a0tRFiwPF2dpXqHBuo+6qD7PmJ313u9CQO4J719k0wZCFP+z9nAMK73FtSMUnl99lEx6G
XcsLaQst0FnvRfLVzGL8zEQbSpm6z/sM6W8/kJfuupbRrqOeYafzCuZ28sEvtVwtylk16Iw6w05J
HYQ1M8aMQM3wVXsiqgNsSMFcM2SKhORanG0p4/tzj3OD7AyUhqa2LLYZgqVZovjA7veP+NMBNLAP
B/tWazAAvRZFLVSWEdOGBeg/Sqh3MEoG96VESyrpP0mKdPhbdUbHJ7kXBzwyGmp9u/9mUWqAV0Z4
KOydMmvywJhpsNnRrdmWIYNZtNyumMN+pwl6Y1yXYHT45UbbmJqbcdyhdCB4fvpBJFaRGxz2j9CE
C49DiY6AwqAn1SVOflHXB//binxw29UX6bmnRo+uyDgtuV/nGt9MlFg/v1t7/b3ZouH8V3cBufrg
y0aoQt30WbwEsuQtmfd2jZe1GjzUgR8yNgYifi66207sZ5M3ohZIOyy+Z3DnUC5GZpcDflLr/hNB
xHdWGU49rhY3Sjeerb79bt1sYv61aCHn5ZHMM3zeeOL+uh+Kh3pv21K6N1IRmHE1yOheHOZGJvrT
z0JDO4OZhJIEj3nq9MBw3uKW2oyUVBwg+fY0wlHcoTa/R2z5f8XlMc+oJ/KGyuEL7jtIvgHFL/4f
7HthZ/TY/8bGiqqBfuMx0XtBcwhvbx+MuyczZ3nITRBK09UwFs/GHPAsTEmTX3VO7HigAHdkwBiv
0erc6MJZ0IjbbqFBbUlyItwgR9vdVny6RXUqcT5TxHP1ii5fIuSDCgQUjRWCrp/zWcfzetkiM9Ln
b19/Uzlpu7vT2fAeJ3EmWD9SW+tC3HlgkFoJPeYIodMe81kXqeq0XxEed/mxtfXtjRGwwgAAP4TJ
pOM9Yjg7BUwe3CHpRMA2yJt06C5ywV9ZqZiY1TE7qkzyk1Fa4FtqHSg6WCaekifiIBnggBa4NHFb
2Iu+g1V1eTlUpnf8nO8bFPo/7zCGRjjj8+/jJOzs49z7QMvzPoCVD54hv0idFusHzdVglYgPAtkU
TgWCBUgGIuA0eXGU9sKf5T50b4YTJh9Ryv0fNZqNw/yCTfHDVgEJ5DHK9eYCCkAtQKw/mHweZTpf
WNy96vRmhigU5jPjTssu0FWcUAdeIqziTxahn6hhca5MkLnFQt0kFHNsk1fFCYYXqB7Qy06SRyIB
e/hi2x68Xfl2Hi7qjN7fqmBP/isGB8jc7BiwHlA1il8NXNaBc1pT4H7wLnjseZE5gjh5aZgWDPk1
/+R5sv6NKeOhanq9P25dNo498nmktgsZjI+QV7JKhp+hcoGI+RIzgLZC9NP9z7RbDEwPdIzcwg99
dtv41/50/Q3wcVndBpSD4ILEbiao88F6sO74eGw+Oxax8sIvqwYN1yPJ2TNagOBmR7wV/ci0FVVH
BlYyYyWR6g0cz9x6GZV4R82ll83vC0kZ2uBtTJsu3S+yqxzi5NBf90Zj3yybU64Mu4LWc3eI3keK
Tk6sq+6wVhUE9Pad1XfWLLT2vx7986SRqnRj2a7hlllD2Siop6AaXqX1OhV2d/LaYI3/sN+1V9l3
glDx4qLObcFHCRNVQLTfS6pWDVgLcn5FlikydV5DxJs1JTkaLXok+5U6F+Uye1C12m+TE4gqfra4
RzW7vnwC8Ltn00kiTFg9oBfptW5xj+GZRNdF94TR92NMYC7J7YmDfDuz9U0CYVeyiBePvyf+owrH
KYwqCCrIYZ6oEURe2ijdTgPArWQmrZhUyDXit9x3ru8pMgUIH3xvxzdl5qRkMJcOnHH+D0FyirT/
8mmFzkhVqH0ZnSyJUxWMYiTloy/t1mhodCXN5nrD5UOqvvltC1SPaHtxMjj2RbYc8/J9kkSlyZxk
5lv+Y6khkdhqhr1v3FP7o04d8G7hTaWan41+8DuyCV3Att46SS7WNz94/MGKUgUVN24vd75Rqmmr
SVSMjQ2FFvWEg0xMg9eNfM0cFOhS9fGaVoaCgLuw7peY+ziwm1aLDyXeFWt/5n8r1cIO/u7kyLmq
n716uI9QZhbIx3JBzRV2hovgFi5uBS1p0FfYWdFpQYkiKAaHoBFAHwvxt/738JVutkZbvmuvwD2U
RcFQ8cCeB/3IRG7U/nsMlKiHNMv9UXLJ3lLxJ9/LBwinfTkMPCW1CuV0CIWSSMAvtAJG1YTUq5Kv
4C0bqQBgiPeD5y01kZk0TRjMY59+/yaNv+M/XEjUJ7y1f7S1v/vP4WlRJl0FvgiBchAu6QTkeT/V
l9XuKz2RmsKmexvccmYsVTaG7S+zvs67sK6d6odR8W2ek2Yig7YSQnZiG+d33w7wx3HdfD3BEyQE
NJc5Vroz4WE7axMqJUY2Ymde78vRAVbZ2GTmkCxfYJJfHkRANlw/lgRCgDl9GJrTp1MwoownpEDC
/+yeblm6Zm/UDKEYtpabQWNyatDSv/eTNIl2r4RKz+lD83WPxUC6K9OmOuxzbHjy6aFx5ix+2jUj
VJyxHAtFcgVdMeVxFW5nW+vhjjP2mGN0j7nLxbLTQAs3MQE2fQotZU998e97UwBBSTzWnYQa6VoV
4bN1d/cdziQpF6Ndh8cuSwO3einiKxk11SMCAk48rmALK4BcnyNlmMN4t7Y7UDC8dZ5CPdcc9hQA
I9pG6pqXUwxoac+hHIYsuhwzrkZdNqGfzJFNKWKoW54lKfYUx/9EgVtib7cfoY1Ud19deVaSicFD
gd5P7jo9eHxApySBXDNoXFMa0cxyb2Grez9rBJ5QQNZmM7NTcq7v29VRuaq6+EwNaWKyaE753wHC
W6BMlalUUxNOq7mmDCHjIQQivvv6JA36RDgv6RNlxsLsMKF/rv3VjhktoBLnFTHA7iOCLzNgwgQ1
AewTrSSkX80MganSh+u/wO+dX+ZCR5tHS0aOjCmZrOU3Ngta+6znd5FukPCOew4PMVSJDgT0F15m
cgT8AH6w7/gI2DhznPNrl8w6WVlRrRBVr+MDhcGD+LXuDSQLnsnNrwZM1TCjKZYTKWoMuAT+xZge
cmQg18XxToloAGhRFoa/RHROH7j7NmAyW4KfwEh8E+I7pIxaVDJ6wSQQhboyvjslHZhb0AxQ4FR9
3/1OVywJWUfRthjwK9mOpLdQIdDxvdfmzKfabc4mrXWfKkbfktXGD1Pij+Xh8yNZ6hZ+797HUQdw
Y0oAOD78ZDCFIrkzQsMCrXTS5a+c73gKDJ0WLkV+YDmTYrrQg3L2sye3wLxKZ/gYPxLuKcL5KwyE
xqE4pXAbXG/7NCKMged2EkNyWLMGaQDSfKyAa4re72Sx4/uY8sBfAYcoxe6jjKUvfGY5OB6U88V7
tuh82UkBlvxHl99aybCW6FqxHi6X4SGOjMJdI+zsLy+N5aUnU17pB9PpjhTvr9vLtqGwkARYFuRU
PocgGfchYp8C4qdcwV1am/cAEwDyfd2ZZXdRoopawgJSmLsA8E7o84lUkHF3kEfIKXV1df6LEaw2
HHhb8xWWGJTZtANU6tmsXRmJG+oKW89NvBbX4tSdH9xkU0+Bu8xh6anha93HTKNiU6SPrHe1f5S4
5W9N0dJLYMLUuDGIOx5UKB3fJ+a1qZyyy+VZ/HG+gkrEdsWBj4WHJEeiaRFVJWh60ckRZvuDRXEP
X/RQy8OgKrmxJaxv6dKWwIlMY5Q51rV4u/u0FePH1nBa/GZHKKBHMf6YuutJomUKk1NSv83UZRZD
hifKAYqzZY5qgYmY00HYY9r+O9hU29GTs3R2m7CTWeKGCsCbdMAVPo5vwlGRZlvwNT1JLnns4Fou
v/4S0pV8NEVX8RUigyX1CgoBeRaU1D0Y4pUPg7mpcDLpVmEt58fYb7zEQOPEWv4kovyJQ4ZqJIqe
1Wl3hGMqkYGAv9HD8aqVJPXdZ8ywl+8F+V6teO0pDXD8EO8SPm61zopwD+lzsPyMOdS93wgssHSw
A6CkeLtVSyy6ceO/izvScknUtgCitp+rJDYnk33UTJAb8I4BwbqQC8MUaIIbYjjR/gNZX+JWQ9wP
TsYmWzwXTxDEbMG7INRCsitbBfoYwuEFh20y6AMyTCvXaLy+yPE9wzobx4En6msJSyEonFNeFTMw
CETAupN9nT6Dwa7Ym7JU6g+9NLZPeCRTifAZHUAsEQ2QNgEKifG/MENJJ5YuqaxPKedTV9wByIIW
2yGUAbtasZpwd+LdoNlkWsKv/edLLYkf8Ez/5vVwfpLrSxN851LqWvko/5bi0/HmTAv/oBGiff3H
CALXsrOItbZ/ka2snZgqyYByTOX91ywjY6CLTN5Q4QaVxNiKN4SpH3+WF6kFxT+GSaGdYjyAXrJ6
hYcrteTdxcQGw5RAbXHWZ+k0DzgfVmV7A69mmvv0Mu5+9P1TU7uqRUdeV0lPChhGj7OT5PJJpibW
N8O+4MbumSU9F+x4c7kyn07J6gC2LS8tmloVBxD7h6wSIYGUFhhL08kxP5BuDWp4Pz5v7s10qbb2
t53K7pzDbbKODFe+c2DKknd/qJ10rjAIKv0D5jM/NzJ4vh5nBUhSdQAi4UfC1aWmpAEBvXjydYps
O4M7IX5gQAB3vJuTXDdQL5zPg4MsZaQOdRRGKE1LPSdRhS3CADjV7btp/3UGnR00okjGkFR/p8f5
lO4lb5sc98pmRI2xDs7FkOckRS6s8Ros//QN5+B4xeRg8i9KdfragsT03LrweBMKj28pJ9hySJzS
dw8fp3n818+H1Iq9gw0tG0BVetoXpAEwRODo49bjlQp5g/bO1hkcSKkgXx58whPepnGQxIKL5FSK
u1e2+QAYOuv7feqMDvFVvJro4bGLfgPRVXjSocisihkuJTtFRJ9QZ29xaW2mKXfGl1z7PXvZkc6B
RmS/jF57ySVTefz/qYZjScjFxEtBMQRcLRXb35SVVoOlLpin0qr0sMbgs3C14fU6r78v9qRJH73R
HDrN9B676gIO5QVZLlU4/ETYXLkziqe/tduMHqK/xsdASe3D6f60DWiPTupVd7A3HdYUS3pmeeoo
meJcJ7I14/XxSBwXHCR9CT7SAqMmRKxJMz2bvC7ak/hHK1h88eTs2t1T4oQHi3FWsqX/B4ykcH37
JeleHN1J1/+Xv3T3koiBaQxmYIMLIeXz6QycZLvqUfF1GIQZ14Y0CgpMSoevTIqoFXeCAcakT11d
DCzq2wxDNqyqw7fqlrNv1AkKdCh2BxYlANT10u4A6tGuKYNXwhlM/Ia7asdhr7XvXwf79Fi69Gnw
CAw+OCBEMzg2ZEkf84kZb/sopA0GvW9Bh8yB33jxNJ5aZxlTBp2yoaDqvXCR7M2ke2TJEHLMnHj7
Vrhk0neP87aiCnc22XfOlkOaIMWMZne3TesxTGsGYfAJZsHPByOmkXZxznD+o7u01xeqSXAhDU6u
CxGFosZ4MUGkpk/lmFDO4wDKWvs2x28MlAf2CgoAKSTphfHucE4HgENSX5hAJ+tIVh2vYU2QYg2b
afxwO2RJ8AY12Eeaf59Sf7MuKYeSjBsRbxcq8pA/8s3ksEz6nyQ8VBuDeQbaX9xU8BMQCXY3uv3N
KHIHSqANzKV50d72+hsCjNBgX+/H0tl62igibf6OlGg/zkfZiOHz1VzgI9rdTrT18Webq0Xu03LK
yugDOKLvM6RX7wEHFZYBKHdmw9nixVD1QSYwFeeQsZtHc3HsHaUu7ivruI+3oGgPUybAog87kSk8
8np79Wa82osjxogME9Nd2L9qIPR3QQG4ci5V4xQ9QabWKd3QPlO7O/2gAR/TZ5/B5HF0J+SHpUy8
CemTkTF4aNIq/NtaSKinXIGBhEsmRGuUaaDOnenz9CBdpnSn1fTrjZT9qEnhPji72xdtJnwYpukb
ljWjXCU8EoubjiY7tMzcTTDU45cu4xuYFkufQQLpyiQqgFlNsvkBqlxQUWY27ASmW8Aqw4pNwFwp
M5upPPn2wA2iIFuJEE9JqH5VQgZdIXWUCVuyIR6PNdw1GNHMERbGmBtqYC7wxCH5sYMs7y+xTNy5
rzy2iIKhUYejkZSP3qmBGfp+8e6HAietf42eM4JcercLBUVsBdq0c93wH7J2jTPn+gy18c821j8I
115Y7pNtqIE2OeXMXT3nBTQRmoyLsX4Z5FTyoWRY7ePpNDR5KNaNrt3CrcE76/Rycimde9LghDt4
CGxkBh8XXeqOZdMHm0s8ifSA2XCTqC3lmOKqPdznOKA7ecGgVHmqySVjTYuKWbuXhFRYM3b3iEMP
ds+gBi6JjwUe+e572bh76IyE+kHu++v27eYrGuQVIkndBlle6peDfFkOvl1PEV4zQS2QzIwA4jlK
6o0kIQHse39TTmuc2+89yMLs78byaQXK+Y6H4Vr92EqO78SzWVTqoFM5Oh5Z6OGs3Hvmjq6FOKUw
t3ALtgsEi1lF1T+kd5CGZCUwDBX+todLVj+ofVDl6ze4xJkLFgfI6mMGsEYg2G5zHrKGIXS4Ndky
BKVx2eHPOvZNiqkSKKkTSie/xt6jEeQqTFnBdTDoT5by8H4yyPZgUlMKHrdjhG79YBzhcOGao2j8
XnLtsAfCPfp57dDAZk/JLlVtA0F5z9NfGPVbo8/j1OIJIopCvK9aLpTZLvyiSNXsCZrlF1loxUrK
JjmcXHGUyshG8KgSGWiEu9yFSYZ4Yj6nbJ7jCOvkjF3/qOUh/ifQNkZiMgtfjowellxxXB12U/1S
sDSJEiK7j357trAncOhH0u+3Dqg+ECG/kOdItCh2sZ94Ip9gTH6qB0bgyU/jusoMNV7+dOrZhrkL
TOX9x2FzlOxizPEEghiUbfQ5/Jiyvc/R634zm5UyVjguvQ/PonPvsUXY+uR16pGOZCNQfGHmX14o
gEVv+11LNDGnTpMyrr0K0Rvbv5xqTxKQq3mkCJB8SmU6HMTFSwrRFIgarhnbHbP8Jd8ia+H+9nEZ
gzM6s+DlBLibrSmSnx37MVUpMU4nKYfShkkiHcfBTYmkI2xYAyy0S57noKeOPqJlRVBacNzjeHJ7
ebAd9nta7nFkDmVsVDk9vZBt3odRtaIaHf4o+IxR1NvGrZT4vXFWKGEkeL1IQ2ao5WTryF2/RygZ
y2fUE0pU5xDwDw3LrbHxfh2C4VvO8TAk170KLt2Jipo8DUlhVXCoUyfW09efTsWJxE+UcH8tHpSq
K+A8PJcGPjVgcUsrtIq50VAKg0R5qt0D/PGH3dVlRua2PNoDYMzhuJYXuoeSCo+yD8Tv6I2MDmK2
lAWcErZ9/IaxqZf2heaiuNlmVLgd7NNulOdXeSnyZTM5AbVgyjGInosEQ+NyGumETU+KdbHeP7ml
5YXr+geVWVrHCTh7AsAGVlsykxUbxldO/4Ck5wX8J9Eej3ZreSD78I4BKRG7SAPSctCB7/xE8GFI
j/Si8tUpmBD7dvCxDwWE5XgMdZCjJnoF1tvtfYN9PqKW94cEwAWhBWfmLgPQFkEwMxdsF00AgIVn
QkD6WqjrYsJA87qbBIsZutAeeAyRRbnzb36SCFzX5EosL+Q5glB/0DmauKm0qIWS8FM60ZgkBTOy
/P0HD0AZJkTvda/lHuH0NsmexvZANAHjCSpbjyQfu8OK5sHGPgQilpObEdeQiyERaKkjvG3ZaZj6
D1ukiP9CIBCciN/B2+MGBIXGYUPik97FuzfuUXk9aPNI1eYFO2CC4sUsEYfUfw1hYjl7g7aTnyHS
hwGz/Kfn8R/saPXldGLF/tvO4MzysG0daTaDFz62MNyPLDoV2Ahoohmf+H0j7xQNIM8PPMyQx2ud
pcA/jrNlMTl4GKB8dOT6iQxs8mQumzlcSiUVvddp/pKdBM8b9y2UAdmo5/r2lPbNJ/pHKrH+3hup
LmVGxSfjOiMX4Z1hqAG8IGULrK+ErgoJyEL+FD/Q56dgpNK3MsTGtcCLDiFPtszuofnjdU/W8SR/
lxQFYviGpkU7yTX271pj71yNcQYFUPjAIAI9kTfl04CNsMUgQ/WWtNJ8L5oAb1zYzthBtpJhASXV
fSha7T+kAFInIGVdJdYRbrNVxjAwp8/hYKyGCOO3tTdmVXy56JG8zIxhcTZiCHc7S9egegRTCWBf
6oB5pBvGDPvHMmdXx5ZFnj20oPs9Zwp7DE0yRQqokquHY3I1InAcph2NjWY6wl8SozucaOmvkOLs
x8/lmF2HX01PxlAJ5Y7UGz+n8t97/G/7Qrgt47m2Y9wjiLrAeFwGq+0jbKlarroykWXRfCBVn8ju
5vIckvDAl+6aK8rZhhRvPJ37v3AOkiNFkvI2sWaDwZKsBgb2GE007jgqfOkgyrpKr/+ZBvx7Wa4K
/r2CkxKalS/hsv6iuL5Hh6fzY+bHCWHZOA5BKWthTt9FuuYynW9TzbtD4frPEKOxnS1mpg7JZTC8
ZK5Yb3HD6g76z3PAb5G+jgbDztpTmDYuSi9GYuOtL9QBa2MBJ2ycjaTYnas85i1Sc7M/W/vboIDw
LLTFY/S52UpQR/crIyRDNAyWCReDrIhvJNJ7QACaVvnZh/LTW451AYbOT/9y3hmlIFW9j6U5mnHi
eoSyGDaGaSjVMUheRARnbQ5rji2w3HyUoKMEh9J9Enx06qus2TduO7IozUfoQzAguzn56Xe6RfXm
s/rsy6UCCLb7XXoQCDOQk96Qh+BH8JkWfMeoSNAsf1iu6rgdcJoNVYRaUoBFVu3psHuwaaN9rYcV
jLYTe83mNXvNcnYVTlc0YHKVYDp5JnvzRHgMMYeLz3gJFWtOXNp0v8eGEq8ewef62OME94H1lmdl
jhEiHD/Z/DBIaCZ9MZRmiK0X/eN7AXvcoipkf8WPGGgDCfeT8dTXMycZzZdJtS3zFLXhF9Nxgj6G
JNJCMZ1/VktkWDjI/En8w4hFFsiLSj8P755snHv4pvEiDISBMFqwwu/PD5Q6yICovNWF5Olq1zZE
lQk+FmBEPXoRnMXDq/mP04cm/arM1CF4Cf3jvOXCgd9gFk5TBiJBpo46qeyMALYuyj7NOexeYTzU
Tu0pXfVBbNk+eu7t1FzyU4UEx2QUnV3bWTuvwy+KJ3RRUc6MEWMkrC5x8jjpTK5ANItdw4x7xDht
I/fD52cB07s/0dlNQIJX8LsJUXWMWRnejvGA/+gO1Ep8/3iDHwzoaQTRR+HDZOO6jw94Y1fn39PR
DSeDN3AxMG2DiHp6/ek9V1UGGAm4LQy9HZcKTdEjHdwbP95jrZ2iB8ag5Nzd9ng8UFBBKN0lW0gS
7bFzxqS7N+vzJpAts4GtGDnN++GPv3mNYgiq13j5HZXXkunZ9rnOIKcm0981BhAM70umdm73UpML
C8uiIM2TR4ThWU3jXrsj03cZ/WXC/gwUQI0ay/na7eBTTvKFVIpKV6QKXel5xAj/eZpORyqO/5PJ
/2g6qyVF0i0KPxERuNymKyk4NwRQuLs8/XyLjok+M6enq4uCzD+3Lqk7QK3NssFe7I01/H78XFw6
B6s5YKGIV7l5w66MEnd6xmoUP0EQ7ihfFR26WSD0dLyg0AkpfJFanGZeWvIs7IUEXtvnuEPNLL+4
NWjj3i2l25LUFBA2tpxNwtQHPd8XdlJEyzYLd9TimN2SfQCDciCRxEWmTwBodHiq5tVXLVVh7K1I
QcSXX6XyMUZlIOTsKhk5IdY/raYrpAMg5Dtyey97bFFmHjwSDrUsOY3xFfBq8hclQonMenHZI1BF
HPiTGTrCet2ZZHk2bbIOes8Xu5TcHanMSgRDnrl3tD4ZLcBGRAud7CJZhDPNXNFcp5SMuEc9+tLy
m/BOEFCtDM+kH8Y3qK2Cg3clGQ3DwSuEUjitGZ9AteyQCR3ZkvEgVST+ajum3lIc0mcg+bBdBAWg
cUh/j3+BVDZuAB/0gdUg4SoDCTSRljtTeCiFuib/yhXiB/P4K76//I7vAAwBQu+fGrLW1rxPvunV
RgdTGZ52nspHKdb2EbyOSXv/Eh2DXroLYD8km+RX+OMTygjY3LUPbb28NPqUbEEMInMog1GVjh/d
kuxtbdrbrlwZhVYA7Eb2lV6a/j7wZvMnNENxjUSK2Ze0yNcZxl7Ysv5C3cuYyDmMQZV/aEwzC+0c
kDhyPpeOKf2I9GtClKs1IGTE5ZkdvEIeBrboK6vFJAXE9g94zhCRsdwSbNZpxowNdZMh95I7yBj7
gYIvaEPwBEB9QnZibKn5evjndXCnRJquYy4z5O06XidgLYhxDVXt2WVRRstqvRjnWJ45NbFJ9zps
7cwlE6aHTJOdBz/nn2pq+DD/vunapW++BX91UChSGj7xxzU+xmbQ55M92KqFQD8kvMIyjuWaVIaR
1Nu7f6fBYfYyGn4l5b/APBVQZ0URF+Fwl+5MHK8ll0jXYB3Ln+CFchZWKx8yBa8vbYUl00suyJXL
AI3QqHpXLDVafeZjYI2kI8RU0JOezR9CKltkXvnLBR/1LRZLRjWT/PnDkPQfCGav7IIqejtlmXDB
Fvta1KdjtHaAM22jv2VWMZxb/u9RZXIf8ZWfZkgjTKiiG0PV0WUqMmZWfaF2dHB+lmP4y+kQV+U9
hxYwN0GFhZ/QO/DzAJbKK3QcbxluxwAUqaFzw3WhurC860pxBUxkCsucrRNLE6uF8uSNoy2FDgII
hUYytKzwNMvOJopIQENRPmRgNQy9Tq+NqCCL5mXnahL33vYoMFmrGh17FKV3IzJsNP8UDHSbKPAl
44WqUU67Tv0Xx91ZTKvM+0qQAevejEl/RmyhRlE3Q2GMRMhrgdgGOyBVemmKfOpCzfaXTYX01YJj
wJDRB5n1sC4Ey9F0VAKYeIne9tsG+wBkY9RkRm1HLssdbZrodg7uYj5g1jfxeBEVlxe+stgbIEZW
xPko9/MoYvnsQ74I7CiFKohaYPV3hWaU+u2f/s7Kk8h68vxVx3HFp7S7O+85DXY5ePDgElP/hmDV
Ys7Sn8cE/2x2AtP768Ms+t28T//wq44VKp7DU1/LtAK3LJkpwiquwKoPGFfx7k5aM0F8lx5Hl4Vn
OFO5fGArKxERGaJQhNEakJ5x/u2wxntBl3+y04GDrvqYorpCzKYBIyxqu689No9c2BqxAXAIDug+
rw3kKDP27UBCABJJXJn3/vvaI3wxYQWwrn3B0dxDdWkgl74FfCItrn5/6HnMO2SJAzywgNqk1NTl
UKknAtF84MQVKI6gTSRFiQJ5t0stM1CDLhNogOX04NRpki4pmMfZagGo/ODWR3yAcOIz0j2wqxL9
uKSFtUxe1TkSrLXKTKBU8WcFmNRnVTPsmL03n16wDFpBF7XP4G3owhSIkL2cLd+EAlqWiWxsAgQS
UazlFejp5Zz89f7tVrUU29Dk0ZNwcfWVNW0brbK8wpQN6aycN29PNjQyrZPammRJ9DsJdzWttOgD
0h1oXQ3xf9S0Vr0mAh5oQXIztUWT9ked1rxsl6xH+/7HE+AbU5ul2gQtABWLUMOoyKRtKrkLCtYx
Nlv6o3/6DjW7GUEkZZWdd4FbGoYduBG9HN/bQi2ySi919TYoxn0hn2NrUU75NzZ5LTjtBX2X48wc
x3BBRdnuPF1w0J+wslr2jwqP/OQKNQPmeFTB/9vZ7f59+6hgN5CQaTGp3tKAM4nTL9oK9vh8yJ9K
BAaifFQGhS0zb7Q3ceVAy8JMEkkBpBH4S418E696awf55VDt9QqBP2HtwKnzDxihcVI1HSxl5zau
QQMNKCWxDFjKraqqxDIJ1eXrgKPRbuUtumYJ2OG9NZO6UC7ZnI3RJTUfSJhy6HG6uka2y0/aoKr+
c1CXV9DKztUIfD21TmrWt51DjxPKaZCixVoaP6EUejgRMUfqBTdItoCE0BKhm/6dBpbnkz5ei27u
I0AKSGhyla1FVfvAr6+PYwNBEHNkulWVQkxEZlQkQ+bMWwqb2q8aI59rKaBfqmpUit14NckGK14x
02GbaJ+ZE0AosmuIaSgDQN6g5ng7Ek79YXaQ0sO4QtJe1E00RMNKUs6eLZLLhOZpqOzZ5+FVcUHR
9BOQDZnC/CszwG/xOmUKoLezaj/oR1SyxOGfRXmFA+qQM0OSUenBFfXdlARin8b0l2jG5ajVby3s
G2QeXbSRkROkoKtJtrQfVHFJsWxtxvIzfWNEUKe64WEGywLwGT04wSAfumOaxzLj4irhUfYwh2Mc
0LrMg6qWG7luDvSi2b+nOjGg0B2KwiGlY6aqaJg4ZC9GZhohIBmFQBQhws67DnMLal0lHcYsdaZB
a46KBlnKMgsUFaWzOUg5R4oKu/G6s+MY7Z3893WGhNKo1J2WyMkvEo+pw4mvDCrMm1sJJZstMUy1
nAR7tKx5ujkRvFxAvBhJRorvJorIuZM4Qn3NEVxIekRBQcFGMkt0aIQgIvxYglNKyRIEn1WJdqRt
xfXuP3CEIpm0mKT59c8XQzJhOmIM7VSUCmBytT7Iv+t2o4rMKSxqF06RoTvS5V5RGksnhR+iuRSX
RLPqo963ZljSk4NhzWdU4S1daBpxvkbPxT98p3RA2VcwFGAO88hVVAt5gQkCVRgBySlxGTSF1DCw
hZ/CWO4K++7DhtL2sq/8GFwnuG/cfKnIT8x6frIpaU8ShAdiIz9vbpg2FOhLqggtBoxkmExqqqVX
Hc90EPxuTjFObmjxNmcy5u12fRsMUWQY4GQwh2I6qKujU8lz+6vjybu6I+imW3waHktNzkQyzSWD
yE0yffybuFP/fLfrG/NDODQYKEDJgykwrR+sGvtt1susDkrdwpBx7jZ9R3rirw+jNmEqW58e04/9
hUMTVbN6tu/WGMP7uz7nfrWs+J+jdx/RBH2j+5PPtZ/AiUPV5D0DBnRyAWzAw2JhEjwHq6gxfmH1
fVps56wCkle7REeOTZtVX9zZgwFhfoLGtFd18wq1/Ehuws6oX+gXUGkdsPeugHxmVNViF0nkbjIS
GDEuBvZyAMkATvHkHAdrzES/y6LfRKKUeT6s863pl1ijMZsNH3htoeDT4FbbDe+yWCdOA42ZO2Ed
DQSmVkVng2bf2Tnzt97WZzmJPwf30m+FXSItzk5Fo1uw94Mr2wgzJ2n8gT5LDg0GU6cYBBejkKo1
0lrxk7JoL5hvhkwl0v55tPK2cHzZg3YOY1hr/FHBYgS1qZt3TTlKDdyqj5XkeTVXuL3E2z6L3tLB
agU1QVKO8GnRM2YS/3Th+cNDRyTiZhnlu4mLGpCbRg/wvbEpo6QSbb/mhJarbJXsdmuxAdyJ9PbX
hTJRplzq7BkoLwBXglJtocCTbCw23dsQjsktmjd65yPyJ9HFP2cHB8jqGVTrt2a+sKsovDg53fsO
U5RTCON3vOvUBw+ESM7TxvLeMFnBmtXh3Ua+Chew9MjR9Pc47spxcZWOHj4LO7QSDk8XYCOiUS0f
5j9QA3M/nZy7l+GuFMHXT0cvUKHJGeQZS8uq/WxYbzwGElAZdxMtETAz5r53X9RACbMGPPiHlsvf
qaEXUUjPfVCesNm3gE/uAWQlXhi5jO9x0cA7q9Xe95FA3hiFiV1nw3TGEscqBY9LfP9KkGNHEVBe
lr5++ZvWAbNDztqsoXiXRpcPB+kLgJB7XnKbR2kRXKLJOXsiG7XvTK7DxxagLwTcdu0YXrZRiSa6
Yu4e7gvOAlvdbbRmSnRk+JOcyGZ3pDqb5vrUfrN+MvbIkhxHrxshp9RtAhyo1UIs1Er08ns0Pvj+
+9WIqsnHwRnXLblvhlPDd3DHL/3hvIM9ENdWXE9a8d1GEQQhNal/3m1qL/4NkARciWShr0BL6kkz
kZEj6zXMHL9g5IIDTOHzspbVsklHzrsl9/phJKUftEG5rBDfLBqJlyPFM3afZhngb1LJ3sELYTC9
IsZ+nNdG/A0YZPmv4ca/cgZA5sUV/MvW06jR2Fv1Ur98C4rgTWrXWaEAyQNp60LDPH8g+x/MC3se
qhVrf1g+rA1TlaRccL5bD3hzH+Q873Gzs1avznZiH4iQm2h/nbVu0+JkfCXWgp1ks3ACw84vdrqY
Olc/6baYHcvet30g3JWc8sR7CawJYvOD1VbJFFIPy8ULTD7cD9WV1PHvRtukDbigAvRUxMDOcYpU
zBLZNOaL7mV+qnusoCsvYEt353R3t63B7TKcn0HClCJYg/XKfH9MV+Dd3o+/5qq/rxQxNT5ejUMr
3qNwse6dCWJ+hftcslB8qX39SYfbcD+Gt+H30eP1J0WK0Wvor3oTp45iFZ4Aqwh5Q6pVJu24Mty8
xsuaJHUQmktJO5SzBpyt7fT0Hjyu8FrdPQ9CwzoU08bpr17NOYvvg31vdapET9hcxYb/vDotaNiS
ozuf2s2WARPwMq+fsy2Tg/1y8HXftbC8fYNdkCPBE5ebecWV+gx8BmMAgHr8BjSflVd2I77aMBp2
epTMdm+JBD8NFT21bU+SW4RQ+HVtbnB/vFk8qw8T2IeU5lIBCODxRAwYIEjt+ldkYrlMjIq2/vCp
0mvclVQZhdeGzP9FZAF9v3E52UvRy33MuagIwnkS79qYgxtTUMQLLgB52lNmmfKX5jA6SFBMEKng
keCpqYM6K/SkzlKJH/Ae0bmyG71VdGEUASMXiDsUk41Z+viwvIjlG4taneQLR2EVDXT2hu6C08b/
XmkKurH7zUo/g98BrgGgKeM5GPkaqMF613dph6Rnd15GabEjg75Kez9r/kF21EiaOj28LfwvY2ca
CB4ur3xy3jOEJtF4uVStCnUbSQG4v4W0DnPuVluajk3yIwtot0z5MFr1fkqjNqwVxEB7ZUYPL+OL
dN4D5qtbPRsskNGiQMKRVfmA/8b3em/ea2HrEmKoTTzlzkHVKbhnD4/sT9JAyNUG6fPkY7ANM6+z
eWqkh2iSNI0GuPdawP+7d2Azn2TbNF/DEkPo8WGID7K37cMmwlQYtjS/SiZ9kRxYDgisDd6B1ORQ
1HEVjqR0ORGSwm92QEpHMHTYSRCWGf003Sq/427zEDQgrN2wSqw6JbtMK4+ZgwfIz7madxB87KIb
wQ3ZiFa26Z5hcE4rhDixNk84KZY7hV7VqnaqnfOy0GPIfpl/kgppF0ppuzVdsQBDQGCkPhDm6xmc
wiV7udfkXbDQvc3Ahgf3TjHehJsQE0rUn6blo+1Q+u/AKrPUZwL0svct/16zX+zbxhCqDjfwA/iP
0dpzZAGvNizBq0hTXI6LCQzr0/SgBBytJzLqqxv/x2Gd0HOZr+7BOTllVLkeyTX7xqthMzwG3945
A/e0KAPayurhrXMd1xaPTmnxjnsnR3+vHt5deJ3GlIGR+6Qg83dwoh5ONdlEKCqWUKvEj31Y7ayi
ol+YStszdwdNEjOCXtYmlerGrvtxPk4tOGGC2nTebtN5+af0nheCR/d6Axyp/yxH00+0DsvRwy/D
nkHivbsO697ePjh3YJIFTBedavh8q8SwRV1pMj0rIjx+N/dv+/rNGmkZ9ecQ18wa/q1g+5lwnzce
/O47C4bRCGhhNFnBV2a4KVISLNDW1tjjigaQp4b2WQZDncZOTeKSeglVzSn0hmA/vsbbrDi49lBT
wB/W3We75NBZj4uSKpAVxjWGTpJ8wnJ4AB6661wXG6h/DHQ88F4kZaTPTNgL0lEhNXRrC0g5ZW+F
ANag7PHFrBwixQSBQauOg1Nhg9LjU3nTt90OvJeRaSjV8Xo9xogZE1fw2/BT9t5h1BDt9s3ihufs
Bm+y6EygnuoTamCN6gqDurTIrK4BV6xgGqg5SZ/zbIjg8nNp1gpIfzSlbstaPkMozMf+XtmDsYjV
wBAZpw+ryj6OcItUOk+xeG6A+7imMMcYUZtmNHCZhDD+aD+9fMEQ5oOT7Hq671MFfAxE7AZPyoU3
Mp7gj9kKYR1fMuGc7HOQcrY3RUTIOgdN5zB6dL+2mGmcNtnE8y7ZR0leZtRmafSyGGkq8P7THpde
6tUuuUTmlY8E0O8aVA00J78ub8Jl0YQQ2o+g2jQG1CAEY/eOVMkoaO+wgoianUEUTMyb9+Aim1PD
HqWMiGQ/1TIZhrTvvFsQWUClKWFIofwwSqG7TT9DYCCUR022XxMDG/gBAiji2THtnRJJQGYCRgUa
CDzS6QnkJXQtSWXujkbtHjfsnxSOprPcqbBHSuFD/uTo3wHSPIA9mYxqTDs424OIB2rEHPdrE2Vd
qDAeTGQtJD4G09jCjxiGRA7H7GwCLdT5xj39xVhy72qwWMd1jLmle3av8To49vaLQrrcus12BXaG
18K+TXNJfO7Mv1sgstplsHfh22EdCBEdC8HBpP1ipH9jnI+mv/dN36mcewoOYxQIP8Lqb6NmXM3C
mlGPUYEDkdrPvinP6Izx+LDgraardjm49DXYRosFvfeagRD+pP0ADKaxRqZp+NUJj3C3GnrvPguE
iYnZDo7JC7Y4NZ9XymBvM0TNkAlizg4Rxm3zD7cp4PI0HU4ll6CTgTK8sbeA3M2H4QEf/PMcRR0C
GPhr0BoJJwwtD5s1HzcgWLgeX1jxDG8cdhvwnrb0Q0fXw8HFeJBNm04hvQJMIVbo2aZZQYHo3XvG
wHUzWh2enhOneAVI9pkBwT2bf1rXYKVp3sLCEcE7Y9L+hK/Zi5+wzg5JGQlGeZ9ezWPwbH98GfPV
PRQdgNWA3L27JywZriY+4tMzJDao1kvuEZ56E0IX7yWmU8NQBmbf0W2yCiNtbaCQb2ALJvRxaAoh
YHLslQdyHEcTwVaMObs0eRdbjNir2wzfbSibzimBz06IW4F3Z9WFZsqH3nh05rRM6EKpq4l6W/uW
HBwwq4q+9HmszdJmvtGJGzcQGUH18ZDcCibX6AileYtU6qBWtaT7AUR6VmDX1DrDQf9b9xC2gaK1
d2tUMenDQ5wGJ+3ernNmGTuqkhtm+wX4+rXNT9slz/iaAfV/MIqGLv1XAR+/j1sFd//i5lHozvbM
mgrGFZ3UFVfhhZIPExLQqCipLLdozHEXSmnN506AlvE3wkwXnOdIDgylF/ss9AWQLThw9SZtOcZA
TuO0S2tm8jXuo6tTHZ9RoNI7rjP9dLdVazV7vnitEt7vFztc9xp/KNH0mjb+i3GLB2mNilMPtm8s
N0go+iAZfKZ3TG04xqwHV45O0ZYvr12Q01oIKw8hMfCXNfPG2Sh0Kyn+lVBWw4+EKSY2OPUU2CFE
0G9axlexnlfzbHo0bJKKmwl++LbYffa1sYAZeLsby43DBVs550VvGixRZlklK1JMDyQzAoBFEOKg
7XjAAQOoVedOog/AtWDZbi+5H8659/H4L2S2wtLiZNXgHSpGRWiDtVWJS0erPl91B4eoPFd4q7gF
9YeE+hvakSM2XQTsu3l3d06AZYssqZtGDc90e+s1HR4s1j+gKvthX5ELQwo2JDy4P29188JaAz4C
O4T8bTAcL7AcYNDIoIuiz1WMxguh1gY3UvcX6JsjFYXBfb4zX6NKu87o/+rNBxhSsePKF2tHE3Rw
sb+5PFN3UVWxbqmj1PqqmRTCB14OpXxiAF2aVHllv+Az7v+NSZkzMHoUeav76c0Ey5nNLhrVYWQQ
MJ9lWc0c2Hm1QRY46DuxlR7XQBrUgypDHv5CofP6wLS72R8msCfmXF+chGWYW0tisFGocmAAjuAD
K/AWRao8LL7+LNEU8xRInHk3/q3+MiR8mWbRtpwWE5ZAzfRgznPQ4kxygecgY79ARJNBCZ1MJVbF
g3vNgnSV2qbn4R/jWSbySoqPWWZ1TI4Fyy4e+r/KCP48GGQvrBge6WBLgFUstZgu32x2qEgIhCGb
P7ItYBHkFezo5SDlggw6aU3LHV1lRrQO3kDcKS3XHAe/4ozbij2W+YHQrYBcB9dVY7np+7B+3wZD
LlYOGUB1cFu1/MzY12Ur9FdGJ1547Dqo/WNozCvxyp84D4dqk9kCpu/SDABglxhz6bw3encQPoQ8
6Ca0fy7L1CZYX8bwuYyJdCLkZVWGm4ND2Jq5mFtl44QMXoByAOmkaHSmHF7Sd9SghZyo6AgIdmez
3fFMjim5YsQ6OvNsGkVWJWzCvcCghaHFpTqq+KitgWMFkyEYG8pA3OwLwHiW4KzhtfUm3g+/gTI5
qrjIOFIlIyLgoxFmDHDPYrI31/jFcOVjwGLm7TTjtU+3i3+NcBpWrAH+w5YnqT77jMPJwvfs3WgD
71B4QHxrRmdGZgWOLNsc1xdDc20ajoGsAT+HuGyNqDPQOqAayXNQcMaMJfnbSpwX63ewhC7cCNMO
EJQfQXLAFg+LJqdXJHasWVxD5kecc9lBt4/NrPXDK3SOC2Z36YuE9hsiqh5eUjySsToHa7kky8Vs
Mm2Ec5wtST4uWCS3jjJW2cNrPooQ69Z2aZ+smNSzn2ITbxct+2fatUfod+WQQJd9LuZftqR6pl77
oRlaFriFeNuD0k5ZkADDateA1JJWiKWrxDMDJLyp4kZTM9g5nSuH1sUuw3jycNG6GJJeMlIjQFPC
oUOjFkPIg9PwMur5P7hF0wZi+AWfqLnBnn02P9i7m3rzyACVlT+tnm2jvmYMiCAsUuALQuGEAhzn
8wa+DQSmuQuc1kQanA0fyictjdDXQIf4a938wjpFuFc4qu42OQSHMTtsM0/vpu12tUhh29pr+rXc
sKm2mz9dAm/ZwUtr7RAIdXpEK+M2od2UFbL99Ni/IBUFq9AewFZIqahBIrs0x4SEt8nx3vDoapxR
MumMa6jn17nnU9BVJXOqFg0DqOXGWqp0/KPS5I3IKUQREnS3LhtbhxK/iqwy2C6x6Vo0TIjtCz48
a6DKTNdAZls061U8ru6MSq7IqVdozjl50ROhBLovtwXNgmYlv/YbAWIUo6myGdQtVu/Z1iWTEYB2
Dm9FY+UPrJKdRbfBqTeMwO7c34a5GkpbBzBBxhMYoPSqd38it1zdDpNbOVmq15cQpvY1Xa1ExjOQ
HOHaRJUEw8SdDU2204I6zwIl/w1UiFsxgcPpatNFuuHX11dULpuNX1PefVsVTj/YVqL/sTu5gj4B
e/XEkGjT/mI4jJQMyCztF6vuxW55R8Lf1XwUzU+2RrEiZg4l/yKQsO/hFtFmsGBNF2NrpP/BsiAb
tqoBB9WZOCORg6gca0LZo3QfCIPFx86Z1euO5dYBNMtC+jpHBz+W7oY12iX+zqC7wsAIctdmnNFZ
7wyz97I4/Mw83FGPWAx3L6NxA1ZH72vYeOLuMvx5u9rPlcHTfZ08BdZoaEuIPjxrvicbSi0uMZ9j
9eh0SwNgAWA7IT4viIW8DoXm1eysLJNSnDndjx9TBgEIfPARtXli5W4cBFQNKTGTyxqI8w6IBEVm
I0BshHEykZwYLAbZkQDO0JDtJxcJ+MeRlSmrJyrT+OCnBhtWFkys+8CbwpmC7gS7fJyceY6IiCB3
7MHB9BkLynPmpyx/DxXx5wyn7WiwWPCJzTrZU4r7K5sBVjqiyLVtLrUp4dS4CVoscbTdx+BDRUGC
JWL0Gb6G577ssuYuxN6DdbRVZQH+0Fnl+BpTwDV4Eiqc/1prFInMT/flH5ygV3fOAarDfFQ7NdTo
GlOk5XDghlzHVMT0gCL9hWStMDCRVTrzsKhm0n0aDZBWo7evO02HbxqtjfrsaprkkDJgSsPKyIYt
YxbToJTR8nIHblfx3uYvPG08qh3nMi05YOC0pvRZ9kf6zn//MLXjx+3bBx9w5S6l/S7Za6897QQd
DUUsSIw0/6mLtV/BxR20ZSkC4uw3tzFylE3cxeG/9xyDs9sJeluEwtouOPa1mYAY8EGhC3U+9gnv
2oR/LecANDGJC3JbtpJ8EUXYoarPpx/W/5WdQlZ2+BgqGiNNbx7otl4iWIg2n6dpfKxoO0W0BcvJ
GvG9GJ3+3u2txygd5S0EYwghR1rfbZwhsDhopK0/kkR+Cxsj+Y+30ro0ryjiJYfSxs9TrRHxnLEy
ChqkuSUNHYMXSftJPIxMxb+AdJH/iIkQxGc3T1+RlChtsXcKLW+rtIT6CBqStRRoj6iBvxIcZBBH
nzSIMtExXv6EbLYuqRPqD35+WchPW+r5uIQZbXEIBo/spqoBfU6jmnDaXH8T1wWosbh5LF19il5+
l5NcfkEX5AendNdT7ICVziKdx1+8DgrmecoFE6SXCIDiW6tbYk6xH6x6G3v26UuyAFpDl1cgUIJW
aeJ4kgMnEJwbALIHAMXkK4CI5OpRBN5Cuez6aysHH55sE7BjyBGwjgd4C0JIuYFYNIGah+lD2KLk
rqctHKmaVi6IAAD7Cdtk6u90sYXhZgJhCcyO7kGEDKFxpdRXAb52Dj3ePnggfBUAlOw5SSDGnRmi
Ae1JIGcHQA4IBkVPIPln/9E/5M9IYNYKUE4fwUh/nR6wwhYkrcFCurl0Nt6K4lwYGuUuoVsBEd7A
m7G8gf9RZjP9sbd/0Iv8S1vfVWUDnyS7sOFs+Gf2XZND9h3Qv/y7yzeDafFJdphokF7Gv30823iX
TsPnJyZ+GjFk23t1RlcIyjzM0cokAyMnZacFFhTcWKKffaRYk5M8YB1zMBCF9+7e3eUjpCiFctsf
aGKnUWNgP20JhE94Sq/9upHeHC5t8wdYSndk8Tfg88GcATueOg/Yp6MACCJWBsYcrDtxteogN8MS
4+h2bHtQtwZEmR76yRqQ0E2CpmKmliPjq6xHuoRJQQke/ZSTDTotoe22zhH6ATHSxSXRLIUYahwR
mxAUYpUByQOqgYoCGmbEVd1GwEPGDEEwhtZd3Kh/LkU/G6BjX1UB9O+MPmX3u2Jqf4RV+IfNENa4
j0AdIxEZYQ73fjEg/7a7+eIc3j1UKXOq+r+zV+ww9GMc7skqfgeJXdWKyR8g209oR5NW809hxVzA
MVcv5dKTI7y5/l81cJ4vcty7j8ZoYND+UbrAGAl4uHgA1HGuuBjgmIDDsc83SEwxNCveESCfxfwY
FqjQ8FLGN5wBX04p+waVabtttgi2OWKIqVaZX1VKOM/MPu7fslcm2FBSIx9wZcAuTR9wlWY7GGGB
FEl22xMaCwOzgLuQpmzEBlF6tlOEL5PIjQwNKnMyKU5VAV4iDl0Ob1osLKoWIHhiUL0ArP8eXRYi
bLC+KOhNEp0D4rzcPeyRC9iVk6uczj6ZRPsP+M7whH6D+DxugWuVxSezji3zwZDCd7lnOII4XYci
PgDfTIZ4W6QfUFTOh6H7CzA6+7a24Dvii9EVImFCXHCIKuB0AGYh6jweV1mzpTLqZDPKkkQmrGxQ
uGf/WOCCmGHosolb7RN0Et5JIYH/Amy3S1lMAhcc6G2A+jB88GRAEflxRK2chijPv7DhmhmfYfa7
BGqUsHiNGMCbNhtDmZ+P2hAObTvigqG8z+EXli4gRpu0dZwUOiAaZ7ScnbRhvnMV2uz4eFbPhos3
2gIz20rAqYrg5xKoFvTAe5CDhEZOPAUFBcJvTVh0Rm9QtFPysp1inHfgPiH1A9BwoZO1GwMLw6nP
mENa423JlYpqmsCtscOvw7Pb04szbY80ZR5FZhCY5CGE1PC/MZgMfuBLBKIWj6L5nFR7xKeYwYGb
+NxYZ3bB0U9gLq7TeKwdh9DVGBU7YxBkHyBYwJMcBlmWUjoJlbGQkV28rQs6eQjHRhzU8ZdD/zNj
HwNco64iPiRYx5LTNKQsW70O5A9I0ZyHeIi7DvkekFqNX69gGD/sY/SBEvYEI026SXx1Nb87wurX
jiIp3kV6rii8hjEnEkrbL8GVBM6NL31mKJ55o2aBNdITfxh9L0KM6lePpvxuUSGDyMYBFZAfoHsx
LYDoZmFIrQpGjjmG+lWyNHeXpZgXCHJPcNE5r6M4pE/HWAcQX2xdfkDlsXqFs9CEHlBr05kR0Bnv
kH1JC2oq6HXSvGot/Nx3QA6fGDrGILKfHkUzcETlSRDdL1h3+e/iJ4AtX4z76CFlasoTgyO2WsHC
D1DHktBYuBwU6idq6TZXhdiFkIw6Lvy1EJawiBJqTrOhhUgRdDhupOboNLug7MH8AzemBve4B/HX
4q9nZ9dTxQ30hmkfc5uiY7Y9j3cA7lG0kGGchd5yuYQAwczdgyHmWUu9wH4oS+Er7L0P2oTnCBYL
caAIJJIzZAM6pNaBtwCUG9ajYHRjDHqpHvICSjXx0GKOv+dX2A8/5rbLUeDLAIZRHgBczO9g7JE3
TNVZTF6Ens7+dDdEkyzhuwsWNJpRLuR3ovjKBbnMtpYV1gEDLGjH/CA/lhxbOLFPHIete4KPjcSY
0Jjqw2Bm8kb0ZFfadAIAAoVRq0ETZuVP57KYX6wUxy697jyKNl26AnJDrodFieNX4KCS7S3yhNQ1
/rF3QnDqHjquqtKgOma8dS6D1X/Yq/aHi6UFRYurzke7W310FbO/vwLlMwwP9gWcS0QJ4NOCacSO
FZD0qnclOnaTsomvKk8Moaqb8iwoV2h601URQXMTL6R4kRuuPVKXhCYG5ceNsVAmMn1mcSv57r7Q
6M4yKzh/v/FI9seihIsaJ9038NyZjMQICAgjQXwY1izuJ0QGGZ6SDGWZN+e85RxaHW3QaClTXYgD
kQ2IFRRrCY6EZXXU14WIYJIC5TgMxih+hdr7cEkwJ/Y4erMZJf/FPAQJteUODpSDir9goAr0ikTA
pqkG+bB50yJerdpC+SvzyxT97FwyoS+JfdkPmsHahScQ4zKvMtgnYM6pcjHEY9Io8zGRAeAtUXZB
wgV9OSzbM8lpdXlo4RNvsq+HpwlYXBlhSbPx5LfcQoY4jkOXisuFI+VPXHBwMRwd/KLDA4hErvWm
jegxlH7b+zZF3NduM3fSDgaIP+NC+irsy8nuwkABRQChx037FfysUIyOyfp4YkTzdBLR4jJ3uhqd
fosHC5kHG64H1gl19K+ZPlphrEGBWCriBfQmdM+86ugZ8CAJv/t2rHjcJVK4wlzNyQx+l860/Qsg
YAY1dSVOqmaqIBZbs05hHxzyzcVqnZtKRjJIXZoxis1CE+F0wVQxh/mtG9ukRDswIh4GSlMUWNKR
zcmFqtQ++VPakuWyE7RHPB08KANUTNq2clOaG11G3RDRSbh6XJKX3QzoyHloAZrSHZAgGjyNvEv+
lD9UJlNPIdTFO2MaOa/gq/jOqiD2tZWVEyQ3gjzMYeSNDyh5vuY2ZwcaVYdfieG/LOA+6LIwSBoB
mqKwelI/fpBb/LD4xrTxSUHZinlKmNlyEZ4OuxWFRdZ9MZ1jTlvEOMBlxLrt01CP7DZoaT5NEpMK
4dsw/OSqIInGkXg4bgq6n1Hcgp03ykuUPmx3UD9sMBc7xh9W98sz641z9u59msa3dxyfs0tyj0cu
V4ihnlUL0cMoGYwaxR1CM70D7BV6Ik+1Ho+KJ4XbmXonbhWr6RsMnZGyPFcU3VarZjP7RqqQqy+3
UXEosFJsq77QNAYsNdBx/GqNfchA25TZ5ZPLIdFZkOesTuZgttubofg7bL+P4RU4kyplhkngNIQd
AjLLqmTBtvucbz1EbEHi6W+cNZz0yarKdJzunYmAYtTo4UTFW6NQ3nUZD5lzJKzPfnHZInSX3Zu8
u9eRfMahvO3ZQWc0sUyyoaPA1AI9DF6dUbYCfX9lNUjKv2G5FsInZruklBgWHDQacdlqJLzx7AM/
Skko7jf4hkwJ1EJS2NJgTaoz/Sv5+mUW3SK7ND1C4BXYblkqRkCT8QdN1GZIbTByrC9LgSec9JsN
5Z5vfkC7f1O0XrFQJF90mwJFTf4OJGT8osMdsyUY/RCoh0+LeqBA0ANggibKEOxz4owtUjqPrl60
Pi6ORWKiwlE1IRg9xS+N1I3zX4ay3ATLX6LEGcfILjsI0uAJLsU+dEvItSVfVQHEKO1/yjZ806AO
55TlHIlLHsIqDyYU0BwYYj3VlcDf5FUxKu/wA2vkf6Q5E6zTUVS3/8iEP8n0HW5ZDJB0I+7ODckQ
MfJfApCDrmK186aNJYmHd2tIclDNwy7REZeOzzIckiEQpcVMHBAJva4VsnNFrWQ4HhK1EJLrntA8
IA2jWMBWQkTIE3uJkjeDyiZ2+W8qRfs9KMYEkJZ9N1j7GHRP/5igMnsxWxgiLu5a3rHHwVwJA0lj
MO1NbT3r87ROQCwzRWvjSa/8weOreDFoMEVkS9AbMWFs0zCxZqIaxni24qpbkrtQ2WvbBSTOBmeC
NZV/lGKuDPmGmE0sIfC8s+LfvIWRtuqKLrUdlqad9wAvSUNF7inmDWkLhf8SVTvRAKDLPWwyGV5b
EOn5yGDiKaprhBkVh4Tj64DkTutzMbl0nJSPPWT44B7QsJS039mmF1+5N2chqBHrhOBhfLlr/M5s
iRTJ77CQP/X3se2ZFvO3fgjnJChSjlPpBOBzii5yEeEjQHHc0/Ud9zk1RaYZV/89MV51DpyGlawb
fMpVJATWnB569/Vv9qIYSOmaDCGKngZ7E5ZaXAfCIbYqi6b4jikAQ+DLFQVPtPru1LCo6QaslD6d
aoSIdjkqR+hKtkvTLTMv9bDsCkIqQU7vr+res+lR4cEhPRDiZoyWiP7dOhf04nY5VNrOUy2hhM/E
mTZg/nDSX1rjZKtGfpgot/Jq2NtWTfGC/UEtTgnU3ZmsRqG9FHjxBtccZQDYubqOIgSXnDpy45Ly
0TGsUad3uziasrnAAxs63O+ZvzqqMlVtHFMnYQDVsF0Jb6sc727GdJSUf1LNfv+6ZgoiUpkeYWIY
5GORuxFArzmJz/T5X0XTyvNujYpna+X6QSxs+AYdDl723lGMxjyDPE2L+B9NZ7alqLas4SdyDBpR
vKUHERG71BuHLfaCDahPv76w9j61z6q1qjJThcmcEX8X0mdSZm1HLI6FD+yUX0CbAFvI28n8tVA2
cNO/Ud6oP4cPr4RZl0mM8NiYs7E+RaR3nFDTVOxmvwYCCvhsWSpq7QIttuozeoIXWQyBg5jeeM7j
h/u3GFyWWkSePj503VKSf6U9jzcZjvAgvVJwG2ykU6uM4+0WO6n478jZ/HU6YhzkZKQ9nfpbngI+
SZimSKS5SsxjVb+WgiIbEWs0Rc0tAjFp1ITjMa0zNZYCxC0CLw2gWQRe++67d3GaK1DV2tpT4YjG
ClSrDkXxpVGCLYeXYUFlAhDC0eTWjkVNKg+/lJEgT2BLVRfpLlCdoC+9exe7BlXHEzsEiR6CBOBr
otCUvK9nty17J7AjjYdYiKQGlfnbz8AEVyVy0sFiQuPN9BvVUvoyhRjtCRiaCRatoMw5/3QWYyYg
cvKB2IEM1A6yVMTcU2EXJZORs1NGBmMhfpDnuf6nuJM9Q/o34pTAPwCuONCDc1cbomb9IAhWfWZ5
9V9/L4+8hotbOjVye1EV1x4+gwePA2pT0bY1xjL9FWGxrW0YfYzG9eG0GZ/CFilXj0mXfs1a+frt
nwZD7L3l6BMjqQwIo1PdCq3PWESBwrqagInO3dbHRGYyvy3hFuGIQNhMkSPKRoFAUuZlkoxBmo7Y
KA1aUJvYCubZcMufCK/bfoeciHIkFwfVGYQSQkj/1ocOzUGYmAhhX8bQhvY6dhMlVtAMfsDwyYB4
4w4gc2JH9DT4BdF39KZ1+Aq5kAtALvFw3oH+zTU1nyn+4wQxK2U7MePUe1KtP5moxkOhU/oj87/z
IIkLDzfeQIuEoFvAo4mVqkA+ENXLe6hLEXofgf3CCdWJBjh8Odi3lvVYnjfFqPMHFiWHnzlZPez2
tGRqVcn+0eFnvQADPpEihF1rcOG54sxt88VsH54xFVpqQZXwOzn2jkCxJpW61GfSw0gnJfstikLF
NoDTpXml/OWOPWJpraZbdjXx8HKdGDnUE5EkPKxQSQohhtDVv1Nn3HBbAO/ite3rON1sAb/JXMA4
xuMw4OnlVxWYWFYabDEn+/XkpX5bnhAdFRoX68HOyjtLDWzOqIxSBG8o6yKZ79vMLf4n5ZPY8vfx
06vwSzYJRwOsYZAIK7hbMRjZjO7hkRHJKiEXZMFyrUiLghUG4g8tcqSpggiouCSgvbrH/GSkBdsL
w5fVWJD2hwvugOTvN61P615ZLqKikxxAAAwCPewH74N6savNb4G0Mc2kgRXom3Lu8a5qOqF9xUYP
gxp9uC0tn/wKRDXanWriNGlSWE5ag8ZQ9kYZLVXxEZ7UY/e4iSNOdnw9LtJ7KmlWcsm+ZCyCGLW4
UEJKEKGPTqRCPFN7soM+vBDU4iGdlbzSr+iSiAo57U0KPxZCTyIqpMvh+MRnysrzP/jfV8VMQu8E
a5NjqRk11sdUhRg/IPHJA5N3f8kU9NwJfLK50z1SrOtlmeTBCor169wJCaLchD6j8GINuSNj+vJr
v+4Rp9Ml9Wr+sF8ZcTOY4sXZWCNpL+jGWnbHWz3mwhqficaCMe5j+mWU+5dUwsay6IJWcfL3sQfF
Bg5XXMSyObFiOpT3U/z96LXPBBoCP/g0YYZLHyYQ/X0iNKKMHismU9xX7i0kst0hH9K78V8fh/QW
99hddM9umT4JvK0h8tD8s1kuK8D+t20O0boc2FJVfrjqd+Z0Goqn0dLJvoCOIs3tV4wdhxCYRwjk
QIOzt6vQiK8g7yxu3uR+KmiOhqCAhuTrLwJxhsiA9yYSHBH/67zpCqlDFclWSbvCs4b2OQARudCZ
nOOSOCRR51zjpq+vD8va/tKOPBhUVrrmeMLwP7egnZCm0bBeSBNC8pgBMXh03NeuovGgdqYZaVFF
N4aSHlij62ImSP0Dzw9BJaGkLbtIc5Yyb78K6+UhUB0uOctIos2FZjoFCn+qAzh64Dd3O0KxKlJA
kZx0nJpMjmby+lVCky5JH53gzqENkmq/1wK2fWilsAZgC2XJG7T8Ohn6rbGkcxB8GyLeooN68Tzr
IUDo2c/7EiJCpWcioJwRx6/lDF5xCDzo0sl2uy1+AFmctATVvw7k1wdQJOL6vtDmy0Kfj0rUKeaM
WgikCbUNaslUKNY6eE0RuAKLhAhuUacwfxWZcHWU2owumn6NkYOw6dIISmRMo48R2ZVthJJYCjEG
CNB+CS8tRFyLXkqmwqka1xERnNBBkBP2v+aliDvkhb1nk648bWKYpZcGLBad2GfGmZust+SZCiQy
mlfxY/mEEmxTM95fdmPI7iFbupCFUiyr3hMwgqQQAyfeGaTqSQTcLeHUUCAwDIryu9dg6wEVFTBU
gRQB7JTb3aagVwk3i2tGh0enpI1Jl7wyusnXx0L8cUf/9QNFb8lreUlaBL0r9mPCXsFGQAIR5SRY
Fd7fUQdm8UCIMp9dwFWZOiSdkRjdF/7P7Q+/iQgieEQTtrL5gUT/Pvvr2/kFr7kSBiByxJEK60ap
Koc1kEDuvvGuyvFIH4aG9d92xcX8dbGEcP8WEdmCDHa8gyVTnwOWMveA7eLWO/VMJh14qzltHgZV
MsNof8kHeBMCNVtPfXb2/SwPiOR03vFzVKTwo3SjTBp0yrE+BW58q8i51BUzn+CUUfK1KW0OAiHY
FEZGgjOv7Up10eDNAk5i4IbPQaU0JUAa3QuyJ68cQyB5pwHknGj3mg6ABPEYcrL2JP2E4K+2c2yi
zzhi32JOornwmucg7zGMF11S3sVTU2bXtMxu/Gr82oG21/bEf60CEFI54EXn/JTDQIIrfuZ0uZpU
7wLJ0LvLO5HmGxWOhDByzgtaKrkIIle7Do3pbVCPcRhfSN/fkyI6vAyI2Gv9mhbS6YDr+2ROzh+Y
fZpiOz+ml+yYGkQ6nujxZfeP7ozXHKneKTH+zqPzaOFzWO1KFu7Cb//lWIgmHwbtkcabnbJz+gyF
/35XVC78HWcKq8RjJ79lCj+f4sbfI3iW6b8k0xN3JhdqfhtgPqdSOQO9F7y7Jy3VoXsfvsaATytp
Vih9TP4YUCFse8qE2FRRFIslvk3hQDFUpCZhVPJONEIlCyAtMml+DPkr+Sw1+/xwzN3H1aEzR/Xy
mL4uArYMWmyjH1azSqPMDAi5e3snJFDjRn/m5yMcnXBxGOfMM7Vdw2CJ6bDnomqAbYWKvYzbCVG9
PNFmuNhcp8epn6VHcq+JXLbWmYHf6ihim1QJ121JX6sKuxUrm6ZzAk1Ni66eLEYYn7EGuU8mX7Ch
mbM2ABR6YqxrEgwo6gUidanWArjs/ZBGeQhhs8X5TR4K5nJeWWLgKpXcu0tvQZtxpLhiFh8zSFgG
LJLSPQMIPewnlfKLRhHY0xD0M67I9JJrqEF+LebgVQEnS5/4LffQsvLsDo4uffNiwG23dUStHPdg
fBlnjmTRoABxDPasr7OIILJIyb/4RrY6wYgiHqDjorSPD64C7XQCHf5Qt+wpPD67+WotZXbapoe9
x5WzujGgF2izhEKbpisqKJ8BQyhDhdWmeQLxy/r6H/GoDYSFL8+M1aRhrwy6VBnoCrGNsCZtbvhz
PLtP9+UJpiEaZiJX2W8AcGQLviItsIHP01Pv5Kdp+nDI+y4MizHqvDWQxZQqF2drjyYY46PrI3Ci
2WqFQL40ekxiHCUkePeFAQNhb/Ur4ryTsQwWhGV8hNSx9Bbk0aFAb/Rmgj4wmolxjOhsjj7wzzCn
fEbnQnWxBrx9ggTKYkqlv6RFG0eM06HDAZlkNBgDAMhCEis4hg1IeBSQIoMqQ+DmjzXVLy5qYlFK
1pRBhCrHHzp3E+o5Ksdsr6FGiI2asQ5NkNoHX7c+4U8HtwUtYukqYyDv7lq31ydCVk1WVDFFYd5g
nK8CKrlpbTrufoVluBVOpYJBpbHesgVnEgNTOus7buoS9bWj9dMrsC02zW0j4TqnIMS1k67Zo+gH
pUm6jUqGskyriCGhKKmWNGFkeLmDAnUZoVzNLpdzTx9FqyQzFrU/sG812pPPj68b+XK9BjRgS+Rl
PyX9q9ZiHtOr4V9wCuh8PN4kkunrlPbFZ07MaczzhM7iwJvhkz6ku+EJPfXKnjH9jM/eg4VL6i0b
Tv3bxYWsP9lEsR5sHkvxemM5GDHTb9L03iTgecaOGfWHVDwFahsb7xm39+nBAqcslcx5DKHNP/Vn
/no53+gdNYdV9HDUAVgfHSItLBIi0aQxYpOaUpgNtKaYcnFZMy0XSDw+xC8Po/s+QWhGumEbpcX3
VzEavkEtqzDdl4FnV5IJD+mDZpSUuNOvxidYIa3d1gCAiGOy159DfIHKSZEoamBk32BnZ5HMevgA
HYxhqixST/VnBHSrEerw4WDzY5v/znG+nLzAZ3PvhDY6iowtU8ICsM6l4p0T7s2v440h80vEbgaz
DEn/Y9XbHw9tAOxA4kL1R6WnOImNanm8hC1KbOYqHDZgFqOFte8y5Q6vBjV6go1Ds0RxFAOUJvyA
xriKXnQm1DPrd+TPYiMCWrpa6AXj6QGfpmkdRnkqJg58aG+sxYvhG1yEDZZ0cbfpFL//Z27V1GWK
64OH10/R/6/ZIGIGuhuU79HeZeLJePxK37w5F9mpb3EQec8NWLYbbkMWrQQiNdwq2KLkKYhLFypC
ciG54yzuHzdVLPeZKEnxwtEg/Jnr5wQJ4OhOVwwjZKFuEoXzjTt1zHgZUUV1ovcSbSSYL7HgdCYf
GiuLnANQmcOI6aM4CnmgD5j3kqWOG5FtgmcnJnX/upSeHEpJ+hFiNmBrW549MMgrb8LzMODYHSyQ
SLAtDyjQA54mOOsWmDMMNp8XIzRuCoj44MIV9Ap2ASx0DQcH1WF4HmOw80iIwJ0T1Kp9MtFyqSWq
XMi+B3fsQXP1im/h0wQORGJShqKJ/tpETsh2Ob1TPS28OuXyc8XW09qJwcKPjgDhazZOhF38QnRG
UP4fAHPHRqsJ6gLhmXBzp3qPmHjNS63M81TvT0jF+S9GzxPUWAiKjrUnCU9o2H+ueUpNspD4Kwqe
7TbtIFdpTCoyFe/2gapb9p2v32LuNcn564dXuAbQBU8Xr/becU9+c9fGi+4x6GzxwAJnNPd4RlFo
yx0yZPjvg72UIsP9ujLMo7H7OE98cDqho26SSPYod0twEpYYIz0lcIE2EvOJgF34XNuBoIwdoG0Q
sC/62SIztrrfhkgkA6q1pfKhQAGCkGpPqr9/0VnA9R2LJP0rE+Xk96+EtB/pLmngoUK8uyMdolBU
i0HLX6BPVchiQpiSGPh7FPe6+To0KZFycRi9gP4LXUMP6qSxpxR/LXF+0Y8T9gtf/SKDGyvMGjuA
EOhWuF3Tn+Lqt33PcqjLpRsSJgoVBTuISYAyLRjGGPmREAeQb6ABnNVwk/znr6Vg7Cqdwd9j96W/
gMOv7e53jUpDoW99gKX3n2xIMiGT3sXR37S1Ano/nXPYYMgWrwkZ5wSuDbHwsptzkqR6P+r9Tr4+
Yqm5Bzn1gpSi1IW6tCRDmIbvp4j2RjDHXv+v16PY3wMw7PuPHhsiBT4QAnK3NVQpiDR8mcMlQZyA
R4RgLFIOiH4fBpoVwUMF8N284h8YlricttkIgIUqAwBtURPjAxTjVSsxPLCvXPHVYFdyMcuyoFTx
MKET2cnkGcRUMS+Yu+qKN0DauEe2UQW1NefdCVgJxkvvIbjrqM81/CHlSHP4BARg5XQVUmVep1km
/RKvC5aIbHBMdRreGMSVW68cAUnfM7fC+12yXh5ckgfYheREL02/MXy5vU7/vHfa/U/U4nqzpN1F
T2VIpcfwcq/eSVT9E1vX/A8SfDE/JLK8aLo/ZBtKVzovCahndBEFNYuS7wARWn5J6nrQRBL1EhYH
ulUpH5nhwLiKdZvW+ZCclu3+IWkN2v08KWLMBrjJZPk2fVnAzYESyRso4nrXQBI1IYUTzpH2TVLI
D0uxJVXOfsTYA/VP1+16Zw7u8R1PjDNBusLMFk6071DkjUokONrbu0K33mNRCPaFrCbbL/QlLe7l
uKHcfD2gUnIKhi3MlckNOa3Qoi/sSh5yPFYQ13zOB2RowwzB7tf5MoyO0SWtiIZmI7RhXyXamvY/
k7a0ycCqMmIlavCKE9hVoVNRlJF3h2eMeo5iBKZfRIJMf+nfh+1VLQNSPdpPxcEAINo0xBIZh6W9
HFIW2AWl4Q6ZkS0aAFnOjF/xb+PSH6GkELQGq51V/mbTcadU+DqMDh5V/w9wlSV9sQ5n8fmB4vJG
QmuNQFBWx/y4WQBYcNl9sL7oZtrNAdKuRnCRsHLiXdCu1iTuflUo0hXcUoBLBvX2D1My519iQfxq
LYXEPnxEd4dpPki5akbRi9lF4yiCVlCI1qmI7kSZIpY8omdBbeR77gxIyJfSQJwODBTsrA60Lk82
OreYUl9CqRH+CMR5mDcywu7fwVe192tpZw9tMAOmMwgo2uaWPEeL6JUI2XbIPrsFAE3tXtMnXS+P
F7ACnCtaYczt7LL2PTlnIPxfG13wxyEnA29JnGYi8ID/5PmlewuhtjQmDchE15kfpzf7PjWdVnw5
Op3/tVHSzgtsYMgzSVDklhhA0a1Cq0nwZMXlQnHc64il6mGJPl2UNIgvW/z7tk8UBhnEU0ToTkG6
R6+gi6GMbY8Z0hYLXrCWokKO9TeFreFuawMVZ2fJ2OMEvAhhMzzQSIX3mW4zOFlhZYVZAe8EPvRT
ZZb7IkUnFSUAegAgyV0da40HjyP0GFv8AExMhBTyt43sOORfhEzmRzGZlwTIA50pTLVITLZ+eqBc
UqB3xL0gF4WxRNSdcnvzEUfnLdb+4udOStePR73LETmDx17kjrameyHaDAiElpXzHxkx+kBL0lst
jhSK+QUB3NhJcNe6KfMWCHMnbTAjC/ZLRSUBldkb3xkaEk4f+AcgZU5Tdkm0LXJmo1QlD6F03DFT
sQZUMRgiZF6ZHVGhlAxd8c2+RD8JZf6RAJsn38tkOniL3gUFtdzIHzWOaoagGR6+C58aroziFJOG
fffHcpYTL4umB3LjBQfK+w1zn/cU0n0GaPQ4aaCIA0ACifTTuyWNFjNk4ff0hIA2Of4ZcIVGqQj0
LIeIFOyarb3muIMwlyqGm6GkdGhv7g43F/KkTcmA0c2tQ1DpBDvyGWN/7vFJ1ixHh5eVBMGRbGc4
8aOk7YvSZ2gTL0TZyjbic3E6PeHTiIjBDuJiDm3PU1gPpmCwv6WxO4zEaoiqaxv6VP7WVN7YE4jE
E98QIfodl2buQJ59G33/B9T7CkydEGzfJ6ED8mebUgruhosEQhTa8xzd2bAQRZIORF6DzY2llhNl
2jGhoH3vsGapznmCiwMKsX2Fo3vNmsAjIjcRdRhFDhezw3L0m9Ru3+RJx0S/jLFzTIqKx+Dmyt1n
ZYrryALe/xIUvF++qLTurjGgqJy2MEh0SBPDee/JUKHG9us/czKJJPZ0ak1bFvSk1uHr23Na/Be7
O3VK6ewnEvTBELkqQl95y2mLASAYaXpEfUQWfpM04ZuHuIhSqNscUs5Rz+0J2Thg6Z4L9CO8u7zq
+wzzcD0GpVOhd/CU/jtSDRgEXkcb6j3qz0zPlA0Pu3eKF3xVRCgPYwna7ovwluTN+W7pc3EKfyhP
ufq3v+vHub09euqAVUG2395aEJoCavwtIA9ywoEGaelAAX9UVhsL9D2oPphrlZr3tZcWvEEmguIB
WkInELJzjTTcuEerXRMy5XSOg/OUqqJaF+StsGIVuqHeWaF/ho67BwvdaY0W8XXaDME/TfDqogtG
YYYWkLXFOgxJDquvBA+2wsO2OdNSeTQuROPpLHlgLgzM0+vUyDoJ2wAJsdscfxw/Kc0jhv5chw8f
JJIER8rVHEnbyPIg7dUIiZvFTtasLVwZnbaskH6bTMNvF4j37VBteuwO3ggsGi6yRzasK4nCPqJ4
uXUov1Ckzg7j4reu+wTPysDGzP/6FnvyHSSgh6m1DdwkFjWX0gz/Je4VlrAQmOJOx5Qwx+wTyih0
Nm9UGfwMdq+M+eZ9LGB/jr37dC/DAL/4X48zGNy6jygB1S4ilZ6ZQvaHGeDJBbmQOWpyLKRr7t/D
aw1f3F7unT4nUgotW7fB8SLeyU9PqDNeGk3AXSF/jMhkrkHTQC7QZKAglyTvLUbaprGEUu9yv/SO
UxTuHkE9el0/3S9sLvr9aBtZPkZeYNgK3y7Dj7ilG2Wm5xZDIyTDuOMajDljL+O/RYjXpGvR/ecO
VmpgMli69AyET5I8zBdoBFRegIf2Q6xRQFR0iCyvnGQrIbMqvDu1cxtBqcUfp7U+jOhtyFabQMuZ
NpGN8MY7utgmyC9aGHLtwk7UKO0P+Nw50+1SzOWX9G4SntOOmGR/tvfJ4+7wrCq6zb+oUXNNrhCz
F84DhVwQ0zPGBnlfRI4oZD1VgzEARs6swg/FJ29BIDfdfWYXMunJrqdjQI0qGb1UdAAhEwSt54GE
yxzJviA/q4vllO5ZUorIigy/S7VXM9D9JDFTpJqghGOUg9uhi3Or+RPVgVGCzBFYnpPnQYNwArCy
Wwh/uszcsuyqp3Vp4PHmPZEG0tzY3353MhiYCT5t+OOPjLzuom6YdcA+g2r5YCZfbpce3oA7mJ7G
5VDdD4JGk0qlDsuD+0yUhUX+VNLhKG7fuaK1U8dMsri65H71yHPxiENBlHCPohMf7LxFNeFcB+bq
SUWCdAK5aXCM9lGn6Ty+eAz1GUixbqk8vcTW7OccnU/7GNytEo9CHTJxft4k2ooYSwxYSxIxtndw
Od1dSC4LpwB7O1NwPl0FAJkpFkCTVW5X83xdEV1q6dtiPtS6TCUXUOHS50qK3qJ4M/4ataltBqeZ
utR3/OCyL/BnSfRXxV1LdIYXBgVNkGUQKUX3LVRr668AaDsmlBfa3+XpHrP27pS+GAY74rTmyC5D
7WDdk8fF+8TG11bimrsNrrScAbpknC4QIpYCuUFc8dcxo+cIHohvXyIKX5+yd0ybcMiEmdgZnjk5
b0To9Jhgmfbu6SF4xo1+a0BPiqSSXgoQumG1QWmsU1cUE1T47FbuzO6AQt+xO6FXrkCvv3wFhP7f
mfPPO0LDUsASbUBA9N8KDaLUkbCpDAMG175NTFQAX6Y9oSf3f+IIRH9Sa9CIS6soXBuyEd2jZ5Bq
g/HbbB1sR1D03rx292lp9cUTKcc/6BBAI+pcDsqckETuIvgpbQKI23OJPoh3NHHNvyZZg0SU8/zZ
ZAYBnxAuSmFMh+V0BtjsSfED7xW7k3PcrHRmlTTtYiMSinDleXM2Pem36KHmD9fEBSMB0hadhg/8
a7FlNwEYkHsiv5ThyNf4CGnUsD7jn8qQnvvIcEQCvXkw6VZo3O70mPfw9sBk9XZOWcfDvUgVtRRZ
6cVtIh9l4Bap+bR0bOPYnSqwNwxPX38NMz8zu3f/OS4FvAGswpMSiRwl9Pv8fKQGRnAaPHrMQAmK
ITm8tPNwqDvps8Xyu0LS8K/llg14LRr567JJxF8uC39cIIjiuW16pgBABfA14kLnHFzd71zl0Rvz
WjQ9QJK+z7lJTtsAXAzsk8ywoB4KyMhTzVw+LTbxQs6wmbtfEv26pcf4zsbumukTwC8kzZoDBmU1
OJiyBYvMl9yz/R1ctbg6Smy0rJYEM3Jna5zqeI9RQjX8R3jY7ANUpSCCM16JrQtaYB/k1LKQ5wen
nLW6PJs66rPedc4GxRD78XmwIESgT4DBcAzuBv+Ns080bOfo1j8wJh6Jak0cIvzZavw9OcVgpwTf
3tnl25Tuvad0TTosvql36X+mRMz170An01fLJylOm14xIzOlwTtGD8KjTE+xiO97Iz9n7u2tf+Q1
jpE61tqU+9vrNXptYD8La08YIUS04tzTzoI0VBSV2gUBTHNrtuzbm0RIuDyE6tOjRoqm9ardz/g2
70xrvwP4xy9MFPIIIU8cqIHe5WvEC2kEpFVwypF39ZThWMjZGd9mlz3soNF1yIjznijdabIHBvX8
xR29ehT0VNrELQS3SGK46aEGJdIlvfsGMqXloytXA3oX7BukVz3t1+CB+vk2EHjBmD7sBZrKB1O2
2HR2z9GHHUWBsmzafBqoz8VOnqsWEEqGnGvXivYkLIugoMlT9dcl1mbi/WFe4ytKmOp/gxUZLRDu
j6ibni2X7OpXVrMfoRTj+Zd9iVBQJolLkv3DWiGEgkN1e3PVYej26KS4h27evQTvJww0oy8v7i36
cqAEzz7ym5dskVXKN9XSmn+dYlQs+IGCrEEc0XdssyeI+jaFeTvYCo86qB/DCzHWNKaMMvSpxcgh
EJAN16SQktSdkEi4F1Kg9pgQl1vIgowo6APF4iBE4FzG4+tgH3GCcp+8fe8yhRSh77F9l05AT6hO
bXqgFs8E+CXq3QQVtbv8kJsCi2aCdcO8OSUsgGmNO+HeGhsf0p4IRUc5SFoBgp4KDzK73xhCQ7DL
yeTdN11gcAKjOJUu15+gL1q6yPP8eC2SbzJRwFFogzCQSO4tp70UiLsXR9+QkLdWMqinrxVQbpal
bXf7xgHOhs/wjncAQ8BbMewHHwldPzEgDIHYkuPbk4oQxM6nDvavXQo/+LPP039TfJk5nQzs45au
fj2N/QTHYD4EshfioElekLN+rQ+YTcQYJ2GJtFrHJkc3usdg+bOE/kgIIR+FC3qwutjj2UDuksXQ
nF7HQTSGJoSEITEC+bAoqi/2fcEpIv1EyXmBPJNJ95CpEKts7xj1NFZrayk6YXQ12QXogC4xaMWF
JMxyu79THkZmistKQFpyTLXdkTWMFAb9jQyFYtweJFnW3FUYQ7I9Bd8C/QAOTq+xVjXY5lN2xSJd
3yUaqYdUhBqbeZdJKKnv7LSo+q+hcwE2emHR1fsLTprKK+gl+NWba/Z1w/PFcw/6XO88nLb9G4Ot
roTSAE/MyYfvXfDjgl71qngRmcsqRCYw/zYIuSqVoBWRrtl5cQRrdmPNH01wn/J/Mv8Jy6cF7e+i
6xRO750p/TUFOItZHXCXRORIWyD6BDTULAPYzGhMR/1DFxl2Jxh7A3RclJefebsro7eaM5S/9jbv
KbMvzxKnO44njEeVbHnSK/T4h/jP9eBVZzJ0sQ8ZQEY+kq8/gG+PrYzTqk9Bi3GPgO9wswuGUrhK
CMVyGZEJSipeHZz94ZAlcuqzWiWXpsv84PAAyYfXFBGQJ7ofEQHKwytCfJXBoQI8ixX75/wEpEA4
BCDPXOKfTp7QnPm8zsCse5iU0Bpxe4gBo5r6WQbO6Mn+vk5PxajDiDvAlf5c8P6JQWHhcBAI34jj
cyCuEWfyT6rZIzr2d8Hz6GZTtnBBsQBhGptJQ6L114La0HiuaT0PwBKLjVZbiCvsgk8SHsZt6Um3
epaqGdsMg4cASUmt8XA8xmLHYQMdbAbDhvPlPRGaydDqOjAThW/7WTAVJP2O5k+whxyJ1Zu+uDZd
3pt4QhR71SAkHr2cQKh5cK5AgM/paykxYJnFEYz5yaHYCjvk9FPekCdJ+C4jbo+MPhBThJYFt+Db
P0xqwHN6WB52lHh/PTZYEUo22aU7vxQGtk52D7Hq8yAx47yYHvy6Zmx8V8KYcl9PzA0lJdjfL1UC
OzrX1hHn7DgYosZTMCP5Rx/QXIR2b0dz9a7HAWI4rBPadBH/gAegOz/3FwJKyr6NjwmlXTtd/JiX
OWgyzTXLygnOW2jDzQZmMKeV2LuX4Wkoy+gXO9oNJl2Z0rXAJysDqqjdKKSYkyoaHmu1ry1ti1OI
bJvQd6cUaXTtRlx4fSo9Pjj6JZzIgR4zVIKBUCLJWfW1ZZ0p5I2RSclVwckx+cKKMMGL6UJYeTjR
Hz6wLmvq5jeALRP+wW8I+qBVMMa+V7ctowiHYAUHBFBDmXmgAt7eu3rW4ZxicqEPLEMoMTRBwZ4H
9acQ8fxYH+KcyxKphGNQAHstnAXrx7pxsvgfgXR760tcr3yPWnAM3SlBQ7bJp8/fFGiQ5W+ue9bo
t+UY81N83ml9dSA+QJTyl6b7opNFVT5+NwkDG+4f8dnoPiNeku9/RhToHz6CRQZ77rwK4SeVEb33
ISbwnN9zQI1IrZwHrXjLecyORLAhoq8Q1pvD40TfA0/63opRGb33Ko9atZWd0QyhWpDJQIuRGaKS
SRGXrUAY7IfaJd+klQIBvAG1ZmrbCgHYERflEUMgxswFtG65fYhEhydMt0ZIUK81eoIbUff4WvoF
s0dnl6XbtMk7OXEu8ecZbgaXsbs4Z3vo7uA/NtCCJAJpCE7l/oGbqBb2KolWYWYSzdGJWbSicrkj
bmIgmMva5uzDT++x0sEoiVka708cpzebSmKI9XgmX8wDD2DhZq2wrAGt3RMPiYBJoCc2j8urtklX
bIZKejNA2C6sjV1l779yownC44+ao2t3v6Kk8BfxPVC44lzXd0bUOafeU+Lcv4alflBYMK8BeXVf
jd4MJ7BE64W3rwDiA1ocnCB2b9xZnJC0K6j3EHsd/LbbQd+OlJe2j3np9nGqP6zW6MBfoejKmKtE
6DcZpAmfr0eQd3BG5cxGFEpyCSvYfiHQt9srRHBzbkHAGkecj362y2zV3neKunDQAQaliaWAZevo
FjPkL3KFgITfFkCc+L2IsBStzQ3RFAH4mCIGG/HPMZ3EbjvE0pGRakfNGMGyumtHiz4gZquP3MQ7
xO9sP90efGaDcKQ38IxJX2vFVBQCx/HEUQaKcFse0q9DA3xMi7DCYfSGepeRZ6uRVEBXthIZAGYi
0DLh2qkleYZqr9qdQhKJ5dXeA/BG2PFf/maOxUyzPuvOvKSf2XXmxU5DScxNQXOxt9+IyWCkLB23
3HgRdMYlMxD8hWYzEIE8QGN+4TGxeGLWAH85fuIeL5ae5A8/G5PpOCwripvs0y//FsF7cC/QhjBe
1f8m/O5rwzPg09+nb8Dq4EYCVUNnQS59HouVVdsAw7BdaKNP/7dVVB8eDYH0Dv69e1whb2hbTF75
JkVQQSsmD0K1UAjTwt747ACtgvvzDBXYWK/dbe5/kOlIAs4IEdYLHME1UO4SSO/QlXhPa8uEM5dD
MB8XKwbQdrXZA7FvpmFD+EiQvTYDSD35eqalwH8t57yw+QHvtmWOhODAkyhHJYPXpotNy1F0oD3G
xNgV78kleVTPmAFzBs5tObfa3q+aozc2A1sZ/rPjHmIqGwQSe8IpUT0tvGtw+bsGKar6a8BdFJSQ
CP+RLDg9qHiwjyr/QuuFXcQrsLT1Ot6N9zNqLWvWStKcvMMifY9KFBtJselozjUtNvuZgpa4SCWG
j2gAC7OMugT1QSpjvcKWd0vr0WNEBFH4Gj0TfWl6x+CdmHu/rP0ieifX6DlYtPxjpDOMviLwfTHV
x6RIYH+/9RUx0Y4160a/+fQ160mn2yuk5yDBpAS+UslfX6yu0bH7xD9s0O4Cd1lL5FgNh85DoD9C
wg+kRtbWcEyyhMjAPzaVzMnakOyHod6WnMGdBl4ssKEkpD0JyL4DENiPp9tWBxT4JZT+9EA6GYU/
AroA6qtHX+GnsJKIR5gMQi4ctnAa3D9RiVzBXtHtIQeN4B/AVTXGutt52BriuBKIv22rA/gkOp+g
Rl33ZE21kM9cSJsBz2WHK9H5IWKEx+qLNH0Fhfd/ELeg3dBCE/FyB8vIi9khCKU4TGAcQModcaLJ
mSpj0KQxgCP6MtWz7gbLSxhVuOHGZ3eYk/QuosVFQvO0Y5vvBIwlk4y8y1RszJIoRzhflMBfVETK
ESTA3hf6umIXzC0i7ZWCTgtpZsStOJ1uw5HK+yT+YoVmR3g9QD4GCfOWTKL5xd7283BYdHyVNZW8
h4+XipQObVHQWTZ5rIW8A5ilGFP6BP3/DHCI6bI7N5Vb7AYfpn2O6QIhbaYlTZZQlSSsAxn7e/pP
oByxhqEoqyRdHt0mHwLFRsHNJ+53vKuDRkrvJ/d52fSgYy6/UBeDXPqYQ5DDX5SoaH1nEqUJFEWi
DtMy6OqeCLzQsC0Qf8JWsUEOjtkjvk8uocRbgVsBxHlFQogd+ViGLbgIKO2BWBZyy+VtX+lhbxKJ
TGCHmCnE+cxWi7IaS4aKhFrKSlH/iHVCHP4ynFHiJ2muh0sI0iWfBhDVmAgLqAXBZ4qcS0LbAqmN
UWr9UfrqYQdnhXixxdmgYK6l7CNvuYnVa+pCOXLgGpmczqcOd4QhHMkT7pM6gtQoWG//S2tzQrYE
1ICxbJ82aP3Eu7tOEfSy2aMDXPyoWLlvhIpqIStBtlBSh/CR9Yh4gAdNWHMkBeCRPJFp8qSh3sq4
i5dzn/BJBCAHNQ8k9c/kdtOSQerKdT+N/bWPsk5nXjQ0XoLmb67Pm0IRo9r199kDpRQaOSGpqztM
HYG5V8Rap5HiCc7+zARifktWAz8C3jhiYhy6bKHj4QxBlyNC+pLTSOSpmDtn8vK6bw61/iE0ek3n
ti7cxrjFmm5nYu5E58EyX7dQ2p556mCy3YoBcbCv+hUD/btLyfXuloQtNOxy/KV6U4k6oXbGF01v
KkdpE7haB7ES15coe3BZ2jkikD3ec3li5KsErq2JgWcYUsrWJP3wCshH52ZwyOLjgZaGTYKpJRxF
+ov1DajYZ37P156K7hBaM4UwydPWOk+PV1ejg0YBDGUrcmTZRD/EHw9wv2GFaeCPwezjE4xcsO9S
pMo26NKASu4sIEL66pJYIfCxL/bIO5uhymQUpNAvoNmfbsCjFhb7Oo8ITwgYEl4PEXOTnIcf+MSx
vJ9MzxPEsjawPpC10/BJmAf4AZyUvAyJuehEp1RiiNEFs8iHezLOa7o5eXc3PEH8nrGaibGRyb0T
QpxoxiYAP39IxWQ/V0Nyj8TlRv9MjLRsZzUfBqkXtI49xg7qBJsGM37Je8ZYLaoXxGsOmTibATpR
MaPKuaCn+qbult1yRWnJy5n0d33mpBKkiBDKbk7hjYipb3a1oGIul+RK7Bjt5aNVIqC5EYKZju89
zK0SmCfDMd7LW8o/2QIWU8XClwpowA9iZJJvoPpEJkodRungzfhi3bYk5fs47D+A9lgUW1BfUmQZ
9zwQ4fQVe+sQ7Cgi0BHAzCYgiYnmETvJkMi82Bqj5nTYnQjlckwUajowubv8j6bzWlJbXaLwE6kK
RL5VlkAgcrihhiRERmSe/nwL71Mue3vbY4Yg9d+9eoX+ZRiR6wC0yxuy6TYGGKbZLW4yeAZUwE/Q
v/sckUd2/LkdjE4wlXLfOXTzYX+zQplJqVWV/IB4HcF9dYVsDlHfCLlc5k32W0NFh+z7sEtBAjC3
pA6VwlvAr4nZq4Q7vwpXKSxOmc8rKLMaU6yRmffD2oV82zpzCDqxlDIHm2PMqoCNDMr+iGn9PSkt
96NGX+62VVwkCMx5uflgOxUy+g2lfGVvY5WWstG40ArfglUJoMXH2Lt7h8t0cR4SnXKUUXoVI6CM
6Du7OC6KP1Kii3A7y16bDWa6wl8gOKGROCSm7R2mUI5WLCrCO22vIGHyiDgVqAGF8DpRV0WzV04K
dP4cvVX051iWSjSg/AQo0zcsd0oRXG6ci+4sUrd/Us6XmT4rAgaX6hBuoPpLRthm2VqfxtVwj3ZC
dKOUif4+zoZ07Ok6H4vYni9QNCzKYY4vI9R1WjUqkFvp1cMTPrQu0/9417+tc9JAGCJwgBmfr5z4
ckLUwkpl5mebq1dz8IqL61CUxAcxqVlEpQ+ua9xDaRIevok5h6xigmssBYaejR6DeR4BIacBEhPo
rFSkXwzjAAQajuulU2pShXgIguk9OmfOtFgam595iazF1IPIFxg6A0iGLISWaAvCcIH1lPWKARYY
eiiJgGEYUJHIfgr5i2TZGi/XeXOAFk9Aw+1XLuewXcgYpZ3B4UDY1nrKdX6Hkn4NWwkL/QFEKBGJ
MxkmPlHtY9vKTBGy3y9aMSgl5dMf8NeSc64ZrWz+9dwLIfFlhJDZDFm5JVNK1j/DP4gUBwvrpDU4
AacG7dJma7WnuYuLactdLnkChi3nRlhN+NrR8lhTWnZAxEEIq4qVP03StgNC6JK4WOM85oOTDcNY
WPqVdTPtdal1LdifGfGKxxJsg6vPCA0IcsUX5tACket9wwPVMmEgYOy7bvlzEzeYXVj2K0tc41Aa
X0xri2aPnSIEgDQ+2mCOCL1X+AN+OVeVoKdUBLDwcQLBjQmTTyMLBhgrAKouGN7RYuUo/MrdO8Y0
r6jsP2BkxsXJpfXYmBuAVOAdWI1wh6BryckPZawYyTlage57UoXv+cVSYXAb3XkuyQmgGDQXLiIn
G6qr30cM8483/uKl3UxsOrFkPtMGXQOf2XkIpQIKA3MNJ0rKSf3ji8HHYy9RcUszQHR0J1C97GS5
TMPT5kvrIZuBJ39Z6nISQguLGt0ym2X0d+zp5sHjZDOxpyHROYpA+8lmMBSQVT2pATHoC4FnpHHj
2DTvv4A+UaaAT88AhzfvrtrKIw0hPUFXqYKH0Ri/J3Oi6Tacth/hGPZntO00OOtYNuInnEE/I+aK
5coXt5axrEXHoMFnfzEDMOdmTCO4fIxjq0/Cin30AI4Drry3nmHOcqboPVvSylELzuAkvG+C/+DN
3qzJy2YTy+We9KQFVKo16wYarB4Ag8e/6B4wo3j4gKagvV6pyYeMt3ugBO+sO4eyc5GlZX0qGGj9
C+FevK3LWKrHfQS0DuJAZQEWup3EKzovy/0q0Vo3zxgxuqPF6Zt93gi/5j9Hz78TO9Bs9cAoA8SF
juDyl66KmxdwWdXKVpWojAcRlhF1gjmyQXFTp1Ej/Iy+sRjVul8avkeIH4Sp5SQJX+1bK+q/sI8s
E+3+CFO7zAJVR6MAj/qvPud/Bt0NDXA2aFcYNPj4+H/FT805QLGqcExv1+TG040NUF1EvX5BdHks
cJd5lwHOCvnc6hTihenWFpSOCCcjl7TxY7zrdOrr03SRQcOkVqlzQVck1R+kHQDad4C/OG6e7L2S
LSozsQ3VLVfhzjAoNGy+wEW1J1QBNvCSDjNNZGTBYBHu2vXllfPg7zubslwRT/1K20gN8sudcn88
/Tu4NAXxkO7o7zh4OUa3EpXsR8dsqV0DUvNY+/7CnXjmyHSpyChHPLaQCwQULF1kLADzGvdhtvrU
4rNdawLIXtDmchuzkc/wIYCmzWW5eEKWMFgNzE5eJ8ecuEBRfww9CKwsMDGrgOQso80bRqmUWV7f
uubCQ5+hmr4GLA0QPccs7238MTmzWQVsbZlBGs5waNeioRHCGrRXSLX8CWYVvkG0fJ3D+UQWHzzy
Y5tuVgJhNcr9M7mAF1qKLvRK9JV4Mt45AZ+LNck27nza40jUiLjvbjl/tx6vE/Da097jOA5OMf0f
fQC3FnErdN9n9lgyWznD19+2x0kSdmLFVZDdbS2Y0tFPcrFjtsLg0264ZtFb06ASlJp3iuGFrUD7
yUQRXNZEGDnz3pwYQlpA0nfcR3Nj0FdEZvM1pmvBL4ygq3qvW8PCgmyCUmJ4DGir7tk951Y8aLT3
EBq82WpP29QgIcdsn8f5jk5EXqZbP1usXmRPOFsauWtQ7CN+hE+BmI2voC93R4Woodhe01ewtwa4
ZjCEF/QXBBcnoLRpffho0eGNTkv0utbGSER0x/Fx6xtoxIH6GB8Jcus+JzI/womjUyFfACSLAuME
ww05fRYICZYstHWfYJQzDrwYSEu/r74ks2bw7AaIgLwVe1UmQHOI1YflHAgcwO7xQWtlA2CQrNeK
um6bYFwG726dtlumBo4zRF26ByznuefhOxxQu3CMajgProJZRoK2AcUFZnBmxU08B5qngR6+CcfL
RBgYnVDuN0Jw5thQ8khrdo5+LO5mtxowAtw9LkFiYF52kzUxOwwpO7L2gXakwLtYoaFUJp/ZxanA
PbZRkiDRjnadWs1a42LETQ0L3SEsspmfncJUng6caS0AyTNCXNtn3YqgSzS4Kmh4zSdLFO9COSuv
mZ3/+JK6lUiqEW89q7XUwEML5FRH9xApdGPyDosDvFtsCPCDExrwEmZvYKotyg8i3L9qdOUYAPb3
ZHKm6o6apIuW66o21Qn+rgObwafZnH0hUnv5anGdoQd+USn7VRtbB0Q4T0jnmHbwb0fdqEH5vUKw
rgd51wzu8b6/cUYTSXp56IN9w8xwj35vCzQJ9YL5z77bR+e5zv0yJDmFt50IH6w4RYwkrhszOoVG
UPwA9Z9H8/i1ebeq0b+1lunOoPuzMmpMJR3c8eSr6DtEbuCl4EglfgKszPiJXYHe/DSAflWHFA/1
2oiAOiG3XBPF0qUekRMdxdGwlmkN2TvwLpe6rdO388isMWex175i1vN0IRo3Yggk2tEHL1TgvE/m
kcQah1/LLApKzKoI8OP3y0qvfmP14Jomm3XvvTCTKLc/6N8Cp9Thvgi1yyxZ1+amEpL5zLI90txR
JRqHK/XmbgdcL0zgdTQuFgQmNh9OisEN7ebbQWqFBQcGtGysrXOzGI5eVnPbanYjxVTfaVtozJ28
6W7bUPZO/vDjFLifATgg2SXSYT5arfKy4leXsvq8tHmdzAkd8KmNsBn8b3qYz1MSmiX50pWSCvoS
yAYv67aohSt0LMjeqM27ZLQB5uKK0ewpx4tyr7SiMJXCYlIKqQDdCxF6T6fSZ9EwOS234TYsLo0O
fDix2+jHmM34uMNGUOg2v6gJHtaLk2aWw2LbDmBzElQ9mIBFLOSI0yB8kUUzsWRvPnb2nh90PXV2
ZBwfx97HLaPHnzRRX8C4+Jd4oFm6wQX17lzdgv/0wFgVektXCQ51AIHIGFqZvfHpaL+a5LwFZcLo
GMP3HUBe2muxo+TmItQCCJjhOu3cFqch9aju8gwKEdXi7KLgGnXrfD5Ehq1gJUUn9uAxSz0frphX
wFSIqDm+EYljZH9nfB5kiQIJgD1Q9rg6ug/guIvfxIGEI6t3A/mc/338C3IWOUgSjE0ZoeMuHTDt
aHSQQekgfTqNDtxBXnSJb506DVKQoWOc/BtDevwCBi1bXWP6CmpTTpEbdKRPS8mOzgqcD3YayqJ5
RV7niwGTjzCzRD0F/48vLt2KFTqYQ2ynRRiMH9fcmGSwspNq5RixsaOpR1nPgExX4EP64F/S0GPi
h1CODuEufCLBknvKecNSSUrKz4cbUX6PjF4IW0D3F/nWKjWPM2J+HJpERqnMmgE1YRSQtxjI+2/v
Y9/YeFexdChjGSJblA5DGxmefGnMd+Bp0S2IkkSzG1z9Ck0kqB/dV8UtTJUfQEPMEIKlxJgweevO
gJs3ZW3ELoOWVXtJ9RwMiVegRoz5S2AysriSEGgQnuMBz+iNjEyzwz3sbJlB2ed2IGbJzxpawAwz
7/eEjBv9K5xOeOZ8UNiM9Jvl7hscFacnXXNSurHHx7GMciiD2yJba/yhtoMJjp25lX0wrrlFj5Q6
sOLgSMffVXV444NLraMQqPxkP6eNYM8Swe4ahJdVoV462WbLriycz7hnBE5AMhl9ON5wX8GgxfSp
zJBm7ScXPa0Fi0zCHuft7Z68QizTO4UFQa1BerI2XJcnBLpyhs36+60KHWl3gCqQcYF+7AJdcQHY
7IB0RGwpeL8e94nC7MBt+hEJLJz8qbOSLcuuhY1jlG6OZe80eXeqmF6FcsGRqRXPvDYQbfkCNkLn
pjWu+oZ6zN3JO/fD/Dcrg4oMAuMfWoRVH69crDn2NWmQBfVLE1DCe/fro+3OcphYBhXvAROoeRXR
Z/QNqf6h/D4eZxu/EeCA3fLJ1il493csI/YOzE9z/Yl3y+0EIxChCf0dQFcD7DSgQwufQc5hARNV
7tSvmAGTi/OfRbMc++npK09rVo20CNGalGuSnTiOE8it1PKCbwCiODSZ79brr4HJVY3x+MDNjDPo
qP7L4eSO9YLmz3v1Y8fNzwBEkx0Ap2Me1fD5JEnr2tlGnJoFCN8HzolNjLgXaqJ4Dd/gNcyiHGYd
icmAT3BnOZPP7h6PM3bluNTUrOvolFn7vz2nyotrMw9zvFIuA4kGzwMycmCTHprgPmF9lTHoHf16
ePQvi3p45V2O2Z8jNaP17e3hlnEbDXl7qlNkXPrSWu/J1PYbY8nK3g/xWkvuRftMcwJY45KCwpKa
vD5hGzIIufJGdQ6dn/wH3UGpue2TKDjjsfAdpCtm5Unk3SOGg0vTzxun8UAFB+MX1sCQZ+n+s9mD
WRUSIOJGWEs0BtxwDQ6jLXOAoCPN5JAlflHXcuprkeTVUZ6XEWchehm/3NcIP9Zvxmy5anEyD0rx
CfbGKcggq5lhsXcJTkEZChLNkSQ+PJq3rLlJ7i6JKIfpzZfUtOgK1sZfKmo6o1chLIe7xWu6A6zm
b1hCaWEGaFZs37myW+w1eqX2F8/hh1fsatck0y+WSi0eA7WDvEKW88EZ/nLFLq9SPyl2TxstbQu4
e6U+CSYcwQRCYFocrKtOGkNFgJIhwKhhJ6Jxk8XIIGHYNe13+dSqrFJ80D3f1+q2EJ6acz1Y+51C
ckqWhf6peQq2C0SApdQqX6zXC4/jPLgEmS8HD7IIxXe4B3sfzIgNg64CjYvyvtz7dfw7YRt4dYaj
egLvQiwNl0uBDUUATpiwNuRj/01UXA+am7IIjYf3puuWye8JchJTE/walhYAgDSvzEcC7EX90+wM
WwCBDwaLonni9kEkBd4IbKAp60TpGHBDmLUwNL/95MkG11qPNKYNccHow7SgEc26DOiS2T7AdEJm
hue3mGT7GzGS5cN2h5ooPIYfzHhiVkD5gUKHNYZ+XsHNtL/kw6m4h2aFrxbQKvymgV/OEp5I3jRx
Aq7h2CvTvz2moVQN8A1mC13b+rHHIkdHkEh9GrqBYcDGIGjwjXgD1PcrkJqVK1QidkPOstDRxkeX
KpciTgcXyPrEd/M5oOXnYv2Q8SLolfGxYoMVgAWsE10nCKXA7PjQ2NQyZiBG5L4A1YT3AtTaFBIr
+yaQWNBUAtNYsAnr/T1dXlj+S5FJf6CCQIe1rssLwfV6+pjL8zAQL8aaNLTGXYsp/89GV7QFxnT+
Dffg7wDGtqVNxZiHhBjyohXcJ74zvGc2T7KZAtceyEWgDomp3GLAGHy++FA+/ubRLfWeAHUP7vy3
l42RuVEVYXKa8AzPwQtqfcm7eOGhmbo58agvdx9VAB6u+JUhB7Hm63K3OAEUvtjXN0zvFyj0nleS
tUQshZCNpWDRucihTCGvAJThqwtMwByRBvfVG/PQscE02ZFnHuSMaRF5/7j6sq/rffBEJwJr+QZZ
CJ0fwlVMmsp9vXepEko67z5CgLfbyP37AvZImRmTUwgrLHeH6Q63/ceqmtYUHhcDXK4T50snMmVF
yxVQd85DupkEJQlvJPK9uN7JYSkvaWmC3m6pDUCtV6c0QtlgxQHLol9bvFdVmxdYGUNqfzDb0bXB
iFpwM2P/gh0O6+6b49bRL35EHqEy1MD/zrCynjkcqcp433DKb2d3c9LMxl6r3bhzrMHdpLqCZHD1
Fzgdzak5SLnxe5ACDOhvT5ul871q5bjGuCj/nH2CijRZflE3Buy77UuvzBCNVqbSBbr0jV5j6wG3
4+/DXQlah/ezbabsk1hSP63vV2amk5tj7Vs3SvmEF/dtY5JYnB3mTWrUE2+x7AJXGINsF1ffQe6m
fj7Oukbb/AFvoKYumWfP9okazO/rnWPDgk/3hQ9y8pipUYZ+zy4fymt6Yd9L7A4S9zq4+cUtwjhF
adiwDqcmGse07qOMzMpJfR5UuEntd9G9MPQYcHL7+KDzR5iPzktQ1ekfDFJ22yYg7QxpHsp19gIw
Dq/DXupepjOgai6TEVgJa2JsjHgiDc4WLHWJCXhaKSrWAOOvLgtwXkd9deIdX9XsD00Gu9Y+GEBw
WDwBL3sa61QpTM4E2T1ybsUgz1SNsvPt8a5C2NhTXqBXBfyy55aVHzkKHzFhyZmzoBJjQ/XTR4vV
q+TTcWsvXg7PZM3qwOA6Lpz4pdKmT4ZJYicUAcpAS2EY5rQKaK0VEM0063QqC2VcegYU9Kwzqb9s
LeSFqQOXp+iZVPA1OD1Q7xqWT0aF4ryjsENSkkGxZ7R1mNS41nHT4RTFkb95olc3NMhyWj6jfSv9
PRSxg4hfVAoF1/P3cGKFJlF5tOrnu8hi+AAVjf9wdAOx6eDpQf/LeBUN20/cFrvfAvAOAGcFr055
El0431U6y5TOHP9jlU66md/JpycIpRVK7tLE4Jm36A4f0ZzyAugyVLJ5c9bi2Gmn72RhFhYjNMnA
ybQbbwJ4lUPFx0VDOjBDjBoq7VPzwA9ERWnIjxbEQTQMzxpnWxrnBHbpc2P7kywTnhJNVXApwF/g
jE14wbitTVMa2xsTDwxBJp5Ss4pPWg7kemCXdrbBH8l20c5L5wpIuy3+yQPxwdfndngl716x/YRy
NK201zq3CU0O6XahdoVGm0+80f6liFDXeQj47bhs4SYtMN9oP5s6vMWqxJCbg/wdcH5wsrCa1J+z
W9JPBHYOi5UZwtkZWwm4pjAOIfdj+qUwNDgH6D05Nvh49DD6FXKtziAdnvpjtnrdItMYUxm9HskD
wU9Ng8UhJUCXtJq9tfpP6kZg0C6of1DToKtRjaPJfk/BwNCtWd2f3XTziK4AwMpIuNEMk70w+7YM
6xhI78Z3wiKbcY7rRUed2IXLK35KagG0MJXhUJkf9EzcGRWu2XSoRisfc56QoIsZMW0u7ZF45L/z
X8eulp7/vM/nEfIy1PzyWVSYQYmFpU7ELV9Fv9GgodAZTVmAfLlgGtXr4WVSSXTC6uBlKfLvJ/Lb
OocK1nf8U8P+KYG5+yAwS1csr33wZPULUtj+oinQtv5BCvKXfCMR+LTdMhNNyfr+vNk/jJ1FGl4V
WrNCs6cDFyqI0IUJ+9/bqT/5zyGSsblJwwlwxIdD26Z3fWsvFGmhwEHFU0hewAjCD1iSPMqPM8Zc
hLVEKmYLhx+pcqJpqle+AHNioce90mGasP21/mIsq6McHhk6ZmLMzy9eT4M7lbMWhYj6+7JzaH4w
XFdBWYopdeImqjr1AV2am2LaaSbcpEEFThGBw3Aqa204OL35Cuk2TY5M0mHSsEHHEb3NbMOfXBbV
sDzl4cNqQoHmBKDZhhc5he3tcgPXxC6h+m5Hpfg8+dLTZ/xJzV7yLPgLkVBQusSPiWoLYuzJMzps
9Gdi4VXZI5GsVIUVK5OBmn9E3/xyyCiE7Y1FlemxWYLKgNkZjDJdeCLR/coa3fscqnah8+l8qVkw
gyYV99tlHxnfPLTOvR44Bj/UnFM3Bus1abT/4uB5Gep7OCAOY71nXAX/QhJ/X8sLRA/BKZJALRhW
jlY2lEPyZVwwLEqPSNl3uiHCJ8dsRikItN1c1wJtfg1iT1TizD1GD5p4A/4YcC+isYW49Q8fREVy
OSj2GffalV0XTceYSYEfF0bzS//SR0fHXaimkgduYiPqvXwNgOAalDQmMHycEa5yZ+gFMo9wESu1
IqPZBvDi91WExHT5omfjoRHXT0wpDY7LhntC7bCns8WwEh5jqa1unkqLCERN/GFcbFO2OQGh5/d/
2C/k+ZL/mrB/fcMmpmMDUgVUJTOD7LoX7V5dZL8yF+JjWsCQ4LDo5YGMD2u0ODUmzwa07wy6kfr2
3aLGc+Ug429yDj8dUeQ//442prjDmIGvkHym9QEEa2YJoHwQclYCVU76clJOFDKtAQzzSF4zZK8y
ZbuaGP9qFItA/U6nnxZKP7Y6TlGJ0ZuH9Zd9OZNVig9dYoUvPi2jjbU/+nWdIs/xqW/CkGY0jIpQ
LaBXa9iWYWrNQ5WFXRNuS63zKCPKgFKKO5rfYX/g+GO39XdeuSHJNXlnIKNUDlhzQINnj40unNoW
KlZErGQjlNxIhB6IT/J0KeI8yLvMu3Hkc4aHwXBKbcfcn/0GpRVKfptz8sjn4V/qHtCDXeDENahS
jE0Uu71NI87wSn37eTLsvCL9v97sxFp7vTMACOxOHCrf0TPafiAZzz0mZ141BeWE+wx+5ovjUFfD
tcSNVYUso4ZMR/RhzPj7e2Q5HLHx5sF2q2MQhj57Uw/SKU+FU/INKZOCr0r98MGtwAmxvTpBWWAZ
5cTYQHiifJSjOBys/TGkQET4owrtCDeepXkUo38KAZToAn0ihwNHObfKDIdSkE0X8j5RYTt48OYI
PMcKdSqBytybdEXN0qzYfSACX6dDMWJY8P6judEbUzQROKB7QcxOnyTjDxoXvqpbnUoFYPlkwPyR
r9Cet86nVuoXWKozybYhfqMeeN/bJvqWIQup/pmRuWzxa6lp4iSKmLQOivj0qsSqYI7BKAu/QM0F
72cAogA0PcCOLjCnjzSgRynd7GeSRZSbilukMDLhgtkgJDjH8zRiCG3yNEeV1nH42jHLg6RuL1F1
SksA6vAFDdLBqbGmOG6wEGY6RYYPLxKnnKAO/qSWgxHWOsCxyaKB6ZJeJh8eUVxoZzDqGpaCB6pJ
LcfroJ4vK3u5vJ49lsP7AGJ/K5+UyUWpLXk1sryhYXeqT9ebkRT5sT1534xTmkXf6oW7/tUH/OVg
izprulGuA1wqaMMQ6jo73m0KlDBzzj6cBjDN/jvyfv1W08jci9y7uG+Ir5IHZVY/fXhPNDl04wN0
XuPx9PJHiBlv5brIx5ljRMcCDnaMHOlWwyecbXm4V+Kl5v+2zOGA5zHR4w+n0z086sevelNc4vqK
T4aOcDHD18xrjVkOqh2AGTrnjFejg6NXCk2btTeXFp1tawkNWgBTzZWChDqtnyXn0aYyM9s334Aa
7+Bys5EFcDNyCYuTJGAlZysp5QU+tYwQDc5zxLsxjLSoEEpQhDCo+SzYdWLXISyga9iNQU9e3M4y
/akOVAN1yHIMk/fNOS2HFTpBKh2u/AiCn/QisLKAKOqJmkt1KTeb9ebviqD8qgM3qR3GEI8efw87
+8GNvOfiwMJZfuVo7NQSyQ6qjuuAaPgk3tFO6KgQlV3zwd6tBIKiBH7OVzR1PK8Taoo7bljy4zz7
B09t28GBCNZTjpKKG0QftogmxkVK4NB3hklPa2CMZGjDiMKVJ1zzDmI259Zo0IAIITXaaoKNXnXK
yYr78vDdFC3myadHmDSHK5OHLkbBI7RbrnKZSoj7URpjCfTxCC+DK5k6BmC94rnPFNe3+x5d2FTJ
Gy2HAorimF/w7hCbuYh1EH6abOiwwfc2/WPnHWde2k+9Q0z4NzuBOcltcwDAmrWN4XrDmiAXRSYH
L8AxXIcoOKcav8V/YNcr2R9m2PwD8bpldNmKsY0LKKa3pdlH88JFeXOwD/2Rc2q+mDZHIWn0e6Co
wXZTmdWGDHqolPTRkpNhJRBysdNOzpi71lF82SHt7m34BuOFQ1SlWcYWwo2rIEcLpdu/KW9r6hsD
o38lmmHOEY35C2cGQpxJtSXtTQn/Wh3RXLA1d3kerp/6AmYgdFZHDnYEQelgN/pMHjnuH8A3F9xC
cHCb7FemEdeMceMIad+N+nPbDvjdATDxhvqBBobiB8+SI6Pov7z3x8WlWwnrDZ91NqjOtlnDHzo4
ROVLtFt/oM3klhEV8QbBtNWIDL/MJo9g9v3ENAYn7s4FMAS7lRNeotfh9dg7v5lE5vUWgCgQDsOO
e+8/oJjBxQLiaWJZoE0XNy8H9T4g+eS3vugc+qfOjW1QyQJo4jfVv1u3iFNaeCTruzLBDG9+dNLe
3D9Bave0HNoe8GO8s5+DKldrWNeT+zK7J3h0IrQCqXvaZsHU8QgIj+53ogzZZZBJOxh4ssIjVXZz
aNUml607J8qbfEiArFYFR9nRNUq7OFema2Z+zdzqfilvbMrg9rFJFB2IG/MKdC/OwcuudlkUO3ha
RZTucW1VhvEyfbJBHeakVsSN1RwsDMYh1AOW/PtR1iby4P6wa53tgM1iFfb+1zYv0DG4ft0roEiJ
V2Ud3hE5C++DXeKI185sG/II9oSV9qroEVl/IaJO+GJxyYfSfmMTTmkdUJ/HYh1h88BETbwyy+4+
gRBhrcVKqtZSsFaBek+9/PFQMy5jddwor6oO/Es4hVSx/+BwmlxlM5Vx2N8yBUnDIKaiXrk+hKqv
FJYb/TM58mEVTZggYg28dAQ6RCBfAghVV8gtV9SVJvNH1Sm2t4tir9Iutfnff2JMk9VgwAHOaAOp
TnULUSYAi2ocQ1azyFoCcyVAfURf+lEPBWLwL8rIaMQMrbRBQAjCYsBps1yjRYvr0yocPfY97WrI
OiEsTEHChBgQfD99Y7wuBJ7vkmyd5wKj0L52Z/ShjMEgQ2xTWdgQ6Zi5nxiNP7p59fdazqp7oskB
ECDQtAtMvuewhkfIyrctQEAd2hdctj2f0g0xECi6G3cJxnuafe5pnveak5Zn+Q9p104Og3/m6iIT
quy+oJMqKk3LYZhCI0WDCQsAmWwZ/Z+OGeKKxOnSpMjIU2OrjG1RNtBx4GRHVfm5JeNCuDzVGQLe
dDxrWeMLwAcW4+RD16NZVJY86llg3GlaRUzgFJnulPQCB5GLX5AOiylkhwLYlipF/KCS8ph8Ia6u
Sq7ScaIQcrxJOK4afikqRnhfeXvAW9JUF0hAqOYvRBR1utcKBzAH7aCQ3PgUV6X2h3EhjTHmwmv+
Z6hWayNpZVrjg2nu9vaAj4dDTmMElsBdTTDsCrhuABewjBTDsMrfYQFwVogwCbYheZRwzuCx+BAz
IGbpLVqoEiEfoAh8vS/vIjfNAjjKU7FacLfUuEG05BfIwRS3BiSwbwygui6ZVH4jP+3aTzRTo4rK
SV5QxNUG1tAYVf8HSMEe5MJTW0s+IVcREDxuI2VEK4JYdFmyTIKDSMwABZGtPAumLym4uuIZycMx
xxffBqJ7xF4Fuuc7egDHPZZy4tN7KTTx33cUIinEcU5rpHaUuREM0Eqw3uMQ1nRbxO7kw1bdhEUi
WbqSrHpQrFtbwoF0/pe5cYFTmJDYGKEupeIJhBTOCcbJpSNptUCNRIkigl2KcKShBYqopoqiBJsa
dQG92szqAbb+nqWyvzQvqImRYaRiGp/uBSts5pd+hnN9R9CJXuIRpEFdmBbX4Ff0G+quBFDRgHIv
qoVCBQVdXIZaZ0LccnxE0Afw30f/FOV0GViZ0kWYTtF9hNfw2mJAKy/nD2t7tRHXvlASFjnjJYw6
xty2wB7EFGyQs6OKnRw2hU6hYw7Kg3lwWxJ+B+0cxR13QJnwvZTtO7E3/WrngRKHIL+pRkHkBWx2
mnj6LYFS2leDp//1maxB0TEwb/FVuLNQDx2uckBStKxZrDmlra76nwqq0C90wM7R2L+KzrFkH2+u
EUv99sDMvQZNeE9vZsz2uGk+IGq5heWh5pjzqBEbMwRLhWWpOwcERPiIk/d57z0ewQ0aGkcDz/BP
mB//izFiCVzgHtdbx8nltskv/quERrKABJOUC+u+697AS6izrlFwwVchfOOaV8lt/vj8soGlsZEY
vDnyOPEc/vsywnXOCcuy06YLoouAGNr9xnQLB4hbc7uK7m6F6gV7i9SBw0mcJ0yi3IcR8Eaz7FaD
W78Ymw7mbY/BF+P3Ch/tALNIIkQa/j7ZsT/MoaBWcYr8RqXZbVkbssxi3E954jCXDUoMXp7+DWck
LmT9q6+LPVPwbsAW+4THZQ1O8DO+9csLfeMjgfY3VDmQvmb/GAlHmgwirvQsrslx+mwf3KNXXRz7
dzzayos7iqfq+LHFDIo/Dkw0PIbzGD8WKWTVW2C2t/7t/2JBiBC7wfsXGLsqNHHByTCdM3mJ9eYQ
s08s61r3v2y1434bb3GC98eFZWVz/6PxKsUpQEAN7oTpZm2NqkqrqhBv+WGjh9nRxzbJK/tEpo+P
mJoOg5C0CXlfOcWeA0DHQMk7JJSyWWcmzxEMQ2m5BiFGrkzfoeI+Em5AtEpIluwEtEM7E2MEEveM
lmzYQ/Ew5VmpVTa9DluufXS7WsduZfHwj10DIe/WMp4kkKm/qDXLQ7ya8Wz3ByANWDjhNsOG0511
nrBXPDDVAScRKeMwyKVT6XUGeF1wdyBf7HSgBC4gV+DdBuoKNDMg8Bu0zEE68m+VrrMyczsezK4v
LDK2BR7zC+SU4uAY1NCOwsP68bKxbMcIB4LS2UrbjT7MnfDtxYAYPImPO/GU+4ddDc5wQEQysilQ
zPXVH8wY5LAGCwNLLciLscyXxbFrmv58CAGIL2ieEHKIMpbCEYWyFokGLG6V3nMA+NWxPTlhCI4p
DsZuuLrFWFzra+p2HIfe2vOwuGlY0Gz5Ar9nzUKe6cBQsrl0PbQFeA8LwZJ2BEZ7cCOmXjE5HXTG
nAZACb+VAIgDaXyzGtKXJ93ax/iV/qNfnqZMnMCIOcwmrR6+AatPYKXoGFdKnQ9wpkM3lK3nK5Tt
mESYOzdb/xaC82OPnSSWGJV3KxeRvkxvNoU945wWewi56hQEYi6+rLZTUFX0O5gCjracgCaUFaDw
92LfBTxzWyBk7xhbUyXwRizQ6gCpkBAH0o3SK4aCgdnILoy/3bic0P1oLs2GBVz8OTIQTjXOyuMx
qTSMq1sPP6htf4AcK8jWvLIyVRXlH+VFGwSjjGqd0QoK2uaL/qewoPHKZhfAsrbJxqFhmzi5epTS
N8Y055F4SyL0AW8Ulw825ggTzfHZZGzJIKavlOQhsmpz1bwFp7OHEQTk/G58c/nYBp1e6Fu+lQBf
9M5PsPheTy3gj0jCgclAx45CyVGgodDq0ii8rreeVGIhjKz1HrMJv1bvVRYwuJgPrTy3wuel5N1o
GAwE/gfwAMRiJQ7+b3Bw6n9E0cIkeBFPgjPipKsYgRFPTtQ82GFpux7XIEGe/NrZcKqpXYihFEHW
t30+YMAzSSv0BImfhFUDPZwDNdLaYR9Xw9LRWtOf+4WXtS4n6zV2OrJcx/D1DWZN/WSNPrgdClxi
5G2MCImiJ5knNNNZ53FysUlh0j6D7z5ewbse8H7sBpAaIththtLXjo/1/mZ9oFltQK5rD79Ya313
7/Bbh6uKYYpzeyQQ7GrOkyXZFr3m5l6jA95vh9/N/Ia8s1aMRaEqv8hQPW0+qwObZXC0Xdiqd9Cp
dO/RdWddlxktx85K33j/9K47h+uYF1qRlzZGUcKU2UPSsnArpVE+lgCvTh8DKMIYLMk1qyQ2nx6t
9UK3nXo0uZCIn2O4Jy64ZC2JDxbkvDV0y2sT9+Ax/dJzUd/R3a1PVmTBe4FOz1Ygpef8bZ1QpmJS
C31OKq1J8UFBvKMG4TxkbnoHKJz4XoxS2NGElz4Ov3BQ2EVwB6fghbBj8CrQt9NyQ97PeFtoHw7S
ynzENQc+1mNxQfFRwVMgZT1S6c9bILlyaUTqnUiUjWmvWEI7NAC02lh07ZOp4Df18VryYI9A3s5l
c9lU+4V+BeXKjq7F6H5a+V+lDiJw6FUn2xHchfry8nfAloDNDqIubEcMkiHYIti8i0u0eZcA8gSL
eIK4/TETmgYJLh7aZFaugzoNG94rLzouoQ5q0Y82JlYMmGnU03x6dL/hl6yu81B8nG8T3N/hMdul
rnhlUocDfoCRzYoyNampA8U5Cct1hj5OFfbaQI3YCrBG4Kdf6T7tpQLCnoByYeYfahau1I6/Jn2s
I3cHudPcoCPRBRJYhmqUNwjJ+3IJzrvbXOlTjxM5jCv8WOsrBTa3fNpv/S+4nxC/4TILE7YfzEQ0
2ekQTgMSNRVsXjUvUG39CaagZmieZQ+5fzZ8LlhfaDCm0KPQ5A7VICMUD/klY3aH5RIfbIUJ5R4S
ogCc7tHI+60zzV/V+kFhHJ1irXc8tBQ3so6sJfEwdqfzJrkek/LE8qjM+oCMbuIhHJzjV/7KLJoo
PAK4bzzkzYj75FX+MzUGdGL0ax/Z0ADGy2qC7MmRgb7z3RJOKQqPWFoFbp6KCzWCdUg0bDf8IqX+
MpKthGAqpCCgeRRIyny0DCHTsYhAFzLd+/5yPMbC4V1Hw8bs7UPP+bZqHjjokULJtaJF+a9K6sP/
jr9WrWC91sC7bJdBrm1cr7hPoPigWUWXxxKnYDOOMH9wRpKK96Nj8XA1kA6yW2fb1Ys8ykonxMQI
pN2eM670QgR9PLBAYGig4FKatEl/wStPKOux/QYBYJeuVxzy4Yl0e6X4q4nAy5hGRRwzRU8vxwhg
xZpOxTdhEbzs4UfTQyjFEHiDnbA0O40h3kfzYFyL8V34ONug6OZRbj17W7T6bzT7n1YNJM3F/mJc
lXVFYEd/Q4U8oWYgiLVFefqXPE2Le5exB5oUjCBd0Hzhwb2LS8FD0MUYbLtDd7oP6yTOXN3mhgi0
ZtX7kiyhKdt8MJnjlgi1Dt7mmHxmHHjlCXRnZosKfSbog8+AYKGx64pn+Q16yyL+l70SKecWVk24
2hzGFzqg1aXJ2fKgxaU4TnW5c9EvKNPc684X7se4HCZ3roRji2HSuSmjyAzJL/s5FNUO6/tH1iww
h9IWLkTMU0HWOgHQCVJnliD9EEUFLBuwnoyLM/ktqtOQ5y3sU1ULATP1ex58fYXNLfHwYkD7dnl7
ys4rueS8I8t5q4hYhF3m+vbCnMxeLpm6xKHyQPnnlI0GvjIHBkC38Q1ZtEEng6vlZA8bzVKGqREz
2G5TihkIizNtAT7JPHPL/6PpvJpUx5Ig/IuIwJtXeYGQhBD2hUC0GuFpPPz6+ZK7G71zZ4fbOOmc
OlVZmVk0H9GrUWN/++/UqxMQpxf8RGeRMgHO59K0S2wiXIXuIGD8YIh6xBaEnudzBqUfFjJdT//v
RR9MLMvFhobB2v3QIz2rnmqnK861z6A0B9MliQIZYbAArk4QEaateaULZs3PwXqFdTrsaGD4JWYG
gKrfBt2PXXh3xvOqI/9hEz6dYGZ3OQDwazflNyOHlQp3gmGfk2CGrB4+hcqeofc7bvjIDIelJ7I8
9tmw7OlpMvPEOcn/xT5x2OUNGLhgck8Djk1mVSzxvs0PzqW7LLmHm11yG6znQ7r7OVFy16c1brR/
Da4BU6+OLHO5aqKRk6KEaWoXHBqazrJsHWJi09FgwZfQsda6NvbWL5dWa+AGNJED0VWvjixVNaaM
VQs6RcOYxgYrZSV/tQptQogiq9O0pDYJzZ0hE2xmS7Qu5IouFh0TFCs4WRonPLBu9B06Vmt27S3M
CtHQw1Ohv0WwhXLF1LzBZzbEFkJ1qf6p9K/R3h79wxjeVjDjDatRxeUNW6HuHvxqfUz4Xl6Dhfue
bTM+YjEBC2iylKrplYRlO96P9claowpjFttD5jswn2271FRMCno9WIPezVQ7zkJg8eWjJWPlabEx
m3gePC2IhZqPV6EC1jN1KzW64myMTigZJGw9mi1q3lwzZFDXOJ8IjWgFAMc4Tgv/wrjtkqPv+jdp
o1tD9sd3LtjzkkuQlSGLZWgd/hesiqpFmfsa1SfbwS2XWAJbIwwzvGqG0TF+5fhLcDmvvSvuII/Z
Jxao1mDOzQ6LYuIydRJSOSoGDvUvF2LX79BzIPMsKBYgOX9dgo8O7sAH++U3HI3MpVDVkLIbRw/1
2Fd1+AbU1/3ZZPKcwOVihm7KLKVXHEkAMkLdMSRng/PLLHsU6vSMyp4GbGBVz7chze/rw79wMMLg
fuv+sIhZWLpSGMEbDKXbhieW55aZkzq/VpB0PDdgdt4Mn9CNuazYrJ8RwAQWK3XnkuBcjAv027uY
2F70R+/hntoBH6R+yd/muoxYmvQeYAUFlkpl7a4zRjknlNTsGRfiIea+mtPZCUsYYL4sSvgeWpJe
D2EIKI3VZ3TbEaZIBg3JYwR9dARxoPN2ywSnp1Dj3uFxhs03MB5qI1ooB+8Ww5HFLgxzUv5bZ5Ws
0pEY+Zo4XMWicw5a/P+Rhg0fwdm3e/DUgfchgXTo17fwgBjec0RBNW6GYMijc+X0hRlKLbm1dlhE
H+aNbE99s54LS1+PSoyzwFkyYQeIGqzbS5cw5TRkrgTDU7iKRJiKvaz00UZifS3LlRvY3HA40L3U
/dPiuyC8OdEALHXxN9Oi1tEnAmJnxC1Zu8VkZ1KviM9IeQNw/em1iCVN894/MkT4NL9Ft+GBFXTx
EYyAH4DDMQyJligFgMwN+FgXD3RK8eOFR6VLG5qAggMl8yWuzqrDOaNf048KOnh+epOPx9042DWr
zJ1qrUQG24yP+NNTOtodHOtfEK+ZdIWkeB3qcTo4by4+XdYyV71DnYYDLCgARzCM7Lo5R8kipd35
xFY5vQ0G27+7+vl0QPOJ8N11CEGc92AfUfPdUMXJCpUGklOhpkswC++X3ZtTBHej5GzxhbkAEGlc
VCuoJiXnVeNhNr72TMm58N7qEl18umvU4ZKjHB0ovwwPxqWkX3DTdEZVQi6yWhAlrgF3jwMf2yZG
wXKeioevh3d5EVGVDjfd70VnhRy8Kro6PnjaWaG+GzC+O5KvTGtY+GW37D65WO8ueOq8Pv9+S5h0
N4uvfgwuaLOxEf3VdyZZ4TKxRkFkxljZY99bM3o8II6h3gU2/E/DYcAAngT2mc7b2quB4DQo66s4
mGjfqDeikdUlPgzqWX8epVvMR6KbL10vebTk+VUbv4+KhV1U7w1gRWMML11dhH+XAWJNkqpeEybU
740BhLq6r3o6ilvFM1oq6ADXsAHnX1SJVvsAyL5/He3bZPLF2UKnQGNitskBU6gRTxWKSDaExowQ
/wA5WrhIgP5ndLNKPg0r3NlsZCvF1aS4eeENB7cJZOFRo/ghGVrXIRS87/57dp3BP3iDkNea37QG
UQXdZOuACg6KM3EVVCTlDaRWWXON/ozNn7FtyD8MllT5JO4vSH/FrN0MsIYmvCBsZVUwlH87RkYu
uWoa6kALdaetQxNAtpFXeorz+5MhPZ+wQlFg1z58CqRF4XPh4ZV37D4aXShhIO7IbRn7nZDKiSBw
ADfa8A9kDOg0zFmO4Ru9yXkRYokiikJt8oBd4212IcSWNY6k7EDzXfIP6O9J8s5wks89pXlUR+4a
R1P6hvRLxOk9Sb+FdxwnzvhNdxfDEygJFj4b5F8drt9l0gqxYuMxoBA9l1RrpgI0h1NDcslqdynb
XCMIw+XdnwUGOCTM8qqZETzyvJGQa37Z3VWYnQikMr4TcILItKAmZqy/5mvTW4GxRx9RvAjAHigS
8RbDfLE8iJ+EYs0CZMD6ic4SXZLzDOt9VvU/EqCCuFi1ogpD/+5i/qunaIV3IB9qczFb0MWnGJoS
c91BMEWW1nxxcQ9ViWj1ihcjjEPM9lp/Q3LyxG3ly9/kItEOIh9G90XxAAt47ccr+XUqFPKrtHhI
YhFXbOjaqqIWj/U4qca1t8UqpcrlSq32k0XQsvUeB4EPhA31lRLV6VQ/vsGBRoXMq6/0giuRYbju
XBuaG4ccOcffSN+PYndnpFqHpDugXEIpxaKGDuy3Z7qlTaq0R0ZJjFUSyMGIKMzvqbWq/ig9U+cE
Xw4sBzolTGsgQF6Fjh8/uhjghYkcsrmFqsvw4dZUX6HZmvpH3y2CBQSpVD+drZmjACgDQF4yUeGh
WdIshrQGkOjpR+2yNSf1Afv45CXKkzpRFLS3Xp1+Mje9p060an/WB7k8vDvUXFyjHBQ2o9CHYo7L
Cd9QSkLkBcKJaAoTIqxEHGfvlXWuiGGNN6Uz1Bz2Cq/2huy6oUrABfXYcxOiMX6ztPBYhr0VeEWd
YaNNKzfykqn/QQEWsRDHzCRPBOnl8GMxo8lvXu7nOVvAyoH46rFPiDmTR/AX+nUig2C/jrZJDEuO
FiA26zdcl3hUHuu8GPI7I+EmENW+FDx6AiA1V8BAzpMjsTRTa1SEVlBpdhB/0nZAD62FrT6mbgNM
AtXwGxtUm/9M9C+B+mwILffv0FM8AMDUXY5YW5bfjl5hO/sD2Srj9dCZimrwj5KNRWaA/0oZFydJ
8dUWYYQk7938KqcLdhfQyne1bCPmUq2NOOFEU79yRb/0X+dSbp9Sy4H+QcWjoqb4eMEykpJuBkJC
naTClapbmEasJY2QkDoflSjXlCsDesAV28Dj6crrn9jiKfT7IHSCGB+Tf8CwUid9mH+SMX1vICEI
oEhFyDRYpRwSQEB7PinXlkakGiQVw4eDvsp0oF3SD2lGxXkV5CD0qYkFClGgKryOyBk8jQuw9t5c
p1O48S7+nPYGrRa9WcaNgYRx6H4AHsGWYGw9oGiB4n7J/XwCLR065j1RtcBDeqLrZ7qzLefMkdfg
IN7Gczo6n+AvYY5Yuo+Owx3opXrTYphpGwjF+ych/ycVYAfapIE8yB7U/E7t3X8hykUPsicbg/QG
XxEOUsJmkbqHummNp6UWcUzMVc+1GIsQhcskC3PVstHKoC6h3l+RRKO5gmdwnmQprXIiBv0p5HjE
6qzcJGg8JiXOXA7Yn3W+GYkMX2lxEMAZwMaU7dugE8JWZxe3tNRbZ/u2jS4M2prtcTbc9XjAf7Lw
e+V1d1d1NnzGl7nHvtMrj5vM/4Vt5xYZoNnWbjFsCl95UtTsCqdnQFvmRtLvvUepjgo1PP5g+Mxv
hXk52DSAQRY4W2uDKiNjG70TQZ6y4WAwj2zjnirOCbHCD0Ds9Rg0y70OBpEn61kSXRd3zAv8dw5T
7FTqjK68IfeSJrz/N7/nAFVuld/TgaIuyie79z9/dsHkcM7c7YRU4Tl7z1BEkSt0cHUx9zWuCzei
5JeBc+B5tB0xX9DGBnjp/j5Vc/p4iJwQAMDEIxmWSufGZpoQLCFW3wyOcMCfuIlmq5jQGAYhohH8
ld1WYxAioiXEGnkJgd1VjMRuTtETDp6kE7dttwENHn9mgB+kfKQ72wlSnoQRbkgZHh4APog+ctRe
mRY6YMSN8QQwvCySG2l4LhN48Rir9RonGYQ3Z/uGe7z2Nnmr7UDzXxDMSX0qFamz4mIocg9qnSrH
BUEIXcnqar2n9NFPgWjxIMv9GnLmuuGyt0mqc8oCSu/hDuOoL8fjDh+w5banb1q+5yeGL/lrGLe8
3fJ4c6N6C59bYslt1PZW3REsCqsZPA7GqoLhtXhP0OA5UqVEWMxIeHYkWJRxLPxPdhjAIjYfjDPz
S9M3/XAUmX+YifT++kwehQx0HRy6/H+ojeDn3DNowNxAevIg6xxX32HI9H2ALj1aY6LBfFC8S6iq
7EDHMd0EMGtkyPkKcVn+IO0keSE14xLKvSx80OWgo8Ef3Ci4Hwx1TZm6xJjZ1/DuYlY+FBeM9fW9
jDnXe5ODc7OvbwUttxfDj4z9sDVJE/a0tPRcPQzDCxzfAoz9Ygil+IbjF261f8D+kLHR5HDpB+hf
cT5RZF6xjjYg24bP4chZojHStJEpDy5fTADjqTntjZevHIlRXlt88WqE/m+8yxBjQLdSsrOhKTtc
oDZ+DarRFSwECRs03wLT9OJgCfYeX37b0QI7s98C/OXBGKhfuPtAgP7fxbowuQAMraBYBVRxmdXk
log3/wok4mS062K0RfZBFwFgkH5Q9/iLMjs40oeMrlP2PLgj2600FmTeSFjfMYBz/QcLcfb60Vv7
pRGiG3fCReJMMekEHpmIcHcIBvc/628FzZBUbh1IMl1a3mcotgyYugzn5X6EVdzBzmYbToA4CMwR
WuNCvEe80PNbJ7pT3FGi+d7p9JrLeyIPMmr8z5epyFFERsC2IsPtEUwek/pM8XG7sJDWkOKwwrjD
0ZYRE6zm3m5wjtCsLA/caW7K1XyPxE87kes2YWtZmsGBf0KvdrL0TMa1kuldc9ACzh2mCOUXEJ5B
OX+PdPSL0YSnXwFUodrujFP/c4TEmIzX3qNyLzgnOaMmlUy9UP0wGC19+CWa9gt3wZCcJ/MG8Juk
0GMM7j91OlkUZ4uaSqUxcPa/KaVP607/A59xv2Juw4tIRvYmfWNa4qN6OQVH5jBClxiKG6fEuMha
5tqvphd4wiQKVRiM1RuPyHXyavL6ooN3lmgcEciIpCS7UXIJeFi4G5DNbrotaBqFj0p80MBJy1HV
jtdJxX9jYsbE6AueK84dK1UsVDEMeUXvZPyAc39hbszm94mir/2dCkFh3Il2SwwvIBNUQeUg7AX1
NgO9m8wALyPQdjFxpc5k8nSpV0urYSlohuWk5T9xnhp2Dxag1fHDNMI/v9F9QqW+MuvxMcab+Yu8
glCd3dvdwiM2Oo+e3nFUsrDVwZaWtuy2exycB23vSgoFWtMu47xveidtg8uosMHYRjgC9deMsy3y
xuw6KTAxwoW2Gl7AkSVAB5JOOvHTg1uzQzCDGRgjpOXbK/S0RH86A5Zzd9GxaeIDDOyPoxQm8Xil
242YuTunSbvRfdAByHbZX695MWspsGUPxuy9Ww4Zuw3z5QkSB7f797Z6484PHA7S8YphyD6r8l9K
ammd53GYIpY8TzGjqQ4+vMnwiAU4njVRpwJVttot0iKtoo2CANKtDnZ4xHGYYD3DSPSTsVkigLg+
rTqTR+Z32mb9GhDkfDO+nbHTbfefOPGVQ/gCbbuZNMOti+vR1l7Dynb2c+CsaIcXFlfWkFlfM1nf
jJ8aFuRj+eWAL/TpKWUMPvrBOAX3ODk0L8zfG0C1eTc6AY1X7Hy32M41UpbRBDQn3fYB7uRDd4bS
IG7idE7LOblk0DNoRAHIEYKdft9r2y3k3wnYaTP8wVn12D27oN3WLyZ8LU4JSHP7bnUC40Gc5EUi
MyrGDnnfuUcfDKcAgrPG7G/yQPeVNGjTA7O65bazofImvvJSneDq1ZFijHAoqPl30GQ+dOHWOcL7
Hb7z6AiszMg5eubDjo8VNnBrk8VTBi6Wk/RmCJOqgdqX4E0Fx9l4t+49fHUQXGEy3GECr3GpAXid
wPkwDArLFL6j14zhQy2ZKZint9msuahg6dwC8VSt9/gQ3isuLjHcpzvuWIiVnr17KdgxYI5Pd7EP
vyduBO5ZZsOrY5iy/d0DoTN/FCHrmGYSIp91215Dz19YV4iJgBMoKCEfh89TUAzXjETcDg9zFXIb
+mUQh9tMe91nHGpv8IAHG82sl3uLH6VR35F6MEIoNptA1Hl7BssQMUDN2/Ve/oLeskc2ZZwGVzPV
wQXTAPHIdWt/Z/k+vBr+QsTCfDtkyPtaQ+1JVLfsw6p9HG6gDmQAXkUs00jEYuw96EEavLfr3YYt
DyrbDM8bSjUK7iiD5slZ4ZKD+VFGfaERKNjYmG09RyXY2iuD2xvWwt2m9fE9OSUtlIt/bjTPAKKP
VgNE8+RSrlHsPcGfD998X4fMYbDr8rEOo1umspnacRGQZIALQFniANgYT3quQBV8GVAPOd+oUPBT
WKiPIGo2zXRHrb+bX4ZkijQB6beB/AgNI0kDftZwKfHaRPVn3zgR4DNz6BgmRl4Q1bx3H9oGhGzm
VVJNZlWz7WYVnsu0MuCjTR9+C5dGG0QCIgacPV8mBLZOxeR2Rq8PI7jU9karYjVjhNxf8EYq+JSr
iVl1fIdJdPvZUD0QzJmrSWRFK9dr9Z7JO4SWLTsxk3ltj+D1LV6pdpjyuVRWoroYHA5oULJsqaVI
a6jq/tW8HW7K3pc2YQ52iSiE45UfEpwmwCPpHT993o5Z9F9pzx0iDhdDgFKLcPT1mso6PWoV0FDV
gC/AyY/zwNNbJWPJeJAnCTmieHsDWKN8lLnUw/9YxYwxXfEaaBXmyPRty4OyzkCCOqIE/VukOGh1
q7YLBQEDAJoVdMhxuITmL2ovdWFQ5xDmanPscRaFndXZF+/8gSNpnbQvPY2/srRIfpvi19Xx74JS
YN8IXc/uFQL7i477w9osD+MmVscvR+rDPcYoex8qdldRGZydKV1wudoDbLOW9W5l+mHOXYPT74P/
YxELG39/r8cZypG47yDCfJ24wl8LNitTML/g6t2CMhdC6m2pIZ+sMZbOYSC3B/VMlGlkXHgRl9tu
G+RNXljYYpCACk4QW0PUHag989sQ1g45ldVcUts2u9MIwEPUocpEATjd9XTlWYNKYZTDylC2xkfT
JcXyqXdGQ6HHld1C3lnqhr0svWXHaXlq4LDNvANMQPYeXAdeWglO/cvMF3iWkQKz2EDKHYp8BJFH
+XhlWZ88GMmbTAlgSOvpfKEDh86V98YkAHBGVTiQEdCYjp9vu22egchh2u0QJe7cU8CFBwiu72dX
JtWweIF8mHHY1wcUN12jYXfs+ntf/gVYVzXoPiAYtfgKXEL9+mmU6hl0lURS+EcmV/LHPHDM+GgO
Cg7VJgV1TmBWU+MHLp/iH2rKtbRTjM1ZKOO70ecqgk9grMRYN4C8HPNyh0XegEsqoC/ZE+ek0rhk
oFhwK/n8wlSFzzDMkK3h0E4TXoNgFqTua/6g2sPMiQkEuC9EJSU48g8BqbAY5Hf2T64t1ojyfJU0
Oe4fOCeRLEocJhUWlQZ5p8T0sgmSGCRlNCDYAC0oyWFlHyHQuVAJBpepmUIaol6l3kLWopw1j0t8
+H/P5T0AhlQQqDZDNxgLEAeyLiLVcLRovrUN4JLeTeUc7F3GowSr54yBmEE4/MWYtEcPH9KSpLWz
Jt1hMe0paVcA6lRHyMapt4EWIWnIfYXp5KgFAFWgrFjUOFJ7CBDj6Zip2uQHWE7hNAKVejQKUZFW
mR1ztUpzNZ8Zj8GQEFRRtKVRVRkzWuM4pcDvaeDV9erC+Fyd0MypndTkspE2U4pNIDNISAwjE62B
YLn6EDHbRGSsiislZgWBsXr61ag22PmtwXkMgcXBi3oqj5cdOkkpH2OMjblyQEXA1wdjMgs1edQb
zZijxSAq+zoTWSTRGtHWlb1T7gcGPPo2jlphhY9ZdjoYzh9pMcIyEAMr4cKKl3aGJQmkA2UQbA9O
JHGC7tLbXhAPD6H0YxJMcaxFhcW2FLwk/QknoE4eYDnANkmsaYhI5aQLOXui6GxQcquLQeHIcmHc
IIAyMHn7W8ErEBEz8BVxsc2bJMCmfHR2sjZkw45Fb28aRgKZW0rqhDJeW0bOYZz+7mLGp2ExY4Kt
dRm7i+Es3NohRA1sZrSADzT/nm5Dwj8oKBZdEzr9L7xVH/aoofqI32Fo7WWCbRzMWazAcFHos+2Q
LbEwKXUFGfBKPO6ugKOpuLiq0HdJB7i62C5we3c+9RPHtyo9CKVOspJhGeM4ZtRLaGE59KDhaSYc
kESyoZCUfkSbNgkmtOHdo2fTNR5pPhIS1RVTCT1c6uiZ4CPwVbbA5SQ8ZPNjCneaHi+UPfUvuBoV
4+kKbARC2pBnbDiEE2wycKUC0UCiATZQGbgAvE+oAWuzZoZD2AMwFicrtoCa2OPTaqWZYAkAp0/0
S+PkhUHf05ynMOfJ7UDmdSQrKsPoQ/ibluFT8u4JOA3R0eMWsFHdGcyYmjlj+zAOiIsm5oOsAW1z
pFnPEDKXy7MB6YUhgTo3uM1odvCS54Ymytfw+Y9wnaPRhDEIUIbhRGffoUcDVO2TTCTA+gJJZwBP
vJPkrA0Tg2+FL9Id2hmcGT8Y4xDvv64St15+68aJvFewLzLQZdBt58zSl0HemAgKP/nwN4teB2oa
KlyYLk1WhIJNB2Cl1m/0WcqgSTwy0h0jHMfxy4yxA+DqfpFHIgn2QqjyrDZJ8cpGrsLrVrriCTK5
RZO/qsEyiBvAbQoHK3bBFvyZaW5zUO95WVr/5GZUcRSn50FnCZ2oEYDDCxOeYFHf5FOWnYCNP/kL
ZkC2xqzSpZz3AwC+bZRNpYrgsBP4tUbSl8dHI1xWDSbLLBk7wfMuHkE5Rcpgp/6KQSP0xWQ1sOuL
8v6BNsxXltJJvVuZ5rGfIPqwUnFm4qN9GDsWJzrieiSfrDZ1rPgOvCh0NVGP9uANRKo0CBLWoAyC
CFVg8LpCHMDsMXqnRcZeYAtdzBJvlrT4D+LBLeskwPKKR82AJe+9OSJk+wDljH0Hcs9Hy/MY4449
F0kBxxGR1Cc24OsBN2vNAQrlkY+r3OPDsc7FkNdrwReZBFzRBvbKWjOzwI71kWSbBL0zlI8SdD6Y
VRxwdEV8Pj9HeDG9wkRm8oLIiAT5JuA1Qm601TM9H2wf2qqPq4cxajIA6vGlyNbUXxWbQPFeVGBC
dQAIcMNJOFxMbSI5B9PqCR3vELT60lV/3CaU3BWHiuYZ6G94dS0zBUG8vtAWSvB1HkHNKnpVCJKo
nxkfAcJO1Kt5ydeg0CWdH2HQ5Yom/oTf8Uq4NG14OMu2o/MtwJpgBTOY5vmUbs6B/i2XG/Sx4vJ+
8PZtLLCAhxeeYMiOozGNe1YD6w2eLXGNwXTiVTMZxuSI5mR+xtuWgXcOLh+zpERAEgwZM9vthXGm
rMCAjOQwxVc5w3ZV3iPxIji3MQGUGW4hbzUdggKwsAVpCFYXr6bBi3kuJZ9wVuVViY98xwi+Y6K4
QxPXTZOEcJMksJnNJKXQ8Ul6ID74SYPDmmFFHOUWEf6AjRlrg4207nNwrvgCGKdxNs8mk4Sx3MHX
2Yu6a+G0A5ejRUJPkeu0EXgL/1tt5bL5VzpXp/BVTyuDFe5iiZhwm+UWdLGlgSzCddoZ1LpMzsOF
j4hFcKXrw3FIA1M6RV0iwhn56tUAZE7cZGLP5BfEd4pXlx6/r9O4CZlFtWLkjLWlZeOCmbPjw9Wu
3g1uqvYyXpE2PW2QY+VOCFhT9iqjvHyNr24ZmrjJABwcTNiYSops5rDysrC8jPBmM6N64nJbFWUI
VTfIshUCadVpQ1RklRlPg0CtUREt0gY4d7zCASz5bLDMOUdkbMR6nSkBejo194WxAeTwPkTSwC3X
LHgGTSDDciRCOaL9IWaBtB4lgpS/wNVaYVqBcyr9XWx2Ku4fWeWGRVP81i1wYDIHRm2CActCE9L8
oOqvbnD7pcvMadwoaonkoJNZjkpHPEzoNvFEjDhQ0akncSP50GP4RLjNtO7zpBazGrBVDdcYW8iJ
jvfEVAatH6uWHbf7brr7iLqHFPbUZ3szj4Xox5oox2WJw9GRcEJ9bUSLTK4YkHRVoNB9QLmlhrE4
DlWk9rrH9BM5G8mLdfYgjk5uk02+uash+XVN41lqlu9c4hzfZ8f0x+qThCPJsUQLMWA0S/njQsKr
KOi+fxI2vNIZWGgTFe4Kr+pOUB8we0nIN3gDbZ7EtUNYvN0CD/WLQcpH0FFKy24hoMmaomalScz8
AbINQVQ7y8QfgWQZnplQAY4AolawHP56YQA7WJMOaFwsV9BMVACIY6E4zJbiskqhDkJGGUD0+NBK
ms1wrNSyV6qkibydsAoTnjKDcEuUYHXIy6+K9RKdRARZ3BlVBtQBfSWeNbUsxQTYTzSJVEOqjA1c
NgB654/fIKMALNh+Dxjp/HUGiQvxrwhBqO7SQtIIDz72v36Peqwij7x8P2Eb8zEgr9CC1ZGymvA1
tPNUsrGxOKaUnbP8sDeyQ3M0hBiLN/YMfQdpNdCjnzD5yCaJGjLtbjg0q87LhpzewAoM4m7OCVmY
eh8DsrnLXlUsz6j9Ho5k1WXkCn5C5kTGevbi2YOdFS6J7RuH3A8zee6Z+JPY9S+XOIYgtcApE/tE
eaWQJpFpQAXX4qcJzc83XQaSQPreFRQiJ6MP1aO0a5TJhhsifAhZAg8OzmnbCBQoqVkj8SKYOsrf
2CFW0ig719bvcGdVJWW5EhC/8eiB6QPfgFBGxLftcOh548EgJGrEPEYMTHS1qGSeNBDagdz1KmXG
CUFN4km0iVJ9UPnf4mAR0OSlx5C+Y2jljnyazz36n+qns0rMFdEd2vzNntSHDNyda0fLHQ13R1rg
//Jw/SmbOGWiwi/4im7s6og1oU27K9KcnkpJzhnW8b+ev8pbbjlWXHQQNwyiRuNOg19URRB3Bo59
81COpzwnt7TF3hzZy+3BYmVwAHIMI9P+cjEpr2EeCMZ4QwIkfycRZ824E20KBRxFRjH2z+RLBtwJ
jDZnTKgpw2+j9dxHvvGhJuPYDulfAawcXEolbEnXb3eHfUi+21nXHE0fbknXUScrpoIBq0g12t2C
bCIvJnxMBEU5spAmdJthrTBeP38JlJS5PhTktZRGPCaJVVe9lrNVJ2xZVB8mp8m8xFeliJAz7Bnl
p46Ku9GgDXFiGgcjLUApeAkIJtHpt4wOt4VpN4a4GvyyCZ8YfyxcEQNJrLipj66SlZVMl/GXJaFR
F01wo078mnWL/STuDBQoVOs/Z6UR6bS88rCm0UGMYqG6OtAV6ja6aLbhpbyZd2fVp/i7gMszuxGV
pf3nV521uRztu9hcq6l1gKOyT7BQwGcQU24cixYBiwgWko5NgEzELlCtB0d4Y8ySh5JQmCnSGz6W
8gntQNh/fAehNPSF87hKv2tDRtOEJDGhxQvHhC+4508cnxg6KhyCfMZwQQzkvsca+aZomkEH3iQS
iJAVSkSqwpKdOvTE8PUvXFi+TjPhwk/hGsJEZS2tpVIk4fDwAZs2oxpVwnB2IK0V/xygmxGTRn36
F0yaBuUdjH0mn0t5JSqP9sifReaO1ZJYKNQf7F0Y3j8/P1vzB8cUmikcRShgqsxCrW5QR8xQmjjQ
E+opaUJPkE0Sr2bhsvs7qIdt6O/d5YvNA+WharT2FrqLvlrIKmRJXt3nmrBcj5WOwYij6AlWamGX
b5Rbe4FON484gNJHic7DgAaE/6IMvgHosUViKDG06gegXWESdIT9MiiZC9IezDM0rmts04A6Tzwi
dwqBmhEOuDoNIKSRZvLaN6jK2+XdWvkZEG4cJWs3KXEC4b77Ngpdmwlij7VJjtMCwaEecNiu35Rd
FW9IetlgqOfW9MzZ02J+X2Cav7aNIaCykQkiGOVwOiBJl6UewTZtvh4trL9RxaLSIMUTRMBHPSFj
ZgrJ9Aom2ADEZqw7iwjrrwBvAn8FsEa/wDyS7XMPo1qDkmgXaMQPedOIjtQP80Xh1xvbUGgB79pt
2IqSsllP56fl3I+NdqSUh4NGE9t2YX3QprTXlpL2R0PkNJ2Ywz52ZT6JNZSTJ4qE5KQtxIB+1hEc
mbgrvcGZ7GzFY5mDQsvl23dUlLoB4I+LNtQkdoJmKQ+CtZKVZ88b57UqrvYPVD9uLOiBvfjpEKo4
VAkCZ3rSYEGMVEikySANSXgFaWP0Z93oLDtLjSNYYE8nI3YqiQo+3ZGKUTkvCvQkOGZQrlgRO1wt
BG+2cI882Df0EJ2p0FYlrdQuUa17DVwaN1cdY3erxfGQ+P05Yw5tRq9qy8mMXz4kH3QD5oQDOpXF
6XPZ7grzr3NwkeeEbYORjZDkv0XPipYb0jDk+JDnVF2Je+8mWQ7IJ5wpfRjGPEMkZseMBLBo5tDk
h7s8BPU9LWkYXZdPPGGU/MtkME2TANbEAnESU6FJj7myaVVAaIujOeoreQdgq2P5KeVlC4p/zV2n
NRc2EMrFeW1Vxueww81bJ7vkEWTrbgZYTL90KHScotZIsBAffufbjlugzl+gkLOfek3GKeI5gPLz
T4S+k6LmMmHEJ2he6ke8ECRcWDDcNr0S8Q9ibY0TiCDAsEO+N20WM4myxMcRAeYxMUUOg4w2ZgPd
8b8ssUvEHX0BFEfIbd0syQXBAjdiURmdlg7sXwKe+v5lm6LoZnCHVYVE/f7THJfbiDLUiaGFRbw9
95IIITr7/G1yBAu3U93InZWhDKP8YJW8REmHww8owmXGXwbCMQ3eFismjSckJHBgnFSxIVZujHdn
nIuvqPJi5e+4AwFRj1pW6TgVkrgolx5i74fnujFyKtx/AUIaajbQJlHvaNGXfKdhrMcKQVnyZ0mX
pJCeQI9ma0EYf1n47ySsTAtw4MpdkX2x6OOY29FrpGl1tiwWVerHfsvoDXq6I8LXBGcCCn5bCXC7
7I6Br0WU0RQ7eBkXqsG8qHmLW1M3ZamlY/nMYdZrWENritkVs622/r1b8lrG/OFw1ebpw8uRxarQ
ByLr1nkbd4meG30HXQaYjGjXTRCQlzPNMj5lG0ilyBDysbGCyQwPoxU24rhSAO4p0kN8fYBDolwh
TqweZjHWLA1u487ON8Rjw5dhoc9NmFp8De4tVXgbChA5M/ucs2h0+0ZRDgfwdWVA3Mk3DobYbqxy
AC5cefh6dCXQ6QLjUfD6XJGK40ghSMmTkDPQBHLmU03YYTc8GFzE5agi7wZaZJkgHAfvifpNVx1R
jDSSWJAZOBBxWQ8tXM6SK206JbdXk2uiMbtrgFW+QLIx/DjxUzdWORqLbjAwtYjrLLwgtFHjAYdS
CFJdPdhjgW12F+ATJvn5jiBRN1pzZJN3Bzog3kMcfj3cFDnHaJ+C2XGskl6OdpwasGFl801dtyO7
S4in4PKIuefrvdN6m0VbOVDH2LasMxu/f8K5jPTqzWJ7dXGH6pZRlpFjMC8updikX0E6uydGK3Oq
/HLTL9YfhlaS8ONVJcIX7vFs2KoP06xjttCggReDQS48nZFX6zkVREahbTWHEnVzj4C7W5w8J39p
K/OISiNmpDKwXHLSw3SLVNc87M3i98LccJSABd8WqIf5Jdzai3mYPu/GBeHx030l6wBl37F3M94Y
dxWIW4s3CUcNH3R6Kw5Ox6E+hxzk/qY0V8oRgtjKoMapUZ5+zNKg456BZJq8YwNAg4NbTpoF9csb
1YwIH+1BCxrUNZQMQK1+vLsmp6Z5q5hgjJC3Osl6VMemB5ZgzXiiPiO9JPqpUpIC5ElKB8sLvmBK
Z3xB04JqG1kPAxDIadCxnqzjBM3sIoX8X+/XCgf8pSqfNCJeiKrVWABPjTphB1rth64vb1d6M+vv
gTwUmT2pzoQbHv4b1dE3HmVyTMoNidqhsPAuiAvcKqnZTzXeZ7xy0qKc8s64gZSAfwEByo/+brSB
iQ6DDSrZmjy1ewb2dWqcI/V2sLGf5+RBysPUPh2bi/G6l73tl7XmvPgLYShzLj/Q6mzYN+e7uWmb
BYsEZRhypEX/MK6+7UbbPTIsz5xH8NiQUnAG/E9ohDwBJ3DHk3pycPJI0H7npzD7SyKSEMAE5zwE
btMaZ+u0Roxhv1HUwSPXFAQ2jBy58g4I7dfYDYlt0MCDIabmoySH9g+acj7izfC2+wz2nRIUDxoD
qo6T4U+bfbR/Tl6HYEmhn9MfiZvPbqnD2X5ffZCJdhiP8CVGzmscwAfK+BTonOAvh7syA/SS5s+q
nk6qcAUP0f1u5KCQEz+t9UhOOdUOU7gZMfXIhKte5sg+l8x73qSQB5DkZCfRfBp/a5TJ5mnwR8Ma
31xz9/R2dJu/RvqUW9RyvVqL3y+G34efO/uR5dAA2ySwmuKq1sgbAGzjpPuqmR7OHAdUjA+rriLx
4M3fR/tNL1BjJpr5cYuljPUJxE/EUwYnlxbisN4aeWILNhEspsH45F0s6DzTAxHTL9fo4TmwA3ol
b4r2j943DkJzC9ri3h4/NDxVAZB2eKKQV44ZbES8dfo4OiLfo1GfCt3FQnDhw0C9O+R/57EB+nk9
mm4zAks0HMRyMN19ukFs03oEEWlMR7N7Nj50ClJwg8mhBo5eJtAarV9yKvw140Yfqbh5OgGSsRTe
0eSG8pWEFxbiYhqWBqdgghs3zRv8VEHhrOC9gu+4nNioiNsyZPb9GrmjkSdM6aBJWJPVb2HVDkpW
7MokbRMEsgZeDVAvUsL9seZjfOxXYPMB25Jr+MehD6O+pOOPQ/aP5jwWzgjLGAK9P3NAQbEH9DuR
XnJHN8aBcJyK5kCJMDwN/PMZhxt2anIw31GMABk/0AnuFteZmsRyXgOQqn9nTSN0yzsKgHHeCrmi
ysxMppHQauIIpdaPeBFh4EA7EJApxDAxQE5l1LIaZ1sDA2RQdX/dDsjDhCpEL5+s472HTgCs/K+J
eSiR8jhCaB4HdFnMoiF3v3CeGEi4EgJfC2+shlXDO7X/l//ryRXU8IRD0AAhIpcZqh+FAkLC4m3W
Ss7taqOqRBQ5KLbWTx+vDAyRrWmtwog7TbsLIUhsI/I6brjaQFzH4zBtcvzCohFTo7La+lW3OqjU
rPUYT6jTGPY+EfwXliCLrBK1KZiDtztmeKbr9ftzPCONQw54L0eFDfguPq5n03fKhTmdp3zTPL82
zG2G4Wx9yGn2+WVgz8GecCSSubVG+eLoxO+fS0EiQRsQ80o4up2KDWy+Mcr/uCk7CoHs4F2GrIsN
ZuQYC+9n5XGV3n3yhNDGFbjCZhFRrt4tw8PEzL5bbObssj8LVilZDHam8dON+mUYhz+w9vZ/BtZI
4zvyzenfeMrQRqUipQj+FTBI6WT5NVjrXBlKrPsYf5Id3S36LFaMP4ARNp3QYP8Rx4D8uAK1kskQ
dcM6Bv2s47AQ8vtsUnMpUwl/RHkbxshl+FaWTyKlyBbNv+rZ6mBKIYTxFxNPWcIEIGA2jV5BCMBR
wsKTsgRThZ5+vY+t98/f5IePLMzf99/AZQZLhTek+UyWT6vk1E+SEvgW2SBh2SQ+HjykrMAhAGHj
aNfLmt22y4RjUnJ+5N2z9XutQtzLRj1mJhFYUvlsbjvcfmNe3xsR6RrQB2u+SrRv3v6j6by2VNWW
MPxEjiFiwFtyMGL2xmFEQSWIIj79/qrXObt3XqttBeacVX/9YdioBlIYweleDbDKYa6Qcecbw4Ha
wyhzpZUiCME0pzkDRznL3nuQqo9I1ANx5mY8QW1MpV1dfkc5Jg5cWorszC24uE079ai+0FLSPh8o
LpyQAxbTqHKyHUbhWhu+aiPgSbUhZXHPfjbualyjBxWZLBwEOgmbDQZ+tL48hxCkbME1OYtDzO9J
WXXRh53RdUB8hsJmwETkLpJoDryssPwpLzaMV3puG7+1IK+NwrwPgJEox8fEcs2p481qOiTfbw4N
ZoevlICZNc3BiiFBgbkjYOScnaz/M5l33hZhtJ0zjOWhI8CUlrWvs5KW6iTRlz0M/kyp8ym60Zee
vSpnU6O2M45//JQj7xgRBCgTfkaNB2RYXPNkoon8m/0zUwwk9HbXqELGEKMtDeYQSJpVhzgEM9Yx
5zHV21bFPssYZ7RNH1qOK48k3r/xKb0Z1xNotWwhyzuQzQU+Y6EHrKSGnbo7FJkEZN69gPPq1Iqw
4vVUPPTX6wcK4WK+7QssJJ82VqjreRCRd0H59MnyxUqugZ0XL7ZOiZo9EXYIT6tDfq+9Vu2hp7jh
/elpMZXZFxhfTGM5QTMkWU+PEPDCXFYPZN+ci/eHsR423BIDhxClOXPbMexAZ1i2DXqUAsa5Wpqn
oOaJhgBYWwppvbNlajXDmqUeG891fNOXpMoKVX2JsA5Gi8iBImK1zd+TzoKdHoLrPRAepTf+sawY
/3UMqDrqVPEdp7sRyT81EBAUN4YzGkX5B32iZx/izXBbRPD2VRumHAxWb9mmd+JReXHQUogEDar0
82+UrpXagI8LitWkUYhXsiAQMGzZNoDECv6WL8VVYnvwUPMIp0GkTjSg/cP7X20hJBLyUzhzYIP+
7Tekmbb8oY3h8BH+yFHa4isTGXqIMwiIHBkQ0tKfNVz+ZpURcPHkor577JXBY7R9vsxtx2VGQRfD
gcx+MbbH9FhBhqNGjezQZXeEx00LLtWdEhzjFegv/lgNZ2+QEhqZ7hX7rRU+A7kHxYCmQa9uI+DM
15qtaH5QTV4dBwWa8LnY/f6Durbmp3Q+a25iC1tEtkfdgRjM58V/dACN6G6uJiGkvGE8J6Wht8iR
/Oi4iP39Vnv9xB7SsA8yehR5eBNZCTYwb0qdDlgOE2V6/g6jNVzqAo+lDQOYn/w0x/MvAWSkbLw3
ExF9HR2aEXAzfPsnzRPjdLEzgdOloF29b8aYMYR/wZDYybzNlVNPzjj9LwoDO4zT43AhWJr8Qt8S
d6rRqDDgfid2rEME6TsVnZugGUid+BHoWXwXoYO7eI19bZ3pm2eOKSZvWpky4enOQyrqxKKk6w6s
gWKQi+YTnGqJXGGW2r6lrQlsFQeUyLwvXi/jMmvynyP8O9Tln8nH13LqMaEcABCbQXaxRtwebOMh
ogfthCh4LGP9aeWyHO53w3Rv9nOR8zLufVs65QL+NiR6p9YXnym5CG2j83S0fH7HZbRTwAKqebQ2
0q0Jj4+6mAHRzp7QTT9137hasykm3tMnBiUXP7dHFRSbFIDD00BZ8WV60NVitcoQ4c7oSFPEh2T9
GtQtXRXTEEh3JHseo60IxhZihiQ/pxaNPEOzl2lZO71qG1a5pH89rjqWF17Z4GBG8XBhLkfGHnlP
K1gfVF03w2qt8yuHUIso8ElP8b57Ctg+2YJmhGX3D/rHVeDrx9oaGItFYi9aehb2nXa9Sn+rntP8
BpvPBdZfh4kFGAqbOghZtRa4DNWVA15QLHPP8hftA0j0HuKBhJBjVL/S9Gv4NzXrmak94rlSdvTg
wMywsICFW7phyBOjuQsr/+iba27gzmL5BJbkY4tnYpVHYL2WegGguVLqOk+QUpaUwwF1wy4QtsMe
BqDrFzxuES3RUVX8NxRtjCWNok1aZv61xVVaxqXQDjx49x59LN68PMc9/FAtI2W8eZvA3PJRaTku
TiU+N8DP/JYbSfbA17yCEWPUYPSn9+V7DRDSuZv1HeIDpMXaHaAVbOdmUxtDUCifkw90SKiHkdXq
YnKlPlBzDj70nVje17oCuycmFN5rtphFaSN1mx/r8fPm9VBBjzukGn8JtABheEdmM3dLYkOhiZRG
EwVq4Se592v6/NlbtLvWM/ZfX1vFbJeRIzTryKQBTCD1vSZJw0GXiezsHihf6zut8QOCv323+AkZ
8JhiYorcxljiZb9tblQDO1yexHW9Zk76mF/d37AOlCnvtr9gwXa2byxUAf2Xu3HGX19+L9QWfEHn
L9V4rWEf8QnzY45Tv55D/zdVqxo0WEaFkxFIgDyoy+EHiQDkE/OiYXN1fxNGOFamESjUD6voL66D
0Ch4sO+jz0VMlhPvuez44ioseqLbpOHwiLCx8LPha4yEUySztGbQhJnUxJiu6V79JnKoPhn2HU8L
b2MMgdyXG5kUbtgBdd2PUzr42C5us8rNcOtpuvRuNo5Uw8T8QBXAbeXvK7YWvFcGCEyexHobChKj
aeicg2sY45UkqauMZqmLBooT7ztO6vWxHpYEi+yfMdCkN7kvtIiQ6jtVInub3qC1Q2A6yzjSF+w5
RElLWDQC+GnXafq7YXvKzjigALob9J0yCEchvHgOscZ33uPSuVuYE8+eTjSmzzCIWSewvo/5kCip
dsae6yiRsapkdtnNYzTHEFkS/EBIZUYJJAaizWK2NSaMeGTDOioYgDHxhn10UuFzA3fxV8fUrJ31
HIqp0t1PbXyRTy/I4V09xvDqg1GXdlRrvaDnX3fEEBshpdomWOYFV/drraQvBTaHZqgg3kbCPcRh
cstT5hOnyB40k9yTpgLFgFERq/SNfVdhrb7EJGLzPH0dgdIKxGUe0mjKii/XkJE3JDgHUHEB8LUj
wfE3em8KEPsPixCOlyGnQK0bK8px4VVSI4yBcsW1UWjcshlK7GIExolzpDqML0gBeeCzDoX1htNn
maVBk7Av5ILlnd7/s+xPmc7i4EQAiZXMu+vdHR7QAONtnLs6Og0yVX92oAznGBdgrnVWXD1sepi2
OYSh+vv93b09jdFrjlZ8MNrvP1NcJ5DT9ZMRpimor1CNBbh33y9UOdS+TSy39bdYXNnPc+0SYM6J
xA2K/UWem6NPl6cc7oCVjxhEMUfbUAUxgLnO1PKvzj+rnJU4tjjAq52a+oNFAJlGzDL4HTdGgMzW
C15Vr1CwVHsWJcJp1P7Q91PrkDNW+gwUu/M2AB7X3cVJmWTDq1XB88APN3YQZNEnNoDIcrz2ZhIX
j+3rKzd6664vxRj6bP87EEdSLFVqkY34osgQVUsbVHRaM6ZRUHR21o1xCoixVtG9WkoflKbdM1Jk
FyhLhsoMqZ9fTdvDnDT4r327dLf8QLyP/N5AlCSlrYyv7DI8uvrytMQEiS+xD6tYT21GlIQU/Q1T
xf0KMySziSSwQdW2lBJJDMvkS/BVyb2SQlOmssm+5Sd7+a/C/B4JyhVvSEpClIH0oACx1OgU77JA
5FtbYLk+Y2VHJt0U4nY8aE3zS42gszaeA/mw3SnHddgDaDn9vC7wZdfI6EPQ54TZ5De4n7DtIauM
aSql6512LMaYZ/t38ZgX9W0aQAy4gFLpH0RMD31OyE8iaxKZwhmkj2OJolZcGajaaYgZvZNXs3Js
/DjkvoqyqBrezfkBf1HRpbwd+brBBeIvtN3/+0aGhoUXz+N5MeCKLJO9si4Rj1wNGfKWAKyYtCFh
YgDxnUWMiGxe7x/1ardBQv5YcLSS381vS8LoadK7H1gSsLxoBlttsB3srPmYWLFAsBAJUj66bj6D
DFFSZjfAN/WBpVO0UF0yPxAzHxooceEQukGfBSyc3PsVFg1zB9KeMvzGcEs5fz9OHcrdEzYLOTG4
7HRo/GDA2p/TjZ8LCulLWLTgBREKQ5uyQWBZRpdOYhVjKb5lLl/B7RBmx/YHkAguIp7iP1u0WLSh
OJEgMcM9SyzapM/kdZeQhdgg8cYTE+nE5ughdUCFSiBnBcm97K9NQGXknKgwdyPksVhN973a5Uji
SzbXTHzrKI+vmMk1WPXVir2dnb1LyqeYkecWuJfZdlr+bZTs2yw6mW2jQaAzhACPOQ18CvpzkkYx
l0kX6YK4kU08A1L85y2C1Cm3EK2t2hb6IL8KOwMxbrkFby4/DyZIAUuXusPoj9NldYn2nVnbSfTy
qKJYDuQ5Xw/FSn3+g56XvQxU3yPJk+xbJV3dga3585cToOJ2wG79CyPCBsCdOoZSGCmzA/RSbxeX
B9nKIbd02IlrlamOJAnsBi3ScoFM+D+ikfl2fEjItCUETlVPI+1ZMSZFKxLTU/Qr7XkeWygYYcbf
nHdpUhLfnC/eSzA/tTmZeznPcDmBw5IhhF5hzGNS074rhssm3wbfGop3EdwPRMGwHz2NF0Mm5ia7
ADeCTiR/NisceXCe4J/Kkw+sMnNDLTcqqXP/Mub7YIQWaKeQ/r5gCWw8ocoFwGAZLAbIVljf5DXi
4lyu2g3srXZ0cIwRoNiTJPsEn3xYfZAnHMo0hxvamImqDrml+HA78OriJR0iIqi2/2Q5yZM8b/R4
chVm6opJaHPkQqwUZIhuG0tkKiGhCGBZhLgEJAQFQm0n83jEEGIgFPc2qVYYNDHKZznBXXQmXrII
z5BRj6BQochFIekeJ9jDSjwXwoTW7DiZnIsDDAoHExVRMVFJy6Asg30L/eyPCwc9xfOIvhnJypqr
A0aT4MsAWDxNfrAGqDfX9nAObPDHQTNQbzCXJSsghXeojJqeQ2uwGzfXGxB2THh2Y/omeiBaw/5C
HSIqYYKFgdJ3xXPO0Ctf3Cxw5EMxKwjyFtENtHn4T7TgaCygZ1CaWCrJfMqhs3pvhXUB04xdYSsY
MKUShnNDFnVTxs//FBaesOn5w0N557H5cH4SzANxOYHFIo42QK3W9mUAEi+RHrNPCKCYCCPDnuPF
30YW9GW7GG4PIkoT+pwIFX4XCgjoAyuS8xaQc15iAmxbqxWjBzyERBGnAt1hBU7SweOrVx0TKAPv
QXY+fPfg+pJWzACTG7iD4gU9AZ31QrYpgA2ur60w07jOFUC8piVb/D8dIhwazKLPwspllGak1NJ0
ai+I2eJwPRjIB+X3ChblEXeIb+qKdNqV86H0Br85T4QXOdy2/Q8fG+hbQOY52AIQpKD6NNWEkvJ6
1QQ6LHIsjfGpFOuWb8zebkU+myFes9ZgAPB3DJGpwFQ2Q5BXNlxw1y4zM+iWFQzlgdU0hZg1gbDS
qijQGHdByYY4fvOeMqvlRRSItF1OBU3HOdnYICMSQ6l5yPqWBw+d7hgO+pC7FcIUZ7PGSIqZObRO
FDveRHFQ/Aj3FH6wID4iqZQCpWf/SmSZsCnG4DkqJwfTIQ/3Erneb3sCW5erxt0D5+Lvoz02A7SI
WMUU4AdNc8ciGKyEESXjFjl0oYf+yb7cXKZPmska0R39z6wMAo48abB7R5oJ6h2+KpQEFuIr5Fkw
PuCM028bU83QrOnMFaHdatJYbvYxnXQ1F5vf7vh1Y1bVhpojNHaGjVDUsotQm/C+HUJOVgAQeLsv
qIgbqOl7VSQ8NEz99l/H0jNPl6nrY0yvq9ZnRM9do8mqTKvLaFzcZDO9ArpKvd9FNRYxHgaX2dQ9
ua47M+7uYsc3+nfcJQrDnfFGe6a8GjFdhgV7uMEhrYy4YCDTF9WBXLHZEQu8GqDL+oXVBsHMcQXB
Fpb/hzvZm0YgYThB8jg6rDUV2sMqRuZIYWOchavAk4MDyV4UJ3/CQpFrRcYd0G1JHyiPG6es7Rtg
Nbgbu+4OivfF8Jtt2vTGZdQSA2P/tt7/IDYMePuS/dJd3adXvRpHxubV0ovJQTtrCclkT7MefefK
Dl7G/OXU+LDpz4J038OByUHQhqFFegF+WIDRMzI6UCSEWL/LUyiefH0batM64bYst7h9dqlyG6R8
65IakloFTgyjx+r0hmfxWGkWFrTBcg0LMv9LaYN1SlGZUMBeupCE+A6qUxxoOIg/tlSzFCLvESRO
J0VKw44ZQ1nip6JG7FAuiZa78G4hMwYH51gWKm9LmhGhEQt97li4ERZKlhx6VOxsTQCVlgdb2MuE
yBI5fQx8hCIB6Cr8ZIIhhMrIKSbKD8FJpJxnAzyMMejE9vJP/cea/kcVF/En27VBtWOxr8jglUpA
H1D7WPpEVCmMdYmWKmEysxiAKef2YcjoXSS5SHr4YzdDkmM5IhJFzkbXlq1iODT4Eh7IoGgJv1IU
MMInlecDgz0XpF/zuhXBAZ9VisslT4p9zamK4xlf9r1h5AitaaHHpC+2rM6qPkuRx3SwvRD9dwuZ
c9e4BYrJWCDEGNDFFtSuloWHuNNJRqI0QXouFbzfntb+bvuk4cIhJPagFGjD+xunVmaLbCN4E5V2
1+paFwjVNrYqaA3s2MdqGJoUN4jZC55Z0L2gBtIfQr6Gjk0ty7KlWSaK2b72zBr69ZYFbqoOhMnn
5efDA1nlLHChZqrEVlbHf+07fDuEsW9+o/C8elxdWEZYycG24UShKINkIcfhEXYtp+iV/f9JlBXn
gI84xQeVygDdNJ5oDKmFKMYNCBn3TNh0hSUCiTyMzqgKuDtS3/KsjCl4/+afnpjfi/TUgnWAmovX
kxOSg4FphaibEmB7GHerkMfpZTcW8YUUao9taXkdVfYOHkzHWsHWGginl+/+F0/xZ/mdMlcXwKKw
Una5C5cGsqtKmx21JLBL0jsj7zhhotyesEMwH3lAa5Zmm4XIOMeghJmsJiAe8GfCI3s4qhzALMbY
3JI9jKFFZPh/1n5dCguhpjsZNTVd8ornl8rJplMS2hknuOedhR0n8uQ2iwNatc0BQl0gA7q590SO
SnMf8ORvEAz4gl3PADsX1jUUImoPooZsX7jXy+kt+D1fFtuakPR4o+xvHBhg0cN8+MGNxRI3UCFv
CXM1WWLsEmB4tbYZT9u8mRAyP+o00VP3OHtRS4UpdCrjvPoScTE5Q+FxIsgriG2lpm/ubQn9rdnP
IzzKdoFs+RwjkocGOmnvYXjJgbLhyBBc63pZcb4J1ip+hxAZXmYH2GJkGdPL6eQaI84XlBEDdk1O
48GRt/9P7wCtGdbXuT3/jTLwIiBkWcHtUq4pzmpUjUS8gsjAMJbjjIKE51L0MBRFFCVrMuzMzhQg
T6hlPBOo6cCzRRU6wXfGJQt+o0iSo6cSRTNBuQKq4HFMmMrhb0MSIwpp1IKXJXAVk1KbQeJZZ9T6
m04ckYRQBU+Q9clqsdijAOMLngKLVWR8w5fKe2nNkCqQ+DSLl62xvLnjhE4Bh02Ccy1S6TwVu2hy
WGHXQhfJLJYOWx7GZupw5QCqrxxjSrDqxkJH5gBMUywmVrDUjGVgrqPR0LZ1URdyvh3Eg0SWiXY6
/3iA2qY42sOgH1h7d+aCIePdC0p2owiCZ8Ol5G5ws6GAUwzrPD7/dF2itv9aNxunIEq5CSo/ncr5
7YFZ3ubMmAfwetlsRVcm4RP29dCx2NdhgfESjqgygdCMd8egBumMtJPWHSROcdiZnR26jNLNVrRR
pzJQIYeWLgJYHFNbNHB/GvX5ncZXxELyivGqjxqYaxENJrKIWoQNDL7YlD0wARCzPFjaxyfTArl4
itMc44HIh6LOPHaGRQdpF7HmJNAEtFilWfQD7WaBMJMP2XLhqdww+ZwcexbdY4mWFY4d2oXBjb6s
Goh7AYY7fMgJkCAp9CoSGieCgvN+hOJZ2zD4xed7lK2gpzXyWaM9pK+7Q7EhjO42Ud80mx9CqdYd
bQNXP8cuKG7t1ad7v68ZrhSkYOXbj2b/PsviSWiRyMfr8KkYjMLdSMdmDeXoUFPsK5wM9k18lCbM
4X3bU66bcL5DrXIu7kMM9a50KfBvwBw6jtbGgRBlBQBaPHkokdFtm7US7JiPlqNHJD1tXpqMg45a
ZzDBJ3LAOGJDu393Af36P+uDdkjGEO31Ey0zEGS1ptSLTov2AAOvzH11PUFyU+BfIwZdJt/uBe2o
h68sdvjYed3GpWaxX5Xb7GtojTm2Q1+vhtGoz24l6yNjdr5oQsqiVcFE/wGndVbr3zN4dXaeKbQn
+hchxceOxrABXzh+VXQit6DVs8sG1lDq201SMwL3HbxSc7rkP19Gpb9+vNyOfSWMWvbt3DBaHePN
sB8/8LbT2F+zGdq2OkY+h3rl8XG5UWl79ExFCmdoHzwOubwd2IqZkAh3DXEYupL02obuB/fizQEH
xZCCImZzqYmis+MlBcd8DEwiNjE/TGS6DgAjwMm4H/QPBNhlMVboVwPOvfkCMC+t69XhIGZ8Xl2N
dTLaomGA6oanNOFSfZ4pbfB6uxMySyhNH4N4v0rYebafR9AZylG2f5h14cQExyVIRwHjscAy06Y+
rZr6perbhaPCRLgyp+CWXPULyRpYZDEiNSD4vFgijO9iNGqYyrPENxkLJ1tGb+PeouBxYRaWjOjD
7pyh2d3sNQZlxf5t/ZpDjroumoREznvYqo3lEfKzdgvExhnE5brSwKU+s5jPCruD2Fw3oWVhiIhm
E4TJakM7MAZdhX0/f7nJTh/FpKaFDGNlgtFgrrAzWoAbwUzqZxaLvVtv4tEAEsu1MhOShI0PP/AE
bYrbgPMo1Ivei2qnCJpk1LKpUMkWdAgMp/I7cDQDKiTV7KI2Q8eEjnd8BIToTBvDjGuIGs1p38JO
0ysk9Mcpl9WgOYh4zjm0OPC+0/O519MJ+RJB0HWPzrswqYqYxSGCLdwQL62dWWujmndNdlqiGe/a
esMct2AYwjJ+HW8k0/Ct88eyeFlvanUmdMMOLnXAut/Rh7b6fUkvN14R2yxYHR57yKkzyXfGSe1a
PdVKRC7W8x47YkTaYe8k0Wxt6u/cJMiBku3Pjf7WAaDBrg2oVx28RsMHXvK/0lfEjKc3gz0Gsn5K
gKbwkEuD52MMyahBgxK7j52F9hl72MKtjL8AjzxznsD0VmOe3+y3q4WNOcOeQe6+Iths6qzoD6Pv
GKpkbQxjrzdefwuzh1umMj+8RvWS55q+iC8wj5+ESCxeix/2oiLbUftuh+xGKUJUGN+DlyAlfIQt
pHzAqS0MB2IZ38OepleL9916io6sHkVMY+h5mpeWT3juP6tC47EEj9tZvdnPZiLQJ4fxpRksu/ug
O31f+qwtpEI4RPSCOBsrcCN7ZvLSIf5x09tWddGGyxheVcCPFdGHmCR9m1y/XjTo0UsAYcd23aLN
uI+TyKs06y30wQbKS+7T75gmSzZbHDojUQ/Gs6iy8kXEE4ZZvs94pMt6zrMBYubMxLXsR/1aeQoQ
GJsSWn3MYSEiv85fZIdtcVLlW+PZHW//RYrnUZFbCrUUxyqJDlB3F8pB4Hc6EDCfzph/AnS3bGxd
ma9cOSVSbRCbb/rJlYIQVZv+hJ1YVS4hh80wX/R+ppq6r4pIqazidy94J7H9zhcFrCveGgYlB+iN
0J+bOBFaiss2VyejXXvWhOHCTyUflQ3nMf2zau1/lxkLkM8RWWVuFX27TiZK28VUM+oP6mpYpF75
XFfMHjqkrH0zl063RuKFQSaJJhqTgHdkfNma3lhZ5Tj4ubwf8CamWe9hV3x0OoytADAToI4FY5fI
gJzdSqyyBSo6amoWQyh+GsrNX9vlY7/k3jQxoUIhBdXQSjtmur1N3zgI1c4Pr94udoGa/tWm+FXR
72U+5ncxo40MSriZULiLb0RXfDwSPHqxx+OESa0XtQK0Kxx/mjYg+5KxFAfbBcRcTj0lW7zgjgQf
WFKZvcP0a2fOFLRsDL7MKoXq4RRv8zaL6cXRJbSs6zTjjGDfIsv2FSSfSaFZzyugfMoDB/AOQxh2
ZO3w72p7FM1iTLjfjJGrpx4dibznrdSkBJXa5M5M/c0E4NXGaPGmMSX+5vBQ+qIk3kWT78/JiVMk
HKlhPhpmYj4BNKaxxdH8TjYR3WRpJOTMsF8QE+HXzFk5yn/nclFxCpu8T6MfO18uJvd9lDAnj4zC
SVmVmU9KD4ImvBKDFhc00UcdY5T+7HzOLN9Ulxy2XQtsZK+Vngqr7WlmTEGMjFfE07dl9ECYV/dt
K3WZxT+IXRPnRsgGqwfxyuw8zptd/+n1J2LriU09G6b+mjybxtt73Mw28srXZFE6bbfgWFaR0dcu
R9vTMBajER4HKwGKJ7KemGORkXjbMtT9WJ69/b0dZDSf+fjB4uhGLg4TCY2EEB2Zut4BS6Hagx4i
bboFTbKWJxLgEIaERpx3Xqenk2iKTAHIg3nQhLaxsleMZ0VjlxbD3+V7AUS8XLukxvOSg5gDc0/G
cEaO2mDVKiwVcVPH+eCQIY5Q9YdU5Kl//wH1dYzfkHKpBGEqnH7HyD7e9DauAiU3dusrLOq+sdD0
bA9F+udkVNhFQP/cEzI+04BSsXCDBHKR1C+m2KIjRXBa3uyQaZWjhG8g9IqFynDbgQB5n8kuFshE
AG9IyLyyMbPxsCYUvI2wABDwXJpGr23lDPjcJHyEdzpIqJXQUKOnxfFCvASzPUYL7rbaPxAAwiqw
r0xeNDMNOwymGdRbakHTpOZDpXC/9eh2n63NBl5+CNg66KQYCjYmXRrnERgAqrM5dECRQaJayb0G
D/jHpEcJBbPGaT8c86oFETgfkk9cBoS/UfOBxrVjJy7IEW0qZbpx7G9L61voVDWCWTxJDqJlDyNC
1v/5RPD04TJJ7wechlDS+x5CyMPodDQIXfxLwa5dmucrbo9CLnzEAWxgUadMWtzJP2IAaHDj4Smp
nzjtjXZKjA8VDkMdutkChoIFZb/dAHtEhIrBEr8GvzDIIS3xTDY5JSj12N0Aah6Jqa7ukP7h7p8r
bUCwIN77+nj+o47lmjgwMVM7jClQaXQwY3u2veu4OHAashkgAfxBTPuZYDFZMIFSxCozfAF0od5h
pKHnW5B38kt2PCg8vOGuYo8rqQ7RNS5KZlZ2e3/QuqTQGbuOuYMKqerMOlpnejnFBaEIKTPmyhXU
y7BzHJaNz/hLJQzax2RZwVEUxIn9c0bzwzlG2yFz/uJt9XcoB2qS1KDIkqLIJ56Kk+jbaebMbF4E
aC3QGsmEzztst/23gYslte+SEmC9rh2S0pKP3Z9csIk9mW//oZN9hI2fCMt7K64Q38puz8ed8RNJ
79xwRUDzCYqZ/BgdnDUv5YceKpGbMt13kHQ56x/h5Pr6BlMZ0T6/NO7h0Ym8MjgM44k8Ujlqwsq4
iBN3h7eoz2htZm8MQPUWG8/gy36jf65uvYoB9OxbF9NhgOv7eUoTH8aYDdzMNICreVv1T3eHPRTv
22k5bAMRsklcIcbrV6t7oPDC1Za9ZBggwkYKQD0DLeKNXx6EfbfH7KTwe5pfs3npnJvY+HytNmMK
/U05Py0nDfgCI6wvHYnZIuv87hARnqzf2EiUQ6yA4W+4gQbj4A719xZut9BNKm5lH6eYIH/pieI9
SvvwaiHO+BBDpJo9DGho0mm3jSJD77g7tFrDfPTAIG7E2i4fgFVKMnjvH/mp3VtfJ5V178Ftelkv
QHoou9ZOM7b947PvfF7eGwka7CWA9Un2cdLSTgmHbOkR0RLQAeOwlWA9v3uHHybmQTYGOTWUwWtP
rVoOVBbJn0Es8U6v4DkUk4T8ghzbpTNeJwT2icm0qfzs8mE31v0WVv7GI8x+9vVmFtykn92+aFR6
NyNB/vEbPMI+0DVFZnzqXuqlRtAKUstTAhsCzjW71v2kru8TfkMXU2qQwFHbT4kZxwq66d0w05l8
8PMEQxf4VZwpt2L9qfkpzgyav2v51TLzsGSF7ozhOuN7LkfX6R/bNUPJnUMdzkgeIBcHUfzERyls
02MMnADp4bEvoTagO4UUxbtZKi8r2fOoXg1tGpMTaTegkBVee5peaspSRf8c80LfLWCRBtPLjGYA
iNXMEIeHPHdho2mDNDDX45mYci4Z0x2aJuogIKs3GXfi9Mxz52CsMktNf8ay5pinB5BixY3wXds8
jQvBi5rNxUAdtXgf+B/0c+JOZPnuqCayDxM7hjSwnzCO2uaKDr8whQzT9Ax3OoW3o58SEbh8zXjD
NdWcFqU++tUpTyl+yt7UnS2e1oKYR38GV6tlb/wR/isELuiXYDoMhK/N6F81cdtzgSkhuOtL1BBv
txv2YLedpvJRYNUQNoGHKA7VPOkpqt2eGIOeYMdTWm2F4Za6WFhznSpCJW/jq18alkygIOOy9jpm
tEqDVtgenaYzI7WrsTLU7Ix3sgAfm5pBMNzaHCxXDIm/J8STnHSiWUFeba61hTIjPHMhJrOwtxnJ
mEOTF+W+3Pkb1x9K0BRqReDCZAAV2PJdNavVhL+/DtzYcF1jtjDgjpbGbFfqlC4GFgRg8QKeJ4PO
tr/9QPFBmynzSJlI+jOmncvpmpe3oqUQhbRhTFwKafGzNZQRiZ+/7W+jG2SKJxsKdD2qW/1OngRm
50FlcR0brqrDzNDXFeNodIEW7y5FPiBBaI99TTCgO4UfwuNIACeTo37pmWbfDQJorjNGkuGihNAI
SB4sZI+8BIFJOYCzVoKZQEtmxTvWKdRxC6JYHj5cFJOpr8y7jEFECBazAjSc9ck4s9/4W25l6ER1
Y8JJqMQTWsEiOB2psLfkzpPmRqr96wI0x/ZDe2kKZZ13LqsM4UTXpwkivKrPFlpd1HULKU08IXpA
ZPepL66Z8m52fp9G8O8jg3E/FnPY52x0M/ymxB4k11GOTpMpBRANF+eBeNvcZPx9mKsmJYkg/nOG
2NQYc2FbowE5SHBxSM57q8WIDk7SjYrySvwSUg8UjlvMrFEZ2jazi/aEQz/Et1pmeXAJQQsgJ7ZQ
5YEw9q0bkybSw2SOhd0kIaN0Vd0OjiWc9qePUI/EckRAfIH2E0te43H+M7VC5CpA62+qOP1FgXsL
PvI8OQC5Ml0DvDGBvsT2KcXkA7O97gSXzbZDcQPfhZgSYC8aoC42NYb4hjjPwnmif9VI1qBWUVdi
hnNGXEkFAdpDbOBjqP71XHllUb7scJq/unSPfSbsEHdhWx2JCMex2mgv+6i/GB1WQ1G9jO/M7vfc
CuJuj+3L13zsG7PaLyENU7za7Z5MuV7WbtsR+T0rSpa/8NJEWsEtl1AgOB5Hjg9ctBiv4W7Bo5NB
5Npys/ABgCdGpoz3Wa+bHPUtTkqAOw/jhKd32/MoMRGfc0OFctXDf58J5gXBzA+vZsbCHt2uHU9E
985TJutBbB0OEBYifZKmQYZYWnPRBXIE2QpHFe4ZgOvs9SXDPKEH3ML3g+io8nRHBDi84XNjHdoW
I3pMf5IhPB24Ls4muTKQImNLjIK3EeoheANS9aJ0wQOQgfbku0P+8JI5EEggAyM3Ytr9OUTcejHS
gozMEFhb4jINXTgNClA1yBgU8BkVPcbtPHZP+7qep1wWSj2qfzrNmF5aMjRQuIy1vfAR0u38cI2p
Mp/c28gqAsT6MljNPRTW9sbp4V0Edb9c9hx+BSuGxWEOpy48gwmKAAU3JaR/4BB/TRYCrrBBiUDL
8Fj8dGADmdX0oNsQpgVzKYQ1s4ksydhW9Oa5zFCZF+Oakp+qAqiIi465NaSeOUF44c4F7+zVRgaC
e4XiPwqR5ogPOiwTme36ynBk1ILatez3wx7dJkhjcS1h2qrfcYpXDZjxj2Kdm9XXzngdxQf8Ry67
lBy6IvX7wgR7bdDnvM1mvLixQo+9nQWU25qxcHqAkbIY+8r+x55wsx+M8kEY/xggMLoc1kvr492Y
qYJHE33yWGDWw4w4WVSxg3CkWxkNOrFquqMNK0VEeAXSgfSn7llaKKKvG6iUSXDv+UAUP7w3qKwO
PdzhBHx5dcyXU9IQsHKtfFhVnrpKgQj+Pwog0BHYRizpH2J3H6OgY79qgre7zbY+pqh94l/Hv7Dc
DryC89DYMu5gWBTO7laDm6XTk93ffouiaRtXekrRjuf8+PH0D1HPOHT39dfsLr+eGJVXiw9AROEA
RkFoIV9huJuTIc1uQpAWi4DFjWOjQ0i3x0NbG5MM8ivquK9m05xCetz1SCX4ulVNpM/zqeOFrxyw
gosDJfM/uILSUIgUj7wp9PEveTM9O958bybvjGklj6ffJG3mBymr/NjIxfnQwqCQlfzeb9/Cigqr
hjgg8eeXL2kFxEQTCJLiOTIO39Mhn/5ciJtM9TBM+k5LXSKQGdhWb6O8kBxd272r0R0z4SgUJ0WE
siTQNSz3yqVZ+psmc8TXmizXENIfHDtooT3G0Owzp2MTPv5U8Pjnz6giJ+3AN1GweX6tFTpuRAyr
iArPlwkVodRuOaWpJTHxSjFtzu4RkMvdIOiil9qz4mtAXrSLJl1cQinbC+AcZeNmS5JlEOnwaTCo
gruGr+hOjzIdNn2wA+zRR+U+b5maHt/dV5vJ3o0zmopNOVNUHWAZekG0QkvxtVHiIfQwq8PslzhN
nXeSj8tpik1zRBl4t97/sXRmy6qiSRR+IiIUHG+ZBwcE5xtC3YqCqICK+vT95amO6o46VefU3lv4
h8yVa3iY8Y1BAKKBzGwFHZfeauzvgCgSZZzoFbWBnm40Q4He/sEAuPXWd288gBjFLhGKXfUW5+vs
oVibzl3ffUeV/o0Lk8yN2yxWmMmQwWKcxyihoMZVDGsgqfydO/QvRivqLXpMD5yBdV68SLUz7/sg
kMaPzFZG0frnQMoGtOoL/g8oBSlq6BHJB3m1rTbbE/44MTvG49hZ4U71YbZUUx+SVkqZUpV2/QrA
xVZl36fYinnEBc8njguBjdLprLrbrtvZ5zRwPIdeaXVWz/G9raPsyO3h5owAD4ZP95jDwFwz4YY7
q2MMm/T103UbLzr0+byHIK6M03mW2nSH8em6uNigfKd8+kWtp8ePsRrEbFcIJnTIunL1f9AWTrD1
s9LOD2emHw+jIPPNBEUFRPbTuBV8KJXJa3WTdTP6mihPFpdptqgDZYRaglijyqgyS/tTyfwBnSIH
TjO/UTP7vKzyCzrv8W+byshGy5qR7zcqhblkV+Tw9Ba1VS5J+HFq97wdbjixJkRKx9ft1z3PCOLm
eOfhbHmAj+3d/ozLuFCNm3/BgmR2Jz7sGhRwjJhl07GmBk80v9nvG02yOuqTgLXBWUXTb0NZIheI
1Q6nKfE8kFD8XfrHoecVZhH/UJnxfvx62nPPlf466xo3x7HxEJ34C22Z6eWAJpyGVt1/YSxLorNC
5DvfEIEbwdfGcKlZX+a9O6U0dvq7Z7Mv+H75XzX5jvoszeXlYoLBdQp76A/9OhwwdNg9gPAgbibO
mQEBlerf7WYOS0M1X3N2XiJ/752t4s2fsi589dLoqOabX9fmHY+WvwcVCIGwN7OZv8JiM4SI8LPZ
FEXY7sFr+0K+kH9AAXeLWDNnIL5J/0b6PI2SOmrvSqD7h15opsbcIfyOhqd6ziY7BwWopfEC20W1
1gkahW+t91SrIMfeaqYKaNGCJdrepaCQy8/QaOZXd2AnYpHcth7wQrni9DzTf7ue/bqYV/LEzAHG
LsxU3RuJ4Qxr44s9YHDNMYXa7mkQ8ZVx7OAOCNDLaDZGQLGq992wkTnUa5VPh1D4Gv3TiEwf0Ps6
HD1mST5NNYsd0sHICweXHW/68nRbiJF2HFi3H6WhVSo7FctevXmXelO76sDTemtVM5IOwpYUn8Nq
dp0M6OD0JzaASPKG/17fF1YdV3qF5//nhCP4jDNPmTX45J340t3S6J1N+CbRcDn50UBC+gBe/U+s
vmtjOaC/txqELLNuHJYbZaTeX/JaYKREkB7sc7Ar/hoA0s3Zbf4W0PlQvLQCnsXsyXu6mQqe/3J+
ct7YRFV5A3LDv0GXWwPbOA5970E3jWDrr3LDHmRnSFQaigWmmvX6QG4xfzHKG5NC8NJrevtTB/0X
sIoIEN+NqbbN9Gx1f+65p/9+06ESDu/Hgl2o+pyjr6u9SXBlTKOXbT2WXcQplT2qm2AIiw2DIEvN
SUNoVQwXUDP2pg2HKXHVv/Gtb17OJoNSfsNZpXiGKMyJc80YfTvWLfeHY7IFRyJHegbPIKIswUCA
nOdPhCZQWbJLsVIit5IBn/Ae6TheQu+C23C8r1eIflPETC94r7du8NSrrwl4zujz+F/WDiYKUEfo
miBawdYdXf4mGhCCruL9zBUH+QKq1t2Ejp8CegMRnzTVxdaZmjwFFISufeiNVpozwKWEK+Zvo/kb
jNsOcEqKBnpemMJIS1weu7DZBnHbFx6pOoXAARdbFdt85WH1NhSUX/gmkKeIp8Q//f0ZHbM9iP7D
yRJDPiQQnpCRA0zFPjqQOWV28sePQZIcgOpLnBUu45CRzwF9OBK7ZOB817zG1ho3qinmkC48Rms+
BKLo1x6VH9cyrWF3NWe4RKcojpf8yGXPdSDaoehSvzb8cpkS/E7WnfUq1Pk+/Hb6S4afA7+7flfm
TTVFuS7ZKQNk8fgWLdIXWEbamJ+2vjTHdJNALVgeQMvsmTX2BAVBKWlwn1QkoaMWUkqv+XlKj2u6
cplHPys3r/ZXXmjV9/hXv/4i7QjGP0NgRC8PhEjJO7u1OSVmGBfJbz5NJS4b6KCP1NEENL3xRUqj
lVhciU7TAu54H3C9oaH6WmXb6ThtzYCPwt1c/sZyVyvXfxAYmD6QWazOGmIrPHxQvHG3tlT2Y1xj
kASCD8ozQJg6V0msmpw99tXZKE+dAnRCARlmhG61vwSv2SBksCkS5E35DdQi+ysmmuJju9sGSHhT
qGNW1qJOGDBsV9afuYAISMD44ZmoF/oaMI+mLhJS4c8OXmdjXC45L7vWl79+trZ+nbAwIAuEef4X
YUrnBAxYVbNt71S23AGJbWZSWNtWy0ueo3sSV5dIwZD+FQ3yVQq9D01MjUreaEHBy90unjB6Uo3K
s7EkIm44uuzTgT1k3TKqZgRsnt/WDY8Go+yjfjN/YVc16swdPo0Aw4Lte2Tv+4EQa8/xe/+gWuYU
hoeaw0YLEYyQz9oZHsuGGkXUhb358DJ7DjEhK9Y3XENp4NqnR2JVidBlLPVj/zK3w2WaeY/y8Ph5
NWla9BtFNrotX1/7+t0Ob38cEIU64gA5Z14bmbOVLQGctEH8uQUlr7pyszq13l/xT/thPMd/TAoh
R0pOwfZDWdkEnzYyqZ/MPW4K883c737ddx1d1NP5a6kocTO/bOIM3CSBWDgUJf6ny5TUgdLRnt1r
/525TXffbl6cM4u8iS/KVkHAPMBzjJdytX4JUI9m3Hs5ZLVUsc8fFLJ8hTeh8JVxSaN76fWr0aCA
aN7Wz6eiux/0p7/ir6WZVWuev2ZVy+mRTFqEH9X7wmS47n4f6/rG+WYwbhWg9W0KhdItFOf+8lpx
p/4nYy4gArQwdniOux3VqNTpj6yyXg+VNTVh2K3B0rP9441UWMDwiYphiuI5P9VrEXVab+7D6Kas
D0prkYzOHecL0fDmPzt0bHLI1pP7kC6ZyoxCCtuOwXnZZrvdkEKUBV5Ml0Oe7yttmn0OrQ8yprfb
7mzfuLS/7E8+RmD0vPufzjgdD5BgnQ/db3R/z6sMhxeZWtUfp/1kVHaeXoanN5GEWeFd83HPbICX
jPLidB9xqngapHJjCH596G5XzM3AtEChAZzCLKo9yp1Fl6L4a/gMgE+5rT6hGLlk/9xX3UbXFPcL
qetlnpiEPI0eI5Mz5gNXyKFbKrtXbsQf1a6JazWr448+4GP4mXVKpLNgDPxZLAYoLSSIkGmnnlj4
3cxaX4Oc7Tp3e19SR1l08eOLVNw9Z6Me5B6vNesgKPQhqjTGjVo6z2YJvJQWQ321i4+fXd79Vl//
iRyz9zVzkCqCgq2P4qnAKlfq5duoP5eyuG3XHGYbcv0Off7VtdFns+FmZg4402qw09YERXJEpCIv
CAIXss6/85EOxhG4nfWRtrBUsLvJ30fhd5i+GwP6c3hOkRZqXmvSs7reS2/aVu2+SV2AG2IkEaMi
vjpphg7bOWRUs6ignuzPGEyASzszTV92Zo1R+5wRQTIRui/ZKWJTjJ2FOxt6s755HXMpfgyXzMs4
g0YBcIXzdDF7PuRZU8EhB4K9IdLxzuphdHNzoFqvqR8/GTmaiCsWd3uHXPBKsIADh0KoDDRdfKv2
8RRfndkfI7jaWnf6ZtFnyI+t5cWdAiLUxykwbnG32njhGEPC3IBt+4enOWwzMDBS7npyHc9Mnobf
sLl4uf7BWaehnTtb/2YM5vAve6MzrP3lFzSGcDaoXujiJsR6/rXQLYJZ10aWBV1uXbIlEy7u/vLV
p3XtQLnwOkMTf4scFkl/1ONqe1OeaZA0WXPjFKJFG1AniOlcOEGRxMdNgJ8GPt+mhqNyNqFlXKUP
K2CN9h/67LWKTzGCaPfdGLKq4blKqzf0ErIbc0qkNiL3Z2OgZVFXLR7Sxe7z5A2YWFemKKeC78QP
TPFMD/Siv+/YfjPfDcSszdcsg1r71M74evSkwOYdWzP87tDILLph5itNwLYwusaOorjwFGcBzA6z
hHaWU4wRBVmYt3FB/3iT+F1CS2l9ax8cXySjlwjQ8+wxA2GmSfrZa9uxLig1LtFl8vU/9raeKDZd
H175Be1q1yCAJZQIWlw8cEiYlPbipIQ0q7SH96u5rGGj8nQoXWrjEj/vbHjHn+QhJct3lLnvCUy7
IG7teXKydLMx3W92ZDEWQYBec4u+U5/XmPZ0rOl2ffPG2nTNmzobAdUGrE1zC7PrAi/q7RKHHvZR
EiOsZ+A/f5A1NO8fQHkpA9iXy6eJpdRjdJtjAfY0TZXZPjcmMy1lI36hzOij5I8FOD/AJEz/1HXq
tbxs38Wa7gogsbNiRj74dDysvxmklbOleOVTF+cFTil6UEgrVu6JRd6QADxzBYnY96/WCdwDjxd2
G9e1A1u9oOL9lw2G9+gBdP1Hbdsn2mEXM2M1X/vz8To+AToYH2fijwTpEU0UG9D0BX/56urPVBqW
YY/cc2pMbl6oKKjThI1PeuojnLbGmFthhtFBxNNyxAlDGb/B87c5GoVe6uz81vyr17kMra7OX0/O
F6vHw9jfxoIfsawebtxa8btHF4iFX8gp9pmyA+PuAf9cDeVOCw4vdZmM0PusxLudr2W9FnTJm+Qg
0k1Mbd9GIw57Hz2HILioz2Tu9UAQDZBeCe3+xzSRJA9HFhG9CFq0yLM7lkf7wFjjn+v0bzTFGID6
GhzPcopRB2cY4HdqaDQsjN+pvED8R9uLm+HT1wCiQ/EC0QN8GuhDUB792J2Ez68p4w8WmZTUWI5F
KhqSDaRdhiSA71RDMHMTMp/ESmXVnf1kVKbPdQYiBOgdM4Bi2lqbKn86RPqFHhSDz3+Q6Q+UmlYV
1cAg3oAcT1Kj+fNx9UjngM5i9P1BvqHaOz9dL6w+DXFYETQU3Bm0skRSMKESX6GDLsLSraCqgxLv
dE0GR82CeQjl2wXJ9dCFAVFYfDqiOAXHjMLBqGOqMbAgT7sz1OEa0RqtkGimxkI60DNyN+QCVvj2
CX66O/UxGgIWEaIS4cby4QAATaZBRXCDBZ3VDiD4rQD2nW4AS4g0KnF0xsQdzj3yOCED4VbN9ORr
nnu+uhni1YKDzZieEYFHxxwQBwE2fUrF6amxAZ91HuNgCkFpqbLsEfN27Pu8Rm0pxumUJn6GCY3w
7EXUgv0ubHx9hYd+PBpMf/4B4Q85NFw7B9HzMtf9Id8t18NxYw+G+nX3tlYhb+2PHhomf0gIIu3Y
Lchp6IDxDn1YVcWit8ls0VsANQceyhJHGXemoXjEhewrOw39xXmmhA+jDruLnYUXxz/RRLm+4DgD
PweJiMQISGBY20WLxtCbxrSA5oCRNjIvURIMaL0YUWB136ct7Vrh93A4ynoRs/2+Mdqk4RDjE1JA
VisJl8DNpkvAKw9UYaCTTdt7CCdmdDxACNaABX5RMkLBNJ+iq0G5ijQ0PISS83SxIpJykA6Io3tu
fMOw63xO4uOCQgYleFAH/TncEUSY/oQoGPlygiVnSPiZVicyk8HIXnRIG9Qs6HFwqHq6tKxg3YDv
PKmKnTPtgPFGxy9CFvx90xAnJJxlYGaC1aVGgYMLdlA6niCt0QdEUyEdAejnHvZYyBUFm+7GqvkD
bMPdcyHjXWQ0rMmr/5rG0In8xmumdVyNQey45VmECyUEtQMu85vg4dztB1dvy/0sADrt1D77N+dB
s6jfjnmcoYG5m5MJRyyJRV2qy4dISjZYdLmKhz2OtdhhOfXm4BY7T7S7HIEDbFAlleFCbLgWfslK
ABfAC8wuPAAldm1f3O93t0kXioXVdTYgSMYiN7PtWfcnGcNyMJkrKwtUYOJEsts5zfX+D6ipbWDW
d+D+a4/5kHQUnLOUvFPLWgxcox6J8QqNsGVdd4jDsuXjREnPqr654WrF0p++LciVVpd3xcaVT2GW
XJrwcubNHAuksTzAiu/WsvlYRHXIR9kBPkGqhAcC056XjAYZqQmjZGQu8zbDzppxI7NEcXxgm+Jd
j5zdIi3UOWBf62k+rZr+hBdwXX7tesTT4A5T7WT6JPpNYr/oqDSs+tuIcMUDAmSILQ3mBeSpWezj
1z/NNIrmTvAA5Tt99T/uEKOHH9BLD2BmMKowqUN5hvzwLMVqJ0/iX9JIKAk4Ie5jxN6F4Wpk+M+t
z2gY5pe/osW+YqN0Jv5wfse3tvCQB3A/wBuVKV399zXBOyQ5j34VdyF01kjuLuQ/vvAEQoqvQ37l
mwqR6qvvFl/mMgZNJ3IRntt7d2Hbo/t9jwWSI40NEECvsAhSV8VT5A1XskKprz2yAPwFk5se7lO9
fY+x4jiJYfa/jORwGXrXe8Chla2KZqVczXdiOSrWVoQR5W/rnhF71R+yAvMR6j9RROUipSmPD7IO
LOaZiUQdHTk9QpCdmthT2A2fOuIO7GHNdEGLjqmqzBpusx4/bsdmM+8IfpPY0tbX7mMRY3dnde3T
JAKsDM2G8LHE0BIjbdznXvlHt0z+SjSm7BdYAbnIvh6nL5jT+eq3MAt9gR8Nc38ziFdILzgxoT82
OAlrLb+DZZcQHt/Is2mJ29tLZsnJP7l/nBsoGOfqcOeIWFF+VijhYJ8cKj+LV7K58//CG+gt5qEK
keR3/ApJbYNC2yH2yctn83nHGmeA/Ouihqs2zV2P8XFGOOHdeK8K2GJYhbYnh3pt8UrBNJlEAd/S
WoD64382T55OpgLXPWn8w3YUIqgsx/NusFd3fTtZau4+/ZrAaUaOfVwgueRt5Iaf6ENIXM96+k62
XG3eqMyHBYNX/UrHPX+UfL7odgtGLJXe9LazuMeh7sQ3o9HbmyXB7cNP+GMOwM3CjGZR373kAV0e
4SxsaYY56HfNvLGHTonSsljA448/7JvgsoXU0b6Tavx+BglWGpzdGMteYJRgjEyANFuTQLoCGqWI
dUDwekuIX6/lj0zpy7Ku7Ks6etfW24Qki/BiDflHQWf1z2m0v+4PBZVCLDH0i5ZzxgCGeSkOhml8
qsax8Y0XAyoKYmSqlvVxYtoEZmPBL4aISvJxv3JfVt7yXjgCIuIeIPp9qlTWeObeTze8Peu+fr3b
vcl5MWxoGgC2MwuzwQXPTTNAjBoWAw2gEafmjEZTeGGfw/qm6gMYzHon95KWR61YgJYVk59IRDOv
MZaVfbeoJ5Br2fWq3bfO2qprAmAtkyM8q2m3v/g8nQAmj37mXjnRU9tfqgaYULS6A2OIjyzIYVfs
VT/r38DrZ6O3Cd6XVYRR10v8mCHqwOuUzPZtF7YXWMUxwUsABhudMp17F/QjMf5R2WgtNFzfTKaa
rq99ZNspwl5jmjdNbcWcFfvlc7NWOef8c98doG3HAg9cVVKUtvv3dD6/4FNsEQPyj6xaGxUiFXEs
glQAWvil+f/iRNz2hqO/wWQ45/viw9pgStOfKlP1EYpcG1tW2hLVAUP9GsCALYNOpTwt6X07Y6CC
Eih9g5d/bv3awaU7Po8rSq6u3ze/FB/BAxdOYCqPurW2NOIwauuWOt1XG9kafTs/uuST57vzHDUZ
vKa3WUyEPgjemUefEXQWbQTrA00ycUvBdYruZHtvvBLROPlrheFReKbw7Vmr4ya6H6Bbj3K3uph1
RPoL58fbJ3sRD31qU/Cny+xWuhlCI7o/bCXaVK64EYgNTAuW1hBWV8/XID0m/9LKJdi8Y7D0+bMi
jrGhLYw/zF3acO37iJeEVFLjxD9nCg9MgITBBox0KpPh8+ilM+DF2QTi4t+sCVKYsEAelf2PvcWq
wz8Fv5mOdUdkLNVN/Fq8YUePtZUYSP32hNUh0YAWo/eYRkDYAMziA6cWM39hs5b4DXMsBehgEzwG
nxBTjlTUEZk5LU9MRRgOcN8Kk4Z3ZXnHD4YgLxtxPDahQ0Lg2Ckel5QENifTJP59ueeYNXClbB/0
8ZP3gDKhr3LV1WaL1E+GA4WXzwEe6B0uf0P+vDHZKRjeAfVywaVSKO12TIrCF5WdR6AfGrokXj2p
Cj88KpH1ZCafNRoazop7FRl619H8VbiKUrBr/Qsqd1i/LHbke2T2QbUx0z1l26+e2rOApShCJ4rC
CyKzFuyPswGngmjw5/RMEhSqQ1585b0H7m+kkKLUM/bUGZw9mE9VHqYEzBWAM7252N9yDDjqFtwc
Pbhk5eZWB24VTCvMawkV4XlvucQ3DNxWUEDoRJBD8UK4KsgjlN4qDPu403OFJYjwS9rr4VakxMVa
DB84fziTGMDcpjX+YNooIkl7xw3B7c40F+QqgGlKBZVQgm0Iy0qMGiNFd7HDziP3VFqLCVRouxwx
FsSLho3IXAJnFfpcRiD6XCp8/mKNy2SJyDkcx5lbm6+FdBWae+UDNU7HuM2zEEEJlguN0R/dMV0T
Tq2KnRLIX6bivNY9XL2ec/VkupCSycbTGrUP+fLq8ds1h/go4euoVhXX4kvOCY+od57w3drm3edq
85XDNZTwlRubRAtUoflkNpQgntRGI+X6kuukrddHcdlRJJsAC7v1LYF2yCBtJAlA/5bIMGKjYnfA
sw8hZrlHQuwkEiQlfLO9FeE2BeFmgyIck19xY2OQwo8jx/HL+vx/55UWbh8BeAzIaWUP3bPTfujm
vzP7gpQCzpLbBzyDYK7X/sMsg17U3gwMTn63ZyXGDW1/a7RY3Gai0fnSKTS6+wdXj70NKW9oi+2R
0OhgBhKqcF8+RhIFrHBF9jaPfZfBGFzFvhGJrQhuHOLfDjMRl/DhZAC4gHEV0ls8FH1tkhOz1V5p
kL7mezh1pOYV2IhVsRCdfnteonnmzynRPPc/eoQziEArbXM//bkwMRlrHl44wPycQwpywONI+WZy
v0g+MZnW+/YeNaIEDwxxiJAeAW479m/zPnoJoXXacmXjbtTmv5VTApIo5q2cHJRSKGLEYA5BCjEP
YwY2YwkUYpo/TslOg+DmPmP8oErrFmtun3SWY4Xb3QA3Hq4ZiNZHOTDhD5Lg9S/zdi8brNhefO94
+PFw/uW/LfoTUs59fh4o5wZyB9RREPWO6l9078DMMaJqHxVjb951+8GU+SaQR+mw+TMdfzbvqEIN
okEdhDg7ETJO/zga+iElnVhqE4jg7l9RzUchKvNKTqV4+aLVl38GUKXihDA69jqafjlGREAddCuO
AYfZnIN9vl5Muie6UrCMr5jq6xvF2axwhWYMJ/YhDBm96zPRQ+ANnF4JF3ikY62g+ByQXcPJMWrW
WILomg/j6oc5M9yKXDWfGF/KqZLPIQdco2JOcwPsKJ6sxRww1PxZeCGHLXoGhv3GxIdL41fRZ1KY
txlWx/TQuKIvBZs9z654l2YdJHY6qKkyN+Cs/5Yo994GXehgKhxwHRDF0ckZ3SEmcO/mfSo9bDsz
u2HtlvsBNbh53b6jMn448c1CarZQ3dbqxuw56k20sFgpF0c8HtHn4lfZi2phVuMLAysNmTLaPtTp
L/e1ukxbbjX+uk8DkRgNA24KHB2iq8enVvNxDMFx1swuBvcFyKTqqvprWkKH+WyJeXHy9dMZuDTe
dslFreOKGqurx8JtpovXKsM3uA5o134GXSWyFFMz8I8V843nBFoRzrOqvuvY0HzX1gRxHAWwSTPq
AzNfaarytepiDMW5ge0FrBKDYycEBsJCG7OmtnHQI1bF/UhgJvGsH1fW4n4vTkD1pMeZymrCZyt1
jtgfINQ8UiBDRMULEQRYfMzubGgUSzUuir1QAguQiWT6dY9LkE6IWfJHoCGmfH/pOBPqnjjvfFi3
jxYBMEBVH/wvPGWCmtYFvWJnk1mnnwHUSA6laRaxvZQL3EvX6SNmuz7CvRiiyYD8X0otRQMOWwIY
SiZZipsbYl2TMyHk1ROyNpUmGQxMnYdhY7fsK2Sc+c/aNfA/AM2Yfp2DhDYGIAsnMzxy8F/5AvJj
xYsnqmWBEsLUMzWrZdOn0h5TwwIlJuA3GZcYKp8w/v73D7AC3EGw8MkymLcWL1RT8Mox6cvediXZ
VQm9rvvZo8kztH/U3//SfZnWQTShJV8Rj1ugjBMXddwOFp3peQcmx4/Ysxm4Xi2VLric13P8tTer
6xJfLXCBN0ccfoWS1Cw+I+lRDRU5ZCFVkksoSPVodITBweRZZvcNBTva8jT+68/5e38TIJAYU6OP
JW1ESoPzX5cOEu/2Oe/hg1btymlCFYhXz4Nf37dtuD/z17JzyiP0fcpVXF3T6G3Wy2KHonOaTjKI
NuS+tUDwuCrEA1VG9U++idh+jt62TDfke32ka0IXrnJf72lE/93fZ31PbM/+BXouccq/uaiaxHqz
9HvUqlsZfog65zPa9nwp9//dzdvb/DFXEAGhBPMTH8C2H+DYyZxdRcHTWvIAN3173w1A8OqIal6Y
cR3/IoIGailuABpeUmAjx7kIxo8mkZtCaCadDJeYagX8bTFguBqdGB+Im5vYYiaJvQtXOKM4sS4G
N4KlBGjnEu0ImxWYE2aBDHJw9dgwWqYU+3CFomBQpeB7VOab7IUWficTMZkVU9neYondXOvEQ73v
GI3KFU95ON3j0GC/opfTjJuxvBmwtB9HmHGDNGE87j7WlecVEWgtTGc6Io0Fvb3pi8r329YEj7uu
BRLCZzWPTQM3FubnPHXeRHFok96mYod0kN9ySXQ6Zov/oddQPNhe4Ksvu5dZJWRRxWETyxSgQB8u
VzV1iHl8oFWN+tEbrLqEw93fTyOsNWQ8gL506mH1V60gftMlcbrAxKYOlOiD1J/3WygzV0etQ0S3
+tfrWRL6AIiK34Rgas/CfI0w7tTfDLKegq7xCA0IZVZxWED5g3qnFdSEdv6zJz2kZ7DqWlxg/olh
9QONJ5MTXNeZGiaT8mfy5vpyYdyMMr5adeguFpONJSAMM4mIv4sK57w7T0CyPha8XFCyfE0p68cL
TvPao2MXjfLFrcDeLpLMqTU4XEgw+nmXLUGmBJPDhpopSwerH3zP230owRPfAtlssOQT6enDbcVd
wNALKNrLpBkpSFNjYIDdD+dUF8h1881w1Kjc60qFm/XUV6vCIzMZpirnDejr9ALNVQ1kJLmQU+xn
OCPwazUcgN3BQsMKA2eLQ2/N//lV/n950XdarzvwwzpTQE/kRzNGEx0THAhLlOOlx5k6jMqgGw49
QVju+2IlqRSZl9HB/g6PEQz7KRFFKdShfpvJ049Gum2TFtKdYu5IvA3T9GUFQ81g4r5ecuDA/7GJ
TMRTCyk/LbK130sVjC4iX4pXcovrtZmh6oKdbTJbz4wZXWMyHjgVUVtGMvtPuDFAWIfng80X7DmY
1qIAmsINt/doP8iculLk84cleBmzrWd4CWp0yXrpP+znbbx9onCFBxpgxTgI32HZiRVpagokDI6H
9MRpMbPMzN9epAttsYRgmoM5F4RyJE64+OaM8qNxU9tNAWB7n2wpauYoaedtikm58uChYbtJk/zg
QlS5NQGZVnL0k49HnywjnM/qJV4MhNIQ/wGrn665Z7zDe0QR+kQXwc01IC8sebEF8C9VaHgZp+g5
lC0mmz+PN7ZiKplJAgVO66OHFTqPtiWBCaMJZdWOu1lOrRyj9oNcsc8gtXC5mI4/F52uMo26a2mc
c5dKVp8nS6hzJOvcuMgRdomrcrXZDk5deOiH7Z6GcsUwLpoO/Dcl9GE7fobSbpSQRN6kbGu2Ntp7
REFAludJYQgM3RqRAMKHFby5bjAvxlJXSx1PDAjV8y8QLn0fyI9h2BUfmtzr6ZfCuC2Ry4fYf+IB
R0/M/tKruK1ncO55G7wtDK6p1CtzSofAFYMITbQk11A58C/cvScCaC5PigaTE+YpiSVn+wh/5l8c
y7w7EiIgqhR6fZyUIpzixNnK0o84Cx7k1GdeC7RhIPsrmdxa3gsqw2J+yeXLMQk5Tl+caakP08d8
T5/MVY2cUQKHGYQDaR74sdFI87PrDKAuVjl+MZmaUYhs+TTq8dvRf7Bj0fVazA+RuJ9ZD3gNXKD2
qWp8gZNSGaUEtCG6MJXJvE3hJMUWAyGMpd5B3WVkgkQoJiBVVhzcKHfOtBMRhPflvuOY/4N1yUyQ
7QuiDQQ/UawwpFs0JuVLn1jV8gWl7lSjVzclp3Nuj/OePn4gvhMWgWxS23OOZEj1tweqCP6I/fZs
jvQo9a/TFsdURB3G2atyd63bQxpMxrxyNDxexnvNXfaxyTgfvo0clwNusXUaafZr8pqwQfs4T1rI
gEJ5RD9GVPLEcz+d2fO7D0Ezam34KCFlC3b3EbymFtSIChFH0R81dMGKTmN5/KzkNcrUD4NmtHnu
kc/ePtvKZV4zQH3rj1ULT+eO97iBEg3e2AC0V6RADUlZ0Bmd/ScZmc/VLEDTwrtUkQx6Lbop5eb2
QlK9GPyRZorX9Sdgjqy1ucBfil4leD0fPxG+rRqjEYjMJLXAfO5nrKQ7zkOIveTQfx06OrzcSdt6
RosNCzsPZWgxtPwWk6IfNwmXxelBGb+rSPmEODCoDZJgjDOwDnxtVABczdhjKeEdAv9hcg+raHLj
Nvk3XqE6XT3PhvOLDh3hwULgpTqapzPQpDdBxPSCdI6vmx111JhPxyMrgSJNtqYYMynkbaEWy/2r
PUBYoWt7ppYF4NmXmRWTWkqavPJo5a47GY4Nc5dhgfnDO/lmVbW+23TJ+u7wAo0B40ThdUGqria7
12jYxzhsk6xTnEDK+WtEj0cKs8OTGVkVeSu7gq6FtueFrwytX/uUkJteYesrOuHkh81q3Fu5J+jn
fS+oNG4AqCyVsWCuHsIPZqKHv0JfczjnrBGPUrU1nyr9vOQ+DY8Oi0C64GdwvCvUZ0diGJEHBaUD
NDpnWbDxxRu6EhloSp50xgmPV85zVYyZBpiaOzihE7+4v3mB/zynMFCzNBeZjY0aCXGycD46RZLD
Uz78nGfmUm5BLswzCxFZDyM0X36Wf5QRMGrns+NlDxSTKdiIwpDyZ55/dIyJuOVNPF8xA/K8ZNPZ
vHC91DkMcFjnpmJvCdeKMy/Rt8WkZZy1ERraxny9oqZctv9hdtpF3+ZPih0AQm2N1ZQeALffGnIe
CPA7jzB4pHIErbjZ08iLvhuOwM+/22e+5/rj8N5OP3/Tz+gneXAXvembva8+npbRezpYAnMZNest
d5slHFmmIpy0edAPBks2f6465VX+BYTmcvadDO4GN+O97fbFraEAKqHdA3IesVLeFvsBAABpVIp1
QOlB4lMw26QPBsR67EBOKyNW4EvRxPqXcOIPS31hbTZwwcPPy4541l1CNSC7rpTtSkjZuBor8Ngm
OH06h0PkEWUbo6nkxtlzOPSpy8NQWeCHwb2OY3c95jpt6GxhQWakoeh8KTD8sDZzlzkbLkqY2Ngf
Cgo4zAl3OhbP/0D+bNQlv5CA8EMLFT3wWglNmHpHmWIx9aBHfojQf9u/gKwKdXrdgI5BupGoB/jH
Mgsqb05ZmFe4QfJElbX29uHmgJohGD3VhTn+Gh1RBjGx+NmXqAb0QEQ7QZrGYAMZ8zUc6p0TCK/8
oC0YdAxV4i/W76On2eZHe0hlVKKNU8knt1ARspB8jOpUPDEOKafr+q2kiPWNDuPeq/n5Wp0mUArm
jKM2H+TrMeCC6U+RXXiHLrCwrk5XRAihlNF3w9doQo5T+mDXMmUm3OnDcTe5FCA1yZlSlkMgQVuD
aidC1r8mgtQlEPUZOAfSt96PcNMtQB+kqD4wjuLkAdyD2utkX/2Hyh4VxwTsfDKcSZHMeQWkNCwC
Gi7871DOArZzCOniBMzGdRKbX5829YjjcINEUe9pxnniWGSqRpIxywVCxyEjCNq9xCl7xPrpngwh
QaD4UHoEAGuRGQtWzmU98/ZpQPnJGxdv9fMGjjeVhP6dTHkHeyYtxFtJt0u90tK5/0HepOzpiO/Y
DQkKT4uKBIexLkWZLmL3koOWlwZK0dPT+4mN06MWBHlP3v8j6byWFdW2MPxEVgmIwi2TjKKY9cYy
AiYURcGn72+url2nTu/dKyjOMMY//rBtffm/2wukf9qYsXqPNr+g7tDQ5TEwMj+WziO3hzJiHjKw
pPiR8dFxzQkuc2xAWD9WcwJ/LJq/JpCw7q4A/2TwoePGf9/tH/5eB3Af3OGy9gl4Zq5bkYjAXITk
duqHb4u4VAw2Vnsq/Q3MSQZQMreaDwNaHCaA0vH3Z8St9epmeu9tzVhE2c5KQt4YZsSUmV7ObGco
E9IkPpdF3F2h1GdBKjyZ/U4JscC0fb8Uci7cd2YhFlNHuBx3Z7tl6gycP2XzivK0GfKzEYs53eXK
OeJP5ARSCtpOOZ1fwJqUX2s8r9UEjS2js1cUdaWXwdNye747bo3H98XmcFTRpqCfzyZ8rpovM0fu
VLAWyNBYKj3ePgBoqthHjr3axzSNIAuhU6B73dz+iDOY4Oozb9vFocEYGX66Y5AgJcqugEhbteD4
MTZWxETlgmumvODzc8QE3a5wFI1XeYcFzM7JxpgH2udoy6z1J3peXJ56SZuQQrwViZ2CKYHAmwgs
hcYL3uF+T0HCCp1eosobF0d0wWJouq0hoScunQCpe5o9WEKHLHz8PHqjJrrODlGLgoryjAAnjg+t
f7endBVAt7LqvE84e4coe2sbucQG22Hx6ae+iXcOXntiB6iOLKaRl9c4uCW4eOc+OAdRAkj1Je4N
dTVBIv/XYJFAAql0iHcBDngZPiORrF95jfWBiEU4hcx2LZTcNAyQp1YURkewfeI6b9KckZo3+4sY
sOsFICCVKl3+1f4eXwO4e9xwLvcQWlqRy1k6d+slLADsNvi6rhzqcBKdUDC90Ne4DoIZaUTM1/EG
Hkj8+AcbN8ZI9EdyTE+pfYnW6/NIzoSWdcvV9j0rxR2KZ77XsQmjfcQSB/kro+re05cZJ+hK5WCH
EXrBaEl0scJiYPoJstVfWpAmvhiAW2uTaTNtuHTAoas1EmClGrk9ztfj0VM6RI3bZ6+Nm1RqdYGc
mYU9eZ2bEUQHEj8umJ3zwdLw0ROlg5FB2wPhs3BZq7bes+5wgIasgaHLNU/7yMiNfjtlKKAvbs55
uUnFj1JQw6AaEKVDnl8HaiEj2qL2Fd1vjtN8zeyVx4fLIERZXLTXxYAfkR95QfDg4EpiS0c3QALp
zwdWSXHww66clhML2YZ+kjqAqdyOfkhjx0wZ6ClcnZmrwjgmwiLI2jgQCtMU9CQ8do4S5AGwppyq
D1YKe59UvDg/x83qDrGXk0VaAYDC4nqV8aDgkLDnForsd2XHCzWURGzYB7zSVjz2OjaxIXB/zNNf
TeuYjHem5/l9vqiWUFKQrDklRe1fX49SEEMYMkQzsGSB9+XP/XIhDolbJRjZtJaq99kvGSUDi8mU
iowKpKmB8H4cyHSwO54LSz9gaDIe5+txQC/VheiiK+DLmF+0efTo6sFnn9CVjXmTi+F1j4stG0vZ
FbSc1BZPXBs+VGRCk07k4zGIGDDKAmtxyk9jciVfhD/wqDD8Eq0troX0TT+f1hf0mV+zO+/odoEE
F/BXx5SAihjJARJgQNTQ/yuRnFZ2nF3D+YWyjjMCHIbeT05mxKvlf89AAb/YW5hJd0jIAcMERjGY
uiJOHMvAzRcGIbAU+czHXczEpfOBA0q9agiVk9OXfrU0a2fxCwlZ5KYG8CSSy2olJJGVLzekPRE3
jjry7ZwQ8WoHtyL/UduwIimzX85iVTKSCL7L90nFR57EwGuP4bZc/PXiRpnN/fhnXUa0csaIuwep
ijQ74Si1NVspcHkUlCLaSejz2Z8QW/LouxGA+t+UFyv5vYTRCaOYhPGNPxQ2DNk77L4e3aJg4nF5
+yvexv1EjhvVmyxuFqqJ2u5BI3K/WQyJHe+i2LeuPyob0mkoJUvJFytsmR3yZBhPGWL+ZnuCEpM+
38pN5LRqOQuAn3VeAKD8YtifzELargYHcOXgMw+V9MiIDis7oUu2sJLk3+jy9vT7SH2FEIjfMLye
L6fbctVHcr0dFe9CBd710wZTj8pANCtyXiaM8audsRt/A/Di1vz1FSoe7+TSsdJflT8+buR05UNG
CHAqMAsIfgZ/gLBF+nWTs1DiNz0X93jTYWzfnKjD2wNMOgKLanbxQWqKiceo94z2Fz5edamcvnZ5
d0Rs5rBDDVszACzppmi2Tt0YIcQbG0X5oBkDddDuKwMN43vgBLqlq4uLIgvUAoQoBXV0ixoDI398
3xXR1zyDGdIxnf31LCQrSX7bmXcBr51JJO2mnPlyRNEFpAN4a6Vpa6AP/h6Iuh0sPqLfS/o/Sl/r
c7VHDYc7TuHXBfmruT3Kg9JRK8JNEGdB5+KL3lem4TCVJR901IdnUFNLaOegvYQVBtRVWA4V632+
+rKYocOarOzuZMHxtQesBhjgZr5CH6XIHEnaL41WwJ/7zB6pTtt9Jii3oNrQX/arOvr7smbkES1w
lr0c6bLmfMsrma6g8vGefgsOgOC8M2jb+yCyPj+vtp5Yvow+D8E66yULvhMaSpuVOvruwYYJdEQV
jrBCEcj/gc0H6iJ3z7r9GKAZsFAeq+w8rsAr3ZKNHHjx4N0iErW6y99TsrhMavIDNS/+C71TRi3t
qbDs8bTNLVp19KYQuD/WSkNmR34bFbWULphfGzyZQhsDh4ExuWR2eZP121a1BRw5+MHRBNs7NOgN
BGQcDI5fqynszkacGDqKZidm1QFycTUyVGtWjdIldp3inLTs2/BkUitbkw/G3Xgf4AGGHx7sAX3y
sKnaP5DBXuEABttQTnyAh2gXrRcYOlGE37bAx0AqFr50W24d8HdKkAkJCxXhruZqXvewdbGW+tCA
Hia14cyIMg5iYENyK7XVQWNAHxDSmyWUa1eO1OsoczrIs3BY9+rj2WlHJzw2IIp1cHQIy2T7jjek
JeQilf1LV4rQNRYFmo4x3Myn+BliVW83e7OBw0MRDMiBtPBH8Wq4k8nhfDydw+8CcVZvdQnw9UQ8
DdaUctVAawl+sJCK+LyCP7ehHdRlA49ndQn6teXckLrTgSKBVcQJdyd90bX/7NePxs4rAz31aruV
2dJAuYt50fg1BjYnmJuqorg4RYrfhrRM4Z4GX+SCBRNVqBW7XaHtpGM+GSsXwfVe4PtOCUbpK8nL
tz7N0upykGatprfKYlYlgA4TdCQsSThzGFSwGGKMCUqrmPbN5FMS/dN+2hq8cG4QotXArgZjXrMC
xdpBEMSzYROCVuriWKJXA57jWhUaN48kFAR8mHgskUYEoglKySsrSWNxkXswD5JEkAu2WaCjHgG6
X4timLqOKq7+k0NzY+92XRRPFMKUeoyYMwOjD+f7caiVp1Mic6px7yN2Pfcz+UVB7QdHSpXjkcwz
C+eo41Sd9XaSwfGbymCE/cv1HCDeWMw6UQiD2XFGj9Lax49r2Acbb0ZjKqLxZZ0jsrczxdq14NkB
FdEtTAl7YmgxxyDtFOFb8pdP16PRoHD7TG/+9OkR1z0d0pItjQFf2RpqYKiyFzepqdxLOC1m+CCd
5e3u4pj6mEqmd94FR+gN5bjz01+v36NhQCcq+VlwM4LvaORsnjQm2d2Jubcr7J7s1dflSDAHdOyM
puu/5I37y0JVTuwqoZ6Mfa0RKaR3e+B+Mod7AQsqZ3zU2mJUOiutYebLsEmK0FUNwdRoM+UQJPEG
KJuKBd7fyYWo79g9HOHQ6jRuNu0BaOiVR9Ol45ETLBGJz6XVoSaxDmYvDRPXCwgHPbO+XL8Dtxzt
NkR5oeHA3nFFKxzjPMVHYt0hhDF4hYJJYLFFmDHGYg+W7Kf0aCvesDwpqmSZj+UqY8IilB8oFw5G
eKBzcqW0QTTEp0Dsgg8bvQM16rT9mSLu2ER3NvWBzsvA35QW443yE94OOll9rKQrKq16l4Y5keQ0
/EAEt1lNxUJcBuNINky6YvxY5fSJEKgfl8EXk42jLn0fQPRGioKLk3nYY+MLITyL9hztsuKTNxdF
CG4LMvbue3F/OcWgpCVbXaxWHK+pnG6/a1MdIdTuykxAfiOOae5eevt1NNtUIaOoGjD9deFRe6/z
/r3j5qKTc9F1DtDTP0yZuv0e81NR9ojiblZcJ/X4IvihEAZitTf/9VZvaNemAB/H5c3Pv+JJi19p
psWuxIZFuryZ44vqBurXAgF4R83HBw0GD6VaxyyM7oUpPOOEB1cvjQvILw49AqP9/acUI2OKGaZg
gLn3HjvK/ylJz/X41nPgJH+ZhjNooaZPDUdyMQfotDIXsfrohxdGa8Y1lACHr87y3vVkzUb19SNp
RospceSJ9fJgzIDIcJhBRrR+CpUu7/dmjdCRrS7TPnqO0fG+QAC1AOJA/8KqlfxEvc13/x1/KI8u
TG7sMZzWbIJd2AXYl5FXDWmOw53a+PxwKE6UMfXoxt98JNX/RwbN3d6bQj8n+BYX7hG80KtL93+d
YJUkJEGfumI7zU+hAhjd+L3yElr/pubi+YDF510NiTdOmSnQ87bit9Rpfc7TDt0tzXZA7cN7DN7S
w+uoaSQTdlrMYv7mD9ABg3FuyFRNOueCg/Cu+ce0EF5Ve51uHy7jPSReN+eKYRhPcmxEQT9G3nVk
YF9burSArpldP1g6LawqASBQw8hVgpyAz4ncBH+zcb1eTwCo8SE4X9hu9aQiAbiC11LIVo6ySFnh
I9JAmO1UkuhinnCorvq3AK/q+QK/FmcVXw7gf6KZxtTy/WxOREgjFhX8EDpMUVJ2Slif1EFKVHnX
sJkD7pNVfSL7B7+t0UbGSoxvs7Hl7YsW+J3Tg4okEV6VowzDlwcK2Y6Lk5cDWKTupI3tlfwQdJs9
NULv/OdzfrofUd4iPoUk/rQSATPNIlZi71ghCoCSv/wysrOUEeDuV2xApXyJO92Tz0A7IkkfxWYY
P3XgUecxhs+jDDJE0hOf7/MNAgTcJ6jkFyZAtn7ww19Iih4h5kYZgnEf9UG8ejYTehjVfU7ZcamE
rlI8mqxiCOQPbr79TEBVmNI6LWpYkYl16gMDkzJt/7jfsN4mOiPJEM/Tr9PJTiDacVEfuVhpag8j
LyBJBMPRfhNDUdbJXGAn4BPoDDcwsCJITWkiJ3zvO9KFjVxjUlYK95ttkNKUyxEQ/EYEY7xJ65XS
C+At+JbkKXJNaCumQ7imFU0fc2ayFvBwm5JTRjsORwO+1CIAPRxtgEjLiL3g5COHki+G1gRoI0n6
FPKLlKQQ3F2k0i+u+m3OrlgPH49YBZG/wS1BYQghawcbh6YcQdOe0QgtucCxkV59CcxNqadzE1Zj
Zs/46yrLpUY0OcKJAgmzaRVjSMsaFkZ74+tM8VjE6g7zPoMnRvJz23KH0H3wF19yUjG+Rk76d41e
xQR5U/L0K+uzqofzaPCoPBl3mgFJWFzM/IloRMCDtWk1qicR1ofuDEAH+muVwEZmLFSVKg/nPZo2
xyF4LbRr6P26vOyYWSJ9tXH8xaKc/9ro7s+F8Qu2vgU+y7BkCaCHsjEVa2icyLaGKadjG8n1D2lK
rG8GMKDVqkKiJhhmD8+5t3urIoW6QLDMBeIrdY4K2jIGnOFUnN6xDLMVaIY+0+o8oYLI4bPe3e+A
65Vspa/bkKoN/CyRDU7OKZOC+gCO5HpM1Umi/E9lyG/WbthgBUwQE5recvIYfhnVTofMITDfhv0k
Q4Y5pbgDJRt9et1D3u3fMw8TRxtF68u6aX+YpCQofOyvZ6LrRgbwgeAN9+iKbRIE/C6u2bhRiOn5
ifdybyHru3OL9fsajLPhEVtAnRF8Zn8WXLkALU5KeV9Pm9nzSE71e9hG7wWR7StqeGFdp1Zm3G7T
D9E7bqFIALXavx9ejjnWVPM2Q319fsWdIZovphXaoP2JHl/ZJUEexwYCqwjlpJmMdqr+5eVLvj4H
+yYlE7U7AZvRuZ7OfhrocNXb6ECLpRTCUgNnpJlzUXFV/TyNvSxPTrrMr41TSmvdfCe0h4wsXsbs
hX8+yTjF1c10N4eyJR44ciKsM4Jctc1f0LiYrMNcbYXbVTZGu04R6lFvjKSblDFBkmXHW8P3mW2e
jDihoaB99DhrSsXXRJyy//ZybI9WvpTdZB0u+BYgCThHtCzbTh8TiIm0jkhdfUUR37ginr0Hob6F
B0KTHpFihoCNTUuRQcXkHCFHwtLyxt0Au0tPqsI4eJFPgfm/rVOK5cDhtUtMcMghhnS0q55puA0e
cJw5qUPZnieAEmeoxmiPGZ4yF4XIwJIscI98wPySaKcN+cIpVQfucnB8EkguJGWAoSc4bTjUO4IK
EKYao0JFDryQUNDq4h8IhidpJVYFac59jrlsdypiiblk92U8SqwMuAX86yYwbiFesxwywK0VxQBF
5Ia8wABy9+61bqdBVyZrMDoK6ci1HYuSwBBNETej70rtdp5IOC15rV8z+KkabB09d1uFLwGXs4fj
JAHK34tjtHwuaAKdpRcoVDQ+zLOs7Lgopze4/VrA0nvZHYAPdCgD0E8128Ow8fSO9yOmHb4RaD+J
DqZNSfSIqFzahBGu2roAVG1GXSkwgay8BRIP75MNGhFbj9t3gmcm7QOjd6ZeTFqUMR/es3WQRIQO
Gi25ufX3qNLix0ZuFpZpV3OMTYCbV3uYY/rMuYW+BZIlU6sEW8vezWkUm/AiCNh352IG73bw7i2N
ZvIDIiDn8+de0UkM71dH0e3Pul5jsaPPcP5bdfoVjd70Y4ozym0DU8fX6DWlPOa8t1Sc/tHeQUBC
BNsmuAMEgFCTBjiAuxPWMvvxBanh5r4HXXQpyUxVBRw7wKfHGrrGMYFcLp3m+JLh2Y8NbimeIWvy
XHhvoAwXfOLuhN+u9zAJwmB7TTDCg2vwDlTWwr5iOA2r+a347Ljjx+tE5QXrttpwAKfpUI0WHVMF
iO98pCT0g7enVvV/TnF4jmZm2xewr/UiuuRjp3h+kO6UkKcR71n8xtv+7G9TihPEpzfcYgQcq26Z
pCYfi/j1OGtSvP4og0bKOYQF5pYNKvcaWrTUecgMedOx9k/b6/9OKyqcVYlQsT19ugjKpnEvBPHM
4tXig8Hnn8PY0yaYEON6WblBjV5xi3sbf8Qw7j7cIA6T2I5hAuyE9LGXw/bKQWFJQPUcLxYob6DQ
zflq0CHu4OtWD8/+y/QRdi3hpxnW5KXyvroLaCWatS27HE41HCBIS1CLSemUoVYUzaSM0xFyQq9l
nBzupE9PQ4LYLhwqxgL3FlwMvQjC3QCXEcD1u9tCBeKXOL8JjWKVa+FWjri8vzNtURoJ6TzN8cfg
sY0OppkB5cOrw3YAFQ6F0cdiwqUPUxTVlkkQu2223aePVVa6sZOGcwsQ8c8nRoeTzM3amkO/lUkh
3HRcsM4gYhq6BliKlgqk2vOU6Xptr9skvvBFOH7TXNvKnom8dHpu7XGtYqLLjX+mM81R7/2SX9fT
gU7IEiLxWwCsTAv+KDJEL0ea4tmOA6sjGAZQDVynbzxY6bT55VSuVMEGJvHVGFJcylvftQfDtSGn
wkyi5pJMtXMznDJPL+af8H1lwYJBtPnHoXi4xQNA2N7dHB5PI1serhWmxxefSAZog5ygqeyUp6Qv
5Zhh4xIi/TKG41SCKX+YD+DRRGc0VEPdQIuHGbfJAi/8qW64yEWYVoNfdChBQSgU/kXny+6TalC2
4DfKl4wAld9KLw7d2j+jy3Ob9Xtyu0KV5PhtnyCBcSj33St1LqpHUWkhFezckJyEx7SEXT4t4keA
dGmqlETQBfBHyInQQoWCtk9OBXvnAfeUhLDqOUqNKH9G1bgNH+wdtFvOY9WeZ6Z3neq68/2Jz+E+
gtzSmeE5bsxrDheEIIZ9Z208nTrIJE+jfnlK6y9NSman4PHLm9Jf4kEjUgRokfqf0V3FCjrCcfiC
cgsa38N2YX7R4bIvc/DH12SqYfZv93Sieq/Iqfzn+omhuhn3GptUxuslwTx7xzLgBsMlHcRB0fyO
RvUnfkmzN9Q+c6ofePEzAOL/hZfU++FxKPsphU/xZuel394rIW7+ef+1AsdoT0yIcHc7xd/MN2oa
ugxR7cHo9dWPbwRmj4iQT1CSWkAqUi2nUWcuLkiYG8JkJBZyrvvcGoxSEY6r+aj7SeiP7wsF7R9a
7MjA3AAXC6AREncGIMbFcpM7tIw0uADnX0kJ7/Y1PaKU2b5UK++I37YgoERdYM+EZS6lGC1uSi2R
70xeTDNoYDOhUkytsEdqUYg16s0qPVqkwIguQ3qz26QMu/1HZPQxkJZj5TdO5HFn8h1BV0Us3xzK
86QG3c3czQF/spbqE3b5/mGR6D9K7zaD4Yc438q3T2T/baepJR+Sad+FybrNvikYycyeCfBaKyJb
s8fIexx4Cr4necTuAzD8+RvsPKfMWhafxc442819/PlgBxzevN+iwh3h592xEy5nradDE8EmwbJB
ki+JpUOGDMCouUTNFUKZdrc61Xz71NwcZfnaGmF9gNFJ/I227F2Fsgkzlf1fjDshTxVYKOQ2pTxO
141UL5SZYzQBoLQ51XFzpe+OCbjqAERhNEGzDn/VMvY1YkrCod1bvwVNFYUT2HQruJLnkE3rodrY
OBx3YwVvs8LtptaVZLMnRr+LH/AusORaG51J6VuVOZ6/33kFDxTXE9zEYLGD1BvR3duAXRodz39G
YTa7UltMW1HEI2eMb7objwgWnfHRTdZF7AvlSWv58y8oywSJUeS2tStAOgzn1xfDcdOELXL/xB0c
/i2gWGTTHBqbr9MUzlW61lFZfmcX6AB8+8MPYEm3dbtzsfmhLabZPPBnmFWR0vWaNoA8xRIoMIPk
sMcx9XHV1OdXPHywVl42vFhOX7ZtmoDi0JUyy1zLmTV7nL6FjEseAeMeDLM5s3CNneRTQBmILa0x
EgJ5AF9XbCLVzsd4KA+UOqrw9T2Z0ZP4X3R0HTgiyj2kYupg3NS2Ht9jkfkdmqcE0Pz7nMFAVakA
MeNZPybUtqXB0D3R7sFQof7csXQ/1pABGC9vk4bDT9sa3mAY8fjoGKGwomBXzyOm+ljBuyT9aeBT
hLvZdRE03VE1q18T+TL1xaYaZu679FjvWOL/fGa+HvD+tyvK0nPLi0DW9GQ7oBiDeJ7wcHotUa5a
y1usV0I1bIVhbnBH+i2/5RnC3qyxxHDOAAJ8viO8KOlkngySL5H6GXZ4gaHkhW3Ll/3cttWElrCC
Ic+AQhNlUEA1NuzOFgtnDsQqMnlOiHsX2s8md+85u3ERAr6fyec4chOtsyXzBn4eiAYoFDiDMN3r
FLhjeI16Roz3hXIJv5vta9lObcbN5HCp9nnb5TOmMWhwNXkQVQM5SrPeXbf+OV8ycF7+Zdpi7oBW
Dr3UsDtBLNfsZRWD7q8S+BBNr+Nn5jDXUnTXWHJ+5U6NzwkC/P5bd18fqzo0f3lNzNaovamWkCF9
bbXfXeCIDE4YqLh+ebnuPELKyZdmd9wzmZClXc8xWB59o8b6JI/CM5aphNt7fAJ9pmqtAThuEcRo
AXfF8HXYwEIf0EwcECrTlZD51fPu416XLf6ev5HmmJOa4EXmu9hCoOa4VDj/8FvQCPco5jcuwsxB
AWvwHeYpDrNtZh+M5Zi9cXQvYM27KMB8ljcMyi+HekhjcQOip0x4evUOzBYxzOwCcZRY78vxush2
MsiOMvc8zxbVF1SQ+PNLGl2dDmiHX4bp4Ry1VpCa2WJg02jvdofJd0HP16KY/p2o0Rdcv4WDS3a/
QH+FkBeDzdHt4uxY/hAlAH+bPbOxC4egGbdJdtP/TygBsk2bzvtW+hA5ERnmQTOE+PLB3mCLImco
Kc4wc0+Pee30tsyXtZ7dYoRLi0ApyXvuwY6Bv1RG7QMjmeblMMuMPdGFhOeXnEyjK9UA/sE4ceXQ
IyUUiLMFG797YLDbxn4qn57HmX+OW8fypP4Qtdab+KwMVPdBPdWl+7iQxfhDkd+BQQADErN4nGKc
9/KB+vs0U0nMsU4ZhilASTYhiIxL55dD+nObq1ueA7UzJiDO8HqN88B4aMMtPy+3HIIMaDvD521o
DkBAoVaCBpDzAbhGqDho+noDDE6OpX1t7NoQz4/1IjxZ9e6q936KWY6QwbuNNhD6SDvbiN9hs269
nDVMd7s5dbwC+3KhLVXp0/EmuTX+WtzRTxp+/BKfD9Hqm6PHoPYuh7sjHxEGhAyKeFCDlK4Q0T0V
S3vISq5kdMC++/KrjKEPEaD4X+BlEOP0bjFMZtDM+yymOQoIxsJgq3ccIXFARR3SpmbGC9M7bUqP
lXNNzFUN7I/WtmNN9NUP3K0Tpmzm5XvfnVEvtBdq227vDXqnatThQirkGru5fxqoibQV64AAwa5j
MDP6HZVBx2WHpX0Ni67Pg3mEm67dj98cOhOEXuImx7YUOtBsFtWk9r5WutBWpfts8Og4VNgPiCZ5
XMU36catUQenwvYmUBdnaiLFTcm1wPmP5vsLNcDWGe4OOrvTHOLckitbGWpsDt0GBJx+cpi4qA+f
9hv8QXwX6HgftVcx12Ik+rW6482xd2j1nE/Lz3AvgvGFmhWmy29/zfwXdMIs/MD4xErgvageQb6s
hlixt+7wEfyGcHNIGOZAenwfWqf8zMkuvMsUy6Idf+0izPoZk5R/T91ip0IT2vgm+n1sq2w8yns4
5SPg+ITPDWkffYgNZ8426S+uezfMFArr/e6/gXo/klrSDFvgfuvNqLPqzbTTc3TGjndOy9qhApTT
Ak5GCBUkMXPUvpwe7WcOSWQBe0Vq8BnzoigWOHlgufT2KvQ4WAL3A/DaMKDWTkNpM4cVYdzPoTC9
mdiZzopXjo+YMewM9ZD2Ukm5lXjaJ8w3iXBINJo8ZNp1B+RcCQlFlaGJRZ9boOMbXJKD51S9uor3
i8ue9V3dfbgby3SajZ94pFuzq1+HtfPCPWSNfwFMIJviqB3j59yGjeXmCxJZbdU3CKCSIQvYPn6S
C28G62srB1dfwquw8r0ucuBAVpuKz1g9pt5lZuAz0L4MOOFq5ulMzRHZAu8QeXpSJ+o0zyOm7kA1
75Id0wwV7wWqB9uM5HfcPTSxIqOBx/UNfqe3aH2tzCnXTWSOWtNvPsVBX2YqOd9LwrjiPugs7qi4
lbk5z/fG7oElsP2S7QrXo9OGZUGggerR4j96dhrcGc2Bkw030+6tzxtJ6a863MGDJ25h4jKjhKKS
IZp0B4hfIArgauEYevjZUFswHIUmQNhoedJ4dFSkvRDFOTwRiyiCCFfqpCqskkoQ6uwudXb0PxuO
4P2tEoQskNYg1YdzlWV8hTx1nd129UiFmht+E3NKGACRtSA8t7arZg7GTzlPZfsWDGu+xG+gA5lA
HStGFT4oc34ScJbNdngkzFG4TrXk2wdFGr3xg7eqCZ5ZBrf+Cn54gT3ha1ntnX78MGzs3PyQQzt3
k7OXTJIQ6sn2Oo4RyoD0f61WAO3MSX6riA2JXw+4v0wQBznYAabitzuZTE7yyXunDzZ5wUezkmjy
mNn+fD6IzjglY8ODzNkQh2fdT9CAtqNrgu1d1mPwwxs55WRAnsPZTHG2sMEQgG6rKe+sokLhUUJS
XN2hEoTmfBZyLify9MAtfXAgjI5/PSdq4WfgUYYfbhvb8RYanK/v2/MgT72329qbYPb3JJ0iDqvJ
LJQuAP2ex93dH+1HMHtgSFrCua22DOvQ+M0XipD8vEhmg3O4V5gQEIEXDW5bZFdVTyxtVNDLJZ2J
aI8PidHDXrC9g+Pxeonk4nJow4+ZUFyDODd+EhliDgcWjixK7d08ws+u8Sepi00xjrymT9XVh6sZ
zU/NDvgOGh7/29BsCygzIbAxTCE+E4oKLwU8K+Tdh20hy2zVl5qn7cOSTD1z3QVPN6RaQz6MzJFP
9c7Arh2RwiCEjQ0d8XiPPjBONLcn7wuvMWQzAY4uZnUM/2+2kV468WMbg3pvWQMazoLSBDJ2jIof
jmsBuRCwUsiEiiG32dkgwaWEXER8KIIzxwNuyn4bnBIe3CNecXf3b3AhnqXfd8SWOIlVn2xd5y3C
190S756YTfhA7UTHzyqy8Q2bzN4/a/Z/Jkj1bv0oFiwdna2aW2FDJiLTqcpbwAiQVDHp0/ftx/oc
R1pINxILBV3nAqdhsl4yBDAvQujJnLk/m3gYrjNaiLU8O7dtuw+bY/FuoJXqIW7HYxZK7fG75dPD
xIwIR+kn2GQoZMIVuocHY/LVigeeYrnHr9sSChRv7w6iOZRUG4fsQJYJdPwGe1g2eP/gT6Dy8+l0
9/QivF69G0GA4yL4zTvc1WUIMW0Wzs54RDs4bqBDAyn2mYzySgXfyOT8ZRE6u2UtNP6JFw8jZcC1
YtWDGZMDnt1LEax9PzWsk9gQvDN7Hnxha0GCCsAX0VnYkyfPsbHyySlshXLDVgHvbIKMwH97E7wL
+7HDcjf82cX1lwooKfZozCKdVQ2fVOCEYV0IrNS2sw+r+vawBYConNnfghhzyTZZmnxGwn8t/PCy
F6cntGtHngdQ1L5JlIS4oUEF+kugJEOVOTH1RWX5/Gq5a+1Jcjq0SZ9NTr7QGBgLnmWcnApMmSdM
iXmY3XuAcfKJf0H3+HHp+cXz6al3P31F8r+lmFjKlCCMnSc2e5C/XhxOOAiX4g5RDSwq5PNMqFU4
dRoKVU7OIOY0pNQkJURumYeFN6Uj3nPeFnuLc5LzxmcNQK0DrUmKB7/j7s3fLWqh5M4xaezCYhW3
oD4uFhfDW3BChbMwyV0fZ2JfHJSArXE//tkkH+ZAFi2/fY+XP5dZJ2PSbpJN8WBXPURjf2Kjrtdq
uf8J1/z1yzGHDWMh7HTwVhohV5kPXTloHL93uIAwYB6so3YjloM0F/ji6cOBTUDTcn0bD5af/Vxa
svFjMTWzPvzU3vBvOMxcVboDI7aCb/TzAWbvHuKX5boARedXQa1qhwXDL87o0n3Y3RlWARrjGFyx
nxAVZKoCqUh3cjiLIpywx4BCbVyMVB/gyNaYzEiLa7C+j2OOzoNvwWezYZ4LW1ZcC87/l/ApqVtW
bh90rgm5GmZc5rObi1r/i0DH+j3YGfWaxSj9whlHslZkXS6ibnwQ/rYHgi5CNvOVs0NsG4bmpehi
WRlS5DzQzrC538xzcQmddHdhcjolKWQ+qAeT8OOJdMVZYtWx3ELNJN3TGwwnJRu9F3KufuIPMkM8
rOUqPSWFb/szuJ+ASsQS2c4jFgh62fr5MlSQA1iit91mfo/lLac+kvisc2LW4DAUdR09YCmodvwM
sIgJ8THlJXHt3R2GExKpej7tcLOkN4hlYgkeBMwJV5cR88o+VHNOALbppEfDz7zyO0wFtsl9i5Ju
z7HnCAGDg4/g70NAx7k7dyLDWOOdfGHkYyldK6SczSwi6nGhAB6bb/FqSLuOgjEzLwrtKFXKD3Yr
uYrQk+RASHouQNiUjixETdwRDECFVS0swePZPZx1b9gkrFY4G1iw01f1y+XYLLx4s4eN4OQvP3Zu
BWJZNLlEP0CaGBBsr07fjKAnpaM0Qg58qau5ForUW3QtL7thceygW131+x6+nQxj7o39xxV2Yg4O
/zpLhzhHgDBzEExwWI/fzgpoAgr2xoWBwQTfZf5Q49M43DGhVERANif6COiTTKzEJHP8qG7x7fKf
hydmsHRX/dbagQrPGxUsBNLBuMoQuYWoksT2POY5ewsmSsEYAc0UlRDDJmppZj59Jezv+cUeCY2C
/Xg8jq4RN8Pc8frZjkmy85nHWRTSPEN4menzmMlKuMJ9HF9Zh/POCVeUxkyWzriwEYLL2l7N7XaI
wfzBcGS5EXEgDNZafzhY2hHOfSf8b4SP95I0bIgiah5OJQjlJ//GGdXzFpgrj0YaNK4fATwOqaJQ
MK8xy8O3OwN+RMgzmz8ocCa+36W7ldJPya+MelZUpfw+u6LU8f0wxFY1pH+YNx5ObYkvhFxvLESY
qIIdOkn8in4wgtHOxXX6/iPpvJYUx5Yo+kVE4M2rzpE3SKgkAS8EhRC28P7reyU9ffvGTHdVIZMn
zc6dO309M/1mlDuMoBmeiRyVbCeCtQpAw+/nkNzjZuOUk45bykGHj7M1qpNy8laZJG8HOREHCyZQ
vn/LZG37IeU4C3h1+TRS5NCIBLjtfDxLPpbVs6zQ349Lze2TCXIzR99JTXIhXgvnTIl6Rd8k+qEF
SDWKBCdhTFy4RojJ7Hi453QzrMpjUUo6J4OAY11us4T7373Vacye3cOPHuujU7bIalJPqUBUgRkk
zouIvQKcYM1Oig5ZoCYZPBqh31sbZStGYnGVoqnnoF+Oh/j7eVVFQZsxZi3sdm3FBcGEHDlJ/E9c
yi11NHN7ZIfVjBeChqiTeRgdqW5vWiCL3Dce8CMwYK48Io6l7KWIXnNS/yexPK3KHkkOnC1HXywd
smXYC/23nfuVjzhn3iLh/gYSLvCNZfE3sB8uWJ2IVNHqzXCrg5YhxrCysEnWvxHIWPRFrun4exLE
ltHRmJpTOTSbvfNkBTHrYcbFK7FRrYq61pwBDzrTjgICb5CPecwJqYliqJ4nYA5syQxItU2gsD7i
0rzJa1EqEgzls8zASXntDnameWd+LqIFIYPTaE2wp8KDqUCGSnbKaW+OI09fHf+EPg9n5G6Oeys9
zv+YM5OEAQ9s9jjL+MPoFs1fqJVHXcYTVOLfvZw+IPtNoMTzAwdOntKQ5xNor4h6FKko8kHMBCoj
psPEAUHXSxKl1bDKr7Qd+Dig/OlY53eHAwsRjXvBxWFLItRg85FUYpxB+kAt7/hD1u0dssrr5R5c
f8WORvIfWhTwpdbkV21O0duCBP1KYoqcSG0Wnhl0bNLjRt2Ou4G95BDvVBzYJum8rN8SN4/RJf5t
4jBd1ISy5U6wpOqQrVClbEY8grfDQ+A8RBNQqQllOMPwUwZOWZpp1nIQ8wFGDXESOfYVKvrxc4Iz
G8HCUvR3R8ayq3EXpDpJz3WY/bdljUXUHgemjRAK6iK0qT241dYIZwehxHVtpHXIkKJo7uEQkk3B
QTmMSHID2x7RDY5jg1Mz4fA4nPuESjR7zKH0exgTy4cdP+GqFQs4J6RMVGESxjZiB2K2Qn8WohoN
XAoskmnubUUVBBZgZnd3RTnHoThOwJgeI4ZcrQFsKGM/7ReyWkUW3Aw0lg0aF9gHQAvvwxTzaOT+
Dlvg1iOgW+F6vUNChVCgHwWDVLCiRbWPGXaJrzAL9hw735vg6s3FurKNgMiIrcumk8QHJvPZeKE8
JnMS1F88FOIuNm8n5qE/hL17M0y7T62GZ+pwe3wjKUieiz6P/2bi/2U9Vf64izFrLcfsUzOcxNux
mMfY9HHN+ogvURSzEwoxVdUmjt+skwwBo7GysR14tGs1BFEEHaZodxPPFH4iSy8hcktL7K3eMEvW
hhNHQuSIjGldWRygaw9Pewd8B7q508dNTh6rJCF/NAFqNFApmKOGkwvQDzSHLySSANGi5a3Y+gtL
Hm10hrc2kI+Z76VtdgM4MVyGF+E8woqTZvmVsT7LMIzJ97RkrNuM1C6GArFRkWEzfmDAsDN+HvH0
FD9ta3TWsRnQzwWUYOacs+jGdnGq0Msmy4A5CtHEwz7wUr6P5O8OTArHKf6co2HvqyCoW5HpeIgH
ph6vjKjHSeMe1wn1zomhZNahUGPgl0Ufn8Te7gaL0c35TjD8cbUrSs/hVf00CjF1/pYldugxUq/M
Tx59jtN3iYuuSB8kIjDMAyG9UUERcMn453I8GThmqTsgl0zm1H/TG6nn3vF4BFTtHss+KfIywgLb
Uw2ud6Ki3d3kC1BY540z+JyBvoIN+KEIL/PgycN7xmFjnCs/f4+u9ew4U+Ufmn26caQypXuHkO7G
opSp3g3+fzc8TSnDGK3WDAuZWIFi5j/rxEnZC3Jf0AUpxFhUU+6xEUdm0AQEOZjZI+xkIsbXs4Og
99DsbAnwVVm6G3JwZWaUYp//YDVK2ToZJTL2pAVbY05DZ37GmzOIZhyLhIkfyrl5l53WFI/0Ww1S
V8y+KYnbalj/3WjvkIArSTcHR4U+RycJthGD3Tf5LxPE3nAocf1ytiT1ALqoiO86Sf/SrvP5QOWh
CzRH37FipaP6XGDSsEqNhlvNgooIniNq+Jd8AhbA9iuUypjXjZFTfSRYC51+GxS5prGS7i/7f9Uj
uV2NM/pqMojeJEs+TVNZD9GzSS7fIrc/S5HbFxWymi3O6lmeMXeLzIANVb2a/YYmA4WNxJEaPEFT
8hc21o5ULevMb6MVrHee8MMmduPbqrL2U6J6y0zi3eyrzS8rM8prAap21JQZJHIrQt0E02BSF28c
yQ/lJAMMmEE/BTpJeaVJY0IW+LxQEbViArg70KQ7yUkDLtXuCGGgTp7jJarv3Wx0dyT7ljjsdXqm
w+s7uIt0TPeXxApaFH6DePGp+qQ3p4ox7QD3Z00YlmMqNSUlqVbEaKIwTiT83Y7XKoTlE5KAQoil
nOpGr7i2wX81/xzKwaRLv1Y12/aO1VIIlWNyiBSRPIA7V4DUL/b1ttqG95EzcsKp6dkK03CSlO4C
NzLa2j2SsZ6JlZIhDXSVNn+fKD93bUCqlVX2GQFXd39vv6nmiQqseWA0BAwMErwZ3WNwI/t6Bnti
3fKZDgvvtBFiOHhqoMga1Ts55WX6iDYUgGeYE/oT4gIFIMDC+HE3WknqMaLoOKfEweOwQWdawTmX
3a4cCXam8il7qsS6z5/1HdGj25VkGzQVOeint+ttadGgK6Xg269ZxCgUutuLK5ndnHMrBk/FMbz1
xTuwC6/HD+UD2ceKfCDbAaNXSK9WFh2zunaOWTJClTUHzop5nouprn/WVrDeecsU2LTm0WCDjFeB
+NJxBCGe0eZgq5ZQ1d6anbgb6H00xFAooORn7m1D9UVdds4p3mpEj9qOqvV6YeJONccf1aDy6+mX
os1xZ8WgMWM8s6Fba7Wev9Tduo63EJgALGmvrqv1H3qG18mi7S6ObP6Eb9z4w/hRsWKNAwNbs5g5
WXRiAPpdmtzgv4x80IdcHQ27PaQHuopZe7V1UHxdGwm5OsDfNlNMCGTV0ToKZtbBMnHXvfD8jmFz
y8TPipEXnHhHEmXhI4Idow/DwAEAk6DjjD+TXvZ+YHNy+o2cZXPMPk1ZsnategbS3UjoGUemHndQ
pPmCJwNPkzsr8a7UgGujNsE53KZ7j1T9ecKTfneHk9kPExZOz8wOClfh7sN+AnU/6t0ryBv4WUXH
ZbukXhgAejLACU8Ylby7ZtYB8HnH9GaKMabNYN4A2ZbV4c8bbMHPzQJEeyAcyPu/PsTD8KoPViO8
Re2mwatusu0+uLZppL7XNg1bhBGt6EvaZOsDm5j77BpAN5qHDRXK2w8oZo8DPHlj79z4OpuQO+/X
5sc23Si/57EsGILHzZ2fqe1hxPS5CEyA7gVzmPRMgT+cLcAOs+1mXTdp54D4WH81OkPmi2mIpv1E
glE+rR7MAW45Ry3VH3s3EhwgZmLjHAtCsIYiXJGu/f0c2+rUcBvqcjB7uKEE2dTL3ju6tY8j4o1U
BihI3rejQV99yIeZBm/aJxTHwvrL7yHy4j2QTHje2UXNqyZ/BJyHq3CZX0UGB3GcLtMCGMpxF8BJ
qFFINeJV+6b6V0d98kkXCac7+8mGp7/0FAEazTEdPvrDc0JHtqkb+MX42SlJLk9xbevWBtGaka5J
s03w51qJ7A2zmRYX8rgP3/ceMg8KeQaq9M0m61xJJ7BNeTjYuD02KDUwmE/IXJMxS1c7MnyZATT+
BnDbZ8gGxB1mOtYMGEjWOWOFFv/9OepeO2RuU2+HL6P1O2LebNmjcUjbH7iB72R2XoAOZl+D/oGF
IWVfv5/QzOG+hF3IS7DB/EHHq5lk3vBjjmrJeex9lb4HZGmkP9ambYwYkDJWL0nmEVLdkNbX02/i
SE1B4W6YBT9ckGb7YhYvRHTS74dyCdCL0NgQiqqoLT7Z76VeTpc2IduQMBE6kxxOAgmHE4aZsplH
W7a2agmPjMVXMybctqTnRzppjBr0Sa5pjNIkM1/GBpWUJTnjiMuGcKr2LUcm3wGiyCYZG6a/JvxY
pnSGNF4DZDuQcT9D/xaC22L9exyvbppxyxvKvpKa3plgR4JMBlM/BiRrJh+Mbs70riaPOiI+xpo0
+KU5Owa+cxyi5n2mJLJQf3jRkpW5N9LTc+iOIOgGwSSignkbXhaRtV2AVewzVGO7OYHRL2OIvGew
ShsVNFe2sS2Z5+HpTQIqNGYBbSoKmuPMMyqokHgeJN+YhmRo71AsKaWQZUVUGQrt8I+1zm5rZI9k
9Ofnz8RCRKed98WvS5+bGSHzuBx9kC+BGAR0/LCgiwIRyyNxR8KV76mC7FKjNjGKLVkO6BqjD8I7
bK4Y2Xcagn7M8ByZN/oXxwwjWXZP3DKs4y3vuDfa/6IqW8SUgXgq4SA+iyr1TGUvZVfd15BW4RLG
B/eN1AGHl7pZBiZODhUBK7DQ3SUK40PTpLGVXVvs3zICVPuYztJkXw31cJZGYE+wN0Uqs6JPrEa1
gV7yKCBDUz7RBaGB0lfgQl+Ma6UrpBNwWgjHIo4fktV46OjyxhfxaNR/8mBkL/aI/nLMGwIt/LYS
yX08BcyztStFR1Z2ezr0sdlDAKANZ10Y0DUfTJnMgx6Zgfgde1ryFys0+1OK05L9i+gr6URF7Mx6
WqBZa/y64/e0QyqZUcJLAQ4IJ+tLksSZn+OowbgUUAfOSBAEcgq1orlH8UszEETBpZkCRwqBLxJC
egk9vfsFYGul+WOSIMGXEYhnw4k3B9GpGFFJHaluHmzMYgktxhZMwFMupAteei3A0TmFBUo7eTNE
NfqpfF8DhJusGGSlFoimomGDMNSPj1piU+1QdJXNhhU1JSwg9lImEP4JrTKYTlWbUj6ATIHszQag
NCpTrENjRR7gunTSSr/P8AlxclCWCWmpyRY1EN6JDe9FUi/pHYPFk26nYHVvdpHmtFtoKfhtpvAs
TdHPK3eAvgTZJIEkWXX8a0Hn9oNwgePw3kh2nRLY6m7SzkeEURBP75HQods7942e78rJrCX4ByMO
dMiqwUSidZym4Ok1qHtoYGjvhmzhB9ENxr3nGRybN994IhEnwLa6FnIcA8pmxM+eN2A19psxArZg
JtNmRPVGTtOyi/UGoOEwolcQvaqbSZ6yYGypK2RigLxFLDNFYvIPMM4CnpoJ0u9FBSnTOAZkQL99
9OJ4scbq8EsylHEYOVGKyrEWJFyxUkADgt7bGKsCjBpo+r8VlpjwrBLHNIWtVUCBU/OUBpJgiwnQ
b4SWQOQBfZsGuwKWO1pARmwALGcpAF3qeCqqJdIOQCUiUZ4XPWgobA2dyq7fta356A6sFJa56AW7
4sGwqUUxJsyENbSEbxayNFGE+pb88FI1E+5/iH+qgglDyCysrP9jG2jMJCX+gzHmXoTejiuOFk58
V8aaYzye4h/e3f1XMC9H2vtzs5CW6cWY3ARi8pz9MiVfwB9Jg7A8M5FivEfUeI7yaMUGi5PfLkWA
twB3AEXELhJgPkGs0+MwBS91yr9fVhKhsw/dLCjQj6ZHp/NVkdBxi9RktlcmpT4/3yObu9meGSFY
CRnYHgm4gMYKzpYwRQlOk9okPwdlPFqARcu/jAFihFEN5F1UxF7WCkoxhdOYWmkykXV5rFgCWYzZ
ALixayS2uOjEZSJpufdpZRTNsWnHrK6OCZivgsjGvIBfUyLBTwZlAKctNm5gjFjqNTJMYwLPsRF6
bHQGOKDXisr0OI7pgDAay2MvyMfpiASnuo2E4mAbXqGIf0Y19SK6MpF8K2RIDEorWhg/9JJ4krgK
QojrxgffGAlA05D9Hnf7BxlS9FPYA8lkGclZIJci8yfEUqJWwTs2gjM+dP82sQII9shhA/CZIN7i
rv58Srs7u5molEM2arnNJL9YOQ7UI96dRekPfyHvtzzjIysVIUvIqDIkCq/SVUfLyzFtm6kAe1uA
c8oI4B6Jd/juIt7aC3e4nP1aHapie2VJAKL/EdD91+yzunMA0klWQ4d+uxkzojeyBbgksgDfrgKT
TIsndXGYYi/uSMKCFMK/gLfYDxYDs+sWE3zZFhAJi0LgjJpE1GRazMJnhPLuzzd+GuFzDwQNZ9sl
ctN3Zyma697RxNgTkJfI4w4YO9QkY2CyoEwXI3McMn4nE1iHP0OYj5sk0xJpPetniXCZaZtnF61a
+io3xRJkdsuWOEdGX3cWPVUzl6fFaHUkuFCrTk7J+CIanOxxiWMgNDyjI4ScxEtNk9oHnJhzgd4r
6IVJMkyzAEmdFy6/ldPq34YOSyfwEnfNLcvB6MRvAIM1P4FwO4ZeRHBivwJMkYzd85wNNi0AhguY
P7FjBvRdlDlmmrF/FwBzMo/oFNzCFLYKJxbuzFvP8R4B7TVitjHqA/qxV8lBJWQjqSYkXf/kFOcx
02hDuAP8j7QeT2N+X8gCPNneucJUAfvhBCpizmmxM1borKpGC/Mi/KiJcWBw+cgbfNO/B/7gveHa
6UxAhKPIwzq3F4OuF62d/HUyIACAlKB2pk4ieLPtwDiFkbTGw54txvTpfAFhEZJrE7CR2g+IkmUq
BPkhugcYuklcpmzEzpkgAsiiG4JZb+nAnjq46jNToDpuTRcsvKTJZ1/8h+EybUYVPOc0AdXPvZkJ
JBnxLrAOQr2XAL7xK6VHyUCW33b/4/1KMdrhOBDVHByLaS4guI6WHbw62CQAA0kGLCsSgoyXSC+5
gJhcEKVl8R57s4fpfy8JRCSrPezRJ4rPAyOGaEy5EpGmQJ9R0iLFrIjYNyXRVaEvwFvwaINJD/E1
9BHnwwqpjSHhkhftChr8TH2dDCZlVD0a6Ptv2oS1TxBmRxaukE5PwMEKKAsltaBPaAKkoh9as3hP
knt5DnUw8A3L5Ohs+WfzE/v0tuCROOqLaok4E6TTXoRO1UFxyczp0iYlNwIc/JJkCLrcxwaxWpad
sB9CsflgOSA7ffDBb+o9MaeHJ/l1RMg6wk2uA/M+Yb9c7LNFbEdMIQgK2lC2iH2MkFuBg8tUOEg/
4/68BBx3UUBMRyczRUFTZKCAODF0sQWEMkiIcefemenrnxF7uGI0cWnYQ23Dn4Q0WprOqmGAv5Cd
zYZ2o2MUxP0NOyvIrL3e74opHkc0sreIeEEO50qIOkivt92VHe9cu8B03F82aNGR4ITbsBtxk6sf
yqk1aR4iNCMqXQg5CKvZhuW2NIrpCyavF1DasS1MgWYIaZwniNUfA89RJLitFGuLUR2g1fhpcRnU
DcVoYNrrtYol0DjghFpeG0RqPIk0hoWbtLKqA6vYHfUOOirrQDAFtaLlL/p0LwAiaHeYPoKewuC0
oIDHG7uvKSRcxG7WqUUAfIjk2M9xKsJ6fXeEuvJws6LAYoZ/PP1lVB9Af/gLCzoOcXvMD04b/8XA
FuDg+BIKPWkZsexD8CEtaa/Q0MC1WTIExwZL+5paOzUmsBGiP6tKrkUFEyDDWYrlz1LZLAsjdxQv
+3GLGpvXrs8hM5VUrl2XlU8dk0rcntAb/Opnz3dIHmf9gu7VIOYx6uz+Q4MixzGZ17XsVKWmJwlq
GAVoPQbOMUa1Dm05igGJiRl5BdOhZrxy6flTrstdsMPh08PKGTiWoENdwzCgRtHWQNBuBH9YxQ/P
Dg452kJEzIFdkF9SM6nK8Y9b5Tt6PkFOTJAHurxpKkj4mp0PTfs17hjhOkBdurcYINBl9FL6R7dJ
Rz+b0KpJL4mMGR7ffk9iZEBa7ELHprvjv4Cz+WTfNY7S37qbvmLg35be7n4MrKtUJm0WctEupxQ+
H5SEubePogiyoU822lDsjaMMKnDp9IQWyObYBW0iaaMMpsL4kBRBkfQnSecH8p6VQA/yQ9rq0Jfg
Nr2sMD+aTvmlP7b55D5W8OcT0B60GWkdlBQnLKp5LTp0P04LNu7R3KepTYt9beTloAR7A4ejk0ML
haYKoUTSkwXqNt1T2GSbFIie3bpYAY9uctWHKigmBFt6IY4Cv5aOPGH3KXhgAg0JjhIoMD90Y6Vw
6cTQTiD4j9DLJnceFknlRlYRodLVHB9dykeFAjvzEcTKVRwYhf2WtfWT+JMUPGnKUagGafsXPyRM
jicANV6UlgsJrafsF+Z7Ie2vktLPLzCxxn2bMdoOOPo6HtMN5PQRnPG3F6obGlnw8D0ea/CkRCB7
6lsZtwCBNPkQ5FRvciDxgMFEr6BuwRVoEE/P7oJ2kFH0hfKNA6Q7ZwhugkbP6Nvaxca2IsnYUJ46
DuVO0HMWXPsWQliFeflTVodQOBC+Hj+rL1VXiFlOKuVN5dANB97GZ9DrgLr15kL2qg8DL2m47xEK
c9BSpjCCpebsBfXp2bzQgEzgUqA5gEwor71L3Q32eoV5J/t1JJE86ZkSThzNiw3t/97ByMky2TzC
qh3GNwGyZj8UGNIslBHgL+zBJhxjNT9Xj5WZ19jLNxzXLD+paDyUK3jlW7M9yo+g6/olvWQW7F38
W82mYiiffnp4GdVhmXjQQ1dW6wHUalSQY/uscXmC76jXWer2L+9LpcDBzd8UZ7+mmQVMG+0RX4fw
dO5DgljNjBftv3qbRKsnJCZ2MV4J1BPRxqFLaJx/E/oH338nDsOUAyq4gOHzEC5Wn6iMJ8b3gZyw
xmXjfkM85RiRP6/xpQ/rwMSBPBkqO7zeVQuyyBiPDsCCFSYGY+h9Uv5Gtr9CUmDQ+Z0/zZBvSE/k
jCsNM3s09l+Y2BGeLGpFKNTXIxg2Rubh3top8BZVDbGD7viZTo1X0PLtA/lOPBNijZAvwn7C8Bp8
eF4Pm3xR68AR0AzmlBmkVCQrrJ6dPtVtvHZz6MQJ7UycCm1C7lP+go9EUAJbh9RgbGQzxRaeTXXR
WxcU5qbzfuZfTUxhcdJo9q0DSC2gAr1AJ8LwAcj1obhCgINC24bnTG7MPgLQCvYcPNksdtV06AkK
Mr8UncBHAFfgfybCL4HuAVfC0G91W9w0qzZuULVzmNbGoJzBM1SD+EnvtT/TFKKgCJTI9z5DBXVC
3ZT20T65hNBGva7f7Bv1JgXldrrRlbiSxM/vEMAb1hRlio9/Hcl8HuODw8ukEcis/AUvbos08m4e
DpjEZFC+t2DpFCGezZ6UIRdK90cNz8AKh3aQ0YwkZeBR0zSFm/IC4lgtTm2fRhB4Td7fGHNZqd5k
CKJpnS2VbhPmqghHWCngFkXISg9uuuc2eiwKJVdfWduddlZp62gdMENuj9WStMRSclOweOD9Pwxp
z0ln1I2PPCO1yaCmt92btb55y47p42muScut1/KiNmdmPjVKDXXdYCYMKZG37XVoJVhQs1/n4Jx6
91JqNUGFvmsiLCpbcKWmMA0yp0Ri4C6rAx9IPJhr+DN3PWmntuSFjOZuheU0R+mSJW9tvgm9cvSf
mhvowhmZAH0h6UO/ODAGcAwkgVETHSck3KIFcKvJsKF62UKmr6DP0TcWqtQffEWFV7/gwe7x+uxn
95beHsGPXlEbRPVqZKBAZykdIawtl8C+P2C2SKZRmALEgeXZ7fSLKq5HaFWo7OmUHbcFAibB9qbM
A2wwogLpE2MFJFQfk3dLHwbFMwPsCXY8+sSDKUEiUOSQz/IiDOjuFyeBLoHsyZJUhc4gsFEd1qCw
ozNc0zrcoWCmNbgnAZIHg68XhSyR+7wDI7WjsrxT8XAqLtK3PsIuvTDuluP+LxohTbKXu0KymGEc
GtCUVfy6uuxyDAAne0R3IQwiwPP3Q1RYD/jmd5C97FNCnVfd6W0x/3fGEdCUcwmY1falYBhcjor+
7cnmeDhb77bcrhlJ+GOKlTAiKaRx4uJTJkfQMPLpAkft6AQP9gT+BLLFo6OZa3SOZny3OMA9G90C
bo4L8Jlcga+6eMPKMW/2392n6NAtGoarp329uailYLNdqhti0d9Q+A510KAWI4dUdKe20W5QpnTY
FwibFzAQVi290t6LTitWPT+MeCengbrfzHm0xh3pJtu16Akbq7u5o3XEMOJB1/WsW1LsNqnqP11A
2lF6P+kMxkix7+l9n2VJp3wLhgMdEg9E6ZSx0OFm4jON4sqiDCfuROCL0ahDfXP7k6KQzAkFVKpf
ZKCB5iibqiPAWEWk96K3hv4A2/dyssktSXspoIDu5NE1VoxPgAj38oaMtPFhUtydhaAj2QjHKmVJ
jU58il2pZD1CfpONczsmNr065DvqsTnlCcIo6sMqjMDsSMeqFm7YZHuCl2lIJoq63cjdDn8A4Uno
KeJHI4TgCwDhM1ydW24EyzdunPFW6e78mTWkkYx7m7FsytWCQy45CDM11SMDPue6wxQgw8O1fFTH
tuvDnhh3/wnYxQMRwFPwfRC1riKTkw0G1POAI0CtVwu/QaZULN4lJYboD7ODLu5I3t9he1vfebHT
pnlXYAYUdwdnKaWV1B2gbQWcYmnUZckpTD9hJBENDU/roW5/PoJAD4OVsqo/cX8+v/flhgHq9/SH
AollNC1RCgSVW16thfxoXgftPAQMm+4avI3pPAHq0JMHEoJgieBoiIS8t2zT4KZbRa4/UNTtdarz
Lkyki2kDuUYAHVJicSwYa6hSUBN4cXiUgELxfbAWdAOLprtwR9LeYSOb8ToYvx/j0CeGMBiqanhj
kX0yRqdCWlMOxCR8BM0XZCbi3jQm2SO8uH1eBesPuWaYG0AklI0dwLqkt5XsgkIvALlekJOYClgB
NgWZNlkYQz+MfxgTzO++CKJJ1AyEFYryoOcxQVGdCwZPoX94aNGRCwgmKEggJL3oCvEAwhnZDkK1
to3LXJnSp7v4cituw3G5KFQfA5JR7AjILt3Qlcjmnzwy7Nh1Zbdk42f4Q2Vrw3KHPphlEDNI7Kdc
VJWM/YumgKKv1Q9zTTsZ5rw1ubF8FpCe23DoDPn50xszWAGeCIfFnA3hXzmHEMordUeL8hK9HGuK
oorsIZZckvJARG9IVZqRUwpbJ+MbETen4AUsSborTtHNJifz65EvP1UBhZsmV/Q2dAJaQua4TJ2r
z7hbuP1hJYga+1ePVKWcIbUFMPMmCJI6sroCkpHQBGajihhNs+rvh1dB7o82EjnQ28v9geOf/fLq
kQJDqvkbNdW3kXeBpE0qTlHf/PgXRVBHdzHzkyPbvpBs3jc0UkBQfW0IOTXmJlw4s+NQKO/Tq2yh
+M8YI6Payh1fvaPzmlBCuSUsmk1a/4X049O52s8FLgc+mKYJc7wahtygyUKpJo0SCR8tj8MDud3m
GJkSGEeij2e7CIxCfvc2LCV4AekCtqCICz+0v8aM6BtcchVlmVNzHacd0XvHT/EpsFb9w5hmm3Um
YF1/eaSeF8RFB0kNdXCo15ktcpKXBLb1cq9yWNdAEpwZ+js7vppUq/YjNisyuKzO+GVPhGaArU8P
E0XOX5LcBjbBzz561R9h7sMreBYHtSNOPLKH3SN6HuNB9UJlaBTEe+GMcY8e8U6VM1OvjlpqUTm2
cFfrKSCQqaQkvXvNkCSPNh0kKDkyXWd+d0HGg5gp1sJWJuN7dAgozChVd9heoroOu7xArakBsGbS
hLy3Ie/pmz4BHAKQcKs3E+8y7y4mdnNIXj8hsaHTCmtqqz7xIIBFL2azduZbgDG0wZmurtYexJJY
HsY+hPIlY5dcIY2hvD7SJNxQHqtJdh3S/gvg3wc2vR3oK7x4hp0ovlkfjsXuIkhKVqifSXmT531B
Rw+aP1g9hEbiGrsLIWwwEVWWWzRxKWU7uqT6EAqDALAg+4MZPR15xYp2Ju4Kgi3DTlSBf237bsCG
u1Nf2QDQJnY/Z/wWoDPjKVP8b1mv14P427TRHESpmy2VFu3PqrrYVPugVg1V0unZwWw/DxmZIEmE
GMLL4z1RovKKV8CmMhEATANMxlgCKuGAlcmVmWbiIF2nbsHZYFCrAS2O9DgF1knpAqdp1+Lb+MVB
hBlUMnTwxdSdW+L5956B+ayYHeYXK6a5bUGhy8FPsuaHMIDO6SbGrhQ18yR4IkwFdm/AyVNpcixy
KLXwvRhR1EwcTXzCd0XsriOixgdy7EQu4BbKoBF5dpOQ8Ka6SBFooW2Ikifs4IANCAHFGC1lWKTY
XC5Togx2u/kgYBw+IrWP/8sF0QxzwEDM51Cwz4sN59OuVn0ZKEpXQxwSwZJBF5eKHPfRH8lSt42+
LKsKglIKXe1ofZYUVtslebsUgo+IOiSg9GO60MHYk4vVxvid5BCmKfoLjAuTrKRPCSiHuSRsN6Y1
2IzknpZ17ivdPKX4Qi9kAo3d7IzokCpSK7BqplywHSO+4IXM+6TNFMkLf+059BKcpOQ+N382d1nm
EBjvPOSn4Sn8StM6ujxjEYm8ioaecYSJS6L6pdPLJ6MZx3P7VDTaSVylLQcqTSArNi5Pgh/EREDI
2BkXAftSBhgpSpqI0XtetxBCA43vggAkQRpZPRrqGEB7bTHSwj0kX7gmra6kucJ/1LOrUUqDlKVc
Cg+PuTNOCbLRAcUJ88tBtWTXInUmQkXG0dwV5RpiPggD9znAueTNaQdffcd4sTPrbZRUoIDvXfNI
c54RGOl8kt3jR6Q33sPZczpy6oz8e3APTGIQ2kCWoEju7RpRgobl2qNvSUkqnVRat7xF0k0vk6eI
40nhSUhQ549Jx9hw8KWz8Xe8x3lE41lm6pipEaDhzQ3kd47unbMjKwFL/sEG8tAKf2HMDK0h+q+E
5LEPJ7eCJsCws8nXJAnnOilhL+vU84Tk/J1E4z4J0j5I15RO/5EoBS+ahFeRu9KP4j4h0EOEBy+g
JOQrw/GYL2O1FsKu8jEh/zUNfQ3xHzZBxXPoABQlbFDTJVcnD6KsuJCMFW/w17IZ6DZjHEweGEJx
kiGF0UiglYKZ1rnKMqwFFl5OB0TMTyVAG4AD3I6jK9JsHhacFdgJFQR8b+9kpAbwt2T5Gr+iKMP2
JZeTL6NDk0UY/FwqVppjPEugEkoeYRByUVlKyZDNKbJx7lxCYIMKg/6ShdJnpJe+sG28Pq+D6qrk
SeREHxpeuGtiZVkemdXFuyeUAlWFqTmaxMkOwA85drSnODe0vulhol68gx/UvullzPgZ8t0h3VoS
co0xlyVWwG8SlFLmlMot7pkDh8PFBDBrWNm45asDDsLGK76S62DXFQ9FcpGGBcwMFlfKy6XOSACB
YGyE/OXbHBhdT7IOmkbRW23mB/BpgTUF3pIeUpnvcc0y8MKbAp428krcKAHxQFG74kH9n+Y8MuV2
4dou+iZonSUkFvkpWF7ZjFBA5NRVG2Ba8cvcUl5+gIWYRjXFGkpdJR4/ldfGxZc+BttBX+BhIa2e
3E2hzsscCe9YbDPlGGPvsE+4C5J4YcFjxmsbsBkElvsaGIhGa5mTwWhl+6DPCfWJmuHUskRFn1Fb
Bt14Y2I6T/ibDBXJIfn/9jA0RVGcpD5PH9eHpYjNCC+BJO9bPTCAxp+n1MAKdyq+gNfNU8WThFOW
HoSae2JeGS7MXOg18hP5MiEjcSIsdhRPh9MwZKLNibK53DkJYyjXLL/DYc/Q/MPxJn0AsXXkAMpr
HNdt/o9/8cdcbMedqauztmEFaRB5zlNCTNQ+Z936ZT3ZmQcnT0MeH0+BKbI77mFtn52O22csK+qb
fb5VvlkOr5x9iWhibsxby4nmkfKvpEPiUK4eQQwzkGSVW+0w0QURntbNm32rF1jctHh4EaA22Gee
d4CcxTQ58/gwHhdfcOA05LmYpgx94GqgKX1AyiTQY064RKxDfskPlZgr8DQVBS07zovwxKGKwByd
izcnJRKqVUp4wqTku2AqsJudbosATRSkEszmHv8O6oivfnJgANyxIYjJDDqVNayai+MWUoyIx1cy
YQLlJZUvgbGAp6GV7KVyW0mCJCjmzB3jY+Q5wYCSRBFuF50aiJ2QjyD6mwDrnPazv7VLrguqm8nM
h/hmeWJ4WmYMeNzycQeeGR8tT0Yuj7jBlchz2CuZgpcAwwfLoz/7fXUsIF/qq8PPJTfgeskjvn8A
Sq877jq8+v1oZg44UJDqeZ7f9ew9bOT7WDE/PryF7J3ZQOV9bTfirvlH0GqHR/OMRqmM7L3V1dy7
d7OxeFkMbnEwdhXw/9cjiGeQaDZj4WaPMfQnB3NGRSaLOJtIqJ3cdXwJtj8PLX/bsDh9IjUqG1u+
R7HOIbvvnIN7QdN9Fx1+3qY4n6d5cHdRa9y9iL96q63bD89o01xNSXR7/L7pQ7B2QXs5osjTq1IG
W+U8phV3RM5Gm6OpWNQqNp6P+eei7+bdvOmmVxs2PTF/CeecT/klV9ys+rZcJ723u1e3zybyLDyA
ute2657/wvG0E4a5CF11RXdnKtCz3NWhyf8xaG+zyIyjOkRDnIXsNDm4WeuX+X0m3PiZ3KiJPOt9
zePE1qdWW1m4InkC8lfyXG/41wtDq7QRzJxAyV9/kF/lhv9fpTzpZvJ9L6nkj108qvjUtSt+9mbd
lWSqnN2OXv129CBYY1brUB6I9F1u5CqlNCwwwZKDz76f7+skGcEXy5LJK0kMRmjPzB6+sEmr2+zE
d6NJcuLP4Gh2IKG6A3cfyrFcWQesaEW2gnawlnDmM2HtYbqwMHQpgYC3QwcGf8VJ57BivPzmQ2jR
dVwx0FbcjtY2n6LFVTcjyYlbCKljghceA2Ugt3g1xe+fzX3w9q68wbrHIDXktfzxDQWzpOkd3CZC
kgf3gS4sytcL1Nzyt8krarFesal+pyi9/pJ18Pryrv2x+okQhF8t3Qe4p5sNx6tGL31g7mzhaUO6
otUNF/d3yOMX1VtZqITQ7e8vkeILcqzAQwTN4Wum2LS2NO4AN0DIoqnBjANqOfxrhssQh4OECwgW
4cLhvPHkETafNu0Qnd1p2Gqr5yd7n/03C+L+kXRe24oqWxh+IsdQgugtRRKzGJbeMIwoZpSgT9/f
tE+f02fvbpcKVNVMf6B/VbU9/PHSCC9IUVoE/zr8dmXOXAU1gcSK5niLsbe/j73R/g3eQib24M9o
mTHqwB1ShuMnfKjFOV0AtEkoLmiJm/K7jnPk2TUDbf/wULwdHdUDlHBgEYBKJPY3uY+2H/N8bt5q
yJ0Bw7xCUEK7ssazHvdetXyCCOqXDpqy1pFd3RDdsixn95zfvUuH8IkUkp3xiKjh/4y6i9RxWYd9
jrRD4hRF/xW0YZmBISE72PKg0X7hRznT2qnLQUj6zELmVKf6jgIK5JNzkcMVDAjTnIZqnTwW2The
SIYs1KvHXpZWhM5DncXHq8Ge2eOHlOQsvMuMRAluHEfnjbrXI+NPCSkHczT/6iKYDeXEMzDGgT1E
84i12xrsmqQgO0R64cjP5yiVWA4YrcPDj0KxuZDjmYmt5bwb3q6Cy4I9jvPlDtrxRL7AlSJXc9Hx
F+n3R68eMJs7D1OkX2AbUlajHyJJPgdz2o/dFlZR7o2zQRQw6qu3d83keGpgXsvy9O4yR+t/DnX1
BljDwXn92qsS64HE79cibrQjawmhVmn+xbPvEDUypug0l3Z3o/PapLmDJBZl0ziO+W560WdE6ET/
J0uHVPP4duP7BTyTbjharI6zlpuhuWzXkAoeBRE153d0Dwpw24NUPRlexjcHBBZfFkMpGfllHH7+
9+xZOHDbtejSKS5UHUfNTtjkWHl0knlFePsrlke/tOyKOBaTQdCFsMZx7l1UVo4trEJhknRL3M99
hHonHDp4mTFL7n/iEWEFWdheO/eb4W/0xpKTHK1JgcTC/MPCW5j6nHJmZCAZ9Zua3qSlFjf5DUjU
CDbXrxHD6XYfNhdJ5Z2xzIZICVIVDJlKcbAoPeGNo5TUgAXIXz5Uwc1rDonBSDYxJjmBJXVrpioK
lzh+5yunn78YBwe79lqax+7ceqM/+3ed43vdsP/S6R/SzoUqaRnikvIOsimJKIrBg3QqjqkvEhB1
PfIjd36lNZDx4GXZCjyFfax+DRfLKaFf5l56Gu2MtiOGHPTH/jSZsxtM/mjJ4yQDwlCesD5iZzW5
q7dgbDRYWWUDQiRSe4zD6TTk3u8tBVHX4mz2DkWfdpQvk/WXRkjvotRHX5Hump2+hnH8ZzbdZh9r
1se4lrkpAo/xWsvULgH09UElt5tVITGgnB8TmntkbeQSL6bm7EJRVsIpVn8PyT6SZdtypdl1dmWx
MazERu5wuNbgQ3lMovgbtiyjxIJhcECLiZeTjInU2JP3IokE28GWZR1L+lTP2bzACqk9bqlTR//e
2aHfy6u+DknfrQHE7oZVng+aVqQRmUtCYkTKQkgGpWx+0id6ibzMxLEBJzT0ft1UfSawj7t43azm
pdRo7xnZ6f+Idbqj7MzsGNjNpvnmAABZx/w0BHEgLWE2U83RUFB0T9vbmD1eNFXFoeYJ2fUJnN8K
UYjmz+WgOohQP51nYmNUboIoaC8POpADL+Knag6tqpustMT7nVtcUK1DWoxIUddcnho0cT5H7x7w
HDS6EXZ5AdGhUq1nQEhThv9JA9INs21/ty+SuGa/alDq3RfQxU2G2arkW1YCgxgzQZvVZbpXjKE0
Mqk+qfsUEgekSYUxtWYFDF6OTD7KhJFHU1NvMYACuInA6uLHgFpWpucuMRYoh4wphwCpPbphFMv0
VqITBDTmd12qsvwWokAd7Dg1SpJLHYvfOWuupV6bK9ZcDOst97WBJ/vB+Jtb0250GUryZdujA0Id
c7YTOqpEQKf4LjCPyYg6SKBfYQ6sEYp8qsa7Y/by8VF9Zjki8z0iW+fZcvoEdwT9gIyCVsK4y3be
PGAMiz/0a0KpnI0JbbSE9aABMDmmTgp9rNfWOYsL2Y1IwkkPkvOUlAUIRUpe9EnVAcFKWkooBnKI
1Xqo3mVAD/o5BOSpt9rcgMrqi+kGCePbtIYgqtuab8pvePzDV6qDW9ATzESMkbp0QuohZsia6ouU
/+b+s27MwcbarTE5qyR4MvLABY20GiPq+1oSzaso71edhrPqJ5O23dfBJKxi3A6/gjq6w6UixbB3
7+XVPh1ARJwpaThSqjCVmsoDpTyjKtR39PzG6B20nbM4R3yTMA/MN6GsyZaggshK2Xf07m4Jwmcc
gqmwhljBBHIY2Uj38auYcY6yRIm4T509qw6iUFB2rU66R8NiT5+QowDBBseCaK30Hf3yimMvvdus
T9Hyx1o6/9jmNutdps+1phBT3uSDc/eIAR33Cv1NhkonB0+zm/NctWWmNzzjazDe6AUx0l4Bzuhu
PpXavCGS6VBRoViRhYjKL41fEqCTizxsVGdiPDYxnc/eKot4UTpkRPcBadB59qfDfMJsYb0qX7j5
NFD2xnePkNI2XOPqNv3c9AC7QS/tly6lxSobrfq1LYCLD6lqozmT7gSaDxKUuGtpgAgGiqtEQwRX
O/UDhlWaGuo9Vij0BCSHwwt0u4qrIPd89jXCjN2pDVpifkmqNk69RtDA5JGFBP3iSD4Br49BDcZC
VRcOQ4JhFRnomAz0bGGMdF0hJ4wPkd2wO3rvBCuBgZHgz+Y07VuUEP3iD0/FrJcMaiwP780yxOS7
KwuXp0JSSiH7/qOw8wgOTPvz2N4RqMcm10MT4INfLpkW5wEgsKDd4aB706VDj40Du708wrB4+K2N
sclmKZGP0wvpdCaxdnbsmKJtBYgBmFXYmGd2KoIfl/EXEEzAax5KCziGqln4BocgkJJZVke7znsw
Nii7O1PmIVADSL5S10xwk0Z/W8qKGgADoxbCai6dF1iS9akDpq4HPYTWXO6YKCXqPjICb0EvQ+hM
HBCZGuk8P6Gsc0dI1Q0XTw9tkHAemeqpu0x41gAE5sIPetinqSCzYFQfEP96dS71oY4lC2iFknZx
+Nb9Z+lblY2iJb25+3S9Lncz0AlrqLoD/rmp0WXUMJTgkmkoZla3cXOB+pzeY81BNaMJ+ysWYb26
pogNglIaEWUeYMebGxLN9SC/quUDDeR2B93nPwi3SzSR7738O6rAL8pw4WbnsNLR93jAD8EVYTF7
jGNG77P77ssEj7FYkzLyqV49owVGHCG80slrTJRgrY7QVnGeHoINZyfr03sRvAUxDg2MQ1JTkQwd
0INqGUMsdT8c/RDLOfeY2M2TRfdNmYqOHM2kVji8ZioJqIo/7nFUOOQ9aNEhPHex523YDHfXpPpG
d9039YHF26jc7GtkOt9Ji7qPQBwYSNW7oBlrQdxpD7DUaHiPTbIvi8J+nMctJ3sDaLhiZjlOoBym
cxAQTLgFEZbV3dDlIlPQm+m61v+Ot7BcxXatvqynYMShwMimutIUezgESLzkKJfp2w1fNic+BRNT
bucMPhkKL1qN/IKaw93VukhwnCPcCZh/MwGnsPoGz1l9f66Cc8IxdPf5c3hTMXWEM40fPy9F9uWL
oycbNuwqKgdlC+cLhxA0wfarcoywratkQmsDkYhbt+lrYZuN2kZG341DDjuyQvsd6c7qelJescO3
3Np05AqmGXAt+/e5ciz0Pqp/XkszJP72seOwgpsVWPZRcxCurxysUd55KO9YjDZy2jUW01oLazJ9
M+QcqtkY49Kt+CJFPniPDFX7w7WE2FWLxVcgIYaLswxfbWmoc/cpdnsrC+u3SZLYzUMGLb1ysm+0
KgeaGKdc0EDY6VfVMF0uZa4l3jAJCFSV83GH6fKYUrc0D227cVXEvIraPkM8X1OtJ2+ZjrRDUSgq
chMfamWe1UsVu3qrayicIpY1zj//MjJaqmVR3pecxLUIw4l6P3d1XDPd61Nd6iON6RjNTC8JWnNq
2DEHYviFMk4X/ezD1DI3mL5AbqV6bahy34FY/nAumtLO3fzhYXI1xYZhkwJYAlyGy1sT8QvkJcwO
vk+sfTASUT7TeFnqCMMbysHPDQzWcVZ4uh6kjujUvfbPPi+/eE//vLo9eA72d3Pdc6xz2PP82sgo
YLIgXpT5AytHkDJ4kXHIoNPx5n9mvaOHrL11fLKLSdoVadcTFSH1FfPANyiEPoioKCEffKZDKjny
Ez04iDCDE+k0YNKHnygsluM75wEz3ClDX0F0YKCMbzq15FFRkHj1tv2kSvOabOJWZ/kq7EHt5WFX
DkP3HkXGA6yItkDSqgqu9R8l88OmTD2zYgrOiYYwARrm5z/uFXEOaYY2/LZBNQiOz8nb/5pckB93
gZsD9GPmAt6EQZaoqTLcHYCkmwwWKABTVFwYT6oXPt2HZXFgUCkGl8ic35xFY8zfvSFmvYMJIU9f
yP1Dn2/Tcvh37jV9GzYwMXyv7faYndEmg4hNm4Obnrg1l0VKLP7+MUYZQdoED5V12Y1Xe1/LYXDE
nQmUx1bq1/gM7Gw8VK7tK6Z6iXDgz/2aatN6Uw/id4oTu7NvtJ3tZ0eIARaGPIUOCqKFFVW1njXB
OHZnNR+svY0CopDlgGSDB5jpjFRBwcFB2zb/lkzRDOb+gAmX7h55zxqb3evYHa7Y53UcAXaxxhFM
VStAQgQGUifglaBXZl8dF3Z+snZg9lT3sidvjBI6v+fCWBOxai4H2NKVt0NRW2kPIEzUsMLe2GbA
ndw9XGzAPMEF2JndsOy9f8GrDi9dQRoVVS8uOQMz0CBAJLfw3bZuokx4toDtzj6ClnwWAhODB3w5
TE8CI+ufCkWQS1A0VChIoPND1QV9bNF6OuncjAmLt7krsAvARWUH/ALSZTWhLtTGEoTl+G4VhPLE
8sNicuGRXph4htbZlckDeF36/NJVj8mi1CNRh9fJQ55aOugFFeX3To1EciptS5McVQTmKe2e0RN/
OZ9WvHYLqPAgNxp9SjoaBW2SHyyWbPPoctYmY7Q5kEsp6OS+3LgPIpGdQmHdJlhRNPSH7e4w64Es
pnqoNex7ibQWs2f1waFt8JsF1Tcou5Nj2t/VRwAddOujfEHFCsiK7IdBw3P4iarBCZNBwRW+ph8H
GCnPZhwb7qIRInbx6uFsgQk9GCwo0JfKOWp4+zppPcAUdlHrmymYHLwwDBsDhVOnbgHzuxzq0fZR
BwHJjP1IUuOZCcHNvC1vF88UWFTuEgto3X0uNt4HsU7rIeegxCWsoEAUeRS72n5okmcajoGhJLPJ
m6yXfiC0SWBrEhs7iai70HaktSjxLrFvEeMujvvN8BFNxW1339q18gA1C8RbSm8Big8E5XNakje1
r+5iwPZOrrLDYzuuupKqkD9BkweCFQ8XdhFa7sgHEPhcfdH4Hmm0G+hx6ncndvA7rLm4//rnGQfs
pYBww/dhq4M7LNxqk9h68KLrDj5Vca4nEHsRejjTycaOxStyd/PwbimlEc2z+LxoeK/1ZbdpzYeP
IXFnz0HRVBMj2V39h1ze6BhNzv29QcIpntfAGsEK5uJLCLjBaLDH8K2shLebL7eND3tMt2zwoGyl
ifCkp9OyX+yOPFu7wnxc724seqySh+tIbPMPZE8nSgcWFAMDg5GCdhtp/vPAXJRIfsG8HeFE6QLK
5MFiK6Ct5JcuSAT52dtu1d7i1acsr9Ddl3quuB2rCb7de/wGRlpuc84bz/7bchbPXGw2X0jfi7g0
9tCjL0mY1mk637ZzguDY7Bgc3fCnJJZdhvFo0nLKN/f8HXBEwiuGVUchTabx5KHj86h5sdMsgs7/
dIred/Lw0qg4edOUWNew3zXnIhJ700mrxllrvfBgI9kUxX+KnOdMrFju4y/RzEbxhZ2+IjQDSuUZ
Xvqtzv6xgAgIGYGsW/WeUB7LkY/n+MSwOMdzWtenUVIEJnG05TXBIeb9NtYG0Bkd8woV0Fi2bmoC
Y/WIM7hIXtzvvfOMbj6n+ifZY1H5PwLDb4ed23/ucaik0CJ7JA6k3ps+FMoqyIUk41t7+ii8vf5x
hPR3pNTgyqZfsYll4TWXJ2PAk0r9+2WzR9mlCJqpK1DOPlYy24v1C+rbdmbZ2nD0QJmZseq0yOfV
LfSbSO95DZ0DBhQoxDWUQiy7PpqMnnePP22NsAf9gDmETUanv41zgLp//xp6cHra53J8TQfcAJEx
serwBVOF3ZPumW7TyVPXT9HlwqpAYDWiEn/vQBu+TpHufdilwbHKL+AfASH4CVaiIg0w69PqDWKW
7FQ17gSFdBGLQXZCDgWei4t0J9DQq+B9D+JlsZlUDXXvU42mpLKUpN+HQ+r0aCPR0Y4dALdsRqCt
DQr1xssvKSNRlC4hKslAw5lyPUenfueJXAThilHfDknMiIhPgozJmGoflRk2q+6LvGNQy0hPcvxG
QNKz9TL6zPcFYFSWe14LLjQEDW7P596b7EnCp/vpfcbhUATZefwO2hMUZhx2soEQEibtpJxcr4FA
MaYMmejcn98h6gdG4jZrGAtZ/d4WJqWWOMjMUP0DwGE9tnlGzu2ES6DdaYqYyvs0PM1KbEeLoF4E
V7/2XNQGFNsB7henEI81dmSoL44OFqrnfXby4k62ITNR5mSEIw9SCQfuu1jGLM+fqHQ4IONhfJpV
yhybD0jIl8OLZiEKS3xucGs7j+CzBKV9t9zHQrupfcz/Eq6BaORe+/cE1v+TMYiDfLFZeBeI2qzX
r42TFio3Sheno1qTc4IVHjuXglNKD944t0DT5aBZ6BR0qdGJU54RP1HRjbB5Z1yij/jP8i53f3o+
+/rihvKROCsfmwyE8r640+YifkOGJEI2NTOkLD5RoqUtr3WbtcxebW0WKAIVH/U4LDILUH0q8Q/Y
KC1OGSWaS2bTgHIld8E9AiRqK7XP/XfgkwyROSxFseIIv3XccBtuJQU0GW2K6KLuPkd1dNxkSQvA
ywjqTMuxM/bq3TOoLM7M4NMFjgJQl3Glny8uPl1o1+xg2xPw0ZUx0G6dxAM9J4Czk3OXmQ7Zc6Zu
ljqf/BAd5BMI0xSGXzao97DCsVuLuKaOLymzLabVutP0MNxaGq/gpSG59FWutiUxlJ1VqS1jDUDS
/3+x/xzhfFJ2OMvlYrQF4D2C7osLsaAyj2vR4+DZQzV+21Bcm6RjHIZUBpT3b0mibBJ1fpcfoV8q
CXLuWasqPHVemFXxbvxMDTi7QNpRYACQh9hYpzH+vXgvcaxFgQtjmbP09rb3tLKdI66e0iHjROSX
/P+d85iF3Nik3rRBPSMzQ17F6yreATZz0/n/XiNJLI+822km6lHvLqmy5LOdIUpHnSkLiRPsHby7
766xFKastkz6JnNKJpW9Zu+4aBWq3onJPeHcfvGKwB66X4QPvjXYPXux7MFnBa5NT2qM3kKPFcFF
L4FQDkBzwd2H2o9MHZJEFb0eIU80uZXIczRCFJl91JrYh/ya+KJSusTcBUqpPAG5ibzi/2OBK/z/
R+WRfeBanqYkJEJ8bYmXcyEmYDRLyGNyJPNMn8gPEhESpvyUpOBkuqhJlg7b+cv3WMi7D5DLWaKU
JN9V8GhLcGJcwGI7avgNwGZge2CU0sKgtuG/LHNQ8lBIgbexMOQB//968rGykORPco9v/OKNBU8q
lyHf/6sQGqHRxbvBteJTkLX5udXK7xUlCIKSISqgCuLCOxxBE+A/vF6gZECz38h9iO6kzQUDPoPp
d7BHLK4et1mEBngxVEABr1CAMgahEcRAm5F2BdaV4TYYzzPM1bujuxVAe9x9B1CthEY9GrgUeADs
7jaqCeyWhgvKdDno8emSx3J/F4uXU2DzaxAvhftPishHgZoTnBzMBnSqqYApDpAC4D8/FvIAXJ9I
RwzEFpyrkGdso3dCj6/dByDHUcMVwS9nGSwgsbddfyuq5mDpkB9Tk+0WKolwJQB0gxZhVaGEhnxh
B0jhZD8CO77o2b7d8cCDcdyTSSDljDoHYrKsI0C8LlN9QF0BQL3ggBbmGHCRzHHBHI3nO2CNFlna
H/inEDGfGJAWM0TahAP08PBaomqB80P3dPYVxRmTE4Ou6Hn4vSuARbSyEJ2/2OxzqRyX3PO3YJQS
wGRjAEmiJMy0Crwgz6EwaBXiixCkM0Cs0ZjZn+su4K/TFAMqKUISPB4sjJaW80jBcoyZpCF+ib/A
LFw+O0tI1FKewuCLZvS4FPO4iIeKuNSRXQKJhyoGjEjdspMvxyaC7oazGzeG5KZNoJ0M7nkQkBTj
vzVMC5llpeEZC1Gw3Sb8YZmO53RM+hFtXdqaqyjQaAAzW6W7m5Cbyf+j3biDYw+ycszMheHzOJoZ
wadjVSrjV8SU0AHTxEwcHwZGVuosE3nm/8HsPtLBp2PIBAiAj67UAz4ZyMBj8LTC7ExHdsoXAM9G
snJjyRZntymkNzQ5QFVxlnYP3EKayQ/FUJgLt5qjK/1mBHBlhRcPT3/wZSup6s5/rxEyDNGR/my+
QO4rCei8gO7uajzANrwCYSPilMWo3/vg5comEWeJxhkjYgz7jm4DFV/SMo8OzQ17F4AFPxDW2yAK
xgPg5zXWkUHBwl6np8j8ePji7jzAnP1GTAKWFJRZA8xPvIpp9QGM8h+dmk6vizK2TT0LNIB24N95
Po+BvqjMA1FWpNw8hvZwb2m+uTWYVsTLw8VuVt62YLPky0nzNRxNMgqfAi1cmk+1Mb1/Q+HKXcnh
534ze/E1PKt/4rimEbswloQOdCKZp9JKbJLak1lMskDEwNGDp/qeArU7/zWDlIfTLAaz8x/PHtPA
hn3UPVpI9W/PCFq0cqVqfvsZ7A3kafbMCDL1ir23XzuGl2PnBOzF/ZSe9QDrkdKB29cfQVaR3DFj
haZ4+O4RCmt3Q2j9h/qCoUHYeNmYSga1HJVRqAMYX+LOjbEKnc7Ok1vh12/9I9AhJgGll2xPLx4T
0rXZ2TG636fN04l2TIpBM2IyDVhxzKPMUVPu54QCxEmW8R+ymFcMcf2vNag3OJ5o/zdNMPd84STH
iYOTUhZJwJS9NUmcANLQgX45UAbAkeBxuaUEO4sQjbQsZVi9JkdTm0NeQkfLznufN0/KpzrGj3MW
W9vv/E1Lxs4RBhIy8dddp+TB4eBV+DReKKOvy0R9ItH8hSlwhB0r+EE5aFobkAHwf+uF+hy7LaRC
X6xe763ajc630clQT5yi9/kY0HixvjTn9JPKAcDsP/kfmp+myyqQDhdnO/uAXfLrRYG6l1EiWJAJ
m6Gjd3gndI70IfaPgHLpsNqCANIeqst5+FyvhsWIFjTTJmkn6wXYIaBxAqfq/sFwF6x3PGHgu0R5
BdIo+sFIN+xEMg5lseUX4t9xonkoh7IwlxyHR4zFadbOj2qoKY8BsKZOQdXZlH2y3QXJC/nuZOJb
arsghLtKTKVM1T4wtIbIMECAjIZnr9eu+2IABHOSHbzG8v2sUzlZanL2J7GQ//ySnaP2TSQ8rzPE
K6mRj9JaI0W1zQHiMyiynDUeWhGOLmXvKVHnR8rsLWhn0BR5BxUYLt6I3oG4ZXBecqrWN+jMtgZP
/Be4kTwr9gmECFjS+QVFLLeohKaV7L5oD0AehSOB6oneR7GUDsTJcLHOjMg+GO4rk1k5chD5F0WI
eycdpOvFDa0I5ITY3beuz1ZbTq6q2AAOswiCoNAQqWA824ZvygNkwQDax0xBSEFCvPa/E78jmSEF
L3bqqLqIzI0/2fZg41QDjCOAV47ptNWmxMETj4gfPo+g5I/xvqHLt/UnjFLQfRdn9Q6W6Xd15qiQ
vqu9kMBEZ4+NJi3rmngDHdj5oEFErDy3m5kCKAAuknbCsNOnte/AIOoWtY7pzAESngTqWZsKSjXZ
dLmV0VvxlYSMRUXRQTEGMaLbDOy/QFPxPmLHMfYGHY6fHEEIXgt5BYfaUuRkyUHOvQX6Tz3KsoUk
PChJScwUaAgGmcR5xt98Tw9yM1Z4QFIiyo6BcsWxQR9/udEULBMqpP2edvSrDLcYxNhyNex/liH0
GkKNgqUxQIqr3wMTCORZFCPIpWCErF13VCePp5NHviiUjSjAA4CECqIAiGkcWCiUuNtYKQD0WVWj
eh3dhRi2GHGLudxYS2zCZsTp4LLGwHHU7T1fQtTxmbv7YKETQGsodb4k5LQZ0MsW0wDKciHY1aRr
Hsmn4w4u8yWZItQPVDSA0pZkR3FXMkK0Le/uh/4irUWhvlCHAiWoJyLonXFDdjF4pMXhWAaCKmEG
fMAjNMPVrMShqRW+hjmGtWs2343+cEZecqemA2G1gnmKpR1aFL3Fi06PiKGHs9uK5GCHUslO6CQ8
10E1H8BOIjLzF5LOwBfgTL6FZRTiA/Ip7LL3pmngv9CYX+IBjOov+YJ7O+DqY9hMokBEPjYF1aRf
ooTDbREwD74UM3fx8nzO0zA6Oe1lEnF/drtnF8fwuTEhywjEPcyCOG1N6nQc7LLtx0gm0XtyBt8V
wH3AgmylxPtseMpGMXrgnEp0p1fN2yHKnvrNdJwXc5MpIkgpUCZdqC5B1IAOi/znTmAQV2EYZM4x
Byeg4RDMmeNojXG7YTM3FTl/ArcGPtZydFNQP4ltNKf1len8Cc7n/QN7lMR/60Ti2SbAiBDPGE4I
cW4ckRryMfbuL4VfJAjNvmBe88GR4AiQ5tIKGOoFz0nbvg76fXMIFF0nzQLpae/kYQOWqQ1XK6Am
GtRKEL62yXjPuSe2Ve9dKba5LJoPdXV7Auc+5i6KyuSgtgkY+aQopadNFROSZQo9wCBemUAWqQVM
sKKT67F7w6D24jaeXWYnH416voVd1eDekYpLxJm21ZjQ6O5vwRZJAaohvYV7H+4AIn/+4d8LKbAp
dF5QyJ7Ot3AQ6zl/aOO5gO6RbgJ420q6uktecGVU6V9hejHdbuJXDeag4qBzI9zKziyps0Om+lBZ
P27Lc0fygq44E0bQLoWyKMFQ4KKbDQMHA7CvEkwUK80QdRJJpDWIsj19jGsEi4yoy8xG5QJYi6KE
1BzhRDhG/xFdgYkYbBihQM9aSWc/QTUYwH9C82302nYyWfU1dzOt0+51jmoFnscIZSIhqHRWC2yJ
VMH0mTOwYBiKsoPqSnEwB/n8fCoGrNvc7fd50Nz6UX9Vt1Affq7oEeV9k56+FWhrxrwflhzASTFZ
G8DYhzJdzFLCkUkDzYfiP0eFu4Um2zGhrKxcE5BF+xv0zpyXCFgu0MQrt9z69ri3oK6i1+ZPmr0t
IjnU2i643YBUKEJzcx0uUWNtIRMUnl+0q7r4Gb+mZCUXSyE4kkJiYBjxZeylMQFU18bI8I6nPvnI
OvyuZnBpAM1ysEgKic7TguRmc+DIU3xvqQpvNOkJ25abMInvPGdiUTI5QcEKfBAgsoxcaFmoGHPS
ohqw7i3gOfMoKVEFOSkeRn7T3tI+/44TqmaZ1dWdT4TeY4c/F4XLFn8UNmYwOAAZ0pY3IxhahBW4
p9C5wWqeH67wyoglGB7D+4Bn+YQCwowvAFFPOkM2r2AsOpwQlEYMhDyiaQMiyrUQSS5YpwT7Kszc
D1MnhXYmMuC9+iiekoygtnb3RWBM2r5tEse3vbj3Fob900fuoDrX68EKo931q12gwTwJ5styy3sO
1A2Gpu3uoabRpzE6PvMZ0//JyEYkH4lNDI8Ii3z8yPyS7xBJ+NZwIEmCgbNfob4Fr2A3Pg1vhBBO
FkGe9nWnD8heDg9QRl3QfF0FhmW2rtYsc0lpDPtAlOKN0RAQzXNRaOCJkGmALTwRtDUySurwzAFS
tyVMdx2STOX2MvI9PaQPEKqaw5yZmBgqXHqO9g9zSfyQbYTfCepBR1c8z5ZLDGK6NDuEvBnsPpO5
lJKAhuw6ufw47Y9b4CMQOKYT4i7dxbaFnujJb2D06Sr5tgf2cWLvlIOIYqF+Fl54vYBp6gCnnScH
cpCUavT33RCGw18Mqyo4SpUkwjZFHXBNIHRCrcGKQ0WIc0qfhn4htFOEPecO9K662wfM150jPZmg
hFtnPTMZZwWvpdRmRwfOTAkUiQsWLvQOjw8M2w5CGxGaChB1xBIIfe4zmh1OAGalUD1tqTfKl4r4
UNIMIDDYRUgUOnLh+525+9xI1EDkJdHhHp22KRWztqASHaY0dZhvUqU66rokH6p7rt9LDzTfTJsN
YTF5Z3K0RECGgI6a9HqrjfAwzr2thQYGpxcU5RY9V+prWiC0ImbrZTJC7t//gqeGHvyr9cmiCKh5
QtNE65LptWnpxWt2M8ydrji0gYX9LPi6OlKVPGQqaJTIhEgIUl2SQtZeV59e7QYHnKQfR3hOeM8e
ztGDIyuRn0g8S7I2Hhlrs4TPl18g1ZD8QaRxMM6iOcwpTPoQf2hlNGrQOMFtQhFnVquhwgcDnfMq
isb0gskOgjRBo+vmP5h3840o7vG14V6X1JTm/PQCwzulHDMUok6RRAz5ACOAA0QD1b2CuSK7Bur9
O0fuO+HoLn/j3mNwh1Rgz9yX5rjXEV6zZkuhvyEhURoMBFRnRjHwkXOQT9AdRsw/KDXHxk8Ek5Vx
UYBPA8bLrDuDHoEv4tgYz3CLgXseST27MnXWwA40/TISYixE6haPBZXXNRgM2jBLetsco12ul2DC
+QVtLB7s9A5xZS6ucH9vnBmgKcNT+rhv746TZh+L5CsYaQFPawwqFehvWNDf2wRoeRCZNb5b1lT0
Oa7idM5ztLHjloXY3DBllAKy0cIWBRYeXZe+sNZJcplzQb07lAvptLdL1jhrYlwDcu5yNnE5x/1R
vHDHaFyP4WzQqufi2AHUvxwiIakhoieRJVj85h3mHxV8Cm5CqpTcxrT4G81Lw2PY1rPGizvDHpqE
JbJcNkOhySQJp/cQqGIofgdt4sbeBgdm0PUGFYJkMgPfBYk7J/RanzeIrfWAgPni8TcLcBgvCQt7
JImYzHlpqH9CnYEICMeX/dqhi7R7n9QxoHr/dLj+yp0hAh0jZITjzPTErMTDQIrWeEuKa1zJf64d
5e7uXEI6UR4eKQFyF88FTKy60k+wiK1KdD1I/AU8GV6XxXhGQvsitFBFpe/VcVxu2Ag8HH59xl0j
RRGy5pGV47zjudDbIUmjxJPZxy7xblaWwnpY8ahAa9dtqPMagw3C3zEAL7ge3Orut4GSF14HAspZ
0vOmKQvvQxoCroRnYSjSgKKw4CyhHptVCCvRCkOJDDQSaj08U1HgM4LHmqRM26LycolYj4ABLo1+
3mubwBa3xzxTy166BmjuNC8e3XRiqXRNL3NKdPCTbvPvOW2HawPbXgGWQsu4c8I8dHICQCGvh6N9
e8Bc/hp9sCmDb5+CL13RAtHcFNAUB+AQT0yOayTGb+MnkNc/U3ZmRbHEU1r/Oke0m+ywnQM6wVuM
wXmba3pJkkBLk2IEUASwAzfLJ+VJrNNamH74NTg3NhMcppNXd1tBKVVZ5kGm8GrrWpsuOxlEpfB2
Ei1Zisw1CJc1ffFBi9CGsSO9PjmI1xm56rLNXImPCR9MF3kUxwC1ygH6VfJNOTToCT0kuayTUpQL
4ShJU/c9QAAKfJHonSHdDG/W7JVTWOzRHQDnZYbh32uRDGtOfUHOu1cYy6HUboAXkWEcbkJrLpRo
8tJc9ByCcrjG3j55OSILvV5mKEKsmx7Ooi16SVjVzWLQS0das+1R4micRfQvlPtY00VR4udMhurR
JYYhiQBubTH8pa/3OTo4JE2cl2j38Wh+qDVs9l5wn7U+rwdT3V8JVjGZCKCxhtOxfZ8D4VaCyWn2
471Q5nZUnuBqUuqWO4GtXCRCPMRr9B6BeCWQJg5Q/nHEuUOkY3PRaO6EL0QjYun5ANu4dUfpxoBY
LzmWhDj0WYHCbXsuYC7Rj/3sUC/rtQEnlX8cvp44RlLC0jtg7CS99xnK296Z9xo9TLSXaNwNF7rB
cI5WZYaKElOpXMDHmelVGCottt8BDgqIBTArQoaxh1A4gdLvPY78bW+5RpUDxO+BYOMyF+71ajPi
6xVRYn8vRiUZ7whO/DqbjOKebasmK162u/Tng6jVFb0RghPKpK2BRE7st6hqEaki5MGR2REqQfbC
R0duDj1qh+XFY9SoPbhLEW9AiKN5EsUbDlfnBmtH0OAlgmT81uRB3gKrs2P7HJiEkrvACvgx6Zza
Epg/7X6kqIikuDuHxgKCzWFsDOCfTunVc3Sze1A6Cq9bwGIDi72+LlzpNcnM8rlFZkWdoAM7ftm2
UQpGswfbLWYhKX6IIcuJvIvvWesg9M1l0LVoerPg8GPwJY6QSHesqPBEo46o3KFPMJSsnIPuDyGy
K/7MyEb5B15G4Y3kuBxibk869tEv1kMbjKT/CI36TlJGxcKnof64k6UlXOodfR/iyyGkKePi+Msq
wMzv0LL4IRGEoLl+ENke4rLI48ndIZnk+l8fctQjUj5Oqhod9G090hOmOPFeyAF/pbs67nSvNsQk
ct54q642zhuhcK0zzN2Y1kAD+gQMNd6YwJ+GZ8+gGGlQCbF1Hh5OGMZGw93UFR2dtuIm8wh+H0Em
/XyouQR1YWbE6zsSGJzBsmYk6Ecn70CeOn8l9pxUyhxJq3oRCfRexuCIKR4OjkSMGi15/gGJwtAE
pqd5S4DrdEtE0fenyCUDwwAejGhNBBYqeBRk5Mi9hs88E9sycQ0fs1RgHkx3TgmAcU+qTRK7o++5
owXz8FENk2Mx6i2rHwTU9CmebsRUtgjb94BkcvMfS2e2pCq2hOEnMgIRBW6ZB1ERcboxrK3igIoD
ODz9+dI+p0/s7qhdVSos1sr88x9c8dilf6bK3LCoowxbLCZB1iNK6QGz9JjzK89ZRl4hclLW504I
dyodDP0QxbdBgB0EQRyIkN6aI1kzcmHuHuwqQlv6qFDsg+az01D2XK1lEUAPlN5G+m0RV2F2IKX0
C8dOv9W/NCkXrUEbphjep3LlBTncMv4NLtYsph3wlpa3QcG5wwkbZr+tRE3H7raxQ1V9Y8kNanBo
dKbATsUeRHcyWFCbdaP+TGArf/Hor6FIKJTda1gHLDeeS55G+wX7zc96f3w4h0VPd5J2Rpv3kN4r
SZZihLbUraVsmIqCNn+Vq4j+nHX0gOcixsCi8+JWfZDY7U8u+6/JYmUjrSnZR9nqsDDqwecZl0WY
PRiJVcHrJYO9Dm6IZLM9fCCRC5UZU5tVi8KUmkcq35NT3F0+oP/JUDBcMJ124ThKtSetRnbi6GXY
cvdNOa1v3o3htfddNy0MVtz8l+DR2QfyrZ9wfWp+x5iEFaCD0KWi5IeZz4jrGtbFv6Nl+rHb/+Y8
VerdPuPQxkpV7S9w1XeBgqvgUnVY7p7RpigNgCTB5vg1uUhyd+cztZ6DkaUM7yADnad5pdgq82uw
KYqMwdlpxMkJYJOF6gRAmMjFHN2qdacMP4K0AKt43vgNsg8/y4PhHi+/nvbHS9g1sMQqxlZdpvDn
sH8Kj0UCPsLcWCy3Xs51QvbyzTuzXVO576K8A1RAYgol6fculkV9CiyKdaAQXPi6hAYzzC5jzdEU
D5P6btcCbKEXhlFwIQQ85TRTyO/9R3w5bB3hYeoDxh6MkDv+jI8NNv51XTqKACD3xqcA4JUzQ5zn
6EHZ9nAMx3705//HCISMUBuUi0dNmCsuSRWAW5Q6ANg0dBjB8rxQtNNhxOCWIheKU3pqvC9nxv7n
MMUwRbx4QK3Zcx/yQHQpRDcBniWwCMBp+IwSI8CD+zu+cD6RdCUJyeDIvznS6H78mPaEKQ2elDuo
EFwjIAyQabN/PUK5pQl80hG/IqadtzMSJ9B+rEro7qm8CRscwFonvTOMM7F8c4ETSQs4nt2R+NYK
3LuDJMwzYd0hKIusCCgYKoFufxUa4LbNdieS84TATewSYEoy/7ZNwnuoaCMMiWcNE1HwlYijAAJA
ugd2xeDp7AzYy/r3HRBDzs7IQWoBKHCKvzjrgf+QSF55bijteZoZCoq7r7iJ2zGfYZXe1ojKkGL9
jJLefXDU5fLZx1cby+7dTp4QJqk89dhSkafNZydBFoLnBE+lU6DPhsjhGIcljTOnCQZOIckQh1F2
/bxFbACUcgn8PLoBHuumg78cWE7LyuIY6ziFllkB3SP006EflyVSutIx77oLcmQB2yC2ZyZ5Vn1Y
wweZq8htAigWP8aEuUAaFyjD2O/xZMZqQ4SKLauZLKULZ1tFGu05XCGoINVBvFc40cWgqZudrbf3
1bj5vzcNbhNkGp3J2+/YEmu4/nl3XXxsfH7yNEZ2llPu8YVgb4aVgJCE3sUuBuKQAab5+jJjrP1z
x2tbvTXDRsB/ShRalXqzJ2E475lek4ApPkaffjOFjcU8Fo+wf28JP344OOnzaBFYuPj0bYm9xeaN
U2awOCPWos6XBdweQHHzvysJzEP9cbPHWyHXWPD+bfJcoYX0sKC0Af9s1hXJzcRaOB3s9S/kodwZ
tPPLgVpIWJ/1hcwjTSx7E84HG4glNOwuHsv4dIqFRpriKwjRfGOACEEyYGdw/TZVvO3LL4nYtNhk
Cw8HfQ4oHhNarBPTFJ+YnxkDfRKMc5tbLcAduns2UjHxEi4Ou2+AHRbofEDpgBvmgvE22B2us1nG
X0CQEM0d9kP4euMqSKx0zIm9a+M94NF92/KA+t3EBw9j9DcYlLyblOEKJ5/smMhPGaaie4zjabCD
KDK4SLcBIkr7y+iPfYewFvhC8n7h91S0GbLx9ZjlAaqmgcMNF8o+G5XNFn0ZUPwxnnPS9oYHR7yF
OObbWD8fEPp4tLMxNS2lr70w/q1wbqZm5wUYqLGcc3QLrtKx9b09K0L2Alh36YHsPogLQJ6ufytw
SN+Ow4c/Ga8Wb6s3Gv8YiDzLrH16IzUGKYpYG65v2uPwmHX+GERn2JFJMQ2DIaN9Y5z3tEBp3xBd
kRwDJ0AagkxTjTEM471Tjfz222bAR+REYrD3oWkhx25Q4twsIDFdP0/RFAvS/jzxdG/I5cfIBiF6
YNPZWo8QA1cJ+pL9tM0f+C+y0VDQiQ/NnEuGjWUo5vd0STG+M5xYWHjoTGNP6WRoeuwp53VCEeI4
bNI8FlF2Ay7ZsbFTocPCLxIJKqJJkEpxc/rb/DJsbLh2pMEvrjRDqsMeJpUyKmK8BZgsJhmoo9uH
yoVxsAROMfHdhuRrYRS81qdZdsYGA/B1gDDAXRtefgRXY/fjEDRm8psu4LW4XbJqeqU1vGfeX+I8
vTjYsRqBV/x1b08kCvY+Lnh09AozSe8Bu13oH2vdZm8k+m96F6ogg8szICGZxNQb2K0llNpQY8Ll
E7HuNM44JPIBI43BKsbamnviYLwgvi5HFOmeruJ4cnY9srU4jkcj2i8ZZ5NUwJ1oDecHysSbS659
kCuUC4HNqI0YWrBbLPc4KXGLu1uCSAUgxmed2pGWi+Fs7x+MQ5jV0NoZpHOnVTwQ6DPklPwDn5/1
shlDJNuB+2+CiGt3mgbI+ph6vXl3YvBBGR/Q+9kRO7R4b92kr5je3Pbwl3crSQt4f1HMAdzHsZeI
AP2c/uCtz8m92RPNpXR5I3mMnelGxROJOemCEjkLmPTuSLwWR1u8+loxbv3zeVX4rJq1EpX9OSnP
KQb6UC7pTx+O343YNnnu8ep1giRepZAfsYZiU57ir8DsFFRSmki9shiTiEVo3AXhtdDN7Haq5Dm7
SPXI2ezvDUiTxQgYAtWalUW0T9DZKPjFjriG7vjEEDzvseDpHbKU394sOInvFhucngoPUujEd87b
lIiUNEk01KgYkGG7ID2xAMgnIkECzGxZoGyJkiMvL8XZDVGG0++TSi2hRDS6PkfrJuAi4NzLKFSA
0Es4Xz4nS2+uW1OdXpckW379dzSVSJn4g6vIMZzvJw83/mYQrnYij262RET6ZHxQ5/HJxZYpnq9k
3CY3aaMgcLAoLQJaBuFTfv5Ql57A/ABjXeChMR+6BXoMo5KOBafwLkonLFHoKqZJjJgc/q90JyvU
a9Cl+MvHnwB+T9kGYp5agVj43DpEAaoQDjBCFdbGPAeShxnhJfEVTTs/v5TRgnhU3QYJmpZNC3n6
fqTU3C6pHDCoI0+Hacwa/k8OqwJElfNA3PWGTbikZLCduXRigscLJUE4R3kzHkBFgW/pw6mcnFxr
PIJEuehQT2J3ywQNYBarFClzQIhqV7ecKbAttVWWrQaAWz8K2WNENKHb4gYL3mizlTnO9PGxsayS
cZUcPgt6cTp6DFV3wWZaoH1zmInKTZXbLv6Pc1wAwyFuuBQpTND7ylioC9NP9JzznYzJNxyMPs0H
9W2+8FtsfDbusfS0MQNzbKq9FAhAKruWQ6GEC8QU6gXXJh+4VHrQsu8U+jLtlGZMxzJXPCjXmmeX
7g6tY2RBn5UVJ50yDxf+IuJAdgp4DtnW8dpkw5IsLkmdZsogLTpbG2USIeWAHyk5W3gIxMlFdTiG
XZ7Z9gKvCa/lGR0fqgJOCni9nRuPfBz+ApHGaPq4Ww4frT3qUo4ptIx2d7RTVuA6m6Jt78BR8POH
eWsZuJRjAU1WkZDSV0xnAXU/jILfU2FlCC+mm8yAL08+7IfR/Q+N14gJntammKXM4RQCYBEOrZ77
Lk/q2kVEHhyGlADmZDfl5dkGTw7FlutW4idy6KIbFOP9x8pXHNhrLYMjn2EHRMPj+EPoNMA0HlPp
G2Ub+FqHYxpayJrNyZG+ZR9JPc8knY7Uq1/ZDRKZOYRaCXXk7VNwSY9IPT89x5SpJZ191yrwgeNc
iNsL9kw8hcjzJrfn5d8o8I/5DoMRxg4CelmPtlv6D6HuFLgR2bsT+IPdi5m/ELc+g01jb5xbwASE
yaNE5EjB+/NoYXrFyheVpz3Q5jy39Bg2xRvIEL79HPu89fTyT4xIgVn8D5eKiPZq3P3w6WbMe+mJ
3vRcxWJg+6N/LThFpk36bQ36uHC5gukGA2uZiKSgj0FGOPj65Txv9mq4H8z2lJi+VCmQayUVJcZf
vf6wR909omsp+DMiU1CLlpRalDQrikJ/JATfbs4cxhHsVRZ0+wMPx+0r/yRcvRhx0e+YGwcv5Ao0
OdT0mIwsUXWX9AjKOJ5rANUY0eEfN+G0TTayGjqUb98pD5MUkaTWAkvcw+VpgOQyBsfBYN0l0ntN
cA33CaOeB0vSy9gmeZyGNHm0jaEUqDzcZNCAzFJq+ePumJw411fmQkaVlF+heaU7CEFgzQH9BvZw
eO++OIlwv4cnJUyXZNiJ8Q9ZYjvLGLXbccT8bn5eGz7fPceeHSPGTc0cdHeFsMy6hcrf77C7C68O
ZWrSk/5OUpPuHh2Hbu0nMoWt/lFRvZ1V9P9PNVXghbEioAFV0ErKFA/pHQwujhc6fepVjermybIg
eBGGHFM/7qowzdiSbS40eVuj7sX5d3elK275nFIZGbupM51KKA8TTLBAeGJvF2MJg+mvSw9QCvj1
AXucgvEpOhhbf/ojvCFRPfxyvzCIv7mnu1XMFAI6mECju4duQW+VvxmJSFoKVAUGMekvtvZHRMKS
nav3HXFj7MAdjLRsNlsDoexSBzgfowfRK6LBWsEyOq+xV33/e0kBoo3tFE+h/ceHH33ZMjevxFQf
0xc4ZKgXVVZrzl0jmYmKgHLKA4jmiLrQAXNu2/0VgavsHJSUfBMuSc5hxr26dPiU5VxSwn74D+Zv
O1mJUrcmy8/a5G1cxAotTqi+OK3sdZehr3MMnmMqO2poaGvTMw8CMMUk3eA6hVc0Z/PbInIjoj6D
RD3nbI4dcHfOEP6TIzFNsB106LcpYWRrKJxYG9AJcYZgVXC1po8IiDEjM4ojBrgRi8nT167dBh+M
+LngtcLrDJS3xE2D6d5buPrmAhdzJhQsdOwRbWr7F6o5z5nfPUKTVxV+OiUYZs3RSKvxgetH2hUt
NAHKHJRUe6mp/QB+Rvg80jc5KKgcZOz3iklnwVDOwRg8g2HMrN2kE6A83dkRUJt0h3QUu8cM9QBu
cxD7YBICTh29bPeunQ56oJtrjM3+UQ8eU+PiPhJ8KDJ1oC8qzNldLT5P4S1/5yu88s0+2CaOV0yf
Zvs2Z1BYFXi/HvsY9dcP27hGe9UzgPeOPjXXqvIhm5+n96+nd92y43SHddQZ9pKGiCl4L4Pv3Ei0
hOZ22mZvlZQFcOyDJoa4QEbmuU8xVjyZZjuzf8qLves2P0BqRdS+QI26Yp9mLvLmz7Ov4smEgL07
RmsALvaNDk+3N1RhlA4f97AY3TYrFdJRoGFQVjodxW3pnjH6HrzHPnjPvhDSrlGRfDW/fUE7FzYR
gztEkL0LBKWomRn9Chn39BGibz91oCm0FiU9zslvq16nCE4ZFiGgs+rN/zTeMW8d/TuL5+DpTfi4
BmYTHDlDVY8QiXYrOICFEvHWhyd9+gatWB0fc9wbzgwTVdwCcL3TknbYGt2Tqxa82D6WVW726+gN
mjE6773W6MEnqkPDe+p250Jj3EmV0QtSw9s/F+Hl7hdLBevvo1er3pNwtJfbufkGTML4wVa9fvWh
i6t27+CdTE8/+qgZ8P+7qF5DeWK4DTqn2vme/IIEQdVFU3HcPrHuVd0rBoJAo5rF3JoZxE0L2q+g
c/SZTqi2MjPpeRMuiNmzDQUy98mwvpWnf/yu6n1mNY1K/gCTfLkYSDE7XFQfXwt6qotJ4h15M++V
q+98sWN726cqwEj/QSz4Gzkp32Kb6DeQG4iww1Y1+7nUGg8oAmkASOoLF5+Md8qvPA+vNaPxU8vR
TOzB3Puyh8mGwgjF6YS95IhDpcrUFr8Zr13bK3bt/nuoPfBZsHvpcfI8ON85X2o7ptd9WkcDG5f9
hFulcdKF4jLXCnpuK248M7tNu8MPE4F6Bk9p7f7rkftYTZ8fErM7Y1SzzYwlBS6F3XV/DwzBm8ZF
ZrrXkT0pE0j+vaGh2oxhW6POhCeP3ewedqDb2fq083JvL++Lly6zvYCyTJ+iQY/I5sgPqYaysfJq
1tTsg8o8he6tDS8ITS45g/Fry2m6sHqsiuWBruHmvloOFktHGI8mN6H4V5Xut+t894HZdTCo657c
AwDdAQnBa3hZct/uJzqRF1qPCCVl1677Pa9iALm4J+eZzJVmWC4gtBL2reHdWs6xcXoYg6h2zedB
FsjTgOEgTDq2ecwZda62w3AAD4mXalc4qWLvKsaLTnFz+JEVsqG7ezHdfekemF02sBidK3T6h3Pt
iMiy83YuIImFs795x2NUKtFKs9swe2v3+5VJw8ch4M8t1l8c6A72cwJ4elBc7GS06XkMonAYH4Lj
6DjplN754QEZqsegwTXmFB0xNm47WukeMZXF5zW4ncMOaNu7y15pXSFWbUqNnkPMHChoRw1CD78H
JnpcBvmK1WK1/672E22x9WKw6bcwdURn+axcIyz/zi+MWRyTAd3sDPOATQHv05V7xMEBn55jYGTK
vBwo89vXQ91xDKAFtN+OArdVAyQ4mnaBSOdmt85ue3fBYsfAX9B9kJigOnckIT3v+PSqntdcXAUB
uOqcGaAYMBZ8vtJRgp7pnwi+KuZX06+ZCA3v1HZf74I28BS2qbydqxEQzFR3XaX0Vtn94l/Rhk41
6D8Oecoft5icGEo9vN4/5ePpXzYeVQ+qLrlzweERNN/Q5CO3ow9eEx+vpXmH2jdaXqEHq5PXPgaE
HtZPvzr7l8PsxWp9e5XmvRWgOFftuWTNdtXg1PZOb/9UROY1Mtre6xVU2G665/Hy7/xxCqyN7f3L
emaTiyBqYu/QFqU12dv4uQ1FoYyzp3VKjJe1PfiMZGjVsVlOvNDD8+DB4J15si1F9pd0GNelfBbg
jOETM2B6NvGtAUVy1/WIK5mSmm2NILOSvUSI7xcIr+LIASv8RuDEIPC/KiYFvsm6AH6HCYT/AWhW
/toAoTIDACNWslFf9/vWv3oxWkhs99cdsHItE8o6HQAJm7kMzirGn/dBbk4HED9g0SJv2aNRHRAM
A8eCCm3xJfZwAZGQ+rFJu2Rxffq8TR5IuqBWgsnZbCZEE3IHtAV/EAcPC8U1eeYsM99uCSpTR8QT
Y6o17AbYH8nVm3hn969A1D3unq0xsmHmPzQUQxmtMj3P0BVNGAuV291O+6ugzeygTxou5q+I32N6
TrJkSmoWqD6Ekw66/oLsK7uCYYNLL623uOfuyjQjUlzw3LrmQrRyAFcmJ2y653gGLd+fEf/MmHV4
gwYg2osbXSLl8Rq6SzSQYtx/zP332N++EZcjbRjhkARSBJOuzfcN/ssJ5Ovjz2L7qqx/5BdLIw5p
lOITXO2Au9sIs0y9b2JiyaDrNON5Xo1FuUc/xl8LRgAY7jCXK54u615ckn65sLRAeL1aEDxauYYI
24d3cUa93wMY/mBW7cHJNTYieR4XaWH9dWOmitYECWl3fMHR0qlhQ1VwjWf9PRgKjC1pzyKor5G9
iyWQWSgzgCv97RaaWZGc7FWA5JbUdXQqAagon0GwfH+8bY3D7Yyf5H+nIbFTlH6e4DxU/3S1cwfg
8hQwpGfI7uiLdKOMwS/AI3Dbj3fZdcjFhDPyb7R9B1BeTBf+CWg78wWUg0AmUnJlKC4DgJ1pzGOD
5A0kECiAryA5SXCmL3Nnath01HRQHxkSYcIInLhaMHNsWwzLp5vH7BXQLwc5BwnYx31rIP20D8Pd
6ky7JqrN31MjTuRpOt334/nbA8ypqfGZaUPVJZdCjtQKeUK8UU/JdLPa0sr/h/vtebwUiC9fe+Dm
UK6Bna8zw6X5OiORgFwLw1cEIqRpdyCuLmzqfJG6bJ5EBqXAxEzlGLKCrdnMvl6ykWvQlnbMXkyf
cDLYhcGNqjOTCB/4gwGhKfPeKcCckiGcWkJ3piLnE7gMlbNmKz1RReBJxkRc2I1kcDoGElsIi1MG
LaPdzx9aEOB58prihmEd4iXX6cT7he1RR5t0ExWFTMMEHLj+IRgihWNMuzdvWckEu8oJ/jpesgFl
hJgjyiV82xPEdMOW1WZDvPlDzOEo1YU4Nf2M+TRIeHdcG1ze6cs/1tdTomOYTCltuPY2cJSsHHNk
4jYtDrhi/E6TOOXAEWMZlABeDBymj+ji6FkIIgaStQWhZNEy9hDJ2aKRFeMyCxTVS3r6gxuzA9V3
4e/0ASyBa5Qh19mGSRLAvjQeLNSDgqfkYh6XRIhUzjcDV9UB09RkmtbxdQLVu2jgi0BSHRCsIJyd
DAIKbRJzSdq6gFnVfTDwRW3nWmzkrBfCMfodRqqi1pIsZageQs9hzL2jQVLHEM+t1g0saidUMGiq
DwFhPwjVBCXgPoi/0/wYgg6dXeM8qMHpn06hWOc/Fs2NtsoCKuuOsE8+eBCaDp6GF7STUWkytPI+
GeuR5s4vscPC1PGNneUTs0GGjc6igfPVRheol444IRk4sCzWjLPzKzZw4IiIfINoLTi6hHPOkECR
5QEdIN67P6JCrXDNMMVm2CqE7+NWvbJEaOBlWnSbrXBPYXCtWWds67bqmA/1+gTNyVvdvEvLK5++
evOumn/D8hkhp+7qF2+PrcwqMM7hvQm+RUDDQj3/0ABhjJV9vgaPHqabkdIJjfGtE9CBFBl/tN7+
8ePfX6F+teX1DIzZ/SeznY/PFVpdI5N2o/FgA+EYDPe1HBwheLf6nbAzbCGT62EoMVn1i9GjwZHD
DK7Td7+XqjFd68X9bk/Zs3GlI+wNHuFliq9PVkfHyWmMeLkzKshypeQ9ZI/ZOaZcU7B0HT0/AML7
tMMPHTJ8qKdaSlV+3EJE2af0XnSmbyQuWtD4OplXxqzZan9PNIw3GCk275v/Q889DVe0TtjcNh5X
vMkpgimI28klv8WQolbwEeYH09YLv5fSMng3rNwPqGHWQoJQAHMUR2iwJ2bvFlNLmff8FOb0PFsu
BKDB/YSPM+Iwj1EOEC3OH1YN+MWuhCF2IrbBbDaP+Hl0NjAXeTAP/+hD0p2Own7XFQo6xLOWBeoJ
xRtA7A1bHkLM3gXVpyA9iS59uW7YuSQ8B5ACyJUjTxLWOiNOYD8NzsMIuzj8+bBKYc/04P9RJltS
sQ/Q5GHM7Py43ziaxJlNBb+FrFAYFkltGWJJoW4dt3CmYl2GrSl2gJ6BFBUDB5Q+lrEQdS2wPpAn
VHTYJVJEbQncQmFDVi85ahmbbOs3tVzFedpd7JjGucJuJPpzse0+KDvQTw0XcswzJBQJri3Mg3gK
nQI+ge6oAFfMBfIn0pb0MZMpJDgm4iMgTMZoIruS2DI12B0uEFz4BUxg1ww8hOcjeysNldv/dwIF
HyJMPNo+SCk2FzveGTsbQQIZ0hSdg4GXlmlkkCqDdMMMC7iPoU8IiujMWWHQ5Kb7lgUENv0OcQb/
6UrZPcHtuUqkc2NzAYkkQ4u6gHZo+szWmZ/mTFACICu9Ij1ABkWCS2Jw7CBiJVrrAdQVgA+r1m2y
zr84r7LpbqbdCZPvvE3aJZk9JckCbAREZFaodKkDqSJYOg7Sv+9PB8EDWKOHuuTgVSo8zjv3G67X
fSyzb8kHj6d8gA2AFPgsiXRsb+c/mJBRNLpd7H+IlRbEFt/5vQEWFumXcSDFG2AclSy+KDM6Fpgu
p3Ah8D4oWSYHOh/a38RPMJtdVof2jgXNCCYA/oo5OcSxr12A4/4yF0ifpDLw2BxupBPDZcxWY4CM
XtqER+nSinEr26+scoRfaUPDuekhb5kaSbFb6V6991ZjdiA4CrwGZ2/DYxPJk3/ZVNgr7RkeJY33
stWeg+KP+p7tljoOq7CQtoVRwkujQEeoccSwZ6qEz9k5L7v+sfFUnLtY0iTq0oJhVte/enAS2iDJ
4Bl3/9TzWyekOJyZbegV//LsTl1GBVm57SZ8tz32V8kt+wTI5pgMcM5wyMKawZWDG2FHz3H0TKS4
hBTClBQ8FBnYplW7MgGl2qDOFqpuVvISwHTecTBzjzDdf3p1YUjv0q7TmWxi6LSKlGOAw6hUxGUT
pHnn6LCA3I+CHCaIhQvIS+GHwsjmCqyLtIrFLHXVk4ce9lX6eyURH0vxyHLYMMgr1lA6Vts9gaN8
K+/QAEqWwlJV+IMVDdsjit7CTpHiITWZoADrSXl6cAQAXT7f4R3FCpL9H0/YdF7oiZ7UM8+3vwJL
W5h9ggOQT7dh/1m9rme08C5/z1fLA5ISeoF5AbpOUOp+WwcKUJFzw2M9MBM91aMnvS72GsjdoPSc
PRNdL+AeFQR2VyrmWSEWYtjEaTa3l474dnBfSKzNvJw98bltgRaEtJIq2NMrqMEG0iJfEdEMOnQd
sq2q8XFZAWWagindUxCWorYuiDcY94ghNQntUtGyj9r3MYWiMV/NoR7bBatfZsdpz93w0CGXnkH1
8jPKFsj8rBfs9D0p988OuNQGaBrxUoAtlMfNY7MU8haXvMvpAEPLEUEX7GxmJqcDRptQ9TKeIY4N
l1gSbpdjgjcEOZ3haH1dMAWCKc6S+SmppMjFhnllK3uIGpR8mgUdCPUfsjJI4IwhIN1BP6u9kTqp
SZVm5sSDkBvMGORX7xlvxw3l+5z3xC7/g+Ndl6ed+GmeYspiCsI+uCxDyu+Q4km32qCfLfp+WlmV
E477pD+ohK4c/FrX7Ty8Q0ZMYlwlr6jz79b1nmBsYxPOcqAGyPcuWNYY3iPk/J585yAy/eJpdXW3
wS0wJm+EyoX0iuj1gV6vzPWoNeqlr34PZkhUrvcBZQACt0t0hrIRUy70b3gzxo+/ni6xJ0fqC7YH
XOHsF5kewSNspY/abqXAqH02hcaX76ihegfXwi94HQwT0nZ4XneG1+kVST8YyJhyRjuAfFH/6llx
s5u+kaisSdhDICUlILg+rP0SKNwu8xbMX6TV02O/lfEOTlO2pbOYqzPBQoIMibdLiSjGKXqyHyyK
ESNNWDZN9Ck9PMDVuMyjU78OL/kT0HvwhZIacWztA5BSnoVy2GPiepmWQTEHALsExXifVSCBFFQL
6pdeakQCbBleA6IZ7FPcb4BYc8glNOxowW8tV1kf8/2Yauy0aXw13j0JdYDw3R1d4XDyke3aL8Yd
kPLBZaCnjMD2X/uZfPZQzfVon9b9m0cJDxDWyo45L4gna3B9U/Dae6aJeDIE+/lh/Ii6o4vbxlQb
A5OoPf9krVE1LSNjLPOB6zG8cb9wINXgK2meGvcGvXTFz3A7qa9IzWn1wTYnh35JFVZDTR6r4WsG
MXSNUUxiTJ8hHjCjLgumIltreswrokuIHMZWhBCxRAtulJg9ANnbpkqMxOzT4Jn97vBb2ybGueWg
Dg+Tnlf3qSAD4HfWxsMq+uQpDopMBxJ42Px5DYit6RMrgrKKcyhmEMKuTwHXGZaT7rAEhynlTadm
UEb8SCf8QEOMWeH4yo56AyyAYLihUg4IeA70l133IjYU/eq9OV94OwIXa5pfQSTHnKoPoaGXfjGU
Me2adPqvaxb+CgP1dukdjYC1ZHqUAG2KY+5wE/ILLzaxDHXUylZ36wZccfE7AH+6dwk03h5L6ogh
3fqJFEXlsnw2+Bz3OlaBE9CMCYBVGp4atnXOKygAasdut/3DCOjQ8AR2hP64wZ0BarfhUOgehmVU
h8jV9OiWnIrwlPdYjytcy4bn6Kk47fh0BFtxMYo81t4q6LIbHKAugYDwjGOV9vFZ112Hp7VUwRh9
7KFoPg4ob66kSYRMF2CHtyvviVPoy2WtUezzFK0SYICHZLZQI0WPDTjFdw86w787+XX4mq1uvnLz
UXz1bq5Y9Q3xoWFCm9MFBJ/MjJqU93A6yrzlY3ivGZMKhgGsC/I72h4dD/0MA4wSBmthg1QUHdzD
kcjw87THOT0WWxUANXLF77asPGqC01DhSPGOKepDzCt69oEWc7RPGxKZn2z796TylRj9PDV6MaTF
zunnPEhcWGmzkSKQk7gbRRR2ImIXnp/s4vRyVY5iDIHtltQoiRengC0cwqKwiQ0oK1Y6GAHf9gk4
nil0+c/T0HxZrz/KXCJiW/8dv1VebmEqD9Ha+DytTi9W8aFS/jAK30rbqcy0PzZFGPhZtWy2Z69K
H6IhUgJlxqHlcBhyJH6gu0JESvG/3x5dNUYOc4JV8QgkBIXJptt473/4QkC2Kzx+MOK7kdzZx7dT
DcQekfmIXaEDEkkuE2d6GWOMpIjuNX9uod2X0ZmNwRRVKIpW+Yc3kXLxcj7axee2XeBe/pXLPZI9
rgonsKhfhFpEp6TOThmHnGA0UnWIhaQJIzJmuEo8ic/L8Fs+gT4CJeMbKPoj/kteHSpDtRXFlBKL
oTYvwf7xpD3s4W7em7HhPIZEJvw1WyLF43vye11+QZVwn3FwAwdFoYW1x98Fo5rLtuXI1zkiYwV0
wHTao2L2iDCdmdauunv3Hy6unQkzEDGVXM1Wcc0mJHcGI6pdTv7FYI+xKG0S+l5ZHI4xeCOrImWF
aBm06Z42u+N8EOOFHB+cI1TgcnnwmiLk4/jIW/94bS6nip7vDNeCMYvP11kNo3J5t1EicecIcHKU
eM+l5C+UP7mzd64QU/YK2Qbri6XEk3f395DP5Fbw55YVw3/Jj/IbmKUhuiG0Zb+E6rKt/GopPE51
psZ8LO3vBFaEF6pzyYWyuA+fzifSlnTbuDdBS6OthKU77Gyxlp4gcUZEZMzFLY3ZuEZvUjjk/vSI
E9snrb58d+FUNEK0L/TUqA2GgM8eunz5zjLqxWifAtqPkpKTuC50om17T2VNGcI3yIozndZG2G/8
HF8DwgVlvYWIpiyNC8V3yXf0cV6bPdMbv525u88VwxqUhDa2ERFH4qMKs5j3qDrG/NPvUlFVacn6
07jRh4pXqmeo2ij0sQ0xQ144K/3Lls6cx0HqZEzgAQo7IWvuLQ/YX+kfk4IALB5CLq6APWzdk/OG
z8CFlvdVSv4bcgqoW2Q44LjChfTVwZOtA1L0w6nn4hcrHlYslujNl79TyOw8TfekNWJ7YG2cMoOc
H2CCJX90sGaiETP+Ggx1iiHPLtAblZiNHb8tK0DUBHf7FV6dOlvN2PmWfAw2Irxqx6KNuP6ZfNLW
5pgf2MQeo2Zw3rxC2AQuqmVb3xAh9EevlAlzEqs5mk4OcLl9vwZ0U0/I5wHSW/0TYpn0olQ97sV/
wAqwWeNcOLawI/g6mJj2x1bpkPPQ525RDu/dZ/LMqSO5W4yWKUQre8XE8YSl65XNmtp4RZ6ZZFGK
WlEF7q6on9F4w/Bnw+FWf2bws2hKCo978tcD2CMRnV0mwax+WHgg5U6befm4yOQDqwVv3rCLmYhB
qKYh7KC9x72fGcFgT1eNwyD5XZ1Ra2KOqkR2bu4rO7g6o0vgn2pJcB6b23IPo5hbzBbtPXOxQdqy
IeI5w19T92ls/ew+bbZWjaa9pPxfja+8aid8I86VS8c1iBUWEEUWHw5QJuBYkTs1fA1LrhIDAI8M
J9aLGbIhyvJhtUEkWlnv9VqxHhl2BKCT5F041eTZFyNAiTfcJ8aAgCe5XDBmW/DIEYT4jwxIK+DZ
ZBdmv4xbIwn65angKuij1YBXAHg0Rec7vM3aCyozSwiJtXufMMEVg69wmACHyDIQlYJBnBp8w//S
giC7awDTYiNU2zdX0I9v6YGtQJgpJ3cE+DBuPSqQDtNWlzE4233DH+qwODDy0W245GICj4lyjhdZ
snd6IWU9Frd41NHNmD7K+ukDxe4/8cmlWELkPzYgKupEcbO92g0yCVBZuaM5yYupFmt4OnGgOHvM
Azcsgc6CZlz0Pq56FV42Dyd3iPmJ6AWs0bYJRiMxbgt4SoO17fv++Az+xSwRTie9MKs4CnLX4ut7
b2yN8FsFlYahBUc1ckf/tjAlL8z7BlCUMenExhHvlC/JA/C5V/mewXNSA+QIU5IzDeUDShNxsfWV
EEex3+ALmTAsQN5UmuERipBsMWP4h2sE444ajrSMJO3N9BqgvMteNjy7zY/kntH6ve3vR1BKPM8Y
BPG9eDPZ4z0uwP64wW31Gg4i8D9BqQIWLZtEm/lNm+2izWAU7VIfFm7rBIx2mvQZhCFuANyHeY8X
TA74JWwsdHdIE22BThE+PgKQJnpWuI8QqUBmoinRY0IdjowZjzR/PWFlM2s5Rg1VDR+LHZy9e6OH
MLUh/tyEh30vbXYCrX9YoHfBrIFRmZnMcPhy6b+h0+MIa6IG94RKh45lR+r3xWOkMRKc685YFlZq
y8TgyxFqJSNFVjhkqaA7SvdX3meaVrmAsLwbbHqo1X/2I3JmAgPSl/8BmqH/ywaD/qy9RBw24JKD
qtiM/ask72JrtxBrzo0gu5yfhPixKaCsIQBq8NYddz9eDBCd8FWIQnc7kCUm4fVPSQfSjmSXyBKK
rpjv7FryhH75ZXis8U9cHZgDmX3Ic4IOVPxOR3xOUSLh3C7EBIBHkIPgfyyd17LiSBKGn0gRIEDm
ViWPR/gbAhoPAiEBknj6/fLMxkTP7nTTB5mqrDS/GSAfd3fQRceKZEUcENrBvS9qbGgnMhey7i5P
0uc0/jiJy7nrDYwlwu+UYIyUygUOcMKKYeHzNXRDZ0pQzef5ikUrIS6k182cFUFchDA2D/+dOsEI
rAn4W6TaxJNV+koKpQUJ0lB1AWlDoO0Pmy4Cj/iUUzuJHTvm55fBUtB8HwWWDMQgsX/Gr1h9pgII
Tl0baDpw91kijCdGmC4XIGSbXyxrlH7Wa6VoW3bnwMZrzz+v1sBBtswj3We37g3SlMkgXct3Hy4N
mQP8GFofyEA9g6uL0UA0YQT6N6HigOIMJekmG/h73VSyfRbCvgvHwfHvLWenOZBvFKBYGSS8VrKb
5SSRif9Jc5lPeV4Na5+FiaBJfwBkg//zg2Q2g3mE8tzfGPcgc0q2Pok6i2QMaJ5CkX/w+j2rW4rr
399D6RdbZBEYFIKAD0FRMUKFd9U12e6KMIzenUwDWNTH74y1chmO6QTK11cKIiKvQYu31tndCja0
QRqIvBwZMalkjiQLQFTmcEYIvH3uVXFvVEMsIBjQZyJGkR4x6fEJgiLmyEJmBskDzAQLeYRjBY2D
E1Q2tPQMZQWzfP6tPMb+AmqUWMbwljjnOd65JvTJ7J05pbDJQnhXRDMwDLST4UmEpCyIP3M0kSkA
rqRvBZRVCW1MdHdwbw9hoiol2kfk6LCCZD54JMliIEADnjYvNoro25FwAIrcH7UR+F/0CMSJDIFC
YBzIXOkPH+YrKGYGBgWvo764ENKZLYyABU4uSoaX8jj//1T/a3h5yhqCngYBLHPvh8hx0pCE1//w
6eqwM7szdUNoBlh8kOTIonnoIysGDbXQz0QOVYLaGOVKOvVAdWeeR/ENo21ApLy5xo6dQbQMaMWH
OThazSBQE13RrRR5rp6VLAAgbJmvMIj/a5mj+0QsToNSnSwiqDns1uOCDnyay9wJRrCNM4AI9YLS
jkVuYaMwQH148dYDfBIw6v92J5PrTiTgqZiDh/PUOVYHlGcxK5JmBVNxMOy4Y9AzmS9xXhQ62N6E
SqC4/kXu5TXy6yIKt5fBKauxyxUTtEmqebvCJSdSoHIfiGIYs5hFCz6OIGqShyIBsKA6mL0PFnc8
a3Ml1RqHBe50XIbnZN4kwEsJQIUIsjnQLIGZi9zW+Mimp9WlBnooYw6paFmekiY9KULI/Rj0lkTd
Ob1T4eYU8d4QDQY+AQKZuQim78s5F9wD6gmcMrKAw+iAZFZmgELuSYH0pbqIZ6Q/H7W9I1iwTeLb
8Hg/yIidklCYyPcepjlfByHlJUcXuHHXgzgsWus/lMhPKJsj2kQ7cdULwN5zi015BCI3yPEtZ0oX
7DVJD2dMAESIbQPrsAd3jUqaA4jFy9vnYrYDUXMv3R/DLwMdjvlYC9vj3K2WJnZ+Ma4TAUQhfM+5
Xfgy9kh/c17akSIDHz/6x/DuoWYGSWoJZxk2G2RHBUI43JcnJ6R3DyQRLjeawkfRFWbUVm1FOP5u
yJHZUXcGGDKjx3N4M/v67toKhPmGe3O4JnkGQCBKAtXL5UDe84RlwMQK+jSd2fGINIh8Q2yF8W00
szg+hXGIEAb4WsSo4OBBHoKowZMxvZLyfIWMPIExQxeRjc6PQw/5ZYp6GhQFNPLAYS+XPqpy4tDO
GXEO3LEi0Wh51zCHvMT4pgZ99YePT4hydCMAElgwmJoFMG+OdJbBmO0Xy4Gi0MgVJEh1JNkNOD95
uchoUBTgRgyiokZvKybBh19/FMr9C5YwAjzQFuh3SHVEk5pzt3SRhyeJPDkAuhYwNDacUmRL3dcO
4hUQBaMPmqDF+3JdDq3xxSVA4HeWjqCgsu9MUwED4wztzzyQRUjLjTYN95/oScl+3CbUY+O5Oe2G
R+gjknySfrgkVUxnlvfe/CmQm65eQ7kAaU64w/SgMeVoHEPvKYRF1rUZz3KU0r+wSF4QnmbSmiTF
kPzj8mXCGph90UZsA44eIYIIv73GdqQXIOa26hWoBpLEyrqU6aXA4lakWFsdbFfMIQCbLPeZXUKY
EB01+ANStYD0lNZVfkgYS6FQQRmOotTgjuUlCKwXfVZaOY69fjXdzKvGhX8wPeT/FtQKbejajnAL
+/4HfN7Zt6IKz0PVjsQIZuMvGv9eF/4yb4YJREx3ChI1LsQ9qgEyp2w3+Rd8OQDvg9U1nCUM2iTP
FFLAfM6b4F34iDH0ZTYmo2fyHNIrtAowx12CbNqjvcqcjBfZ+wHRAPcFaYCboRexQSLExGrKIxWn
dKdbI5MUw6+2asbICN+RLQMqEF0MwW1HrN1QsmX9IP0cMLPrEWhOJNXRKQZlFUH6QjkB7jApDep6
yP+3/wFeVAORXdwC8U/Q204Yq88EfogMBAi8r0VV88THneoCb2WWy2Uk7DtwFzJQnnGRZAT6hEEN
sjDUa+LFtl15j3lvdZ1YTqsmBJf/eiPtMBKaLqc1RFkWhVRzd5V1gHq4HffN4JrRMjuWd7wFc5PP
FRzszMu8wwhLJWdSUWOjMwkDuh3R4feFnNKDQBTPXDTiGDXiWydKqLcIAihJGw/wytEvIKEeMru4
yyymEVJqGOWEoNL5rQ3wK6FBkzSSxJEJyxj/H6pI1EsMmqVjQixjdYfErzEhMqEw9RBXhkg8GZlq
lPYCjgrbQ3INLF6IpBLvEKAkZY1Ux50zf5neHDsb4kAd9N2+roZRC1je5DoE8bhb91FSAHAGhzCE
TyAtjo/zG873xmS/l2yfEeliDMGSDDaLljyn7nlGPj7vL4EUkxsKbfs9/k5ohohCTsKpA92wj0zr
0GXIzrmYAMqYJSzI/Zhx2g2SJGQcgATtMWmqydrsG1swYPdpOwbbFU3vCdq4tPrhgcBapPAIxnsI
210y6G/uMpa76nSDNtD+KLLGDWoXKMq0AKSfi1ArJy09kAFMO6nJG+vNbNlv5+j2kWpKKQeEgiJL
VhfSM0KMgXw5owS0hghc/M325DEUcpQoaGq0cY8hvEEADzF8p5fXHZNC7tHcA1ZCSGSstllKaijY
iVoaJZZqF1IAivDbA6wCHz33Tsd5/zbIUrXmpp/hhdO2IOvSxvncIDU2HIPNc+mN/lnuqQ991UUk
fRQsOAeZWdKta1iOyZZsuANzy7AFwGmK8JBAu0QasgMqgvsm4fkTcvuQCjz6DOCfaFmC/cDhBXWG
r6qHeOYw5fKFaM6w0L2HpMmr1lGaAR48oyN3QZpsru6BNFokqJ2dzwitabIqUus7Aj386zpvk9oP
VuhKYVxIJQnmDHEUCq2EjE+f7MdoGtEpGNB64UZRoQLPM+Wxu29hPx9D+rkobwbUI7L1keTqkHeX
RFzaQ6QFg7e3EBgbdDMG7UArJkkimGJGxTGUaZEO52axFXn7CKdxVGRK9HXQJkFfGl48aBHqvG5f
P8Kzc4VLeg44WelOXoMi1Hr8px3+KOh7d2T5xQR6M67VjdNSkHgU68JEpkt/RNoLhBohyaCGepyA
QjfRpJ1aQPJ6q4XhBgdrFMGED4AYiwwzkNZmn7sl+QWQEXa7Z9T+hW54VV/yNWjq3+A7eYMb4LxE
79WjEEeT4uWinEBL5evgAcShRMZEVQ1/9yzJA5k+bcUSLCjnDEedCH/AYEOwxfLRDqSle+9fD4rk
KQ84Kx8eWoCSzLWp99Nhzb/RoWFSFAQr3kSSkNFDDhafm8Chdyo9PTOWTIsEIZ2uJHqSMMzpx3S/
LocDMcB0O2QVZLvUL4LXRcKnQD8YsJfUPILJECC0dFK77bvLmUh1RGmUDhF6lzb+kdv4yy50IhrJ
DzFrRDx1JvcF2CPPY/mSJDFC54tZH2Sjx/1Rntqfkg7KLaZI2cDz10Z7HgfXVipsK7z/RLmvwAIF
oAnJ8UuUASV4SJB75CdRO3E4f1Cr36P7RfbQHM7fgDxauF7yNI8UNvexRcuRVc1IzHmsRfvzXNLH
cb99hDRRZvurLIyEw5elTp4YxrIpCEv9/f5PDf2CiCOCAZr0PKTTK/KaaZdKXdEnokEjRGe27GDR
gVRIx9VVyCfY6q99FgORASthr8bjFxl1XyfGsF7DLr3rP6jZjNT/6hkoU1EJyLjptNun0Pa7fIpw
tCzZkgQ2Ok0iqbW2lxR+g90aMYMlj2ucQJwTlATpE49DMCwcpuSEgIMfETSf5ZItBGRG1F5lRZIa
aWOyYNYAFRTNN/YsAwwBntHCRF4AhjGRJDZV5ulT8OofxF8IY8GKCLpo+JzhiUQfqnOO0iRO6JCh
1IQV5GA0ol2IRhq8aNDu/0YihpEqU0z8UtUYjdKHGslZKpfaBYaJhioxg/Ud4wYLOjuESRL/Oxj7
oOMFVFkohYDDILry6jXaPy7HrTTm2EGjxsNnbQtvltNDkmIawwjJ9cGoITPGBu9+uuCBn46Vc4aR
Vc9ZNZweCd0uGkqKE1dZ/kl1aCPTM+eeWMZs6iNNG0k9K58sFP5FjwUE2J9tLH5bYldAYkspx6XI
5IiWm0sXjQcfjMea//g3p8OXkNqgGBTOSVIpJGJAJviAN+5k+hmaG9ATY6oqb5uzz/hRASwptD55
jtwwUYXVe/3DAfKYqNmQg3B7PVHzL2hDNidoOH7AsatVzH0kUoUDEIOW4G0fg+22pmXkLehbLkhx
CSRecqX/uC0ZMNB2oApAKHEeiroGEgHDYfQLHf8FJR+1YGiIHvUWa+7jrWk6DEkf0hkpBL3utofq
ASKV/e5pzol+HTUUxy0BRHtwZwOg3yIWcEfC4GWQ+RGn75T9nYhIvD8d+Spx+K7w/bQCFwEjyi/0
jbItZx8fpaMybwASRAGqB9sNKZLW2dmtfQkKc70vcG09gM4ml9YHSMHr5C0rwRWKsATimTDSQ3i+
ytiCbDAVVWnH+UWa89j31xo/EGZws+k+5CjYZlG/cHaf2XTYh/PkLF/ekvLvT7GpD4HKdnZpOFx/
3bWZcIvM1lOFlsIcZjl7cs8l/PzXBvttQNR0J4SoTPPM53FNRWSmD1eAjnBjsp+LD4cIeVY288EW
mhQsGcelMcASo9Gb87nlvBmhZUDL7Qmbm33+FR18NCGxN9+1fL8dv5mQvvrlmazuZuMqgKG4rtbN
tsLDALn8ii5B/O5ZtSeG8+o6BQB/5CnfnV05QLc1rlHYVQ0+bS+fAwjMDXUp/M24BLjm/GznQcFf
ffiAQXntfLbFvB2fW702wYiWUVQCanoNdIVZ+QmEBtDVdu4Xv/DaQkXK6xhhqey3uveQxQLrxs/D
nmmDX9sDwKhl0sHJXJxbSIPcz3n4NGmDnnC4dB5Leu0cm6R7rnbnJbT1+MSxKOOR37Is3dR0q8ss
0w8PZjiX2fUOcH3Og72GtfoAz4larf2v7LaG58eqrNaf3P8u67ij+cuP14gzAEbjjzYCNGAu+fl6
bDZdeTja8Aoa+mV2Pz++tHghAPIsZ6V3/cTQ+0u3A2LGqT394X1PPD0NldtjTSGE40gRkkIwdtzD
n2V8o74R8lq4DVzEtXbNK3mMiMseFRg5aMm3nTrMdzCT8Ehql/o1qjbDyorIQVJX03sPK7ryY3iY
eOqq77I5bA0ZhGkuuu01trcZKDB0dWmU0lHz3l/eG02JF5CZannNo8pn+ZzPkyWJ8tI682eWDLxs
2zF+oRFwZ/bfrfw8XRUTI42bvTdjMkCm0dfGWjn8/UDdwZtxsk2s57uO89J6NyaxKJIS58bf5ad0
+fNLPTxH9+huRfyHnXCN5ozPQjQv8DPoNYL3pXeByteO6R1dvcuOcevDr6xjBUqr917p1z6rz2Q8
UerRResx4jWjDn55JzJ/6rvxx7NbByQ+Gur+9szcNQFr3Q3wJZDBDLbBlVBUs70byI+RDqumz9Ls
YH+GQroHSKi/vkebmiUcsLYr1yzC58Ozggu6CxZX55rDL4H8N3g9B02mc+SDlzP0iiOGIxQMnA3r
9WtgC7MfG6GPEg+nyr9YivVeuq2hia0vTSn2Zc4rbVkB8eYOxJfX1Nqsn3dXv3v5edT+aEiKxJ0L
UfRTDVEf+L37RTG4lrHRWr6qYSlYOyul1DDB4Lgy7WkhIvczg3ZnnLmNsvfTzhzbAB9hSKrXrZ8x
7Ott0HZganDX6PzaKLmYUe5m7UnjOb+fvDK20u7trNJrrJ27Wh5rIXMP+KZQsv51mq708TZjnZVd
epdJQ2VnbzNuVovzZfJ8gSN7GV375BXNcWoplmknx0XNZlNbkdmZ2OxMfJvPjMNhhPk6S+UfD7t/
MpBuYT8JK4FertwIw00kkRBypyrrbipOTy6CLPsiiqImqO9Hx3tlg6zjva2QKIYh9ERXb/hHfuMc
/a5QGas9v67+j/Gm8x4RqyCt2sLk4bo26++/jlCQacfYU4smhc5InZQ4Ia8iMWUUEzKKuZUHUjTS
ksfEmkBUbZXKaEVSrMkUSKed+OM8wUgaxR90sYNdoxXAC6ZR60QPy4luLwfT3Ly72dDZ1hMdGT5M
n38OpWpjlq0KqJbAzjEK8FpWyIB5E+iqhOMXXJkmu+33pGBCv023MPb+7toh4GcufuntXoZLD8zE
U+72Uug+GaBRbWE5Bjs0KGEphKZBzmwfZnGxIV1xVyKxbl5Iw6U0Rd2VImVsMGJcvd+Wc9q4bn32
ydSKXenc/mRNv7M7QIwTBY3QguPatfFZRcl7y6hk448gZKMsheyNiaBy05scbmL8bD39k/PAM+kL
IxJ6pPMFR+JMI/7w28UV0qJT7Bor6+ocInujJo7pjXr6Usc/3lkhdP5AbhKnLAGeiwhVVZFTNVv+
uwV3Rm2BJZ/DTA9Wf93iNrk10oJIGiEAL0KnVJv6HVNM6Wjdol4rUy+XNChdtlpB5zwlwROFz+xI
swleKJ3MMR7xwAKFhbX9nL3PCaw2UumukUdv00VFl1mgXqFjEnQC9LnA9616JFcngBarJjn122tR
Azg3LX4yVmOC9Sefb69yrO0+hXM+xa/FuZy2SC+oZFrtAYobGIyl5Pu26envAbgWNAGzADX623vQ
7CjbqpzPb4errumdwT1AQFn93qTTe0zmZqCoQGdSbzDIBP9GP7GJYRGuw5F16+sTuSKHYGlE83Tj
kbQafY0EozmivwD65CUUzctQkGk54N4vTVzWAbNj8CKJbfZY+4K+Yewl9JjOAaF3cR3cvunM8QIQ
dH3bavtp+IxGpPgBwEXzgmZ2VQJTYFf8SPZzf7PlAPJkf1V+s/bBDiNVBMHRqaEpwTBYtgAemO6P
Us+rj1+3z4mtt3FE8F+P/fxVqzJXP0hWLZRgilZ0p36oroGJwOHxaqiMykHZqzQnP9eYhJCkJxkN
vlPvPs4zsEq3YR4cv3r3lbl8Fgi5dQVR1SqjGxO0MzwKjuAIVIeQXBrchQCvsKnXsCwCgJRkM+m7
N5j13FRRzXUgUd67IsnXyrDRDhk+A+FC4P+oXT1A/TlwDBF+LgATOa7ItnF8u7uL0+m+GEznG/js
Z5rtmXsGmuNUD0mh2qox51CtHTpoFXnni5Lc5qe9GNpMjue4FlEVXtKBKg8BOiqwH1WiPW1NP7zS
t88Yy0JH4EQeaeIpA187ybLxWVu3QIA59pBjKmDi4BdOWTlDchPHIGDTPaM7MSYfgmZnRZsx+Re8
C7AfhQNedmd2H26eObvHiCP9rbtfum1m+CWPy32TpnyDFLDcro3K2ekHvePamjLU5zd722G2utFV
q10zHJ7Cdd5bvpdSLyOfteqIL16xOw0Fm8P8BrtQJo3HC9DJXYgq/i984qZttd1oOsUmgl4pQZOQ
cnjjw754U7+IQOIgXQH0q9QjF4EOGvsN7/30cpSGnTcbRvcqGuID+7i66gFHbAw3v8odWwSp48to
gO9iE3frZ0kTmhhy2+c0ZD6n4FHO2NanKfO8jbCGfjdqHxHnpYnLjqcBDt0lD2sbqRT98CSlRMYi
U5+sT2ra16etieUa5N2Ka2Y23pdbeaFJskPyElTC6Ov8JmLvtCp0ZwVT4MoszgpnVFhZpY51UwER
4thBEQJ+IC0EgHLMLd6TQY6mO2Q/VDIIapi79//9YoAqyAwRD1ttaJvwoX4GyO9s0LbC28/XCEQ3
cir3CdaafKeZ4gOFwTf0dSBUjvfJpxsU+6PbaYT1K0NeoCw4deJ5CjjZ0wA2ahEbOgeeNLplIExn
OfHcIhAc77fBMWFTwEuitVfSU2AHmr2KouPaSu6qtdKQk8erXFu+woqyP7hfut/P1MDpwilJPFnm
Bqdt7SH1Z/RvtcobXf08fJ0FjP3KvM2tfwWAnFyDtKDka53iI+jc3wSVoHwGi+hTzX+UYS+Pf2un
iO2YgTKAGw+W70dgM0fmSOTZ6aH+nMYg93P/mQZZHpJm3tGT8Up8HQef5uoc6ZakbD8zQuLtFz0u
66/dJ2+0m3Bre1ZzTFJ2cdb1z1vbZxRpncJgF7Vc3AJOzqlvfTy6T18a08B+apxXwm8X+2856S7Y
u+cFn0rjaRUN149pn3SSvB1Ev3Vn9mysC89ka/4kRHxTP31IU/1mOORNFHRDCpgifoBkon9auzps
H9O7PEg2DO/TUPyIeb60qfecdJPojX6DxeJkKJw4OdXW5u5qlx45OsNs55ePG2zm6e8UNAwo6Brd
GwQMAKnGTdtpkINvEs4bcVsDIjlPpWx5bdwNVPHSRWu7ETGPvevIzMQmTLzhBU31ht0HK4s33C2u
jl/A11FhB60j3mMpcPl/i05gt/22FeS/IdCTTuq2RR2DwovqpvZyT4PH1vZAp/bMz57wsulanwh5
6JdbNF0jYWc7iC+cSFWgDnYv/2K4xdiXceBW6sWADdhsSt/zfWww9wFjA0qMOM2UOuCIuPahZ/4O
WJP4bHpAwB8wtUwgM7U9/4SeI7pZ424zoRj2fxY3RlnTAOim+STyJNBaMj9/1O0av7XoU7sGddGV
jPlKgbOa/x6qE7249Orfs+iaUfaNoNLpJ+cKHpkkcfZa0ZoxR38q9PSMO6AqqAP6wnSkc5g5KAcc
Ob4ECmkxe3iw/kZWG8hhrkfPT6h5m9U9uQ7BwTVKvE7shtoYCKNrwSFfEFgwPT00ol7njCkfeIxq
8s/YN6koQgtAA5IfbA8nqnbM/SIcTYNvhhkgvopcX+a1P1HRxMvH1U9upYq292DA7nV+/QZVegeB
lFP/qk+/LJsnu8SM3peIT1pk8O6p8PB60w9gG3+hnR6ehVdw5eNm8H7tiof/0mgcdU7OzewZUY2b
wDOcXA6Vc3enzQW/7WkFPsa/bjNMK/Upw6IDpdCp0vFLoRmz/rTZW+pNcl56KB9EHE5AEducANCX
HOs7/sE3IRGA4bx/68PO+lPEH7+zvmPcQm2LsCIMJd9CljZ4N1QbwTDbTZu+8XYfX6agE62hTsRQ
iAYI7zs1f87lFvA9Ov362kUZpQ3vtJ9l8TSV2O2fxunMRJ9hdYFx6LLZx386KFzy2X+p6ILtYkcB
pb/iZPRCEOqpisz/hecs/PSnm3mBOGyYr3ZwztAEIY523zvI4TA7WuG01dPwVzWmuoehYw0vxLtN
GN3abN7+yQZSmFzwg8RA2bXfsVl1n6mwUS4dIVUMN0Fm/ivncMzfHraRr2a0+cEFV3XfRsdJNXT/
6peH2/qlIOWllfOq+fobGVzCChiSfnMk9cnDZW4ntcdr9uyL0kQBHfMNxS0y0t0Ji4uD3DWrifrF
PVWKu7y5v8XzpOCZBrC2rj5+0YBzmQ7xihYXTu5pZze9AIWv46faaGISzCTEolL3CZIAVRlDZ7Xb
pHAjPK0/GzQAW9foo8U5rK9NcmqOEAF/30KBU3C4ftXn38h6oDFTg0ndkFcDUdXAVHlsgQmC4Bio
zXsf9kCJPsm3HaAWnmGEe07uL+8E0CJPptZF5QyspMqvIg242Y+007V1krINRX2HHCxddwr1fHG5
55tCwsUEmoDWGm442iRtkQg7h2tTZcwfHlGGrgMzvfDOMLeugq/suesQjfKTc9FC/dK1f8jFQOZu
+vWGOYy+sqJ30e28gg8yZx9AfopSB5vp3QmFD72cWt/oAaKO58gkotO33DvH1icyvY/Ry9JIKylX
jHATFhg2TesK66/mvEP/Lu3W+qBqqBclgoFOavcBi2jS4oUCUu8fvvwUl81431XF4JROLMNLP2Pd
6Lg3etHAX87/mg3v+SIakDzZaMXU7z6d8/POsvedNGyZyUcfZMWoc03ap0ndpF5sMT6/w/jFnjG4
W3hhTVqgpMWbyXzTEDTDpp08fkNGkHe1ApHzjNp3H6KUno83S3gJcOFeHNRw0bzO8YS8jcVgOkWJ
qeO12/McvaSO//WQd7Bzv/Zz6q0ygRqmdDtu3t32iZEB2AVp0XgMe6jc3MzuPopBqgXpKxKpI+9s
0MogFDE+8TqNaRPBrPLkGUZomLMHhjivdxOD04HVPFjMw5punh5IezbeBQFSR7MHZ9bhFT4D7on5
wzNblMjpbVY2Rvbr3/eEMSlWVNfUze/Jt6QnSwNZx/CszqYcaz+F/o5lD0HM2mPL3ta+3plcB1/M
PDBQaY7uBu1Fk+X2WqXXCe5z7Wm7CK9ml2PNL3AB/3kcTncTA8BGRPnKsVkdr48zRneB1fba77h8
TSlKG5RMuYOl0jvOzpjXDQnTfP1Hh51N3fNR37Zfty6Q086PgEhrBZuyWxRe3eJM1U/emVfoglER
J3QxK9OOQFBb8XkABczudNM86tnUXACfH1g/oNHwG7VMIqafQ2V7x796WEEStfs5vZmyq12TNz2l
x9Bq9s7NwGiiQtvoTCygKeXFv28HPE9rCOqiyv0LoTSNPogS8e3ALx73sDK71N3Pr1zN0Fs8JDXA
ssUkO2wpctXBbc+0GoggWm1we2jZMeWmhxuXutOmccqp5WhrClFQ2OTL9FebrjU8pQryKdK1we+4
qtseGG2i/J543waj83ZH2uzjF+4vfqP7I6yZz/QathhWXQBn+aTiUkPUx4c5uGaBDvS4/RJFPeIv
VJ/xAwIXnbU2ORJiW7AXCpn2I7jKSEWjyKYXHZTUsXd6td/Ri3MDjcC7X59U9FgNCZcOXdQL/1Or
OjbWNOx/oz3DtJWVCv7uAY+Cl34Yd9EaRkGzoWRKUhCyERh6+Benv6Z9rJbMMatVSdLx+bkA16Cr
hk+k4j2GgGTqcFTsESPQ58Ke5ldqCuEZgOECi35sMIMSns9R6401plhkKMIdqAQXRvVZqvsSD7A9
zaC07gEEPT5OuMTIPc4SmJaZdMNqWhbkMCf/Jhn6vqDqTxgS0wCgNAd+p4czu1KJAXcDup64BAGo
Mini1ZeslvkP0jCLwnROhQIlC54d2k+3CAtGkiTydXgtkWtAriNT9uiMA460K3aIPMgoBoY742mG
fcfn6DrZfIJBNsd0AKS2yruponZ8klLcEN0jLBta+HeMpfQJzs5k477DDTJyB7sVtXCKeNH/Onlt
QBsoDcQoxebItzgTmUihTjhtWk4bkW1/YjCd/zmtbjQpW8whg8lt1uavKuJ/04nSp6Q2xI34C0Ar
4Fj8fDg9beBZjvVGNZMMNx71YF945/mIzjM6aqQZHI9nt8nX3A7gNQ+Xr6dr/Ex+m8v/zxp+stlr
P8H8pP2Td1tXC66GUxxYZzsSzxP6dyiUjKtDbPgeBveNITl5F7BXQIeNC15A7xhNRrT2I0EZ4RAo
SmeTTebG8NK8pBJk+Vtdu28gt99teQpkXpaOBpSE8eC0N/xtcxY/E7pAdIM0RJsRMIS10vVW4rWX
TreCqqObCSkIe04wd+hCCAy19s3xE3zottgPPFyOqxR8h6mC6MlKtmgT0pkiq2wPdeZL6oztcfsf
6Db8PxUo4GTGkHz1+SfZ6X1buJfoJe4hfgYjIyVwEG15mFBUgDGhXbChATAE30J1QheP7t3gA2Tz
L6zQ0Avytn/SnENnQBqC1JzlguFd9KhvVot77SxQvYpnSUhaDrgD73AgKwn4Sqk9GIpqazlqbhBg
Dmn/qfw0vrtX98w/lmsCqTOazuOsvhQaY6IqfPkSMW9Hp++aKQ7IG0/FZLiNpAopf8ggBoDOY2s5
b24BoX7+AocNK/FgRcweMrgL4n+y0DKFhriqm06nT6b+UZiRMA5mEPvaoc6v4t6KSK6NM/oD/D5K
YPIe49ULKH+qqi0A6m8gbFHBT0NbQNT8ugk1UPaiBE/QBaFX1epJB8kprYgU4vjsIacET52HS+Fl
OOe5wdPtqYHQ2v+oEcKk2gPFOtZXHxcVng4A8o9AplePPxzKQM1C0KNgTwVl5WKHLrGlFuTVn8vL
hu4hJIRyJ9AHj2jHEgR2T1N9c5A2+qeLsB2nKvBR4ENg4LS15VwHs9zBOAlSyr/R5QCuhctnWQrP
AKjmRqWLIzLXmOEmuYJvipsFJMDwGf2MriWHDSNwJdLV80uKPvxlbjr5hRDKmINhOfAdMC80ANth
BytXdRJQkAhNQPLqik1sum/XiwcmsjMdns8XCAw7iXb0wALuAIOL7g2vgAIVtMwMyez9g3nlFGt3
HOde4F2dNBekRETL49GjPvyOaTbdf6roiQVtPQVZhwEv4dxE4bhUsGWSu1eCiDpNe0y5T/8UzZZk
znwGQMex0QWxqVYiZYLwyfYayhfrINtBknacM7bwTjPBJ4HYn88oifffFc9e8GWOeIyKjMmF9jFn
AXiGC61/c44UPrMxUEpuVfIwSoHi1dEIM5KvFw8EvTKJEWdxmCEhGw1egbYhDh0swtkKyRwU6S0O
B8ivYB1oeWPEywRC66eREPyAiIHST/4KbzBNYIHT3uI8AZsLr9lnLNsFSMrTn22Bk+lgr4A52GAE
KOfg39Aplb3O6waioFBWSF4JXOEgecD4LJArAV0GVDqBlyJIGoiPNLJB+zw9Tpo6gMcD/vnPNXUw
eOkuCOdzF417fjrkwQd30OSkl6sHWyQtSRBQGEyjfLC7MaoOYXVekXM7Eg5efmxawAlmIRjNP9sr
y0HCRtR7mFSwCxG9FRPBECmTuteyVDaIcSIWViYjN2Fq0az5IqXDxQHs+ROEEZKjTsCr3XKDh6ua
VbQC6dvBzjzDHpTbNxn9eAUYcfcC+Ha8yueDgQ1LDfiaRitccJaI/wFuSLgA2dVVjBgTqzgiwUK6
bcWFbxE2xV7YBTGEIfEXa4HHGN3ajLBxLHc4ag80X0boL4+pcA7eAv1+2J/lLinYnCwk0UOXvnIb
NKIB9WCMYk5yBeLCQkZX8zqAVwKT6vmn0oOmGwfuDGkqCCrsC69DJFdse25pBjpsqzMgZkKDgLSo
oGAhd4X7TrPbY6Y9F2yl/mNoQauQGV9fXuW8AII0I/ObcbBsAZ3nnC/ABh8TfjmLiukOyj2scYFq
AXHD9YpuCyPXPogcLOZUtsZcoI9VDS1kRFnwgIIlQ9uzA2vGeuJ+IQnRvIW07gRJuBqPGxZ7YuBf
F9L454UQG7A/2KaRF7zRRR1OJvQl1AJJPec1YtHmfaA9oXBUhFPGEOXk7z+qDxbb31GZkIYMXzEu
Lryvk3+M8zFjCLD82p61zsziucN2kGtgt+5xJIcdQKd+3Qp3bY/D0ZXbmO8FfwMGT4yMBOaLYxd5
GzARUuBUyUcAyJwSgmfSgoHDk7gMkxfSCVh0HioyykxBFSIwZ5ojbqKxeRA3WWgOjy+Ct0qy14rg
30cTCZy9BMCZ2KFJREjReNgAjnt60jLDH4XcbQ9niscI3CvBmx26pzSrz8AFMd8dKN5OMwDHhcXo
oy/iShwVQMwnNpnQv7arD1H8HtEtXXCqojtYuKVvoC8VoK4dZl1EyDl7LWEDIAQEnA82NDsWMEjl
54CSyRRady4+nO9z31jzbLDxgJWSoOkuQ1g6al3U3sd/5Mc/nSY7XMqTIm80QMYhj4hWHc+zhEdc
BQMtaPjbGasACB2IPVxXDWZNY/7S35DDPUeAePrrSxcME5CkUs3haySi68Dm+jMcBHEeAm1ktYKG
KZyagT+eXny2D4KU1QSeGDTnnLOHBW8fBvcJoUH6/vhl7gVLLPNuG6OWPayP81+wXun/QO1CJROK
V0ecwj7kDu4ezXj+rpx94jog7vPkzxqXPi4XyJFKQ57jdF9koN8DOG9Ae8FxTgazzkx9EKcjTiRE
8vkyZbMBOwJBbaylDNhzJoyr1ZMKc6GDvmSQ3RJR0hwv7D7as2O8qpyu33RBf1sKkPe5LYDFHNwF
TRyP5rVfBsOrrnY2SK8riYfGthbE9/ThDq3tGvxlrdDUVFThu74FD40vv+F3wTZZ1+sCRDcCRTyE
eXj8Sa2Fg8j4fySd2bKiShOFn4gIFRC9ZR4ERRSHG0Nl4zwPoE/fX9rR8Q+nzx6EqsrKXLlyLT6Y
zPLiAMRcIm420ZRJKajQm5V9yDimDPLbdn9rrfZ2n5/icEUpUkhELHGOnidl1vKxdPtHm74zWq/9
1VydxnhyDm84G+hbpJe8AqoaUJ/ws/rgR+zIYXtwgUJeb81gBLTzR8u68TeiBriDq45kzoIBTIY2
aGq++FZUUi2adSwDRw+0UozBGyHcCI4l0Ww6feTuO3iAhSJcCOo2GlE03GJ5L10AesmRosJmbkkc
TuP+w+ojfm92k1HfnarrC4I/0HvmXbc1FkomE5psYsxIj+vYtSPuYqYxmUwpmDZ7OEr2FSBRXJpc
MDi7aff3brDxAlMxacUdljcMYIi08NH6lQcOVZv7i99pOBuka24uK9ZDaC7fw6xoe3BXGA18T2Mo
RwuvvwqoQV0o+xtHpi2rjnXKp2+aZd68C+LAL4W2x4uPwMivOn6qcy1ZIGmEmqWjnYH+leC8hjDN
LTiiAswxvmqTFQnT5pJfMQTq+ngx8BLcUK/Z4Yz7P80z2mUdbd4cdLqRopDYYIOwYA+5r2P8aYJA
0aWGYc5+Q0iL9w906N/3sgea4wOZFqY0Djo3yMihKlNNKC/GdH5FQ6DlaE0LVf2yNeGW4xtXNKsM
pzkTr8V+KToXnZsj/3PHPoJYjc957dGFnlRfGy9vOmQma76DCcH5w0mZIEqDfp+0dfKIeoNFQPRY
oQjKfkVmprFCm7Smc3Sjo8ss6lgBIIByQpeepjK9/G41IrXp2tmhPSfAk+s/Frjx0dgnSx+L1wYF
+ktaOouPOW++PMOUhnklJD9sCNgTveYM0VdlBM/bkLQDOyOtv9fdxrQi8f1EqmHDCdGci+GD0i00
h9GaR8CE0c5irFfkCyCn4gSJ0uC029f76poA0PULVQmgjE5oo8h9WB3oOvIsWLfvUY3AHJ43+0Ht
qmcz+cVaIN+xwWYJzYVWw1xIXN3PtRUpPwYpzJxSjtRmVm8sxEJJ4jauQUPOwBuNXy5pTcWbpYVt
kVx3aea0k8+Qu246PTxcDUQOtlR0oO9lXuiYi3sbtKMF2/E4EgjjZNNVvH3oitLmYxe3EHC19pDC
Nkj2fPwrqmE6yb/ytORV0uzq9hdb+7Mz6Sy1M+TjH1OwxhcKkKZKgrZu6mavBTnyRTWCj7ngW3z5
RfKOmiQJnOw3/WlAJsRTuU3H6dqAKd/ueg2bHe+PWcZF8iT/ozF8sYHSXibX5VdAmRfSC/1Sf6Nm
+jKhY2/HkMlJJu6WAowtr62WBFeTAeWfNiBLekLpyyjIHI6x3wC0sipZEmggdzKnp1luX5CD0dfT
di5Bu+MYg8fTLNhED7Ec7wYfkH7rIrKnGY4J2D8oXE/HP5KGH/lEGXVkbrBGguIWbIEsP1Z+gsn2
fTjElZe8/hPlLtmZ3WJkdCVBj0VHaeQAHZ9NHrDx1oDFbVME3XKgPGpK3jLdUnNXMJ+o9Yw/XLdr
s6yrYO+UOzI3mBoqAyXR60LTmVSCHXS99tAtQ4cCoafmxRKhVp2cFUMo/RNu51WUtesFj+vwAdDn
takZ41ew3E3HiKvBNGR33udfsApqA7R8mwfveyDv52mBsz4gYUVzdndhir4srCmm3XXcWvar2lKJ
8BfP9chm4Vn8OldNE02uTg50h00ng27wb6CySRhDZFCFhsc9pzXol7G0cpk/IKbltXV3tsx2vBQT
nP5OP38A33y7ZP6lJIVL7kNSPhKm+BxDHUl/c79zmnck1kfVa+aSXFa2ONof84kxbzR71fQKTcZi
782SLkDCiJtc7kkS8Y0FdX6bUIg/bKN2ThyGHPY38+uI0zbbpDbsF+8Cj4jy1uc/GeJGZHjkro+f
uiPVu9r0WKFB7zJgErtiXEBEkcYlcHeKgeEwzV8bGXkCZxDQsyZNgSv0lLlQ3XxKT/0qWpjI//yl
GQf54ibhAV1cpIa0Hlx4ig2mLvycuP8ieyCeWvnT5QJGFBXcBbezakUBZn2ZnLW0m6fhGRM0GhZ6
qgwCfEi2steA/+KXUj9FtMVzxt5lOpa5X0YnCikipjBe4Gt7UdFOODAr6iJQ2yzkC/josGYo76oe
nfwKfilt3IOIQUsNtEVg6MxrUsdSLYlPYCauQpQyonXNcD3eqdbxJv4G1DAcJBmTJs0yyAFPUMQN
lboJjRbEmWJsA+xnl91BRW4/tq54WpH44JCpCijy5KVZOqNCmne880+dcwLZ+RPenC6lEG5SZPqk
rtkbSgjXaGQO6andrBPOAltKCecAi22H/Gqow11YQD9DljRJms5yN2BOqkNwoR41GHOUGfbBnXT3
4uzv5v7urncgxzdbTYG8rvjAHsFpwXEIT+xORorfSdgskdW4CO0xRfFENetbQKht0rSGl0EE0y7i
EsV0lMkFSmQ/4G+SlJ0niki+drUfZ5OY/p4vJvgrLPHWSO5YYduUabDkemjoBcbZRnoGxY9Wl8Yt
AOzLv39QSvm4aCYwAbS3Pg1KDYpHi8a91RPWnvoJIM0kXEPFG1iILgCurh5QtZJNbUZkCq5Td0v/
F+AhAqvfrKui0btgIxMuCeztNS0qmpXtGUMuVg8goXyJQYDDFqr7zQyyLsJDNnwugI+WuatMEbHg
RZotUaFg8lMKzqfZnA92ntJwunwqSh+r1EjbjNHhFLTRaMki6Hb2Y4Vtzsf8zq9Q407rbPGEXxlu
I4zCsWtg7xKi4aiApEu1ZCzD7Sm8MDqPDqIP/wd9NpgZ9GunY/yHprOa5VgSreT0vqhkS/yBRJeN
E6AXT/aJ71OBdT0m6CxcQFlVy2KS/8jWi/bQjNtb69x7CuhHuQ7wlmHLdYRRw6xA2zvgR0BlvyWl
MlhQBpbkDiENuckUhxwqnPAEDWXmKiquMJVJ+khQGa5n0yGu7gCccruha8zUCxYE1L4iQ8UDM7g7
aBeaDmqqWOsmCPZkliQZAoT/gYMk+T/shy00zodeY2ZIEc8ILu9uQ84GCJWVe82kqGo3rKaQL9QR
9xvFnRjCwTRC2YwKjpkWBZRHGSGdECBmj+KwixHfzBncUCWYbJNDMJmxj8Tsoz29Mq/i7bcyWsPA
mc8lQGoy8fn34tcACMYpF00DlbkOhCil+ELSl14JWr6rA7BUikSQ4r2YfqnLHQ0HVIS8t2Guv0gY
8bUhGsY4YgxyxkXzB/z12r04jHE2GPMWxR7e6NlSie9/uEggGpljxVDPkHViwpQhWYYFSQnQMYcT
grjzxUpBrk5Nos+bIAqgRMNMxVQCmFs84ycwLyC0cZQawVrv2hgi/TUTrAplopL5KX5G5+VSFUpO
rAdArE/3zc+q+HWPDRe7QCuoAkmA6/ingUDvwMYwWj1aiPsjChWdtQD4I52d83kQH9OoNY9EObEo
UG9lo7FBmMMaDDs06LEQUT0wSUaVfSABmskyr0tYR0AwfWExIvP0FI5os2CpESE/P7nodoDuSL8V
Tqed2vlY2xZhU+/zYsifQd8UDz96g8+PUKOkMLh5Cb2eGVoXz2VH2jT9VX9O4cAtyI8HKxC73YTm
M0gYsDQA5JFTLaIvRctgYKvuL/74GKIISLsNJRXhzaI6ze1hMAaGJnu8c7POaixe0PjEMJsIJRCp
AT16MoX3LTuMi9ND6SBEv3uZCGEjL3GBEVUhqQlgr9k7a9u01h6uruQeXijhD5j87wjU6kwQiBeh
IGZtgd6ysTVpJsPnZGgeIw+w1GkBvAIgimxLyrNSodPO50ZC8Q9XgKgsMwvI4ZqQtmvmhKjekxG2
mei6gB4Jb11VqYhzSup2OL++nH7dQ4dQo9AG7BbZDGHhLmjO84Ol7MRfkBNM+XggPlLmMO/YIFtk
sL+agEQ4qlBod/0vVOXMr0BescEjeeToTNQKJJn8EeDqgKkNIM+rd83ZMERPKhqurr9SfBmeQ+vc
sZcXIObsGJPlFoI8o/R5h7dngcMivpMXv6Hy+JPEv3mpKC+sG2B1xFsiBwYrS9VBoZrntcA8t451
QV4FJPqbpSi9U42V3E1FjIak16wICOyDFuX+T8yV5/NFwD/vjG2A8Y2bt5Kpq1nz0c3aYfXR73gf
NiAj6YKuI2eAL8a9B08aBiR719//pYA40y5TXaRVF5gOlqQlbH6fK5qfzhFCtz6OoDbwsr/utO5z
uBnG0zw26s/lFqDiRTjlf74cf9CUkn/kdt90TOo+4q4H0kqtsJshBYgMmPVOQYdEJtE6om02Uz80
wtS7uz343GQv26tL5IDufKf4fPsi5WCUyabitAZvWgObkccBPvQuD3RksYcCe4OMosI8uVPlEywb
1nqowcEwcPjxECQ+yyztOgj2EGJ2P+JMgLQI2gEYBo+kx/Hmjtqd+T8H2/EG2wxCMuDIcIv4hOWB
SM3Gr2IMCBshAIemXopsANksOdKKLs/eaRysUMapg4u5CBeesjbYfik5YtVjUFgYCNxdDBCg2WBH
U+bTuN03uZR2K5wwOf9X9vZlRSjjh5MFiiIK3juAd13knp2ZjEBrTQQaULP6BORvQKTIu6J9SVC4
ki4OAJJk9zNGd7ZHMH2CU3jt92sZOGxTTSs7JKOmBTpJco30eWA+vihYchBK0TOVWd1UBviRugCN
OZgcGZiEtD5XwAIEHeowOM0krUWUz93PF4yL35mSyWQfkm4iIetfRFda5FBFfmnztheTGXJYgZ6d
By/+krpgSwgx4Yo9xQsBz4pUx7SCq8GAKkZZz3ggdzsjfAYwwGkI3ojavrTtGQPswwnf/nGbb/zS
IBs+M+MMIE18v8+RXLmRI4lyl3PmUq9Q9cgjzLxXzCnOGTiMUGwrj3EBxCB+3GCXcF0YO+d0YN8u
E9Lk+j/1hHje7PWnW4XBbs37CIwHJQHlLRt2b3yzLvPRSvyX88aQVDxFYAk6jkLng8DDozasufvt
CRho62aluTlSEMRdMG8h7DYk2BciF9Ra8ZPJxwEwaaFwSkADgLR54Qxli96V0+l5wMYUSTPVAhDN
/LzhnUggaVIwjIL0C8UKWM+NJTLHYZfjgpcKO7gslSLC0aEEXvyxNwhVHrPiiY7IRpgRZiRUQpTt
mvHLg7+7hSrXpCe/0kSohduPNUa2QWpRkVPrFpiGyr2NOe340zKxSob2IJmUATLCH5m/J3+Krg+2
vy05Fy0bieQ0NBzDm7xc2mIY21OrIeTHWjPcIT077g/w/hdFGk3xDJld0j7iB64d/ESafDExrkCQ
Q3Sd2mRv2WdCJj4+nkyUW8LTGocSdBQoTFhTTHW5dpH/gRTXjHAoi7FcYn6Z7ODJpqJQus7BkKWB
Rp0X+eTBM/H9QfnvBedCat/nCMyxRR8Dg1Zg7DcN2LotSgpo0szGMuNMXs20dZR/1zIWDZSQULmx
uuCErPuHmbl53hK5jrl78IXiyJHLm6SVVFI8MqMXpewCRrHxwyS9H0VQncXMw0ew2S8L5Ael2Ugb
SgB595P0D+HoYc45kCdpT/Jaq4lMwn/BD8A3guI7YBvTiPZQ4W/FuxWrZjGOnfCyioJ+DYBK+HQb
gHr0Crt01Gj4oZh7sXAqoNbZCbulzNrkmyDrkHMQ3P7hjNhsQUQveDzDTLehT/92GqE9dwtRtxnT
OCNQZhlZzBYeHyAHzWvjFlVPr8fV3QvRTkCfGVDxgWM4MQaPxt81EGfNP8EESilY0VJE369bAHOa
HWoGi6wKVQ06miUuPxGgywQWEmf6bMKzaQhDik9IBlnx8Ow/nrWKGqvz3+OGYfBTFCGzJjtyTtlG
IYnULjrxPwAB71+U1WX6hb+tW1A9zjJgA0eocYViAsveLrZ/+G6dKHfBpTrmmJa3atG/potLhne0
8tvV8qmxZV/wi1/MIB3rEJOxl4UkTGoMpGzJICfhvPOkTKICh/PsH2N62xqHtzyt5ORWjC2zEt+L
K3Kd9GPkC15Nh4a2dCXvCg1IBO91vlTN5CQhnYDuavAmq5c6A5U8NeSTLcXaD70SBwG/BoXXmxmJ
Gw5819pEAXl5HSZHIv3Tml1v1oyE/pmKIBqIlCkymQ+OIGvLFCDqY/ZEGfcw2YNyR0OGfgzZSCa0
GXSqxDgGcAu3w7tJh2ehklGy7nsERbsYHbZpgDlesOjtLA9CCn4nIdrIJJ3Sn6OZ56MuR3Zy86U1
Fz3XKQWUI1gN3TuXLAkRCHm3X4VRf5wD33MQxt5Qd3YxDBZnlmSAFDBVbgUXL1YpSIw0eolaOshe
0lmewAihOphsV94aciAmjfDKrIyCZJiW/pueIC1/ciQ55egC/ab76UPziS8WDN9hZwY3ZYRLyEi0
CJYn0lZQaUmJ7u50g9VaTp3eDeAGoT1IS99KDmtJZUrUDbH2qj04l1COHG7lBFPGO3J3AOSNYUSU
IYxjnzFWKYDN69/BBd/kJ1PRCabDJY5ui/QAncxGQAjpHwxdYP6FIFSEzOyn6exhoAhMQmXA+054
xX+H2ECYVHMdtFVmmKVLBoW7vLT7yw7AgtzgNGfv5Ffo0a6d5eVlImtDyF4eHVy45AvoIfiFPkIH
IkxQyuUXJsRlAXwm9CJKLmORzLLM/eqP5CeQfk49GamRK51NdKGAN8esZmkAB5nCrUoRPZtkFhth
g3jtLJE2bNkFoSeJRM0hgBGc+Mse0N0bzplDIpTw20riPE9mk7vkx0A4IYiyfB/gUmNahltCKqwR
NpBUdug5JCL6M6EVi0Sd2fRM6+BGogLKTYHwEwSrwaA5HAhbjG0eZZqPNgZnx5PeUVj1Q2+gDv9g
fAeyVIKm0M7gbomeAmgigZIW4FJ8N7UeAlEfSlmvR9+cXj9/TRZHtxesaSCSQ3DTgqHo2J6RweNy
QHrGlSBJUxmOJLjbBEEkvAQ5lrzYzOLCkEsDVRbYjtFuEjEB3B8FcPYZo4IrtnJjMnL4kQNDIZm5
UD+0nZwxQRqJsU2sIIeux/vw6nEWuEfIAUybIWPG58ntoW8wf0B/kaYZfT5/QR53lLs7BTdCgJRO
/ct/+N8slxPJyxKvCgiLH8IqL2FDymZzsVQW7bJ2eBxdIshX2EQN+UIYiywl58duO+Qy9sHFdYge
/qZE2BZzNdzaEOIs7nuzEG4m/WoL0pUzW4ofmCV6S8XhQtlG3xZZux9AIwQ4WUW0k7nnpS3MgwIs
2XQFCDhKANICCzKvGCWi4+WlwCAphWxlkjWA8YC6G/FGcdmITLiJ8I+C4DSZzxW6LZQaJMLuHDGm
X56uFtOsmzJLDmfCk0HDnc0oozCpNIBYBKC4l1B7FV2eiPgtpAkmMPh4iKUs1Wwb/GhU3MNTNGqo
EkKsHhHvSw8rqEpoM0IN4w8c0zQUk1XKEZhvou/Eo5IrpBJ5mPyj/ub343sq3d9ptCmr8BjLWGxj
wr7QuOrdUW32m3SHW6lobICmQHSKf6OmXCJbLLZpgJCCPai1lD6ZubgmElBpXCMeZI1x/YRMU+Mk
iIrcimMqaM9YQ1aaQcLfZxFlNKRwBDEjoZZZnf8sHYWGFjjh+CBgRgNu2riAC8EL8ykSQovYJqpD
kMboMfBUSzWXA0Z8J0nk0ZBwjjRYURwyevrytfAh0JgF1vQ+g2NEbCa8yOySsCvpeXBp6vS8uFA3
DyvKm5nI/c5VZkZHLmMiVp4bQSaGbeMKWcpMQzWNap8qfipNV/C3jsEPA16ShKtyNKS4xNnhxC5m
X9qfFOWKFoI41FBS0zlQ0iUWItXbBwIhYULbmX4eWWqDdj3tfuDFKAMz4ROlGZo74xo6NkOxqPoj
rsPSM7HS15y4awLrtOfT8xZf4A+0g2uc4bEGaZDcWGV9F6Q5DPhhQcdUHzca0F3TodVLVUX2GiKT
Y868OpTkqIGYF7+BjkPEPZweOA4U9wxXjXIOBO1oGaGRaRmhKgtHqyjEizTSvoRK2pDwk5o7WGUZ
yrkCkzDxXW/M1kh0vjGbJuzm3JmbAWI1IslIumDl9LPS5uw9SyGDf3NUCzOCdplDc2HCDs3N1rDt
xNP9aErrAjMtrjEFEVIG+CCMlznDusAScH3oD1h9UhSWJL/9GqdFasi7R32oCsYt90xIlCwNKwQP
JUrYPt81I4H0QcBsmXdzM6TRzUkr8xyksK2UW+Tl6wWoBJc/S8ZiEkTx7rvCwrgHLQt+JRYtfEB+
pYg+5S+M90528pHX6PrSnyB5J6KjdkUSQVJM7gGKbH2dR8AAkydtph79IrYm0bML2y3draAXxbwP
bolPAKQ5ETVD7scM6V40ZMioW4Id5ZGVUXmXBPokgWlClc3rMEVt5gGtiwOBkHUHHTbVSQBk9yYS
pSoKYRQ1vg+7nMNr1QMqW6F6nXULpVwz1gjqgHnQMQh/XZ+zk8kULskMtdqdGKQg87QJ9/C418zg
gczNQiiGFsYDNPMIJWKWAE6LXm8GvMtFY8GMNvcTTyQluT6BMWwJ60Q0UO5rSm6A7wVpH+LOZrVC
t1dhL7/tczDHAt00Vk1TrniukRPjR02/71JQFcRhFvbEwKmgw0bvUsbT29mT1s8BmGjaJTndTWgx
AQ+R2qSABSlSPaDs9IR3MJnOUlNP2xBAIT8AH1HaQ1ZHsW59oAhx1nTzyFwwrQhPPd27fgMyOAQZ
vw7Z7AX50GtYSz2fXWMIt2cO8xWGjrBPQcN9o+9Dk/paoWX77OC9JcE7xJrJCYl0JNSmv41xYncw
+oN18aKPCcE+BR3+ANZSe5kFecRtukP6HFRvRgX6ypLr8AnH+md6qLiyAc5cAYu/CJj6OcYCSmBr
SJTYocouo+t2J6mWfKrUhpczHJvc6G+Q6GPei7IBlIUiab/hTMIwW9jYAr+kBuLKAOwjBDN2hDgb
t3bBPQ1FtryGLF1aNLn/Mcx68oNG0QNPGMEXeOV0+SXRs1HwJK2NIYnPPu4edNaBLU3BQxF1gSiS
Ebex0NRIYQz6Eia1WEgKwb9wltwH3MoNEmKshIDrIC8wzNj92JgS1Cai8n9nH1XTilxe5U67qdYi
u0mPSAPm9MC5iPW63Ui/B/chXcGKDMlKcN0C1na1aQJXVjimdtHtRUrGoK8fCpENrIpYuw02yTno
9rdfFwEfYNqpYT8yqM+Iip9sPprACk/+04jak5ZsXtolMN0KGjpbhrJEiCWGggVJjYn7zrDhnXu0
pHciagddlt39CBtX2t0FDQnd3pRUZhJyWtxAW1Bb1VPa4rAcCWAaWs5T7raTDX8hJjKkF+fmQKnz
Bd+jXFD1n7YlcR7eKdt2sB4evDYyHgeL6VRGEwgJUPB4uyCBHkpdNPVacx6f8XEqwW7w8AugsAj1
zOQGLc0CakuLDh/C7b5GNCus+5IIQn+W+5XiBWQc+NhbbGlmFV0wItq5Om1CW5vuWvDrkaZgH715
yI3kAn44Rky9x7z93x6zJXOg5Bs5QozyW3cP5CWtIlCcnJ61WrudcUd6jlxEMH58mRnGNbkubzaO
llc8KQjG0Cjjp/i2CQ616T/pkQl2UlNjc5gQsiD16jBRYIQJwvR+jkBZP0/9MkQVtOVuNOBNB6R/
Fw+chH3PaP1zK7YKAPAEAxKPbhex/cgmA4U41yv9JWlLSxrB3aDFNUhlAmvYnCg5uTWFUWgTG8vK
3HIyYU83WASz90EQMGG2Qfi1y0yKytOKC4zoBBJhg1GS7ZAHJXvmsfsNl0Ydg/W8ssm+5T5pNhEg
TXTv/s43T7E8xDnFZoFXhrmFMmCxNhNo35bFPU0s5WcBCzzCZhbbUMtsuBDkZENaQmSqV6toqujX
1wxkuuOSgFLQ+CcoQJZ23uhGChHdg/75oMkesFA0MKS2vFFwA/AJTilXXckYCB6q6O7aFlUXEEOJ
7Tq9gulpCeaZ++hRHzGfkG8VNxQye9M7Rl+PQ8PoTp92dLm8myJ450d8gAfzRejjcedqKHUKOlva
S9AFExlTnEE8cuRJN9UpoMa+DrHl6l1AVc4egscE6zh2v1G/DwEOiGyKNG2MbFykJQbtcSJRHr9I
sdPbKOntl4gGlmyaxGsFpkkext15jMsQCwiHMRjmkBasHfUWbwKCS8YlS8HGfSeaTTZnKkzbST2A
0RB3QNwayYZPTlwDiQJmqyb095OOJRXgYaX0wPo5cFCUgeZFBvEPjURIolQAIoOIyXLK5ZmJquHd
MVlQXpi1V0gKOjRWRVyJRrZPp4HgJ3XhvkfRR8ds7+W/lDHO5U0BYgpq3fBymiBIiTOivXGYtMoC
d95nMfgeRrgme/pU6GtSmhNHRIiuLLqzTMoXkNElYCa5LxogZnfpYSSQCMehHLN3G9ndERiUdQaY
eK1SRHNI+JD6ldyGvr+e0R8Npn1mnpEcoSr8DtJUR4ypEqMF+Wi7uofKsOTqUN2dpmdAgxewAskS
b5FGwBUkWPTLGTKlV4cMB2MNcn5vSAFEPFTFu4BzAu7q0AnmPG9NTzSVuS8lzVpAe4UfDjHB6u34
bsEusuNYHaCU1HmIJwMzjAQqoA37B6Re1wK9AoYRn6QzjwKttCOyN8eBlnz4TCgiGZVpe3kXc49K
cneKROwRunKXAFD5WUcerbhMuCBqCMBDIqPja6uS3gYCAzP07dAWJD22lKvZWDDzBHCGROIbLVVQ
GKnADvS+dtiWDEpglI8pYqO8IcKjybbx0CVlKkJ4+JJWypzC3a7KJ0xdml7yOasVSwlryreIMUgu
THaqNSHe0ujn7wcZSLGEDaeRTZi4cZDoMv2Lr5vRDXYdrxTNeIvb8oDQLeB6mZ7IihpzoZVBlLBO
CUJhfN3DYSTHEO4orOU0Pf8hqJr5gDasGBiCo4f0UCWHVzzx1GGfCuxIM7Ekh+95vT/Feq6GO6uH
nl0vtHyc1OkmCaq8DVMefQFB0p4eR1S8Uc6GAQ0yYD4seMo1QDBCitwE3HLpwaUUaZt30jTCH6L1
tm2gPmkRZpCmF+AAph5jOqKrAxyu2u7OQcbKds3+L5EqxHglzxG8YeKJYommBS2CJjoSvNoHyLbS
Ez6gTJxokVSgDjGnxz0LjEAn5Oligs3m2cbR/w8EKcXH08fPddguQp3C3SUlYCTQwX6GCBGgGSAF
xbozo2bIqLcCJYrdljO3qQ5or2hJIYn/i5YmsVXcEZHllbKRV/4W3CWlXUCjqeN8hk+2LH9Ge4v8
ypa1dTp9rW/M1d9JiNIbCtZK9qt8OuO8s4D9DDPE3BtOt5cLxmOxa3YrsrgAlVPw+tpDrFluoknB
i5Tu/vRyYntNOwwtUOHqNkSjS0RGB7avsDNRcp21xySVUnJnMHFt2huvPqkUU6n08yI60U5Pn89A
Fr4zoDLLYfrzZk8sC7U+8W7IhKAiArNnf+LYVsHhZGmPMX/vaFwmEIA+5E6cXl91PuIVsIatAnSs
9aSNxJGBGtEgCc2bs83TjDiYgJKAvKwmYZyhKNgvL1uuDb96WBTGWnbfAHmRZBOb2V7Ja5X5z7Gk
LPF2jEibOHaB0nai8XJ2XILcctsKv4mPydmBbGMT/QelwApNCB2uw1UuxkykRS7gANcbp/M2Efd4
G9lrELmMdpWDmZApaWAXKzM+3AtTBmZCBcqGkTikuTGhdJZKmC3NBLuJmhKJ7GK2tf/UoQEfkWIM
fICAy6Si2R4Ly6soYTJzsQIiPrHiIZcHBxNIgnKLdqD1GfLTST+hAC6NcsyEhj64Re3hK4IbkHH9
q+LvCzxJkSpl8cuRBmWcA9XxIhfTl90Me0txlr+MuIpEt6U4SZ+2lMEzuaIoF3GCFjbWa4WRnRiT
PNAu6driHhJfg90XxvlmOBUvGTJXhQKQry35IBhWkCvZpfQ3+MhvXhvuYKyTc15q6x40KCsiIbbT
UFRkUd0tsD7nXnVLRhxArYi+iXkBW2cH8adoBruJ3I6b5IPbLRthibzGzlqCO8ZATdMW2izA6VzZ
UAYEp9yLNnLRJOwxwtQvuEVpRv1xcTZnl9XW4wQgpcNesE4u2IM8KnX3L1ATeYguAnhRB0/nhBip
JngvZPZUjJBnqJpxkJabhAALhCdNONyESKBZb9mtHKr5K+dYdeL8sIQvbUZgyFT1fk1YASCI9z1i
THdEX3bI/DcPS6j0r+jQM37IwfwMde6dJgGguPkggHJZsj9P/7sH3CgYqHj0nwtBCzk/4a+SYkxR
sg1G9/w2u4ger/zqQrALsi0C/T7gkwiSrM64xkgDrYVBANWfPBzb4jcvWTBNgiw1DGUxraQ0sApu
tN8Sdhw6QFZhjAybjb+zI0jSTDnuQK+3nk+FXcNjFqoqdYvM4L3pc8ho17vb+47be1ccqfxCsGpI
3Q+TVDilzWKkDOWePB7NoDHsXHSe4RE4kFesvchp8+5pQqlJQw+bgy1T7cUHluTF3nzWn3fOscIT
SdroWCTCNPZovB6ZbwFclkEtohkQEf8o9GMpPekdbKW/2SBlUx2QMd9WRzmPQ976I1I2oC87XxQP
OBk5zmYWcZ9dI+2Gu4eaEG0pGkf137gxglGE70xPw1GX32euh7VZR4HX7uGJNJah3x119R+NcKK/
iJAiuozHqSwkMoWOjyO2uKW9c5JutJrgklhe520NHHMZAoWQMuAwVBsOb3vbO08hK8DrfTuA7lMS
YEZWOGKS7TEBREa7Jehhq8j6U5zzcf728WVCrtJn5uVToltZObwW8Kkbrso6AM3zaad0FRE4g8oB
TAqdmNakEnArg2EyhHhzPuGRgaI9OqSi5IWhZl8aPkwTyVyGe/d430BBXBBzMbYDKV84+YvvRDaL
IaHKeTkcGkleHhOQAADwK9/SwHxXoaBu0Q8i5jHKsBJr2c+K3Ia9nF7uFPDInYEOTY8wasTO6G4R
Gj8+yOwNv01XCVSaos42JquFpfhgphjAldeAPSvY01n6pBCb2nwpm//hP6F+y/Qn0zBQkeEE7Ikb
7CsGUpQAH4GUpb/W1vvvgvYNwiV4Fx/n74sFwwWFQXc7lvvs6e6Dr9v23LcNb8bsYjpjtZwPf76u
eGnevQYsRuGe8Gl4cHS2YpjFfM+9ZXYNvybxONmd5+r0dd5MJNF2NyIV0Sf3dkOr2buPTucMUqt5
QMI3+9p7JIDPTm0j3oYEPB8LPJ3nh8NlHhkcqCHH3+/eIz7aVW02ze/oRh//lXc8poHqKarIX324
bdktVL+YbALLMvxrD8llLMut58M5NVO9r+mw2j4hzBleO/rPaAW6tYWyTAsiaYs78RC0FqHxDT64
2z6H331wk/apc3bE/lMGG3QFfYhny8V+WbffcO2ttn8lPTCNr5jE6ZAbBRVQPOUYbq7MPhA2VWuH
NeXOOdMnbjUHXFK64pyNiBYxDkbMAnesSTU9m3oFqRl9Xh/uMAObMKVlDNxgZqx/mEKueFoQ78dU
8JsMW3IALh1mIiIiDenYdaGvs76dIc1z9PHQ36/pCNNYuVqPTKycm3BWSfdOLva7HntLdgsHtsXj
yMqLYOXWqTrEjaPznZ/J0ng4JpAsSj/xnmd4AbwB3h0/mP/e2UwUtR8MEOGoE91wJuJkNPltB/Y9
f7+jx/+b1zlQuqwXE006/pADvsOW4l1XSoOo/HZfuv055s/3QKOheV49nnO15egQwJlY3mY6n231
+HjvxrANMwINna77hHKCBtVkd/AaH++iAZUwpry9eQYSnX3tb59VMH/uHioardo/MG+5omzbVH7z
5u37CCK1oeKll5e9h3AMPI/rjBGqO4RDLg27Rsjm7iHj+GnhFGa/ETvsb8CA9fE7hizQ9mnnXz/e
fYzqCZLtaK2EECQwsYj3yh8JGG1XlP8nGtpAUdVJD30AxCa0dVzaDznf0dUy44ojO6aQ/u0Z1QyW
vPt65TTebus8fb3dW8u5ImhsxFXX3bxJjI1d3F7gN3uIKiPcaOPb3n3GGzolt1D72pcvk7BfWz+s
P4ZhGm/SfoTBdgtwRPaQUqetb68+eC1kAahT6uBztfkIlR48iTJ3VHOczQVJueh6dd9X96H5jU8P
pdFvy92RaHbCqmHrdcCWITvuEzToRS9QT/PPxoCdBZpEMoNMMWMCHcFVWZUnMig+dyWpmyKGVhA8
9rRhw4yctH7Z2qqJ+N/L3r0Thcur8WDWyiOHShU1Y7EPtM4fAsbiu7jzG6+oHV3nd44+AaDlHOci
0QIIJiNDYB/k+ravohETqoQMBm/60FHurFAt7MiSz8QlcYiQkKmu9k9KtY1TMIz38W2G9ZjKdc3G
loqIdygklBdPcQku1eD9d3gn5Y4HtU597eYgLt0dXZtXvlibXDrEPhZQ3wTKNnzjf87rFgnNFtIi
TPo16LoQlC1ievWMNiDcV/qNL8XSW5E8G+wtzgH/6vEefKv4VLn7x1i59raoUzuH7NF1P6/kpxTb
PUTf4+DSCbdfT55CsWDU8L3swvuYNbiiImcfFJSXYDu90VvbhuH11jvv/HPtdK8ubtyra8tl59Zs
M+bfNgEQBQdoxbneBCjL/qjoW9ilFhsEk3kdAiJLilR9T2s52bF2Wh0Wo72fAfvChyNXJyvYMe6M
OSrjFxFiLkpebwKmL/aOchxcu73bt9fw+Z103TrMmUk2cm7DESUfog3BkHSi1iMp4RcXyeYPfb63
4tS/+tqk4SuIfTmV6lRPUCz1YL/a3hGZGbU5PejMaAVsI3Tyrj47mGj0FWPCzECJ4T4+bsODEeqH
wVFFfk/0WHf7Wafrfrd+F1XEhq222OLj3TM77GfNijkz89WOd9r40hze332t6y5qlDpGrQbNY+0U
1dP22Tuh6dd1nkjbHaPzOdUf2fM4elDKbMM7BbkaKS2nu+DeTBYH53LwzrvZFWj9cMi/N6e19Rf5
ue11H0xtBq+Ofd05r7O9vTufyrmiagyCUheLxrT98QhtC0K9WiVvvdd82O1WvEGBHXl8NMSB0Y3k
cB2+viighW9OJZbIGjd4w96d13eU4xep3vW3jI3S3trFrSvktNfZUV200W+W3vXoWt6Kp45+0dO5
tbw2urFPR0NS5MREMQKMTdFFCz8PBnc7/0g6s+1UsS0MPxFjSCPNLT3Y98YbR0wiIKI0gsjT17d2
japzalcqMQqLteb8598kqwQf0YYW6o0fI7K9mIEIVlmKTYyBgvU55/qAMYyDj79Z/D00BiburKpp
klV6OflX6WlkOcE4HXYjE44NOv/MRy+HwTHP70Zaph6ErIQC2tOFbIUyu8n8X4qdsj5ZLRpt1/hF
KHVDsCucyL8Uwy/Tn76NrLDA9Ogz8lDrMDy16HKw9Icxf0DgM5JT++dhTZ4mHo9S0BusclwbnMb6
w5KxI0mRAR4HEz5Mji7cmvoQV0gWHMRlG1qxpYVkC0iTxO4Gt0YB3DgWJC8EebG6Fh6lX5nzAQ2/
drX/Vh3rxMZc7SkQKKoRdUuax5iJfsllfO3Gg1cXboO1PsZbkjeMyFTYsE1gxTZ8Gw9PLuLPtFeC
VPcVH+8SrDskTO2YmZAPgOgLNr4V3Xo3Kxfj2KKIujX4kdvfZTdtExHKl7ZT0PPvx5qp1vZFEo1T
di6n7aM91da00WHRJ599Kex1dWrVz/P4Uv1enYgDusAAh9KDPJFXpLC73dgHsYWZv5wqR+lkToe3
x2F4O91KXxzmI1eD7aE/ow0n0ZnTinPKEtSlF/nnuB+PcTXyx3htksr7DtnzpPSvLr8/zeHFOc9J
Lmj+80xZj+S1NpHv80ReQ/GXxGE4M8+rLFnip1XdTx/p+6X7Of3c8Z5H4+RnYH/HEeDtNVzs3m7Y
fP9X/rI1lKLQeM1kRJKCKV2M2Dpy9g2x2aZxg0P9Ame1cgWy4z751Lzfp9uAhELFM2HGQLXpeEnQ
IfbQWbcaJ07zct4oazeZ4mBR1aLuIBdnRgRt7lRCIAOoCVlCRSCIXZJn3elo0rBaUkC8Brv66k8i
G0vt7XqFzHj4G3NTVvC+ZhRWtz4yD5xuMvsXs13ZbhbcrdeMT/hPBMHv1SfdbMSeKv5J/yCOWADA
9ZjXLFzFfXK1/oVm9bs7kJfC6enekd0CHFFGkpjlg4MypQZRr3zqPWRQAVp0n3fxj2dGfYYr1Iz9
lr/5MIjEtEsaU8jdVpxgNDXM7kGimBpuZed8pGjkxWSsgZGx8osLd+y8Ny0nKJWkTz1H3og+GagH
SRXBm6ui5YA3XYhVWC24tLDvn+gJ6S84WvmFyuER0E6FKSQE4YKjuCamLAOS0hfkWD2UWeKc+dwZ
XkGM4J4KpwDnO2wKEt9Lcc9IIDtppApwxyik9IMoUlMvjakRigUFwiNI8W3jNEMsHpjk6gwwaHco
Z8S0VL12uMnyUBo8fCZJZNMMfrmTCsG0CjFaXGN+R7vhQ6HTY/HAZUaC0M/G4HoTQyyGEUefAXzY
eFqgBYJCMabcxjXRq6Lk12TDxNziaorHPIUDwRC7n/1TUz19sYr8ngL7LqTF2iHHI591dW4c5UI+
6eVzeR/Oa3p+BKdfz6kOAnpe3PEJEfSX55ISH8cHcW3aBWfFk5U8k3e8qZEpvkgnwTulWiJCgaJG
FKxEM0BKJR3PoZfoMyyNhXVK9iNhE9La/YlCCBqdieXJBLYD0zlTrJCAZVb4D+Ct/vQKxMayuv17
2E8QG5AMcKZqLLlXUAIeVYsEdJ7ore3HzZcj94UNSWT6Y24v70nhJt5oO2r8YHh3mUtxRo1c0Obi
PuQaAYIy7BI9rSBv78yw1ZW9eyi6IhZrAjoJeMCGiJJYccZi8d8Ab2c6j+zI/0dLtDRbNwVnjo2B
d72oe8doabzpcIInEbhKzIgVw8nH3Fgly5K5Xo9krtKc7Ou9/WzHjgzmp/nN8vkFJwAPt4dXID8d
7BK7WHG9CXQQfxpmqC1OtGAui3Q4qR4rV55VCyXkN7NbUO3866FBYcy1AdzFohPaSymopsgBt00H
muZkmjO+diCHinue1CtWmWJzJ7n6TBr5RChHsWSSv3Uc2zM2q4wh6bLH+dtymt97SFem2PwtM+1R
vYqwQeLJaXgdnqF+TkDG+Nva3wkksV+ckJGEToV3a0EsKonT45au2OyoJD+H85yshsymS0h+q7Nd
ELm0VyuHv/NfvOFJZmSJ4CIhVhXrjBvkYyswcDXwCKh4A+9XOHgt79XrAvHtPDtTjo4R1nFb/glV
ZG76XKM0QYbNZeQ5G8GNEZ9gyhJJHGi9vE9lavq8RWUqf9dra49zle5/Ij0NRi5LyflELNvBvoUj
NC98n7gUTjfn297i7d/D96abjeE88tbyL3HpmJ6FjXjdjlflYUkAukKe9KfYauCR1DyBfI0XH1ia
fKcq3pP46mdbIpJLLXbPNMTTb7DZ1W8TMyR75B3d+ZJyprEfTcWV1+icXQBgKLxiCSkkSzgasbII
GCE5Wbi6xhJWa0tt2sFfwfKJx7Cb84L1mlWeimVe4Lk3Lb6sBwvw37XlUuk+d17dy9+d5fDzn7ON
4J7nVimcdyPcMsSV/GFP57ynixoBJr3+yriNlIX+K/3VlNdYJJNnA9pruk0XPAv/9gxupjsmqbxZ
KTyP6eqDm7NFqep097B4hSMMEbcWuzax6hR8pEKgOATyKBwtxeHZvvPZE581lUdPaWG2Qa3b1nBS
apfXHXE0tbHCEA0KTzQqF8M9Vvx+T3h9bkXFsrT797d+92WwIBGu0ubT5DMZs+BahT0cipiVs+/j
hJqs6vd3X/4WCTOu7rvhEvNhZKqbCgdcphVdHmrNsbt+JYWDY+6tolHd5m3QkohFAgkWGbCaWqch
oiYI5vdqn8L9GlecdoWnWswK35As7QfUmehJzM0dOa/3KTtnlBe8kT2fR80Pyg3+KPJ7vXYVGtcf
ZTRXNHFKWADemGFju3C6exzuYgw5qmnsvdEzlJK4yLeAfr9PrFYkO9Ei4V2kzdFNCAbKwM9vxURV
R+O+SXzIBxwNZ/e31FzUIAp6seeHs3w7WmtKlCth388BLgVkLeN4L8cv2c1y7NQkjKjaT5jdryrs
o4YQ8VEAFvTCf3mx32Of9PrpaVmLZQe7xHIsZd4RGJ8Ftxsl6jO/Zs08e7rn1x9ZTbytLwCEfHCN
r9UgCSEUf+Zdwed8hGOA/dwQXHsyVXbVoeatEJrjsLExJH88/V8YtBiHOFXj1M9p4o8TcGn8xQom
qIBQGg8skl94A39CJAm0+5wyjwC6RqoBnSXbUFuyTx/qHc4jbyRn1DFwxEMaVwG5tC79Mtqma53G
JNVeDazdZ79MKGvqMzStaMlxj3eZo2DEWAUPzbXMvcUk+TlJeItQDFYA+aCfUO6+YEOiziwOzGYs
aJU4STI3srtmAUSalB48I4Yp7CNLoQc7PGCqOKqOW42dYveD9KPkzTgt7i0Zf2QIe307/WIEE2Kc
BQmb9HPCmAGPh5EgJ/0+vaMSjGKhLiZOFMw6xavZ6ZsvIc9MoLPgeCHod73sTlKdmTUa5OrODZIX
5olhSk2bFjXeTXVyw0Wt/Vka5Qwb/OvjDihboL92zc9inHj13TfgLeE9DGnqVUcAUkkgSb4KtYc2
jZPBTq3dLQWhznS7qZDAPdxStRdm/GRfds6YtaMU/x7epFAgvcBu2G5sM0dRJ4cDgyrsqIFg+wu7
a/wMDKDk0s28m1vBunO2pMtREOXOfcGj3H4E5tZQrnMeeudyKuPqHpabZrcGbctOVHmg7iuSTnAw
dlJjJtVBqXqjWV4GlAzfGnZvboJKrxWm6SpnmT/WaE7PIxKpCiLPOqE5tOD5ex3Y7305FvZNRPIR
5XUyr7g6KO7pHOfhpcI5HrYkceQIvS66hnOte8Nrlk8lXSDlvywftNge81Hsy3Pk3H4WFirXTsDb
3ynTo4z7bPuK0wl3pFmJzxTKSAx+SEv7IWnqX7xOZxHfQF4Z73BB3IzeQpbOKZbtAmjNTrAoSsMc
CAL5nl/ttvWmmrU7XOz5xtyTdZx1t+/EadepU+DB/12QFYg3of2ZMXLj4XFSJjhnxGuw8mjFWmJJ
9iOa3SPkvXeJZ7b7fnizXA6J+Uk9THi2i/G0crYCKue1M0p6P+JC+NsPWvX+QFeANO1QiaCsmjOE
KtVNkxm+6k3jYYcvaGTV3e9ZNgyn7o9fotaeK9xqY4TzBzRSsp8TAgLCDO7Megf1YNzUhsUYLkOh
x83ht3jGBJ7ywENUq/9gSGwq5Aac3rv7OvtNvrCHfXaUP7DLnA3PGeMPt2YjoIKjETEl53afAFDq
+HV4HYczxiMOR68QY6N8ogZhLCVGe8JKqNgwvTWWiJT+wH/qgAZhhzyC0K7ey7S/8Rgrfd/8+Pj6
i0YGv/FrESk/n58DZ8CYNtv+Z+ELrfTbXBwsA+arsQNF+7nhe7PE85cqZ/+YWN+saLdGiiVTIrpj
3CKm9f7rkDk/Fkscz+TsHeNsz3gjW2aMacqgfi3LG1So15mdG63/utDcD7IxIMozPriewd2g3AJw
KOAjojX0qs7LA7UK8hkXaCcfevCH5BNYa5Pr7FR/WetuuY/8zHrc+anJF7OYnuv9h/fzJcH/y+OL
ydu7U8bTCmJJJK3JtOhD6fxPVX2HfxGcMcT3TifgH/1ao8k2QIJhD2KVKx4iAzO0fevJluBmSIlX
JjheE8d4m95AWWQCiB4eKBN2zl7+DGaDFJ8IWDJsEUXY+RkkkePzG52n0dmXc/BWYw21lxycunxH
nFwEMjJyXq5FyyESbwRhFAU0bnR4UGf2w09qe3HK15WdOv42WS2iIiQr6s4+8Pw+PqaDL3S+yv60
YPeq3EsDFcv+7M+vKXobzat5s2/yhuD97I+J6WDCxUcgNIGqT8RcWmDkzv3r1E3ZOz7eGB5w4Zyw
tYU+yNMWU89HlLTuiad8hJlKI35sYTBs/EAnyubMEcmqc1pvOOr65LwidJOcRKIHRAajEhgcl6n4
tMfe/4wRCox/SM0Q5CLBVxs51f7BfqXvT1xGhRBGQDW4QFhp9Qvi4P/lNlIf4uhiJ+QPvp0J1qHB
pid5Gn9iaGxoFzlcLsJcwN3rpzeVgmdtJudvCHPwYdgTxFz09XNUf4q9juC0RaXU1Vh0Pu3q+0nU
5+MXwj5unb0r0iie647uwddBUvl3FoFQGCcfrMur04WIoWO2PjVr4SaAoIk0TbbXglvzEf5vJ8Jn
+WvL/giiyM1ntuY3sWAcq4t/tAtB2Nj8rvaQ9bk5G2EI2AvWDdHADK6Bi2E1QuoaL9VIme+lsHxv
9m/sQRn2omJPbMEYVbcA5RmvFCo8LTRUnmANvbGUOZY/hn3btt5xMnaFHBjW1p7Zeovj5eCeJpAi
092bORXEFmj+HmN/VOu1uBl7WBS/96OBs+2UwR9Htz1avYTQiVwimCJYPDLcj/iuqwJeD3kr8/kF
6BI2zM5vog15rWF0PBy4xSq4iEDKoaKUmCHTc4DUSAGoH4ZCX/hofAufKv3y3gh4gumsy3SWTiTQ
d7WrlZCRRvHMV6cLYQWheZeTKXO08Uh9ZkN0wbEpp4BwxNOFizsz75Yacg+dHyFKsr5vFSezHIXP
TJbVWFg+fDh+vZxvr1O3PW/GqasmQU3GhSdZIKCcXFpKRxBJ+iXdvrAceJyR9joVBmGACeqMHCj9
WwXtck/jzB5dy+m+dkcjr7VY+/bIsEFwmayYTMxrJ2bgGdOouhBqdZdkOTYsy8nwDZ8ePlP4ud3K
6VCvnKA0XfT5L3l8H2ILded5d4eSA9xFxaCpSNepPo0sUJEeQf1Y5odnOAo4X2cWJufiETLs/scd
nTr/ZPhG5cn5osfr6XR5LWXFJjgKQtd51fNhC4fj+80y3G0zpICIUN/OcBkx2wWaIokQJHox2OnD
3hanz58cSvSnDFxlR+Fb/qwG3DnI/yTG6VivPfxtt3l8DYrdgJhwpKfOOS6jsd8EOGIVOxrDsBI+
+s/ZfdFPlK9XrGHKbi4lT8Uc0JHDdIMLw31J3ieYPB0vD+Uliav4GTPRtoHd0erwykmYh48Mp8yx
f9vefjU2p5y8VlxSVmQFsjtzcJNzddHwlbh8qFTtx8YAjY2lORKCx0RH+Fg5ddTY3bJkC2vsIjCF
cMBLfW63Lx94974W9C4bZsxTLkxZbm53eQb9AatfT7yxO2/85ncXfclxEjY7Yu3EJuUNLskaSz0W
+sPkW22djmjr+1ELSBi9ngNrIfEXxuIx+1YI24pk9zd8ypDG5vb3vEiufsgWKXsU7MMbaN8ImIL6
8elcy9mYZwv0yDEvmWvA3xY1+T+iYRq9Yb2Qncdp087N+OHetq/IutwW+pssoyTIAjMyAZRm1Y43
vZHDxpHd0Td76qmxuT9s4+RJRvVU8Uwudu4p4oPY3UFb1hdCF73HJJvicV+5CtQ94mm9F9v8cgST
MqeuheQwHa9gfEblJCU847zMZnJip249kTymkzytkrdG13mmWrbWxpzcqoO43NZlW/zd/H6iht3y
Rdhsf5R+Xlxuce1VkpYev/UXpAjTZuXMhrAl1c+pHIkTQXcyrwvrcAgsrwgy02O2cz+7JkL02St8
XMqDQUFI50Qjs2aK6NVhEaSbVzj2DOfsdoy6gOVmdfiYkGyz5CrtOpYhAoNgPGsQLg32zyjqsSBB
eWtnGQ78DmPulWlT21CL534JWfhyd2++iPkYtgv9ihEIAEEEldZIQLlZw/vk0i8FG3mWEtBc7ZP1
bOxLZzsrHb+aqROsdRXqUAqI1H2Jg3fy+ef2g20lJ/+tdikstJiI2t6XZLe6diSM32heUbPFHB6s
nydCSqq85dNjmBKiIBbmSSuaqRYm5OE2E4y8M5guycGO2N0xbhCKITRXKUeHGDOG8dyhwbfzyGN3
Rjw8YUv/92IwEa9ODHcMS1ToZ+TJo66s2cbjHRwt2tIVlO/VhG/gkFixFLHUQ9aY+A2cJIbXCPjt
byqvCHFEDHXwn2jOTePMRb95Fe8AHx24rkjQJ4gpDMSjl9MJYWnnKqlDaK5SeNn8jvkZ0erneeJ+
CcWDYM9/zZkXA0vIsYlUlht06Lx0rsYKhBDAWIFYmPaXFQjv7ZDXPh65hGKPfDvH44nnUNjlGjY1
AC0oDqpIa9BsYGYzwQl4P+GLUDZhIvIOqZQ3r2AHRhRQWgv3cVrxEaw+JKj/vGBms8lqsooFby33
R0gwmRX3fzXXEt4q3xk3EcaHUG05+jjKO1IRAXs4beFfORyUvM5Y6IcErRq4L1BmIxppIcLkFo6C
ztcRgsY6yaH9Ak/vhTKj757vJ/ven+Bgg39NjQHKKNAZTeygVbHe2rhfuvCLfikVUNhU3stXN4L4
u6+8vYKWDFP7hHsshVY4LPYUqvwlzlG8Y2TXYj1OZlw4kmMR6wm9EcDDQqhpElf+AgL15KXkS1Nh
jc9gD1IlBMeG/wnClyB5cuCraBadb8gCJWsFtwpG+2Kx3fnUOaQwPIdW15LRtshLfQSQhAJRuLGi
sG0D73au11+cUxEEmB61Kb8I3AC+lPiFtS9vxqi4n95nNWJ0CC8dR9WoYO5MyjdBjsSjeh9oR0nj
c6yxPeTfTE7eE7wb607Eq49Ih+onaMdp+T9DmKw+qlPs3q919t7J7w2eTcqkO6rCN+jm/GJbLoWE
zkcICpw9j4/6hc8UnLWn9ysv4YjBVn/5bVzVXOkjVRKcUH2VsityhuB2GxXf/0o+IBAQhe96ClK3
GcWdqx5LnG41LFZKd1juIWiw4z+4zJsNMp4xmSZMJgIV2Jr1A992hXu0vBRCRUzK0EvAssWygegP
aKmCRXwLUOsSxkkxxrN1w6bjGrKiz6x6tqLQo49ze9z+5lxzrvXv6lcQgC3WOascDpZ7pdoKN/O5
cMng0e0DnbRg+IJ8z4fnDWYWuyDabBEZw9xN6LEh94tlQU0J73unA66bJEF83M4zeZHXtdzLccH+
P/v46Rx/WOcwnukbcmLs1lcDnDExiyymjc/0nz0WXtFyemjdYqotGFNhAKlsdO65D7fnR2RApXMN
EuU4oPtj2Fbzi0CrOmY1oOfZ15MsWKYjhFaRQZ1szwuRKcVcWFo9t/K1/taO58Vzmn6Pi4BwsjRJ
ubzfc2BxEqXyr9tk5H4jPzIPAyOK3MdXASbm+Yn/o7RMhKMP/h9/t79PaEVtmGx0OGNfbxQs7xAL
GhzYcIhBq3qBUTaHfsizKQj2T0SBjhg+mL66/64dnn0gevFEFJuQaIeno5j2Pa6xB3RlIHRPowhg
kvl0U7AuDeMFxi45iMmvmJVQCZDmwIS1W9/Cfl78el75XSXBFzOJ7Bfw+R2p+7eYc8mQKEMmTvog
yC70CDydenV4Paf9zR1zh7+ERayF/MUgwDrIxr61ELUjPRCMQrgM9y/YhzOrdSS6mfqnV6e3peGf
AeM3IwoyNNCLzFan+gBS7Dyo5jW7gYLJTKV2S/KeIA+GSWiK0+sRqT9IaZ9gv0H9YzChuJPskEZI
sZElPGBdOtmFopn6BxUlFj9KkMzFbjheausK47ilWgKqCZVDS7DkNt29UL5gn/d7h7RJl/EAboWI
LNS0o5W+O++S1M+v5k47DUsJMxzoC9CrIHL6xLsMGzbAQ3VoJ+lOpolcVqAvPAAy7st3vnXzvxca
ew5AIJYpjJshrdKRMJVHQYRZlTS1XIIj7itlMjanXF6GzpA6SxF3i03y5wKJRw0LcwVFCM8Q5rCw
1X+t5Vj275hmYYKxRcEPcgyaA1byIcmXvGt3Ba/Vn7ep6+y4WYhewA0u4S+pAHXstag7hNUrgi0X
GgcmFXjyMRy+SBx9+lJafhj9nsRwVroyfUGpsBMZxXXvtJtRhxoc5fmKeaD+mJ1x8caa/RUxEXzc
g/I2GzHZ6+Km/kIAKf9BlhIcMHyCwTo9YkWYXk7T8DEK9aPHUHXngN8/Vru4Wc6ZfWXwKuFmpmv9
BzpobgaEFz5RdyI6xmKw2Gp+fJ4wT7/N37ct0bjFa66MYwldcBGNhq8XLCCFVu3m5SBtHEst0YlM
Rj8k237gvo/jkRbU/NfBLXMIQD46I1P51tVIQ6b8gPsEDB8NmntnVdIGQ/c4VxOz+TNG3AakIZ/Z
GQzm81g2bGRVZFE6dbvOvJh4Bw9tkK+7reo/IrFAH17+XU5rAALZvuHKqAYvIpxIueCRYaemKWGR
EA9vrtI0vn+CM7YImIVCOK+JLv2hVTvX0yx13nEDVG0d2pTga8UZSJ36GX6Nd1zf3LsxxU4cevoA
j27MGO1R7hpzeyerrVtJ8maEB8X5ODxnRhWW5BsDdTOAIu0Wem4meW/U74sW9+/NuI6HNnzlgLIp
dvu05p8PgCUtxyt1FU45MGpfIlrnbE7rzx+NHogRLtz0StKif3kmdDIqT97hgtYFF268iE05xg9h
P/gs/Q4uzfwsTTsLjeGLRhuoCIr4SCMYfqnNOITTef/Fkzm5zd7KzujC9B0q5LfSbC34bEXlQZUd
M/PopDCHD3u9A+mM25gc1dc7GN3D0r/IjHsHjBFaB3LUizlUCnwP1Td4XnI9Vg1PI4fFe1cBj91Z
CVfMHeA3EU6nd6dcC7ob+EcZaLcVugh9jXVkCNMwc4nZK3dol/sZzIdgvI87HTFtgHPv4BbtXJVZ
CafK9KkBiic2ZOELk/cS/w36Lx7RalE1M8WKurV+gN1NRTf8jV4M57s/cFrIpq/WZVqTQfxEgYG4
OmQSsn39EMmD9fq4jhJ6VEgaYw98DZBBec4Jsq7kGCvyJ8QxvvQcwruKkftEo1ytminjKuVkKMiu
SbQGKTMJhjMjUqastgJbGFtnqKCOseg0z+j9ZsxNtzHRSMmDgZA6Dni8uiT+N046gwC8Z8+3b47W
Nb3reJ6No5rBHMbg+pw6kbcJMC/XrnktfzPO0N/P92e0aAWv3pEusk10KTQ7UMYFeThPOkAWPHyB
P3zuO/8F/ti/Ju8PkDmQgFpvopyOIawX3eaD8Nx+DlSRD23aj2lIGQdA5aJzQ6+Yx+PF6xybCDpB
X66J6RKLm93DERyZj4/dCSCkmPn0wuldH+zfjj2+W+Xt8tNPizEjPTZ/4/ch2az9vZoz16kwbMAY
Qv9pZNCu5DUtmYAWe8N+03bC12vtJ6kY5ixrfbGHwLw/w3sWG/I/1wNYPI9T0usEHJBAiKGHRjTi
6rYDY2H4lxzkTTo12Ltktz8qr/VHjIoBaQMo8sCbfBCFECbLbmvgST2ovv1Oc+4c+qofcfUadVLB
f5GcQXIYp6QwYC/bSLoM28s9c0+94uYdk2qGk29WsYMdRZbHjzpUVpzLxe1YaL6iMtrGraBwDdm9
dziWVnQdVAaoY0Jz8tjrPW5xsUTF+4p7Mld3vTm/E45e4zTnJERYPz2S+4iJk7wWhvxGy30D8zHG
XqxB4C6Jau4GCrA0Lzs43OPSL4Z9n0ZW/tu23oPN5Wq3PzS7muoeqNHaV+USPJ08Fz0sIU5T1vGw
4A+3t6vO7oZdoZ6ToPgFktfbBABvk3ik+HkfDWWo686Wf0EAs6X9Tux8dxNCCwf6oaJ6QzExDIcL
EnfUlOD6DZeaGKFyj8IAhzoG0jO0L+MGEbqszV6l99Fc4zU3BNqp2g/ZUwdb2/Ct1XtSY8KKbznA
7uBnyQRNP/N0DVS7XE1fQ/icKj9z9e12EqkazOwhm3YcU5+NcPV21HJ3e3uJFlqayx8Eotx+fsDy
WomT9JAgcSGJRND67bDP4vaMk3W5bobD7eXfadL293skBTqoJfJbrk2hUsiCKiQzo/XJnGfTzx11
YkC2yycpD+pz3QpkQ35GNVNT2emsrWTYMmS5RygjEHm6LdUQYoTUURbj1XR83zyeV2b7g7WRRzOW
X/vx73sMj39IGWTUQ+qIHt3h72CniC+KBk82as6zCm8UfVJVM+m8VBBxmeVWe0+Uxnt5BDDOKypA
Z/k+Wnksp84YxMcSAIhCGmuOdB1JohFLJbRMAqq7xqlmKeRPuOMPWioH1m6GRWKUnzlt1eBz0ipb
DCssg5AN+67HFo+01U+58xFbh1EixY2qv6hYdQSt1ppTfxWxzHe62+43UifPGdDO2LLvapRe7tid
5GfGHhhkHFTiD819e3Pfmvu+TQzu281r3gKxUTZTSp/v5LcULQF7QX33SkBh0FICbDM8552GAtx0
OFlnZ1+JBhQhj3Ak+2NGztyDwMy97bOyX2C3h+aJUWuLNGLXr5Y6Q1B5xdhrwJ6+RiJwVU9yKcIk
W5DtaktXYawkTYQhG7WPo0lihPx/T+MBa6SRFq3m4N6WAI0K0joaiM/tSx+tE0IWUyBh6n4/TiDx
pARJvF0UGyKzXc84sGZwMgbdvbU7y3IS6KLqQm3sYEBsuH9d++6bNYZHBE7yzVTODvIt7jDIoeq4
HeHztqJ4Dj9LncJ7mUCUS77ShrM+W0paUGY+23r+hxSi44n808EJ1U1PlNzbIUO7RiDydMHFxifl
dnOq84xuThXLKWh+nj91wk+lIMfgbrd5Q9dHYAKQRfS4wDtDog9liWk3ubHVqbyU95l8njxMvyF2
d3voMS4EL5zDstHKhZ5Ps+WZGXyXeVkblNa8p09wcjyIWWMIrxfGrAbWl11t26D4SyBXjuCwgH7p
EuN3poJabCk0ZZA01HD8jJUu4taeo36yFVncINqPqKOd02bVGUywBsrR3IamjUgQifHiPB8v3+gj
+K0qQZTKVoGZbcWv8qeiBnorV0JDzQBMkIvLbdF+x+tstq5mJfxeqGxx4t02Typ+Azj7DB0Ov130
Ft1kSvCD9jMyozE3fwmtWQbDG5ZI+hv/04RZFwzlpD0H52qh7od9iXcivGcTcqxD5dd2MGggFxG+
nbWx9PHEzjgtAKqp9hpvtMibGLNLHl/zyANi1Eu98KUCQRbbocMexDYIl6cdqBHtdH1fM4jQQyll
+PL6e79stwo/hk/YzRmksPUtKlJ1OWmdvvbILIbfwXFJyU2kS6EwNYbfBpPJ64MYoicEV2SSqMif
hyaevI6cSsf9ZFP/ndeCREoryWPnQAhZnt5Y2r69Y3ecjeFf4A3RGRHVEjcYphkm3RDjOdLk1Zlw
6CYEBPzkUcphui3p2W3j2NGmr7fbx4ZdSFvqhLOi4Ho7ES/WcL66H2NeQbD90LAjbnNnr+ldQXLp
M7MqXlPz7lqQbZ1OIrKVXVta5hsIvlfKVIZp4XXH1H2EBc7wRVllCGMsIPQpNCeGkscjxZbbffVL
hLCpRDcqL4fH9Dxy7hJMsLmJg6/kmoqH8EXIcxFO5+OAUsM0RB1THqXKpR4sz7OaNieyyhUTY6rd
VJrJjacNuMhNaT46P58TSwNWd6egiN0SxB9l5niLzf3m9WdOPlNuJv3WfU7R8L777zpiq6meC5MR
DYxQxa985/4nNYvV/Y/sZ4fkD+Cz/ktTg9q3wuQ6MhwabFBHDJtrz9plkq/oeIyApjrw0GmJJp+o
Nl09ddPQqff45BAYuc5ID56yoTN/yqYcJSWcvc1jjy1TFZ1VrzlOEQMWH79GeER3UkKAxoHV4TLj
tUvG1URjoAjl4veB7EcEWmPh3Iu8KHSg5VSYVYfvBfJMcGcJPUE4USOSDvDSoLHUy7jQZ2js8Jnp
HdQPzCk5dj0FsrZQru9KEKh8gTDvkcOSht1NJPeO/lS7PD9/OV748J7cWx/e0qjbYb47KoEhG/NU
IZEZgle5NtKwPmE8qo93xu16U48pouavAU2IWVDLkR7kw4/EsB0zRLSIKsQja2FYc07ekRmYRpT1
k5H1rQETsDOM4tuVSyWYe9PbngxXr/jyzov6ILKMOyfwcDN8uo5+uYeetJrmLcoF7WjygRQIyO7B
XLzJ97wmmLmqjh0833bFuAEV+QMvOjxG0kGkqsd029MBEzFsL7Klp+61EadECF3iveA32M/jAVoD
/gZoHJklQjLC6X528SP2K59wuBlIIvq790R94MK0KiSnSyIYxmnpa80kWxBixcoy+NmVEhJXgi8X
xePU+QZl5Ecstzmwc3w+/4c+kYTHancd6Po5swLwGrh8m3CD+eBcwaEjRLGCjI2YlV2NlSHK1gCr
TV4ezH0D6xrNgPNCMgnJxkB1+mfo/qD71sCeH5WPeMTABTZRCtQ3wIG6H8bnDRdHM3CXJq6+gu3q
6Gs54lmjGWMssB4d4J+v2KPBNOPytOMbPtObxT4qwNQSe53PpbhkqT+aywgLXli18IiLpuSoxxAG
zf1Qupd+syi3BZbl7J8/COA3mJKurC1vesD88W1PjjO//rWODF35SSWYIFDWvUmxn02UNUuewQrX
DSI2rNdD4k9wQp66Mwaw2MVzcJO3BXMp5tfGzwOeBC40jtcBCjVcD6ATOzko9Gozd9gwhVZ4gukR
7HmRMn/DYevbYfBjzlJ6H6D7t0viXAJ7SIKviHwMCc708SNvTEScAI0NqMgExuFtjNUtQNNopc2E
c7l2YzpmeGgtJZuhI4pL+psZORGY4r6d1ztsLwib8+DF2FfKyRO61Gw+OzSUV8iF/CxJlo2zYRON
zxeciU17Q8Y8BtnLsCRa2oqu/5F0ZsuKIlsYfiIjUETklnlwnvWG0K0CogwyiD59f1kdfbqrT3Vt
ByAz1/rXPxiRitXf84adSQBmoRgl/vxBKrEGaSw/5ErUKC2xXcAPcM4YCACHl/WW7uASE+qKoBRx
bLykAb8TQx1aHdtrUMb2YMUZfbzm2N8RIcGoH0wIFPEDcQSPpIuYc7lMdXAIw+SOcjg10Cjy5bj1
WNAc8VX1Dbb7a4wNFV4WwO5OfBoj+9cL2UZboqbWC/IbGsZofYeRtMIjaQ1Esk5K/MLwaQ9UHqIV
VirOVT3ijMlQBtr8srE6IHTBl1yv7w2sDBxVhWu0iB/NEj7OV7Pfxt1HxoNfhuKqBLOZ2yNlAk/3
P3+NKxqx1ZMnhwwOcUKjFKUn7dp/LqsYTxVOAmpnaB6IvYv3R0jV4oxXjymIEiOjC59yDViNcnkW
wl6HGerhjA0R5J8EFJijwwwNGQPK03lqsjQ9iI69nbgHmGiCdt8fy0azMY27xtuSOd+aB573uY9X
S+EVIAmPd5zAxQ2klOUlCF9kKIL3RcQwUNgPA2Lf+UX4wuMbCo+KwloYIxRLxmiQ4BDD+JDOyH0x
DeSfQtXyIQUAs1YxIQQW1Twx/FJxhMf3hSjIf0dGT8VCBg4rf4apVqCNmGgqCPOB4dPvBMvjXmar
5mu80fi5+CYsH7lEmseFP6H5TJ1IWw4u+VwT6bcx2Pw9pwOwwBSGb2xIryO+AR8GVeTwgh5kdEEx
NWUQ9dwy6GTI9TaUzWgwx/zk0UzBnMao0vSuJZtmqQ5NMtOpA9CQY1LMw/0vvW792C4rYGSoHDj4
xTaqPCCrsZFKW1pe9u7xGzGfrv7j9zLUxx1SSFDQyHMv+EuM/3nyE/O7R/1bbxGIDRnZptGENfYa
89gyJATsMZf9zv99CE5h6IW4i77fdOuHeaUGxexTwt/lrW9ThRWpbNTdliviIyqBpgPDCpiZiSZ5
2mt+EvYND2pLtgxwN89XD542t1ihAmQF6ZGy7b/P4ViXYL77imZ8+Lw6TpbR/Mozj7Hav29zpzHm
M8yX8jHGbEFQlwDI17RKHd9qrX4w2LR/CBIZ1iruiI5s7jMc/gD3u8LUb+iicmgsKWRF1EsNavma
6QdKOho3HCnpoQQjCgt1DDBEYvYHEZ6C6gC6fWSTnY12gwmXuH4i3Zrrv1qLnY/nFfGp+RTy/EHP
KE7kWgq+FPF1cLC/l7tIyqM43grRB+6CcDWLhgQOoCSkDg9/UFqImkDdgCwY0+G9DPWaLCh4ZrnP
HDSB9f1mmaXTSt1UVL4jC8eZ5S5TMJqz5A2OJirHal5D9fhw3dxGce5VcJU96tJ4ge/Z6gum/xBE
n8f0Kf6MLyAGX+xmwhdUMak+xQZv7aQTMiaZqcSVE17MisVQX874Ywz6rTHMksRmo40toc5mc/0G
H6xEEozseNC3uzyEMLArc/xjCLRamnhPuz4burudGbQXR8Q+lsvA1r2GYJuQxsX7NgDMvQn43K8P
4ZHnOMsmeb0YW3mICZosYYnHulNa77Nn6bORCJExgw98ABX6dD7sUlEWkTkQG9U7uiqLPvDu0FG8
MgDBF9+AnNi6DzUASBNvzpBzySm1o+wlo387DGahTEwAX9aYJMAOY0TB9UHQzg2iG6zhXXgDl0w5
qfBklHPjXyCfFTATKLQ0LRIHKF5rQv28xPf2H0UMaIAfc57njGCbWXI8Y+gUQrox2MSXChLZnGtK
CsJC2E1OXVIWCaRP33A9EZVmvCBpST9qMIrDvbUAmsJMs28YCPruSo/Nk2eStdCHhi/SAt6OQB2r
y51ZBXUSFyjjSX3y97Jn0pjgy4u40hBWNbrJowGZA7dKBoMl5y9qTJZcMfDQ24WefH7+zhoK2M8K
UVDWTh4kRRrb2lgzJTSWz63Ys+rZMmWfcMd7NP5AaxA4tNhNGn3bl51YYUasQhNk7iG0oEzocfQn
1Py7emPibEmnIA/idlkTnTEu11J/y+QQT/d9o+/e2NIaCnqB6T9O4AdX3QH2zoRMhQthOzVWYN31
F2J0ZhYhhzVAO/0lzUeLBW/FRYjYEZiPRpzKueIVpzw9sj0AwRYnjAcUdPejWdyXjIipBxz/sfla
IGqcMngFPiDsiYODENJqXfX1YYt2yC4RqgFTQY9+7YfIcSbMTXtfBq+FPwqyU1mC7Y8DXqul4Ejm
HDM4gXwJ3J0mF9XLHKOShGCzAg5FmzthV9EcWnHcg0gERH6IWeFzO14pR75KOrbZ7QYzsqO4BiDW
ECgkL509Nyjk4QWwsUdmi8/9lazkWe2NHWEKlfrJGRuY5XhJ0m0M5/BlQXIh9S/fvc7J6rWqZu21
HMEv/SaI0tkfrdbLoGkkSEx0EBumLyVDdbxwD2WlF7X1qLEawN+AZGf6Zrj+YPqf0ogw8IHihgHy
QR1aac9KUP3IRvb2HuEU1iYPvV5flFl8GW3GEwkKTGOnHC1nwJbxukF9DSXM//n8l6Fo9HYqlyAM
aFpgUKO5y3aYdQaPS/8NjKMgeyfvw3xc4r1mfK8aGCyKJSQ/ME+E/DtyQFeyfzhgPH/aBUpR0rEj
Nz+nZ5lmGqIU1Y85WhWwdF18h+bN/cVnHsGVrdQgx98PaQfsKIrsl8XleqJk2lT34Q/rZHU+JKFK
Not5320DjUhOCO+Q7XmyIfil0+ZhffAe5htvI1TLNxB5zrZ1cvKkobkaLv4auF47uGvzfe+U7eRl
sVOXpTkS8Bd6d/0HwyiFAZc4f7mHB4XbUIc/V+C0Fo2ZB2VwDpvNjE4Al5El5AJ8tU4vt2C8Hk7w
UuTDvEPBz5BovLutCJTWEwQjSCWyI2Y8sv+rrWwh2x/aIlKI4RfDf4btDW/nytHCaREaqpn1bVi9
cs0KGsyoGadKC2von9NYCXGZpNIJWo4Fgw1GfwQpmx9YWGQFHca7SwWZmajfuyA9xx6Up+iCW5Q4
gyoMY6BqUZZz+kr6kjKRmqrH5sNxQ6aMg0/T02SUCRDxl02ycin43SCyG2AUY7ybk28OQHI6hTta
FKMYGtniZFfLDXR01vLUW6iG09jtnbyMMb595DQuvtebhuQWqJGLFZpeC5Zs88gCuiLyWEJJuGwY
OiX6dwo1d30wBX/9Mj2R4ytoaRxIkM5gMh2m89azp/8SigKAhKtIRXqeaM2okE0K1PuVIOog3QmC
0Dj1YeUxkhXinsEy49je5Jcr5yS1sfgHZZA4bvFbxEVjzdmcTdn/e5PxT1/SQH8inaQIDkgKiH3A
O8GrqY98GjqtK1U+9Jryzj/wxHJJliCPw7ju8i8uV9NDH+4ZyibS0oMr/g5UmUyUd2TYiyBwJs1s
FPbzs0YMAGaFkgdG6goyBpc5TZAeDa1NDF9EMjfCxSlZMjvxYjMk3R4jnjroGV+SZDlRzeYx+zdZ
AKK4sL0objd0+fXABdn80MvhHgl4i5UunMbayF/BLmWqoIOIjVblcxrSQwcYSrO5R/cDEBhjpmp3
4oa2izSA5e51uu4J67HVrb0QPVdOQfNpU0HjsHroGdLHYOLDxTy2uAPYzwBA0lwxTmBTeeoj8y9x
SIXe94zeauWFiwicv5pWnb758RrjB7KQkfd2b9/rD6KE9WjsWp+MBfiBxsRUDc1YMWCGagzTeiqC
XDwFKFc8Gc/N6fSy2FjWG7W1N4wPUrfUT9Chqcz0J4IvxowO11ebjz8mxlY8BUBywJyIvYydfeCi
V6tTH8lQCBfr6zPoZtLKuNd8E/Ggf5Y7+YqpK8wTymvqmgC5cnVhKk1IliwUX5x5zgYQjpsC2Mw3
k/RV51L17/NpzLynK/i8HTOT3FAf865vsDMwOw0Nz3s2s/6e3RiSNT/K3CGy7Hl2hJuIYyFLHNs9
rGtspCYesPLs1DdzfyP34VcD+FmCOoouAcUWBFRuR8XuIv7SxBuShfZeZFeS38YONz48MWCd2rzC
nPWpcxdV/QYfm7k0d1LJ+Eywp8XCO12YMDK1hWxq7uKJC1TSN3bSDBolGxAMaHaAxWnMmr/E2Esx
5teb5ZwH90CsVg/rZn16UQPkaWw8PT5hCJaks1g3NrabQE06U9jI+uMx6elPuB1uHRorkAreW3bH
I36pbj99/nLnU/UgbIRh0H5ZuDH/Ip2WpbvEHcusEIJSZARmY52moT/fvJbeRkUT4cL4pisxn6a0
vcQf0kg4PjC1RPjJFUDX15pC0bcpp2Dpswe4RKMjluwcvCKTgw/7RRSISzSSV/UKK+hxg8ZDu4i1
B83g/Qrzngkx2wWVE2UT1Wh2i/FDMbARM2o2e0Pks9yJgKKiUGCUERA6+rM+B8ZEE8k+b2lxaExN
QHX/3uwTGLHYP9iotCNjNqsr+6z5WxwVbHIA+S2fSVaIay9Opkgi6N3oJW3qR/cKOjcWIlmeTdi0
wtRBQUGGrJ6ujJIySo21UfUpPx8OEs9ClNTXa5iZVyq6sm9B6r33PGSlBSTdf5kvlSmjhcVVu7UE
aw7MGuRxhusolRqCDGFdS810BWxhZbEeRB6z9PXkZAJf+J+g5IHriZ5cyBGUWHHKnIPMfFGSP7nG
lRvQBKyAd2GC4TPJ1IUAVOQl4Im9zlleKwCsChMS666JRLGQU6kQjCmc6RlP/PujTp7Y8OrsFFRm
wQ79ohgNizV1ZrP5R3ClB0dKlMGxpLrFvxeUxVc2mOxOSB5DZsxr0fY0kFXX8YnSG71x3W3W+ZzJ
hpXNhEs0n+J+Ly/s8h+SA9qp1jmo8ubrYrrUzD55DSS9CVWyexcxFl/QHY4QuJf/n6OP2z9qL9CI
aEFpUXg+iiWv+XREaFaTm5T6uCzzdp1xPG5xWRYJj/5bNyYVHsG0pxAG1685brfQO+unCc3zu/j8
7Y8PiJnCcOaYe/qe5ohqVzH+EmNPFADhxt5t7L0cpk8rgFT3j7OX2R+bqMWl2RYYdtKAcxiQ5jUS
KZNrkmdeWJVg08lDPKUB10RDidPID2iAYh0sMWLyh8Fdhl4QSwyAo7fwx0JH/8/b5Nw/n7dgOfhB
4oWKirvmyDzeGS4MLDAAnYaaf6LxaebnZjMG8ULCyEXHTiE6aDtMEzgCwWewymKypsfFCqiDIQow
jGhryRcftQuojHDcIODBkm1QQ4X0MHgJ0Kl/+FzNfgS0he5DZMYN9iO+D+Q2gBflYXKmj/DFoPgh
eaYffABG+PpQr5M1oNKXXAYuR5kag6CbSRQMMEOAYuIlhhVboHZCLiIBRrXThodoMbAZ9DIVfHPb
IAnrEhOu714+foPxKt8zBYAC8JzFs/EcpDzCualxh7P+WvXwIzpVBKI8luRCcHlzmmVA4Y8HnaC6
QlXCHJstnEuSLz7zQRAdaqPDQvvrqX66KFZSq+cb1X+vvl7SGphttUYhY24Gw7230yDIHUM77OtW
6pWLh4otkuaEf5Kd/Yw0tqQ/JtDjxnie63s4V5fU9ip6f2oL6mlOkDma1tG6vRcgsIwa7ZiZdkXt
AZEN3I6tG09+NnJktfXiB7eDnUTV0fPECKn1DM+U2iwuI47FxPnRNXFmskWP3PTttlSExA2MzKpm
FuZ824BwhlozC+xzhpw6kJqO2Z5xLP82ZsoBRSTy+hcOx+TrqBxXeCAAl+T+s28o2I0sauZ2F1Sv
+tdujfjeufVFneW1+TmiT4HJy4pC7cJ2EcNy0VCrHtqfaAAxjQ5e8zEW8fuC9Vpzf98dNEXWOear
wj4I7udF6QfRwOJJAcv7XqI5O4SCEwHU3uWIOLsKo5QhbKcJtA/2ehlnUciAI19dKB9aPx4MVM1m
97CgolBdSpy+F+Q8E3RgTYBeP5CZK9vxRJswqaB2cuMtMB/wHu2vfKRl4VUwEmBK87MlIgDgsgvL
lG7WMhCuVxw94T5ExcWsa41dFAXI60JRymfM/igk6+9s9HDbDOcm55sFNJYxYDiMos7qw/7I0L0a
HVRXml/evHS6zmlK560sBsz5x/aPJikMohqSfd3D+oISOf7axWCirN/IktGmIQJ3U/gdOhPLD8ce
BtQlM1uLtgypBpPbki7WKg6v2MYgOLdavgc6Dg/iJeORdNXRwp7RsrKOV8zh9b4NRQmIF90uFmJv
bgYKMIYf8N8Qe7zczypxm59R7eKFfCihuNP5nnsHhQ+wKalIc82A2lCZj9Yoz1/VbJkkxuYL49NE
F1a06PUm4ZLJTe11nnSTpn32HMl/rzu2m8MzcbLjE1+Gn9V/Ge/FePc9l+dqV6aujP4hMrNJH3tT
Zt0tyoyGOcsXyeC8t1bxL9N0WJi/Qwpj/f7W9PoPQh0Kr1l1GUTsCr2g/eut4wW61RFckLeJIHj+
ZBJ+Hy0HHzOajZav8zMUvgL5uZUNLs9rpiEiaoa6cpE5aBctpq6dySdLMhObj0mI4mzWW79EXkV4
0uZo92iOhT6GgSNfRnTG78njikb1mtkvpwJCtaJkMhh5FFWU6kAdTujGe2UG4QGGRrvvB6r7naEP
5sa8dsA9nMUf4wKPwtI2FTjoE7DRanfCGRkyq9W4mKENZpU/WEKsa7i/A6w2hs4Ik+noUh9RUQ/N
Iggp6UHfEOTRbmHrABECeMzp3nq2izbyEnKWVwej44NOwG5m7WTgv2YDptmWuq4Rv6xYf/ocwzEn
9ysiA/EwAzGtOzumuZjgjKE0LaskXlR6DxDSbHzmbPxcJBZQ0ywgBXfaDiq2jJ3XiWlv4ZebDoWh
ReAgai623/QfXsjOhrGiGPHOqhGySQqNIFMWFSyIGfocOu433QG70CyF+ojE+ta2LjbcnFLw8b52
vusO9YGSJ72wv/vSHn0mfk8jkMN2S5FWzvvYEjkvD9ZOTSkFX+xta6cQZoyKmyoMwWZaEZ66/t2j
a3rgpBkgrmjsxz2ObTKyVvKiFNIdBaC8NBH8MgugrN9AlOsxTOceH4o7+hCUthCi4FuL+sikf5eP
8JN9ZnYvtIupVZ/4vk9fNh4zWUGJhYJz2/NGQwA3vOJyR4qcQtfA6/D9/RmcFTn2PCqjc0wAJr1w
/8O6YN3hgtM3KTJUeIco3AULrbVK9BVhaWpOungvRxc8mD/OOcPOBkOr7aR/7/FwDjYMshnUZsUC
yhUPuCMvoXhgONghFRiJJzSVcRrUo68tL0PvGdwwe5wh3ex4Zvep9dkl8EqLsd5sP7M3yNFMtp+g
Ja1ZzkrjlniPWU5U2EexOCZHB9VnRoAjFcR2XKFh7XZ0esJAN0NxpHHaH0uEY9AMUkv7wMTd9nLC
29tKODCVFJE8sOYj4JyeMtMEFS1gta24mD1uKzXzZ4Ilp/kNyvlLOAHy9xo/pdz8oRD8Y8TRoPbv
jKG0xhEI1yaSi/DPUhG8j40EeB/hE4NlcNanWw2gWtMH3ci9eljXD4MICg5MB38/yIKmNIa4a8S7
aILROaGuL3Rt3EecXKze9TpY5YFqjimQxxYcZ2pMbI3e2wcHVEFQ69NPmVyQANPzHhRPKq2GOqBT
/Mc+F6Vr3reYkvbHpFY4n7W2GK2+UAyd9qYOhTvXprR7R4pe+pvJFxAAcJRnM2Q0pOwS5mkDJ6Qm
R+mc6/JTf0CDhkSPj9lZ4phXUfRgEnQuLOinMa1xx9R+OI3G1iC6gqkNWa1JIOMcCWuHD9HYr2mV
raJtn6ARTtDgPX/O2xaU0Igwe+ucFur3B9luHdu1j+cSfXRoK9OXly5ef0NcLyQc5vteg2oESJa3
NzlvPGjqLtjt13jsVEfztV1q4p95QwPmhvpjBnUFq0L/KKAaOGTMUpZADTyD1nunMKVgpZTe+NBM
QH5pv5dFpcdY7NUOR5JdEC4hao3wTLs3RWTw8X7IHAYHsbyi+RZD65PIrkpsjnTqBUrZF0EvtMBD
sk+RYOBIpfnJ5k2X9rCwKYTetOSKDBZg2tCp2mlykFPEbd0h3WPIJ9+AX88sWYD1hNlWtkz+hrbq
yPyl+LHbwwkO91UK6WrCzrfqzbSVzEK/hGz8HRuL5iVzUn16yy02ebriF44E5yQnI+tDbsCTqul/
Qws8ANSF2EuPHNJHCSqVRW3s1FY50eDGUk5YTYRZDVACZlkLinKGkKwScHsWT5eZMDj6T7e/6yzZ
qY4JTEzuhf1hFgkJf8h2lVg4fuO4lkO31TwWwZuFwv+4C2iJ8ZcJXtORNzTl5SNzck4nRu58L9EL
Sk4fqH1L+4rSUMTXRQfIHPYI7oYtmevHtOWIMMfBZ6P4rZFMXgfqWqvxhKc/nxEP+nN3//l4SRs1
4mMIdtMB1EGEbdxAzpDG5yC9coTjlOIOXHwl07/+dIjFWr2KIz3FSKyy5XBWk27cm9ZPvwrnvRfw
uxc3q2E+H+Rz9Wv1FRstCzHV9W+eYCBLVQS152vDA9Z+uFqbfWkKNyrFTeOp//p4OVswuV4D5rxW
OwoSDNBC60fnqLoRc3nm2RMug0znBu0ow+HLFN9K2sidrtGUMWDfk6laXZJ156g+joKOcvrY5/Gs
cSnwydDk4DmOaP1nVIuUlZA7/w3qqW6+uAGb+WcirVSP4RNzKvaJSY8tjknXtrqMrGhXCGIDuwR7
9AQtkVC6YWYjcS6ucCvmMkVzUn1QE5bHQhjRUe21OkSb6Pry2PEwmaW7QGqXndNW11Cf7L4e7n+w
HVBLMUgouNx+36f1gGom2VLChIw6m/ms+dq06EIHJlfrcZYOb7a7MTR4Q0Wdj1IH0osghvYVffg3
PBSzbtcHIoqNyfOMrVkSmz14hEC+fxw22pTYOQSAFXs1Um1ExZPEgzDH/48GerIZzblAXrKEouUo
VkEnhfOg9928V+zjstVt2xUN2TL38Lz0m0vs43nlfxAZzupz6X3s0kynHawbwtiE3gmqEVhV8Fxl
MI7O2SxnW1Hh5mvGy+m7NzzCqbkGpnyXrdxO5194wOyTIKkURbgrM448yuSJ5MavnodfM79Q7dOi
hyv0TujUgJ/SKgA8ah9OGppDeLu5SNWldzXf3AOUcI85zfi+j/T74XM5i1uIopiQTPPB/GUIB5GE
Lebz2W2MWn0/XhU33nW8SkQFyyYK66Op1iHX9TVp6E05YMaXQpRTqU2fuuGaZeLtYOhVl48Le6y6
VBd67s6BPyJamb7xQfMHegV776Iu+ihJVaGdAk1jykkbQpPwUvXoHiPWpANGv4Ub4AsOkDBKCiT9
iK0Qh4U5Yaqy7mUTRhRQLpD4AS+1ND0QzEKjDJLLc0IaJ/a/9KygArg7TGUCaw+hU2yyxYgtVvgK
WNEZPSEgNIoFvFXuNd6NmVlvikUPnh2FPKyrzXcnjfRqBsD6M14JxMNF8rO6LsBEt5iBH74UULIa
XjwunjvmKLzk82nHT7tNhOvOQ55UPYt3lN94LbjvQ0Rx8sYwz8gV2443AHALPGjC9+pXetVjXdCD
01SoDhTY9mk3bFB/j9qJx85v5CLk4jX4vWffjOlIQiYEwvQD3KwHO/KtWly2lg6g6iYVV1a1qT/p
68bvoFGXyBXhHnS1OHmg//jRmu2ytxACnGkJmgRp6KX7n31iQ/okjS3oHd8n/uxgpiXWoFsB2EFf
GEnGiKeP8A/NpE3kyXsNPV+DIh3ID8IpcKSsTdBHRZ6NeKLLohONcM8syPmgZVpWUFKoydnj/9kQ
hw8bjm3fUpzeOfS+COJHjhIoOFGILJZ7l+GIP20qysV4sYflkU3NGqwNg73nNCfboBnj9CMQO+LC
RvAjGmUKnKd0+Kr4X7ruhrpGAluglB9NCMTK7W+yeR7oS2vcnUGDIqzvIPcq0fZFWhdm+jbkkHfj
lmQCqTTImzLzaODzy2voRAXqedSmL5DnoV239HQocAaIo9y29oNiMvoag4dbSo48bw/0Yym+mS//
ib9vYv7MLvyilnO7l4Gywfg4TMv819seT9W3i8TplQUqbdXQjmCmwR2DCfS6VCVFNuWj01cnkOoA
zqS+SJkmYaSH1TUm1YpbrRMMCmuUw3iCx7Q4t5HsshDZ7GG/yyayuBqBo8preGrvVP3cOD925HwG
/bHDOFibt+VSMrIJvXImLUbtWcqDwSAy5UR/L4TNBh5yORGtOsui2ILzfIczlCpPW6YcXw2u6ZQR
w7i1CjgslBpMFIOwA3GXMAHpG/MYteitGmAYr3du85lGTFudeUPSCsQq+i6JcshOS1vCbevj9X9m
NsdF/PmavjHRoWligvFPuZhg8J1OaI7n5sipG+OAE0bvbT2SSV/Fn7byH4qBMDPlfsfYIDXmKHdp
+kAXULyqj0Vxi9Y+xKgXVEfIcVSpNYt2Ln9cwHOoWbAABwn8eT8pTKGUTZ23uni1s9e6/E7eD7Rq
y7KelRf4E70nPdZDBIP38Fkzkh39uqr5rbAbDO+PazobfpDRDdnxNy8esYUm3+wAd6u071TDFkYY
jDVAcwjodKxaz/6MAnVuBzZOU52tzHkQCuxFa5426qo7M/1nOhlL0y6fB6+BL0dn8JUhw/jB7SVN
eeza0G/kL6EblvqncSA59XfRJJ4YV5GAOnDfVKt/MbffBgJCxhaNAd6zw/AhWuUQjIYOuk52vde5
90OoMXv2Vgp8bEABkCtt1ReaO+YDXXkSFpd9bKAmCgrjjgm8LV1Yyw9o2Kll4G3kmz91Ir9PHESK
93pORZdRYOaM+e3QiYeLT7fqg9qNYLm9Vk+oJ6/JG/Mwnh2HMRqH3sPCpjASjEQIdzjv/mDDB3Xi
t5jPYePhwjtrn072FA7LebZM4wkUY0lbPpW12zyO74TopknaMtrMZWSkmPF9HA07SMnUIOzfeoyX
rAc9a2SA6MJXhrtFeUJ89ZKObTneN1jBlhY267+nlbz9FJRbO2SrWDOw3ZM0L0LD+LOi1vm8p2Np
1rWrsj2E2UmKEehDDZ3z1eIpbOg5RuIfoZ3rT9sz/rQmsmsqSCWaQ1srKzMUHgPNon4vQoqfhLMe
ku1wCdVeGOaeu/6pek40Oj5VkM6hoJQDYVVbZrbW0TcaJUtzDR5YrSGfPaj61hnUxN8tVFw+d8Y8
SZ2jzggxdl+GHKR40v6sUsMJDHWCod0wkY6j/XDfLHLhMtxitJh7n8uawRbXpQmJllWHs63KponZ
/mUMacYBeJdsYKZdexrtc2wfGfXhPfuZUqQgm2xwNqFiSeCvYs68KteQvFVS7Ls7VKxRanTTEh3p
y30ywMOcNZ79+hCemCLsepL7wWj7Rf02dlAhtqH1fF9kpz8KwEloT2Yw3MNvIG3U5y56+whvMSCO
ND3nmE1iZpPjE0Mu7TMdK05x+p2Q27kugUxfWfT+0bHoT+vOHIbzaLSSn2sVsExmFDJMtx/oN1Sj
b0NDQOYOC9icq18eDOUJTRg1GQqqrGdppwe80K+NLrAjec4c22y3DIJgxYuyBipuYcFo88elkysn
GRkaAih07WirsWt9g3kpTmQ+T6C1xbIr0PgQqsnjUDwtAzxnwCAEn6EIc/XYlCb5AmN9RiPvIS3+
+gnjmfnOsTH39N5HiMF03m/4ythp0Cjh9THShQwTCyJ1S2jq9Emu0Ao7ohRxhRAmFRq1dX8VTVpj
LwLX04HJUqJSUMCjyGXFGMPgSRI5RSlpa53+dogsJJ4LhlpkS98/DYrex00T+x8kTfDVx3XLS8oE
CxJc25j3iCstvvCcU/I9xTx+jSwD/RecYThdAnRjZyY44M5vuwjd3Ddm/2zzz0WEewT8aty7cSUQ
tvprGNY4AhLqjilc7047j8c7dvbAA9/za5GH+pn79cONpKIwtn7gtdZZ6RjkmZIZPXRhP3CGVD6y
mqHhQ0wF++eo6XBQGdvbUiincDpoZxE6+YGXk54hmGRnlSZ+BSHnGqt2uSgYXNCFUj3ahA6cYv0O
EzYR3khU18LQBtsBOlCVFpvO80qRw5XBt6Nje+l5EBjTBPxm/0C1g64aSSliz2V4UzemikHbpuWg
mD1wbuf2pCaTzc9zWREI/2iM8DvJilVY43FC3jHRWsb3gQKeB0+EtJFulvqDZkikwTXDOUbSy9wd
cRxLmfvuueXPhPPLDoSFrkI4irSM+7cULLKGF8J/VpfjdCk/HGYV0ZzgW4B8eC4/0tcNrXW1yA1D
HGcZquSrHFTmS6WWja0h3ir5iims8Iv4sAOe+5/jV1uWo2mGBQSWkiIag+1aTgNSZ2LQ68SKjigK
sYGrjRE2bUTKVN+JRO3SyG8j+0dN5h1/yR/nqpRh2+D1cTKszTCZ//p2/8qnT1mTXeVXD0/GaQd7
nYXWrSmhmmbVoMz+AA2908nvbVb3WsNzFXBZZcXiLoiJnY1IAy9LdodwmQ3ZTNDswB7GlcOVsYWp
jGFzZ71y5jxJ4CkmiOOl11T9MgOxRvAvYncob99fv2xmIrGoOuVDj1p3FAYNpO33XN706DRBa4fe
T7VanmVZWn4egGjO6uW0SCTMaOtkjMcShwqUJ5VfIKt5Du3qDAhyRVMz1DcrvsUJrpO3ERwFmyHX
CETaWCGi/7G5YVEH8UmUxip+tfkW0OEUnR5mAyMIL2B85mLFY/caWE3syorz4YAw4iZAfIhVXxYe
KdsA1Z7TYW6vUtg0KYVaaPxBhHsdek9nsX/sCNF682qIjipmKcAWH+VKjMxwx44MTxxX8ZxSBNSb
jfKvSsV2rGXOL57S0SUQoc1qUnWBWMx665dm8TX+3oHu2Yo9t1er6EFGj//FtzqgcZzg+LrS2+B2
G5oiYv68xqETajcOROP5i5nsyx2Zg8UNZCCZ3wp6WmwROa0ow+HPMdz6TliuLhNk+2VQRhV7jsbe
jZCK7W2Q2zVSHQr1bVnPua7hwuuVTmjems6Xm4Wg2rw1Ox9CyLloodHpz8rYgC0v5ZGD+1q7ViCN
2n2zgiIjwzjRBlZveEY+iSdbKtsUpJgYBA9uTG/IBKW5pT6lauJvfggnHFxoc8z0El8DtIXNYmkQ
F5FPiZxw2iDWjYUjEEwiX8rPHQw3c/SBc5OOLUguVsh9STc41H7VybCeN+101NPTLT+NhwN8v4fF
QzEemvxAfP1QaZi1zMKf3KBWtrpiaR3bIxLx/eKvjP6+OGJhOak3BwiiAPB7bswUsli13YSL8SI0
mbGS6lFYN+ejTlaaNULNXVQzvDAZg7m/GU21bLwtlTJLH2jY2/0wAUFRM8mobOEZTfLhX2EBPanE
0TmLV8/5UyiHDdTZN+hWcKF0xd1s8IaYrwaq1YPt+E7sTq/3qxUKzfwWLmgMwDyWG7CbzcuqDKkz
eJDXXWnlJ0yeE7+i3Xk4RGNiOsglRWwbdNAQuDFcBHBt61dYOXhL8FWt3/iY0pbIbtPTbzUmLeaT
tQ7zFOtbvgJg2T4Fsg6HVukkcLKC+YdfufyxLVhqsNLGjcdKLaymB6OsN2bJG/gFoRTkZCSryGym
kWY121dhb+YFuPCpi2cMy7fliVW4QWQnzLYLmMa4mEy5dWSI0F+SprFg1FPixqFXMAe2FzwxX8Dj
4LY7rbXn8xMBSTzgcCcjiHhGOpie2srDrBqYHsKZ9Zs0Z0i/b6/77jVkW8KeUZKdjMYdO0TZhNV8
PomYK6Zn6sihnyitHgl3rVmloKd0WfTh4MnEH1pvxSP+bxOmuw10V8aNPNC9PjEibJVk4dkbTxgO
tHu03yDqx9Vm1FqrFeLaSN+Mjx1EH0NReXDHud2zhh/+LewHWrrk8+cmXDHu5ohKvVukmdmNLKYj
Y3NARI7+wyfZeGie0jgUXiMHzhghtAQb4+EPqQFmvOn+8407QPOGq2seDg0DXFOZYxxh/OIHzQgB
MSrjEXb7l2KPiINnmipx4aSMN8LYI4Dl9zAl8mX1T/ofR2e2pKiyheEnMkJEGW6ZQQTE2RujtCxA
RBAV0afvLzv2PvtUd1eXCmTmWv/6BxYntuHkXZRxXa6z9+wrjh7OhgyewUDbaZLTfi026Q8VFv04
lNxjv3mf2ycWDExdh6uRjuzQYtWTgkGtobuAOf2TPdN0PsEtZ0FYOk5xTVSAZRavI8aU7XJIFi0l
5/xVs+/ynD5QbaCbHVn5w38PMY1NH9gJscpsKex+K4YqlO4V3FO8MLxeDe60PJTl6E9WHcMm1sEg
C0dUixmpVpwwVlZ4Wg96Qd9kfpdv1DakENhfoFb8tvwH6UxgorNsk7NT/LHX4GPEZRofNnmRvm+c
k66GrxhppEwiJ6ico6HsXNDbfN3661ZXTr/wysJtCNojIU0yHnhINh6e7/CYP65Tu9d4iBLo4jxW
EPOwYsUemx1Mn8zyuN98PRjO7LQcPW+ybm6wIQjcODHAfuZuLQcls67KxOuyu+HOe0ua3162vuE9
mkyZ9d8DhWeDDgOINAYEmkxcaYr9PRurOrLH+Dwtirl8nGDMzgDzpZOtYF+A8mXriTcPXkcYF0Kn
6wYDMJrd6Lbph1YNSXQzwQjdqVE/Hpwmfuj2REG3DKhlPKgYvsycR+sBI0uyOBZgdXg5p8MzKmfs
odxiA+CnqFaZ4rVzy90P7O8sgZfdduaFfX1osRaHV1fmHPjM1AcflILbev6OyQAYmkOOY/pVBuFd
nPeOpAVAGiNAGgX7nNmnn8k4s46wXypj/XhQE7maXx5uhiNiF6tkGYF4CqrCTQtU1JLAHvZtJynn
pnPBJdUKfQNKA4c78hYHzyFRo9cOrfU7yWUfAuU3rbbvgtCY3+tUA8y7P2L9EeGjfhVFmGTisH9I
dIz5PI0e3P4SJSeOxwvRWhseRXisbwRq9nXB7T4AODNlIJ5jdgDjY/DwVjFQ7XRrePDk6JWxMbSs
1tvHyvrgDiTCYfxmZWq74c3pPmiRfR3HFbzASpUwV+gOOeby1wWC3fHYfn72Hb4uDESu758r6wYs
fQB0SyoGGxX93Wit76V9wR47bTym5gQUQMj94GeS9MGNUdHYlpmEMmD+EnzHgFP4MkxgowCkMWd9
usNYOLkO7R5Lg8aoZuztxb5yh+hVJ/iOT6k+5NxhDA+Edak9/ClKFhCnM0TPS5K9rPNT4uAajaYS
iGHImmjvdqWYy+54rGZYjlQzt2CG/Ire7xne8So1VBlJR1Ec8FJz/uOIiUDpHtAGYH+MCxOtycVY
iv/ljUWCHuYoWuZxZygjPzXnJXQnZQnbqua5xtohGbhX7yOU+GPQMZaMyOpEEcqSdGGttYpJpBy0
voyi0GlmJJASE+bTTA12zRkTrMHuMYkr5iKTzTXHyGbBTLEn/BXbBNKN4C4TRyEv4Mnh0xVAnINS
167oosEqmNARlVeRJoFdgeuOYN0UsPWU7fVLLkD/sTXdGL1c9e/bWw/Zund48tvmxlT6TcsMiHsb
0Wq++gWVcm4aO5pFW72da5DIb3BgHFM6GZBjid+8binL7uXU8uYFXwhHPPjeR+ykekK4+FXnFaMp
blpGgQsX2XkTt+piKSx7i/IV37Ywv2Nt3UAZcSi93rUzhou2A0cE1AUNfAsRygUnlymlE9z1Ch8n
+N+nu3IaZcQHsD8RGCwlxAldcbBTjJLidg0UAdM+s6/iYWQuPHQiZK6ZGX4whlhdp0/YT/6EIR0e
Dih8a1sVFIYXtvYMFCfG4CynPR0kj5tbXtwx/Xjpf6MKD7kUdhKUKoqfi8M8m1ZVQpsDWxOOTICJ
EEzIg9dPdYhEXCo6+crPoMmCarHt9LF6dUeUI2+w3Pg72A4RBqnQGeGFCsYL0dzAqmJs3tKobMoy
gpJOUVycM3wq6vDFFAZrJe70M77X4QUzLQ3PhkDuT/dLNOnDIfjd4GNJMuYjO/nm6RMgMYi02G92
vwN0PgN1qeXMp+iFVEhZg9f6iXSWZ1C6BZfKVybhg72qaFWCnfznIy1usV74+bpm3Mj9lh/p5xHQ
OiiHoFa9q7QTLp9Fh+ckXZMSYzlEKlGvmQpE6a5JbpRxNxum4zBkspvqiKvpU+HgJh8j4ubg2cJW
NkYVZyEYiDDZeVKYgaNCB0HBpEEmWGcHo+6EW0bDmAfOgiObH0uLYUBS3d7w+afdrFxcXhiwvtgq
EMVg+wuXF8BdNt+7NyNUOMWE6kFFYIj2SZtjXTt0HDI+SJCR0clAmsWMcABLzlYYJL/Ne+dRniJ5
wkZHY0Jns767owQ+JNXWGFccamVEpuchv82O8XEbdhfMuzC8QXf+nw/JD+VkfWDpTTnKrkRh/IDC
R44bsw2GdVadM8qHWUA3dEGHVIh2EvgWi56xxVbc4L/1cjJc7TTxZnlAIAaX52bzyrxqVc54OhcK
3Va14nlhExoCCeTOdYLTkJtTDg+NL+zIgf/5xeYHfQKjqL/B+l24EpSDoRFzeS1swexiNrANtmPS
kK0vC62xOMJl7OMUGwDjAGMX+ubBojkqCBjMA3oZUBV45DWGLJ58MCUI9nStSKnxIiJzsnaIW/ns
usZ9MtPAhpRHG/MiAP8NLfFcj2hnB1g0DMTb5BIXq9ypcS2y6nNmswccQAqQYBnPheoRrKFpFscw
FXL+P2SGHXmC9feN8AqFD0AZUMFeFBWWxBfULvFtAcJSrbia2o6rfl1gG05TnwzSasX7ZrXi42P3
wed0/Ws87bfqcD1n+etXeygZw987Bww4CERDcuvs/AMAbWBLNpmNF9/o8Dux8U9i9s9zqaIgB4v/
su84eD4NHyw4dKweawBmBFwy/lsi8GPxbCHtToBa8GqEejVx2JdI8eKX9uUHm6jXNv8ZXC3cu7r7
qcci/EedK8IOSr8lX0aGz5/xiObw5r7G9oQ2j4H1p6cYdQerSnPh/MPRbXMTphJMc3XP5obv5V+h
HYznaAkm+zk1UqCS3QQKxXfCFFhBDx7HsvClultvZ8hScaB3wZXBd1d3a+HLEXI+/JDWao+25Kcs
DnePP6fA3MjRyJ/sAWR8Ilmm5SxzIVcEdfLSXab9XBOsjsZwEpmgUN8L3jXLtWVWxhbSGof4FTZp
t38tSXnDMSq+rqEVxsNtBQMM9+UlXBXjDhubGT1b7xffFf76B3bOy0eBuwKNRdCtDogrh5eDX5LB
z+ut9uG8Q1xRffKr92PYR4vHUV92oD4PCDFMD/l7+ao+Yom0/Maj+f1vEB/cof2YY2pHBJQ3/qML
uIj5JXUPiLXPwLmM8C30Dq42H8+H0KDZMj09VNV1ScGWQMVoToqGkxq2o1/qpumHDwlfe45G8bBj
wlbOOPdnTaxBmEZcnvRhGV18tGNTJbq5ZTyibmS+FBDMfFtNdvkMQGE2miNw+p7AFzPSl7ZSXKHM
xiJ3mH5Jyvo6zSW93+zxHsMI+GKdOwjuPPuKg+kqX4KBZg7jxG5XDd1so92CQ+VJCzn+bu9wkk+j
1oH6quyVFS60o8ZF0nZ97bgqv0p6WeXz1/F+rDC1vWGJyWCJ0WoWkzE+ZVmcWiBf9jsbd3h419wc
1d2kJYjOJhKmyo3583Eezo0BDfyqYh9K0JcvBLjb7xOOb/7YGbgUAOHj9EXbgOH64vtasW9nIW5c
d0wS4S6Pnap0+OujhWpPIoWsB0B7SPE3G/I3I8YHNQDJa84b5TtTNJgcwjDmBT8f5lUzl7GwznbF
jgjFaUsGzBliBdRt5sLqstxgjUMoCd81EQOey17oCehhprd7iK4BfPYTlgt6rvnL16gctkPY0Rb6
mtkA1EHEPDCTh+4PI2qQFIuSaHsmw/hJnOGmwRhh+vOdCVYN7uPIkRSneFiDK0w5o0xy7xU3e3F5
6yPyZ4D3G3b0kB7hKE0vRNYLYqsCSwSUWcYISrKJJOTF2VOPHd8Bbyu5BQhWYpU3VIs3v3/FPZUg
B+mBhQaqZFVdAAQ/JwXUhLiOx0aCBwZcOF4IVSWXonFhk+HfaR8mdo7/+tOXZrd5u6LW3ACHf/BB
8NrMuwxSDTR0MGVmeJ2/f6vflrIAM2+cTw8u4DZTrVcyIKpcmj2WZCguEGpgc0JWPQ7IHn4vsXRu
gxoobvuMFN29Y+sNuUozn2sCAzUPKhGVARoJxsIGldjX/su+1mRXH8HDIcX31zRrp3jivsbO+wMS
h6hAkNgvSNm73eCXQcUBCY/H3GBCci/S3hFkvGbWztuAdBRTi3huQe8vrjSDmxb9ivCa65z8SAAI
AsJwoGyt/qfCsyUCzMNKC/e9rTA2YjmOeNbvYelDxU8Qun7Twi+W3R9KC/yQf3gmhk4Ja2joXFPY
iPYFnq6Bs01STwfLFsG3OzpeGdAteBy4Oe/KPGCgqll6Dkw4k0iBxRMEYipGWJhrkJv2tBvUa1xM
VGU1KcGHtI5lu/vLo5ZzoP2pk0dSwCktbNysSNtNhg7MBqfFlw8oqzRfJXY3RMxiNGngfU4zD4Js
wQOa/PKcmTTWfgshGnjDoDYbxzs8vgS1CPnJw/r4T7fa/JL4idZ0ED0J+JiPuVaEnddRhlcpWDOk
DdXS5z24tftB5HQP4eXY+R7GLFzcLj1s1dITB2LpCQB6Ka+ZUkWPBH+r1WcjDEge+NUwRd3m1P03
WC4WzaX0V/6OQt6LBR8Ni6P3fx7HGMvMt+BRtWf0HsE7LJc8M5DboPz4IAa3dbcmMNerj3CdzMl8
tG1tTfEhk9Fiym6kpFeXEr+A/wn568XwrVr0qw8cWoi0j2OLl65G/cp437wMPIWaCu8EvsY4gG5s
Rd81RlTN/reB/Ik6mCF6MYHNgMCC0DhWAAvi1ViZhKMwE1vBMGTczFHUrXNKRSjFT++Z6pmJqcEY
otUv9QF5oAiH/t5PO89gG7HqXb44bB9LGVQEa+03kiKOBFj6wrV+uGHatZtYQpN0392G+KnA0/x4
A1j+kk/ASPEzifPw7o3ZFI7DI31hAyED2KWxaAI5U5h1Xc4wzCYDtFIwdeaXvcLG67QzApifM8Zd
/RXHZEP/e6YPYifpTmUNnwVmnM8CtUx75gYgYRu8/YtuP2fPsTGetoG67qIncUO/dU74gk1beV9i
/gunEEYYxK/WXMDFPDbufdfbp2x+86qwn/fmhBNphT2sWW91WwTLmw2kQxrrAHplpJgPs5tWZ2pd
NR0vW5sHbKn+XJhDmEXmXgnsdEXeAHMGLXyjjnpZtGSbxusDqFIwizFhdFhiDewDQ7d1c+jDKccm
Py1XJBLSk7abFiccKKqZT7uS1P7Dodkm1uKb3uXpgDIU0dyqnJbTfgGUx29QrR9pBYABasTSmGC+
zoQQYdIMna2cVvt6n8d5rCXthlq6eJsF9SNDDyKr9WkNZC459H/FueOZYY6Ak7nRxICC4JkgDcX+
uVFoW/3v9OFie4lXvzQynPH6ehrk7iPtoL9yZyPSqmo8ECBjER0C7Q8oYyh+1FVYX1rv8331WvX+
AXuFuO7NGmtuQcjRsQREnkNMLXFGcvj81f6ev+Bn7U74vR5oXs5fBnibwVFuyF7F4sHRN0Q0pbIz
DJAvId5R/kDRtKCcFkD9FxA6YXAQqnC6BT4dQGlDMDzzc3gN7mNGx4+qnSWkCR9Zncv92yyztI5K
r11QygNJIy3XKxFEhboED4aR3R2vcT1/R8/lk5ekLMT5gkKL1Frw3A9yn/83It8+F4ADVPAAD3eJ
zCl6tgzzBTCq//At4Aqqlq8JZE2AAQGZiiPBagOEJg3l4n9Ph/3VH5kPCC0Btw4+FDwo5oGMSCxC
iCoA+SygXSgYqXu1cOdFdozL16JLhj8aWhGOLbIYrGv4uJsHwG62GBnZz9Nvsbot9pqvp9kc4+kp
4XTGdTkMUM1C+GQt3KeTJWzn2dfJd4iltkOow85hjbf9UqJitkEbK69JKgrMIZx4kY9XvMJnOFg8
Ub8yVbWuixdzoh2ZS5p5X1fpBTtcMpdwowBeYA3dxyA8xiGofsZzBteQa3tLDvXjUNwPrjVpmNeY
H9Evr78ogR1Q9t5EeQ4Yw3xg+iaSixU3VdZ1eh0jOJKmdJhAk3oIfPNqxDRiTMj5Qt48vcFPvcVN
uLF7tuoV6KN/T3m5kV1OJ9P7WSaQDOEWkrLJltg92Am/DOVoUb7Wa43pCfNdIETtL5cNfNNigUkW
Dm+lZb9J1MKYOJNQYw/aXPgN7+ZxR2zl3C7e58nmHui5TbriGn3Uw1D+VKf3KpSXszr44I5sTkKd
PsD7b2ZskR017TfFnGgzcYPm9QocVEIaun/MJtOv3/llypi5vJK1WM170b/yaGXBJa4YTKCeCjo/
x4V3ATPkXJ8fs8Z5+jig35YAYNPX6iaELJNpMb12gRS+XcZeGh2p7sj3gPEA7X6z4GPXnfWmZfQy
mzmMCEe7OBWJXGRy0Tv6dZQnY/wAc54V6OM2IceBDoNdIzHOROMyA2FQdg8m/+mVzW0D8YPRcvlh
7ulg3izWXONMULaFlba9p3B6KMbNbEog2E/2QG5fkZyBeHvxsscmZIFoYC/hGQEGK0k5+24e7isi
IHJkP1yqRhOUwSXNbQNeRlv1H8EDa65XGlBzYX/YYh4Rs/qWqBt58SHYimqTwZZJkCubmewdeqsM
RHqq300HqeTBUiZn5DFjyLUsPbRDQv6TL/CNAA4BAgd4QI/KHBCg47nJF0wJSIRjE+xpbZLLTvtD
HGR/EJ8dEhH3lYX1doiH01THn2JAPtBwJXkH4e/SbfqNvGHycVs0i7GNgYmvx9gpipS2a8KcciYd
MaFmUiry4brp1coEHoyEUJ6qXwvUvJ4VMzmqT5fN9TjelTPBr2Zva4lhqyOGC0TVbHM+Y+0O8O2G
Te0o0MQJjIMI3k2/DK2AVq08IYwzTzpfhy5JatqmWkmIR1adp2IjUcxvVp0SJnxZMJDrp5KH74OZ
rYaJbl+ceo4yCyj09zGfMKJ5esz8Ljz96+FM3dSl+wBQemOG7H3oJHtvVLrlNSK8ZYzEH1eXFMBQ
Y8sBglrwPJDGm77tweLLiPEWl/YEKqpRB0UAHHJxdOe5fP3I28ca0JB7TcBBOKQ8/vuwByg4DppM
eJj+6eZ4hYGzEme9PwbqarFOM5oBNNKmsLXe4/EGIQLdIlcT/jLIBCcVc7eJjVDUn3iVHGTRZHH1
G//pv6K+xRXcGlLSLWCScoGFH2eW0ntggeoxpWkc0paFYBhuilERdMz85s14XgMIFinnRv7i0Lls
v/DDTvmp1O1MsdodBjNcwIozowfOnLONTtg+oARyhMw4GF6aCQd8etu1vJEmvBwCBd/nWY7nsguR
WNnXf9IJd5efzLsH2ppNnLBihJBXZ3j+RM8EOihJxK42k09g/ZhvV1HnoCAcBRC3EaxCRad6Wd+w
w0dCu2ywRAJBoM0xLvGI4z+AfwmSQcHkVsH9PIhgAvko9EzcT7x++RLGLGzoGYcsmB7sUZipZDRX
bmbL1s2/+SMbGsNzMT5fF9+pmtYuMMI37AgovHIfWZMX6nfQNIba1uAECX60GtpjcXQXrDFOKflJ
BjaTnaiLsTz0O2/AiV3PMeMmuWDObnxLyp9SmerEPLzcOsV42wLNBQLCT8qljvx7JrUJGOvgKJx1
/jORrYwKDqKObAoQ82adkbSbNLfW4DxMRphGEZxJ7HtUu8xnrCIEtKdxGsxezpe91kA/4HD6zh87
CDw2oJo/elO5obym+OOJO+xaDVP3Qzgsj3rlj4ukqmHYyl7x9sBXBPPDQ2oCC1TULoOjulGPjNSy
ebHnPKCIh0JyIvyYOZRFYuDqcT6IQOiYI7M5st7T5wK6QcXmVwY6LG32LQHVM2ugHiRHsgZ+oFk7
SWAOwNG/gyM+9b2l0aKwO47WknGWgzOLy4E/MqO444f8Nw2vVyxuEMZEI2LrgMqdgQuSEXhuPPel
mS/YK/uNRK0JUvDihP7wTHEGF3sqosf+ujjs1EiO1JVGckSIaCqVAmjme83KZqcOiz6D5O6aH+pJ
08pt4D3AWLdrklOMaq/8USYte/HBLr8fPtGfvqgU57r7Igz7OiOIAqWL67oD35L4r8xnx8OeDJSA
a7hmtAIUD+bMRapl4c8NY0kB9SR26sr2dhslhQ02Fw8dsr/5YC1je6pGVq22kzalYg2pfc3mOEg5
TxgXOoMom78Z2c7LQEkQrNMaxHcX6gt6N9UUeq+H/1w/7RHV/hsl3C2lfqfrX408PWjXKFaptWg3
OROXxUxs3F/MlxPC0tk5mW0ZpIwTZCliWJlxolfWjXypuWNONJnbaCayq5tKIv4iU/6JiBvNnYJJ
juyqrnIShgky3s5vBwQ7HdhXSznrBSSKO5O74L2tt+Pfr+ig+ZPx1+SPxj+EANFi+FSNsIQw2g8V
a8DuU9qHddYbLB44epxqBBSIFFPhysNgLni7zMs7mBsHa+jr7G5faqbaPGmLPMp+QUofCTDMO6Q4
DGDwsN2xFI5QyZ44CC+lFVOQrDA4/S6QyBHZ0K6u6BaMLm4c+vwNQ9ckm0+8y1af3hYZLmeTKLOP
QxPjCsoZwDKIQRrvFDKAw6Avuv8MV+MubONbfFl0GxIr4La0CzgzPIH+08NP36pHBhPBR6jEZTha
9iAg6Ji5haD8maFGqAso5qE3vcaRxqtfLXU65qEQREliVSrq/ip46s732G2glCT90ETFSPMDMtnO
MifDNoH5vCG8s3NmEnJUrKjrUY16xewQ5kCWtGqHcJzoab2qBXFdFIoUjjtxzkRjsxtz+BbcYmSB
7hjXjttPR6qEHlXnYjZMGlvGDuRO+foLhOP8iORCgsdYVJoDlsLkY1H5D7+3a1LqoOGxYFEg4G9D
5TB7ilVnDom2Z/TgNukbItwzwKkPj/WRt3oTIO4cnig3QUX4Vyp8orJo/1p44vAbAsnFOENhyHe6
rRlnk7TwwS/+2ViX1hncnRdZNASSVuHn5jRY0aHNv+H/tx89reJcrw4WF/ranbXdf44ajDUm0hwc
PMp3c5YRk3tzRNButbosLguaAUu34S1Cn/DubuMQipDZMcpYnMIOLmXG/BbfWP5jgnyx4lfWSEhs
zLhm/XyUaP7XY/DKqBYHc05uXTbLVLYQVMNHG7BQMGKxOapI2U46LBakZX6q5vRQpSul8mwUP6z3
dtAT72LmuakV2MqQJWQiBGJedTkSDWORrDpFszcrXZW6FGSTT9EuaKdlj1JnipHhrxqRtMCWQ8My
tA+V/Wa5Fyb2URljwJTKy0xIgPy9hziZ3FDT4j/Vm8wMeEQEr4+OlFjcKyZdPC9i+x35ctpulCTf
Hnj+ZzQxpMrSqbIWI7hBrzlgP2QzWK64HtaUMBo6VZw0aGmY8GtrUnbe4n1+XOZ15f8feDkylMaL
0bgmENHgx3HyIZMnVcOCj7XOf9T0e3x6KiMUuJf2ZvybzRjQ2YS7cPagLeI5JYWBM/LlNFMmXuAQ
PGTRbTqOD957d1DXKhXnhVdm7Dbn6DLeJJg/qC0fLlWsUXhvxPJMx7g5vHlyKugAaPSfCdMpkL3m
Qi5fua7XeGYEV4s3fsF2bkKRDFnQYk4+68xvQKoiM3h+jHiBW4LagKmtCQea8p1el6eEM5FBggf/
U/8RRKsjm57zwgxi+IfLA96AxAIlBBNv32vqDG4VXirW8wivgesJTdgUi6UP+oDPiFoSLMZ+XKzR
jspONCF06xQ77HGY1uV8LPQIHGOVeeqgKx4gn414N0S6Gbkgb6rOkUIKZWZuYcJG2SEep9FqEhZ8
BTVDoEJiXznh8eqBfX9NLX6ze6FuMcTrD3dMa7j64vRnVC/uNyZ7CKA4ygqc/JX44XfrKmkNyUTT
zMCB2To6z3oJrsoPJiCM26wGktn8ZHgz8i20pXTupXA/5Eu+4wUQepnK645HQiy9MqhNhZmrg4QZ
5ivoFi9JGw7tP4a4OIENAOvjYz8o5M33muE3m/R7DULBxfiyOKjkfJjyK+q+BmB3P/GeC/wfwRkN
icYLNy8MWMSRIF6P+RInNOQ2MzvTrIlPJSgqgiWJKZIvPjonO7eV9mIBn4HZLZd/OtlI9JiVW/Fd
pQnbmY/x5f+xApIGUwAn8HM8KUwNNh/jDrvhHeUHVvQFsZX1TmmNUpYNGjoqEV5SC10DuQOxpOqa
ib/kXqdsMGAFSghaAHq0B+ViV4MVivchNiMu4H0cGrp5hle9RDRODjCcXD91H06iGd2fGxqJlN68
0NXdN6M/uC4yl19ZjI0TJIuBBw9yQIT94xnW0MONffl0qoEPt+16wnYVSt4VKa5sTTbcKMqQV1wE
cPway1/q6cAcJ4KSnDvLu+ujWncT3pLd2Wg1+h/YAihmjBAd8bkzzlK6cVt7A78JyrSRvMZ8COl4
YRYEAYhWbMSgmq3KaL//qc9U/VibSjxh6bk2fYf5xzT2Of399ExhzLDSzNywtYVvtp3/n2Cy7bVW
GDZapP+ckQaA7NP8s4QFp9CYlT+zGYUi68YfcPH7gD2ixUME4rzHS1mM/7mZbDNXZMwTVGW+eEO8
yTurBC4oy60Sb3LZbwAi37agAgJ48XAou/OFFgNBudkdBUIhjY6ge7P04CcQvjdG2JHUzKcGRX/x
BTVKFLDRGH+Ihz9GOwtGRvSi4Hs43QqlBZB3O8N4D7EZenLwdKYGASUzcqWf+/KHPDbiLGr4gAtv
xWTkQYHwCaQZMylYBuYPTBaBmUdopy4peSUbm8ZBtTN7OdjIWGaeS5cH/LRRkBZvaQ/pXRlsNcbm
5J58CjCYmFaKiZr7Dexv7a46EheisjMjsRm4nHawnEBjJOBUgtJ3/dg8stSg37NCljKFEAuEdrYZ
nycj23mDgpt0aqniKxhzGmduZ/+KVA94xqDA3jt0dkcuKwaoRvqJE3oSUi4WGF+ez7fNWbVPL+e1
DYc6Yh8Icfrv6xa206aIJ9hfY2j8tqHqkLOKbYmBH6NswqmimrAuA1fDtQzulUAWDjscYO48KVZB
V3mzOsFPpk5x4TvA1REgLP5AoIGCa04vcsAzUd3AGaFO/Vp7fDtHlm4oAeYhjiOzGshVUh674ctT
hk5xOIt60kzZlY2UZYj+0uQjFQFcDLiG2ThqsaAQv7jF3AAYKTCf8mIpK2RDEtQ88g7LXHMKNLVs
33CfhiJMHs53bZ6p2kBaX/Q6SiDykpbgkNNHHgy/W31oyAenKOZHJhnwM1gesD5Uu7vOKpj0nV+Z
Z5YUCCfU9+m5RGPv5l/rjDo/NHcX72uXs3T5cJeZ0RPIljPudS/3TVpgRYdVJ/adfrx3YC1v4xiW
9IhD+7i/Le8pnl/0z8Kok98muF4s3C+NC3qlCzvQG8Nrqvt4j3h8JlsdW78xoeibULrFsTyF/Wgs
O87AjOF+NifqB163blYewD48GdljE18e9+1yfxMccdnZI8YNJ9g07aVXwBYeHiVCqaHymHEG0mrc
I96RZk6KlAgTH0YeY8SJNTjCcO6X+iaWLNowNGMdHurmkSaKRLe7HYOtGTpSFXOPaRp3wv4AxhHa
qJv7GFoPR4dkOFBinduvDIWTR7bkkl2nk44kHnxpX6LMYjQp3qFkgfs+8ISbjSglwXmNfS/21Kg2
pqjXK2N7/8EvS4oBn8Wjrwu30v8fr0q/B8AIHeMHnIXi+Jbw5/RKHGjjgb29+MLAsSV2xVKNBqMn
G04D1q0AJHR6OGI4T2JefmY5nL7ofnP/v5+aV9jfnjy8TeV0PrR/vM82DGdufB6wbq4n7blfG3vC
AHuLrq54OnssxCQsmy2US9gZk7L4IBB9f8R6y16KGdNSMK+o9M7CtpmKg5w72m4uyyV3e2swCMYB
70f1XrZ8dFXYpXhmFyoC8JZ2MVTdyEbZKjpwi4EAAvYOqYPxNLs0+CrGz4pHHHUZELMIKABZtFdI
EvVIg4CvGBkW5Ov2usCVSX0TJriGGScoVUGoCWGetYEb05u7g46jhvZyo0O/QTW4UZGtaxyTY0QE
5GO1Tn11QNlgFCHD0YNAxjSI10KvxWQ4qfy3ZL35J4pGaONcG8B0swlvMDEM/IeSsX+SZwk6VETN
7HGBS1i0yU/HKDQ8tbqltyGELLhBsMrNyhVF2RDHM+NJ6JkI+6YdpkukPNJnmQ+c/lcx/VL8xw6l
TvCC1fG0Dw7Nwl6PRskdq196GEz4nDJRtsNYTZ8Y9W3klO83a79MejGmM5/HZnMIm40a4SKkWLAk
RBGmcvoB7tPx+BD4ujsgU7YXDf8LkyjUgN7ziOzmsrkQmdrNPr86lqn/qdcMSyiV31E5NAWamjzj
Js7mLX99/lpJBvtt7WKo4082EOH3SgIqr6BXGbLCYeZABcUYKGr8d2VB4Wlgby0xvcXHDfa4ytB5
ibR9/EMVo/yMVxwQ6F/GpaUJdh5iNvcj2tQ3tQqpdibwMqMAGTl74dBSUJ49mPXAcDOGqk2nxsWh
+Yfkt3vi14jpJP596Si5bMZ4SNHkwNTD9ugP+xUSUbsFUrZZ79HstgxQaTyJDxtvn3/6ChoXMBm0
HNDiJfNENnMuPGe5GI4MjmwNgHkeTK2UxnSMompgJ0geKH3JPj1VmfvZlg+PQbklbeDc2ZK5IIQU
ckMb6e5tre6Hi4xod+ieNHsLeJaXaHQiQB7LlDtpYlkIXwzOK5m4zn2bb97JizksKLDd2sOtEk/2
g7VGvX0mXzwA/XN1G9h/Ystznm4VExqcy0GXguxXWpfJC11GRY9eJ11aoLZ/WCoFH7QyNNPEyi5k
qhfmB7F6zlHeANE/cNd8rken/Of+cS6a8NeZuGRLO6qO5w6POs8siabI1ydzZLR4YKJAOeUY7X3M
kumwPj84/5swoHJfikiSwRJFNzmG0C/dNqMl9MnHid5WfzqFngtWKXz0GsrqxZIJW30JNn1N9SS0
YPOLBK5LY61jHTGFwyn3Ic/eIYFUikt007qfc6HZg8rAwB7yAIED3Gic4eyOPmZkfz7ud4B/YgFK
R2XwCVC6qMfL3WoXtAEMK6jTdVNMzxriqA0gc200F9hz5o2D8Rxul3DfG3iYFHQnuZ5J8QRgj8ee
ciGuI+asPvPFg9v7N+bIX6da9yec/3Krpw1JkT/RX462n/3w5+uLDFvmI92iwfs/1UFan3Ohjlhx
ADX5FFnDeC2DodxcfBrII8CxHsQewtvnJ8P8645zHePyVb5livLure63JaXzzEHzV/0QU7rTw1E0
npXrUfANtXXHSA5esuChTiJIwJCZHDaHzXOKm9byW5PFPO3p7htDyp1W9savWT5xb2OkK/x7QHWB
6I79AnwhP3KPrkcou2QcoxZkX8HHW3sbmYxE1GERaKEaab9fZYkniiT8h/5vhzWgSGdBE8//lDwC
wQAMlZoNZOxh74533YaySE9bLxsY8hyMSJ1DhPp9OMDDuO+sKqg3NEa6A++XxrVgkMH+VhgjWuJw
wtQc/B1hWyTjW4ZWiEVz5DsluHPUU53D4JwNgd0cuybvItsvl7GUzLunfGosbrxEfR6W44AneMUw
DbezNvpQ3P5CZP0b/TFbxoWClFyb3PZoD8twbB6C/YeJihV/UfVhtEW3QxdsHWHeizfAkENUafsS
lBL45MLE6zOjpUSn0xu4t7ULQVjmGUAWcyblFasqnuv//GWPUhmWMHN+chAyn7GpQH6Hd+P4oa/f
UV7Rxmulxy7c+pMHHuQNPqQ6ag7/ZasUBxQQuV29wo/9/mGaay7rM1X44NjEyxr5oJsf7JZecXNm
roUGgA6GUvIpzm+JtwOawwtCd3Xfe6EsFP9Qcoffh5Czyp/ZEGzhm4bGrv/bjRw52G0GKwY39+3V
iH5qZ9Wzh/4j6cyWFEeyIPpFmAkECF4VCu27EAJeMJJ9X4WAr+8T1TZjY901WZmkFHEXv37dES3E
BKJuh5qx6KK5CIVyLpxla7zkLrMJwRrk+mCpnV+687jPcpLgnr/JOCys0+Ht6jSHrcI8zUveq+Ts
Uz6fEG/v8lYJuUB3fWqc5J4nQ5MhqEKPKdaBS/7Nhb/rESOmq0goN70RG5cDuhcKFCPQq7++iG47
2eWl9nZydmmcbXBBbAVQpEVepKsDHwA0AydwNRSLpkj//w8IqQ4zf9KtE59ETtMEOs/cGQqcuMFo
9a8Uv9cblS4FVj3uo1vGFHcHKg6vQvUzGprNIYiQw5EIbDXsnXWc8QP8Xa62RQbxBImnjXL3Gt+s
oMcY+GVtwXo5xNR3/J5Rf/GzNPEhjOe9rUPpNtrZ3FVW/brgHGeqS5S51JgQyy2zO6biHsEuqJ0R
8rEc0JvFLshZnt0/qAjCYyRPD2XIvehFeoTCPBV1DnzB80V3n5Vs2rGAN1TzHtDMzh9BinnseR88
mDoheqi2sey/wR7chEYhmSmPv9nsPWKj7a+7uKyY6iCvqZtJq0KMF58FYNQC6gn49sU7tYL6Gn67
QL0OQaSFOBM3iDEj4JY6izc1YmgJJtkN3WulmvD1OaIPd2i2aRq+sWqonI73VttdbEfTYkOFgJFv
5vmSTeM3WBHTYJZqt3w5qKrsXOCjMGzBsBBaBtgYBB/kdS8Q0cUL/fiPvH8gnrucoUPfq3NghaHJ
6aNxQHeEopw276d8VjuScpoaXO3N+uD5ztt3tiNqQPAhzgVb65h9KK8PXo1useCqXgQ4iAJokTaN
f3Bq89o+Bem6xVcr3MRs0grKXygVcRwMlxuS03Oeff4nd+ZAa2HMSga7y9P4C0owZaRmgNMucqcG
GKM3Ec9o9Pfx2qpVhdvA9KSkc/OZmI5YakcWY8qmOZ9PmWLceZA0t7zis+Mx+niaf0MAq0/RHm0N
ZKrdPno/BzMZ/iVt6EkQwi+2EiJ+Wkg1aeL2SU8fmwXl9btozmli/KG/ribXvaunNQwZgDhRaQ7a
gepVm3J0uRDAYIC3XdsE6qAukD6bAGbnr/NOe0iEo77WeeBIchOdfgRP28W1gi7746E2c9TlQAvR
qj2f8tYw9PEEpT6mIELueehfryONsqqXNUpge05iZnPO6hRvH3EZ+4O2NcAw0shKZe+GLGtoCN5C
ZzVoO7OHlxDNVERRaA2a3RewSzo5FBsYIEUHJegETQdskUn/o024MeHHsJ6iQCP26vbhw1KOJtSE
k2hm36Zt5voLKmPwpoi94neBchi0959FXuqK2XCibTgURyZ76Bc8sLvvf7wTmK91nJFgibpvdX7b
ULqUsbnKDxB/wBRHgNXqRf0LxRR49XQLqqZJvIJtm8PyRP7+bTrwIA42Gw6CoT1dpjFp25NLOJk9
TYWPrQcjz+Pk3+jtxjeaHhVAkVT+52ZRnuVo2zVz7cbBMOJTtayXKWk69d4V7Tv9CnGTTp95xWNr
OmHsD1wRE+cN4ZBSiA4E7fXBzvWcyMO0ufqYnneWCUCDcwd7uyy42AJ/bBTEqCP9UzXQzXujQAx4
HwplIOZ62zBd8+c7PhSFEOkK9doyJ84+OdbSW6uv4NpgcoKIQevxD9z8M1x+sRx1fwqvnEvGCprt
gGIyjyAkKHpQQ0UnOtN6+sv2XvjbSLOijAm15GWmwC3cCnwuPJBRPJtRVfOnJhjoSIU9ULHcaWfb
MDx71VGsFTGOC+nIaZjyTD0PGBUXcvBqj0kPExd+G5Xq2YIH9wg8x5Sm8GFs3tGzORaceiloTGNd
+EiLBu3KIwTnnndgCsB3W+69CmO0BRvDQr5nwzGSMVBLRf13EhvhllIOs3grYva4zK3Hp8//YUGm
l3dNU15HeJ4+LTDWxTNlzomRnZV7jwKShLkn44gRwL5JHOccGO4fVBiZr3vxesT5ItR9N6zeJ6NW
nJM/eP6kGf4a27oEv78RuQ8ItzotAAPX6z2/HhBSx9OKSp5imfIR/nSLXx3thJ3tMTaooCfr0p/W
YRyiuW8uTW1S1fYzTE/qi8g0O2s0uuNJQojrj2hinlOQR6IUZ2KU5CfLy9NQ+hsldBkPiRFxPOVY
qWtBzIpGptfxqqcFWu1QD8OAgLaQe1T1KgVc/tSZYkzXC/+atZcvPz6drxMvkBuWppMSBVVNluDa
A35NmFKzJeceOm1nSRF6Ft0pLIOqsemJp/FnQcPoltvpwAw9kOIDiyJjaCbh/Sz4jn5bSumsVaxW
M9d2lkrewT9zwI3CZKWZX6N8LWHdXhYxmK6wXN0bF+JsxWEr0r/E9R5eF6/NwJx2LN/dWGwOHc1V
b9qLwis6DcMjl44FNKs8W676yxa2wfdQ/mTsutYnyeKGO9ku/S+eDY8ScaLggviWVqGV9FsjzySw
jICbzrnde9qyPokw56gidxp71IYep4WjGp9+JqAKp8j5ZJU5HfrCzKm3FWWI6gdPJS4mda3P9I9/
5YFJdWPiOpEcyBdapVL6F9+fhtAA+jrzIyNPj4BV6ZJbeTPDlAGEsq25ZiOIAFw5Q8jpIXiJohNs
toXggO9HU7/vElq2Iwdis1I+oRmEg8A7uQUcZ+A3CpPKA6qsPiIMYw57ex3yu4yYtDMzolBk+kbt
erDN9SVImbGD0DykPqOmjIhPndXShGHP/HXKb405OiE74cxyvnXHdEZE2neqaLj1HZ5STu415aLx
piE3FPHVhEGDCTLucyyl43BaPbsjPdNpJhSlHnd7yinx2iPby/c8IvHKebdQJBzdj6Vr4cgyHj8m
AxFkEg1g5hLmtMR6mAixYehR4Ehplih0s02B3WJbSDM1R6OuSMAiOdUjhwwwt0bvnUl8RKMj50N5
r7883RGh8oojymOlPMhiv7eQ4TyU5nwyYD03ZRmGaYGwjuY4wHTGFT+QtWJbFAVLTXhnP9TaCb5e
LsvYeClFuk0zkwDHna1NFuAQZQVWcbXizt6MX8QhXW4n6Eu9uB2dsHSzwZUtlU02nlxGe3o/a+dd
7cJ9UCUHM7QvzOfiGX9NTr36GSusoaMndMx4J+4xxfSZi7U3Z3TQb3PW5Nh72X8w99x6jctR9BXR
GcQUxDn4pAenDkShmX3Xf5XYpW/6OW5Cj/V7zcfz99aDrSTBb7tQv2uTZdC1cqzz0PXPLyWemKDt
iFdpSkQsLoVr3f9cN/ZZYV6ox6MklC2kgbfiFi8+jthsgrOBeJWOm7UmyP1Rj6+Zx5TsR9vXeVcl
xxbP8viR+S4b1qa+YokDGrUlePPKxInVTDW/5VmJovj+nZw5rbNcDQ+m2MxjtkayDdem+vmc6uWt
wr7SjsULX2Yb2P5pZqtT5BaD6uFgajzd+Zuz7b/jGq3d98zf2+4gZqnhALnTBLkkvGS46QZRNHBm
s2YBZ33yswMrKAZB2cxNH1E6N6jNSVCjoIQnUYTYSBlroW9ZQWeGU5thGavGdDGawVGDdvsoNkE3
Pt/kGH+2yTyadHBy/mfi5LondoF85Yzr14nLflpBkBlmIm6X4pxk7urOy58g/2V+nTGitGjHieLB
bBB0dyuOqTQcqjNI4glQQWVkIVLESpENrH+zEOpOKDd03sqU2bN5GldQVdl9jBgaqclqawwIGyPK
BLY1MCt2c2iw7VDy6PhMGTRr0HXGa95n8vXZfBPZHtcSUgrHVo2kUQBgjIq6QvWWC19kjXmtTs7m
4fivGDnnKXPE92aIfty0/TUll2d1pyY0P2mGS48r2I26LFHpBcwHOUfRZicmUW8Jvm8n6HW49iFh
ycBhCBM1UhNBJ/ssWUJxXfdsCQr6mGjOqluwr0Ct5FcNFz7uqG3NrJ61wnQoCL6g/RGtfxTUIuOP
soOYBBFuf7PIal3MscHDE2xuLWrZ/JLWlm9CX3mNaTYlWt3nBbxAe4xONqeyLwNWqJXT2UQjn9Vi
vNccnPj876goMuAeVG6/vCn8oHrcWN2OEKYZX5a6h0s3L3rDhl7xmBVfZEKxYDwiUsWKB4EmlDSd
+OO2DubJcce1sIKrGo+A3IzsKJpnBtyJVTZMMaitsWrrc5vnGYw5hhszJeIovmOm/zs5GQ8hqYsO
qB8HNNvs8ExH5shE91i4Q2vVl8D0EtMq7wvC9lMTiceISUa6BZZTg4tYnxgmAyDknlC5N5/++CBW
Qy+jo57gduPAqZr1TEywOD6b+2bcsq3sEmX4BHBQJs3mZSET496DDGtEzeV6arBP1i2rwYGs89e+
m77fG//ktJVN6Sd2gtzCzIEBUVi9AX1zZ0DR0rUYPvdrHIIpEZX/oGPG19QXu4zXLnliGNTzFccQ
hMebXtBBMEvBnbj55bnwW/4rx7Z5BbjojiOA2Ac8QTmfy5f1UVU7jjXcKS3u9cOBvP415o4FGhjl
Zs3WCrZsn/Wd90fDwqg3KA4H5sk7VPDHw22GkQqrroKdLczSvpYA5kV52PclU49KSxxHWSWCobNN
N7oEVduROBiA/UB7KJktYgKu/r/1KWCwweWgmJqWnzUPIUzl0IlLvVTKjIp/JlzcgWOTEmr5onLh
kLBBzCxbCHfcfgk8zooCxVHoXZF7wOPWLrp/AgkajbSnWYsrKtfivmJvj7kTl3TH50MussZa4LI4
YSCCaLl3kQOkqkBN7kVpjMHTw7uFTbZuOpXc5fE8WLD7ZiEv9H86qIMMYNUco7J1MiNNXRM2J2L+
6cxT5dTbgUtKuU/xGltnGVaIs++4DU5jjVdEjFlfM8tngmP9uF3Uvm5m3z/NfRIdl8ppmySJ1p1y
letURYmCTcx2pRDYS7iZbnajh2UUbUCEJcQ0Td4akbV6ot2w98vC7QYb4h4IBHSOvP7LGOr3rOYo
in3SSs9ct8PW2wDOuxskqbkTP8ZMRER2cTet1C1/Zbdi72byMBcPv3wykjCNsV+DAEx/sFPkcdWE
AyVLN/1a3cmUx4y33pV0cU3n7IbHB7Pc3BzX79tYp73H97AKj+HJ5G7HeO+RWr8Be7Xxzv1a0+kg
uYxf0ogupkl+YmOMyvRJ2SfIewb6AXaGrbrwZXodJKH/iKmLczqKVI+qEEl4rKEvEd5wqFz56pKg
7iRBPb6WT2z9omoO/OUcooL9XlWo/0TVpncRoZxKKl9fxtVybeRrNcuqCPmUmwdKiayz+//ncsJ6
viMhCORMtQ3aEln2UYSmTji4L4MKmNOwm/HkBn8kQxG3OMnw/3zqctomqjAGkxU1RHkz+d1aZUWN
31iK/UTe/MwWMXwNdEbdTdYakQ8JaQ3BUHPLDilLRxSa5vE2jmU7dTkKnPDizulle9aScfjh8/On
+6RBoPvXmKtbuSkGdHUsHl7JLr+juYj3KUugoqrwtHOmU80ilRVYz5ciXN6kl5M57RShwBPvyr/x
0PY2URfDeFZhTfzwKHqIO6HTTPNw2hbkelhOgpJzhbM6xt6Zy3OuDl3l8Y1KaigvAdJzdC5tM6dv
/9DBPu/UueYylA88HjN+BFPYE3UNhuWGlTXB18xqFOAqfGB5hhigIJtOlYLQdtaeBg25VRxPka6b
dbXZFEccGsn5AJxXmlhiv7IDWg0xDuKvbZCKrF/mBtV14jRuLFQQrhVoopEKKr2aE7LUgdUj/kNl
8iRxCkwcyvgA+9KE4TIEoSWC1SOdktXqvEXhFqvVXU5Q0PQjHJSZ2cdIBjUgqJOT19B4ASAtoMZK
n8S7Go5Y1Bryp19XvXWUAftw3Raf2D8nm4w6nfQ5NCeNT1p5wg6Fa2WjCBBmPG+/a/cnJTe8EByQ
POa3HLAQnW6T1QoAd3I4i+Q1mg2c6EnWfVB8UP/U+EFSP6gn8Vi27IEkfrMlj99QsaXupOrEjaNH
6R8D2cWLs1WqGFl8PRR/2aSGICtxPrw5G5IsuYGZ/qNtBe9pwJXigrDNzIDa/JXoUdDxrU7OQI4D
KhRC3uzj/UWHEUwZHxaGl20KQq8ivcPOYzr4HFHR49q5yXgHYwrdA5axL778NILn8bKvwUpVqsj6
/N2J31QUEJQ4bFePkSclwHS7WmihoHL597b8qEt+H/ABsdBpk3yjm5UhoPv6mC667cMURQBh9NLb
ujXl6L4dIT+Sg/sCXlKhxdf4IattRSUSXReGOR7whnvm/o9YyTqtpVmxsXiIC+dTcx/R0dLURbuJ
DfY1W3MjDxkdTYH3BpaZ5Jy7NR5Ia1OiesmyMuhVx1z8xjCmCqwnm4AoN8i7M7V6vV9dTj4GRDkI
zXHptwXYIanW2gsjm5uv7IVPaFO9P06PNc+71BEZZnAmP6Qk+7bpJJASmUqGBvInF5ftBOcQMP62
t7zrtvewATk5i7yErI80AL4rHRiG6TD9Bj3/5X8h3NOpsgbeYz8bFR6qZEiIkXIbG2ZnNq3xonPZ
TIo0TD0ydpGrlm14dTCQ/NYKKbmiS8Ls1dtp4hsyA/fIAxKEkcbiB36AhlPEcn2IiJLLk5I0Ni23
6/Qojw1ILZ7SM+jjXLaNH3iIIjixPsUnKpI+2+G8M6r2AQFTcZGUFQjCknRJDAP9U3ma7db3Cp3o
GWrVHssyjMsOoerVmupR45bJFfbfdst+Bk1wTd5Z177DhWMlYPL0Whma0GMkw5JfNHB/60d5W5+R
xPDfWJ4MkUUwWVEXB/9YkBhupgZtlJ3oS4nhQh3s2aK++cfJF3zaOWXQ4g4ZC+gomxs0YzCMoYbO
OtW1Zb06ds0GOmvK1A8PE2BqC2v2FoR3e1+b/WDnY91Uwr1DpMO8p0DSxQEtfQ2eQbpjCmfr0FC2
9h19QBgp29TIOhNkLdxmbm+Xj9l+OcBSErmDARvm6FeELfqpL/MO8EfrPudqH0E5rYePD9VM71qK
5XcDkYVaB27Rsqg40+OT51x7rC0gElYnWkC/J5sE80FzjM4/kPMKizt7OzIc0JrzFB9JnLiwAWXQ
lJ38D5Um3z9qqc12awERZlDQumzTLpHMOaEKvTIWGHqdfs5es/jvMUGyojvHUJaWYIGazmkvnjCY
KWdpzOD6+GhnsqU9fXrVHID0nYNHjY8QePur8+Tjd5bv8dBvEpgDPae7rF7MVIHSoBtz5q7OL/i4
3bQ7eiNjq6S52da3YTflJ7rLXjqXeDgWU46puGGyyrpmCGoAWVh5Rz+ixZHkS8/Ia79sxeMfUejk
7JgBS8QWxKW6/MHPfdo/7utDbK5/w7TcQoOUrShmMK4CQT++CXQf2GxEu1IgUs+0mmpP2Tp5A1Ot
V1HWtoMPSBGv95IN7AXUUXcAjRoWP21oA2z9U0tDArE/BLtviI6cZOMiEcdHQfFEXWfQ2xFQI6ot
vRSJ8fXW0kfHzQCwkiBGhJe/SF+0NkOCeM0wyj24J7dJlJDOG1fVb0g4QzyhTX564ox8wL21a/9k
C2F5hiJMx2wssMoW/8QvsjLQAoX2iVhLTsPPjgWCfimX3kNPkijecNoRCGGOCoXjxOlgMYMVWM1f
MZzHbUtuwfXQr7tkiGM4NTvNO8RSf4yy8ULhJZBvsrkchjs+xfuISV9DrMRMCG/am8DBCls5sqBV
cyRX+KksPja9PfoKD/8nB5OD244goLamnaoLsIUqmpjXtDm6KO/EwPbUWNVBBxUuiMBMn6eouPTR
LpgrKscOWYB4G7EsRYsTdpFVrf0LLocvRNPkIUe9A6egvTiPjqzc1j6VEp3oD44lrf8p7kwO8RMl
izpsIGAZeJeYHCw4Zppz3nwpKr9YkwGsj+fLwZqNUQcSzeYBVwUVDmgEkKNYr4IAlh+pBG+mA2rT
D++T3oyJ3B73mkR/YIP0nUBieGGexalAn2cBdxHfr8Fyp2yNum0LtsMDQkj0BLbMKRb7SzofglzP
OZyt/dDUlJnsN2mm8NvRHP6minGEj9LWesu715YDm1PKRJPhuXWJ6xXOCi8slz+L/gSJthatQayx
jmm2Mtqg/gTFJkBSrgJ3ebazbi7UB2GwFUyh5R58jHSxKeLHoJXzHB3ieaH7pMlgnz6wcOsS8l5C
+RTSnE2OSvsVVpGedRDhgt5e6jl7Pn+/AN6VfUWEqp/O3YdE6AQjvsYlcL2d64Bzq5mLtq9HX7Yl
5t4+alOXeBVnRrUHwPqEKDhIDlUOF7tv9+0BJ/5skd+Bmg4hSJok831Ub6CsuqhuhJ7ufLQrCwNw
vse3oxJsAZKouhkpb3s/PoQoLAE0dPOhh5h+Ocy26ZW5i40mktnNz9VVdnDkbNl8ukD7Y+nT6Sf0
r1S/RHKYbk2y2ZIEsDF8erz+x3hP0NXY9x5vp+wn2t/Rb4xDIJcJj0Q9PPCpFmo178zB72JGbFg6
SC0lEAJ3QqeqR5BPwooquI/kbe9Ew4CYpbzDNKICwtcG2OJnv6geKVecLUkbIbXZBfSOX3TDbd7b
GDGQe/1lH4YjNCssstwHIPMFN7ErNqI/hnlzMD3dNsxsC5xzQoulNzZeSJaw8TdnL6SDXJQSZlP7
pdOX2BdDcqD3zQ1u9RF0GkkyLA/eUoXbJ1sEFCcuP5lvgNmd+SBcmu8FbuwOWxDOPMarXVL0LBHC
CmECuroyepXBPgGjW3LirD0tKkpSDqTNcshT2cm4sX/ZWxK/sTydA7IiqzS7WtwrwPr96Gmtrxns
Hcgh6vlsk5tDvDXQnmQ4LS94fanNtZ7HoyvKedXyBkIf+R8uMf3q5mHNWRubYUF/947g1nqL2vhy
ZKAsB9P5qENSelBqtaZfeHYnA9bnySWu0FYTvj6IUHktJfxj9dDHapMztBEGDn8tHtuH+cCXsCHx
QnGMsJNh/yX0EEer6/gwGrK0ZrbTkwMhH8rmpjPRhRbik3BgdmSfnOHoa5Zs84JzPFOlNDNHfOwS
/qBwsMXNJ6KAuK1P/jtXzNStM18tIag65FqngzqsjZQFCM7XMBtsR4i6PUSCVfnSYFWMYCWnvsme
Ek6bpXKJqvK+aBSRmcZtkDEaILIESmfWxgoA3hhvQzKBJ2KPkWuUD3AwRjgYdPzk4hDg7R00FaqZ
qKShTsvn3xa4KriGNWkB+/1SWhIX0T0fWTaWVOayr4Ane+g+3Se5kwtjpO2pOjAkc497jA7OCqo0
fxc8/HC0smfAXYDelnKAxBvBE+yvwKal/wywoeRA9xPS6oohvrOEOgKi9Mm1ZF5QafPb8Qmpd4ch
EDu6T/3cGBVo6L/92uLvf3EO7ssep0PZGAIN2jAQ3zjXKrN1xMryHqKbjbkv6go5IxRFNRAhgg9P
jBsqubDsOfNb1Yh9PIHnj1aB+0Ty4Zf+Yl/OGaCCJKlbD6vjD5z/nzk9C88JLQf3gCgbvMriMrkr
M6njH9ptHUS5SvTXxC4fOq8YoxmndlGYCnvJHu/erbuvWlsXvIYCc2uzcYo5a01gQptu+YW/nW4H
5sG/YJDDehinBPnajHBFT8aPxSAdbRrEBFhBw8iOtPQa85PQMOpZkBlg99XZjhWi/YOKFkyPhVt7
6AELyox5e8d+O+/yItnLYPrkQ3Q+jZ+MxXKdEmk3603vFTWXmAcPJnMH+8dM7xXMbda2lgZ4CfqL
8sSu/A9iUJe5oJq17JO7Dch4cq5/ba/H6k0cfIPVUxrJU2IyicZYy+E7clY1/0u1YACnZhepc204
HA4Nb4nuKXHcYUmdyA9Pw8iGzsNcvgJkiHhT/2zmHd17sprVkZ38mHBJYrxLySe6gv2AcTpWJ2gd
rGFDof/+4AdmfosdA0LrMLvbXZshMV51xSmBZ53TqMg79Ga1l8wN37k4WKl+RTwwsOYjB92gx9d/
wH22RLJbdjJ4wDefa7f6+g2SUHwRxRFbx5+wTWR21VH/JbXf4z4CO5xoSPV/X5K11z8UFy+cJYo4
2se21NW0CXweouLF4wpqYY17fefvkN1t1rM5xQZeryC/zxDpA3tfXEocEvB5YYl8vFAvmjugpNJY
q/2aQCryuZhvYJTV+T44a4J16NrRK9bPAjaCecL36t6CNzZw+lH2QWLcPNsooQ2qWwQUgGgZMIv6
B/i51FMopA+LDDLm6s53r9H06ODWNVG2h2iJ+TQLLMPqYKOow8lWcvBwtOQV4T6UA74Zfmvzm6HX
TqRRnDTYeWQYiHA98t4lAwz9rI+UHkY6RCWJoZ6qu2newIhnZxvNXLrK4EhIQ9eKtPZaXVZPpGnl
K0NI+ROfbexKrYY/QfoLTIlmWXP1tfKoboU9T53cXXDLbyqDcgVuYWfTM1co27la2HcveW/8cTpV
HRzpvq2DDHtR25knbXqpHwpR1CJeXYEE327mk2JJ0ewsWi1Q+OiHSN83xCOY+t2+xJh2Wq0VaBGe
9JiAEaUYsoPZEtZMvrRgcZyTXv+RwIMv6449qOIqyeKTKxq6Ichmlfak82al57h8OV0O0Z4CVl4u
uOeYHNxHTivXoJWO2AOy7Sy/8t3SzqTzlBSdg+Sz0cIbsKnew0HL3P71v1ha10RkPpgFDMXi47Qn
X/6w7GAIALemi52pksy6z13+RTdfUMogw0L9MMTdarF4yn7w0cExQS0yYgchSoPV0e54xyInTC72
HxEics4W/PO2KFXyfUVfMzgAl7U8JaqIhIACoPtgG328hqtFy2pRODF6hQ8DUdT8gjn/fKp1qDiQ
iuw5ELUNzifcl+xluxjNe4CsuXhPKdUpq85pE3K/ew8Wo1Vb1iW/wJ2gQqLUftqMYTItmD4kaxCq
l3TI5MUZHsiSiPb+IrCK7MZ6bt0JdTpEz98IvxHWxbapLsE/A54+zSsfjAq7IUzRL6BwhoTlRWRH
m6yIxh7iUV3nC5/2w/SBnldhG11waO6ljeAv7s83/+qpa4glVzhR5U6DVE/bJs2VlyXZkWmi4UCo
B2O/OX0M4TgYJ6+natLg4pDGRdcZIhz5iHAFlfYKHTr6YJ1wqOK5ukgvRrFDh5djAZNQPfQ33KtW
ciZdfZ1h0S60fGhIvRHtdADTlPayRBvXBA5klcMiQ7EBa0IZDylgYlwAkWFRFLV5rJuzR8ouBT/n
Kdt2M754mn9KCSCGzT6w9UBBgfA46lKzPP0hthlQetETQ1mC6S0VnMZPdVrhrpWDN5NOaa+DV6b0
8jouVmZPrkAKLmPguI4+qnPIbjTT7XGTvMtbSds9l6TMTryDXjvBa/jkPNFn7W6pAbnZBg+y+qw7
QEsRvnFc/pOvimw+iXVOuEJgN+KUH3W2QCECNeEnfmKkIcEr/Lm483BpJEkDGNGu62K/xPAZe7/F
bh/tVyRNaBaqhkQSQr8px9thtB+d0+P0DE9mfnFP0SHrugeDbRqkMgFgF50J8rrsPxrwBpksT26L
YfYDREZv9LjUy1fMBOq22L3yeYEMQYKmeU1N9s7Q1gD0ZH3u3GFx446fblueXL4FlM9Zu2TiRX/X
d/sw382GSTZ+A9DQ8c5V87htyjom2kZwp3ZBl2ZDAW1beWc1JTxPbz7JtHq6mz4rRx+1qovaQ9+u
uRrNavMMrlSd37+mOogOkJWK37/ktTQSfTJcNnx0mj2HFfSPrTmHrUuh9GLRtkXVYA04H4aJQ+27
fGdDVsxVq3RylZsqsDXJnKxBWLYODnrT0EOZkZ3nyN6bPZIqMB+/Ciov6Ldmfd44TkOfOSaOpgZP
/W8LVTeoAxCwZ4VgJ7ZQ94K3f5n1cYTqsQYhtL8LAl4MvEBviUd4QbAYGe+cDnXgCFGzd6iE8dAU
oN8ELru5e7w5PmYDso8gI39ItetzyZIOtX/etnp/hHdzyJeGyLW8XDjw40GmISViP11QJipwFqdp
YY8Fbuo+ykIowWGYN3QJRy6d/idi6U4gwG8ZeX96sZ/ju7n+xZ2ks0Q8jgrvXrBcagOx8tZ4Hgfx
Qtb8QHW3OtDaVDgWj44pkf1OY7XzhmOKixZ2gMgD4hzOtlSBridZ/cP0aZBgLDqcvQ2r+5RoFoSd
JbKnbCev1/3lE5dusq1z9pC+7C85K6Lx9+Newpofuyc7bztelT+BX8QwA/nwLiD/l6h/NpUbNQVX
vOOWYS4+4pZcR5zY/mSePMZP+xFoxZcY96XqvwfzGPSZUEd2gkdh4UrGwVPKAjQt5n6iGpxeurfk
Fx16UDggIh3JW/aYFsjMipbXFrjZg1erUEBlTqtxyhbQzHR8/IZU8UcL7CpFmDVHmHP9Q6DJ+o66
4YlgBfqn4M4dc6m9NY8pLuD29ou2z5NBRuSVHZO5QAva66WGx+qq/Yu2U/QwAT6RWn36dFZB7RKX
I1pWBhOHEh91klMjvgMqN2LWqbxF7zUVKP48IViYd//jSGPTJuEJMNAqQIaIRA8SHMX5JdSy06Q/
I/wxrD0uCDHWYK9uwo/Tnu4yDilOlq42axfvtqVDYeDQjV8QwxP+Hotyo3bxmvyGsF0+DrDP1tNw
Y4GRvboiVgXy0x730LC4WzphzB3mr53aRdviUAMWWIeaTU9eDsK98/jrouiZXSMG8mz7QS1HL2Xr
ffwD/DKE9sFnJnhoMm5WE/ALo1VW4JCCunof5xVRuUACoBwJB20SIqAZ+Tq+OQCiPRpUdHGVFovu
35EhgdHHc6QPgXh2ufI+mZdD1URFPe1xJrbeQiH/CKFGrQIuwk8XCpGkZ4ZxOH3Ci90Brb6JGtxc
ABx3QEYzrKu8Qz2pEaNKGXC3j9a1oJc9lV2ILpjnjggI9+oLNkBDg5u9Hm8Zj+7wZdJFq8ePV3H1
VJ0q7RJeqkegoxlzZzULCUaTtkZ0vafV81k9YzlZVQoPEsQ8p5pOb5xQShSnbI0RkqOAw0Q0ojni
FD+JkJi5udxVZABVwwX4Btg0MyI1aEGfGdLkoGLbDzDkJ9H2dcCGpQaN/BKYhvtBjrsmuYMZcVeS
CzzFiz/9AFs8yk4AHS7bVbeATW/fQNaLgkSJptLc0BKiE8vOCU0gleHe2ZdbZ+u1/Upp8bzdO0jD
NmuBaLcdYEGE8wXVCcKsVg+7GFC2Bxv8VE1yS20xp37m+zFLqitjtFtfZT8yIJJUoKmYZNu6shTv
pfereh509KkWv5edqOchHU4R73VBGQjYiKzB2GRq9rdDm6IibVwFJut4/Z5uqsMbsJTOMQnAJcDJ
tPxRnj2ADxQa6TftvYfQyUW2p/M1aYDSdL2d6OMPCUoA8Fv82bcaoMS4QW3/mLIAG5AlyXzo7NAU
Pez3cl5eQbzKQbJozLvLnhs9z1a8ZI3nMztFZGkHNCA+jPXZh/f8+R8HDyjYP0t4TV16jBlquuKN
s4y4u7+UGNzNT4Agmss8jHl2+kn6rbALDTq+RfcEi9UOwiUE0b8584Xs+AquxbVgsqA0Hy0Kf0Sd
X7N3BBFHw6ZhjfY2hM39zrr07AUiCSwwoocV/vyOfeT+isHkveC2cTVf7rEcsmPUJW6yzYZ1rwkv
/uxco1dydY7qHYvybO9IMHtQCTwsLEEUwVG8drWYRjJBQDVqhc8/MqzSfe1LPT2sKYu+TGiHi7Zz
ozr4+XrGMudbwu69uwbWEWvwgydwyZz7wmelwC1YJU4+XFJmlRgMpB8Hh9jqFdF42myQ8km32bmk
Uo4GVk8Sj2gz6WWGnrFWg7RbpBA/kDXiNk0Z257pTakZb2093bMWVn3enj7dHZw+C0KNAGlpT+/Q
MQ3M3P+RBrdJZ2+f1gR1UI0HgbV6/vPnpl49lOeKk3l/mdc/aliGFN7+6B2YcXGfQDMPLG+L7tVv
v93/ODqzJUWhbV0/kREKKHhL3wkitnlj2IOKHSDI09c3K84+sVfEXlWVqTDnGH97P1GaWmDuFrGI
OusXAVOAEubWezpf/QAMy6AKtFwRDnRhlrDIkS+83NA8zJ9i6GcFsKo/ZnsdVbAAFZAYU4oqwSaF
W1MkqmBacjTWHjHIjj2633mjKvMBP/vAmLhB7MWUuRC95/pr8aCll63vboFFkCThimgt0Plzh7oT
csXrpspfH8Twaoio8rdbB4PpcEqkQZjxf4MBnEkzACWHSm6HsHAwV9XnrGdBqtc/+K2LecHwhNm9
nP7gm57843TKm6OASZQD6+dF6HFoaBDZXfegZvwT4dwcqzczehM/dFtoHIQaEBuprswbW1YsXm5+
xttUosGVMMDGrOet82GbkgGrsKOb3ab0FUfyt5MqRBUHZoGrGoOtgJuNJwwwHm3JeRzImTdZxtPn
RqzqQ/O2pIKEP1//D9P/UrYoGqVeS87iM04kHmw+yVo/Ji9HfE7ywMm9lyUimXA3/9ZiYmotgHO3
N1cRriO4tFkUHdpX9irmBWIFgzNTPvgiDzCYwfzqpmh4/URzh97L2Iz/2EZ9Blem1m7SO//C5/G+
fB/JyKDChoNnWhKjDh3zndA8wP/IF/9V00fwS5/xJeYG5GzBOj+MXnsNITWwGr+4ixVySDB2sVZE
Khkv+0xkZA8N4CWJEwlriFkFQ6s89Cn0dPskhuuvPYkn8zbJwyFx2V+DhPvJyyqcFvawtHsLPNGh
YrdWiriQSFcK2nSuUgaXSfXfRzwBNdJ3oGD14TbtliAq8HChFGvxbU4DFM/bPbmsaZkG7sZMrawz
90KOS4yLAfXyvnZ/wQVikJTJ+TaudrcpxJbNuwS+KeAynuGQNdauHB4sD2fU+UuuFSwHf/tysFS4
qJkR+JageIcLpHRSKIV8GS6T65b2Yf/xMQbLNvpM2Azav+2hDwEfyOfX2HjP+zxTF2a8y7xZZ7PX
TrPFrZSd1M0LKMFBtRd18N54XQZo9uojFjIk27z85b5nfscs8QQTz97e93wL5cl9f8NwQqDwN77y
Qa8IGQ+HC35GXs7TBbyJtZoJ6etSJMvaMzTyg0psB0GMUbYbElEwjOiQGtVe+yF4SHjqAA9pXBGy
jfeicpkX4t+0opOYc2YvczrgqEPfhlN1WYd3HHUFQIoYE7BHI43gqYGiQc/TuJBx9Qsvi0X+lS9T
xY64Bi72zhQGXeyW5k4cIM89ww+6VfuFXTLNgkHHb47oMqK0ly4BSMgM2nyEOx5mxhLrVRU1PDJk
GQB0iEGmtMnDgikC8fHH/q5lQgPsYahDXqCf38EQ3IFZZo4CsE5F0dM7SMWSIvvYxf1VHwTlCnT4
A2TpBIuCyuJjN4bskXBMz8kjvES1wdI3mPaOnwf6GiQ/R57OKEteJ7ayS8qXA6CKmJTDrmfS2L4h
Rs/ACo1a5IdCk3F6poFnbBd3RiU0FaBeJJ8K+ypDt5GRjBp+nTNBE05trWGRC70lTAPXRkSiffI9
Ec82o+uDC4E0dahJMLyYDcQbLVAf+Fr0W0FpY7sWQDbLCmsEIin2nB4gR8piz7PY4/mHbe/Mu/+m
lLqKfumLDK3b+WO/+X1vEEa4CnUxFsNI0yzGg3f9K+PB8j29+woieeDUSDU5oBB0Dc2xdz+RBhNc
zMdC9WQPQtEnLXxNyDeWvwzkhqhI74/fCd2yYN6EDzyHQIpHVMsXwIE3Dsliedu9QjpemuCWohke
4r9/rIvzZ/2QjS4F42jW7ZnD7OnBbNeyUPZQxPcO6zUS4hsD0KEDL3wxaQoGpInfHllhKdOKlR/v
0Te5LvkiagEq4XofGvIQFviRSMQBBBXgEqssil9ELeGV2L6bMTTlNbg0fGvNw8MwVzncKSaaWrRH
VzhEKBTIGX5ITqWtoYZXjI3/OX95ZBFrEA/WJRRErB4kv/Gpf04eksANkgdCsE+Yj418dvf6Ts+9
e2jrrMsKbGcPuud1R4gZijA6AcyQ7TOBagUu+xEDy6NCIwXT2Y8bQLycLKaol2pjnPadh7cFUWNh
D0ckxeBpxz5bwjw1GcH8Vw5Gf+ipU7Dd/9B65t2Wv4S61Gkd9KaQMoTgOHBmei/sZBLnER7SchoP
FsJQreK8IF5uIgWwbJz+mf+MkfK+Abhu1nMDlwiPJ+Iph38DX2OvhPgk1MBdtckNulCQGW/3Cuzc
xMWRNqqCMcHF4GlWk9diPH2uevPh5iHbIwozPTl5evdZw58jJ88mzIyclpkW9jcia1PoSXYaqrwR
pPU7hh7YfZ2bvdN41EWWJp/HBc8BE+pMzFdwoCA89GaR3cyPxU+vmmlFiwrUoZ9ylgXZBDWt1TPL
FUvW+RU+5l+TK51PBpmFRwbWH3sKS92pXKmmGt4+uuxlE9kjDxMQM36R7KPLKbD/ppsOyeQHyEa8
ZIw9RO8f2A2Ijzm/JUcaa8fYXTxDYhksCBxBwFkZzxWC6C81siYTqttH5LQUBCxwqztAxo0jgqXx
BRob9ublSntZWiSoKV5ptPk9OtDgrUjANiqcewvtZjQpTE7Z2D8GnBddK4aAU3jd9/WGJXmYsH/U
xgWFVj0bc2Ju9ZaGt9ySH6a0pdMQwBszBGlPNF46RZ9Qk5gL5IqSk6mfn/YSf+GLybV8f6iCM8Dd
VaBr/fq0oHGl/8InTp77TEIFQLRhmKlYgXWJV4syjIBPZ3ziuGSGzy2Fhp/CpLvIFCSw3i7Gig6G
Q+JLTfHcDjP4m79vmS2z1Y/DVoWPwuDuEa3NuPbiORByJBJ9Dopde5ycLInoeSvAj9J7kzJDXZFs
rYj9m6JGZbLh6s9mn0jlTlH03LmdxpYAugfLL4Yg3mYT3qMk1A3yehxeF2hmiZpAcsAqxjJ782gH
gAJmzYL6comQJP35424B/8iGbmdK/AxRljCUzoU160p68RY0+O97YiyeKTMlKveXFGg5fkNuCSq0
W48caubdnHlDJvtf4FsaUJu+3jo9TFp4iDldu82L5/G5I0br+bDe0WP6Y2onWGsNHXaf/3YEAuWR
4mSklTTu1fgcVPNxKmwlUDiXItV7YN6FA5jAJlcyBCjycMIoZ1/FHE/VY68howQSqTgU8fWvDsZQ
SycABca5Sfen6Wi3f0JrR5hq2jsWe+4rnsyxx3nc82h/YVHgkSQef2tPueuA5ajuBSRVD6W17kcs
V2w9NgwQk81wyvDuPTm3EXqMN3ksuMwt1xOXVM4H/XOqtRS9Yc6gpYB8gbJUU5o9nHf6Qf/IcGI9
wi/sB0sdZy+nSWde1p8IRwkXhjYD/5v8nCO3bjg+Dhv9QzbNtON6Ucm+VD4O1xcg/QjIpj2TuWG8
mUKjdpnPJVtdSnbhbdO8EjqqQxXx/NL7pKzHfj1F0ohiG2RcLPMsDAdmCDL9mHbw6n2T1yxf17xt
Zh9AvUAxIi7+HxlyuviV0WSjcacBbcHAHINC8rvdrWp2szNymXjwkWq2ET9t1eglGFeEfnzSd8Vs
Ij4GAlkTcoHJ7Yqi62m4+SHIiCu74SoFTeOYtchATUdW6ZJWQjkrOKr9HegaCqrF8CSxHmEO+8Gb
VYC8b+4MaALrG3wDiRoSLrcixTzBkcm/Q+MTWDkC4jIW7pPCFpKn8QZvIMy9zC9ToNx8iZ4qLxH+
oU+4zNmvmK//s7Pv5Qdw+xb3UPpv17/w41d/6PbbxdMmHePp5H9XIjadkXdglXTZoyaXFGLRHEwE
7MaGYDbpC91Ab0KnI4uaxjs7CuRT+zSeACosVEiRZGPsJkOuRhmO/DsrbFiNz9/r1Oz/N1RoYLtk
zJ5H7hOdHec1YzwuIRQJ6lLAJjz9Ri8lVrEyVUyAFRrkZ9ouJcjN9x6lccMnUU2+8C5X6xfIG3nz
cKIG2N1kRITEYndDcXRHqYm6meGZC6Qz2c5/+iYXCRwC7hVnt9CShpdwc7UsBZ0Ggx06DSooFjSh
chtyXD/cjRBXvtlZneKA+n+O5Rh6GTQ/Vjf8vR7Ss2TMrEHecrBdQh9DePzAmbMJB0a6GSEMzAIJ
ZAIm9rvg62X4ttARGcN4uCY1Lmms4YEocC3JmPeTz7riIxkuXBpuZ6Nz3ximL/P8SZ7p4/T6awLc
nTBn5BpEtAascbCtros1ZdreCwFkyOExnPulmQm4T0V3cLfKPcdhte7PSqsM7tQ76nyUMJJUubLZ
co5AaQB88P0kV7ZM63AhoPQjZgMeqNYSpVqK3X8iJhggWQK0gv32kG37yDaGyduEN17AiNk9GsvA
hb77/I/UyOBGma7Dw8vhCz5FWWJMbjETHc9YQ2o8SVRcFE51foMDA6d7Pe/ubxo2Jc3+8t/5BAfl
sGVKkIJ3+phcT9f/jbCcTz2kSUrEnctZ8ly9VKvYf9Vwuw2kmULWLPrLj/44tBteOyxH2QkeeTyF
ernwOJ9wgyCHL+c1y7ZXD2cU5TJwXAPJBg4A5mN2tQYyfCsKSHRhQm0kGChhwiQzOAVLBFzi7fob
cRncnd07bDx8m0xqPeCLNso3TYwIjAWPq5eVh91LXbU04uo98TaLB9RondYan/nwEeIMPEW4SwUB
q1JK1uD6AOhDPYo9iG16REXXFsHFg68buYDKgHmGaZ9d3TNR5548R2KXKMR8PvXRWftrUfLDra7z
TRFnC4njO5KIEaxwqVgXDm42gf4fGesMOcFoVhFZwu8i0EYBnH7sy26wvk5leJHC7+adFA5TkjgB
M2G/r0ajUppq90eo91CXtQ46dgiyJqj3jxMq9K8zAoZxmD/Qzt0XH0cymdtBkV4+e88GHfNjAVIP
xsM1jUi7DCUO7avLHgu1a2d+jReVARkQ2c0mEtgCVAtQb9rLqSbktenDDaUs8dDTRu2/z5fd+8OR
eqO67BqqaO+xXfQRbMWSU2WmdJb8IX0FW+cT1tYgfS7JCvotCSZMK7ubfn924z+HNArtfzMI67Cc
M1pQzLEudz+r5tRWw3Eo3A+AcwhqGwQ3gRxbLgDEsW9CMo/xsApnNFsWO8gg5djDgWQgkLQMI3ED
9s4HzAxotTLDroIBFh/5f5NGSqv5qtHPsGNnddPomD/ZVNArNf6yrwpvWfJw0nRwwgtH8yJPADO7
rrGwueMN1riQFld2Kz2Rj5iPUEZSBG1nPVuePwmql80j7vAC717rRBHELi6a/94phL1syhkWh9PY
mM3a0pjNFUuBPDKJgHDn89wi9yInit3Z9k168JoAeaOBRuGtuVwV+ucOy4VUX9PLz4SRL1zJydRR
PCLpPWxrePtlRMIvLGM5ED5BEbmZ+ld0eIb/+ktx3xhAXuF/p50C77/MgmhTLYUlbTwRYKXhl/Ft
7ScYPda1ZeK+0oWTjaZHNOTCoJ0GyaSLA9M0MLORIxAC/qJCvM2LOd4+cD8cccYHF1gqoa/m4nfd
gWea6Wi1yII6QzuouSlTkZmQCTC5TnE7muvjsd7qRrDsuViNv8ghpkJEE/S4eaa91km4AzJJqChO
AzwUwtPJlxsEE1U310sXJ7tEzx+fCXxlDhKN0TxIDH+32zS8N4hcgO0V/CyowBbnn/4Vbozd4ilQ
Ek2/bC4HLta3voD2IEMDw0S0c8VPR5ikY6IYDlyDU9jCz4ARD5++G2DdrcBXqdi0vhhst/piuNuJ
gbop3e/QbpBaRgthIgfISo6Aiwehcz9DTCaoP/jjfSFsHzG+sDim7ljjocWLYAID4JFHGeJy6xtI
xrCmvcyl5LB/I5ZGMnQ1lsI3nXdhATgGL479Hg+Z6lBiVNyNwyrcpg99RaCI+rS4CIwGnby1QhHP
q07Y1PxFOgwyYx+/11UNIkxHDMpk7y2EV1+IKTRwBxQ1oRaPdJaLi+aExKivNy+dT5ld2kV99uRX
SO5OksLK0mY6Iz9kPEUf4kJVeVnUwZwZoA/8bCBntV7wwfDiWSl5ZPqZHxuSOdIkAWqHUg/gcXyW
fcjGxcPdpanr0vQ5O/P7v3ZPdJ7HaqmRsybSTp1BoJ/UCLqyp68Y1yLXcBUJOyY/FuwZ2RgNPCqx
CCJ1ouWhQUuNSJuEFGYNgjnu+yvaQ/63jhXRtvQvy1u8XWFijR5RRDADarjUjxjwsKOOJyvekw1P
/y7KZhZzS5ok/ZmZCGhKX4i3kKwGNv6Uxl06iSZ8gySl+ISnGiZfeuYxz+tLXOU1eBLyVH25ZlPx
JmRaHI8PA+M3vZZaMuD8Anwg9rf2xsc7D8pjccaM+5bQ5Lh4pvCwo59DhAuaqw80vp4dmoD09ce5
bjR7ZvY4JUwirJAUP3B18pD6LpAd/6owOZYrzq5c093zO1VurCpnvizON0LgmoSHXE0zlIl0H9nr
j50ESTWJIgyi+Xyl0GTsd32E9K0R4uVFFcjY7C+eKZYAnoenaVjhi6gCiyyHiAQV4a8ltfO6DCPt
YPHjfFDgGQwgLTFgdA49n4TwzMjeIc9nQaHLyNQdixAYN9IdLRTniIVLlB9eTLDyNBl7riHx4oIj
WKineQNFZNlK6LWm00o/URVBgMf/tCm4Uu/dkB5DkRVkC095ExuWiEiDkSG7kmilmZ6HQPbvMSNT
6BMcSIKtwkuKbSAKddJ0ejSOU4VCITjE8f4RbCmjbBsTKTqFii4Trk5sgmy9m+kIn6f9QeIeiuZS
BCqfWcUZ3y9dHnSaVoaJiJPpy9QCRHcUyEQR3/1uaJMbMf7YP0THEUb3rCCM1hshSbYFZPOhFu1r
ZMQC4rcai7+GalEA7Is5BGU+jne1DXvEeFjqKnvssZg3HySpqHiunZFFnzPkTtyRU7HFT0DSgUtX
DcUPnwDmCT38xfii/6hDwlR3DZe6sDGKmxQznQXm2cMopwFz6BSVslQk31m7Y8++oBeMqp+uXMyp
0LcOZjfRZEUti4R4CB4czT/xuihc7mdAgprDD8sa+T/8qk/zjfzxJoTXSU6qGFw/bvos6DgCPsa3
i394Pw6k73EMD2kh3VGgYg5BC+h997n8UoIc74E8u02++AADSnAqYl17pHbeA8F2MDND8woyCCxh
ckMTMWuA4zZbEMtCp7YeiS9BwRpk/50MQaNLRuYP4/B0SAwRMQkryj43Ocy7+0WN3K5oQrOztCVM
ui/yMynK7BkQZKEoTBlCmp9Q26OZyKLcK9YPwo97yz6KZF4z6ZjhRY++y8cMFLpH9AZKmnzObfXr
EUgLSzQgzwUxXHC3iUI8/yyZ1gYV7BLMGhkfImqL0hA4FMPUKFNP2JQMOtCutkbmFCUbwLTUC2zG
0TCqEBF5NyKbO2taGDdo/HugpDh0oHBiuJfG47EifoxBH/7Oqe0NpMvIuOIDsKP7EmUGUeu3kzYd
iHzWVwAT3g8U13kgPdApSXUrF1cPpBAtx/9dQXTxsEFAIoeL0mXESckptf/LPASZiTHLQ6XI3saI
bkQjV0MaeeE6EopOXGtBQ4RASGNWCpLCkMfouHgH8pwJcf37GcpfbaTRDYcoryNACT8r8cHshf9V
tyhkpxV0M2+Th7ilYg4Kmw3fOc+P0CiIBVGQITf0tg+QqWnxMFYCxy/hRGVvuyOMcYY88YB3ZvEU
HqpmehOJL8JEA4Ni3f2dU7kjNtKv0Ut2Nw/RAfDG1+KemEDePVwUEblJydsH3Jo/z17jR0qIpN0A
5IZUPr3nOAH+nlhCIUgVaGnPv83pjNW7PewxigvRKKqKOCgqhOIDy5dXI3iRghL3lVi8pZ855heC
/8brKdRT0bSbleaK58AYekAlRyFoxf4wUc3b1XDxeolZT3ycEtUoQ/85FTECFVpSZHfbv+U1uhRU
qHz0oxwvuQj/tBWicrcAU6t1ToqBz+a9wgps5YBdxClgcfg5wu+jOT2O0x8JtPxdPvZA/uEPSxki
EEiYp7WdPJfvpWQUgC/LjrppqJ61ZpyHxhWmpQmwKGLKgQNCTfGaiKel3zcqHrBzeS6tI7ocawOz
iY5QBLdcMK3iJp32+Qn4L10n55D7W50UcCpom6Nizyf/sqjFwG8GtHZHwwbZaPXwbF6TUYTVrF3n
y8YaGc1iaKsEZQLviTz5clnzzGKdshBmCGEXkBrPxE6A3ULM8CYJpzehrRdgHWzShrmfsB3xMwiW
V/17RQxZqHY+8LWVbZAi92VuJFHSAh6toM5rN+cLYaUbbu5OEbSYBXCqY9O8o8Dj0DQ4mlFPBDlW
ltnAuS77xM0sseeBAzPNY84Te0naQ+91s8G4yRohdBPhCSp3/gNv0FwbADBh32F3OQ+MZyiYSzVh
L04+fFR0Jmvi5yUZqp0y1PbmLUPG/pnZfoid63esdn23PnQFfwXIGNNoWKLp4aS974Sei14iV4mG
G1Ys8OZ4yzgwQIXucjssBonQN0HQrTKeAgxFpso0009ovSVW0o+LneRcaetEIHgBNspXCHYyB82c
l1kkHtZYwqE0GReRjjkqJezDBAsF6iZUsYXHbVmjHHyij+IJh5GGV3C+LDdWt0HEZSmJ4gChMPDS
CkaOQV/wEBmg+ph/gLeEx00J0B3izlFQ5DuUrhE3gq65WmToHTDtwVOrqCF6ruS/dxWhYABF+AfR
YrmjyXn32Elmd/6eBXz9YFwEXOJBxvhV7/n/OC9uND9ixkoZ2ycKNNGFDuk+Gk/IOBwKvCD3WDiX
+rNuOloofzK9v85oITl5JBOy6xEoL9vtx+ytB4rxON4/5j2z5HWxqxBhMsrcbUCmcdqN/cGxF95P
T1Oh9EXAUVbPv/pNwBcxYpUNnvjkszkFPjFbcne87eUNdLfDriIUAkgG/Muh26RDlPHsn9N3oM0Q
VrkKVwdRGVc3E5bJgiv4vR+cYYD4aF9o0ITSG2IC7RxalacxbIG5n+B2IXbtYPUDDceEkvCUUant
jWzWEBAI+xN+iNcsfBpeiPnEJQGvdwIs18gW0su5tKLZDjRU4IZaq7O323evF/ex0x3unoID5I5U
MtDe+nLJVRgUTANjTnXhe77aBdhVP0ZwEtAVzLTWOAQ587IYDDG08Sm76zoPXukt+aaP4yWoEzKj
h1z/L7NxuvC5+yDJX7eHmjWemNRw5Eh/KJKRWaNRi5d3p1J01tE8Vaft5rJXvQLpoTDkAPWhpe9N
tZkgDiTaPGqnSBr8CftBQJU1qXBt2s2LaLBu11WooM58O5c/7uIB7aI90dZLEaPTmi8mxNnHu5C3
iw2pD1cxQDNm1aJCoKKFBOkreFTwJfqQ7GdrTDo5zWjjA/pGoUgaRyWSfgCkBASxO+SgsXn4WrMU
KH8Aaiit+4AhbZx5FXk16++apaMx+9iE4HKBStpjOXvwPE/LgfNsTCRFEhRyVPS9fKl87CeC8Rft
gdUGwHeQ3mVDwivF9jPuLzPFQn4v/XF4lT+3fbu8ig95oJuvw4BVZAyON+wP9QoImMbTFRsFG1eH
rBUOEU0Z992c7LcHqh/MIUpwe7nSnuAqJqYFSsbSAm/KECLdWS7WIwJ51S0gCREFxA5w4uZpp+ja
vgSzOGGrCYZj43H60hXhlW4Xb1uggGIPwfr5ej+VAHcK5tknDBWZIsDP1gSTusTq9Doy7slrAsuy
qhD/lzgX+V5RB3OOLC4x8jBOkXpsDnMTfA5U8r1HRUWGh2Z1cRa+rlbOinVBakA5OL8i/yIX0mD6
QLkhdMZDlF/HyuFr8X5gQ/xCUAgfRCpYrFMgUGx/DwvlOdJrdBsQdVHKybbGUUAdRax6qvcxv2t6
xvm14IyPI5A+GLNf0qxK/8l0fffv8HNDa8Bj4SOkp5+TCruP3TESMnLwT6qWQhAytTlfGwV9T7U4
zoLX4ee/C5NiZcIV9AFgP6g719Li4TwJCYKtEsLciiQDEPqGswCBGRER3G284pDOk8/ixsbMMxq1
XDKCHRbyZ9A5fCEkf/kab9EDKrtOv9GIU2feoqJEAnbCUKRq5quieMkZ7LSAlQZGriRElK40vEZe
JnsDCkWmKt8WkR992prliKjdEeKsDnvZD+jyMh0XlhZn3Ms/G3kbVW0aKa1jY7Cj2+Hldzu8Veg+
eDRjGeJjPBkjledN5uR6xlz/irR/8TfzSfLanPtjr6QOB6IFYRbgAhW3CKLx/WjURWxdWrSc1t+m
iCGk9Uc1++ts9xtjCZTW+RTHxEs0/7gdVuXT9SRvvrheprVPx43V5eYTq7I/jhVHuZuA2wqYX6lX
3JiwiGi7AHsm4l3c4wtxm/TqimACPnUh1VmNUf7DULjyG/Yc8gojuYyFD8vbaK+gizXLKQLD7fru
QgCZ5LHdZyX5AwhJEe9MkFOwrt3WD+oawt65QWjw4rJ9uwyNv1m3ySZaxFUKtq7zLj2cwQbl6UUy
xfKGrAv8g8pPT8yt0gqoE54UkAGpnQmZiy6GYaYXNkl7MWtOelB+i8AIltzNG+WgDy+9XfNxDnOD
26ETHyhGBCTOPFMQBmVA6MOaXMOzijb5nkAteeBOmOsotd2ehcOIbwkRQPjzt45q18kLSyE+357d
Tjk3bVrSaenRCdVoqRj/7xXiD3maU0b9ZUvO6Je6ddrugL4GqLF5JnFaQHlT306JUIvG8WWi2nBF
aEpD0LwaoJfkBI5FMQJAokk/ZPKKB5jGqCS6RWVpC3vHx0Monj/MQdimciiBvbAkrmv0lZlFaPYS
96U/spSHW/8g0YbT+wTyCWVyjxOuStoFeP0R3zDG224KLE8ZCD7Oa0DzIMdH2GJbEaD1gKpms973
V0qApoFlqSP3qEPxkCh7vjG7tTURPar1XTTz+mgTv/ghSNE5d4fu0HAmF+Kv5nadjpfP+I7ILqPx
urEuD3O0k23IqhrtEyGlrUklxapxvr1J8TauLFOZQWvIrbA4ufHhSFf3FmHB+RpDG5aZZQBmk7Wp
5mDFYk/DO11ktT00BWCuWlVjNOAvFXOJSJJ5ouwG1mtB9Tz+8xuAO49ecvQb+kMY8J7LM/VTJkNU
oBBBbwcBzCjijMn5Ovlq8XMNdgwKHTrXfKoCjDXzLe3llOsJKle+WkUnUiOuJ/gkpPocvORMqh/3
EQKNCWIGoQv+lm1hA0zcRwaa4IKHV+Fz1oKOnJ3WGSEG6pApowr+zTF2WCPmRsYMymfs0RzbE6ZG
NijM1Bv2phIHbIpM0JKEPgj0brbA0wdk4UarezD4yz1EaFjw+FrNy46EGMIc/S2N8LPHToxa6C5m
VwdI4oPWt0c9b0lTYhU9N49EcPHP+cj+wcJr+EBJ4oNVdAdJE49ISkClvWWdF5rCHuQwsu+eODRk
q/PbGdnxyRdh442ZmjRKxLLPHQmfYK7sqaAx/Xn1153aP8W9CxfM1cdjh8cDNouNgv/HUtILz8hY
fSEWbCdF2km8qUI/OGIZxHTBFoWSIWL5J0pZKP7EMwz/eIRML7EiFOh3L9Nm/bUY/zF8qRaGEbJ1
hCQVMi0V/8h2hiZ2iBoE6RJ6Bi5ZpvOQh4wxA7sDXyEgTh2PxVFrD2Yk//tjZMII/jZZ0MTYYDy2
QjDuz4n9mpMLS9xcUYzyODz/4O/Q5tx9cQQterRXcn5Kqr5o7HGST98bWcYxPfTuxu4e4efOrWea
/DAlsza/5zQIIrK8uxB20DSYg5aDBZo8ZJa4KkNl303gVvHwV5ObXXMgCDI4s1ha+I8Nik2iZqxP
VEyf3jYmqgWZN0O0z3RLcpMQZ+7g6SbfRfY1+YOV4Nr7+2uCeh+3kTPikaKcnFMWa36M4EoYWNVd
vrmhBPCziLAGw8NCVkD8kB8E+MBjShaUP84NLsY7enEATvfGiNrslQD8iEBlHKei/kgkLsE7HVXv
ekLsBiCnEj5FmRrfEaIAghr7BEImNyBhtDGGoFCR4vZA2WWHqbfVr+knkFIMQcjS3/o2uFoftIkv
EaS1ASlgDzabA8XdiPrfm3ZB9FH/d9xaHA/0UzEOiiHucypSki+kPUKtH5rH3Ea0+po84w/tVQ4A
1e3v+TTk1U+z3qcW0T2iQNCk/e3EAt5gfMD+8cGaogS/EsYyO4k/js6pNGqsfujzVjzA4ReH9huA
XUAHUlLTnlNQj2GoK4nM0T/GJo53ogDZG6E28dHe0bej2xp9bYFp6DmrBD6AU9Ln3ZNweKqYfd8u
8avrgam6xUnkwiozfNUaBsOveeNcbM4Sh+QAS/ht2U+Cnv3c8xgPzGIl4qJehzzFyLNHLYet9EQa
2ZoZDMMCgxmc5MXMhbNUhg+/J8INpDIJWKPOxnRi5IxgULKBskeS45GHIE6VQwkJAFauGpHiFgei
pmLJJXGVCrcuYhcCr9krIA/unSMLVQe3KvJA/k7+S0NY6wv+WedWGMDDb2QN6OEWt5jzHMRr9ToJ
z40uf6w8MyQaQ7Go7GtuSqwBPoMeQEDEx4McVIg0h4sWcKCZlylhEYw9kPPqhjEtwpIyY2FBOCg8
hohiTVzZeD5AoACM+rzlDMsiwwGNAdroEfnvGcwUM3L0hP0/3iyYYoRLOfhvvta44ViLkfnua1/7
eyXqETkfgp4f9AxV7Dm7LKuIcE4jPfHbHWA2XKPKvT4OkzfAI0IGWE/e2Mi/oZvE8QKNQe0cD/0I
vTkWSwewkz5k9m9jSxDHDvO7+zyViwwOVaRoDRbN/G1/CSmrXUi7Q8+aCkXl17gsbs6qnCuobRAA
HM5HIuTmf2RFBiTRcTtcTBHHkEcjn9HWrzzJQjFKLgaaF4YE0pcwm0pu0t9CMG4D9oxqkk16wZco
Qtj+8fluSbS9Dni6rI5FHv1rYW942RkrJnLSPyhzhIY9HMjAoojiK3R7uSExQ2NZ23C/0Lp2LEIS
jITgZZI5HC0XvohsL45kdBF8R/2V8M9dl+MJcf0sVD3iutEE2NL84coONpw5TMcKz35Qpt2feOtQ
TZEJNiZZEjM3xa78grhRsaThMmWQp1l9XqxyNLYyYOpVX+2EO/w6IS+CUBrR0GzxNMgEHmqBiO65
oU172lsip0arNubNuaJJIBoMf53Q9xDwsoBdN5DgLFvOpG+kEHVKQBl6iBTvyn/IlzJ2UjWMR3Kx
R8hwsXqqCyR77p2kHgctZDpe1vs3Ox0ektllr30MLeodxyGqUJDj0r6KPltjxBEsgoIHwFt4xKE3
KGx98aP2V0iZwXbeVklIU8fU0hiPAz42PXclPPUodZy7Lz+MAaw3udecsbMnGx7vIDK0PLxgzMZF
Q4MeSQXcbX0UW5kloeJkCbTZwHUoTg/4j9VwsWPDnTBugCLTpcibf0QYn9yFuiifiXLN1ixJCfmu
+pYqgkzGcT77zhX/xhkw3/JwMRKg0sTN7b0xVLUTqWcw2b8S1GNo/4mKAZTyFHbj3LpPL9FtWQBm
5LHc6rfDixCOIt6CnA6J0By79XLIhM2RYy6fULwjrh6U/9ZvPkZUM5jAdpehjKWgAVIrQ8hW43t6
2gBzeBDRiHf46oSCNwPCIQrptnxbLu4Bm89B5D7ig5mOiPgGr2RMWxb8jfyRGiRJBPPnqzwFLAWt
yv7YFvzSU52ceoss6AdMHujoe+7DQ9jB7W1lYXnmPzCwoikmK+AePrzRuRek3E5QAwR0W/8DnJOK
z6hFf0JyQFIQKAnyjfgDBOiy56nQeyOTpkByTyqHCzzOQMY5rZznz/qgn8IO4L9ndNAE5QQOrzOq
8EvA95EPdjD9gBfTj2PTkgtjFldh7mpOvmPgDgjQZK2prYomvd+UtW9GsGRM2x19pBRimRQavV1i
DkKZ9BdgNbOwUAtFLyoFtknfV2MqecwuIB+dgBMl+QIOss4lj4MyUf7wGCIIkBKgGBCPT+3J1PHh
c3qQ3lUswcHKWZVul4SdkAmjDDc1vV+A3cxCXJCQghhogd3IY2glqpD1hnnohnBJ08couTGqCJSV
r7SjxKh1toD06LP4O7eo4C8ztPFIMRkXHP4elLYu4Xbri6FxIgFTNuRqo4fn1sPLpi+zuQYObgcd
leraGluFvHuB2c6R6fLwcqfegR3Jm4QnEzpBjnGqovguPh2aTIg9s5ohpXE+0zX8n4O06B3LY/wa
1fLLSHTkLuiMH1Q0pQ1Ds2EJVcgZLOAgnC/6xmI6cG+MCOCjY/4m4FKqWgcegNaa3gpkxQxwv3nP
z5E90OXlV6WePomrXjZzMMdv4QMK8Hw75wvzdSkiM6+TJ6LxHY8AQZgXG0F/j01dWlEXRAgcwgEV
lxRDLmuFcMaZjPWgQaw27lhfX+7szmsFmPJhg5Xw0n6YCIlbo+9tKvC6nCTi4YJZtiHoplm29j+W
zmtZdS1Zol9EBE6YV015h4RAhheCBQhvhf/6M2p3R8e9bc7ea4E0Z5mszCx49M9VwxtY7VrA168H
mh32l2+FDyUzkSd9zXW9Df8R0vg9uEgoys/5WFu9SqKbhi8HKN+OL24Z33wYM20SJIQpFHInj9K2
DZaG4yDU1e+oo7F3BCU4KY4VxE/DOs02yfHBKE/DmlXmRh+7b4uzA83LuAJImMHaprBAJfIZa6aG
Jd8W7ypcxqeMLuflyWa/z6QP0jDdpgyYmZzKigkOUNx8oO6E9Y2DQMPuZ9Bl7UPxwH+i/Cj0cdwH
egnWscyNrjm0XqM7T5bTcDBZh23dy315cF5pH6N3+OoHJlQawPyXwkT0oWXHJgl111STrK5iy9WB
Xb+sxNQxE8dU1oJrhE0ChxhFSwwDe8H4D6ta1YFR7hPETPdmrzdvviUgnbOghQdCCObwwEC44bCK
YqSJDId78kDJziyG6XXwiz5/O3RkV6+Fd3H2ySAL/bLzYsnwHY/AwUSzul7T1AS4WD+N/ZjmBuIr
r3B0DdlW4NM0Fz1sSZp0g3bNosbr38s/hGd85yJqC5w3Ibh29XyukwRrE/G/Lr6Dq6/DL9yTDk8x
MYwqDCLjE7tvN/9En3UXnjc0twauay2jDTJys0FooYYzbgIw23pd9+3OzW60McBpStZHrBDtuP7b
vMeQ0RU+ATKaowREZIq5DWlrslebaOsyOmN6pWvWkLoNXssLyZbUdN3qg9MoihwoSV3J8vjNigah
aa5+ow9dN6IUoxk17WvwgfFSiX5FA5H84WCDrcpoGNPAIcUQHR5jSucH2uk245rSdHX3B/GQ/Rpw
GNg9ixvluDyQLqxHBKWZpRxWy0ElOHnBX67dt3ELduYj/sJLx48H4REvf2Pdx/IYB4il5w5uUF67
kGO5M7esh9uOfv4QhgjLNrEAkkSCCqeFsK8+gHGzaB0TBOu+eIC0WSdHpjsbJv+QEfJ9iujBvb1Q
7PIkWP4GYf2y9T/QJFknTqvcoPT2b2hKRQH+G1/9udubzMmur+i3buK1StNtAWR3Nha1M4tyLxOG
KVvwFkNzngcWZQkMWhsH5vubhNWbe04CThXqysi/N2Fqf8OPhQ7YzciIId0YiAruhGOQZ58er+CK
+K2IufpKyqySUlYfZGyl7zIWujpinFvjO9khqp0o/geRRDeeLE9b2tSuP4hE/67ZAd6pbFv6OADM
unw/vP5GLbsuln21X7SoLPMDqxqvJspkxPWajfuuCIQA6i3mPFDRMeBQt6QmOhzE6gYlGb/yCUjZ
dZpoQHr2N1uht4Yl8gcTfH35E5rxe/Tc6d3Jzt07yPXGuK40wWrqYOsT8VjVRwMpMZY0zwndGB+s
Osd0RYC08ufBXAbukdDoXh3Sw8Wlz45bi6+7swQd6Dmmxjsd9Ua8S4DK6/q8xnoDPaRxseKHcwq3
FfNhC8EpsZ2oiUgC8r6C11EyiqCxTF+sNOpRCzRDmnaA4R8LBRvipBDPsQbFABe75Xko2Byq0FfI
39qMWClKpVKjZWCq/7Mu0QDvRgosbLfNIdtimVGyR0gNElZSZ/ViwxfE0muhefXqEa46LmAhjrA/
q79TK1FWfl1M1JhgmDn7LzGaQsjIiILCCa6OUUMJcK7Mdb8xlgA0QZgd6j9x8Tv9K/26yc4fks/v
5FG2AwNHYmzEzdrBHXks+HdUXNvwhMc+0BncDkzoFLIo9duqJYGPn85uBg+ZcYYECKdL8bZA9GnR
4KJjgA8NG9nB33aEkpIK+pQx+zq62d1u4NydeJviZIglj99EvoBEn+L7XW2cg98B0N3430XLwk3Q
IhY3HKHSn93VKQVXbRrs3ZGF4q8F5lyn8iQSxdrRjJ6docZZU0vmR+mLyFUMTIHjgEXRxXTt82SE
04SsVKAjupkDf5M3FxiX05puCORDHO4eCDYQJYKwURwC7q3ko+0hWXzxkzm0gbLnnBhUcSlmiTbK
VxrlN9UVoHo8H29nzRu8kPNGzw8Xdf+7BG+s1z2YiQxStmyL6K9OGhFI8zYUIJMnhQD4qqrONMtP
Z8BUUNb5YoQHDomUhFkSUxqeKC0ZilIAFA4+f8XVoB0RwTBjpa6L79NPiGsqUh98FEko/9g1Ytok
lJIu7PygGY+HFmQBXn0Xjz+kdAt6blgiAVwkNDjAEsYJp+qmL9mI33Zq4TEwFM8KQewQRXaA81nq
ILSZNvKEfQjVmjjjPX0UC7SYd/bNEWm4Dktc0zH1TDBuGos1NbT44IfOKAPd2VBFtVZJDdkCbQ00
DPfDFP7iUIdgRRb/8Jma/NwD3vDav0k6hPpq77LDHXkU/Ymoh/FWdr7mAzA2uVGA3i3+rtrQhAi4
n729+RnRsTDSd8Cz03l6jCg2EvHZeTp9vVvdqK5liMIak2+eaBQX7QWzBFMYS32IaYBtCK+LQbXh
biQYfCXIZTCmMjoBD4dxGb5uo49dp9287T9wUXKZ7DBZuzlvHE5r1oFJr4i4gMke5uhzJDKn0SDH
GcfhogKoPWyuaCv7Asq+xlfMIYXoK7NlDT7Fh65wjnaf92xvp2RsXBNZLQSIiabxaDcxJeflCeRN
PYkTIRaO8dnazWpMzeWRMbDDHg731LgdDejW+Y3hA5OZBtzbIb5K52WaX4gv5B60VlPmZMNSQ8i7
0cNnCM0MAwy+Nr0uGACCg2x7ZrCSvaEFHfA5uoFDkddWp7w1aWEYlcAY+nd4KKmuqwxLcO+do6w0
2lB8stOYjaXJgaJrdE3nJTWuYJst/TzpF5uKgwfyGvNAoTDxzKpzOB8fQOist9ezn9GbSZiN/xpC
nPKNqG/x0PObmPbBhvLbtAVC1t7ilnnHv/k6xodVMTzHW0VpXZwh8QQ05n/c7FtK/cE2nNULcYZm
Pe1u9pqwu4gYyIEkVDE2sl47o3lm3n7BLvmwHOS3tP13Ap9HnAQgMEzb3sXpjI7BXk23YsyMWB+i
zEbfGrnI+UQfdWKiRzQWOyPMyX0AN8b9Qyox4FcAIIDIfkzfjkEqy9WutJF3ekSQZwzian1baJAa
QDdpD6bIuy12JoEMF7/ZbXSCjSSKJ8QERvi2eSM32Cj6CrXAC/M/UEz+9NzuwcV2LoyGTEIsKQay
2QMwS+L6OxvY2O/FyWXEaJ4+B+W4qRUP98B20I7RrM5L1HFWzfwIQYWRwgbBw+FjM8yVm4nRNWjX
X2Qv1yUOEzbtEUf2j6Pl7ldd1diax1IKLgD6rAuLKu6y1azpDbz2+NFgawFWPVSrjODQ5m9LEg5l
EcJxF6Wd2x7XOQzT+GR0KXjnvDlU9TLmbICbfciPnHHk0au6aiHvJA4jVzy7D5aKbwNpYQxaUPI3
hgTZgKo01mhpEev/k5iiXdJfs5rVA4PiYWKE42+pljbx1h9iSLUzPCkmhlKLIFY0ErzksFj9hVf7
OD3off6VADS3OHF3Pb87H+fICO2j70Jxj/xaWrZ1KqBCm7+FiyLHFh72G3YJH5zdGRNytMU4i0WR
TRyQXtZmPKBDhVfmXADIyo1Bd58xHgTFxLWWg8FXE+9M62sfXcacG38f79120hjVP8kHxNHjCy0x
bYhQn1QPS+p4I632t6/8oYPak6nYhMsMdA1O2x3DquQ+bRiFn1k0MlT7h/EFZaztb9Pquoe9cdmb
c/RX6vx36ptggdWPcAgV8k3igP969n8kxLbw8MzBn4ZN4C/5FvS9Oq4kzNKFWowJ1cHtJ1oCoTBu
eEF/vIG/xSgTHwi1m3YZM+BXoh5YxdNGyoYOfgzQmbmdgpqOor5ZIiQDAAPNdYXDhU//AzcYgg9V
A3cecrJIKCc1LmKkLgkAO+uhWGdg4eKGFcLbvlpfEyvi8J8oHiV9K5TxVlsn+OE9gDDx9tAhJO5m
gLaXv4cFoqdj2uHf7C6nsJ/+RlBeMBqiW3j7nXgLI2IqysaX0UdtActIYaxAidQGkde1FCI0xhY9
PkadN/0fuBKsQHXGupoIRN2A2VS6h57ys/c9YxCjo+Mcvp367+0/Zg8UmcL+YHERchKGyTDXWAZe
U1frVJcMALEl2hFS/gG11i2/KhyeOjZ8zAgA6rposLrlZmHmh3BDum1wIWunOhGOw9TBWLhPaOys
6d3c58C1xSG4Ow9fJOW/EH63XkO1oQb/UZO/2E1GR0AAu3oPzLXMgYl1gLXALMbPB3SKD3ufnNrY
Ug0Y2X0A0ZirYfaLEw3C0n+EUIhwIl9memAz1uIsfyuqKpP6gQ9u49qIqi0TdsTqgM2NQH8YLRj4
hEJN2FHqYkptNqTg/WO+g/BtwyYVMYpiHapxBBqQi/UAuHoBmEKcacgsVty0OFAk/B1z9KH9iLZ+
w9tSVZEpIGfjSHm3YMB1KSyffFA4l4ijmSFSIQytAQRrl+qCN8bj3PFEcVCF545Knbfo7WGRmg8C
H5PdMcXWmymWs/f5TXBuoGXgAHgYyRgK0glWWc3JN8DWvVPuZ43gwJ3FzYLZN/6qNmtLjcFSfOyl
ZOHcYG3QGHUj3yhaxUnPhhzeu+1xtiPzlSxeC3Y8o8iIK9JVhaKKzaZ+aLENbhayccrIzoeYYoON
UBsjycT+mEqC8fJsfsKCtHaHdrnbjRHpMG4WXwLE6bJ+8sxbu9vTN+oP8S57oElGtAoFCnTO3MG4
F3v+odHp6Eji8k7IEi/TA1iYP3SvAmYAfBo3HUzI4MLBGLEodphAi0+MHqy18Utfz1lsyfrQ6u2s
2FIpWBMfnpN4xJqGsaBu5hsEr3rAASpZIU262jOBFDkzta1boIwVEVmR+RUovQ6T566oJis4AImj
WODLQtGhOSFru/QWVqmAHBhsp9RAiwhxCRHTdx5WAxUUIUD5/sMoGNwhijl6cx9rzZ2VXLFIhgyW
tIQ9xHi3nDtlNE1Zy0T5oRg1svx7ep+m04HFN6GqpM7FsY8dM2dvGLNXC/G7fKi9ORUvNuR+Hx18
EITwr6rgyZoqD8YTWYIboyIyMZNH9LTriYsEY5cPz3sbQGoy+Yo39jM4aSKchYPu/6yC9a1GcrVT
tiJWK/ZorrCVQc+CsXPqIxkmG3NQrdOOMYyM1KAD/Zgf/GK0kAB7Y9KAhm3v9mJBwoAmcaUG/ekr
cICH94YJx/tbnfH9mxzznsFu8qE5njMK+UX2mK0Y3mnNPhP3A/jBP8OiW4cbH4/HN6TY2Ja5OzzO
upYZDBUCmUvIFsm4tlDjCNASBHXLyINNjHJkCe8+yPsHfRkf7PUysFGCRSLa+iFiaY9gk5uLmqw/
YhvLlP/Aa+ERpt7CNO1eoLPI+AXSUI8YMLYO9ku0b4a0GIzU8QE4M5x55iu4u1/9vOaYyJ4sTaWw
3NmUxX9+j5BOsqQNCSEafeaGZooiin/nQPXZM+0I1pZS0sHf9z4qaNm8ppLhGEWJ/wtlTLi3sBdh
gNJFe24/Z3cW52EBwB4HldK2f9HgwXB1ZWdv4lQnTjsL5wyno4fFcfI230jl7mNgEB8PFIYJ762e
IjdbcYE/xgyIwuc186WZdHREWEhznngpOzu4BfOKGQa3lD1+i9Pka9ziFq5w75FB5dY0Z2FYUDbp
CTt8vfaOFaFUN55jZIB7Xa8oWMedOOwSvHsLMAdmNIQ9Dx5eazHMuDkHKmyvaWe+aDQ7+ioMw65p
tayZL8ZEOv9rmp4J7s42SU9GCiFS2uPbzU76MUfwHlZ1U0/myqnIpdWb7bHRbt2FDzA3tumYcQpD
cfPjk7u08bqvdjGEMklMrfGDxgKwCK0ByxkYcXFtv+wCIc0lFPwYvcpSu9Nqg07dTYcl5hJ26pl0
9S1WgzPMwQXY3JRnU9s5KdvseKBXj0nBG0oJ4FS8cZcm/Px69EBucQCjfaeDoQMFCsA32h2mCAYM
cMin671TjwtLOFwT1mUOBHvjOTEjDcoMWz4alOTWrejYx0Xcm9h5zgbeBTJPVvWyc27VsOiAE79q
GLIKmZh6aOixydHxeHarNzQJEt/Rx0XpBWMHfgba9RP+cc8+PNHap1UhR0FKwjab+fZLL8IMVyjo
oZXjfRDRaeDL/+S4N5eoO6AGgeqUVtSVSbJqQlBG+gxUhgV22DTxxqccockrNGCMQcLS4wsQ5t2A
mUBnS4ZDQTh5ItayV0PK5uo8bf4xLSU9lxWnll3xS6a/xlV62N+arHCLGY8M0RCxYgYwmtq4MdtT
FGCQOQkA7nT3osb2g+tCvZD2ME+gITY3osV/NVhB3wo953m3K/FYZY5gfG0H8jiPBwrBrwq8KbrL
gUKpSnpJoCvxbYTCfFr09dEzmr3N4mVlT5Vt0kFTr1IjGQYrn2muSgw/axLNOaPKk2ZLO/Hx2CNm
MLbiavE+XlNsNOZRdSD5SLCAk8xXTiFHMp3asoPTTxn1DzUjrfB9FAlB4jdtHzlnyLW5ciESAsWU
xdQsQ43rtPra2ugi2+WoXtJD3Fdb6+TdEAres8Gy5e2Av/Z/LKQ3p9M0RSnwdqfMoSnWBYCEaTVu
GJwX/+shO3bAwtPDQzlX/Nu++pQ+lNdCDuKaIRM1Sjao0/5nkaIMyGCceCFIkkGlhZBY9szLbk7W
W+p+di6eBA9CG/io51VbL5W4ZkZ9u1QR64kcQCyWwbJ5DnjImHb4e88gOv7TxbqRwzU2VgPlh/OZ
L1WPwYFInaPJGyIQ5npE9iZ5ZjUmSEiiK+dDQ+SnyLjpTEFUW2ZKUdoGVIwSbEpQVBdHQGfPqpku
8KT02R75XwmRRslGRFwxSGw4d4BL4rAd+A4n/T1Ca4vSOb2v4eM6yHepj2HiRah4QQlhlvkhCx0R
NvuG5EenMhwpf0B/ZBYxcypOGLRl0iepc0UKhJ56x+CVBLAzFMtRuXE8LIo05qpcQVkoig+aA66r
TT0E7o7DsoQE0pIwVo5hsrW1FbufXdDn1zqVzaH48bydZEV6IX6PKP0IH28EcwPVXQbmnWm3KMJY
CTRr7RVJlAXCeMF4Hl8Gl3No2zFrQO/K+7fodGO34x9rBHSXP2jy13Uk1Ior6XdIAQxc5rxnSUBw
Jf6/7ZWMCrKQl+jHHe4KOzJYgs6ma81IEgCpDibp9iG+w+plxtq66quKzz5V5N13bJso7Z3kRvnA
UuyU3TQWFdpugkaZJCBK3cD+3dVy/MhxnJ50uFF7UTJXlJInyAKgRrx5RU3lYQCHeJbZGDM/mQ7b
sNvhs3l1/mS32gvpM1tNeEScolX2TuBBHBUHG5F3/8P/7PhtXiqx8c1RS/yi2EUUuxybJOHKEnKT
4xSz7STFqBCZPgVdbuc9IKRkV4CYkxqpnFj/R3lV8cLZYhQ7CFXYcVcM8Mr9e44YVUHe2nfoSiWX
Ut6OMf6DcjT5WL2vBNiO/irxiCA6sO3Q7QtPFA8C1IYiVuQRn3XKE/zu2I408qqz7WRYFYQdi3GZ
JSewquCwoYVZNbcWh0ZgRIeekKjDRETvLrs8TQodNd5DVIGEFduURAv20jpb4l3K/Z2L1UCpeFCM
5jzy1o1F2z5inYNiF1HXn0aETooZDjS2ux0EIe7G28xcfbyeB0uJtuw/9lArKHIvLhEJW5QoAkek
sa19X3JjTHrYxVexwRkXGuNIiNhiGQ7h3CS2FW2eQ9EOZbn5jni8pdGceVQkOwNDvZQjDi8QGv8v
xmG+GXUx3WsQG9guVMBiJTb2zQztGbUOUayZO46x4v6jQ+D8tvH83ZNnMqO4LXi1Pcg7batva+um
wVQ+Mu3YbneYu1pxHpwdfXyyxzfwNUqFF/Ma+s3DFEqjObz7LHLDELWpltvs6A/RAHJQWG62PPrr
+9+YAUP8Tzl+pnc1qcSp11UU7NT6mq/XcaCfuPtceJaz6mO35ofOjXUngilpstjcmAL8cRyd/dRB
O2qyhTsPzOg5icqmxVp02IzIwP3+uMfeYrnH3wkI7ogmyIxtkp5rL00di5tIDwJ6IkUmo+ngXQ4c
OiZXv570c/7xmP4Y7rqxwFMjIti3mWMsQBHqyaI0AYnGjJUtimJ4vEMOdpOisbrypglNWFzryiwh
zdmufZg21HpN0zuJ3fHBY8+xSRggZuJPjiVEK8XtgfcohhnE/qHVWXfpzxDWL9mRvNvwaccBeYna
4XGwvxSLT709XonjAUp5dmTjmEDjOP/jKJh4122xBSYTL34Yxumj12R2ntwiCs0Ckm7C7wHSZaFo
iu2WPgcRJkqhOScYnNlSzFq6Ji48zXTJy6EMAAucOhXDG2o9fZVx01G/vc3Z3JsdxtbBlwKWSEYg
tUIAMSv0s+SW/1Lh0fSJcdKq8a7oYcllpkev4xD7ivBtjvZ7fcbuMEybCNdPfnyDdo/QFcEjYcZy
imV3469c4Qciqs4wk8/OZQ6hGOqFRuWAHcPvQCP79lcUEiH4bhjW4xnkC99v43Tr75lGIwMLBmlP
gkLkUfU5Gn6Rb54AOYSxeBSweBy6ctkGyMKCg8rkrYp3hXHDgPZ1Q7WUEyOjiNL3TqiFLWmIwGdB
wURu7pI1ObgOiIMRzmbUbllmOBVYcT0hBTM9xiJwcmVQ0pGiUIwqqAgMVLbM+eSD8l8MSuA9u+vZ
e47nyM1ZyUp4Vir3isiUPUKf0aeApkRdxb++tg9HDQSBAsRrUyfMiwUDMZ5COl08A488Ib+Bd/IV
1DAB7QVrhqK9glLHCWM2Bsb0YS9DmttvbnKwdXrwuMGW0griLKZBVPO9QBtDn8SLeK8x4qFt50TC
34PrqKfdNnUw41IN/gfMCR/3DMW7mM59vgLmJnQidw5LQmSjJoPI79PEUPyX+a2AlnUCV2P5g3ky
RxfdB/owkorIx5FkpcznyalEXBY6RiXvPSwybpOR9IOEg5JScSdOSlv5GQd2RN/SYzkpVZi49eyn
lUOn7a8GNZWCobDpLbm1dI5SZxZYplKB+cq5ECnlYyKSot02Q3DakAFQ5vzrB6E8+9RaymM0jwNI
f5ojEdgPaebLblQlzzxZtUok6VX16OrVChUaB1dK0/26oschaqno5tLD5CS/RfR1p6r6cjOJVhWj
RM4r5b+huWQe+b5PHTHGgJ3uLpkFCVuStlikqWooT4biyAZmTCwb6xZ8ndZsj827I4Q6yHaCKZ5Z
sUk8eDoOfNHf+ldFJodBErg5nGxZmqDYeH/MIFd40WZUO0c2/XjXiEDCI0D3WYGKPLH0rPMk3ZMM
cNtlmZ8prjrc51qfyV2/6H+zvdsw3qjr9kkrfZL6MbnQn38Uq2yGSh2VRyUHjwe6xaiHwq6tinCX
ZeF2QnCgOGV1PW8Jc6oWdZxGPPhMQbcX1P3IHbx+xfYXHfJOcM3M21IvCUIRZ1symsWX+fdpxTMG
EoZJN5vSHqQpaXjZsE1a/PRxMLE2YOeGnPSEcV3z751iAjz4WlemQJBA2KjTVntnszfIJo2NPo53
AUwIhe+0UaUyp+L/8SsjVk+C8PBrp555XlCB82foDqETxXgaUuHwHtmcx7Iy7FPEJhi+HJS6OPuV
tAy0JyPxSjIh1XQHbtm1aNnpPHSDP4fUkgM/41oyCDQeKOAD5MrgYbJOPOVEVheapC9gpKJ8p5n+
UGsy+3KggSU+SvTVhn+nxSn6/JwrXmhQ+I6BBnPpRStsQiFEp2QcLCcCV0Mczgl8G/ioqddZ6hf8
U9Kvn0Ci9IsXBLaPhdmSn7HZKRlO/r1Uzw+BuHeqKPpEHatNO4zTLHW5voPYcCeGdfnPFwOKyAKE
70eNhb2JPu1JiBdxqNRk+vOKvkP8GVlzheMUEWLEC2chGYrZHioMdDjY2IgJFO5kPJunv6Lk1Vb9
SQci6P7IOJKNhfqzKm5VoxV0xfNIS1Euw4hVW+HFU31hNxsPniuZaoMHt+jT8YsxD1dvjuUDn4T1
Z42Y8jXTUrrnyz5/wsOwGp+I4N4Y3d0BI7M3GeoYFHAjyOvgWVedHl3hjJNo9Hw7mcISbvCc30J0
d1AkJHvb8dlPhfphwz8cyrVnw9A/dM+hVWUxaSpnkB5u7k+vNSY8clqcd/7VvTbghA34ybo92CRg
RbMOT21rvtCq609qmS/0kapvrDZAwF/+G0ZbeMgSdw9Ng8ryuL6vaw4KuQg1lEerWCWUczS8vHgS
M75SdsWiCep4yJNwqGB0Av/s0pSeWV7P+y+lwo+2NR2xbE/lJxO0B5Cjt2MvSp1+DLPxY3uOf/Kl
X5RZgNTMJFsm77r2z82IGMoTw6eIN2RwjGY3OFoAbMaUTcKlkhRazcfGh1LyqepB3tlGhOMfQ+cr
BF/6ME8yfcLXY95dNXCHrLQL4Oce31AYQaClfbQ4fBlAvaSmIoXLnjgMjtaAZA2IRJ+AkWNxcCwg
92UYbpxZqBHcvb4+g0tNAUIDKIhxRu4AmQsNQFdtAiDfGRUg8xfuDMoE08KBySHQfv3W6jXUf9gv
Ku7EqxBuxnXJ1w/Dhv4XFkZt+l+7OfMRCEMBTf4BDPgDf/lBsratY42ss/HJ73+3KYp0tkcyV3p7
WsfsotxOOtCRh/Yb6+l91QlpvFiwCzUCirtM8qV7SN9udF8AVwU/bDHhVEMlqZbzu9eZXRg4snK1
YKfCpFdToVGIULWkbMz5wfANIbV0ATiv4wEgvHF0GHYjYvt4jyOxg/IcG7bN0lNndqoWi5v1WAOf
FXzTAJpuizkyxXi9gX7WUmo6rbCQYuCgoohtKwQ+Lr1ERKpQmx9GqI5uDLAWnWzvI0YBKYUHXrBf
cjaqKf43Js+BDr8BfIvinkeW+FrMxd5gsUydupcigJIz/eBei4TtN3u3TcAMkOMfhCe9/JAEjhn2
ufBm4jVtxdZwWR3gTYCvxwwYqHTomSTykxhV8DhSEJNd72r6hP8FrP90wIQ5G6BKYrsFY9M1XpQh
LMATAnvyCj8/5DRm/rNzm/hsHsh3Ah342TbIpGXnZ9MCptV1jWEaPmVUM0i4AA2oeZz7DNKgWvRv
BLzvx18sEPhgj1uWCAx5kvCjaD2DElHXVR1nSEB01klGC60ih28meeOqGHBK9vqQs2gznyqwnyXN
R/doBawX1G3Gzg1dXz/EDwvkpw31B/m2XFuleAt6DLjPP0rBvvgtHr6ucQLHhYiQHcOu9Yb+w6ib
+LOfyZWn7nD8BoG99oT1ycmHamY10BdQIH8g3iU3skV914uWmyXUnIrXwXP0NSoyCgA28x5XQ71d
UfuEFzNLtlTVfncmOQYAALR8b4KdUzeqRfTLFp6U4xGJy95+TZrwphUp/qHBnb44VAEh4xBKf34O
GnRs1PyM0zPEoBZhMXKIJsgFe3ZSqXK7oT+b23JVxbyB7ZJwgE4+dReAICai8Aipg+wVBb5G64Rj
Gb/ljxwC9vqkf0HMieiGElmGByANLXeQhDM6hjazMb24w4FAAoAZi2bOXgwxjCGU/B6/ry1558Ze
II2LfQykdLngUojyixTcM3C7QpmzZNgVlNHeQYE30Ju49y/zcj6KbljpiICPOd+UgrTHZDfdEHyd
PpfAIPS2dVbxoT52OfB9D+8TvopYCxZ9PcwyOncHaIP/0ikKnjeneLqqKv4SGhA8pFxeeAJ6Acwc
hMXQEVlD+YTsz4+c3PXPkOMGgdw5WZQrDk837NlhiBAHDbO6B3Bzw1ThcD2n4EhRGDpZfzJgHOUk
sp1FV9xNHEygJu6s5wp+G4RuEfjILCZ9AAstyotbgsnAFRswR3rws+ilsmzWt8KZ9Ja+kz7CtMX4
HR+lC12vybIbxpaKIAKeRHWUZM0ooZoHobNpCD7hlHPkOxqmeNegr2ebircDJvbPJw//e+irgenh
tlj5V02tuPuCdQzyFNG5hxs/nyBZZQ+ZvfA1euPWFDOXp4H/KfSwn+zawc5KYUiJuxxRk6uOwB2s
UTIy9eshZyC3xocBRDFsJfERc4no6rzhM1ByLx/eEvyUed+CuRRI8oka+nJSESOuD0UNrRRuU3Zi
/HBYov+9sHnspLNzHSzyYvCnwJ+oid++49yxIj1MiN4kZIYVNLFMUWk+3F9ikho8+sdqbyfyFsSF
bu7Y60b0gcwHE9hhjVNQat6iy+Kz3rKUepcCFztS3IGJgbx+qC6yW4OPU602f0A3exelAy5zy6He
b+szzAavnIg3j3HAZgjAa4ouB8WeWuDzznziCZQI2hx1rajDIk3MqIUSf1cRw2uTmcjYPXij708f
6S5Yybln7XtWtDhfTCIkpstSEaoIs+wIGixcn6LG6VPG2JqbOKSolL7d9sUPAKIgPACDKdXfVt0O
+ggC9uhjhGJwmYBI7z2+BNnC31D0ELdupmzM5nwMFN0ZqozFb0HhKGUsDa/X5vOaxBg0gOCV4iaK
4luu+AcqwnWB9OM0iTw6LsUiQuLw6QUQJL36ChDhi8CaO541/IwgC4ZHUXXP8rdVgt17bA/xvnAM
3bqo6allcIMouR+f/NCn0rAOzojOFAzi6Sc0PkwO6Yzt7DiwNy2MX+7GDTIRMF5xWBBJ6S4NPueW
9oLCnIWHAZcJZJihRaCmch9l0kGu4m+RQCl4F0QrCUbUKN7UROxL0uBJcspRSTL1dFsjAjo9AMVZ
C1oz86HjBGb2v6jVx6e4L/0/8CyeDdjTLYbF7O8b7fQtoj81ms1Zls7OC/4yoCrWNf3igmGQfxVu
4x4UHabwCkCXQg3O3w71D6bknsOuFIVembvGgrLWydyOkHWu1pgqr7dzFbfd5dU8N2lU4VWPdjtI
VYIzc0iZxnPy276n6hhZ0da8nVAXW2DvZv7YKg5gAw8eHY3R18AgI4BKEENyIKGeaME3QeyCMto1
da2+7kNT4GJ0Iv4zfdxyj/kGtPLRaW03srHuDv9cQLNxfHX46xzvTUySbY+CYAHHyI1KPcADUj+n
DwDwH3mVBew6YLqpL//hgkvSL40oH5nODbxE/RiB+Q+LUhfvFh/OAu8jOk2gCqjpmTgwPT1N6vgf
/5caCW+sqWbdLGxRn4YgSUx2KDJ1pRj+Ys4jVyVZ7fdmx2TWGbDMKIfiUk5hjC7eAG7SJdC+GqYJ
LKX4pro4Ykbm9J1yLkBg6DwtYZ9eAvYD2a7u1rruooMJGDcBg76oldyJKwPwVxbwQzozG1+VduHa
cRcjRQhmTT3WTEqFThJEGDR+jcUXODPQAabH7qhuKssdA1cuf7bdS4XKH2yhFy1NOmFGsgQEe+y6
8KydWnfdH/AmAQo3YcSXmP++9TYJRlq7bk4zxRhxQefpycSDfB+iY/sf5gV7nO7Zp+kFVZWJ3idb
sLjcVEAvxySdg02yxcS4uqMPQ32WmlIm3JizPwAMWc1leTcaVv3ywCeAzkkm95ucSm8LBJQ+ogXv
TToeXHywYQpmt+gm2D/1fyqsPDxB2sbdxWaHztIvEubKqcGn4dWBaIbWbix/BjKelEzYVfPnAecp
fwyDU8C95qazZIc5GNsTiKsyFzKZdXgE/PuUd8RnMs2TWCwTIvsT1nSaGO4xoWBxZRB0U9x0gWRY
4lhOow5IyJkYChsHGMlxplLqCS3OtoM8p/qHQ/AI9z6kO+K9XKfybYDLvkec2iBn1zbjCup3T7Lb
LXcqPIBuhBryDKN96noG3t4iBQWr/aqilDTtJh+Cj6YcWr4ka5OTKZJAEzmRnPULX5MJpbjfzhil
IH6RzalWD/0oxx3ejRqeFWEBSK0/ehhtzjyJk4dbtJ467VMj/RfvJOBRAI4piPBpn/Zd+uYb+yGc
LeBEy45hMB0B+BWZGp7m/W7hHouhLgieomXSgzjWXVqANT6uMXrRge4tpsw6nVXdh4+PxqQkw3pw
MNAxk/McZgcHl2T54KeB+P+QNEbdZUnwphQWJCnlGNfu3j4jUp6ILpHcNWUByO+mexEtE+3/F2dY
F+1B+QGAuoIvgcFaURlAR8h5OJE3fQ8g+Ez6QCCEnrY7pl/hompmySNOnQqETWXfMSnBM0uySVkX
AaE731ENtS3TfJgkADyLbzTDqHOTgMsvlt5TdSjSo1cBPhdGg8ABaYghGegCXSoJLzpGC8NpR/Rd
R3tFuvHx6qHYRT9omVCdqPcaVkZNg3mXDM+fqINGUx4QndsOYhWfJaLFpxC1Uu5GZGO1u1Y5SX/B
wcBcLiNOeQxteGVSCTrMScq8tmJCkvkCaGVqiL/nYiDehdQgKWQcQuFejzaMwYxkRxk7hHyK/ymW
LFXXOgQEE8vdEkzsvoxK8uDOKBgNFTWQ4kiWm0nQSnIQeQdUpRdBAyDm2fbjpK/zdsomkqvChy4C
qwDgbMLhLqWTOeiUtWxYBrpD0qR2PV3Mv09MvEGGfV41P44RAfE6ZLP60SK/sW7BzLaU+G1GdsqD
DSelRmUAmVAstNJmwVHvpTZYm/xlvzk7Dsm7wL9m0OSDmPwTzsNCahPHVD9ZOsuqGfuRcbE0Hpcv
XD6k3aDtTCES3prjFzcYGKMLF5YkC/a3SqgDh3xiihGH3X0HfZjQimOJ17QfAavF3C59G8XgS8w/
y4XTmn5dGNseKbkgEvUpCtpJjbjv4v9H0pltKYplYfiJWMsBEG8dUOZBBPTG5RAqqKgIAj59fSer
qzs7syLSUDics/e//4F3PYweOsfQBsTgB2/8Y6r4UpDjefz5pBEzf8akw7GoITiEvLvugePCPxB6
d4HjMCTZA/T9jm16jZ5ndSEdmfnJTOhI+6DomZeIdi5c7QuzOdznxieGbaRsDJbmhsMISVDJzBuH
dFpjYchEmCbBFrWJXCRQqJZn7G0SbFRf2Qq71RwbBwbV9KNjI1jh7zAtYKnwTJud4P0AAl2dfMHi
XI//3M2unmCffrnOcIaWpiJPpzwLE26X7oanuJgE/0AJXiBRggUn4Hbr6PLU8EKDRZ1cKTdYtNwX
Kq1hkGxo1VZTcHruOtxcunnOHYZC9xnTbbgoyx5P19Nwc8v9GIppT+aQ4QAewh/najat2HFlT3BC
oMtPKcS4AOZcbO+2XYLv8IOgAXDM4eeVYhKP8If/iCUWxz8PAs+IzUnYKNxW7DMc0Uh3K+zO6jsi
KoNlhW8s+DZPvjWKAnjD9Ai6S6knrrS2ouqb8rBxVbw5z5lgRixPqxyL+vk1Tliw4JUs1ALnjON3
uuDo18WpHPqC0mMzzqNkxO+eIkYAJ6pFEjeHc83uiGvpZCDwUTxDkNkN2dh57FfTzcOYsAY50YG+
yXxk+TO+97mS0LtxDEvxS/JErUohigACFo9Lac65AjFCQ2435zcC7BQMIVF6iZVC5zs9ZRBDp+Az
IHFtGn/MGDmSAStDp5WKzA2wjMl3wmpzdx4GH3OFx8/OKEqkechhaNu7uziTbHkmG51zZKjOaPVh
CLPwOYGBG7qnORJPBsg+9tfhUXyvzfSSrV/yOR3MTocQE3CDoc7P+pbwNALNpkjsbxfkIdgqEXX4
XE0YPm4ekT3HNXnx76jlWCezjxELujuTDf4EtxNaF4LU8drGHQeYIRjwuBRLph+rJUHKiRrBxi8n
R3E8MP/z+aVGvPcmE3jGBRGNtbtJqDOfPEfiNZeclvMp2zWHF0jXv9cc/tvxKKEXuy2hipxx5xVD
4YfB8cjIktLiQ54N5nJg+tP1HIPthJXvcqz+UTi+nWgRthdoLMmGb13T8p4BJThCV3MTvoS4MZXL
jt/JLDGwZsowmKvcTwtKBDuZmJfBGPjMRTsOQ84IBO82dR57h1M+BgEeLG7QBa86O/3BcajNsjMI
oACMAVIBA7WFfuizHB8Kj5S+VdIttx8F62R7CVNYwTKlA5tZzeZm3jf4ivA30a4E2mPeEZIORUa0
fnNrdd1eZhRoOKBaM0cMmvXH/DLJvRb1w9zwCsHB/F5nqA/Z52i+eofzfcFHABRPx0QOTZkeAz0x
PfkIk5xT3xA4CuYPESVG6Hk6h4UDYxuk+MQRyyOzPMmuFkqWFvSm9d5TpxHyXCRzZFV02Ek7OKsN
U0WPipXOmxZTXIQhY3hWTmt/YnWKPPwSRLo3mHvbEpYTuy/gVPxmHkr/O8OuXs/mkQz/Ez7G4yDZ
VsFujTgL2wTk9Do7IhVo9HE/cUrGLycYoVWkP3J+cis5aaz0p2+99/TgMSRVJs/zZy5veSRxvLxO
LM6+0ugIgMJdOzd+kGEE5vXTd524spPbiCJW3bI53UFKcwPQ6fOm5LXEzR6ROUAgQMefKZ3vVCqT
CubgcozXiHh9qVr0HouGAy0AmudI4/N4nhf1l4YnsCBt8T9XEZBx5hwuSHTsC2I0cW+6s0I2JZ3R
bovvwXvZPiNp+elmCgzAkZ4r07cEkRqe4WvMtgm+UOjxqcCoqQfl/tOizoo51gboJwcKnqQ71KY5
o9QRdp4yyA4oG1IChG1TCIOiZjipQh5wUc17lwIpZMkYj1H4+sA1XGw8UcANzcdjgVkSBNKalyQY
rIYtNZxcsKeekotW40TTApnzT/Oax8Pod8d89YMQqCHbCrIaI00qUBz0GJVPFTSevelbFBFWCn/X
a+nPusvUU2wAD5bOmNZcXXxn4mDAw4HIqcmHSfiEm9jX689EYZKxe01bbCWOOWJN8k4YvOmCEVSX
esd/kath7CQtY6YWyuR2fmDIO7m4KVaiIy7xTpQQsx8DMgNZ0eNHupUAB150Ow2GcxMtm2638gP9
0S7WpeRmAYC2UKzP0oXxx6eb7jKGJwjnKm2OgoWJNGjTl5zLC3N25pPd4spcp5vSBHX4F4wo+a3H
ngZAp8V6TL809mSWUpcBQgCgUmS9BDm/lhGGxhZOmVQ87gs6sK6uYxRfAuTFDATDFEwVeJvy4p7y
s55zPs8lfLBq9g+U6HGvWDzuJhEVvAx9HmoXZgH+yRp/aS3/UQdESk+QeWJYdBLPB4Cz8DJh36Be
zmYBp5LZGK2Lac/yrO2mZxT6CIFoRK+oPpFOBrE6nt+HYXa+hE1c+Z50EFk8O2niRW2uR/mqRcs+
zVB88fsf7MHpexqNLOhdUw/97hk6hHXAryDDdOI3uVfTw0H76CV2GhM+wPQuo2QjToeqCgzUqfDj
x+RqS73IJF3ZaBgnsA1DlWXzTkgwZQYZ93imY20rdkUCSsded+XxzVzGGwijJ7Ov2DDZd6kzg5/M
0z6BcGvhTRo7aX0uL4seklUw/P1nwR62dS4hWxGCMt5RYWwLAe+TYoaOfT469ujcxMMFB03i6aNa
9wmFGUK1w3cW/HUEvak/p2OHwUlzPV+7kmgXRF/JyCCFMspriffD+q2VyZAgAVbmAzeOaSPrqRyk
9wHvuVMYf6skrwmACoPvwmZzK45P2CYi8AeKHZ0waDnYC4ze4Mmm/JqlozSPVNLqLys2aF7gbg8I
ncK0ipIQJXjDjHSCVlsynprg8sszyaZAeS45vrhAxFAQPfq5eg+rwnYuGh4fkrDZVY69ZsZgeOSB
oakjavF7WrE2v5g4IQk5n3uH58WGKiHkAMw/yH1agU5ct2eTga3kv5q50BSQ3/NZZrvp6UncO6FY
kxMvos0ZZP48aXiEhMdBss5K63FzXhTWu9ehwd5BMTHQLLDUZHShSBzMcHT420NPm0Oggas1THWv
cRW7ZA82WVSTzzoKNaKmFa7rlHUJOcwkAfk57VpgvWKjPBEqL3u4+tObgF8BkDPACrRaR3R25icI
gg/4xLYIMqSgdHOTsjdfl9zt5Q83b6tynmyjx17CfLtZ1viqEoxjisRqUZLgpDjcNKwTHeHERGEL
niS8NYPK/DHDh78WUw7tUKqgwHS2TjvdbFwVapgwiFmdBSkAMGy1n2PDks6pXU1iayDLAfmyv2JW
Hd4RmzHdEdiNIFgI2nl86oiwVCZwAir9CZPgvuVecI6L2jGbFc6ZTtDEsMUVveR4RjmbHU6wkplt
5xZQQiLwVjGXwSKdFx9tUPxyr4LWeTmjE0nV5niNvYyFfoqhTL7AeQfhP+4VzKb/ufFgEY0W0aJ+
xW1Z4kcg+tez1cCFWnJofRIU11kib/sYKRV2L2Q60sGc4kNgewI//Orwt/yRP7Y7xv+jgAwDR1oK
F7KxkZN7iKbV1ISWc+jf9Jv/ZEzYMy7Oz/2ipWoOn2So3xxUbeg2cCMsjFtwNa7gUo5ICL7PFZIg
CtpwmhuLAE4y27IZb96sdDXcuSRgrMpj3xt571hdvmKZq4N9L92z/XLxiFuUovfN9+Ot5O5wWvq5
o61wThudMu/nAGThETnCfE1z1WB0eh6wOPB3q2uYb/t+d8D4kdF1BfRny+7VvuMI1dg0NTtv6NyX
pTNYSnj21zRRJNbgI3gY4fbZHAYMCnj/+friZpaSMLJrU4UNb8XTfDmrn0m74QhQXpPR6ZYUqWa2
m0dyNX6JxKcgQtgeeo15C3v7sYeBMjvAvoBqDVzHCwlH6DtuACozYeTR29Hi9cfO2guJ7mH26n2g
P8Z9/+XgjWpA+c7j+76bqYiPCCN+/Q1AIy/Ri5RlGOLasgpvpzwsyffJyNPDEwEX1xr7VEdbdRuS
sVo+V5CRV4xRifEjirPx8cuwsQFZZ/7QxLwTVJzxbJCjOhvaOLYhVMcGFg6afFDnlc0VNUk4NjEP
RYZkfzD024/goq8IXa8nGjkzLxqjn9mln4gcaoPwY86gRCZPcIAuZcQy6QfYajluu7wxCrVacrtr
g6BLUmxeXHiEYYi3Mr+iWPsR1zppj2ow9NC1Ok+izDNsoW/YpD3xsamtp67CkxbD8toaJJVe0J8X
7lsf2wMTTKVnXqPrPPPVVDkjICeDOelvOJWsBwhs+8fY/DBEh/fHdcLUsE4lR579kgKl0PrDDLwK
O/jVsGIw6rEz63cYuQWXBgZGPLBKRhwj5rTUPkQRjL1PKM+xw1/ISeXgxfRGYN9xhJPKpK5eYEh1
NLCu26EPew4jJ6dxqLTCC8dXYzy94brEgFVbYzkdvOf42BoNkRYPstYJpEbAVJkY15E/jSGydScF
XFkhTaW+51+NvI5cnnwBlaKFTXHene+n++mjYshCIZxvnsEvyW1smc/NXcQ9KkQlHqnyCdJGEgmA
OGQR7stttWgGXLt23ksHhNaQRYstXtixU7Itj0hrhxFRHc+qp6ZE16KJ9dlyRV1Ep8fmh0zYeCRs
Cmi+Od3eluy9UJGcSoo5PMcvk+t1OuZKgokcH9HV7KyXJRvfBeMZvCDskhurIiGCYwLqsLlwG53Z
KMLM/tgFv01fmgxPVLXXdbt+RG9I2c2kj0Dwr4zL9WgxFKOWX/gLb9gFWe9Ddsw8UQvCNJYCglFM
gOrOKgLeMfv3SdVvB57xm9cL65Wcymm737l5+MWwJN/Xzu/wivFF3A6NBliReSwubmRPYgKbGTIx
ISSXGo1zcUr8DnpWg8vnbinc+16sjK9TR+p1hptH8kw437sEA25cbsn23O0xKJFDyWgSIkF0Jm54
8RQG4Zs4YbSb2qQbw5bBEjLP3BoZZMAbnSUnOUII1eU51K9bLeyCr9/afeyIJb7nXywsOcDIs6mA
+8Yr6u07p/Ax8YacVLOyqkW3zFxtis2WhYoPgfNAmBUphrAd/1jom5N3UhxbH/qZ0QmwDnle6ZCL
4TYM10RRMgix5+GRtFEPm8W2xVO3/bsyRhjzFF08ri1L42H9/BZ8XfKqoxLt1oPw7aF2QE+CmzT8
emNoskFvuATosXEmVXAVIJsjGHtYcUPAHlAh9Dgwmui+hnnVC9EAOzejO+QI10/gxrnRF+Yvis8d
TMq0Zj+QE9wS1uzmN2+4IQl7AQ7Uxu2aSfPiza76xwZK9aI6v6OyIsWCml8LHnuqTcmixFI4O0kp
DvtOf53hact8VdcyHHNZk5n+svIQUsx66I0tthgTvzP3ZX9UXq7aDLaXmHbsh+vJsQl47lQXJ8Y/
aflL2VIAyFDv4i7q1TYHNKE9vRnS5yFSc4f3I6q7mJhZZNuSTZQUnN2VFH3X7KZe4XSrp14TsNCj
qL/7w4Oia1uFrVSzPhCdmaWj/R8eR8fnnpP9hUjoKbRBxVoY2qI6w/ljaLz8Fj+1nfVhjoNA2qjx
e3j4sn3Fn4JwnLcB69BFpALIcyBhdaEsH0HHeBV28RIpiwrs0mGwgrvgsg4u7JafQOMcgDbtaAdW
M03puhYJfZzojI4yKgfxyBIFZeaoMjLQmbH/PshufUCnUidyyDK6rciNhAZjXh3NVCxBJldmuL5j
eYoeEXOOBsvjwYJ/4J9DOlsqvuwiMeaQGiBY4PXH/ng19oBtzV5AwSpFo9M9lU698JYoQzbDsV0v
K4QZ6AGczpSWrwg1itPHbma06UK4muFo84YbgpfB/h5QV8F6ollsfQ0HqllvP8AZoZzQClJkjxnf
PWYlUkaaNw7r64xf63N9/nnQIDqyKGYSKAZfUSeUJHXasK/eTAVjBbZRgKr+nlik7x6zcJhLFPpR
6/28h5/Ho3Ubsn1dEZ8cr3vJGVuK9Uq0Tb4qDnlSrd5Y/zd/2uZ6AMfsjsQvQQP4xRDzh+cRS4hJ
vwYlMGLAepvdCJokChe5bevwsBFDQlKxeD4/XkP/wEX/eLcNSbp8e5a2DmyY9Supzh3qVVbc7GXd
gn7SD75u7WOMS3oywco+X3Xp0FZlvJv3/fFm4H7h42DiK4fD9MuDeHEvbuHcg95hYBEj74x95Ygt
yH68vEciJgRJZ/jWH/ComsPb+8b985UTYy0sYNbaTEnuK2WepeVaPeAT5cPML9Z9jsNiNVo+sYTG
jiaoiAom/S2t+P2VUcMfvxD8sfocPl5nczV2/GTNHeNHdfHoSMzK5jskTupcRF7j8zBIrmvNuofq
EQu4Gw2VA5ac73kMSf4Rr3APlRgO0lJNVSwdY7IrsB326mS185Q5F/0TKTGrB4cjCMP4YYMrrZlR
PmOJndH92U2iHbIUJ2FfPleRDBPQ7kgBgbK7okNZk1xvasnTukcX90dLldbabKhfxOMqRSWnM29Z
xayXk39sy85l9XMwVKhX6oHvIJpkMg5fycfLt/ctQ7J7oERKpAa9dSNPbrhyDY8ZDkDj4zvsnPf5
cf7Rv2KzjJk/+Wa0Dfi5+UX43OSW8tesxqwM9n0oOOF3e9vgnHS6hrvjLsWQ+xM9N1n69vHZCoam
6j39sX+loxz6l5Xs5ggnG4986hP+WX/Zvg4/FLyrDBQh7K/oc83PSVnfjtXfbw115Q6bBQnz6rvd
Jdj18fhlqx4GRxrrmMOPC7lszDGoUb3qogrUGWO5KmrcZvn2qnVtllGxGR/It4g/jtjmWQc8+qLH
QW62rROFj1ymgmirzdmBtJDb8kYJCbbcUEjkf0V6PykpRN60jq/BlU3KyyndnzS3K+CZOvhRKAeP
MN/k/i3onNrN4ksoHe/Ox0MIZHzwoHsHvfMjvqcPcLHa/HqFL6XquvW6cAzIi4F+FcIcwBzLAB4e
xM+w3JR+t36HPVz4xkYvzE/55osz6/GzhyxYbLpyUqRvaHREppw1xhLxj9hWQdMiqqMnFlR5qoPs
MmG312DmEB3/mMAo/nHYjRhqubeVHH72Nyookytf8Qm/x+Y1BdffPZaa+2b4sswBvumePwcF2Cys
ok/wEkHW5eRqttuKZrjaFttLTUNai71BuGmy25s7Jzeum7uhWYTFs4sfbkQ29RbcsGf49KBnvuej
54Qd+tCu3/RKHLKnATR1ij8Kql5Sbel8lM1tNbALeJU40bs3ItMDbsxw062wTfE/5u6IJfSyp49N
iV0plM3fn+TLRNOCxRmXo4L2u/jjMz/22lk7D9Fs1EuyXfCRsqo/LCs3UHhFNbH+7SWTyRT7OTv0
hZ/wST7nV/Tc76w6QpIPw/S1ZsbvyvguwosLCEg/4TyFDoSdeGTXxje+b0FiypT0Need9FfFXxl0
yc95nLNkALIMKZpSZKUdVGJQROm4wKWezdxQ0iHGDWwWdcSJYnzgqvOatz3zzhIBY7GlLYvriOdM
ijBidq8cm2C5wcCibEtrXN3kpEuqVFmOvFH6tZnBVuNJeQQRonxwNH1sqPzWFqfxc0mdkPuXclp5
lc/mIkPgPlO77PbtkGp4qfxTHzDVKI9Fw+xTdm7nwXXK7dkt8s1jmZ/z1Rf6DHDl345amXGYf/tM
e9shXmyVw0NaYHdeHjDF7VcEQTxTJtg/VBdnZf9YIY0p8xmbyOU3wyEeBgXpTcMfsq4ZvqgSFhDY
wyoz4JmvDBI9G1ST73NKMMJNE38EU4DUoeDNyJp8Tj/0itqkw0mJrQHb0Lfe/3tKQvUAq1z5k+sF
i4VHdQef4cQ3cFog2Wgg1vMXszm/Eq2EceFQ5evE+2jUCNAQEItiFALvA4/UDfZtfLlVdeU3HcIP
A3A6XsOK0FlEO9fp8Df9nJ6g8hQv7QRaBHY1dISKMuW/X3mGv4tS2NpPYOzSe0ZpV9PaYTM2mgLu
a4yw+zN8Me94ij0ItJ2W15l6nfJvSog9R1UJ3hso7UU2/Qxmaj2Bu0GCOVTrN90Ajt3vafmeqlQZ
NYmLJDvd4bKPJ/hWwkH4cWrcZ1fwYOwpKSn5I0P1jcTVwRA0HAU9jCsPJT5if3e0MST6jIjbnSlM
PXrT/DVTqHXRKQHG43bKI8Flu0xbFHDyJK//3dx2opKKyb3FM5jXqgiInNZ8KblAyEfYgiyG93P4
rQEY+HO1wnJZPirn777csySUuAzwxRzGz1QdTq4H3s/lPfme532sNPaqaNh7DEBwg+gmfPYvk1rO
O+C2c1+bctBq9TQnYwEI/vQ80g6+zuPrlPIIEtnjNblsuiPiIjKiUIRWDl1Tvs2D31+DI3yXqkS9
S7Dk/+rla1ua4y0k1zaef4jK8t6rMnitr87AvTtk4CyaCONLLIvoy5af1cd/0BVco8vy6eF4mghj
yNyR3bspmqrHiiRqh5N26A8NTATdnd7Yd3e8Vb0fgbU4866K/Y9EXxn/uKfz2YgnpJcWLuWF1QTd
otKxiT4qzvvY+IMVEawLzAxJJBgDUlVzon2di40/GEmGRAlbxeqz7gfCM+xJENSQmGbVk4JX3C5I
cF8TeshMX0sbY2CTroLb5McVVfcTUOG3vPjX5W75jIqQjJUlIQMVrvTShnynw5rS2P0FmseKGXzm
TcqtoHJ5hRxRDlY4Zkue5xhMq8UNDRDEBzddw4Dd9rHCenpF8P0DsEBNS+SHWzpcULarH8Kd15oi
6k91h9Hdf4eZS0cLhUXAg7Ir40j3sBVzc/MoZFJ6n80bSFkkfdakaxHxTPfcsz8+jzl6CZMtDboQ
Kb9rUKa4OV838vyyZ3+PMChMHtYDmibGtf7FxqGKqusDEFaYdI0FrWbpVAHb6nSQvNZdkrm3pUT+
iWQVpqh5P/g9B5QGyAdyHGSuUebeyT/TQjlgtnDbf85yeP9jtyMIQtKx0zg/LNwiPTzHUU5QWOR/
NMBGHtKdHPp4f2JeG2p6GXy3+fyKt1IRjPYDmwQxmIcFppeKPzJqIoLEUxPJHqjX8Ru/o298I9qa
7vHJokPQFF6iy0ZjvbAI7WJfuNX+ZdYcHi+nbxZLedY4itVa5Kcua4KbLma2eNpFUKyhtdYGXnG0
6aQpBGMHOM3K1qxtX/Xb8OI8/mR/t9npigvV1OLf0bsN2FGcNqjTKr7HuYhQu8OmO1bQdY8Xppj+
7e9i0b5aGh2Hamd/nTM+3L0Ck9q11kzaQ714LbVNZWWbh1/Fl+gafvdgUAja11ektoIxK0yqWmo5
ZZPpw8Ur2Z1yWKU7/RnUzouKyhf5kkmFyJYscinosPTaeaSjGG+dEDGvdupF5T0cIuLICxIOPBXe
OjmxuFf60S+xSwNvNKfks2DgmQX45G6rUI+VDuZmBDBktsQyKOZtLHrXnjmOPuYzvFkfjsrLP6Sy
W36332BEYkS2wc96i4Devvnv1ce4A1xrIcRmpg0WtRr4BhQir7cYp+P0jiPBw3svL6EKGvyIwAPu
Yjd8MzUqtvyPztVTF1eOa6rG1cio7G5f+vdsMUqGh4ZAaMXgQPk6AM9F8F4VweAA1G1JKcONJ3M5
zbkwFAzLqMHkFdcySOJ3sxRJUBaB6hEphEGl56er/9gXERhd7v90bTmMiX4B6k7zUJv3FpDcj8Is
mhybFeky68fq6zzx2v5ZQ5Llf04jHpnFdXELW1uYiUqc8HjBLW9Uoto5s27hnWAC9tv3/KljEYfX
0zj+OiND+OVK+tUX+LwMLaz0AQ/0+/xLzd+g1m8i6jpMZDVcJS86g1K3ZsCjscfRojm95QnFu67u
B6a2ICHO7v9xBSAQre7rUZSF2fJh3tCWUKALe1qu8PETN3HfbhY9a/i3w35eTtGar+iK9u36GlA6
MWwAQAE6nX6X7eHHQqsBANAPr1kZImnJY+sD6CDK08ZuPsJclmy+bHl6QR/CV5Vw4TfUROJG/KEN
XSx8x/fN26zX6jTDgDTf9qzWLjyN71BpsoC2562OeRrFV+ne1+/kzRoG+19RknyZV2SEgo3cgYFQ
TQpqWvgPnoAXHhThC94khWOOQ+Yd9s+Ec8otIcoEkyX+38HuTdjOMNT1fqA7wz1NOf34708E09b7
KtLikntZe5QwwiSSPRsTDJVUNopyNGHX046d7Lt4w5f7puPjN5uUg8k36lGSb2/Mjfo2w4i/Zn2X
Zs+tor8ctaJPBJ55rO5/X7s91dsODfOqH+34LCicnN766xPdQkoNXR3w0BbwetkQQ34JiRBevnx2
50VnkhHynWBEbe/MH583I4LzGw3W3eK17pOnnovFsBJzfhxbg3JVnSr/Fg6mY+Dp4vQO83SUAO4/
w2skIiQlXLOxPqQgIWeywOi2rOaK3d1m/WSHqyYWZ19d8qishh5e5JSAGbandyyaK7tAZXnzqQyL
AC9f5sl1/LIrtwhrwEu4uFO66vDjwmZwKAWwdM0sOW7cIhoQaEmLRsi7V5g0sBMmrvpjISF1vwKl
Wjhqe3JQx9m80HMjI3O+tPVbmFmfsFl/jdZWN1/jsmRTu3r95OMMYpH20LdHxCurTsfUqrWfDMVe
pPm06zJgeXPHBmcFAYW8wI85fmy+QU0zSLOXQCGxMqs9tdF1g4O407rZ8ZJejowo4pFO0DXiORGL
XtDFvLY9s8L2H/FmFpYMm4XZvGxj88dEg93ocgTxE2AvmL9B0rL/3nJ8vKdsHXSXMEw2nSv/tVEO
CcQdLJ4r9obF3YbUwuQB1DObvKK7ocRKLCGk0lzSxjZ0N83+HQzWAxp4ELFV5zxcqiWzCuAA0Cp8
4Kmwyf3RkNHTCUyYNA9A/lB2G107dfysI0Asc6Pt8wAsCR5Hb4hMWO8sai50SkyenjZw1Zpi7pNw
uDfM6N6zOx6PajoWuLIDV7IXPpkEvY3e4Z1cEmxofSxBArKJpjjYntSQB/ODn/MQFidMkxPUIQr1
Bq1+fzHoTzj1qFbltMT8UlpdOCZOFENZ9CbbboTwUJ2pJDVs8sM9xufOapKXOYpevJ/xDC4VgX0M
aA/D04Xu70A7Z70Oqg8kB/wORTTJZnQGs/sid9aqvWNhxIpZJ9c/ySDvFH/Xq9tDg8Cou0i0qMfU
EVNfHyXzmpF9yu07SPrYJ2Ry0V+OvbGAmMWg731gfAXGQf2Bxeey5Hr8xDFaJMOwNqhQtFANLxz3
FwNj7A00Aa+xQJyJ1WZ3Azra4Fqlv4TxOcFxnfWAvz1YgtXVpgxdB3QtWeE8azU+BnQMW/jZhJoS
+8QehRaqIDb2stqxy8hLGt/cqWd5MnKE7Sz+0Ew5rhzX2EeHELygLUu+4v98gnfODFX8d0yHPTw2
7tPtzpcYcF9ghEzgS6CFnt07dgljt1C2X+Zjth6HLZJjjGHPO+9LKfvCBxab3TVzaas8PuN3rPja
/OkpHgN2+7vnY1Jz2e+Emsr/eCOm9MndbpYkzs7BKUa+tNSmO3e8EfAqhkFcQE+lwGIu40jM/bA3
Jyp4sLzGqn8ThintdAhFm8/CvAlP8/u5ZurKLs8s6LqltLYCE3qNuZvefZ4kwJgyyqwemSuj8xiH
BZnEkmYG2Msf0jL8nF4cBzCiTTUu/Ktf8+vLUxkCSsfObbGy7kx2U6zFIfB3YW2i0UVZMJrdAJuk
GSbhizblE75jiTRnLnM0ArzPzY44ia87jjVmP8/VXbQoD1BPBj4MlvkRp6H9cQnjgN9Xrz/ruwf+
g0E0J+cg4Xtrq+a07/Y72AGt+z49fXBX/5IOLCwRyKgt1oyKvZoMKljQ83ZWzXgk9bf1srUptbS2
VJMvyRNPnMtLn2uzeHm9P8VSQVkZiMXP8XRM1pH3MFsMF0jFXal7rtTrNBqIreVOW7aHfQeGl/Cv
P+HDLeEFAq+m8rwXMDUC08YOkkL4T0thkxbiM+PdJdDcB1t1Z3xDcNBFRyKe6EWAlxZU4XMZM3wR
96XC7n8JGdATIg7BxokoCiXq5HaBvz1V0W2FAEQ3fY0mS2G4eg9Ls14yyNXftjB2xoOSu17hI90Y
jMGtAQVK94YzSQJ7XOEL/zTlKQwgOq378oa9f2sTHIGINCN/geZ98Vow9DTk+WhZeEQqrSSWyICi
QyQ77hgWKiQFaIuh/uKrF8o++Qwes8iWpTfMJuq5gbY5WIxsXmZFNguc5fe8iaX0ErIIuDPEm+k9
V0KSmdP14IBMJhXg6IccPzobR3ElsruaUEoaN99UUeH3ePqaxfjw/sNzalsZeG2EmOHbDYdZs6+d
74r4thV5aJsBS1wNb5z66oG4RGap/1faAxOUqfCbGDML/KRGMS7JaQ6c9uADPefX+WPVTGkf/MLv
FtocVAtLnCeFpEhH21kdsYPS8hGO9I9LPBksW9woAo2IwaGvLuGE/NYUxcsO0OsWgioO7b5dinTD
Vbtt6cZzbPDR9kPifPmyqhNuzJGzqrx2hTc8ATc/u6VALfwR48VH+FiOw9K4cuCcf2lLgrDm371n
fPVzQtGuwd3MXJnZ0p4i6W5LPvMoHpqb9ZgrS6jS5P8ps535XNc8t4w64RBAWsRknpgEp4CYy6yU
4D1yuj1Y9yFQ3DLffNzSp3j/zogG2uTmfUH00OZn9OK32TDCH1vf6GuUpKVdze8s95t9b/0Mcu+b
8HVnwI/nPVs7eDoccMw6mIe5z+XX+TqZ+zV+xgsZ6Xdx0Yf6mMpUIIOtrRyhPbgjOmh1+bYe7jca
2gWY+DWt1/X2TfRedXqGv+gt2prJKJXPxYlLqwxmGWr0uKQgA1Om6/jM6n2HAzPjx1VDKlLPoSxm
vi/Iij2QnSNfqc8NRImCOmeMbCXBstquD8Ufozsme+X6A/gvH7u0ApQDxt5/XWIMEsrab1AAhI8A
9iNalVHAkDiPASAG9ivs7/trMAf6xhRYw3sJfXH4ZQJUM2J5/ZXran2hmdqRpfsKrwtiVkBqxG4Y
0i+tvgscy20YmdFDxYtj0memBty5cyiBCY3w3tYzrqInAU6EiwmYdIvy3wOc/qWPc+tf10VaHcen
4ekGIApMhqEK2/aYb1QDZiNkNkvDCQR/TizBxc1n/YZxH2SvFCXJLmQ6x4lMWQrgjEsMyGAl8EH+
JkBqW0wFNYgUK01vMZBBkAVihls+pLDeBPMVfjOGf0oYNXFRuNbA+CWuJ5/2YUoQAseLI1YOOIvx
9Vpfo9wnNFOeFNvbEahMoXuvgeeYA1FwMfwgKO3Sp+gjsheQHwrc7vDdAqZqhxE1/VZ805ZNlZpy
/fBK0Ays6iGYfcFrBtxE+SOCqSFfDgk42DwhziG9TkgnYcz5o93TjGIwa94CyBw8ZqhvYW2CIqvd
FCGPBpC3SCEamINjjX4Qso82fTDWQE2woSpkyoXR1nf//If/tcEOoUYMX+ayGeCvt0E0C5NOHJiv
KajEFYiRihzwETfrQxbl+0aCzjcBgFZxo/0bUj5sZII/IQNRpDJ9L933cUA8y3OWMQIVL1+EuQV0
yh8plY/8TvUqs79QUzpBkHhioFmiEBfy+JGWuNQe+uChyz6r37qYlTVyH8bAA7vJnIxozMzoNlgB
h33zuuxmQr8CFMTziX+Y3uhjum5grvnrP5LOa1lVbVvDT0SVAgZuySAgoJhuKMNQDGBAQXz69fW5
6uw6O6w5R0B666397Q9WH0IPudCQ2RWIT0XWixASruQEgMK9wMYaJMgwyHvg51sw32B1zTm08dXF
fP/MXHknS+Jsj1cE+ZDZA1kt/KGc6pmQSu1x+nA6U/LexinjB6ttrmebXswGj3T7JG+jPopIIqDx
kScwbWuc2+Znwifg8siJNquPsAFW6FQLkBae2xNaFzGjATmSJozTpBcwIKf0DXM5lGIpwLAyHfx1
xN6VwcnpViOK4JgklWLSmf0dDWjUel0AV+nf4HY2+QTPh8+cEYxX88dH0mQlphp5xi/mtHspKxal
xzdlDY35MeF8isUeCKygtAc+1iNP+2yPZnk4TpQVnRX+DKQMw8bvnJoGqSOZ64YPQmPwJcKHj6Hp
kqhKRmd6FPfM8pJJcIOh5HwwuwWwbeb/PmiAjHb6mV33Lz4Z7klwFEIf/BEsQcKQptX2Ht/c87wm
47EOLsfh/LX7/JXhCy4BORE+91V8pnO+uNVCAL4sh7/JQAg0nsl7IlK6R/7ZUq0baMvJwRjkDgMO
OM5q1zlq2DLL4TteIs3pW7n3cRgDzM6rLFgHgqu1IFCeOA/Ci02QPdIknlPGmCT3leAbqMfLvAqA
qcmm6C/gKvCoFfy2sfwI+QXhtaGOQnIKRS76+vf522Am8c4xyew2ogSuQyLrgodHpgHIWO1SQqcw
FifnxTsQgUQVF4h8fCFTYLmHaKqPRytZJCE6geDkqa4ygz3hsGZ3XvMeYInsjpOhr02HR2ptmifD
CC5heor52B/bF/uU7S/kQcfizZpfbcZq4VZFP0USddA3JZvcPn6xq3uJ2fHCodHAZRGZj8wcf4+P
1ydXj8Vj1IOFdIuL9YPvQqIUr9n98CDL87NlrrafEdemA4WODisRDgo8P9ZsfIZrzgi8HBHzfvG0
sSd19nBgD1b01ksAt6h6GoDj0ZvmUAt6vuDfW3iw0n1gGwJ10qz8k9PCEDsDanIPWQVxsqz7UCwP
lveMVMnDBSpRO1PBgZ4JzOUfb+4nVif9KcGouJddo34gru+RCRwR83NOnutHcnGBtWFesMMvba7A
N9I7A8OsjPw4lyMyewR9tzHrHckwGRwL5keIkJ9dS37ZaKrY1apcsPz/BfLxyQZUgmh5Cdodvg3Z
bGxfksu8iF9nfTO5RhfAGfZ/T/86gdZjvJ2c4Ba6VBCLCiYPzfTscxAsl5rPvY0+YKrsEfmUtRmL
yYptgIdTgqfY/EYfwya780ooK6yp7RXCi1jLNzYX9gKQm0UN6Gdfss6H17aFpdaAMFy359R+zV+E
AF+R9yD3uZRGceAq5us8t+OkRoJd/YGZUoK/2+/itSjZWBho0MgttwagilLMW4Tg9UZ+79MjO/WW
VjCqiJCZllumavKuccJHJH4jBArtIa3bi1ilEs7kcwrOBpnnMhdTTeNd4jEsHGmCZDdWeUVSIlO3
49UrGkK8hLYWAlrQVOarxhkjF0QMwxCnBOWGXXgobkdyQqJRAK3sF5fHe1QuYBNAdvj55/m2/Ed1
fjiSC2BCcocC8ot3i/ugg/7Zr+md7FxigLEzBoU2aMsCkhJd4Q4vOyx6PTGSyD5hvNYQ9tdr0eH/
lgq2DuSahhJLa+9DG7d/NFH4yoWkEjEhFp6yOgvgNtDgzZRERO7bYLy6xmTMktSsMOt8WJP8DjT6
vIzyYuzzHIxvCJmCYRHiso9/rj3aF3G9LaOH10OPSYYuc/qHlVbNADOanoBwgc2ZIR8BzDJwJTbU
NqM1rVXaBgiarFuAdCJGVUvKNcwauMv0iD6I45bkJfD5cq75BV9E6DF4i4FyP5xV1VXR7xA5VMwH
4JoNacJcUBSmW/jm6NcTxAocoDplxvRlVjyfY2EVaUfgNam1pgiT62Y9+z0ZU2AV0C7Ab+Nin7mw
5akIy3xi6kk/ZWNBNIXY5/Y42cKznnyd8AIZUvXLGbfMWlBLLkR4VGTVQvNOGHbc8aRPb91DLnph
tVMlA2Ns1rBNgSXEqAnoUSX3uWIxfK77oQJ6zQtE4B29ffqedhs274Cjv1ABpc0nSpYzksPT/oM7
uhtGsMX6+5wd7pGtOwclxYsU+dUlRiy0KucEE7mguPMTqHDO48Zi1muh6mouKWyJxG9J1NzYvYpi
W/Jhd96NQO8Xxhvl/DM/xw3bQZm6T1y1O15iHBE8AmpocIrKSNpXnPIqOq8f295e3kNJe0Xc7YnK
zTmimnRb2IOkSMGfShnqAflxzcJ9C4MfvNRQMLckRZXOKelHfVyTY3VeBoLwDOElLqcogrsJQJJe
74gP9AsP0YD4HYzaO81aizEHKtLd5W0OJe/j/6ZcA4ysN0THbsarh3BF9tkaHO/bm3e3m0V50OBH
Rc1C2nz97+46/1rELEfjySe4bF+snFQUK8zpGM4PWJPC1TWvf7L382uq/4n6z6fnEHhKL0WkIP6h
UKV9WE6mamsJ7xT3EfRzA78k+Cyw9vw+l3I0tiUaMEJ9gCGxNQ9HMWk8wRMBzQywlpz0z2RL9ii2
HycWyFdvELHENBS+KTtcu+L1ADrVG9oElAEYSCjcwwPjQwWRbNVqJtAKvMbO/QYNZRv22URAVQnU
5G5yhKmPdCE4n0xQiDqEXKj+M/p3/CZMoGJrhZ24AW8bhplJArGpUQzp6p5bhlkH3EJ47J3mNa30
vNpq6KCJDFZdbDYthjNuarjik8L6UAKQ8oUl5h5fj/0Mx0SEBSEn7NLHfhQMN9Wql3THH1mdX3uw
bzeXAFyR+CVuYXZboOq1+wvu/8gqZ1BsQEWGMvAnIZMh5I3k+IEHImEzt0TjVb4jEZq0oeYPR33/
4pR0BZcNgAlU156bpzLg/MAjlw2Ej14XMjL8zLl2kIKbxwOD+QzseZoy45mXUDNHcQ2ntGNWuWSM
TuLUwt0uwluGvXOInbBYMrKtIIHDGvKGvVi6DMRiP7vjgTYKkG+OWGthLxFU5pWOsl0iAoJdVE9y
nBpYRUEiwnNyWggCIf+FJNCMKQyI1x77fbaD0sWClquMLGa2lriPh/4Gvk6Jquata/c9PJPHtEX1
tBdQKI/q6knTBcnUoVjy0jdWwXb5l3zodG9ZbbM4NXtMuRe/9GD0bopEhRL7wGCGhNbwsRErrJEj
OW9c7Ikzn3Kc6BeqbASjDPwOqwHW0tCYVCDBxyJf4ZhoMWG9/dfkg0RJcfqToVl6I+tmf7Ingds3
EzQj7kcnR4FFUAY/55zBKl3mHhJSA5s6k6HoJAak75GIEXKKf55kdCSoExLo9YFhL7N7UEMAI82K
46QAZt/SmeSMJ0NMjyuPoHtPZAoCUHLRiiTvgkNd7j9z7h+XCG3UEd957tMMQyb8bTSR0cbhu0W0
tyY1G6YFhDKDE8cSnYw90I8W2SNk83EIhrYcuNeEVVYycnth7ktT6H47XBvTZ5zv30B6r1B0HnjQ
pv9qJNGZfHHstHh7sGdr7e+x9R5ED45dEo9ngFipCrhSLgi4Cwr2mQDXSTm/pPwCdsdy4TSFMo8f
CT5MxN/Rfa/GEMO/NJCohJyZlkjhwNAOqoh/7LMIELmkzYLwIIdkULgP9znbR9jxZIBAYy4stjfM
PAi0NvfpjBm9nNa836ST4bSJPjhUWUwyEJpdKFs5KmfEu+xPv464uouJaEDZpe460amlP7uwyO7x
WTUEwldaYGegIWhw4RVQ5F7oP+7wnYgnIyecucORgdpK5+dCwWK1fZ3iiBEW5gDyK8/EOGM+Jpgc
CJf9/vQWYl0caOBkj5AcVvgjaKzgwZXsr3D4Q8LwzvBadcUEw7LOJ9MVEGswqezGUqDkwjOvEnxd
Z/kSjQW8XPA0Ger2gMTZs/EDmxWv97/UwqSG0cPml71E/Ca6degOZ6z3Z/eMMGP/xIEWX7zGZqBn
xn3WPicS+p5hMb2ZfE9b/DwC/35jdPvh6cu0ibIn2wPjaxU2CypXwgBOMQRux5Y5OSefbMyemJaC
zCMEY/PhpOQnQMkEB+dn9fgZ8ThF/YmCiQVxi10ledkY7hF0HN2xVOhTEccT9pU+NoK0Gx3o9JXa
WJA5jddaRMkLb86XzPh+pEXnjFRnl8AAfDHfrurxNZiRJ7epSmadvKQmTsQHIGOPh58VwbAZVDT+
A1UV/zco1N0ELto7O18odr3lLUPVa/WCakM3QsehTqrNZVP95enJOIX5+sSDINFTuISutOnDu7tV
xqKc2Q/K1vL9B1uMZLQIhVMMubE79mHLYsI0G62V2RXb7DxFi8wyboIp9o9PEZx5qu4I8kXBKPs0
8/24t4O6jJyFsfeQB78jx591DpsklFVl2kY3YEGwK9YlD1V/iO/IEpiO5Dphy9zL2Jk8mavWV3Ys
1E2fyvb3gQsAFUJbam8GGHLK/yBQQ6XePK8G8xBeqxS7QXxefHGFoPoXX/5pC+YPiQuJijJR/0jM
1pbD8Ll9xMTBuzks1N7yxYO8kZ7cbZ8/mNVjNGp1fEG3sR/uzrPjy6YRRtF8kAX9tmPVPrQe7DaY
YqXjkOPU+V/aJ8QZ2Y2hjr04Ivxpi/MBe2oI750DRopMLJPRkk/GYbNWVux05hL0XZ+ubAz96BFq
02o9/Gtm9V8zOdNJNcs+7Uczv6wfcQNnTNk1SyV6zRpYKu+4TPpQ1KAvUcrnMsUsh9yNXgh5xTMa
uar/nmuTqwtU4JAXH7aZWKsJ2eBtNmQ4vk7yoIBuzfhVeOBBXs5yuJchTXNZwl3TBvhWSuuwty0O
DHe3EgxP7yBef4OPz2qMO+VrvDaC+ygWStdZ/w+kBm7G23vHI/cb0BFOACWfQr/yYC9cBV+I66Jn
GrFWK2e8bN1SSHUJ3c2XLQ39jzU5tVlswWjbUBYKcvEQNEAgAbjc9VAdNdnYeoFYcNE5Qyw1x85T
nyD0Iv5VmQDQ2zX7G0wIkncwWNGjx6iHbcLvKER0FCxi1GWPvR7AQHRlQkZQGb3jgXde5ZMmIf48
E6mb+J1milfEQ8dsGYnqWIOGxmLcxwNy4Db87+MlkwDblcrDiSnrcKHHRpWS8KHdQboPLP5M2qwX
TnsWm5Owy0ABRMOACZePNyHaPxQrfrG++yPUOdq8FJ6WhZcndcoObDV4moXwJGg7HeI4tKTcB2Om
zfmnfcnGTCrKvgJKpjQL9VGejdM8689uK7RycppvzlCe87/fWjpweIHBZbo9/uDqO9+xtIP18hDi
RfQPkGfFsWeTwLZWAZDmGX1s0GjavStOav+QadBsMGl0Pzr/6btWN9cFh/+3AguAyUeK2hdsnrqB
hLDJYPvRE4jmhDGSxo0ZNlGIicMtRFsNhQmEkW9Qgy/pkUDHX9ADAKg3X7ZgGW8VR1gdIfkzRPsC
e+8tKL3s/hVoscFocV7DA34kj7vxYUBWxT9vMZIkgQZWe1p2OhBFO4DUXNPE7a6zjA2D26MQLDsE
3xC2O1ikpNJghwntdqiPNSJ2TECKT+HIkvGJW+bXBXRVhdm4KCx4qT9w5Mrg5I7jiy1A5RVi4wwd
Hp8HEQJNNsjkHQ8KxQmmtPwo75PBPlnypfA2LVZ1VnI9L/mLcC7ZQV4yhkTsy/RR+lxBcCWYDM3V
cz5Ayto6dF4mSSP2H/CKKa9HYbNo0bCIiLy7d1tIXKKooGfQKFEXajG6FKMja/zuaQlNWT69LSr3
jMckaKlBJOJ6kF62bwTeVTR0f05z0otFbQ5tXBa4bB+JMaSCP2PuVXG3kkW4fHC1n9i9PeYYksBl
kwBj31v+0PRGj4kYOn7DtnqZQ0xInizIOl9MR28o3kLwrPjVDrzYfrPVYwKDkKf5CKNgWl4y6gD1
X3TGs/4Kgw9tylZqNaTUb1gpnLfUlx/LAcFygI5pqLM7HlFYJex/x8eCVAB7cCiBaihYvP8bbTbO
OlwWZhgsyP7Xk2YPiDdYp5yO41A1gBJjFtfLBys/lvziJMHgWI4I1rWv3vBpYqB3w3eb6vc0mqO8
4r8TlXcP4Ddqm3alJHegX4F2Fii864BdASwGNr4/VAZyOGzM0+KcfhxQjSMb6ZbMA6F/75tDKs9n
cfOowVhi3SecrDztltCug1HQrE+L9+otxDvP6J6eU20m2POIHp06KFI5aFhO3yxBRRpkyC3N4bTY
noN2NUp+rBo+QY/pSeIpa8kgVGeNr0ESZpBJlKQF5aZlNPjA0emfsAK7WYV/8qSoWg6iLsYJGAYG
zhSrZ1AtHlaPED2YNOHwZo4+OsoJZBWaVzi1cUpYbLE819Yc3/3APO+qFR7U+aa3Qe6AAAka0xTf
HKEfKOLfakxXjswyRVqUvffDsEVePc5+aE0gFYAVDOY/8vyYqNcC+Cqsf8AEyMmZtVtplsE36SfD
qZbBoCCwobcU+EqRSNDUqmWxvETs9EKatY0SjblJJiAGtNKI9R5CBSp0yuWkPWoz/IK69AzBk1MY
sQFcfuPnsTuSfswWxGeXd075N4BDtATo3NFdgbtAARhhl4DgYZyhnjhtKZRldN9VG6RH5wNXGx2E
8tfOx0uUB+ynmhS0dsOuqkkoRBxzGGHEaguVZQFwyVzsa/vvjG3xZSXJCGseqIz3lz4B6NUBtxLU
KoVnru7sxtEGvGkHEF/M+dlBUdEZzFkRQmQmwq+GTimToIcIYklBZIGI1oECi5QCJdfhEh5MA5Er
BZwub8qTKWrjixPljwqq9/FqoM3B+QPtOQY8h1FWa6jQWZy9j0z+FfY0yLQJVEeGlS+5ZpWMiLHn
gUw4RNoNsOv9cD3wZ+p4vMNCg67PVw8EoKqrMaSwWDpe0vOa6M3CYo3zYUZrMvYqWKcIYn9BrnHD
1TVDUsChkqmxIKs10n6wS6SHh3b+PIyOCOTykwPoWrBjBt0grwQaE/BEaTDY8f9LJJIf47nS4Khz
Lu8rVn78diNIRCdLBl054z9HXVX0jwdoHXS8H6gZfnqP22qDAjuVd+8NcTHol9jGEAPJ3cGDFA5J
DBKCld5LK4aPHtpSHBdEa3+HgSXvgHMp5FR3ji/XNnP0eHIHwz7vGWoRKG/Lg/h9IrZFSJXa5LX/
rb+CQT+rl18ofXn6Tuq4Cd9/QPTQiWLuinrJ54UiezdOa9oHvqYcsNpmVu9mtMarbvWjzvKDjkPM
cAA6ldlv32eld44u83yg8wp/odUi/8RShqLHXTdHKcUbQA/c22GYuPxO1bScs3ybD1bIX1lMvZlB
r7vvtGhE+MqOHfVXNS+Z6HDwdGCzLdE04B1P70xHd6Kjez9suD8wn73rlpVk/EiGfHnUpVcDvh5D
2C9kIfJOCxajs7tIplMynoWyOO9h6qq0y+quYuNTsUnOtDUiN8YY5LT/1uQ5ZAhiF98JCa4hPjXs
9y6bM+M8VixQsFjDwW8fJL/j8/BIWSDcthh25DO4hWsyVIPPSsHsJvp1Op4msPNYtL2ECuSCGpS5
AuUeKn16iE2zey+L3ShVlv1USXr0QKlCl7jmbSnoaug8+NeS6/AXnebXmJqyUpc50SH5jl0SGS0j
LC+aVDyTrzjlwx37crqTYmgINiJGXayd7ybFh5nru2gPQ8kQGX2sPNCG8nigrZhUuHJHTeKVpHnA
IICmYGBUqvi8iq/x/bvzS4EIIK3GLFelUIDPNUhxjDMkHSiUUASWcl8v/8lNUVPx6w5+Oqf8gYvl
v3+VmRS9Fyyo5dVwP4B/sVHhdecBf0ZKqBnKGpeDM7rS64yfuEvBouD6FX/vpFWN4aoh6ZprGTUZ
3pbYWS3hN0fNdLQr0/fqFo4WygKlrzuYXRft5Dwf2kr4Zpi97/gbe2U6wOtuBJrO1s7IZ/L0feRH
aIPB+p+SM5DTuzvGLQE3mGULt07hooZ+qkFRI5JvPuItu+hXkKpqA8Luqyw40H+01EPuGpAXFAh7
GXkhGkEcB+coauEyNcfHtmFkgDXEphuVvfFdStRBMk28UfKEVwK29XDyrRZjg4LEYTyrmSpg53K+
w5PXwQkuJWJ09B+mKp+lgDWTE0sq773vkI+oKU+sXOLEkiecsiqWF32v3SmxHI01o1vKIfcE9CxK
RijtL7MHKtrrsiRcZ//BlzqhT0XVtqmm7ykrajqrDpwEjfzxvkCLd4oUjPVod6oVR3Ec0TZ+4243
Cr50BnTvjOkNZuBeH4UUKTkF9HGacoToTEMzbMQeFCWq6abtDAgpYCEnnR9X3nCB8Sx5ot/4N+tj
vwS/VQo/+w8FFfOtdYUR9KEaUZJbhvk9LNYXPmmF6H+uDcrsPsyMFat9/iyCn8N5zVFGLUPZc+kT
r2Tu6nf+nIgxKclvv/1xzhHq8ytspH0v7S0pp7ApIeauKZdD/ocztnCbOh61pqiXICGs7gNpM9yz
kgGyQ29fZPAp2cMAsEzHMNfUwnzh5Q+Bkl8yrfEokHdfAhX/WRLhTzK7If5hmV4Y45sBQYjD1l/c
H/oLJ0x8OuBkoK5qrNe2g2ja2qdY85u0Aebq6ypRUB5BwA7iGzR3LsJU+6H3j2ipwrv59E68jBwH
qCZNJF/s1mM3/bYgCYOocQ0vuQWGOEj0+Mcd7kfjGSbLXNQ2q7B0yLOM2tp9zsc2xlKWUI2+ToYC
J4kkX+8J6QOVFC0ZRoejKfbyrHVvbjsnYkIFc2BEhjAZY5LECREWWGxT9hLbAUgXnhjpK4KdMBq1
4KE5TELs/m6skG4hmzNHImZQoQ1CIkK+KH3KQTBI6+VpCveGV2tL9sOdpZlmDsyhdYPCKfjzpWrk
5Ln+awCYR/hqIw93kejMKgrMEw8C1BBIDtmlQLYB9xI0cZaStpJ0rFuHNvf82AaalSGYU4if//N4
cCatljI+aQa7fm5YiuNNkHynVNGPKwPNX01BGXy61ETzE3c8VFu2O7s3/YKa3c0+vljq9M3C0Kdm
A9/13MfQ+LgK4BToGm8YbBRuXOuVtYCsI2gOL4JrbtbN0mAOoJGhtG2eD2yMRjxGrLmNTd9cnG1q
tEwFoik04ICB9Z1FEBMWfr0U1JbjduMPI6lHgEmXBOXQ5JC4mLXNocos0IU5w+UvEyDv237bx+t8
AIsCgp2ON6kvrRRcJ/hiNRsnzReWVQBP3eQFzwMkOfnyFsG6ME+oe4n/YqNkyI5AKnAm8C/wnZES
8AO+iEG4z0V4DqRuMiI6kpcv85H4x7wlmAYa3WK4uKE5KMya7eMb2hRs0ZotKyKO+7Ye6rAuvxhy
sH22htunLv4uGh6L3CPmXJeaaCneYNYm5UDvC80GdmJQZnDu5Y/xbR3OAB+lbGcH1h8RMWjwCW06
Y3d2Mn9o+C/oKv5Be0+oF6vFeXbiCxBmS2oWlk/rIU62ufEy0Q70V3BAFyKEs4fdZc+6+qPdG476
Al8fKGyA7GEV1rjmYWQJ0DPgmXxNotFIjpIm/99RIuHmjwcJbQ4NW05gDdlMgBYP83u1gAqhogkm
vT6wVE+JUBy29vZs4q84I9551tpQXawe8yCZxgO/xO79CkWaq9va0zLZKFCW2wAbZpoatkDocw3B
D9HVOB6zHsebBKOoP+YljIXEm9CxFmmISgDgB3jsYR0iL8UL0BpoAuopgdwzyrCQ3384uofKENpk
Yzn2ftQMgPQHR5607JvfsWuiuWxYaHz1F/0ljQ+dhSRwywtvIVcOpDm2dmArDRXjxIZKNm+4z13J
4IMVqB9AsNyDcIzoLPw0StlC4USN5NMxgQyyZsaaFicV1IveDZYGKPKPLFKyyXEICgc4+n9SvCYs
NLfmuYdOSZgWavqI523yCeUWScgG5CE230L5BeSMoc0f7QvfSWVX7nReSSytiEQuQpYKFrUOfkBh
Uf1ZoOqqdR2ao8kAQswE5m3jtTi9lbB34pNASU72y6leRoEA+slAhfkdsm/yvM6A2KDh6L6hpGAH
jlErPyIp2ExZs8EJR73lyQLmt5ZctVCjWbixox062EME9cs44QlkP0MIiR36c167BdHAs5ZMBF7C
A2s1m7mFT2+ixRKZWTX7J664sduaxQKPKj5xGhxbsRimoIBzr6Uf1cHOUDJpxcDkOyCwzlTNtZhO
6UNMzOZ8Xkn+9cM/42XJhPgZRdwn/wU2X3+KC4wFep1yNXVsiu7xBw4LdYNXf2A2KJjOPx0eYXGo
Dp+02Es4NOJBZvXt08XA2KEgrDT70tDSNnKxw3uFtPZXMfjw7wcw35ENTVn8Jf7KDzh0nMj+PWLa
7CyYAwsoqm1yXjxMtsUoSEJU9ZdNzqIeQtcMLc62tyh4a6FTHnowpcFx/r0wNNsGtWmCTIDXr7Rk
42fe/dXT3QwaYzN5O0MsEtUdGfAfSuh3gi3BG7WA19c3GLRaGID6JyBNFS40O/5EClBVkKXDtgU9
oFDF3JdPq4cYCzjfEwKIDwWZC/G31So+7vxPClroGASupwrMJF6XWLa/8OKwpUnv5vFfmVbZbYvA
n2ZxOhQgzg+zXAwUo6CWYOxpjUgNk6goqAQac2TnMEx6SRW8gst67HRWM2tMOWkTNRXEaSRPmw/R
NnR7P87zDaMl4Y30Ch9fg4P5EIEsnfU+fq0Bpfs3A179dxLFwuXFEbkFIri1xVp8S6AcZEF4Gjg+
Kkfujhr/l6stqknPVAPJh/6moWA3z1Q1bpgvp/KACiDlWszNyx8XOQorjiAuWIQ7Aifh/QyhEUFk
6fKdPEVUHs6LXrAlPgt2uNMFJUGVTkVvPXZKPYGFwpoK2R7OL61kcF7HtVGxrBlbMly4C+wjYDne
dIYg6uIAwcvLbL0a2To0ZJRFb/0FsAkE6QO+4lVxNunejEHEaDYkzZpqBZIMJQRDEfN1HM76PlDa
pHFPiYS7jGouxQeNl8MIkIiqB0JlNa5kwYjenSzBp0RPxQk+Gy9rS1eFaanw0fw5Q8AeRhq+N90f
uwwsNZ8BkBz8GlXfCmn2iwCvbEhuJoN1a/79JnfnglGBvuZ+S2AAEVsLJso5hE61zgnoNht9mQ3F
5CGAUh7b8hT2o9qGEJl+raV+9T/J09jnLhWf8J2HJZbJ+BThtKADu4jl8h7UFg77FdIG4Xz4ZbVT
xVhK0Inuzh4c9cPfYpYwlWUZjs2HRfOskZ9IJ5R7/b5Rtthrv9wyfIYni5uGx9cPkeIFb/dm15vR
7qsHlwm8cH7L4fpivx96nZTJd1fVxmuJZkvQAMGRE1wTFj27z7DTQAOng8QYIC0dplnQnQdt0/99
g+TRuJlPmz6IDCPqpJ57rGTXl2U16U3hbPuiAGkAALj1FRictnrESj/UQJDu+yuJBOXhiWqQjw3u
CmIM+n/6Vj5I62NDNjbBn+raqJfvi3UbWSSdTe/W4qhB+60We7iPsTB5X27PWMvVwkRReHpd/sTK
D+1JTz88uGFaa0HSmgtnH8E2xRUROxgz6iFoykge8Iln381dx25AYn2AOJsPosTYXf3/VAcfHTdF
VGA8TOxrcIJndiZgnk3tCidJVL4X8za92DGLRz/6JhqAJjx4cDFhrdE6YPK2ZohNjxGP4xH8B34M
xk/YI3RI24buVdiIlrSFRzDo1cvNTZgR4WOGjYUdo8IErDZOfwjdgSyef2XIa1hLvCQjGBPECmH3
z2k8jGMtGliDDdi1/feY3h3N+kVD2qsxfx2KFCP6k6CI7GQygh7XbSwaxSFWV+MIQeTgYwFIMW71
oT5RFMFQzib5J/rIwZDSZNu9HlgwJ/m/9V476XvEGn4sGUPv5Pz8LycTcpNRmWwzsQnhgL0m0rZy
BRkYDM3gaZKQCXkM8GHM9+RiLpKtap498S6xlWdAUawzdISLlxDhc6wsYBuAx466AazFnAYPiv63
iDvjOHYBLmx+xi5hfB8oFLdZF9wpHRivkw0E1dmIzq2BAdljxMv0JVIHIwvQookwZGtp/DSdmxsK
B5Oy6AdxyuM4dlPO+7+mTkO1MjBPOOYNbG7NKlZR2jaTC1fU11yMuONr6Bbs8tD2AKreCHxQmN9G
PulWKZOQGqDK199e7o9oUqhh8LDQptTUtwXVGswRdq8FgYd+4nCHeIO4YnynZwddOzFLKEjqaov0
SC6KY9+8YS1qsHDkLFChO/7Srj/hZfTzZCdZSD4S2ajsAsEtva9lf12g3uB5/BDpxWZGYlghPYHJ
DIIhau6luiusYVRD6ZC8lWxJQ6d0F9xwV32AkGCHWb1JX2XIfxVGfG00olM82f9udGAe/WYLoRE7
JoRIK26Ak7lAl8tyme7gw397JJR3LIOgHWF0DXXx5vGs+cDgn5krdqAm8Ut+bv1mqkNTyMdKs21h
/NLMpF2OVEzV738N7SGWI3V4yoatPiWsAyqPfo9U4+OwUa+uBn4uQIxDn820j1uv/ePduxqlQTS1
faYFRRoEdQykWyQswrMnRbNgq/sw64XIxNMYzMTm+stAWzHw4sulPw2orxDbVsDIc3bMvG+7iz1F
fdK3wULsgX12m0C2xKuQewwHRkFjC4JV2n1EjTLc+Jd3TZE6eQuVyHVWirBs9dLFEWeWi7aDfu/m
H8TDVewGu9fv/GGfLA70dMCzg+Wla9YfGxLoo/PakAx5/na/bvtXuuQBCKkQjtkGpRTtEe/X7ucy
DfMm3zFXfGdibEMJ4A1AqzWuwSknnnBx0YLXwozAbZ27gXe1deFyh8XGhyq7sH3gKoQPUMIdnjNT
ZqwdbumcPZ7KBIbey9zZT4TnmxvBCLgJ4isGCko/XAAVP3fSofC02QGdMJoJ4Z3H6tK9baj4Y2Tt
H747xNw/lgM0JQ8/W4obcc1ayAVKbkaWmrIumTFLkgdCnbgluGWzC+pn6F8x976bs4i50LmivtXI
dGsM9FcEj2Pcx/WaScaSikTr6AxUBMkFkXcP7Dg+sLaezMCV8NSmNyeOLNX0A+wjWEIQfb8ci/ce
shw8D/72HWkMnjW6INdhEn+yVwQZJpUJnez8cO/o2756HxrAHyNdqiDxpXtBZ8u//RBOqB49+eXq
FK37ownJPpPH3y1UMKBuuYRAO/5YoHRQHOmhoC9VBjca5W9w+E5z3sbwbsx5HzB2YxxD1+XmI0OO
hiGSPghVY9ErG21WMu0YLHUYW7HZgCqA2SVXGHsUgi5HSQv/EvPkBNC429HmYFXMQvQzQbYzBXnk
hxGWpBeHvg+4bMDRWffj20qEauwv9Hk8DjjrmehmKohbRcaUbd/pdkIgOYy9uA3WcOBbdnoK1Fsg
XNwo4VrkQjvWtDorh5Jsi1XnaOjSzHwCbqKzxskrd7B+QcFQ0zu9soThExIs/buTUt5EkQhxt34I
wWGdJy0adXJDGlMlqgGh9U7huv+ahYGB0BeD/1NC8w+JHWApj1gT8NcZ6MhtMH92Lf659fWoDGWm
RSWSNfyZL+ZdV0NxqJqeTgb97m02PMPsYa5EGUf9NFFUjgGKCzSzH+fpU0NtXBQx1GB5T6cyRq0n
Ot03ApGrdQN6f+ujUp//bLR7PmI43rlpPscgTL/W1LmXmf84Gz9bs6+by9UYU5rxj11r1o7qchRh
GyuOeJSbxAJTACR7NMeHacWHDZt2RKX4hM+/kw+YMmUWt+F9tvqR47Fl3KXYkC4AQGZdE8qjlm7g
w2O3xVfhA3lO+rO3CWMnj1lKvLD9/fK6cAdxKKWDnHaOxHoa1QtP9Gw9DQWQY33Bh4GqTf4GHw0f
KmN8jlyfDGD9atUQ07gEeDS1UxjXaEdKhDOMcdVnYJ4CgIsEE3TWrfFbEx0CGICbF56obxMrDusZ
8ieATnH47zlUURp6Ov3+stnJuAepdAAGfQ6fEFg03UF0sy4ZKZteeQThgPkDaINWmudECmj6RTQ7
1/Q8w3aJx0LIMtQUTsCOkp886apFU6zZpY8H97TvXp1d34YHsvnZDSG7kvvlVRIoZ0fZvW4/jGyC
NgZkRwkuFzL/6w2C8CWoqfRLsOshyhssi/PNNcqTG/oDIFDAEBSY2LyCY6KNqycUGpUFd55ecxN2
Bhv3GHXhgu9JeWXijgZzZMf6yd+Jdw3EAwo1ACqZiMJvaiiUMNySbr0DcR94oFBciXRn112+xaTV
0uzxkRjGdgthAZICu+tJi3XsC6+plsaR9diQNB5e369NQAeWpwYCTv83Y3HHqNd7gUJg3MLSziAx
2QdqM64bLNyMZsKoLnrpOV+OHJEZDvWQFbEf0dHGMxuQ3iNqKQMdYckAsdScN99mBIrwIYCcOcUA
JBNXzQC6a0cADT4mMA3poYkhOkxO9qRCXNyYi+yMzJlsYiLghtHdqo9wnadQoowO+5fDC2tdXXz9
8cdUeBG4UZL2KjT8ESUI9mTn0v/jLmQ8AIzp7CHmvE0GFkx9P1nFRQ5f/OTikyW480DQ02YDGZrs
k/9Iuq/lRLIgCKBfRATevNJ4hIR3L4QQ3nv39Xt6NmJid0azK1Bzb5msrMxBrrqNA/05/cjvuTo6
FPuESHDpJApoWfFYsBubrA4iTSq8lUngZaQBsn+klcxon1McJbhyhMKgPi5IlqfnYD2+2DweHHyX
kH88fuY1u0ZJZzNliJGPY8dfpBfe2A+QqXfTDBq6AWmpEC2tNKBYKJ4OpU99VzhUE5WPcBcGBAhn
tU4C1lGCjRURUvLZuWW74bqS7J065zK+SEG9OTAX8XnfymHuWdWyHuhMG2oFZU0O7IwbSmXDFWRY
EFZbCjRPm2/TDkdRDrTpK7oa9jbTUmYh9fWpb3sUs8p2xjP5+chHdcpjfp2UfLvOsrZs7RsfsaH/
GdH8DxZhZyWNAXfE9UiXEHyZ1UxDdoFdw0I+7ElfJetmU0V6sKxF1WR8c91yU0U01U3hDJRddXLf
8aZJezFWORQu6shhNoDTeM/Lb8hGr5VrHgdeYVfmVpxOByR2YK/awJ7ae/wWacO4A7RIJGzDh2cp
UdkX6VAWPiN2nKH8kvHu3NucfM9cBBVhw/qaZhjNlMhBSej9XtdyJbyT2rb2qZKC0j6YR+d8HtgC
9Zso31EFtKJzMaxl/r/qiNlu1UfpC2lwy7CsEcsOhXMj18421+PH4Fi7NlaOp/+uvARCbDkRRIrv
UaRo0FN2QClAMDVXxV6LY7R3P8JR8XMuupPXwIbo0CNUy+/h34VjOaZyytFZGG+BtRJDVnSUSUvp
4nmQcR3DwOivVh2yZpu638UGWF8xwi8cyNftwxelB3MvKGMlBNaSQQYqnqmA0ErOYSpw8e91C6TB
0O0gzvtzbECuJeerwyJ9lGjS2Jez/TY4lDztHCOYqPty6p1sh/ZXuRLe26p0mB6D6ae0Xvw7AXWv
f3XK7afJR9Sy4P6F7dgTfABjaFWqXsebwqHQv9bXWvIQHjS+ZDNAfct18OCMMQfpU/4gnBamKAw1
lXPhrPttMPcjfiZF7QJKRbbg7J61VqJG8CySjjzQ+RN5Ve5LuzLrWCAfJvKREvgeD/1ux2DfgJrc
NQlugSreUkWg6OU55XPc/XAY/UyndCm/VDBi88S8Zlcav9E9w4Wxa/kmyJc99LzKFq2MoMzc1qqm
PUxaqfyYzJLbgm6TrPVPYTnK8sUKMM2RGoiQmhzRq3yssp9npsfeMh3sy7YELqWoqm5bS0yvzF2t
Fx5/oqipK5Ctc1HlONMNRR/C6QysDtnxhEN1Ke2+bgqUMC4eO7lCqG2Ts3qVEtbX9ctPSt2mDkrm
o5gxhanEktQOlvxsduTVkxNl43g1jAf1y9ksL2as9cR/g4ea2FH/yI9j+ch3qf/QRqGVe0DRcthe
PVH4w0X8zuEvYhq1aZjuVLM+75/1OKKxMsdSWxYAMUnfNixs7sVocVIecgQLWfRvdlnKJ0RdHJV6
2JkMKbT6ough5vESiBUUYB0fVYWuGC9OXIUovFZpG62jMWCICDWx/AEqqB5JhSDJIf/Dn+RiMCQ9
Uvu2JoaSp3qYxRsM84CRPom7JZ1D7wLdnOJv/ps/DD6F2eT7rfBvTiw9IYq+dXJCLAi6fp9mNbpf
kIFNOWoMFE7IMzAjYbuU+trXdp3Id3igrWJVyIgt1TXVZaEXIlmdZ2Xj5Z7hrDpTNcPqwXy7XDIC
OdpC1d6w0Df3efVok+QvPt/Zw8e+/cm2FWHiVtKMUFbzIT05JIQjK/dThQt10DnYQD2E/+5z5zET
u83f0ydHGu4M56KqVPXZTFXuc3SlV43mTqaLyVBYAFu1W/qQFCm2W4Hoc2aSrzvlimNyfkosXEnv
6hTqSnwSZGnR6cNeP6EzhQrzZlrhub3bvosGsWDVLX9SSMYDKobu/PYVjGeT9n1SuGneUWiLKect
RgBfxJMep8cpbE0kI5SQtIf1wmopHuysiOcQf2+n6s2ZV6sHHkYKOv1EJUNyPkXsaU1g+lij0Zga
RKhWNJLxUmKQmoZBr7L5SdD7SJTUnM1zXdpufrCuWjL8sbMcui0mBKUYGocduvqqDGXReqVzhd2j
mmnuFUg+g2t5unaYDoUYwvwB7XP/T9Whh4oLVRUzmXUVCAgnqdvaZAU1MJNtZli2hzVdok7mvLOu
Yb7tezgIYao2Ijm2lxUPsGAyDy6vwXdDJ6jxwsn087UdmWMxRAaiPrXw2O9CSt3xTP8M+rbnO6SU
9Px3hduABq/sCfuTFAL+ex4oAw4FEzrFKn/syefeaph/nadCTmzATCQLlwAOvM1xGVX92HAvrmv/
lCrCBuYDCjhrlMTZZW3f8JXlpjx+iPRKaYRZo9zvVHslyRAN/kEJ1K5EQw3ejUmt5aVncMuWbpV3
Mz27oxEVwp+blRycemLTdZRN2MzZ99Y9G4YmcpVUW6FhhkwoKnxLJ2Iwn2z+0tn8SJmM+iiPv5QE
pIXylD2j0o4ZUwH+8X0Oxi5F+TF8FuNFkoeakpfYfs7vy6f6bqAmrB3V76/qe56hxFF7UIKVmMwR
w3Xm9eKgY9TazePhjLpxsdv7PIePtZrTRl0OYVcYmx4b+x5oWwv/sx17+TeM7FPO9lOmz2RGYvFw
xlgTou99I4/KYw7j8tk/LDIpAcrp0aqEppWPft8KYwUG6aZ1kIG/L1sbMdGZRkFwqRLgaB+wnSG9
0L7sH1kjg2UjOVKJFO/f53QoP7VnLrLxL/ImBSsXBcoYd3Kjiu2QnJk/f6Rwn7DZP70KtvbmNiDO
kvLmnG6qRqrprqcC5GEbxvoyCTxIWKxYtq5ua1gPXo8gMpXVys7fYGuYWo91b4amofFi2KRDFhE5
I+21lHMsxtviUvX1E5cCTH7/VFJRU1DLbNzk7NVZi9hIGmSm1FZJZ3bVeLeVOHJ2bSNqTcqPzqaU
NZU41feSyfqbXB20UhoCH6Fo5MkGeZ1JO0TKPjRzZBIaVcrx0k3uq32IRTzs/t7olz2LscKpBF1W
AaW5coWvCh3BsPTTlyNtCc9TXX3CrHKek45qbkw/Fsd0/oH3iZEtE32Cs7EsyURavS1WnSHyl6xd
f8/td/GIYj2hp7VXH1q/ufeNxpN25AgHSYWfILoIDd9sw2wrObaDr/qSDIspcevVIaaqZnGyOvti
9Dcsb5cGC9XrKFvYI0kPYt1Iqngfuw7hUvZuljAG01cdkMLLJG02m5+dVbxz4WoZ41WMG6cbWANx
kqVI7/IO9ofgKIZHQ8otFuH7Z3X9fp7yR703rQUB9xm8N1RmqkdK4NznfICrUiJZ/rDARshhosHt
8jU8KgmT5fOtsNk2EsdiNh5ga6VaiVWASLed5JOmmrp6x6yQQaZf8QsM0vx/nefys0Qz8MFQzYPJ
FOl372JB+lXbAt5q5/K+kS682g8ro5qrIvrmXULeq2TQfFJlBn888d7Jn2UkONLEYuQYMlxJfOT3
VYg7CX07jrvWWs//NNCz5YaQWzrxt7GVa+D5rq8eBk1esfNNxePfhGZk05QhR6Z5Kl8M0SZdmd4k
Z0PYL2S8WkxknJrfffNIq0ZUOrVXOIlYkRTEmWGIlyS/XrqTfXvn101yPBhIAGC0dxuqWI+1VPGg
R9/nE+NEK1wlX5NXzFYopKcCMrh2HFOM+siMVVOLRPHsogFEu8tubGHtI9VaGoyQHb6WWHJNhAMc
Jcpn6lWLjauKpcnKq/8oLqvhTDJTxdmMh1VBtLIdpu2dhlykHQccBYyZvxknsCEBnAhlqswBCykm
1BerkQYceeRN8BC2kEV2Aw0+bLaeP4Y7VywTwvnNLYkZMjUUdZqoauhEjKV8ogCWcyMum9/m2VKM
6bObBaQx3UOEPVxLHleo/46e9f0uXUu5xnu4bvrixwJyn5xW0Zug54NqWkip73NF5Oha9mf3nf15
LTKf6jP+hUO6+lResG0i46DUcrKaHMVtrAyySUMNyuoFx7SypD7wp2F0O7ZBqnFxwEtcqloRQfQ8
PAweWHt8g6ZLg4zZoxUvhZQa99dedbRwNgLjED/zpuky0l8462S/Heb79mt5K/qVT9iB5T/5zj9A
F/9o3kdrjbFQCzGaqdzPjfOu9EwEr2MzceevEiwzlfWn+aH6ZHEhkykd8at+XghWP9nC5udWuY8O
A1TPur50Fw+eWzLGk8JhuuzpItJy4tEYTeicpQsRROVVKUruc6rxxZCj43PG9C/e7N6tc0GiMBeZ
qu/mtbRZ3F+lSKL8Hj2RdgdS+nJ+0RE+lAoSlCVRHTPb1l66u9ISTWpkQWD666LnZiuCRlI1LCX8
PL3jfKcmQxOh4nZK15ZJ8l2FdCTMdiouoN+5jHTdnixuKv2hrGyzPuJNbX5UAq86AK0eNmRKCLPQ
keSfapv77qbyem4THJAAkCQ+BXjo8V075UqJqWdgCtrJNpFWoqMDmLmT+hR8vXHAUp4fgRjvnu9X
ytpVChLtSPFjBvKGbLyqmWksm099GYq9P8XV7N+47brm8qZgUCFNCsu5t/+Sps+v/PkfAnAtx7qk
4Vju/mao6NIekiL05i+P5ND5VJzIYvwnZYEIzbNEyYBnwRXHaZHrpfwgwsCB+lGqRxKrRM282nUv
baE8ZstKQlSoIbbeU7YzHrvSsv3uc+ilPHlCIkk2UtVVT7WshifEwl1IVft9BVSeoNOgqGxjVX0v
SALKnLJaI0HGFW1oDB7XFoeWiE/1MGqgITVOX8iTdFp2X5PWk41x2FGRS6F7RVyrfJzejWKInBD7
WCrsDGjDHg/WOsoJmAjCAY4NOuWtYTF38JziT6hxO68SBomloIx/f0qpzgWua4bfmKmx0wC3Yvz7
EDDkFVR7SXhY2M5+52bR7xAhIt2vSIHqzN89J//X8FGqoyXclsrVL9CIb8StXcnKbbT2RrCGKHdB
AqGkUzm0EIWNFk+lK5/ybXl+DFJf1/LHZti6HG6cZbu3+hIOI3DJ2bVYxSlgaHi2xLgukhRh3htd
mHUk/+Xc9+KZdUq2/WQtXU6PuT9AsJZzsYGSw6l4JiMgpNLtS2GZcp5Nlo4GIganEm0pC+ds0p1t
7SkU1OPNdApI/KmfdIAzIKjdTgx1s9fex+L5pHAZqFfAJdAZHZ4xzffVznCs9O6HJchxHYR1OhTh
aMsO5InI00AtCo7fnLYTX3E970Bf9VwHbxIB8ui9hlIX+9NYlEJJTvqTpc3PpX5SONezo3gTe9WK
HU7MIp1vT19Yvd3xZXQaXW2plF8lsiXgyzfbYCp2k/Kt6zF/nU0m0u+8EIS2HyD3PmvhM7l/J0px
zLJL4aX/7WSN4Q8lZt3I0fM3fzIE6Kb2w9ikirgNkqg8sQoZ5xn+273nSVl6tBDrCrluOJhF3LPn
irVkELOtHGuWJr+Wv5OGb55Ude01FObs/2RR2Z1HaMIayFr360x+l6naB/XpUUzqLAmwXyv6Mlad
Xu85hcmGQ/1XPm7dMRm6HpnQIVumRqcQWDgM42UVbuJajICNUD5PI1PvzdASLG0tHQ5a4ZaERK5+
qTLrWhhDZmJc1aNwVaSkYQodCXGSoJ3LbqM6l8+xHI2QM2cYQQKaEz1/72BipLMp0ELU6h7Kj/Yp
GsTr+sZN+SPcWBGJcMJTwGzQPnlBlnehf7SJdm4eK0IJuURiSbzLADQEMuiLKiZEO5b8up71u/9G
haYay+SXqHrhlqbnFVUk6+5z2NgAhRB9Y7/8mUUqUT107SLdxjER7i5TljMW2KyZdaiqBgMgkHsm
/wl3HhBvC0vzbghhwD7IJl+09vozga5FOuD+3LIQgmkIFBZ3HJJte02j1yRA1ljCx16XAprnZIHx
mTEan5QTX9H5Rvn7dTJKjBaf39GQ1WWq+BGUdWg5Y69UuHO75ChXSzcYloJZk7qHzGDSh7nxN1/B
PMRtK5KL6G/2N5kLkp/gTU/H81eu2BMBRePLW6mgUYuNoscZEeANrUKPrclo39pcW5PE6EQFNjqe
xGu51CzjjbrRdvh25OZ8A/0P4S/v/+ZvLtXNpeDwHX2dN3cuv1KZ0SyO5Z3FXCyfIzprcvN7tW2d
bqR57q5ZUgAjNPC5wm1TgChp5ndkaHrn0YN92yc0v00o1QwJgSShEyDJ3Wnqx8+d+PNkNQRt6shV
6Ha8/VwcmpP+9Rub8W46ew7sSHn9JUOsCaAPNj6KT3VNPWNRexf7cFvTu4yOfZIApcfQf7ylP6kV
mvr7OMLMLIZc8HfmdoHrRgfJwts73L7KwtFtxF3yxlLurTNs5go5QFVOj21m3EYxrL4mvMXgOKEt
MskbiqyTQ3Du3X/N6teLlEDbfSfDNbbLNUAvO86XCC/rPO0zj1a2e9twQvOZxbQT02fruIhYxxyC
ItYqELe04dvGF3d/GDNOCH8DkQcFROZ2I7Se2bD70n7u7vnINOHVy/v2e18gFDhL/H3+EoPbD0Mz
UXp8/VUwncceiE3WXzyFLxKzHPnICRh0RIYo4iTfmtryTF12YU3pWZ9b0VHukz9MNz8eT6Rzb2w6
m+6mo9GzeeUnM21rAjvR5m4D6se/N7IN5r04SiK92iVTv7dvgzP+bi/ee3VD4Y1479kAl69b/r/b
NNf2wybnq5mem/R1L+wnQ23qu3LN1rR9Hcv1pu7NF+XEU3PXfXQ/A4y4Q+rn0kn2vFZiGgIx5nQN
YeoyvY6Q636oKgCD+/fWihVTyGe5TWODdZsOxNejk5p6iWsv2c8ND/sw2YWDXGfZSmg/Po6FegH9
3PTd2LGFUgkZPOLfr79PP6vB/+8JhAYF8QT284s4A6mc3iP59+gayT/NAZV7kHIIiiojHKJAb5I0
Sj5fXBTuIGj/Os30sXC+bozI3ixL3LQfYeOYHj3HL0hs9PeBSwNYn/j08Xv4IxQ9sLk3oEOfWu9D
ChpHMiEpbWWHnuxwL3HIf7rx39vsydMg3b80k+R+ID792yDTS4vVxnRylAGRy2suaTmsrYvN9ZLd
aCdp79pi2ekcZP822o1wQ0hyT1zy+qlld62xUu7TLmIs0rAQV1g3VAKhLuefuss44sOpiuAX2VD/
hD9gvSVCZntCRPsHn8RJYXV9KJu/WydOF2C+Hx9feS4yz7DccXFSsB+AzfQ4vmXzCdkdxQcAmwzx
dOP04zwCkJ77qiN6nXOIeI+jvfTvdqnbLiR/eSRhUy6LeTO+CCTEg2ErYWUKb+cRz0vx4hrRxKTp
T7hOWN+vA79i/l/zZqNebDkNl1njoXhB8gQvLgty69qiup0io+TF7plHyzCf2Gp+NbfP4PAqxbHs
JcMrYxN4+LmlarfGtNTh5eP2tDL5SN9tAY6EA3gUzk+4xJoQixY5I7eBrzLlmT9+Ul/PeeoWPpC1
Ppnq7hwLPeo7THeDlZhzUk/dpmLIqv8cPpu76XqODzHpvpkX17tqo8oZYzyfmn66mxgTrpfedn5f
BpGBK/DuvRgx/77lkuKywm+ws3Ywpzute3MN7YGgeLDP3iXEefdjkQKiah1RDaDvchfTI4ivA+8d
vnsTwiDObbwfhTtse9s5aHPLlPo+jj0CTPfwL/RZ4cAxVnn/bmbsclrW3+v38WcA6FmQ1iqtf48Q
uGYuPP/u/hrAg24oUrk0v8tBfxNkzK99yUiMUqRVhVMrtDqZxX4/IKWQ52cdjJb+2JBANUHXS6D+
pSBlgTv+9aT0wmOAHObJ7C7ydV2Aotqb4YUoIoLcPN4TLe8tOVOhM/NgRGVlZnoRl85QtrhxI6+J
zn9J68O4Z3r6XQCJct5uP/eeZ38CDohSCgSVp5nbM78Hr/mNfIAxfS/640Wn4o+f8HN/j87DSyq/
WRw0s533LDJOdnysvs0l/Fx9o2jz3aPy1L9/Z47/jusqID19lObsAS9kbknxzP6Mi6jHZ6fHV9rE
rAuF4/f1N1QXfXf3tFvwbm15rIKEHcVOjNRoP0MuYmip77GwDXiW4CF3oUyy0uoyVyv59UoF8vBj
FyjpLolARoxbQhXelE54kQvTtVUuXEDcSZhYR/YqjNqMEo23/2X4VKZo3nPO5p+WlLvb0dIiBeD5
E252b9aBV7eAGLeJN54M17R0jJFmx0n+aitKRw32mmV+0UQv4+zAbCz9rfTOWihEit4FR4Wa7Tdu
2dYq3UVqSPww/yJSZaBIULClKPj9+7vVI3BmlpV0bfurPDk+C4qEFcbxW2YPcpSRjf2q933eSv4F
vv0uPHxs+GhHBTz5UjzcwhHWxadEu6Z1m8fRSKP5FDUUvAP7CvOEJcKBlxUtspYGrNivCrDqiOku
ewNM3NlnH5xm2T47FMH+8XNXbaUG7o+p/GO6HpvVHucbTOf5GkEtWLd0eVdV8niVKOamr87EzOU5
vrc2WFx9B9RQ1kGZkSvS4mAhbT/5E7xXG38OlHdqQRLcaj7/XOYCkKsCKedHztTdnbXZRNpcBEBx
C6e16V8Y8LMo03Ltml4b3lbuUBUzxQRzEL9kb5z0fwNpJzxulHsJHPIkMoCZnv7hUHFa4zM7pu9Z
bHx8hjMQ+MR7BLxezj//8lLXuGKHZe/sCB2gxxMM0rcWSEQYEwjnyRa4rSwwtMerahgcvfLoec3H
6TWBJGzLAPygRcqxcyB4+1Euk/Cqhlt4xc3sMLohoG5JegEMSsNt5UXmdM9fzfoPBK+fA1M0s79q
B9iaOcyrc22n6jYB7D1zBeiqgmvHFnJZOKCuc2EtrispOkqT1vDzFTX9r6f7DzLDub9YWAVHF/6h
cKPaaSYgJDiHQhS7uHJiaLsv7ZY1EsN9zUl8L0hQNIiBDojXhY0GBWJ3KxsoqCVIRyeaKYg0Yc25
DzKJ4JMIv1faihOg3EUZq7AFxuPi9IdoF/ajYT2JRaYmXiS/H6P1IjM7ij6zK9aRKa5yRHP4t3Va
CfitCzuSob6F+UU8/6R1icD30PoUE6nirRpHpyRo9oE3F29WSw6FWzeqe4nXiGLssuWsufilcu6/
le10mRJlF+a4qewipccNG3zZ3LWZWC2y3Vjb2l1s7EIDsuGVl4U15H14wTO0f6R3wfQvHgsNJF/A
BGQR3dGqsJzY56XEnVkk/5bYV/VUf5nL+wKDj1bCQj29hKxSonsyi/kFfB7s/9xpVTUnP6f+3T7k
2MrNvWsffnSBYP56CfjS+M5icgBXB0vc7VHpjUURq/jL0tt89Vck9nYNBmz5d9ZdBnJl7zT3643e
HCGlQrIUMyTzobzzqRN2VCgccyMcsw5WBipqGkN4GBYuLOGMvh/Dn1K6B7CgUVUiuEJmHBJKFgBW
8TLL0zOfyJq85t+kDVeFp2LpE2Qo0vxbZX5O5LTbJ38evcZJd2W4RpoN/51BCo4UPr2YjapXPhPq
9fvS+m89PFrcGsR93FLg6G2xC8QmWU3y0VDL46WEmTGL6Z+bqb4suXSDcZaHJJu2YmS4vP1K5tPq
F2IdscA2HhEPHdk6m0+aiiMJoPMoZI2EkDChM6mQGovPoffV/+BYHsksn8pZrfQk0Gjluu822YCm
rm32adKnYp+d/kmYW+dzs9imsPFqZFP+yTdZFrJLrzWImsdahH30mCGvbaIcR5QBGw/aj5Ov7T9B
+OfXFpP4VLsCmq9+t6kwfOFtaKLSXf2uKCHQbW8eeShmWtumBJcjyktZ5NX3PFK/trFGfvpUf5Kr
MEr5vpWxDZL1SO3QIltaSU+PoY3xo0FwZeplh7t8mWRSsdahVMvQd5cMWz6LVemB+sJ7NvxWFelV
MnlpIl33oKhz4kOh/fzQtLSfdbJfeWxeWkv0H+uf5VcTJXANWuKYIKn3M7n8habHX9bwXKaVbPCS
PZCvLDinZf7/tNZpEwAw2Y2344Voc9U+tG/hCiTziwFMaTdMzOgCmqeU02HlpyMo2IlBCPy7DxUa
jKzYEemFNoHOlT4f5W97HMYoapXmZLhy4Ri0TAZR3AtkYU2pf9q8cjZorhG4WIUO4LF/n3TUTMw0
HglURMnk2flmdR1d98Rbgt7f2vbJv9+ws9DuXYfhyiTG21x+qZEQLQBkytdJIG1kZ59o8bBwMTa/
yt5UxrQhoNuivtUnbQanvs1yijXjcO0K1s91S+YeutPxjpbrOJ+gcECFSGkMILbnIZkI1/uN0jeV
XbRqP89mVctEWlAxQ5kAcdB9vwR+du3yB2MpA6cMdiS4EXNigWIsEr78+xCkZ0+DytnGF5VzWodY
oJvbDJq7ut2b8uf7tAqSoJpUfh9CIPkD0hiRtUKuE7MO0I/gUUrBX0ouocKzeHY/aO1d8iUaOJkr
J+5c/842IUaRBT2ytxJQSXTsboy3+wR6aICYAL7jNPCefM137GwVvaO3PfFxdvo2rJu+5lmZVQ2P
WkfdYfrAjBq4sa/eeuSCEyUbIENC2VpUTVEMxw+TjpBaqSLbjBcmWS4dZdwJeRI8qmlstO4cEfAp
TJd3vVRT8gCsUQANXizB1D4UZBmkpKozcnnTVHfye7HEbTNfFYEC3uAj8Kc8ikBqZwIg89Dyiz+L
cHGPBg9nynv//vQIv7zzPk+xMDrYexMKRTNSR0qVqI7Qg4YGV1D529+/pY8/TEfBJzJzLt0swcni
riJsG6o2aeYgNldnWFppuQUg9asqpfFPhUGMXuRah74mC/9h/iwJJ/REs6VsycyscuK/eRo/yvvm
lsLM7fuDQjhmGyzRdDNohotQZ+L3rG5upQQlmSjWyCbDcWz0LwdNa1iYl1RO9heX+TviX1jZ6PDX
Y0XOZBT51QQtBS6tc3Tm0unebrEgMY33knM92M+2F4N9C8etyewxXY51DLFWtjP5w9cnibhsPhbx
jtwU70TKLtLHNKPuVLA+OSwoK12mktBmsFrs+h8BQV8Oa5cFTUD25m903zdXVaxcknQh4Ze/LARp
76AvvQKo79Pbi/oABi+l9eA6RcihqDFUJ577hQaIQ6Ouzt6sii9FNoEA+69Lyr2Pv5NOOB5AvCiS
bK0vWtEGY6B2dnweSg94ms9GF0DsDc7nkGWdAsCDDDzwWZ7RXLZBTpvai/FZ/A6Ylo4ff2DpjtWz
Fk1ypb9uk8ivQUhouP5sQYLKvp0jSba8+x5fOsZd1/m+XFKnmaMVt9/Phst+baRCy8Taq7lePLq7
blSF8fv5UzY9mk/AkSqLKy/jenyGbvb3/J0bwCpgfK8/2e9M3JZ118+h+VGHoZ+J8iEcp9RJXwK0
LRylt5Qo6sAocPGeRjVmRvVYS4Egj/sRt6Fbzetb17Wd+cqrdxrb5niM0wP/G9IS05OxjVW6zeIq
qNNPupm7p5GRBJIYyZHx+oKBVo2Y+XTV+4D2hMv6rf1pwOdjPb5HLcvUbsMU+dTNxgeaamv14Z2T
xQfV8OLRiIwW3PI6fBDphxz+EjNpmfzAF7fRUP/MpXpOr9309NOMtlKcXY/kpgy6thaITvPX767t
hG9nj/Zr/mgIGgklQ2tdv/efrcws10x1UkM9cuNTTbd4481dzCgBj2XtbTo6ID2MQjbLVcEM9Xc7
2jLpiOiM1bf4KCKCvIUGyY3cE/CJZlLBXa3/L/tsB5dhsiG0jHfL4BMv0aTaA8f+KXExahVGQzGP
9U9qHmss/7g2h5VgrL8m61Jn6TuMNG7Faydkxh5qSOQJTCAhPSvYHDvU/+3DK5pnjxEIWnoVR6Jt
UK0GlmpRPUkHzCUAdqZbj2r699l/vvNAbAdaADyMxTB/LTxpNdM9q1bx8A8wgdjPQ1kIzsfydsVG
To0UeTHckcJN9jztTDg78JKZESUQs7bpcZAaJirHXmaQ+dtwRfj7UHU7KXkSzVtowJMb0hGE9TZ2
CGzAOg7a2Xq2/axlhuu+cOiGYaxdMUR0BuLlqbFr3XrrjrlAK25LQIk7/USCSYtfGbw8dSsvLyUw
NkPPPizrQ04iWVoztIK57QK/XtBrevP1uzkiDSyeTii58imyGZ8DyjSIRw+UTu12WBReYnUgi5Uw
78GHb55CsGPERdQQdd/PgX3d0MwAvwlA/ew9x+taopKq6Hdj57Ku0AA8jsGGRzfY9wynm2dZ1kL4
sSCCp308N7zNQJstPsUaPvann/Xf5080WEy55koh2z+TlwfdkPg0Bq/q0KaRBi7HkEy8zapoC1db
lnZd9ZOR/OcQCFFphMFO9B8uCmkC8XCyp3mh0PHJtjcNng3r4PDrLl/3AROEcep3Ei9kB3qMXR+C
8tAP9U+92zz6Rb22+ia+qVhJVtzpa9h3KbR0bIfutu07X1vntqDjFAGUX+dw5SnCnkjungRXh+oJ
BkQ8CkstR2Y9TbZp4pCMDyOpLwYgoxv9Htul68IV5wjdx7nldo2NhanVJNm3HykZ4pRXtDdESJb5
nHZfc6793AcbDZQkgLeJ0akVEkPPwef3DccGjghXFjSGlDzrmcWlHx+evlOLVV21sWsrX2Lfydlu
Sr698lpsZ+HyWS82f3ZIUly77+G1VJtUAAjT8AjGimrBkN27DLYKP8Tvv2w2n5lr5V7rQAtCsil3
tntPjSYKHV0VHouEm2Niid+XCx/qawFg9pBRA7yxV3vjr8fXITOHYciL0rb9vRb6Kzma8v25eVMC
e0Vi1APdQ9bDbMXmjkjCJocGMhqq9xn5AWkT1X9a1/8HMpX2cRoekrn9vAfx2iVtWUTmV9hlJdfF
rYZK3ySR3r63ZBH6uf7lO7TPWM+YuTPlWrxn8SrjqLrXugHmuCVYTaRwjTH1802JoIMhXZngJXoD
t/ny79mJkwGdJl7Ktyi6z6ES6SFmDq4sVgl+2mBawNkJWvlECQjoEONwcnnezFi9PtHvsqJpTf5C
r68VndUkN5frcMUx/dY+NtMGTZ9ABRAffVqR3mSWROSJteyisMWOjF6N1G96+FqoOAmOjMnV1JV3
Su2ve/fRDmeMCf4QbFs9nqRyo8EgtstDhKEklLKxnJ36+67W1Cfzaqu91cRZMuZHphArVeZqnhkR
7lpE7GYEspeICIWMt3P/+ryLEzF+LJJTt09WEPOfLc2El18O3pANK7mIVja0/3Upx+mEZX0IThEY
dlPlBJfp07mNxE+gm1Xb5JQYeiyw/IhMLLY/jbOVMZfy9kchIgCoxUKH5/Xo3b2Qc/k7DgEDxWs3
8yw8ylYfp2QefSyt+2w/+vSTfw/PVqV0+9W3TIbLmeuR/ds+QKTc4n6uf8tQ0OPSjy3Y8baUcZNr
4RQ6G1Ir/Vl+rfr7aoZtwJWhWmjnkXVvBxn42OzKHIjs7jc6x6W3n51+w8rsEcIQJi6RMQzg3Fxl
gvuMSMzX5zeUoGY9ZXPo3GUnQyu/l8WrS9SjjXub21gr+uvJwJrPfuxMCLulPRy6AesmCiDALUMW
alU6/yV/noV0J8fePNY//0g16uyvwzQ6Ov9FbD5xIP860cCP/j3/dB1f5sNDDVisTQ1pOU+MnWP8
su3XZfApJwJDnVAE7LJ41B61988jo/N6fx9+LgM4dc5OHhpMDaOqeqpnf+6FNBeeAyWH6B/G1Pxz
qGwG7H8NEYJly7FZDdKyUuNUvtX8xh3XIh4WYQ1twPpV69HZZnbxqsVtLzNQsma8LPPoKG2mn7b/
OheqgG76MWg0jOjtkDnVT0K3d+pWnxqlXk4DUc6usUAjxVmvhopIj2zZShau1ewP84c+mbYftDjw
RK6C5oC5ixOZP1VyjaONtdDza9LgRvLFLADf8VQm+c90x6pQbU8WQBJsxNnLXqn1HnhQ7r+23aOG
aUnMnhHy+FjB4iWlRVCrHCkUA1KCtKbS38nQNhS7MomjdPzd9lWlqgb4HjnPe1HT6G2Maf11ln2q
mI1lJwf8OBMbNpK+p/IqlCfSHtE/6wN5+wuujL1DGVcAEj2rMKcFOZym2UY7Oty031hRkJlPZ7nA
mvKgyn3DB1nvGM4K3EOUC90W+ofzcVd7zhQnQqVUemaDd2qpzZfhEjKi5hrKPd7/nfT2OcIqqTEi
IGXD/c/nF6wiz4gqwEDkpddYsBc5YyRUzNEh9Zx7NcALw8LewEz4m5yGnjkeynD7hFD7iLsajEgn
z/w6ZMntdHj/RluggHSVsyQNS4jDgI1e3Vqi/YtMeYLMapfDcnl8IACQVy7sasmB510zXW+YXnR2
vbBXwOMlOmEQoL4l+EBIZR8arzbxb3qxVqj0cerHv95V8e6HR+FA4dXLVWI6DW45DtNkvPwWfnwr
cefCYOX5Ff1aBtchne3aq89oiQfXjj3U1QLTiVRJjvDxk/sGl/bfZf3WzXREguhY0NOXKnrPA9t7
nVUXLm84ke7ZSJWmRdS8nvY0jqui6y7t16V3HEQUqZVnK00r3X/0Gt3+9U1Kn8scWJcc6Ji+QQ/P
aoau8gS5btLecMAC4pZpONnQfLDoy+K4vVnOpb9hfJ8GVVaCytEQmrKNZvPyO1H18pvK9us0eCB9
R10+pDVE2iilvl2RLtk4982vshIdbFBhbNNUnsip2x8+OONlocMDpbVZrBsPK+Tp7rrxam+Z2oBW
6R3tWpGSxfnKmYYh+f3asjJxIW9UEfz+J97Wtit6YjbZD63o4FDb/3BZ628UG+n6q/xgYBHncOaK
Fs+kCB/MgI6V48+7vGyT6ZhRlqoeGgjp6Oio5baLEz9LMh2xv1XxWkUI4nF5DN9uFd24ygOPQNBz
YPGf8atmljsBVaZSlH8HllWLLS5frENPH7bqpShh2O4qP6ehCFPOXOD1ty3tu9cq1dIq7ebaebBp
8Ncj166uYYSXq3Ry5f9YOrMlRbUsDD+REcogeiszMqg43xhqKiqiKMj09Ofb1R0d3Rd9TlZlmrD3
Wv9Y2SmdcMNAmKdVXn36W+x2Mk+Mv3ri/CZ/ItbsEWiuSELlXUSZUfkZVU7wtPvOxWZPAfs9fC21
aECvFNubKOl2OCH61xbTwDjm1RVfMVzjmQYPiCsfTlbo9tZd1J4E/3x5rfr7ZkaF5/lzTBxp/91i
UC5YRbCYsmtVJjwW45FMOGInQBPeER7RhqeTOew83mI3z8hkRRnFBK7i8WSr3NC8dAK4A7xiVIOr
Axr8YxXlus0bnTOE3B78tqUKocCDCYyS0T4KIj3QeaKbRkfVgweLPWAkNrFXg0zHJPKuu9y3wynv
15JjYxR9r4+Q7NZiiYvXeZwoWiNEa7DoPIUS+vFemd02mgdnUGzBfgl1aE/J7o2m8TAj7y9i4Huq
+oDJaHBNGHwjjBz8tz+TDEqGaNgDJUHIxTqH3375PlMN+3cHBrqFTAiMo9sdeQcOvl9O6JrrT9Nn
5WTT0Z0iCcUeqVKlSYDpbLRQo9KnvhAHGopDEt7Rfkal/qHyju4qY0S2FNmVUeo+OKRqklVWNc+Z
HL6mkPj4zqhNm1ITlFg/60aXHlwjF93PUiwIBg6ZNEJbbdq1QQARUfBZzFlgyW5ykgnPEjVO7Und
Vbsbf8mTN4ZLip6r3hIzqK9MhfWQYin/4fRRiKdkIolr8KuPLHnGKcY5QiKtpQYI6R9rdQ6wH4iX
Q5T+PPwu5qVBIYXkjkly+wzz8EBXKHp0+x6JMdr+gbYrhOlyZCiL3pTIdHblM8txcpJCBm7SPClb
cMcBhanGYPb/lHbSYCkMokIHG4GKb/42zUNxbD5X6UZaiJjCnK4t4SxRDaJ2GYm53oopiCQfNkkq
U3R49NYiTaWsT/EIjFw8llgpDKRHnA0/sirJPcTP+wgoFXCKdWkVG+be2ShMwvtCstNN3+E8skXC
ICSjOTrjKvUpFVyrdP5UePvStUpjohozqgGpkBv/3UpC0TUAWKZ1gSrWOW47Poyfz4vJE4Cy1iMO
QUx76abcvmki6TsJ3e3A5omjRtm12jLBqufazn1gldd2tOK8oHcSKeL8A4gHnHuFzuY9ThD+Y785
csOjgzhyMTQMRL4a3U/piV8KGFoEHFCvuhO7M9MfkxeI1+3EwN/O0OxdPit1k0fJYrhK1mSYQjsy
WfA33C4qr/dyzHpDU8eUbkgG2bOobKd3gGCcz75c0vNAKofXn7bxa67tPlMuwFm9EdjIgpJggFry
jzUiAZMTAOsWoAx38Iraqh2dPCdQFSunjUC+9nhmqNnjA6FC27/NKxvsidtsVp5JAkUfiLYfK/Ke
TwXwYXyuYu0k+6iRkEYyoCBC46ZFdZocGRDgA09ASgw4YjZhpbAhX8hjAuhmx3ikhoouErE/G9vp
toDpKo/5lTzw95YI6lWPURU13BpgqOfxDd0oFQPKfRvU3K0Gf8lpuCgD6n32bXyjHoPuUOI125M0
2RFt45cegXM1WWPYZqgvI5XryHVr2SP38Pd1RFKt4osEY3WHyokAeH7voEITHI5Mk7+TzP89wLPx
nr26ye1l9H365+bZ1waS94bGmAw4AQ+aL2InKVndy+AOpiQ6unSWkNf67vvo0PVkNvDkEBygs1vg
6mZVBa3fSobJXtY+rbdfYgaCdpbNFFzHTwFKcqE34SuYphREm6KxRIOxw15m3+2DUxijCQlyQT8+
SPp4DxXbMRANrQfu7cNC3jEu0v+wTyyE6e8NsPydYkCcD0iSBNMA7l6cCiGSrf7FCD55GQmsgJg5
dqTQfn3xYD9dyYNQNNv5w0esOvk44JvDsDetiQNGAjLn7IQFjg8rZf5ZF1cFrITSDv/gfd0hgSjv
KUcLWRr/Pg48DT3KIn7U5BWzN6q8LvwUblbRCJ3oI45JFHgUNcYiRY6o5IGJmYnuHjw3KscjaALn
eLEDgPdgCwlnfpg99yfKkVfVuYUcjxq/dNOwRDfAY/cvLcG7zSq6Lgn1WmjL/gJdL+OBitft4SpX
Gj2mGtJTACOofvoagNQlnmS8EekiP0y+3PhuZrahCqGnxn+vOZgTNVwXunk4V9iuYq4Kg22zYEvq
+4PraNv7zMLvgp5qwAARdD12eIPnCotCK6QDhHvgjsup+2xN4CmNcsUckxJTC4mF22oxQK1GWB0K
E3zf2KqGLCbEwxEjdTDpoQN1PmeZqczTMD2ylqNArfU5eK5IBV0d+BzEGAHQHw/ip4/pFtdKyvFJ
vooNEFrr2QkrVDTGXkkIDYQWIbasQLnBwBN/Caq78Q1DjbvgZk9XmXe/CQpYxMCUmshGtuHL5n8j
JjsepBuQDIsRIbrCCJD42Mevxxc3zeso6v3IbcFIcdiLk1DHduawjFfHAYUIL4+p4h4fFhAHLC7l
7o26jmg3YgNa1LaH49QoPKHIMrvZ4YKkJ9nIy9bm0DLMElsW7mh69TCtL0pynIlRtm83rIbrF2PJ
g9a2nk/FGC8T2dAkBHNe/sFtv7bI7mfgq4S7E8ffTvpzxYbT684JGnT9ie2Ef0gH3YJrWqiFcpKA
KdR+OApGLAmZGjGTJIEYH+oOeFOSDYxjsBsHd3fg9TzyTG31grHM+beMcZezQ90JMoRFfMFLU4Cy
J/6J7/mzKdlwjs+Enr8+yyW5jNS7Z0vZI5omTn0MVXxcWD1Wz3+VRHxvDwMZE10tpY44hBfvu2Vx
ZDYOSwLN48EY/MbNsewReNrh0SEi0kSUhHNi3eGWRYxHMk2YL3tnpHc0M5PWimSLr/JEhgU5YA3/
1Yz+/Ok3+J/pca7ZMaGLejEd9ioGieLIO/UjaYMv5t46aqqZJJPn7L64H0KZrCdSZaNszcRhlX5l
lHgrGOjF741cKj7WbsfYjTwdRgsljfde4ONQ/T4auNR8YwZRVm+9xIfEN94PSKpZJMhmqa3M6TJM
HFI1MC/P5dPPJozE+DJwRnsiB2BrVJfAWV2AxuG104/DDco0IDzSIGDweXt3B5NXllGHbU2rJx/4
HQ5V0sSGOsFUXD75CjjBkxAWoV3nqCJ3Z7j4R94kccn0DzzQ8HMUb2P94+ilU3mm7EVD0gv74k6e
we643KRrEUr8m4x3YPj8KbegiWRmh3+4JB0N/wLuoBP8jLSjasvl2fdA1ORoJAw+KJ+XMtmC6UVj
PsvNIenpiV06RHjBftn4uyhDuhnjsyhTxonAR0iaF12wYee3JpsniL4lG6gQePMH5IZg2i3YFV4z
5GEDXN6w5yIMBscya6n/pLbofRKW6cPiHomgkC93BHnkKJw0mtOoBLrmaFy8kk0XXp7jMiEd9jZV
KDJPidlGGkGAEEsemCMobO1kp354uCh0mA22hONAFevEKZlU6BmyP0IT7BMfblMxjjcLm1FG8AUp
GAZHLv2kKa5z2srDxv3YpM4SnKVBFtudD+HhjEMcfitUzfVMyIysZk04rZNvRlyKb4tdqYNhgDiY
0xFqYUUujr+jsBF7L5/PBVEytwD30xg7hgbpA1XifjQDZ7LkQQkVYT/4LjPiDPFNUmL8PvIWsSx4
Y5KuU0eCbeZ7QB77tlWCDEumNKeYtyKT+j7/kFpwn77Idekt1IVqYkCFBnP7RNGnWGmmn8twRuvj
hFC+SaO/0ZcTyxx8NykhnRsSzu0DWL+fyHrCKTg7/GkQbNqE1Fk3Zfdupu/gvRrNiocBYNJsXvx4
mMFfqCX5s7P9DSAegujEqob0lJnVllw2KXkvUz/5XEgow5Aos0Ujxi51+aQ50rFS9OcOmQpWE5qZ
1T/oCrpcCPnKl81f5e8ZH8PBBOuZzkhdU5PZ8GcNIyVuYTo8vJ5czxRbPk/JhcghWQjL6ZyE8Ea3
ARaB3BvNN5pgheg3ADBmwKHNKIqKuPQ5TUQAmBRKthb39zKVdSqp+A9s8U+jIFJnYIHyk0nSGOj3
9vc9quZsP4TP/vGPb+cf3YiPiAAFslVA+QhhMj77im7vNJQ81TKUOU33O81KHGZf8qHvYgrg/DtL
85I8MDhR4lOwjHtPg1OlLiY3PscS6z40pD1YaCEykt4CbfUrfsTISD5wTaj/Y4KEhFWtARPFmwhz
TMRz6cv+3XkutXN9HNmFeP8SM0ejMMWvSygsraMzOGlyBGWrCAkYRbrZuBzHPHYIQeKAzA1Sblze
zhI0lEmVKy4zUl4LJSDDDko4Kq0uAhzoot5UZu15BoSBMMeki+IikhB+ZkUnURfdNwI4dLPoZVIT
TmYMN55BWeB6NG/Qy4/4HLAKMlMl5PT0yTX9ERfzovCNwj5MAjNOB4jbA5kI7RUDzoyiaoUwx4Tp
kADEJHz43zMDgLzkBtVY6YHVSMEkz49fFNyoSgwGQwj4fOVUVKieakHXv9/6E4NTBVRIgDtxWDuw
9SxIAnzEti1P7/sbbsrGU2bDWT1DLsEwi/m5tobGBRMuAWmUBNG8eotT4gjwuoSqM6DsPb3gsRnu
RsuXAzknxR/K638u/RhwPowdMk2xzT84f0lm8PS9IkVMhH0jZyLdd44kmt1ZEanxMDDf9fBMocBd
L2agu/SJd8ePm7mIMvAhcy4V4YGE3eju3fCC52bVTuiADRCnTeD2yahtw8OPFZWJUSi2HdV/eySC
iCedChmFAer518J6hMJq9c9ZJWNmpgAZ3zOJ9w+jJT+62iTzb/yNOE4ZD9G2Tb6oCBNzyq6XIPYv
La5BDv4RCXSwydzA65TLEKzcGpPcQjz7FaEDWzKgBAOCyLO9H+UtqRYmnqG7qU5Vi0uh6MgDodPC
eqnmgIv+zLH4dbNjemzOSHwSm1JNQ1wGSAThA8kFIDvIuUOQ77kG8BpyN7xW9UYiGXsHACLmeS46
VwEbv02OCgTjY1otRLndcw7Fz/JUgFsgTn0zX9IwiKTywje7Hn50qdOFth6pc88A5hLb70qrrLyn
a8TUTJO97PRX/cudZGX2/zvhVcawiMvaHKn2p6dTA0JnBeT5Fi18KHEMa3qX6pzHuEoGUxJuf6uD
q8LkRMwRSHfGTtYaZXwnxm7P+zweWT9bcw6QUTNuBo4MipiO/fBrKDYqXiJd+OAyrx8gHNdpOfwR
1PlxPoAFIHw7EAbIqj23iMSqxZqH9nXFZ6OzM1zbeBAUgnXKCgPdZzFje56kELxoYI9dR54pHZet
+0M99DLxvZN/hRIHsPfltbmDylOx0IQBK60JyecHi0ClhYjU7NbpbkzGxUy75l65opl+rkI7LeGU
dgWJWLPM5WBWUTfD3o5ZDaEX/Vlz+m7IuQYjK73+XyWM9qnL5g0xyGxR0GPC6+IPic/fwn9+/I6e
aH4uN3cqTwZV8/gLAORFcSugH2VmFgB/+id77XYwl+J2VpFo47/Qz5ojo5lm2Ly4nhF3wB4n7vsM
rAhYB74KgoeTqJ21f6lPWZ3IHCfvlXQfNHncAnzQQEMO5mSXg1TdkrOM0DfTMWJu6DEJE4zh1Mds
xxLhnDifhe5WQH4DwmENZVu42qUxlS3tNzVuA95S3NyMeO30IBEnyyjvMbWQCZVGD4cpzwA8x5v+
XT/XAsMj/5xUKPAYdHADE0fpP+OpCCykph0gFkWQQKgpgR3PqHDnpgVZRUi7La3cD1IHL7wxxnU4
J+WfkXpWXzur8skWHvPyZc7o+HXvhDuT3sIhDa/dQmZwWnX0Slukx9ljZDInpLiAs6/agfPkFYQ8
vXmZsar/1Eu572SrA3vGM8WUEz9M+Oz03BMSYbDadvrXt7Pry30ti2PHpK9L83aOOI+uocXtgvKU
tzQAfmLe52MD+uJnGYaEg69a4wvb8Z7hKrSxPeMI4UrSYoo27S6G9befJlJ1xM4WW6I+LS00HkjS
2GGx0TGqEkICOhLBgFGoxAwGiGQMMMnD4N4j3lpe1icJuxQ7oEvBjcqDsr0tsVzrhzDbAFsyNRrp
GQSHmICPX9BeROXIJ+pMzuU7IrveJZ8OXwQUdaeRgTQF9bhGddBokq8AjIBI0fjSEO8ialEQeLSC
/ufoGiChXiEzc9ppTgYB+9bdel7epxieq7UggH0QTQ8abDQQASBY4FBUoylYaZcBTkc4G++NLgCM
0Pn33XmQyygICHln3wWFzohssqsQEo1Nc0M8s/VZklQCP4QmiJSTt0WqNWHY1V2Xjyz0Zh/R/1Um
Hp3weigr4f7GmMs2D0P+/vA2yHprYeMSaDp0FBnsxKJjxGVojQlM1etTjgqPh+K1QuF3UOgfV/zX
WNcyo1xLiqnOBdYtPv43eysVzfC5BGOD0wW96/2PW2s15B8+TZ470TaOs60AEFcNlD7DkBaX1v5i
nBqcn35fyPHo25F3vylpQdpEQQlIXpdDPdj865WA130LjShZm6RZuNjaLU4xURVHyhvB6vgiyFjn
WFNO/2JmPBZz4hHbk1D3kPOJsLBHY1QfW34zV6GiiwigeQm4zERP1YyBnIXuZOA3jgnJ4m+bFqKo
60CYQt/oobg+IZJZ1tzkVnmhlAJj+JOMI4Lj2PnR4d2hLAhm2vBUhCzQAS8xseY4oRHMgTWiMKJt
3emCVkQz+mQwU62lHQX4JzKWEGtxePBo0Hx/YY8sCZyHRyO0hohbIqr3Ja8d+iO2+K9R+cANZDij
oetNm1kxRfoucVRgO0PrfBHWf0DNsYtiziF1ggxSgoRm9BHob0d8Ndu3DflLh4lI2ez5X6DpqPY6
I/ellsGM4GGSOd7zxhnSezFwZN6nh3U7Pwk6+atm/RUw9LJzxzlJ5n39j/47MsHnxUakiaOZdXDh
MIk/MLG1gZbqqZenhLNq0zEbS3bJMaCfuHEL2pvZEF+uxG8KMx55EV9uzgR+Ds/+6rGl0xaZpSut
hzoKgQhT+mDPUEIyyIdUw+fkRCLZ17xtBY6WfMXdXkGczD+rT4DDGCgEbT1+IPCzwkatadc4f6PO
H1uH9WMHlMAQuXovQYaYIPhd9ijmEs4TIvIs0UOAvu+9zCchjDZzDhMrIVq0AvR5xviJNYOATxu7
73JEZpeBNBH+e6iXl68HjsrYS5SDx8nToN9BhV0JTDfo+2lhVGsQZhYzdombnRtsKg8dxgXRMbDS
J5JXqDiwaNxQQhYnnsNMR7gVAL+AFNTTEUrjMpQvRST5RCDt39Frpc1iAnADlIzG+K0LG0EaQ5uh
bkTQPaA2N3h634CBomFsBJkv+HUwsrD9wMjPWLuNYQBXsNKY1XOkkuCLq9mXDJxBWIq8daOzN32j
ehkH0nVgwPj60bRrJsDmSPYZJ+LdF9jts/uQBcIHoHndUR6bw02GfkCoPlVesKmocB5tuH54Tuse
WCi0u199kEAUA5vGYBuY904u2INwP1qidtDtE0QUcV9oWUVw5ZeQDIkbTQHxQaWu36DhkOAHlQn8
RGe6kGt8NiAwhfPjcdIsfmH/zpuRTvvMISRXESpyNgyxzqzTyZ8yReZF9VuIZjMmZzwe+wQKiHeY
75DTeFgQdY5YFycPCuNY3gnlMcsJwdceNgLzHuGt4FysTxl6Q96hmchYITagBQAe6/X6jZLnDMXB
skQLgsj3u8/uI/eDj9dEAFXqf43FYzWR4LQr1CqfDekTu+QEBTbI/JZdejzJt9X26eK0dAjhROtj
iKaCxOwczMvJpB++SB7uouHqtUXc+TbnRGo5nw4wVVtmJwAhaDFC/+uc2Qs/mZH32JWmA7JmuXKb
7QfqiOwXeJN8hksfrn434AUACIeE8B4Bk2fEv/O+FtAq6DJwzO0qH3iN89MEk2IqGZm5LVrKruWc
k5JXOWXuGZ3u2ybAxOwW9MwUlgYePm+8/nYUEd/xYP4ZmBlJrhx8MQw28ip6Wx7B4Usr0tMcWoft
dw2GiSL9y7F5E50vCKbvp/5Co9OFb/ooQWNQnTXZNQvRLICoVzDHmE52Cs4QTJA9ITLOTvfTAyu6
hpt02qoe/4DC6ZuVgM/EYwANtjfEVVyBVDcNQH8xwpUEK2hGeyXp0fuYbLR0chSE4v3Ml/++PlB+
CJGNSN+RiQfs6TKRx6QEz3/2b0F0CbsPgzHVIQoIHkprqjjUP07YUcik6RQmIW/uj1fJZr1yak4e
SvUuL7sJSlFW0ENpUwHjhfKyENV13R/rgScRdU4qoINuF/PDrCJHje4lFAvZ6SuOdslWo876EfHB
e2EKjuoiz0BYwB4TEMi/L8GxsL5MZkEaotkV4DQ3lHcIuT5FLIkIbBPTKPwoPzFdHBxFKar0YH4L
BjOkoEcSz6lFLDYebjkdTSbD6y1IRlY2FedGuwHpTGLVJRPOrw7e4OtoJZl8eqYZsmK230mFJNP6
HHlwcDVmKlm+fB8E8GUvE8ruc5TPaBWoEyMBhddXtUAmCNHL/R+/KbDFTGQXMS3BiCPRSL1HfMDj
gVTSeEXjjaJM3vs6uE+xrd74NERQc2qCOLljIAHZwDRLxowtilPQ9Jl9ePNTNyHCEpDo4Ur7+wbx
yAOx1sgeGJ1Tbt4BSrLZ4DYBFOMjEeGIeG9zTvE/chQQ9tkgnAC7VjkDsgqBGEae6g8c9EbJHhbb
75bEFLIVc90S+mc8lw9AnBJqYRD14mKiOQ0Ua7csiU/nt8ZlNDBAe2AFYWMRyXk/8ggYBuJmI4Id
mWtJLczs56ZgTLHfqx543YJ/VQQQEhpmIoajoApTH6VA9W6MiF9ETvSigXEQiA0cKEAqBjodYhT+
m50C0zGwqagXl7yOUduDUf0X+Khn54qRhf/swax57g/2L/zZFV0svS2ToWhXkag31CuYNvAam60z
TGljOLgCm5CACYp5vVdMwhaxNYGPIUhhtoBWt8gep73mLTImdV4XQoBI4iZabuQ+LFUEoSUBxs0J
DRoOAQmLocsxRwDSl2QkmaRlLar8XnyY860K4l4lovFhsbTMCUv1Rcdfs3ztnhZyRngIQpZAwNjr
RQgVgDwJYlhvKwHwapZmjXgG3g4XBbS63zL9k256ny+pbM30PUjUTHasCr3kJpvnnC0Gg8d4W1EP
yTgz5E83HgSBYY7OXfCTG+VJS2V9IBRFIvvt7WH/9YcDuxc1215jjeYo5ehl4fzHkUv/EQLPG+dD
S5BWzf/CjAyFKGGHT9HM3YebrsVnlTl3HFKkgaM/sfH4isWIME6JhhxTSGJpPigcUavQE5FclFIB
d94Mpg1qDUT/a3hYIJghmoinWNtmixpQXJQ6FjbRJPiQX0v1XFyByQ2wi9uOuywC7k2Djsj10uWR
PfAEjWPFy0IsypxonyNTF3/Rb82FkS56PBIjxlFMHg4ErAlQvrkFuDkF3YkAkDXQTLfIbVCpCxaR
zH98Q3VMhCP0ByIy+e+gv5iZVmilAVrwTr2tApRC3AzcLRZUB3cO83LrvOxhiJBEx8nKqsOO6DY+
30zpY5DuFQIVJUXRrY/lsv5YgyW4WOcCg266qTqtYq62AYqF1vy6OekdIHkaqRg8Qq9ZGwAF5VEV
iUxq6OZ147Jab3ukzfMbA1yJkTWhMvha2aY3Bd0Fw3ySmMr5xSwNE+rkmFZ+OqG+gKSg7M5rMOE/
vnYWeyfnUFiHBIiRqtTn9AnJgB2TewzSBmMm4k7p20DLE4AbKW4//jHQdMLpDlSSO23EunsgivcO
xMHRAkq9US4KDh3qLImH2lZGZ/BKrnj1Vf85G28Vxlr/kABFk6JK97ib+31wC9b0ZpvCBYNzUCod
5ecWBoG+Jbsc82p8/ZbE12yunqqpvCh2FSBMqMAFcB4ZHxGkiG0N/X7JvQ2InJkf9+Zotjr/CTkz
DbE3I8c8xq1x7Wn6gR9/fli+TveA2PQp39urxMSgf4ZGNxLAtwq7jYiEKc5T4OrQp2SLYUN9VEuo
zIEEX1A1rlLV18hY4AIYGHUwRuBymKcLlbPqKjqO4Jst9vsn3FTMx1yCyIx08Fp0A2+QEJokDRZY
bthhSKMWLyKrDWIejopZfRRDFGkY80MgFCi8WegBSCuUI1rtjwe7XjCN618kTjw23Jolg443KrDZ
Ux33Jk4gPY1Ip/ByQ0WndPw8jdHHYoroGiu9QqzREs2m/dOHc/h2cNU3POuYD16LU1g0ot7cb2K/
11CSVQKfDomaHp9L8dPL3BcUmSxuYDfqlsDvlIUHLNttqalmpyANQo0/5jo5ARyR4++Rju7zw6pW
oem9E3luvKfpUYu0mFNSjqRAlKMIdqxAZzhc3SlFwEyMJHmj0oMMyvUSRDQjTf/6HuukJGEz1Pm3
CRTI7KGmj4LSF9gkBPwi535Or1yVMt9O3yx4sssIEtXWFreT9Hczgla/jYUu7IHGazhNzkV0E1lx
9YlKavS2WHB2tEJlqDe5iPoUTT5YCnqGvEuNFBsF+mZjPVzRhDz7YVIBH+Jlh3GfyjtUTStkZshH
9ukZqe7BgA98TATRLy+vkGN24yGT+Z94I7zRE90EP7Tv6ZbZmpTIHEM3XghkbmA2W8Cln6v4n0oH
JsF+v8ZDW2RWsUQP8hvbCvvDNYtwS/Pyj6OHZGgJnSoEfNHvIjLThqrV4MfH1c/tXC/ejC4daRjD
CZMNizSGXZgTiA8SKMCEakITb/6f6HCJv4GY294Iep7mO6pjNqHxRXHAuslO+xBDQogB32AP8srG
IirxGcxplLYB0DDEaMgFgjsaVnzLTp6aZUCXNrlCBJTEz7Bw0wYISGJbGU3ABABu2ikyKBe5I/MM
Z7cpLxTjZ4ncvK932CDku6JhRywALOuPvY7jmSIqfAEW/u2b1wExsBGibeUveft9S/FJo4WeG0YD
lPRfh0dMf+/Uq4yd5+MSF+y+ESq2MUs1sDPnz4pUEeZNbiuaaCcVzZpJjCkLfPaDYuXmYFWg4JIo
4pYhxtKoZq1j8LM7kF+B/BxpsIFY+mWjqvErHqp6k69oPhaZwo4nWX2UweMrgNkRqw8QdrYkENCt
z6xY4ddTsKud5AsF6pTF/svwm+AyCG6srFhdBGfQP73+lYnwLgWN/aapXrFIYRB/F91pXEUPbL3j
dQkB3Q0nGo73GYkQcyxkov/6cEQk29oVmkOWjDy1yN/f4NQKYLVZ2MkS7vOUAmaa+QKPNc89u48H
GufhWJKv/S1HKBViePppr+u5aTQI6n8a5r87BCqBjeyyEjVlN7akhFBnnn1EIODgh1iJNfuLWoSa
I6pY02NNuwxtrQ7/mg4+Rnak9sfMJwow3beFtYiL3ciBfpEoBKg6bUpR9fLMToBKpXeteShqC8n2
llCM6W/WDNyP+/ZVGN0DsOjHUlNgqp+Tnn6n4sTdju4pgObmDBAhpCPQVqKovZoVlw4vl1uIvPF9
7SENs95zcbRWFsssyhGYRZF0KopjKbgnCflmIgpGACKOIWU+BhPhOX/wB8oUpKPXu6Hfyr2UnxR8
vDSIlUHpLxphbpzwrfmcJdOGK4Bjxx4B8Lh352cPCIr9Qj7H3elhMKNBvAw2UDBP2qMyh84lRz0B
A/G5DUg1v1kPEt5piOZ7R2bvi7GxcbRwNHvb+b/C38b47qqoc3tbzRnA+7vtWoPqKhb5rlzeCBwC
390nDv5OTl68zfk2W1Pf5pAfaf+uCMr17r5OSbZBri2AOPwiYPIVBYqvFQAO3QvdX2ntHxFdsEY6
pb5EZBPdyV16+PIfVk3RRWtjrIoe/sC9n6Q9rcrxb63MFe+7fBqHGToBCQbt8rxblfOaEqglzb5i
ogaIkzf16u7B3X+pDUtNAvEUA4eEPg4zwTK/oppplfXxK1wEXwvGFUwBL4VeTm8Wuxc/dgHXPArQ
1J3xgBO9nk5Ld8DYwGzxQb0jRE8Qxg1y59ueTXDMHfYCP//XIwLsiyowRwQmfrlvE7m4BdLARrDg
Vz6wIC9epfkFScQOTKETM4mFh7GLP1Ny4Q3WRJGee+WWcNFw3H9WQ1r6ZpjOMY0eTIhhlR7zGVEY
Dg95feK6GbtfG6EhlXk0ivMK2TIAMyUiU8iZ9wh64g6s9INn7OO0QXOINABKwmqs9oqMD7lG5X/R
owWoUPB4kqJRT9TKqdGfb6pg6JAx7r45yIkQBafGMvK4Oc1bHzp5iKXPASwasTp7T5gXvkSkeOR7
Fd9fc8UpxOcJkT8HvrNI/QS451IhdPgCTgNcgiVz8nRe5s3jpIelAs56W08gHcpMIVrnCNeoXZS8
EcgMz9N4xkHP+TjqDASnVBcUUb4HCvmJT0FagJIGWkSTHbCD0DTTFDSXAjhULjZ+psKpTy8OnhrV
EvGm39RsxfedWK9LF3wiGI+SzvqeENwP+GeAcUqqH6YwN0hTD6EE0N7j7+1ROiKFHR/DhZ1d0B7h
3WqRTNPUApQwNn5Eg8B/gPqB7hXeHOUDXbwyul4qH2jf+Tjcsph0hf5Hpa5mZN7oAJQW9NQCX4vX
HMMxSQEo9QZ8rX4/Ppa9iEwkT57Jk8cSWdfBPhFyb6H/IVqCCtC6RVvHrDQmTLLya+rA92NuVhiB
sH8hmxH+vPoDhUEhQehSpxeL/tOW0bTysHFhLpBpNBlqtPHBA5M87G+A1HcW2P66EYAtqUXrIeMo
jJX4OJUgJS7tMfv628KUsKjkl2IzogEVXIEPPzsRzkO7gThVJDCp4Mlxc7AhGkkzxCmMnGHGwi5x
SA4onRkuhmOEfrXz0g+b1nitga0wsAmhpBbJGFb+zVfkmL32r69eDScji187AQ4Bkioi7BGDsgiK
4mmFHwJ5zzD+XjEgpl+XyIqrxMz8oa7E5d9SotYSEqESJrUX4K2687t9cb+zHaEBY5dAD0h/uKDY
HmgUgJMslWowJE6uKlCwnGMZSasBS+01CO/IM8g2Y1TpD2wnHN+iglcHt6WiSYYLGfs54ieWR9Hf
xxkz+Wvt0T67NmdqyWc3XyNBcv1DvbpHAdB77jCxw1VASSzvix4jm4j1HHDCbW4xpmNjZCsq5DMf
riB+sCo7OExHlnLCeDN9O68zIuGcBBwg46CgbjdnGwLt80Hu2dh4GsH7XxfJgb0IUNUuMH3wh7Nl
0ken1xtRNU9U4+rA5ske8caVUOVwLgVMqn/7ey4PAdsTepp5e33OSphwe9xaSHfJvOChQ3BwBRsA
GILBu7JnlJTIrlsc2tjAe30XBFjlbhLpc4QIdccE1JWxaf1jChmvmXzcvDZgrWsMKgIFhQRlBkPt
qrAPjScJvDsSmPOLQG5mn3U3h4a/I1lkK/Xzp5EmpopenOUfkSrDo48yD5lwAeFOcxKlKqtq0bNl
T9ZNLHld8II+IeUNvF4Gmn2a4i/jiRh4PDLYWH/QEIjpwpzbjVmDqGkEqd/j99j6/QIBvTEUzJgo
w2Eu0n/k9fKscNg3wAI8EKJEvqbTD33HiDPYa/YfCzhv+3MbCDauDrThEtMLqg4A0QyBxuUT/Uod
4zde5/pr4ht5BDXsMWqEP1w2dMXArR+mg0u1uu1H4cPDWy2LMkV2djvZZbthMWdmyxuC88zxVawK
/OanDz45CxHEHvlrbXJ2So6MwYsJlUx2U3EkZLdcYLB6CNLxgUqGzABSG/0zlRI8HOSP2L3l+6B/
OfDsxx5yLv7FUqUnZ/WS7dROvw2tHoyDyM3qEqsLpFPbGdxRcKge9ExmaBzTd167RhjKqU//XuD9
MOFBdDRQXTZmPX5fhAVtsqg/tvi/MZ8tickxkq1KpJlVsTcDMq6ZR5PC0QZ2S++7o6C8v3lfr2eP
kX9wuzw9OPIV6y/sphT3z+wETNIcih4E1IBDFsIfQBxxu3fY9m/IgMHbBzr5g4v80j2YSMMzxwTE
Rpj4P2Ns97zv4rk4EIc14CtkD0nkQlsc/m4b8mOUiMSsY2OTYMbg26zfvaCQJuhD3Gbx4aqj7WPR
W72BWVo4G5Wpz2hoyeY2W942zFRUJQ0NCbHf9bi7A56xtuCt8eXWUGaSqteqrmrWcNnNtT0cPcvN
8slVjq/kT0UcpQX1mQSBf9FoDZ4GS7ZRgfQt1eYww0H8ObGFpSeiy0ULRz3lfhRMAyzpTHIUngIr
WY5wevfJ/sKEYDwDLqR8xeDsjcz7KdlwddAunmApvZDcond8Kc833tKv3mdpOcE+/HhlWBd3Ly5P
RNQLZUEYOQqTNIZrZ7wnYIKspBW6i+cKvy3xJp87GUJt3KFd4IK/vHcVHD2NNLj2ReSb/HBZ2l6a
McQ53iCZQWYieBOEUjmMmgO8j9tO4XYIihOzTRY9KY/MCJ0B6mAKCYuBSW6ph13nvX76nxzEk1Uj
fpvwHv2QRf7jNDj5mKribgj/TMfWg4LerwFVcUo3PYvmRuFGOXCvP3i4hHiZn1Xb3S1sgB5DqZkh
0ocyh/ZdkRaT/I0JH9VfuTD7IrW5G5JP4sWKIDSCPZbZX7N+On3jEQIpdTCapEk8OJ5iPLh38pzY
douo7zBRlCIwU2Zb8z/Tz4kdYJdZuBdcICZA/4v2EO5Sh5PaPjLrBZD8KUQz30tQ2R9eVxwMREJw
fkn40jWzT5LBc4psqEdddG/yPVWbRwwSbROZq2vHOmbYGfORktqpb2DmwAUu2kckWCbmDF71aakq
3SqUwhzzRXkEMuCP7qFTQfhxWMSbwx+Q/QrRjTckh/E/ks5sSVVsW8NPZIQCgtxK3wjYNzdGqpmC
2CL909c3V12cHefU2bVWpsKcY/zt5bt40DdGvMcKtBTUFDmbk67o8ADvTs3fr9kgPSGIDvuGEoys
V8gJjqpwfOhsWmfxp7QbZfcgfK4RuJrOuW7wetEJzpSwHGzSbU970PTf5s4jn0KhnHPd0TARpwHB
PUyAkJRiNPwXyV+y2nJ2d2F7EBWD7BPysqSETsJBDHChLTOcxm9mOZItIKrIbHvWVjmyG5lrEAPP
1ILNWchR5pTb8vQ8vREWV94U4tO52QrDOGcbOiNQsXASD5ySA33DbshGyEVJ0kUagR6SzeZ9G4Eu
A8hztpyOmxFqy6SaiSxywvgxE/JULTXIAoIJWkT+hNtvHlZqSh7FIE4zGwW5M6TukMviFoDoTFXz
up6YBN47fJrT+rd1RsZZ8a5raVWd1bjcIECBX6gcqpx+e4dUSpd8mJZvPGoAI/hBukO/Gq00slTx
l1KnQz2uV836U7UuLzQ1VK3ZRDe4/ZyyrppJno1jpXrIbUk3eNUQRVStrceBhhlgS36NJSHRCoiP
TuEsvjCBvcvc7Y9swkbNz7qafR2hcG6YuNwHElNE28/eJEpOIpTvBG9RI+Tdtm66fM3oSjQ0N9eM
dyx0rISOHb3rvOIhXXdI9Kwx/wAvh4f++vie3ihyGwnJRnCPgZb5oOnnIpScD+BoZgd+RDrnGUCh
iap1A7f9Q4e1hYBd5nexiyR3Md3IRJd/UH5/172HmhrdBsh5vXoKOP1J+OoPa1tz6MMbKVEVxFop
WaNtR4/0OPwsvgs5QBf9RZVbePyBTJ4ks/x8N4N4vKREdPHyqfoT+bVops8UR1fu6Rq8fprGHC9z
+EgZQfgnuGvWyEvpunkseggAfDdc/xBgMEKDf0F/pamSJoAVakmoKUZXrsqGPXckfrswXwx9zjdy
ymFzAuwm+eLhasFz+XDG0SiSZ0xNGpKvEq1R/EUNVP8Vf6/d7a+xq4uAk8LMQw4MQReV2zpo3WZ2
NDXKCaY1+vkRLrYZjwHfPxFtkue08+9OyH0ZRnmcJqtRND40OxAtZhtk96Ro8xelp6+MpuzhoYlU
aNFSvKPJFm3kBiUR0T0gEsXrLvp4Xgglo2iXu/1pVgeCEw2TlhJF0HTJo+ukNvV18afNwPIQTtLE
hIJ4srsJQhZ1scfHghieNqrB22JO/hIclTDhbJg80aTivKisNqTqjjdKN76mtFPjt9XsayPdCBPQ
h2QJsu6NrW7xrGmWhhyNQJVFyj0YiEv2belzvK6ODtL6OnO/OhMiTslbBSk/FQHFdKCmLwtF+gyr
saA1bAJqeNdJpOJZvoI9voTJgrSO4xJvMlMfkKFR7Wu/93uOyKXWis4yVbUqSnv3k5Db/ciOEQx+
iWRUvBLStD5pkRyNI81gEDDol8ICUQZDrwCIjSdLZboYGAjpy/hKJ7bOMyDb2EIx3AEAhATf0+RU
u0pDayH9B4r34H1kLYIZvloIx+H0CeSj76zmalAh700lvnoSf7OodeaPMRFZ+4WbrWMehekiC3n7
JswvLWkhH1MHLpuEqPDnaL4dfaGstsLcI4Sj9nHZU2ccf5B06wKKVZdjCm56owFowy5i82CW/PeW
aqgtChxqqByHO27J7nzkyJq/A9CaNY2JiqlcriGZDpvhGReQaMLJ6Fh/+X2Z8C5wlvDtKWZtncFt
rPu2LAJFNtVVjpnzkp5gMFLmL81Qrub7b0x7emsVr41+4DF7krDh0Iil4CVXl4zpCcIlMkvR4yZo
XO8/RAT9tH9HkEQgCZ4RwEPWxQVpPuRbtNTHJmVEQVeIA49p++5kW3EF6D7S2AkoYuWRqxqReTuM
GQWt62Hidfs6wJOS1O7x8mR8Wue+hgsDTnwjWQBQ7tiSHcbINCJqIOSruFS2dOZddBAhzt6Wklx/
EWrqV45dGmqj70b1CeyD55+YtUHop8enxzvYL0Z4BVE5c2fwnihegVUbZ1K+TtPp6tFO0+XRe+Oz
fazqDQSqUXOcfymtvFNuKDPXzOrOzI9uhjBup3iDaGCxwE3XmOzXR9kdvWzShHqFHcXEuoduQzp0
xFUQhPDYflObQeaK2vzpAnWim5iDCPmkWn1xWE5ObTT++ST6EyPqY0kCHarF+xqBLaMF9C1KTbEl
7NVI99qZ6JFl6vueBntyD1TyLDrRx8u+oHtINZjeUNIDuRtvn0HNVcSX1NATgRgXi+cCuJq4PHnF
CetUp2du5W9k82AHr4K9gF/G/yIRV8GgMKPxS0AtMrO9F8hqhIh7cBjaL0KryCKkceuxQpEp1Fe9
Vc+JFUXPNVjp+Lu6Bbb10RJr+N1sMBfM1fUjQLn8QvjZuMxpj3jikkrcz9QTMZ2MsoRK3ZwxlxYn
MoueSGcbsZU8yQyASejCD+Mx4IapMh7lJJG8ya7NlwPiIs1IXb43D4yLHw+SEVU/hiUGfxex1+cE
fMdHT1IKjri4EeDzF0j2gMMeP2+SoxOwQIqeSIWBH4Vth2HKq3VIXyxEgBEyljaEGQWaiYo5fntD
fnnEo4e0Bmshs6vTbPk+seuY7Z0T08Rd6l5B/oGQ/y+db7zbut+P9yTIuMKeAAfErGvmbKEelk7w
Bn7tdIot62uyZNnIcYlms9Ehol8MyJkKs5Xs3IMrYSypiMxQV6z0R7vF4OgUpxSpRPTShXY+GLAg
TXuN8KEMLuVpE3eWCYiH2XI8cpgjK8CKgxreX2bVTLM1AaPHfRFkmtWU5hDNET9IjJeqG5vXOW9U
AZLCtLUaIEXharmkVMKxpy2uoXao2U+w4DoqHxi96dEx1t6cbh0R1CG+g+di7DDcu5wt/LXhdc96
72gaZ1oEQ7fT50qs8QIDTc9rqxZh28MdW5vm3DffHTdLSv9X5oFgZCEIKu8YwOSH5knxQWNPSVh8
qxDqaNb+XimpPg2DBxuXdCqdzssurL/D3Ye1UeVDffG4KDG7htESFQme01poqB3yN5zekkh/vpI9
k0NsPX14hqgLS1pSTRbhwUw/gDJkBN4zhqPIBUBGKRUTQj6aF3dzHKkYHfjIGdv6t5+idr3H/bY4
XZ2h90IK47wa+tXRv6LqmOFSONCDy9hB1R8HTzbLFJPwPSi0o9nfDM71sfXaVXuCs0oxJZ++jMUt
Itr38uoXT4/hz3r5T5MoxrpwdLILDQHAIzegY/Hj5HdLV9y7bNFms25+caf8qx5Gt1Q5wlgW/yum
0NyOgAtwNv6/ud+1c+wwBCAQMuUR/w/oefQpZ1P/iku7ahbaSUzLOAycHOEln/yWAkS8iQHYJewA
bfYORQMk9bTb8mtgxOqo47GuLOdeL9I7wZykmOdusswUa4SZcohqmbmWCAECc5gYvAzHLV6FA4/e
h1iSBa9Fs1epf5xRBAgvIRyE1/mbhqerqHNTFVPct+HkAr/x2N23JJVh0FzBfM/em9sCcTYWaKT8
pCH4o4O8oE0RMIw1C24rNeikeQuVRRozq1H7MM0Vi++Yp8wotm+XvznE6os4Kmw88g4WjOW0sTd/
WvzphH0TRfn6CRmqX4YkKDHVYiUxCUGecNQsSSP3SWRjGuNJnz3C4Q4ItoJn7Y37X8kzd3fBskaV
WeBSg/JmgI2uCYuRYF9p1EAFHKmFy45PnAMo9Ln9+SaAvOy0NfctRzQrNEU8X0D5bClUDboJdeSw
vOfm+h7J855F9gUbDel5xN/k8qOKJE2wTQLGJnTmWMN/6vAASuHmQJ4+PKLSjmRQTP4dmaQ5D02S
LpsT4HMghrNhiB1ozvl8J3SgIWMFsStH89PRV1cQQshCMye498qFZytFbqQycMYRZTc5T2AJb/bj
dt0ruNmhulPkPzTD4iYhWn6LWlo4KQy2aVru6VjD9pIebrPhywdj+UJwMLaC7g7cCXvkB+Ekbel/
nfuwZesnYlD5F+vIHJWFKXU5DdEz5d/z57nBkNDZ/R8beoaVD67mitl3AIsgQ6KD2WCI0Px8rzJT
MIG65YZYznfUErCWIQg1kHAL6ha10rb+fS270/BE4hA/d/F7n4vLuRN9inCUB3oWAnRYhiT04+rp
6XNt4hGYwQd9MS0hMu536vzGrXpz+XYBA65GMQc+1TYPcJUHI9rwzNFCZI+049lBAcrfAPQsoH+m
NBYpW4mfJE5Tfho+LuQB+PIMDbelbeqF5iugmBgFeDJy4uaq+IvHEnsgskeugJuDDEurLDTE8Beg
9KgEljBdbSzuMUAPpLpICJlwrY/FJWfXNoro2/q6VITpQRGltZVRE50rRVcbcWgWc7sH2LfsgtLN
sjDKeeOlqFdv0DmI5CdLgkzsmnJXkoa5pm28MKIH2M4SoBkYpRtSd+jFFpGYIA/AO6LvXwquiYq5
T/QV2upaNdQtDpPckFsxgfDJqjYshglpQnRQ+AobZBPAvJLbYmA4fd2vhrsPLa8CJM0XvkkJcuDv
2B1niHE+LN9MKZo5Iv5BM6COUCszDhB5wedDSDDknbYfrOQVQuD8j1seTcoIAF8y61R4YIRWipM/
F4UVKY1YSER6rz+/vdY8kk1SU6PgYIBkycIwsCKNh3AhwRU83oj2oRnE2lrjjXgLY99rLof3y+2i
+m2YMa4e2c6o8Ug+yFM/Uc9aursl+XTZG6MNJ0dvcQY5CPGLWYEH2NQ+hkykZzhxqQvYjoCR4yCg
T+/ck4l2POixtlN8/J84LVG9I+kdp/RCT/ldMJufFR4SpDlsVdjZUI8ENTLl08ciuBZ588gbYeLH
/zTc4gubpc7HqsmgOzLLQ0i6f/z2ER4b3lYUxZdm2gL7YSFawYqip+H84r1DvNKj2JAQ6r22PGNC
cpUCooNPrgWJxFiGq9BmPCQUBkmih8tiqYK0owdeobE/IYMwiL6cdbG0bM4p6BgRsj/lASxz+4Vp
7A/ZDsvBY0TkKPESAtPzyAWc5iyte8mrjUgKjsxEpYXXibpkHBEsYTOCHYiqySEvOoyGBcvkjQ0p
ghcAycR6A5rEebnPZ2DvBHLxdKDPeFtsb9H1cNyrHlXAjDkrYiz9kd/BlRFF+FhF/t0vmc9FHJxA
ZY+EVTLAechz3wyI/JdDZTCd3cMOHiuQLy3kFjcIYi2618jbWcsn4BYXLRwLhldsJW80Z7h77Bp7
7D+IyokwZWJHo+yP3+nl5P53NoiymaMZLCfZTBiRmfMgkzk4CElEvFHtRMRZKYrp8f9pW4QPM0Tp
PIIfazyc2jm9jSPjAZIlAs5vJyZEgLv66Wa/PTgAUbD8daR/2LdfqJEOVNgAhFp+QNoRK1i18eRt
ZGg3HsaE7qPGwEcNmgq79MFJis1PbJNlh03PehK417ug9Cl6wTkTJOtY2DFgbEE1GJcolPu/q4cK
sftoWiflChkySPcKS062KJPuMN4OLCE9VM4NlCqmfp+9i5X5SxLe9rkdEiJ9mnj64h5r2yHCf924
IRTlMQ8oNyR43ZcRunxw3yq50EXfYnlksSQzZnX74RK0gMjjHC95a9d+wTDrgKFy1qQAGQADdxae
iLwD0rGIrP3Xs1ewnarsnRq5abQXA2ZI+89MP2nb66HcFgzoJiwbg8x1En5Agov4BQKgA53Cj8RM
h7/9CpOStjugCya8JAApm/j0oCKlK7w8GP42Ee05dXjzKkviTO7PDRIQZKcEzGG/MNozImD0wd9D
zz64pZGvdXOM3GypEYJL9FKOEEyOT685hbuIxZ/bAWssuCqYAJ8ZbC7+8+kX8Kd1q18+q8c8O9SB
TpyBW5l7ypLNLwmi1jDphbr8CNHeTr/rgkAar9k8kIZF+XiqcxDSvsHRLD5i2kdzPxPu5j7gY6ch
MQI7h6rlOxlv5aBYVvN38t08ycYfo7kWeWaRhuj659NbonN4svnOx8DmRfKkYPrVuuMt8soJwMzI
PW4+uKGfFznE5poJB76wAtCUZiGEbZgi+U9QyjkAMvjx9uu8ZpnPVh0xc1czQNO9khRkUdZT5LCE
FtjCFkAEMmBpduCnLcnwvotyqjfOO4hrDP8nvvESr9DmE709LX565Mgh0feP+x6oV6QDgPt/PRlv
k7BtMFNAlxGVhJEgzrBncRYS97tUNQcwB90dW1BTwQiCBgJEvPkOBFmf7ybb9/x2twjEZDIvjSHy
ppmyVjlFL68FSnDzRewtLU3c3bxRjSkjy7EPXEJDlnSIcxwwENjs5Dra7hj06nfEjQNxQWE4iTU0
VF0B97kwEOhBPCNPvyg/dzs1gZbywzvWmNeD1/RC5hJZ5q5MujD6MVQpwmf5XUFKX/dVQi/1UhiJ
KD6Nbx72o3hzGGyPFBXtcP9dnSMqixBMuMDadCAmpw60iEyzgNoh//MztCT4ZA6nFvBWRKuk55f/
AsonKjvnGezQEFJSAy7DY5dimQoV8tEArxK9Myd43tB+xeMF7yIQJMgX3nnq9EjeWX9nrCRA2Q2B
+9O37K52DOomLc5sbUuqGTCKFCv00HZ7AlTik4FBmKcbIC8KVxpQpQ9biPTTrenhogiZIYf0oaJy
qKfQz6VXx82iJwBoxecNNXIeWl0P26FZRNHyguIhEBhq7sAh3IM8JPlY5Ik/dk8wuvrUb6tZuxR2
AZssgXkdQJ4Q8qKfWnHTDE2OUpcuNryJhh5816NAoTDxs6EXoz+PIfdno5hsLflcohn/zuAuTPQv
BErx6Fo4RejKvpMgxuRD6OUP/gwLvIfOLKHamkSTSJoN5wxZ9x2RiiZUOLHAFgjTunYGHs5Z9enK
iMtxZlcWjwuBAyjJAeS5rBmN5FX+d/27Xa0B89bfcMEQOQby14wOdAhE707zn8USjEsm97HPcOXu
hdGfK4kcwasPMA6EfReyPOHLR11m5wiWXeDo/pSTviwvUvu7BptfEwRql77mMFwbxJvDiJ2RwN9O
w33euKCro6TnP0kfNAVl9DrIJk80XliyV54QW7hh/W6t/nazZs1zAIL3UbmX/Az+fnjK5q+1Di0a
81pfxdnUnsT/mU7HJ9EOkDMirSlVeaA+ZIsGbVgK2gIUBL9KCRysYx0hPEZCZJXO6Oos77RJ9rvX
JvWEe4ZSL/IUZTonP1vVKnd93MxFlGuH8ftoUWlhbu5OB7GumdJMYpzKyRCT/znh+bpWQradQylL
8w/ylaXqYOWbSVZjCRWjYpRxS5jpSVHwsbs3Hv0hU0s/FwQaF6me2mAzD5iR7WuuldMTlApibz4c
SkZstDKfny9xW7ItnDYSQquhAZCjkkqgkQ1zzS1AoyVlu470WyFhhwnCwvIlnW3Krk1Uj10jVycP
iUtG3bzAB2KSIknDbx1uxnVLfxS7gdHYGTcFiuAXkevm0V2A4+NzXJIz6in4ED2yx+zfuCEYgMfr
p7gcne4vjxQqXAyQdU8x000GwQFoMBBeRqdaI7AO3q50GS8moioQIKoOwJuYckLESdbn9+hlMxgB
XvkCTuYBKyHtj953RjGt20OZ8bgJ5m0JWB+lGxXHpUOJ2ti/ruS5av6PjQ8T0QGlsFNbRC4QiZpG
QgnNUksJNfAU2gTGOAcgQ2AVa6alz6w8KQkYmX2HKuL3BX0yjpevZsHCOrKz14gKJzYLTBiSmN5t
zJpwvsjVJEelBYD3uA8puGCIsxXgZD1iolwpS3k2WV2JWmzn0kVDS0+fL4AaNnZ3hIJZ9+lvjrtE
njUJWAeU9dtKo695244j2D7N+pppRKZFPnVwKbyt/YeTdNYS8rB94UXdy/ts7KBOGFN8zvEvmk4/
IvODo4JYUNp22Z8FHt4th+Y3RBz2vyqMHjWz2F7nyGZtzl7QY80eRwX3JDuvfcJG9jecU24J2s5r
BU9pMLXxeNqv2d2Ufj6+jqEWkJfwJ+b9OXRJcB8B/fRzKsQQq7BCNAExua5gcQGAwIQdxmBvsuFA
J4enAFGWzOhcnAjm4YvWFl3C5C0UUk+LXR7Yz4Rnvv1VO1DBX6EqBN5hvIONcY4e7449xsLBFKnZ
Mdkdf7Ta26y3/DXtNrfGZHqgA8MqCajrPMDHGUeR4oNQ6DYTVD5/+NWMl6qLMI4XiEXFmCDBYNE7
vwU7GiY8d5OVsqLXtmRx6mfaM7pNjGM1fWEP5FbetNT7RSNAUvluPtFMImqfTUIsfXg7AcXIEpok
7LNMbrPUfmGNQPrjkfWOOinOIkY+rvdrJP198GTSLmmhJcNv8PQagKXd98kISDiDpa5qXwIRhGTj
/Xj+AaWSgc8PDLNObj/ANnG9siMTzymRHSzZugOTM68yZxgPDkzpFcg3t4zIcpHIe7RIb5npAl34
uWFyiIBHjhBS8zt5INepjmqN/o3xpol1legNURrXeR3s6Ux+cXq3RL4Rc7KWvkbE4/gFb9tDEXAU
b+nEZii3IJGJVk63zxP/I759spM+XKd+7/QLrBxrzm9haswO8kl0A58445RbkM3I+kpNJjbip4rV
OwTPd7+p/+IHJdnFwQlqpTETHJLOXgyOH/pZfr/GxJFFuaaSOypuolPu3+MyeOBGUpKJAlWammP+
9dmYXAPAWJT7xqQym19dFwWiLOsUJNcnvurPL2/DbBQNoRYZay14x62IgqpdhhMl+dpEWbsMUKYS
svJAzQdP54c2FvMHySwNABLn11pHooPDHy1LwjaMpoY4SimA18knlEFOSQxYA0yLDM6nTxUT5YEo
/e9EOqoMQPyuA+P//yLxI7BCGvZPBDnBdSQCsR8o5Pg9A7JEAAOtggBZvrLXRbW3D+fzSz1oMmEx
FTQjNa0G09W7DTGp5ut++51JjCTsvXgsX1TstlTkgBIiJ4EfFG98Bur1cpGL02YUdfy2eSGEh5U5
hXK2roRBgPRg6HJ0Wpp1QwWTb9EvrdMofXC+y7PSfykWmBWzqwOlxrTTokGzj6aMzZNrYMwe9QZ9
pdljySKim+JmW99NKjQTJvoI0WnytmMkE0iWWUecR6jEDA1WG/DmqrDqTuZRgul5Y05jhj/ihyYe
wDNUgl+FCZlNWyJNfQR0kUZS6IvNbbS4bSvyh8DXeLKvoBkbWACHjQVt1Yb8W/thVitcNfLPcEV+
gciu9x4T50lq/RKvufdgdP3Mjvt6e5exsp7IJ8b6mkIrf+GjIPin8JZ4D2KWIgllOhKaQ/HvkZIa
EjVaTw4yImp+HxQYZRy4HgPhllSMU1rbiEEUSgGLgOoC/nUebDqPKPbF1R1qFOLwR+vEZ30EQx2w
bjLX85vyOu2agh1hqpHq8bCeD+taIA7zG+byvZTwXvXM+7I74Qf85c/lpsQ6TSWvMDrzD+WjyTd+
PfDPy+2gY5E1tQUGwERKQFY5OIyCpP2B+TM4PDBYkb2yRHbIuEPoqU0oHenjD7PD+iOiXpDpxjoi
AdmBzPZenHL8qKj8Yt06Jtf12GoSJv34/lNaR8J27+53+aMIWCEhjAoTq1GoXBItqQiLjwvZLARv
ublH6RGPwWsYUmC5ida8z7mWfBSEU5V8Gj6sWVnjIugEZgw0vjwaIsqmNUerDiFRj4Na8UfnW9g5
KABPCkKbiTUo0ZneDtK/wPmHZE1EDBkiPfe51pMv7V3NfLzU4kKa9rvhX7b4J/1m9yXJDMSORnrh
N98PuSNIHax3Ko6BL+efL4I5x8kxYsA6ks1ttBB5lOjttU35k9eGSvDeucetuJoQA63jXePDsgf+
MaDd7ZdqUCSHXGprqtgQwn347ni4AP65UyFWr+61C4ly6F7+F8r61I9FuL62p3zsuoQoo+Vg+WC4
NeUNGCI6V90kOnR8Ibf88AkaiiFe8cDULvKqAyk2s03lA4zi/NdWhCTkJOlRBOO38cRCYKcaN7J7
++X4MggEm7rn3KJkmCkHA+l0DUT7TWqkypUJT20OVkSv8YDy4/DzG0go9URIGgF35Zspvjhi7iec
LJy+wSDIiik/HKebnvBPqptB6glaw4nIc4AphhGYYekQYZ+D8D57nJ7ORUHRyFB7s0B8mSZ0E4q9
gQDoTZUzES6blRlJ45FNk+KT+4wsBf2SKpietIQaCaIjZL+MuD468CwqSdYpXBxm5LZBHdwvha1G
xZTwDnH78QQheppPBCY6r058JXy6A2w+Jz79YzQQs9XAxsUImEmiFPwMfMzgkuFv64ndIs5/SOr5
kLMUdh83EMpRNHOAxAjw+BxAzvFhHa2B+V1+od5Or/3L0ziJsiXUpvWAeOQjHh5Gez7U1QSbmBLI
v+urgTTchjyB3algnhB5rUkdSsDIiUGZptvBmkV3eH4wIf0J0e/dvc2p22BsYvZeVvFDaPwp3uSn
v9JBI1uac9ZB/yyV0cxIsHevZTYhDDDEp3AHIoFErDF7cqPgk/ZeWJ5ziyX+QxYWx+14MVzWPnVQ
4Wsl+JY71rKSfACWgHKCs1LejP8kNMGQ9Bz7XDfcTxxkOzRVSB5vf8MYykY55yFMzlbaly/Onnz9
wVaqEsB1FDCnJ1wKvBw4+egc5OSRFijFr0THphwCTsZCiQYjY8s+XvToZr/t7ne4nvwAjRlHdzx7
u5oG01o+pszS5RZFM2enhuKc3PYlV0CxkMI3/S8DU4mQWZMsUm4aG1q9tu4u/A0OjQa5pdk5g/AY
+fRijZGKjP2xjy5zdWW+aSIS/HyRQ042B/dZQbErjsTir9MFFx3CjusHOGSwFhoZCBsm6uBwt1Gi
himqo86CpuhZOiGIC14j9Lp+wyHtlEEfSYSg1r66HMzyFdVCRJtdx8QUic+CdhY6H3Iv87JkMHuB
TgPvWSxK6/bpdvs+kjXAaCCP58vsF4/dMMlmCmfeVrr0METAF91eFffDFfkQE77qadZZNZ+ByL/k
ctI4OgQOwyiuWx2jRPPbqYaEcNDl8iadloIXjyFs/iSW457cdhUWTCL1uJ3IRAFP4DCk615hemYu
RCrGBX6uGeZ/GLd28jyZoK31Jl4PemmoG/Q4hm5kUwzGC6btByRF68DxtnNUURHZFtBixEnekhf5
CPj2zGPIzTVdydw6XhlkcN1E9oWtTB+eCaDSYdGhFuGOb2ZI0Qc2i/PgrJIPyl9AQCmSRknEVOML
0Zc90Srz/kyEfEvA3odqCXG1ff+4VxM8U6TWKghEbivVEViT8ERrbIqu2mH1ZwCAvafcy76KMGTs
YxIhzRKBg7IxPlPQhAAlm1LCPgDOCZ+JZr+XQptXsoxcSTMtPD1oCFcWUMTVyh0SeVf481BpDD2F
huBwLHl6S+sw+JW+ProF46T1mi3YePbPbc9sU7zEggvawVzEVc6mcR8Yj8ocLEDKwUv9OkDsjWGn
CMmbl3hTSPayP0RwYxbkNroA5sviHXluj9yZSCnx8S6ztRwdLygKgYwNRBsUFSlTb3CuWWivh2dt
XylhoUdIEUhKDmpdh61N8HTMR03ghEtYMf/qZNkih8UoCO40NHgqjl71O4Cb5zCQVmi6kNqQKCcw
HT3KqHAS+1Ox1VD5fU2UfeIkFPl3DmtTGstkIx99Wii9HmdnahdB6cPnJFf/BWiiW6WPcviXzjqC
3nhrpqwzt0D3x7iZCyPszspIaOsMRBYQHOAjRLegK1y0RLSy1iIGpLjDloN++4ZM5bZFuS3xxCBw
GGMTHUTD0lREN6/M87nmN0+XE8RLRv1Pd9dggMUoOAB2M1ReMbRuvJzJPUKOANd9N6FKpKQcoVt7
A26x8Ncm1EmXFCcaqZisQ1EBobot48zUYRAHc/arBdnIJGoTS43geCVqjyDJXQhKHBRIZPlfZLS8
rcu85p1LPwsJVNm/TzrD6tNFcmiKI9cQljNWQ15o4MjGlFZwPC1Aqxhd45YYNsJ6Nll0dN4J3prf
NiDBYfva5ZjGOLdPE7jipOI3Yz08iRTcdnEMlZV8ENokk8//94aY2a3OJFZcSY1g6b/TRYNY1KAR
M2F8h7XB9BANuCDIPKmFXHlGRgSL6WBTvlGwGCgkmx1fJ1Y+52rQPzPdg7W4D3RRhcWxUZnOEySM
w5tUUahfu50+zRXBTknts3CDPf9LsEaVQl9nAO3BftDw6GI2Nb67wZwzmUaDAdIHYav4GdOcAsVE
SwcX3BEVZz8HNULh45cbDEc8beZrzs8YP6yJL4cE8gbtiqg58C/tbnWViIZQC+tzhrm7zpQ9j8TR
LAPJE84T0W1XMUjZ22rCgpQP7Lf7QYeCsihFYXL7QZYlA4ckbA39/KxcJpduX3CtMEvtm720fO2+
e+TkCI3VUGqjtzu5gED7Q9nQUdKQncqVKRxfKCGHnDwP48SHCjNDz+zDh3viVFCW/J6a8cXy/w8q
L4JjKKICQvWiomrm+i2so4mUfRxVe3lG/IOZEuujgI6CkMcfCCxt8f+TnWMG7dE09Q4f0e1PzKtN
iDQBhHkucIaOICK+ePos+tWLP2didnHvHEN+/KONtvQNClS6BG/5RYC8erz4RabPBtcDMPDU7BHv
osdmw3NY/ytcErzYiqkdUKKutIKtTah8ZJodcCZMn9vagG2htINUEkYlWfwIojBBvGVcNEP2DG6v
10wjAOWFx5tUf0MBBbOGccNmHLJiIWYmLwDxWrEB9NNn/GKscWiDBTTVmVky9t8bbZ6Ftw3GEY5U
o3ffMVSAsGvCfnHJp6ZiDnkKnHcwBjyhMpOwzJvFFwIj9XA08YioHnKwmC/6Qd42o7FLNrSjbQXA
jOPaHzpANWzB5Ta10x2UhlkMwDX4rwQVIwVJ/x7PljUCNsfR7o3P7Q5BPSf6w4HZYjdbtIveGZ6z
FRgeap48VPmxRKyiiGIWuBfwywdW927VQpLfUqW7Q+ZAE0j2o33M/A8eSYJdIBYKpSYTAesdOyYR
WmSEjPFAY698/FEywOCWyEtiTTqABWwpAKEs+RLSEcW4+uC41cg+yiYLcLPnlBtCYr6hU7m6UXlR
N3ERjgsmDDbjE0BVDp5Md/WCf4Wf36Nw5r7lHyjUEWz5wwSUhbCUO4uAhLdVBH1lH0FkyY3qSTcg
F/puTNYj3i+AybDFEInBOfdfMw51bsHsF97f/pgDkIIyUCiuuq7OfC1Oe+JcJPxgLS8eyJEgab7c
QV9WsAOjIce3AMi4yp8GL+TyiXTgPFhwyrdbFmKUs8CGk0mIsK9EWDexXuQkz19zfOAo8ypGQjdz
Sz4T3qO9vvuiMkhoEncwtf1Lyno4CMqnDFpxbqBEdnE8IGGny9zU/M4m7h5M+wElMfnT6KATP/oo
ankEVeTKj2aqYXaBXEM/BvD1L/mmJywARi2bD+CZeVktZbrvjUoHReaZGk49wC2ZXEqkWYxO6fRh
4AaerqOaa/m9PcPm/6rBMBQRj1y6HNVfL/yYuEZqS2hST/oeL9ePpY+nGszv0Pme9QPK0yOzZU3+
MKs9LzbR6buKi1pajTgVWE+480DYJ0swAAsNSyQngu3o4wLZGTWDKJvXJb85ktaBbLfG/mmsyW2G
+8Z9+DCzFSA7tJVIK7ltsB7z3Y3+aFIVoR+46mg/sQn7TB4XcJvoiFTkuLwSHf0ByJbMRwwojBCj
9QdzhDSikgWNC7pPKjHf52q6BvR5I7wr/2AHWCARc42N8H8Y7yenaWL82+H0lffDcgqWzSk5IEUK
+Ih1kZomHO0vWr9FhO2fyHcew2ChYGay5OSWScUTLU+Def3HwYqYEDnJeg0mRSuDIzCOHDKNJ4AW
ZZFBaiatlV3yC0VXVkZP0sBOHeANPpr0T46GF+Zv50yLAu0vY4dwl04U2+XkdhT2kOSmpwdL4ryN
Gg0t8mxkUtAULBqYi+YoGpKPewvh20VwGDwtBkSV/Rd/Ek5pahfw5MTDBdvO8r0m+1Qo+lHA1NbT
HcPK4ozme4TUwebDViEFYAwxUl3rs4NX8Irp341MNhyw6H2HiLbJESbQF1uMla2I0uFcpjjPWKbY
ZRHAzPvoxayAw9UuKecYexB2/KlYStc4N/kewAlYSYHPMVFUHKrU0A5J7s+47uV5xzP1irFxe915
QD+2qMDKTHyUq2a+EQUqQ7oQyVhLCUgYkANNaM1eOFYhR0AL+T6gyZ0/vgrRFQQAgBSpC4YIgDLj
uOoj6CXQqpdJ/umFlN9zz6OPCA/EZFX5xzt5KhivLdDB+0+3+/lTLSXiMUat9M6950/994Pqmzo6
JOqm8OTAY1b7CgsnKIaTLKyEGdae0KGLTI4EjztiOIQw+KYV+4Y+a3Fb0FlkXLdkLNL0VE2X2AE9
FndPBMU+ks/+ZlUkXCC6nPDgq5YW/lwTErD992ICLnY34BApg8M2rIKlDFCkktxP0cXLcpe9VWx0
n78e1QGBBxi66qCeLoQ8aTDX6bqH1vD1hD4VnNrd1PfB9jFfA1qbqtNYwWdzW5GffRMGFv5o4rSs
DXAQCQN4sqgiQ7WwTf8j6cyWVMWyMPxERCgOwC2zIAhOaN4QjqA4IIOoT1/fPhXV3dFVlXnShD2s
9a9/cIUt8UfHGKLSrXaJm8w/VuEdu8f39Gsc8ctgZIoD8nGE54dsIEg3F2Nklz38zfEOmNTWkbfh
IBVxpD5uS0MP47nvmVn1CicIQGVQIizxQkGz+7D5JL4HI0UscribKH65sl47EfchLDeJfIKhj4HM
BIDCyN/MqiAfeTidGfQijLxvS7wHYDF3eJjQl+URGMcOo8SNimgaMgDMxN5ZqUzpJrJsUhJRRdvY
MhfERJnACSRsjd2P+OUY+JhCAGx1TFCVDVZQPafYf10tIr3PGS36M3INwnNDHrCYv3z1NW0b1x8z
G5gixprZzxk7sv6mwdmkgy2aOtpss8HZgh9qbPzH4bMFeuh0w6+FTFeufTdOqdPZgSX2m60bG3CW
XGkIjsUkO9aI23u6gz7TR9/0e6Grd/+imFkgyDJvLs4GwZ3XRkSbPpZEpOblEWT4oPTMCw+e2951
cyjMlCmcvpx3upCmjFjgL4CSieqyTfAYRw+Pg/zVefrnmvxgLL0AjvAo4uPcvCfP+6d3uaOcQTwH
RgOedSdPeAwdmfjSSS2uGj52ibTDgi8gdMJX973+rVHWxsMEhi49VG2+ImArT8ZXIkGB3HMBNK8r
CVp2wvRzd+fH458jXJhaf+iOa/bWBaE+S8r//tO+s0Fx1fgtjrkn0f/BRHwcIFH1bkLN8UBm+9Uz
mFYcTu5xjGfTb/vDbgMKq2C+atgmAfsTfQtQvH/avRSUfeCgUevMHbop84K2TA1aDNy5F+BDsJfB
gnfdGlLXO0LMFWi7EpSH2KPde/IVE7ACLgjiflAFzBLDTwQRIMKDE0N0gvK2RKPWqBg0k6wYvJBh
6TubUsQ4wzhivvnBa6EVeV62fBT2n5TibyhRTyPjVoGUCcNlCfAubauAF/DhIE6tx4HZDdZp3wU2
acQHhrDKqXSZ4aQfmxHB7zKBqK7qVPAIEPQn3vt0PCs8w0g+D162ChVvm22Rcqy005UynqqRTs6G
5pz7lWr+MKsCqln2WBAPD3ULPSvuA89IxmBTHBiYSGSIN97rblrN25mafJgVXuxqqPdVjBbIrvZR
PB27yfvv6oOKjyDg9p0Ht5VQrYgOQ/ANwwQeIW4AkPTe2ItJ8Q1XLRtxO2OtdFauIcobjSfcTuiq
uSd7EzFs1mLJSRucZf3h2+ldrOYPkRNeNyDrPO906NzQk7kyJNURDFdQ9XZPWits0BFRzCxggNqX
PXzr1Aq9TUmmYxspDEfQM64wrASRR4ryxaCeN4puPteHNCWx4RpIsyYjLLN7FxADpufmCwIuXsaf
s+YM7SrEeC0YxdyQPDreiAPHHAjv6hI4TcoFdIUKVoT3ZBqF48srwY7bueo68nJkIeCgT6xY4Jzy
T5/EC8MqfxHw/mbu9bKxigCwiJ88tOv8smzxGsVM5AyVuJyTQsF1HnA5i6+FB038FTzyOzdfH2FM
B84QfJftNJ19mdeh9uO2TzhUgPyEVJ0Z4wrzMMrC73EQC47CooUoyHJSjcuEPhKmigkXdcjFv8nD
7oDWgpQOclZcJIXy4j4y3pQq/nXd2ooF2VSWhMNl700EJk3CY4/XJTUWVB3v58PkgeQCOpM8V/BV
u7ExumyZx6bRPWBQjxxFRRCOBI/57TfAobeH0BbpiQUWInsK8kpGUcKDlnFmamYj88O4kfuFwqo0
1dOwse+/1eBuvObV8i9QGZXVYvOqMUgex/5zV7MAbOLXqWDjD7U8fpMM9FIdd0TSDfQxAUof1Fth
C7XOvkDiJAthWccv7w10hNKfC5M7JGNcX5kKjcUG6I875IVdK5Zg0HRqs0+S3EOvZgOBqtDfuXgb
E0aGrZZborb+LXOciBy+r1wOPYyirZduj/QNv+AZE25Ms94bkeyx2XCCQSkz8KBouJycwYJPTeyV
jTVOLEMcJPvCKdxmeT3+WqcAWwvR1ctnPtnF7QBUgfF8DGhPL4/2Em0GA1EYtMDmsCcHQE/V4h6T
LuX2gKDFuK63qElVYjSH18Qb3JZvchoAkWBo/Kat0zkZfWCIOMgDIsab97bo70duDrflqCBOx4sM
JjvPEE1757zoi0jMqpGdw2mdcE3zJ15n+BzH1aTBTDg7ATZBYzqiTapmbQwFddDQc+nP+IYfM8ST
kQuQCQqsTj6+ugOxGArM7k6TCBt0aCFyCp87leO0IBObUSoRBiYrr8CBaYBTBw5GfzlT1E23+xxH
Pl/Aezyp7C2HCDXnceRnvWL4TzjQz0sIbB8aLnBOSfB8QSOHfVswrKwCIlZI3TpCnErd1uj6hzE3
TxNQYdrbNntwcP6OhuyrrUsai5Fxd+o/eMlS0ud053zH5cHiIFsr3g1aeu7flz8vncGwWMF4Wsi4
EzRG+jbA7F6N+fw42C7wB0GKtWDjfsw/DPEmtNI49xasGFYAGMHFv88Ld7x7oOdDyAY+C3WEMuhm
836Foh7zc6G54+xMaLmNGU7NS4br+viEQZQhL3/zitFeY7SLUtgZ6tIa7Saz54gSIHrZj2CwK+x6
zxNf8sv/iYyfJ268jFiYDMkGvsxEKff1+Qk7jYIES2QxdsW8BkaFdKLZ5fruuYysuK1eCYHYW8wR
8dXvGwnWWKfxlPjXsdFHevDvgxLthS0EFBtY5QyPhrM+klQk1E65HilGeRbDGvyeEJZr0Y5+w2xg
qYPbtIKeiIcsgmJ6qWQnuzsuUvD1lHDedMLAadaYS83iV0CaLjTZOBBzceKu7ktTgEVQXPraDbEK
hMqb2jZEe8tPoV2GjzS7xh4JboMQ9ocpFAKyiXlbFDMLzT2CF6zn8rFTYvocvsG3AXKwFoTK8HEB
pdCVboAqE0Ge+FH3S47hGd7dvix6VNP1dMo1y1uKJPT5SeMmaAJW5R+qH2ivLBolFqlHrbjbcbKi
COcOVsXs1WAG+XT7CJrQs5I6GPaJrXhakn9jrilNyfz4Z33fbN9c+SdMMD0SbQLpOIKQBfbfCbLY
uNZ9WuYcWt+ftADL9QXOnIXId2oLYYPT6aZL+4ESsbMwqmwrUV7OqCqJtMFi6v3Tc7iqxL/ePaUf
vGACAtm1ToVyAlyGe+lnZBRWjJLAMiTri1xBNgflGnur5/SJ9ybgL2fNBf5WzwLCfiTCkFHYBqLp
524DZ+SyxIroio9VGcobJp5aIK3qDSJaPKCGTBfDt9fgCFxZAMw/mnvoAh2qXrOvMGu4n9jYt9k9
XoLxBMAoDtykdFkN3LFiaQoUDnbJPb5by56lgZcxpmGOGeXHwlKYQuDhPuWMJvvKZQJsP70Csi/l
L5pLGAH8iwWwVNA5Ax9z6eNoChO2g/dSm6fsD/iVlfANf3qZ5LM7DFcuKJLnJ7mNsyv2zh9gIoxc
YLsieDRVZLhwyhiniKHH04gghbGVM6sD6WbxwASDuIMgE+LdigsPfhK0JLyX6ERhKxsUi4RvhSlz
KvWYuuNFfua7A1g99PbAdKQccnSASmihyjdETHwNGGHhiHlN9DT+MHrkp560QJ4daBz+tPndAr4/
vff304NkQ1Ap5xJnnpgGY4ISFQHtCkDW1Z5ANylO8pb3d/M5lxm2qEvmADRVBuU1M8erykBIIFdE
3D/QFA4ZewNKoWzZ4dBmPOYdqD10G5KKRnExQXv+O1/nsE3v20jjpvqgFMGhg9TwLzFT0PEhDzAM
b+ILTKsLA+7arVjz8pU/tf7nk8dPyq3P9tzAnIGToFCCeH0IbeUJkhatu43CmsvdOhQffNoMJgbb
gTOaaxi20jjMnvaTOvu24qhAWMvhucrs1l80uqvOB1v238PZXiaEoVG7b1XmzPgEXIPFxwJWM7jj
RsaJ/BVLhdJItWCcepy2mhDbYAsCVkDYFNGcK5S26DKL6X2i78HD7PrvxXtZcjKKYodZlKlwnLcO
7i7/0qt/Vr3AkG0OA4s2aMrNAM7EEUUqGr32VadEZqq8KhdPJ0oIBcby9ea2y88aCU6IvRyiH2nS
UslO4Y+wBk3QXQ+yB9J1cixyC7HdXV/AjZpA14ghXUUXbo5dzw2pA1mLGKuCeI+nSa6/fO+5FB6R
BBsFuHtohJdAGPWIJOV5ffUpb5xfvp1gtwIGJCRQZk0h9H9jiBbnwA31h3gEzBLAExUL754Wco9D
76zAK0rUgJhUmydyhvhDhDSpnShfsKirDvm6YKT7mQ0BQQbMq4Co4KZAeBFNq9dN7lFm9rdYNHD2
Pff4Ef5wArta6v5+uLkyhQxNDmJNTIBleuX7wgozPSqMf5BWIZtZMVV+E8rrj5dNBLAn6XlpiTKF
cZYM8E6Rc3eGUXF6XOzsVARIWphIbOVjTfErgUHz7My6MRu6TJho3TQB2d8iXnEuBI4C6XOFHDWr
vfiMCB/JQLEBde82dycxRAh9/oZLYVql6lxNAJitb0ylHR0gkb0GSXD6aCk4GxeoZk9QcMLLXKoP
xm+jsATcY2aHeTMrwZEg3skHrkss+7apu9UG+kIof/BPUmDlSdYpJU7vYxEm6D1nOyc3eYv6Fhkz
aNKVa/vwWOQL5jNmY00y8O8rmDXDY/8Ni+O9J2vdH83HQAmfP0hQ2hpYQWSscwLvBUWECbW1S3ai
afkbJ1sUYQH1V1+27h+jF/TGxmSWG51zdxEqUUia+OTDIeTa8q/uA7zyZUPCwC5HfxGulmJSLU8l
h3/FzuWE8iDR64RrQvEA00o44JwLVbQ4W6ndActfxEtwBRGJt6usBUuh0y1lxZNmjOhhbDJVjq0R
bx/sS0ZnfKHIXhARgFNxV+cucdlCVf6B4vUIVkkT3oRpqQW8ukHE2bdU4L8NmJ01Wi44BmBf2US7
sHLT48cIS2MFKQx3aAUdduLdJ//QMD9sbTDVikj2/RV3nH/QOGk6AG+KqbnXgJs7BA7ce6RYWEjZ
Sv/hYsXGGVbvB8cSOBaJDo+GaDjsna0PbG+at763JcRPNM3nl3koabPYr0xxGVS2NulW0Eml6Brv
qEIYIbCdp4vHadE3PFjCiYCwQjVnc3qZOThesba+BQ9Y9VpMLBSyHtALJIhfuzZbWj3B4IDcyO9l
pHyPEkAaavxEWMaA8Vtnth1YqkAnsIdRwydSZ82V57kwlgxXMZWbCfWL+LuonoqSWAwqDqx+qqvx
5J3g2gNL/MQO4vq4nXhrmI4UJkxPnherOoQQA2yflzYLSgKz2BbO4c3Y5qdHrXkLJe/tiDMIqADJ
ycPiwDQoBpeIhJySc5xDArWhyzH4O03hfTLTtOfcUcSI0KchXRaQH1mfknXg7COSFqpM4RCdLWbC
YbdnFerAn5z2A+f1z7ds0xNdDsNTn3MOOpjuwSHzooefYAHnQUTjmgf9DiWmoz8638Z/Y6vYM1/L
b6TAhhgxVrzqO7R7W6bmNm03XXVunyDFN3oiM2PYcZpyROwq/dDnh/RY4DCm3YIPIG79EwlpfJKf
zj164PnxjtkNYKMY5rgpJ/LP2BrGsGShjIxohFIhgAUshogOJEX2OmMP4C39MgsLI8FqR3jzIaTh
OYJQ63O+7GeIfVhMov1nUeLHhEcSf18aFsxKiMxgynr04qI69I3p6Y44NcNM6YK69jTwZKzaQ6yd
LSzTnd6yWmFRyW6LJvMTNHAE/AOuzT7n3JcPCGGBvsIvIVjTI0Abh1iwzziI9PD8nCF/1SNVn1Ps
sLVlu2H+XW9/jgXcX8Pq2qIohRm1paH3v/uh/8aXHct2A5OFd0BtBr1QBvuitDa6abfU1rnXuSIn
usxQc9zXOGAT1vUvoBCHE1B4VGY8s/ec0bOuJu8VHD9fRUVE240OwRRkcM08M2mNcJGnO0hwW7PE
FZQLjbJHSPWh9hTOERaijUqFLX+8rItd/TJExhZkVYTFpBaC4P/OoJGI759J7oW/EDYOuBC2h6Br
YOWszPMjhOJiiRPnxYz6u64lMlxgxcHl6ZvgTShv+FQlyIulAj3eTmQUUEhokEgAkxkq/QtX0CZa
9N0LI3lYmqNJaRIxglUvo2Qb5OEr3L5xlSTCUXb6C9UYkx8F89xSJuznILWeVrPNbCjTP2JLZpeo
4w3hZYPrPZqGfzmgeBgyjsBjidmFEkGndIaIrjlz6NImmF9Mv8ur9UOUzScaOuaPKFb3tYaENalh
J+ZcHAND2vZ8qPJ/w6SejhAsQ5ckCBSvTszw6Ylxc5FZtJLJnQc3+To21ogo+uYYR7AXnf/FHa8v
Ll7OXraGGMZs7ACHmSEpgW43YiXzFScIg5qbsfiRpbt84WDQUI/xmPlI8c39ENWV8nN7CVdCgAms
IS1y42/saTNSgJzKxM87aHkpcHHd1K8XQ8w++KrGNoPUASLCbRGAA33klyyTx4TARd4V/ZFBROmH
0I4cJir2+offoT8bB28050wWu+OblmtsEbh5FtbJ1Gw8Vhzio3adzZv/Y7Y94RCA74ZBP2aRHvKl
kddjWh79Mm93rzVRQgVEIqHGJA4p7MWKjmGMI2jl5MCtVfipSOBgxcHmIzPZI98JYtdjWdFAM59o
lqSXzQgkIFa4W+KvfvrnCXIz1oyc+a8I/mC2BzKTHz9TaQZA5g98eEyA1phpvc01AYZzAFebYA/+
osB3vnz9Y9kHkprT+EEu5UHsWP/e+Mw0ZtGQlHbx4dLgbtouzv5l/rHfS9XrWaSyM/Y/nkX6OAmf
/Mo/+4HVNEJYE3GslfFdgKhWtnuuBWwGNXFdTscj+xm28wZBCkAFog40nu7XYAwFZQ92nH7sYeJw
dfoTQR5vIph66IiIOllj5+C+QNqdaqMGj0mGVT3SPfxFfiKHluesYHdYbjNfXpHExrCKAKz4zciu
5607d00jgYE4FmUou3BCFHro1GH+AdhNkBOderbnwh4cxRy0PT5xwj5k5lp2jtDrDQhDrjD0GjGs
A1re7Y4IRM2Og7jP1f4A082hZdcWv/FWdcaOkHe2EF/GcR8s8oeD+SY930Xcj53uiv2VzfLG/4ja
WAS3E3+bu1efREMKYYxqbVxWiUxRSBkVbO7n/Geuj8fO4kUhJFEZI2NOiDZDwSp/KNJ2yAJkp5xl
50fWnqVscggyzmXXHOR/5t4pe0J2HgdtWSiYfdwTEApwgx6F3ICDbcX4ZdHzCp3jlbMrxgKXHgNS
teC3wY7zO32NMdEEMbN6JiTIEqpQxTpR00GbfEyFEU9HrtTQxZWXeUKm6Squ9CLHs11LcB6Mo6KT
DsofDiA4ZGkIw/Az4g59l1P8M3ZlxioKuk0ekRZqHMnW9vaoyaY8ZYxsqoM4wTr+nq/FTWE5XoFv
0BZlJkwvWE99yIO24NHb6WoE0rws9r0wJnPvQnmEAppRH0iiW/SNWtExZdOmzFpav9tnzB++N/xp
1iPz6PtECWOASzYAo17V6GNlwsNqfYzOHsEHhiOoTvLakw2OVJ0Ik+TO9nW+DCYfrBXszxbk/6pI
4ycVccJf75uaV1okyHSaLUESGIaXEuYOa35yGQe9nt605oOSiRb9OVH7Fj8ne06espVdbSiIWBs1
X49wg2EtTH7Sn1kV5ki2GaXcZ32QudIewLSg2eCifhNTZlLjqwVRT1ZvqaHG7FkDKiRUXWABcDCf
b5T2xptsYMZunMXwdzkGDhcUI0iBP/r9D8tSKpQf8iSsMpGm7QTlI6fCxGHHzh8s/IEwj66whtDm
ooJ+0YLRA0KwDsY4DNcgZbBIhCXJObXb7T+aN+SXBVYSBilZbgkR4wDDD4Ihk1vxF0YavKNYwH7c
/DgEfXUgV8lKvJK+/mWJlUVRRUgD7x7FkZm/dPgzEtx0Kjq9oYAeGGc01dw0rLSf+cdYdTHgms3j
bMaQZUJci85a4wIgEgMGC0Z+LQF8LenA47kStVwOMOasB2WO0FBoJNXEfWCJZYnHxqofPfcjscws
Qp6gKGPOZorTKUVU/ANd5lYHCEBFRdwkHNQj7WzJyH3sppp1pc8hxZKRNPXVV3jv/NAXBNfUxQ3m
hzn2v/8oTdCCiE04fZSL+U7da7N9IlJr1rWyuIBXbh+NWY2nV8Y8BAhBNxmafSRhyLK2JB53Pf2K
RILGejgZiGiTnONsCMPzM6nG1pj8PusG3V3dpo0JnkYWC7Mn1LOnjGXexOW8mw7OrwjEEPf216zE
kB4gL2P+K0+r8CubXMIjTGzOw8OUkvu7rCd9pAo5sgpmskIQxJNnNFwvBIekwJdK8aD1CcfNkZPj
536nrmALTJmpcGm2C64si3LMJp9ep516cFVDgGeuz0Pm6hi6dSEidPG2pNIc7OpjQRARH8ypqOl4
ySL2i96dzwnUqx8pax6TEvadHj9N0BbiE4BMN1fMv5FAoDKmtSwPMIcYqHvM3jj+mbiqmnEkb4UE
20TgHi+bkmJ/n31r43K1ZX8KUEARRGFNN7X8WbgkDClbS+8e5e69ppXpmZ/T+7TDORNampOx8LtF
H+aQBYnurzTPeMLCqFpjrkNhiO5AR8t+Ju6RhIovNzC8pxdadWg4fx3clYfQHSI1Q0Al8+pka+Aq
wCXmhoKwizNbwu+7iSs8sgSlS9ADQGb4Xyo9WqfeRrb70BxysElcS2UmwmDgWxwyrNbtzZ97Texj
wQz7GJ/5jd2esYuhRBD41DP5tQIOvE5PNzhrCL/bjBOBLxfRxChIcLmjuuHhcbd4n0OxuxLgcBWc
n2ojEL/mLMBiCiRq+msMuMOMnVjP6GOLX4a00cc0FneWJrKvzeH6+zMwWlF44dKi4RZtAXavy2Ld
88R1rmCFUexHUbe/R4MzaVI2Qe9mDKAIg7xcKUwUSO6qAiw3iwP2aAH+Mrx4zVxgKxXSuZpH2XMX
TM+HG3FnS6Yq5FJ0tX5rUXQaR9z21pfje85oltrX+Dgq+YYIjTwNOP33x+SX059LQgxW3n99T0ot
wFHjzsAgQVbDow7ffgS4y3GKuCd3WWU0SPx8WXHxKsIZLWVlRQcZP2Mtniv+kmy+ebZt5r3pgPsd
SAaQhLUITwXTLZ3kBnRcqSDOXdAT4+rrviay2ecEZ46FKQjjjp6elP70fnjauTemwFP0G/0OfWkJ
kDkS5ahwb9pd0YwRTG5WuE20uqig8kg4XsG4sYkYncN1xvqwn1Aus06h6RC5hJxjnuHHR4zTxx7i
z0KLK9R/zcZ0LX4TfLuffYh4SIWhLQ0QnE8FAyQ1CEuQtoiaiJKct0kZ0DwpVH4UA6zsipL3fERs
wLScMwId2GCCjQYosI3xE7lAxIQBrvZjQRygY8D3/46LlMCOLn8NVwIwD5o85kwbeYOuEd3O1cEM
3SecEghh+I9NwBOCz0lPDlCMi9Tr6yBLfgv8XWCSgo14Z/sOaac9Sh1PEYtb+KW2MBWrf2c92gfz
ZZWU1zOorIMZ5Q7y5fDYQpVltswYwCaWkKEA8CDPE3NCt90XOBL5vZi+zF4TqwgEKgg2IN20n8K7
i7rHKqejDa1GLsjuO6RIKMFm2MO73wXKOfsoyC49aDuKWaFgE5fsTnBfkPaF16m6osHwaGvMXYn9
npMRz0dc/Yp8iafx5RR6zx/6IHgDXEn0zFoMTABVlocG1lAz2hLeTQDVgmyOAyeiBqy3WELZ7Ers
fe5RbJ0ZuMeVef6a/fNlSePH8A0nf1RqtJ86qt0M2fAP7K7nQ4OxMHhTg4EmxPHaDIeoo+g1jlCq
HhNkNQVQ7xrnC2BJAFF8UmCFXVGwYzk3ntcUXfvLgheFTyMZVMd/tijwxSGRmrhlgc4y8zTG2PSE
KhNXKkJMwAFhYR2Jx9F6l/WYYMOWUG4ide0zdK4D5xaiqz7CcrDzC0q5J2Ys1ZOkqnbt44jHZaYD
BJr9xdApJ4L0xjJc4d7L+xPSWcqybHELyLymfOccmJQJxGl7aA+nWxmd8nDzs25084NOPxOFhF48
s3E7ogInnFrceMifHenQQYL+2KIgRljs43Rugni3yWA7DCn0pvDoivkbBjktlaMwaOYEir40+kgy
B9YLs3s06m/s+ntXIimqU7NCLDohU5Ztks7hwUKwFbx2QC3UjIR8kba8qpzscI1zqgBdTm7WK+qv
0kQaQ3zBzMXD3pw4lxkLAPxuRCCBSNq7gFGYF0zjgVfupXDu3V7MjltW5TBFgxsrS0yGknaPK7H/
A2SkBzIq0Lr0wAQc8pHRlmbOkPyETPNLmRRzzVMDfZ0x79vLko62TCGIISfxhKuZLud34I5woFhZ
6AadciXZcvAi0QfTpXYG50yiEIWwFIvLh5RGUu8BugdiY+KqnU2zQBBUjh8gRFahgFj4Ip7t173M
sOpjX4VpX3gzwYYZm5cVURN2f5rDXEVMBPShOckPq4KMieCFShMjRORJcE289z6CWSO7jEVgySN3
9CpLXN6YKhC3Li3bPX0I1algEmALx0QQ3FOX9G79mWDsBEUG7+mwFdpAhTK0wQgE03RYgBnnwMsu
bFShmDpxMWObBOpAfahN4HTJUDvQEUegj4SX0UIQgcZ2IYAPRwRrkAsxyPWMdmI8wWilggyiUbV6
zPELr2D8ItuOyAD9uSdV/wA5Jk/jszg1QjtKFgYnLFgsaRApaQzCCFIF5MHEUO9BgoKLIME7L5w3
GHQ5p2SnPzsQKMKeyPDZpDsoNnAe/h6W5n2nqi27UF2hGxk3QoI+4S3MdxfSi0gR1rMTBy+Yu0Kl
bD859roDARjiYTG5GE+Hiy5j3MY/hhplatZ9pVgyZeA1/Fgd8GMTFyY3NvaURYTv54XRRsmpy2vv
UAtoVjIdE/OjwiwYrYdIhaqQeZVNS4S38MtGRebRxYihIvmON2c45wbEWTymuKRI3a2YBVgavyag
Knx9FFkHwSUQgSdDF9eCys/DiqHGBhrWyHvMRcwbSTB4QkQy4CNq3+nreLPKgGk61ED2pOF9vC2D
YQZI7nfZ8yk6ZEbW5AVioT2nKQWOH8OR5Yw3OCoGzLmWYgjxNjHpQnNt/1CByEZrjITAu+OKGIaq
de7g3d79YfA6D+OO3C4m7AgrgXY2IpeAUGevIrhcckezjhnjWyRTlzSLcIevQOGk9AFyyvNP1GCo
ZmaJRLsj6hiEs/gBvIhG7HY39jqTyh5wwOXc2ByJ3ZSqbgqnfg/oSqUuDnY0jpaEUQsdMHx5Zvo6
DkFc4IOoJpvvskZlTjbtEl8vBGqUSKsMwgYCIqvP75Z2sJgEG4giZUGU87IFIOnwKC1RL3+WLYWN
Ays86uP7n0cFBvU60zH6iWkbd3he/dHBJrIFxVfQZID3gQXAx+7hCB+feoUB0WPBzYtZMrjneJXt
KkbJL5zX5b1mNgi5iMktNxxcey3q7W/By5XcyzqDYQskCqMFsFTzC9j60CkUXX1a+O4+FOsB8Na3
8CSvgRSBQzh9mbKjt0ZanaQgykuFcQu8KBHwd11tZkJOxTtQtz+9n/zVewXHfTbv14UVDhbPq+WT
8KjheGOR8JgPMg8/eojCz94cNIA2PyvJitWzyuuxef+eC87d96k64eG7ukMo6Fvo2e+U+7JdnYTI
mrEniT+7Lw8sJliMSw4uBWRF50Urhf82s6X3VsFFAWPYfnB5kCVG+V5PNB4lL5H7aJcJW5kLbW+o
InuF/Qj5Iw+z5XM5lPXBWTY/qzsv1GT3juh+tPgBkI242xTESJxElpBWAfvfYUcXs8ugqfg0dcUR
Nil8UcIdU0PjyQsv3ni8b2e4nvQDROKzhnB1vNGjItWzrQQVk89R4UO3xmp3MlgNfXT6Q1cVvgVG
nwmozQ+sJ9W8GpsDKBMYvM1HlBJLLIKh50Q42jJSh8osed59C3xvsfsQiiMyeJ9Kh6Sd9wqnFkgz
pxHNbXyHHCCdb/NuNiQQfdbMz7n3DoDm59A/qdIxMe7jeFZZjH6rG8Spzsy2KkbCLdTt1qsGhsrz
pUJ1yVTwVM4cVgnEgmwhLR8B0oWagzWAot8i+celOe5ctDTW55yHIihQzACYeHO1iWklHOOZNHta
H1Lc+5wEhYAZGzO40cr02J6za4AWAxHU9AfKwGeI6mjISO7KL6z3iI98+T0uFpxdBRVNmogEs5vX
S75Mwcyri0k9xAf8i0CSQeFojr8uJhQ8Zg42FmeBC8fF5OYZh//CNaHsNWY9Nt9b7fgGQKA4D1N8
R4736AMRrIUXneMgbjYr5sVWtReCP6AcLMUD6muS2C6zbzLeVw7UorczxEGaQ+XtjPffJGUoIbmS
nXIEyL7IpILNnqQ8UpxXsHOm9skMkChQJOzq3Z4rJ43THbEaJvYur1nn5AGDKQoeChCJKWoaxnuz
50S4HF+OSAxMJnaZcbpzvjPphHXFiweA2lIPLV6JytDdVaaPqTIDJ4ZwfgXI5y1+iEnhiuViprTF
NNKoXXK1lpWd/mEg7WK3/TjdHDplbFYz3Lt4HrXwzx0hR3+bAIelyRRoxI7blesvxWkBiVDnAakb
6C48nRY2xdCWp7J9231g66EpCof48AgxkrZN53Trfyx5gu7uszfzKIY2AeL4lcrhW07+YKg+ll8w
DTGFUrwsKkMI0754taOtQDxv0TsaY7PtjkTpOWPnSVibMDAHihYYAv8PS19rdBITG7BP/DxYHBpA
xdWnbk0+pyYe2mARgtHYePKRC5yzBHwbwsl2hQeWIC4lIz4uVGro+43+Pot4kOfqo2FYya3N5gSN
ftrNCqYy3JRbLMg9NeiMiCEbRBl8CA4IniJnBsFZEHYgi+9alAfyv6Tq/l8/HlmYiq6EyhrDNqaf
a1TW7NyMuwjjFks6AthNlQWdmAw4rBG2B3QD1o2abfmYa17LwWaV6x9ZyEUkYRKMImCnMSLFvL1a
04uL+gFnPaykIq79GxDV0IalNIphis9IHfk3sCmd16K3T/d4jNPop6IKsqStSsHN1kr9d/xagtwl
gw9Deoo6ODqoiBDKRkMTJR/W2nKNhcQIK/MHOhxG2IygqbmSi4NaqjXL/eFtUWpvWO0oaiZ02Bhr
joFq7hsZj6noBt0CjTLt6b/etnrRDjOQN8dusyrdE0kBFFgNQ6Nja0YocWUgc/QkeLZDaJICEsac
weplwkK1f+vS+6rAMmQvAnwyK2GQmCK0G/qVJ8EA2nGRuK9Fbu04fvWPviSpZqXQ7QAUWdXpnytM
7dKYv6wb06+LC71a2LxHBSqx+wQxFdaZWAUyOX1YLGHagHKFo5otbJ5gmYrKd8C0/o6PvGyLZ+go
U8YM09JEwgEFjEXHJC/OFsVMmGGuOtFh8csXjiBOCF0bL8FnPlidODO1LSX+DWXi10TICRuUrn2u
BY11Dbdfe4ewGDACzZ/wZ9/TpFr99RiUAFMmaS4+49ju5XoVAJQ3H7Zo6eQ42jGgO3XolbKE3jxj
tkSc+DChvgP1VbZlwHUEpYcIS0527hKQYUOO73hwKgJqvuro54slgKjNk9yKsBer7wgyRSF+2HvF
qQKe8N1owr44Ea/yhS7gblfwEEaMjRvj+keweUDj/mESTxnDJ/75P1TIyvzhQl27YezE/cXEx8PH
kd7ZHm4V/HTgF31R2u1gRBaMC/kOfhDfjaC2XpUzVdCHeZ+oGkXOB8bReLTUy1+Q018hDkNJgXKG
w0IEbPqoC2hNP0TXKojx0AoiiOPwJwCcmRZXGQeTENBd0YRA7rKUQNAwhfJAtjF+4B8Y1wXrkrYb
nP6B3P/HxF1M6+kW/KFP84k8wfGgbzP0/+HsWIAeMw5ObitQV54/LiITWjiDRJDCkScnTOU5T9CD
VKtb0CbMZzHkh/rwM9s9A6qni7ENuj+XOfL8aVcrmTMrg6SoEWKBMSBHYLuvVv2TNNGEIRI1eZoa
K7hQU2gnzJqQiDDRR0NySsELhTeHWTHvGpoquXunLwwRGBJMLFcjrr9Ti/+Zag/xVFDNJjW1MMU/
AUIjJ4kUEonEcoeHbeCXyPpTU+Zl1EokkTpcOkxP4bObYul+BDUi4HmySEX7ueSTZN6HDG/0vxcv
t/G8uHywboxwo7d5S2OfLsbFjJGnoywBeHEW4ilR2guBI7QNNFRKRDsCzijc1AvnVGMKyAGk0PCR
Bh+C0/DC2D9A5g8HmMXeiZjKMQ3SaMvI3uUCw/oIUy1h1/RCB1bz/DRjrlmsJ5jZI+sNqUycjQId
kqIe3c0pnT8CeT62iCO8k3PR7sGejDK4/l0gJY453jNOTUE3uMUM1wZbkkULOizhK8m6W3Yc0KAn
YeVlB8GsuM7RkFuUwTy8AxFQFklF+3H4pvD+Y5zuE9Wwh9cILktDwZwYlU26KK0vZjospxEsOzif
kDkxjhkbfMAGoAomnRy9fYzM69MouQdVIsZJPVPdK+iINpxWAv9U52wu0F5IauCXWBlis0RNA1vZ
42m5L3Q8jVNHQv2qRYVEEC9ycIUzg+NkYDExCrC2uq5yCyOMenMHuMU7mimGoFRidxOAAIhAw0Nt
1jV1Gh5DW5Fn06fJcECrPJRT2KbRW0FgOeC8gFVMuR+K4437icDvE03LvmISCTJzDYlA5xL+WOIF
iTHc15Zi1EtELoCOwTUTcwpRE9FG87K5sP5uJ1THjz2nKXdjTx9wtQedC5hWb7EAmZENYG/x0g8G
88O2JtqqkK1iZh2wr+8wV81i4kxYWjABPcSLjJSjPPhsn/uGT+PAl71PGo8oezKRVHfgYGbjiB1+
cTJY7sCLBQgtquBWj2VITJiwsqnJqy3o+bNpCrNUcug2XTi9NfhDiUoXOI+FnLrS7jLhTrJg9UJH
F3xb1HU079yYrGxWLbtT0Rls/cfRmS0rimVh+ImMEAHBW2UeRZxvCIcj4IwIqE+f387oiuruqsw8
CntY61//oGGnOX0vQBuYuXJW8qiMT/LggYMO+j3ABWB6v/YQ4AYj3idhW46yh1o6QQ5/GIXyJCoP
BDxPMLQEEH5RsACeZ9ECLxPcKnjiY56ZQxDyuFtxJQC2Q6dfwBz6uxgrQtrIVw3LcBqhR3A+rdmt
LqkJKJWDVCscZa89ZFXOtZ57XgxntJIEilYHoT4WtETUABCVJvDJrr7E3BmItWdru5JWzehwRhc+
F3z3BxCHuGIGK06UCc3nESqTKXmS/YJudwu+65YjdUicu2ZwW2OGxMcFhhfctSeL1YPY/Z/SK5Tc
VYyQbVW7ArxkcB1Qq0oQXrhhvijknugmbCo8gGU+Nn6gHxy0dEwCYaMHwjOL94gZkE7pjEzaBleE
+wj6azenRGGUpzyYW5zFGINLB98PrjuNrycudcSQxCSI0hwmwHl80I3PXtxZYsMD/OaMnp4OFgit
88eSs54LGI8lxcgGWxB2HXWbIMtuRt7PXPG9Q0FQJ8UE1IldeQnbfb6A1jqJyID5TI6ClcA0/lil
mHeiFWnhJzJsZw6QWZLNAx9PbxgPTGaquWHc+ac4HLXclc/xEeprfA+pNjkvUVpoAQxG8fynn1Ce
qu45/ExRbxQLiM4MjugDvqj1JXxtL5GYAOPiSwhZA9cDbpRkfVyVYdfVRWaGhhsWC5MkDbzwu6iR
PY1ixGLD5GPRNyKxa7AVUVcK4z18m6bMFJgu1B5pIEDId8xdRrPf6mq8+HJiIlFGP6O/GFk3Xg5X
XtxBb+i+aIbt6uwKzoSGrYc6Jsb+wwznOX/xQqe6RjZKubvQXpjqWpUMHHgNotFnEESgFoXP4DnP
vPP6Zyl2jrxcuGOD7RggmlVSzzrmFy+mF0M04JBjKnB1jA6j/k5mDNJ8x7ooNLuZQnACZKxZBcsm
sy+vyfo7A6YxpQBRN2912rrXQ7dDjfaea+ucaYLTEDagUABNquR6+BLQgM4ORhur6wGYLhRiCL5T
ze+2Aq3HrA9Nvd+D1YSNHPVcCJbJy5rsL5E01je96GxUXobmr4uykxBpzH/jP9Sn65+ngdeQRTjW
Q1xVfmBrh57zzQnEI0Fnqq94upMcotRGDbrZgPd4ZfteaJT1yfF0Ni/MZ7JIx36vP8ET3K7/9jCl
ZjiFAb/CIw2GXhVdN90ScI/ffYuGeJCQIUNo4hIz++Ngsqa1AqECBbP7M0o5ixJcQO4gFsb1yCcL
KQx+TBMFW2GQgJVPu9OjnHSn24x3/jauLZ1sgWcPdvhCQgTCRBstcYLVWBxSdFwxoZj9FGN0rHwV
RiEsNN2+zbCRoQKOex1xC8Kk9Gb6EJ+uW0oSaEZAe6VfwDHgtrJRq2CcMhPZZcPpb4VZoHmhi0MH
PaZM1oxvMgwFA6vlK8vOxdfWTXRlVjvYyvOcOdPxeafc5/qCRtGsBIX9DCVPHt8JOX3DGRptoCQs
xGhNrP279f1QQgqHsiHPre+dXX2BD+gT5ANiDoc4wLgD3eWOSyTh7iZucSw9v1j0IOkKl0nteEJj
uRtaNF0Ce8GqAxP+AbhGY47YjONnemMdD8kR+E3V9AW/rUrpUXEJhvuzKqk3GtJ9z0Y/0gxk0XCu
L3EWjeaVsIgUFgL9SenIxAgp3n0quESrZS/F5IntayMmMlowffxMmHvmqeaWOKdFeA/wv4T5hv08
qTZZe+RXt+H7r7/qM0WQDrrNHuTXEMqzAFwoaNGF63cZ7LoeCAUpHDyZ25aYVqiSlZhLnQ2R9PU6
M0N/W3c8ZmoCYzCGrRcKDEF1fOSPQdMGkWqlbeo9tElOJtnA/e3miQEv7qqw6HRRHrD+IwKjcMIb
IkSFEQFbkS6v2Sn2EmqF9SVwj24JwsYJU1LAnysng7Dn/iaCXCGuG37ycphoRBPwJ/715rnRHwuw
DeqoAMIxTObYVacyKAccMXw1HzAM30R2aJJxhv4lT3EuPcouVy4sK+RIP0ff4FUGwt1BHnKLBjYK
kg12KaGFk2pZny4V3tHkQIKqA8BqxxH0AI63S/Rj/MZnnNSngcfOczOvmxFjQPpemWDqbjV2i8F4
6Q+I+sBP1CPw5Eua3nsK08/DMc/Fu7CZ3RC5wsNgryEnYOTODpQnzcVRNKNjXIKAeZTmESb+1/kP
Jsfmk2LD39Z2swVPHywqL4c+TCZEOx/AEZ7/3NuVbKPxFYuPH8JLMQsVKwbLON4WO9UcFBMFppBm
DM8OJx1MogHHKp8l97NlDCGRoTLNDX2O+zrk+1/KBkIoFAi/XMoMR8R09T0lLCD7QJtnY/E1Cqth
00Sw2SrnF2OXuK49ao8bODgqdI6ALX76Yl6J/PiEM6Y3Qr7DmDQa0BYHhVsiewL2sDpPSfTkrJhZ
CBUVKkELFbIyj77WAzJ8IqzBXn0yiGAsMp34mKBLvQDA0coPtJXD1ZfGxL4v9IgtARZKqOpCmy6F
QLBZtnj/AkWyLFiJVyosEmnFJoBRwp7o8Z88uuw+1vFp1+klPVNDirKNITFje36CJSbpDJunA8gZ
Z1LQmKODFPcSBVDEv/+3DuZQoz7Z5odTu8jX7aLYjozOO0IoYkGjEiP1DGolqlSIsltRvjzgIZHp
zqZtQEIrsjs4HUQfi3H28jb/T2uC+kXNxhQoquBHcXTyLOE1MyhpGa9gbGwVTiZPNCEPVT3lAN1N
NMjY7Xm9kBhUeduat2kDMRqnUG4ROLQHhXKjx5jJBe9CzlbMzlExe0aPqbrgpdoEbllA99AVLBpx
4BUJoAedqUo1JXx9b8ZGwCUfWkIAfx6H/bK6hOjg9E7tCOM8m4mp9i/Vw/rEsn4bpyEPHq7glUrr
y7lRTO+CBmIlUtxDlafsM2ZSpMslQkWKYrT9jIO7XyOzq7ET+nIZQkCwqcVpkSbyom/kU9l+HDr4
QnyoVMDirDOOM1DXlWiPSKNYvccrMJ+Us4gpBZYIwptE3YhGHeCQFkxnA8vjB06K361maVzIZ3do
v+bMKaw81idkcax1m6Pqa363TfSCFeMJF5uze4vgPz9d0lc8pP2wWVw2CawkS4bJh08JVL8asmd7
0BMS8RQMbz5/+brvF14qLU7Ur+oYehE1FN90/cYILlCWo/GFpkL81AH8zetEITmN0JAEr2AD1SDN
KKVeh1XTZXzCoiEgbjHSefcphMpJgRU+H4HdCzSrMEaAIZ4lWUhkSvpbo5EO2sMLaknw28AXhrpG
v84cvjpCazNXMrO6T/jb3T2oOmMtfga35QDS92+M5p1CAmcduoC6mNzXXFZYxvxMOkExLr1HgrsC
7O4IARcOhnXAyNadno0YG6z/wD8k+SwEkoDtRkm3r1kYN/+9USH41ktp/Zn2HPJrAjgJ6G1ffk7h
2ZhC6LDVAT2mYmb/YHjcWT+yFXOr8qFkjRnLEVdjIsxAlHAhILiMgV1gAmjdmLJa8F6+KxU+gBJC
t3YIYdxgP1pAUtaCnNbpjX+FWHKiFC39d/AO4OwKX2Mcbse3HTatetglCSgESChAtsklxuPUDppV
22cBsgpZvGT0vcJ9OL/pkAGt+6IUu0VyM9mD8v4/KDlsPQgX606l1FLIveEnwM0gGJvXjdtvROA1
kR67xQo43LUZ76GqfpJe3pDjhUoSNE344vfGV6Isapvf41KWJ0Pg1TMkEjQVWCxAR2cddp6OhwRO
YHqIG0Wfn1HjX9GMBxnpf7dlxoTzesCRdyoTN/deiSi1m9sEDyPgsn4gPZtIYrxp1Dsq/TNfqufg
b2xunxDv+2GVqGSyiNT2PxiID/SoQyRUKka5vZhWwQIZpi7Aw8A4FNaTA4pXvUXpNZWcEaPajrOK
WEljzTexJCFjpt4joB5NURN+qej3j+W+B4ttBP5/TXFTfULQ5L5Y5P4r/vmgXjzguE/5zTlN5gGe
WAxr0VETCIbguLJVR16BZcFNcN74VBL+4qEvdfXOEzkgOuUMcbU+3ofYXvCRRLAOOsIBcANOqfxj
ZVHjr6fgx/OmqxUmcGKia7zRinGVN4uL/2Ru/OOYq7OJBNnGHIQw2mfPOXoBCgbJeMYShgIMCz7x
ABYvvXZVWppilGhRsSik+nC5TBlnE/o6J7M34CcDhzoKZzIwI8JGXDBE3ITs0F+5M/2vWfDLIHkg
IMX4RDXIqCJgziS6jqbtGmNawVhTqMqA7xmS+BIOfNKeX1qkFxFk9Jo2OMS2fN1LpFkZBnvoGpiG
288tdJnJerT+LhsyWeC2MDI2hn8l+hBuFDYQlMYJs3/RG/z2BUQVGQgKVjiJpSn/8/pwK4VX2Tdf
SBixL652oqSiGoAioghrWYH85/p4iTnugnQ1oXB3D2DXE3J8JZ8+ckKI7g5xrK0DqaClo3by7viU
CMK/eBzkBLA7+W9bn6Kj5ztnS6GJ/Y33o5QZ5kxZKgvS/Di9bxH/2sjNT8AqcLjKY0wmgt/A0F6G
KlhfkD+DfCVNUSURX/sltfuEmnzTELyOXIemsjUkzEp/8EMpPSE2QMaCXwS5iMNr29nEL93ZmEOW
BiMJgPlQRldhYfk5Rfbuqw/x/GV6dC5PBFaQLcLBlgLZZyewLUg+9K7kWejQGjRq6xFqnKVKEOFY
iWBo1DS0+NoALhlfhhUIGKz/Ls1vCBcvo6Doxi7Sxxr1ZovCsuMsKvd9mw0O52dI/coeocbloKaK
W2LyF37ta9CcqLCKebYtcN/PzQbMJaWk/Bh41zhX6Adz2ldMoPFpBgLGLR9IVoh179Sw9Y680z5F
JzUzsFuBwRIXi4UNRQx4JnHsswtXz/XjO25uppb2MMjj3TvDqF7dFzcSTlmO0Jsuk0y1BT8FJHp/
flrdqncEMEpJMJ88LMJt/yAi9XluW1qtL/SPfsLIhj5ET1ra1avdgLuJ9s1cy5SOfzlLmc6SW+CJ
nIGXhB6ctoJzvD9ZDz1hEkuUwF/Rm8groblpdo8ddsiUbg6VXgca126uYbc62xXxf/C7YZjy54Fq
91wKK3YqNLx6NXKFiAMtg1/QEYmqVWXjjESFENOO0IOzFVTnMXu6xVykJTxVprgjmhGoBbr1TmCy
AMgQtsuryhh9D4iVQTBQ8kPBMwjDw90HksqdVar691Q41HgDnLgvOz1k43BBo5qivyIB8T5+dC5S
Z6dZftgdd24DTkfmb/iN8kcUmFerGI4zlp3X0RdCCAz75XVaTFHHAMl8J9d1BoOWtNFRqsaSMGDk
QoVilM148FfV4CUxRxN/5zAamLSiPFj0HQyiFeBBio7ZcUR1LKQ+n/CS3lG6qAbLQBQjdzRrGucO
eZa4YfN9Vpc8rYfCC9xoMO1BAYedkO7pNkokcC3aTgmDcJ8KjKfOYYC9rd2GFO/8H67uEbM/oDle
62fcZDg3jdmCPbiKgjR5PqpgIKdmiVLEzgjAmEBkgo5U/CclvcXBJ/Og3szchyHHe4J9EhMX5ly0
TGAJPnlmj21jv3GK+n94hfrpMbsxZF9WQ3Hvj/DdxDjIurN98WYS6b/DL09h/C0gmda7+xRZHxIz
Qf20XrVZ6hNIpcV8dBCaLZ52MZElkauLrEMlB/o5kV4mhZMgvNecn/uCgoLptYlPALL1Kh1SzGNw
D6tigRGbSEuBls6QnPASNoY6HcwAGqZyx1Dn7EgiGwKRFXd/teygancrmhrqjA6/KWOJZkdIhBAf
AEE4rL//Ri+6R/gl0AVrFPovKiwyZ6/rTzzcaoEyO4fPv8GqJjqAyG2xHNhSKS/jbIro32Yl8fCP
zf6+AJ0gauLCVAa03M/nMJwRGAuNOkJxOiSGTdBUECMyb8pmnfMU+D0T+EqInbKov4d/0iLn+owV
AFfz5Uli6huo5EsJOTBnAdy5CyTBOzBv49yAeclLWgxXPRe8Lx3NVVcwRHdiJvGJsIrjsGS3j9W/
C8KNWJA/hRwLzIktpoQ/BIEfV9zFYvwMuSFEJ4cCk2r/A0QakshmPiy0hkhnkOGxgwivxxv8wYri
ic3eaRfekAP06eyhz5oZCF4Ao2CrWs32YbNff6uPk4fkhiF1nbccUPuceRrwevRYVmB1RAUmPYv7
JhSDfSK52dIIF4o5He8Nwccp8/AO58/h3PuMEVlzqWJ01hC2zi2bdPTkfW9NIGQ8Gr/Siqqo/OPW
2fNvz6kOd+BDZ/r2L+Soo86Gdz2hWrrBuGHYnA5g4AQKTYQWtMAZr1hCJ8+xP61tiPaV+W6tSwLx
HovUATVpi/cw/Bjq05ImOZX8bMpAkqQZRlM+tS52NczA2UaoQLc5+j+sIZHCyaY+nCiLzBP2mRxI
0v6OmEGgu6JeEuY56LE9zWqBg13Gw3pn1hejzxfIrHtcJ6RNcYqlF4p8/BxhelC9tcZoJaE0RoLN
T5xkSL6+Lv96BOMyuW1/lSlpnlJ4b1wdUuu313EdviSkTXAB7fmIfLQuOrNfQHPwrRahA0AZ8qED
bKCmZc2RwRacdbfEY/5jlcvfgS7sSmgceAtFfs+S0jdnTB9wiGKbC5KDkkRbjVm880WbSWF60ECI
XvGlIezAKPu7L73XWmPwHoDuciNyGYKJtIAHUOpxd2PcFpSrbHE7iTbnNW1j1ScJD9Zz0v/LfckC
b4HFXmrikwXYKZ2uzjVCA3dl4vCcFLs7RPw7wz8mggCdYiJaMkPnPICOBxcNktfFHaavYvKNi1XL
zY6+EAEGlSE7baw2BrtFsHypspAL0iK14jZ8Ur142f4S0x3hMKggEy5EyFCZ3mAMZAVVCkPHPJBs
nXkSBDmMSUAKdpD/8Li9udeIQFS/n45CBkMT6FBwDKhrVvXqu+9DypLNGuEgv/Ud3qkaF0IKVVPp
nhQkE2SjAcJ4o2XljshhLZZfGtmPDX5T96EAiFnoZV/tvwgMww8ICaQ9hAv3v/cfwi68eB5gvb3a
+FLUOAVDOsEw+mH+pXpvEnPJHnHUUzf/CO6Fx7yKwbUEn5tb3ZPWgIhonN7b9m95i9iLZM9TQlzF
VUe0XDtGzrxkI/2/wjsvoy7hOLS0hODeuYamcHNOGiTwoQj77TkyOyd+4XuFFyqcOGQpoTJn5dKv
l3G3h1a7Z95Nw1BDz2u0cR9PX/z5aOZIdvVeU1kIjCHeceGdF88HeeidJx84xQHqfutOXDySgaDT
++AwO7SHCZ3xbfn9Dw8qk32+e/KMob7MdDvnBqZYJFwuKgLhZakn6uG3FuXjxx9Cv118VtssfLPu
Ka3xKuKqwMt3qldUvqg7gl9MgLy8riI8y2HZWa37dLuO5F3qiDEYQJ8M3+EJ/aww3h3Y17Uc38hd
4acT/6oybxrB1gFf8wqSfCzkwfjpYTcIWF2lX6emAAcGJzmabPq4Bl7yOG5QPxns09alJ/qg7D67
kK5ipeM7vzdgkMGVjCnAClzluyAHG4dOhtcNlwXMIyB6hKg2obMzgJ+cZCwfOMpAusoighfW3/NS
dSoPgWSLVLA+Yh0koSeFnp7LKcPVhsyjFPXzviFVD2WXCjj+7Jurw89HalBAQocW6J5nAi08CXem
twdrDZOTcmzLpvw3+sOeD2gKoT6ScXneeXlFE/6ApgDc0dvcFx8Wa8ICQnIF/nNfMCi2aDt9mM8g
yv0D+Z4z4ognG7JaVswhga4oVnDWlpM3MMvIe88uLr+bz8FvpWEnIMqqTVyNty9LC1RX2vTmNRSk
/0OPhLOBWTEHUPhKGHMP/feMgPoBXozBy2vi13iF+w8cuvr4TaeC/UZB8poMhKS6Y6T0RfTYOGSg
JTAqcGSC40T1hHHhpB/gTc0AUkmewSARoyDuVTxbQIUF8nb9Y0wF/PPyFBz7Pn9DB5Yobh08VUob
RLPL6iqwwcnliQpK+sMx0MUjEWTu7JOk7iJfDIHKVmR+eUPcYF5CZGGpIFNwhzL/FsOgnHBYg8VD
c0S20pvLbj8Z8QCu9o1BK0i6mLaSnscUmgcIYcMAm23/+mDPqC8hnBgPCKn35L59IzsEOEQ26SMs
X36EK7yfaEw/Qa1TWTUgwQQM9zA3qmMJgs8kIw5bCH5RMHMjGtvCFkzjUBhsC9t+BC0wB14Axndh
uI8njWwLKaN4GishRGbESwcPlcaBKCw4kwBt30lv3YkMY7F4yvihQ3WBOxOJ1AjFv7OqxKT3ZzCp
dbBqdCqsksJLJMeMh/Y96zw/u31a9dJqVwAjIcEmOFldt9hzUeYgbbJuTr5txwdBov+4PayOHtHd
Bb30lVmxIBgWnAYiEOEBcO+wyBJlZWkoK8Xf2QfOCyvzA4WohAYjffQbe6F1xZ3WPumTjcBdz+aX
RffAaRZOKewaLJcZRfHBArrByw43Ttz8iOi+CymIij3Mokm+ESF1ERHFgt3Gi1sdC/O5vePWoOKC
Ue8ArqwSdwuasB4IygCd+fhK3AeBSeDYhdMdz1jjE2rJ3z/R2ett4CbYcH19MDbOSBqIlUSYNYJB
MtekqTy/TiZl8EEuJo3rtZRAaVPWcAAihOOCtQg92u0dv7PXQRs6D+bBjF/pyYPLnBlIggENqxAe
Vgyhkk1ArIqL1anxXeHyMD2Hv2MvoLSv9zii+f05vBWIYquzL7Y4+hYIBCxK+0cle96eARsaBxQi
yDkLAin9HdV5Xzi1jvlLRxQz1zZ4tYHLffkMS/REOQ1/wj9AYYKWKYSEPdLYgK1xm32YsGKbM30j
sNthoYqRrA5cycm7lNP+djB74hpFaYjP0xeH9JZh3CVC32o9gOsFC6lvcXEnpfubFKh+GqNFOWWV
Lq50mOvDBBL53YCrPYeBnV0xSkRW9aVA1hxtXzGXuR9k12eM/WQsE5TLkcSAiYkx8l9Op88GtJ6u
kUIPXRBZGfDbqDS5D06lr/rfxSttXUZ/Xr57r4cLhr2I4ddc5dgP0KjTNNti9ec77cBQnt+XYXvJ
iBXeM1R1WK+BCKkQQxwhp20tFW47r5hhARivYmqHF7l9VxR8JcrCDp79ms/3fLlrQGyu7FwzmMPT
r9UYOxCQMq+qSU4pQF7Kz32ceoj650MP9IsgOYnIFSp8j0kgOF/v8Asq/o3ORTlKhxFTLdiqgl2P
zdZ+21C69lCRnJFrs23+VOc3fwejmILhgFsvkNDLZY7AjJQxT/vXrI59AdSRS2o9xkuBumkwEmjs
9eWVMhvd0J5pfzbRNn7pNz8cJZ/xE1FVCKgeCbue13RAeM5l0v/TGE8+EZVlLozG4wHnhPSZQvTb
XgNxHoDsjnv7L6oWPO6PbxD+bDFyoMEe6f9AoSr/ZVAqGFc3312i8zFjfojkZy38n+gtsHjECW56
3U8PFJc6/m4SwbdwIIBR8FfBT1HGgoOR0nEYDSLGFDisFobGkkKIwidkXGJRtT/CXjR0BU6LBcO0
BBbrkWXTOte4t39uvmz/szs69GnKeg7nYgTdAd/hkaXbDxoYAMYr2vMjUV+YS2NAqdDBMa3SQUV4
vdbFownmGuPIFOIdUJYatBfnFQx+YRU4Iu+spKDZUk2YpffijESbhvcu7pTAyUj2yi2BAK4WM/Nl
KISPpaNPIcDEJUEJ5QJTTl58/6RMLt6PohqWry3Nu85suBpqYpVAlwe724ynC3/hbN+kSU+AyEEb
v1OZTFc4SZh7AtsYUK0sxvUzljU1t1fE+yuDCJKltg8kgq2zzaMBn//nXP4AHBFcLXnJz8q5aYJ7
kw1Rf0Nmaad3tMA3CrYaV9IhHy1j3kGZSPiG3QI1Zt6IkLK3o0ZnHFvFUn4sgUcmt0Rmut4sK1MY
ToE9iu70Sr0HRoXV8YUQZhSMaRU+PEJpBbbIcUMjRKjOOxD4i849W5ptWkwYOGm+SBHrESJHVK8x
ipuTgBlrwovgMo8V8+kCimLwPL8IHBKGDzTUFqrBxWGdgSmgfp2U2CTAHUANRzGOv+ojal3m4sqX
OvH/WA5HVfJYMUFhG+EDY9BR2lp6ueHRg9vMSQ/zZb5jys2IOnfw3P5SVRYIyD/rDHOeJsqWUFqY
YVc7PjOHBOQTWP8kUMg8J1YCdsC53/JT1PX2scugEHsaL6ReaBxdwo115Bfrc88YAZFq6FGsCpie
V1CayoiR/bjV6dQzoMlp1jNrMX03G6jbD59K/oubNRgYc8SbnT+mbzYagmC45JhQXY3PFYfdtFcZ
dI8cUxk4E1GWMMAo+mADAXqR3wwP1+GKQA42G+CBix9KsdLnzxWpZDWWSFZH5YgeYPzxmBUyz8X8
TGit4dP6BWqDl3ndNYd++pvdV9iO1U+o0g2tMZR1pAgutuiXRQ/7XAa/THxF6SJY2RJmujgAkHeC
UoYOi57fKafcFWQ3w0NkHCwk8nJEwvKPmM6Juq0YAQKCAuUeZBKXIa0iLNa81xKaqI1zL6FumUpe
EmpxOkvo5evx3R8e0VwXBqlREDVzm8hCuDnsScgojuyDtBAIRw2qfY0+MhMTZaq6grnHiUSoYQ0a
CakJxXVjFMQHv2x1D3hTjxlNXLC/q8dDNpBN1LRT/pFQv25wrhzhdS77/cUZlg6uaBzyt10xHSGN
UnFLrAmkEIeaNv9sPrHK2AYqiPkjvoO20KRjEcYgWCLZyCngOlEYgh1MaEsOJC67t/11LbAo2VpS
bzKwvQe9MaBE7gBiM/oTWj6zjG7Re07zz9VmMyCDypezsOpF6TO8QLF+8wcRiDreG/A5MjFaF6QX
5CnKDJxvD81cMyVqunz8QUvOeVt5RNOgSeYU/3C9nG3+sdlbAzSBSQH7keS37Sd4CIgaaS+60JsJ
7gQJAHCAZuiLxudKFaYshcaoR5qPhrbh5QHGkj6OjQYDephg3Py4RLNpukm+H3xFhi9oQkm4ZCo9
Jn02QZhbH7oqK4MrBHZgoTiu6NJLHOV20A7+K8WoCEGRO4/lrn2gHIJ373tHJUJQ/uoxiG8Pglyo
h8MFNc+DSa0D3fsC+kGxRfdPVUNSrQEsBX+JtiJ4Lx9Toaf7Oi/yfBmBo715YhSIbB7a6mfGklEg
TloU4vRHXvEnoE1X1A7Q1RCa0z0CsnD7vsznGtS8rdzLd1xg5GfnN5NmR9VsHYQtM9m4FY+xsuqr
oeLgVLoVQzUp6JLq696pUbTlm9KumD5h1WrjHO1Bu6Q7LRZo9OhCnwvcnFAiPG0gF3i7SC4E3AGU
7B6fkFjh0eIxUbv4b0FrFUZB0FgudH/M3S2Vs1Jey2sdcBHTNPpT8e57U+HCKxjBz8mbEuq/ZyWA
qHgYj7kId4EA6A08n4AOAlMyWDrfSTmDdfWCM0+0tFHg3mGKkKgCYQZwEfx3TPOyyWCLJZu5FI44
mKyRsYMeh96ffAIO6x9EL83JCQmd1onkl56OufBEZkTFxfhOzweFSRmXxF873l9JqWSEmrJfB/hW
XmQC/Cp45VAwZgq1l27cp4Plg4S7r9cyJG/Gd7TdO42iEslKI4aFjLclo1xS2jOXTiAzqCnlesOX
Ho2/VMQUc8hs1fF7/aWVcECb3dFxRGUPIPed5XsWKvpZ1fjFKpWV0wPQNWWIFAyGaDFoB48s1LNk
Db/G7WHk5BMSNPkJRpAS3gZsJgKgGHv9ELvJY/6CqDPg9daTlgx13crB1fAnkywA74oLY66lJL5Z
1Ashzi10yCPCLTTx9xwy86JOf38KOFkOB7S/KtNmr81B9y57bMDADcGaUZ/wcQX2T5wL9F3wbT4S
e4MdwigDQtTI4NdkI6EZRq4Lb3DwMPj1wE1M/SUTsA8NofD1gUPJAhxEnFW9OZ7udMfHwma84Ofr
On0lxWcCBfuK9Rd/4aHOHibTl5oAOYwyFuO8/vhFVApUoacAExkQydSZQC9MBPiHDLiZDzBcOZ4Z
SVKUM3M9ILi/ER3HRpxlKC4+y9/pvBzOBxvKmRHthmY3QesDEZPw+FvipGNgJzJtDbwt7jPaEKqO
imwveUlvEsj+I3xAtcQDNoKXYH3d8WVKi48hyRCd0DDhvocGMWNqoqz0PTYBMa74qCwfKXFkcYVm
pY7zY+YrAZvrvOvczEcdSdml2rrVp8f9nKCvwMm+h/2IM5Ujj/eEETFX34KvdtuUmz4r8vhAqX/C
Op5IXlyTUWt8/dIlPxL9fRnDBo0Lvxd2wXCdpVd/sKnWvwSZRDKI+xtwWW1GKmosA85T6xF9SXyU
3XI16kFp6smFjDIpQV/lkl6KrSJEW4LSWm+Q9hb0cMZ1eV0OnF7S2462FzrGtAiZvhM4ByYEWjII
ZUzA4JlCn8sWv7iHcvAJfoSPOdu8cR7+WRDelBmiuBmjnvef9IcZ5ZHZrvI/HIZs0ALVymbgVmtl
wyDfVaPLguzceRbkczLk43eEgRAY1sOHTzs7J/qhIE27/COVOMU0zL0R4Xw+9Tcg3NtavP3Nxcu3
KgrSYqY9zeHmg5T87uTe26c1XV2RrKjmKESGikAQeMrNplyhFQUJrP9d35fcYYSkimAN5srD/YWI
OiWCIuapa4boWgDbl0MDPBT34sUg4PUXc2mKI3TA9nxD0qOrP7IREH3pPt/3cFt2e9w6Z+9FPhut
FU/fV/E9YXbGHunPetD+XglUGe/1186qebeGn0NUL+bD8wYhbD8gR4f4i25Vx/IJwdW2tWVmPD0P
g6TVy5NP30P+p23xXPLljRQPVtiezyFK5VOx+Aa+Hl7iAmvZYteQi1PMwNfw7UJkc42Arj1qEmKt
RdAuNdRt+o7uCfSotAcTbHjQD8OUnMUYYt9S8zCwsK9eBadutCDR15IXLX4s50TdQChe/4KSlrOK
bmmDbW3NQnmkI6yOdasM68Ub3OSZ1NNB0K30qF1rLNx2qcR3X8SNaPMRjpd8uQW4+rxcvBk6zAje
fFMC8odkEesoYXrpP+LfArEN2ujZxz8LExIUo7X1+BvNKNbw1ONSWWVsv37Qhmf3yyP5bADE0Xg9
mTEJFdAT5w58dyKgRFOOqVAY5d/tco4cmDF6M0VYpLlwf8M31KUtTA/Lg1MzbSzMUjD0wECi57Lt
zGs0Mj/7+0m4fLhEA7JsGDaHaooXKsY3V4+80t0Z9wIcwwQh8Xy8zTIPLg4ees895OBwRHpDu6Lf
iSoBeGzzFVmsTEASQv/8gc0AqQ9mVsxQpbvtbmBsRic8Og+IXelUSId2eSpezawXRXcf3brmsHCs
JkY4k0XSWkEgitnP6pxIbs8f4jjSGb/lO9Qg4XRRvdMhjoOLQ3eOXiGiSbju6OqppW7xj0h6bv8E
ZM3vxbQoh/P8MaO7gcgev61RTNeDAxLa4OAdKUkZKaePBe97V9LJZJM3my+fcfLjgAM8A2WIQE2m
zV9jmcjpi3S5G8TyF5OZ+A6k3vDhqhMD12m7Y4iUPo11u85mOgflM2Gs6yspdNhY3ryh2vfR5WF8
dvrGivNFR1YublMUZ2C/A1SYxfIVDeN8jkcdVPVUi2mCoHtnyXWhLnWMBO6zgZMgMePuG0bcfuWJ
kxdFz3MHj6KG4bfR8FBd1CsiBEnc+m1xX5llTDC5z5WZmnSHxv3ui7+HT5F4X7Trj3sjb1jCiRUo
TEsHW+QVyfAERe//FVUk6hrr0/PmtnsuXsnD52a+E5KXxZT1a0GaaCiVISMXfw13M+RWTC4wj/RR
5ySkjM6aqDpdUqEo1x0pzbxfihex08XqFNCTwks2vxbZ1JT0PjBWsWW4RmmBl502RdAXVJHitQH/
n1lvev8rqBmvIsUzwahgCuhZRp8YPPhNkHnP+a0xvoWrXhpaej9IR+Yg6IxX8CEoDiBTlnOOBE4s
rLKnw6gLziD5OABDGqeKSz7mc3+ZI410MLoOBul92aKYJ4ANf0HG5/xBRNnML/NPKKbvKgjkRkqZ
X3794frp1ekHtRGjA8YAvEcmAvuhj+FdSF2IV9ym2lPi8K508toeiCuz2cMvd81qsP95qMfwNOMC
sbK/wrylWnA7UbT391CDEmmmibAwKNTrcnMVM4JoSgRGGpgFQ476cJk/F4PD1VS2GtRZ1ept8MTT
HdbEg9Hj4zjwz3DzcdnjTGW80K0gKZXLHvYRJZxXJlTJ03DQ/2G6AesYX15qPyl9sgqqlcyfjbGD
c0kLSobf5j7HepfOZQ95Y3SoOKpVSoNFQ40Np+IEn9a0umUNhYhS9AqfIE903OMveElhggOfItsJ
LzCUElrMkYLnjUWgn8fcP9D+g+yd8dwJVvUZp7gXrtAwWKa0e3L6iQsblgShAV8Hw+cc4JffE+hJ
Tn+EcRtSaGaffucxVYMEJbSgKqPjDyjOLVRnhdWfKRFKOnh+LbEzmQ35Zk5AT5/AS34h2FyN/Qbm
IcLuKwqFbIgYa68/g8rB1Dc8ySR6f9yLyT3HCBlO5oS+hCSjM0JDJTlP+0vmcQHkNgQLOQrDywtv
AXlzWz3MAQch/Mjlxc+SW2FRot5HYyUZYhs3PaffE46y8TPsEf9C+nOi+jdP8rU42+K2E/Ttgmw8
623dSDN8QNksPdV/BfL0c/b/G2Zg9kC3Wu/gFQp3bsgPzOluSxg2+JWfwPyqJRBsOavxX3tRUnT/
SDqvZdWNLYp+EVUgEV8VUM4RXiiSyEHAlkBf79HHVfa9ts/eBKnVvdZcM5i3zST8LKYQc/mbweEb
O2+cfwBsV9m9xBPPvxQwcL7hZQMgXcpObYMH7W9FjW8l9tmUO2w5B2TFfLHb+t/5AE3gmN6tr4ku
ij79zIUf6uQ1rjkrwKLLV8m7szO4j/yWDyt4YXgF/WxgfTaybyhBVOYBqU7rgUiGMfnRWsy+pnZN
aYHjMXSVk3YK/uyOS8xG1QH81fE9nShs4+9cig4QFHsaDJ+3cyrO7gmK4wzLAnwgdO+0bqshFLTo
UL3KbiuWpkWPdlUu1Qhcm873qUp0psLG/LC+5eMQzA6K9QUhSRsRHp49izO59r3lwfrQavr9fBq9
8HQ/FLVxTejwNq2aj/WuBTM+RRLwznU+xHnsKXiBjHPQ6lkSQBQmTWf3kjcbuFgEjB3nE8y9p+tR
OaE9PMVTu0kv67+8s/oY2I/KV3BMqRjdxq0jqP986y1QYM8ZLXruKmNbrTqa/ikSsM4dbKWYngy5
1gIApWCaysPtPKp3zq9MElaMQ8B2xnAehu+EsONGpUilJiDdyZHSoTXxsf+KTu7J3c+INXjv5aKO
vm6H2+95h2Q/5YvCc3fgZsJDAfHdMYJGbPKu5OAakiaeHCJYyCFwCgYVEPcugt0JjYxfaLPr/LEU
rE6YKnXOb42rNxM+BlQ8uvkIJgRj8jqXTwoL9g/U+gRzVowOpKlIj+W/MFA/HjVm7ytU7PwMhvPl
c3tJXt7Uk7xfLAffAEw3/uuLWcVwSTZXnWNkvgC5wfFmc8y6HQTyLTd5+bTe3sH7kR+xYr5zMg9E
3EMXzCALxcOws6bVN51s6adHCSwcdxZfbDme+VDefBkgN71hfYETGwj/d9NtZvFzA9zvw1ZxaGSF
lQuhZByIbLfMPkxCu0kZUC8Bw6W2IPRacdhB2rxfIVMqqFYAV5ZjTKxXGT/f9582tYY/hvjZj8fZ
L4Ikx4rtksGurhA6ddsVHOyIr1aMcRQoYDauUi6z7E4rChyuzdGlmT/lDYcKyi1pieLnkD8l5Z2f
qgsM1Et+q+qKVcnHSlaLd/QVoaRiB++wWhp41yVURw56Fw/ElDnQzF0tu3K65NFjGJENydJL6/07
6tJ6zUNEiXh0n+Xb/4Sj7QDqFXM1DrwQYLaffyzCFA9rHn4NUhFSC17kgbU3XongOsPN2ZGret4C
JRX8+2wxFPLVnEWbjeaYoy14ipmWzZn5+mB1sGfQk2BMhXDkqh6qjkRTgpm4DCV8h3HccyESPo1m
DcsEA2l/tPt4cnVF+8TN4EPdA0hPz3RWXCL44Z9gmN13Pb65hrveNRiRVo0RGqYAo5siBAMeiWUl
ChEa5fdVEYQPAq22DMF+tsYXZZE+/PMCh/YMHc0xmuoqptJnutt79oSRxp0o6q3ERJKpKGPQsB2o
AA0gc+NOuaE1YfkDfzCzPgiuEd8AuAUCxJ3akVYMSAN0ZNKjPK5T/pCFhbi9X1AwXxlEr8oJ94Uq
5JTAfOH7vcXmNUq593BGPG7oFTrUriPraXoC3f5yrq78v4Tj/LXGhfLEAT60j5JSlqcxzGPld9Oh
VB0kg9d62T9Si/J+LPbskKqaGwfP4B5heZhwFSTO+PFyXMkJ49K2GORPWs4/F9wgYtdeMX9Y3ykh
GEQMShZA64At8EpcMMyNc8IWDyztVzZ1/ig51oQjRYApj81wghvmPTumSAja9T9t8ay8LnqlTK0B
x4emkAaaEthFO7O+7zg+d2wYs+QXo1i7a9zLP0/A0wOqhRHV4//2SpBEQHx7pHDtgDBHu/d0PkBc
QzfdqgCM/IlY8PwDEoXj/LjHnxWGBi3weQ94xO/Csj3uKd/Oe9AhcCkQAT7vGDAlawsV9zeaaFxq
Zg1MTMzYN5Sa3OtuceSVd1MfX8wIx639atMGPO1PiLSsvj0vcQkg19vVCzMlZVzgYtMtR3v6wxHk
b/qiO0AvWkdltide5Qjj8k+Z7PF0I13rTRMJgY8mnMFgORsrLUYzM8IAn8oBY0Xokqhj8OTeNQQt
ASYvMIEDHYOnzzQAxJubgj3Gnyr/5gh3Tsi9se0laAQ6JjorlIm4u5zU+QteHCafHGhk3P2b1yAq
uUAboaTpVCiD4/WL+Qnh5psPq5xUGGyPWNdEXlCiYYK87180JKKMJ+BHEgQlF9QlWF2OpkqPQFnQ
XCwHODeZy+4npJJcVaZGUsY0V9qjBADvZHiL39pGdtBDswDWEAWvGTq0D77ByEIeKrLqITQmfL5h
B8HLhJrPkLEHeQFHQAXb5XpkNVD2uXhQRZOOP1+eZC4J1+f0jwQzWp8BQ5i9weDictG0N2Lag6sZ
lLeldKOlHrpkQv/YZsXl5hbMqB6GqnC3u6kIiin0l4OaYEluCggfsB/mxmf8twFrBwIppCE4Exoq
FhSTw24Ix2ayvizoe6a0D011jmWvX9YueASPnwutYt7TYG+lUHg8PLzRG77ylY4eHXemOoeNu7g4
v5w60O+lt/kHDQMb708cAaOtvB2qT0pI7Oo5LP4q8l+OUJwPuLQwZfhsCWyhJAL7CpFz+h821y9H
sieXbNCtwUQ4H8Z/RV3MzFFCg1lNil7Mud4UJM4Kk7apPwKpeeczd7JA9AewzqO2hTAXwjRi0FRO
MVqF+Yby50rmRr+c2dN4HH3KW0BDP5cT7ARgwFH5sytcQ045p8GPAZYEwNLMGpQI3iMmzqKC7XtA
aQb9mn2ILxuoZ/foUjYgOT/3mP1tUJsAI3LeQ82W094CwQIkd/b3pdgHvkW/+riDXeORJ+9N/aM5
o3ZiuDpnFXXh0/4rxNDKrdOGY+gScHfYAdqI2cZgAS+dLODymkgLMD1weZK2LhQwz2QYcipApDzg
sNTDkS7hf0iHxdyN2zlS2Kdm278YcMTtSkr9NhIvtX2lkkeBwP19rOUE6wuaqymdd+c8fOrtjqd1
3ZVsN7A9fZEYK++QCE+zS34OV8t6TX0gbs+UsIVLJhlUD9FtPw2hpvUtRDwltPauHC8paWc7eQeB
txjjBYX2b/OjCn7njKVhVlJ+zZvy4Q22w+WMB4wH759xmjlmTAfbG+Nbgo0wpf6VsFyzUXipLv4z
OFt8sFF48B/gJZP06J3xT33zuif45qcQu5pWQxkdwmoiRehqfV0RkXMX0Qr4I4JSngImmp4IfhzH
cjLNBpbYY4ueWWc3qCAh9SrHuuSf8/4WWm32R4XAIvuiR2T2pKu0qCQzBBxOBybG1La0eItmISf1
D1rIMZ8mDFnLa36MrzAAW/eBVQ7a16sxWXY6Jyx+wEuyv2liuYvWyPstEM/gvDtbfGENTpYNmSV8
hB1RMNAJc9bHc0snjHDhs/0Gb5Ganr23fyX4ZnADv7xi2dbCcd784tn2XR2KWwDLFlCVE3G2O+45
M6Zka1/iIdZM1QUPV+cL5KY9UzyKI4TWiCbQTKDGOCTDAuwbbcN1ecPRY5jNHNlla7ZQzHMZXyHx
xk36hN4/ycfOeIMQMyF2znpmkGj6Ajs5hTgB7MF9aX5bgAoKKqAGtnqKcAhTKEdVKTiAsSQSJfqr
GBh9sEQpGETX+G6j/N+sCp5TpBSQCSPudAerwGDchw0cF6Hb8Z/O+8kOjtqt6gJZcf7sIVlT7XyE
Ax/mFH2kLfWmMfjW4xi5S3HbyOGlkJPPgl89bSbwEaOJ87BHyZ/dI+63WXL8+1e3zaHYR+fkU0y4
R16bzVCtQZQQzwTHFuL21qevGUPxkZFIVIhtg8v6lfS54gQjO8hhrVt8cygDJo60H9sIpUmWrLB0
2Rzdd3TJEJhNyndV9lHg5xdlbmwIMfQIcfPhPIEmYPNWgCmo90A2W0801z2XpUnhJTZHKlerMzvz
BLLSN1Y+VeoheZjjCDMEsIajBRV6Tvyt2TmvZKj/eTfvQmIz0ecmzuSQ+64ehxS5lnV2xxOMY0CM
MScAiKf1u5qUj/U5PAWr7S39Yo5xCLFmRfl8ypFFJ4PtKX+WkNECZhoi56LxgBszVNIW+Gl4j2r+
fmYoX4iDQlQr2S+rcXmQUDEdnNqfzYUAlVm6Nl2cbHJ4rJX/s3nUTCZYMLNfHoVKL8SbPR4FMEcY
ukOy3qMCBaF7r7sQa5D5nVzgzpuSbPTxCbCA20bOAsGFbcDh+kEDIyJZ9f/DChjCYXGEm7Hw1cUZ
X9AizzbUUxMrkgyWEXgBnMmn9Zxz57zv5pZdg9abhtxnowsOpJxxfREY4p/xSK7GA3oOV1ZrrBr7
PEARfYQS+GBfPJGMjswzAEXBlfxObVrPPx5XnDX4Yr4gweeE827RNVrOZy7SHcAN4cnjRvfnPIEh
epxbYgGQx+mwWa1f7jM8b78W0BWk7olmwlcwjwqM3aEHE+AbsBd3QUe0IjDKKr4UhFfFckhV+LfB
KVheQOSuzu7TeuxPtfItSGyn/ITwDuORI8qk8TVmiBRBNlDyswNXnxLQnIzNmw0v45w89hP/4wi4
DBqPKHSeJUfCn/3DMqC6/TgIfiilTzk1K7zCa3pMR1CYZbbiRzKKnvnbktiawS00SKbwJnVcGT1c
tZar5anqzYdRj/OuF72pJ6ZL0j8APNIVfIVHAbTlvUp2CwmFE4/7CqN+hsf22zstb/oshYnPQYuL
Ozgk00uUbViOT5PmKNQD0Q2pOdMZD507BWl62wyJeaQezr5bOIawMojbUZhAuytwvl+M6ltaAhiy
kbcqjxSacTqrKaxQQJjglPaxT5hiQfsNxAfy+z7d6SHma9uvzZea5lLQJfNi/kObMgeaMe2TGLGM
7PH2KZ6d/TecuRBDvws8yt3jT2kXXdTFaBHUwYLnF1oKm3QvZYsc7NjRMDyL79tVBgt0GCFoB9Nu
DWBROQHj3+J0hPqdSTA/N76bI1Y4cncMoo7kdfax2aSeP3NIwitFvtctOJmYitFIiIZte4pvGV32
I2vxFrqGcnFMgSE5bqlPN7O02coLqH+njfNwRrsG7r3/Ztc4zDN6DxBreSf+J+wWl+oKLMEInju+
ue/7MWb9EfK09BM+iscGe9yQTvJQcJ5Pktm2g4QDDB70YrQ+xStgu7DP8zladcQCXUJdQAmXUf64
E/C6w/KEKAtm2dnl7jaL6ZdPLqd84fxowdAwX8Yfkxr+DPAdgdTTEkQ9uBSF5N+iyZwF8yl7JifP
0/hTmPucoqc1Et+diu2WNegRixnUQRgSGLTR9vJkprTU/WxcgWl9mU3JQbflphyFLcQKd7wFw5cl
LXeHnwqPHV+LE5i6iKi9YX7Ao2aEPc+7eOc/Js8yAU+Q42gCOCNi0i+AItc0rI/5pHpQyQBW3rG1
9GjzjoBmZ5d6hTmATCgYJ32LByn0lqON/3BwWnzyb1UztD1YFxd+mMvJbEKWBnXHT4G5RH4ImXYv
V2xmPZxDLmkv+lStNSR58haQye5hYrGJKJHZWe97zpDejj6TtmuwSF6Ap+OY9QMp57kHRh0sWIT8
BUVztT5Vqz24CNZMH2OV/LYMBBZXvElfeb+ANEGf2kGQEpwYth5mD0gIYS/HYmALiICJe+1TlE6Q
TY0SKXq5dPRNecdMc5iSW4olUjQCsuBZyonMktMpn6GkyBGneykZLPDkET32Pw+i3EsUY4QnIlFH
t8/9ADKANYWUl0udMVkmtYqr2m6aveQyFs2eGUA3T0uT9gImStsngPN6Eny3K06kbjsB5+pjpgQN
GZtmyBsbOLew9Y/Lm8NQei67P2aIOKhtvSFNAA98F8BOR0szzF5hpw3B5iEUJTec6+FXZrB5tn9T
IrFwDkrhv7CH/nm4Zo2cCzxplMaGDIZe758BeDOqwXMIGsII2Rsz7v05hMlu72mv/CHwH+qz4u0B
x3ojmpsubTHFTs44uWGUhIQOLHVq9MW26/zFd/dR9NBCI/II+15/fXCG2cgFzMA7ZADWsuivVxj6
AT58BUALbuXefDBMFD9ryAPZMH5GdUDrf4yey7OgNlEN3NIblQsMHP9IS8052VYj7F1k8DR5e1jL
i35x5gQWxnZ/lFS/+EGgwBA9dh28ogEqjO5ijBYr4RTjS2zzhBNEtd2Ek2RqDJ0H+Cijf/McYm9H
ncc02PlY77yOUc7ZfRqCzroSxHlIUGXaEuMW8mQwcD75r+BqMXYNR4ux/YjqCG9/rJ2pN9HGUn+g
+oJR/sV6l/FSNDTGVbseud8tkoLisKVfXUglA/sUg9TZAr4ZOwPuBcgjSKlSoVVH/+p6LKifdGbX
5RRTsYmz6dC3M+QsEIaX95QCdCMvpKilojq7d+SnVQ+nsjohaBaJCELyEJuTAFWAiwuc/4bmhKm1
B3U7JrHAQ9JLbcjOmH/zxrgu7xm7KTNMv8MlmsRUNt3GHTqMtpbC401OmFcF7AhfgNgvY8Kb9kjx
heeGvx2a3UoiFL1fTmyB6+XDbQdq84sxu2L/okPYEqOFGq9ptQl7WnXirL2RASlhpo99NiF4f1gX
walnZDwJZqjAMBaCevYybtrFfTOmblz81Pw6l3zG1jZjyUsKSSc4VkgaZ8svAMEbqQSlxxbSQXVK
a+uw/XNFEgfGT/wgYjHrr8TFGOQ5fmOh2Y8wTFBltIN/5nTJk/8tx7B4MaSBASCYtGI3ENqHWqWV
PYdDQ91h9e8MQo47cj2Gcyr3A1NrqjYwXvpaHheC72nwsUSBpDIOVuY9IFMSYsB7SXJEDk5NkZt8
I+pls5+fYtBStgIcj7e8KZjR2JrFZ8q2A83xhBTSF1g6pASCSVxZa0ziK9enuAkuzjU4eNbMvyYX
B505I4Bv+kk/5QkTPHzMr+YjRxR8DaWMppeXHuLOiAwRSzKz2w/yWb6Co/IusCqEfMiBCoMTZWFU
5++shS36TN5GvZ9QGD5i9HafFFQbjfdCduHYkDvAN2NyvOxtCAcyDt4nJYpjR1XmwpypOPU2lDSg
UHBYPpQ9hximvmS3xdk7h+/l2xfTc9SaPrRW/7prvW8q5U1wZzK3AtukvLWhAhjThFA5GB6NR1US
0tr/VfTpzP5f+RlPIZZbcmK2hNQD5wXw+vDqamx8DIuCAR4K4GuPuM4gu7PfrTjnjyrCBKgNSMLj
UXmJe9vHGjyHqUow/QEKNWxR4TEh0Ju/TllT3AsoUVx8odIAucOV8gN1ZVIMtrXRX+BEuPtactwU
SBBqpACNg2FJdNj39TqfwR0IhObgQTISKC8YL8c1R2tPEw0/T/skPJRjZ4oEVvIo9VZLci1T7geW
SiUICJM7Ci22JufuMpRZvOwbjx20pPU0Zs6OM0jKZMySE4RbiAnuWB69AC16+d/iiHHTZ4PHikDK
2g3ECNDE9LuFPRoCCafnBcD3r7pgTyA0oS2PLRd+SSptLMi7X3egfQOwGuYIUCX5B5ArhrnIWOJB
OvFhh+PmxPAC2hNOa8GkaPNnysoWSr9ziqOtiOVlcstuL7yRQGXpD98YK3FIi6DgcvAxhHWRXPZV
ukpkDcMVWACWGHr71d/D8s8uPfjyUwI6YI/PfzxkrWJOdQD+oew1C0bEcITvDaEqsA+vH022tL9N
Rf52T4V1BQ384QrYSzit4L2IJg5XT7UsrynuUzfcNyi9qOGZicD9pdUboAjXvkBqIJJfJVH7myHS
cKwZe2pFf4bQjpNHIwMyxgr4p94sP+mFSfJS1IVetNtCbzX/5/ogwXMChL5oz210RLCQeNpMSHSq
ajYGWZxRQhqeDx66ZsMwfSalOk+q7Z/J/yHZCixZvSoGFozJXTXPpkpGLb/2UaodtV/LkKDaXbGY
Rgij1f/41PcVoM9uYiXwxHX8Zi3bTn5KhE5u4yAvz5E+mSQ7WM6E0WoJlqB7GxEyTx9veN5HY5Fa
HjIvjxacTkqJeJOiAgQlbuNQQUeNbrlT5tHKxz3UzYdL51s6rYp1ohxybQnT5p7BkR2NLUpTx/Oa
dO6V1K909HR2VX7a7HY4Kqw2w6IXarBracFIzDtihAWefEKsyFxBx+WErG/it4GSHko5SWqcKsk2
xVbI3LVmRKVNT40do2bycRg90blqZnQiewPT0QSQmojss4ocjSw0pKEmnTFyUa7i7uagz8USjhbq
T0EVAb0hZcqC0kmLzvuI2NsfIynx/RgX+FGUJJm48A4MJQjrbnkCxlTPRw39CA8Clqox2OUArkbp
yIlWft2fTuCggDW9CXMFdSnpwfyRWSnRWSDuOhe5ZMhxURAye/zqhFQ5ZB6YN9E3oWrBTwBLlkbS
WvxftVn5cT0exny1nCgyJwDDY0buYxzL1SNGOXf93yCS86Y3pY5k0PZFT4DIg46DGY9KCUBc0dhe
InK0+ZwKhrFwLZWAu0LvKSbyiMV/fLRLTq2hgLqecoylo93vqf993QOl5N8bIxhGAhOQLGxe1BMA
CUgZY1/8AtX7J3jgtd3helg/7B8UO/V6Nk6nQMYp1fsiNYfwCsRGuSxrr1bpU48bjHc/AACiVeuN
3edQGx+DKYQTlgA8F1qMu/lFvLYyj578NXZMGVucbiY76axG2F5gzhiTzkeLQKLsSqNX4Jmuk6n6
dlakmDdmDfCCkBCtVA3p/fthpOC8QQhGFBk1bRIDxFro4Wbz+9n4HHbSIOvo42HOcgHoDjE7epCW
98IkvrFmw5DZa02J1ZOL5s7y+c3U4aWUmLisfiiWP2CUoPr0JA/KYp2mh69+UA892jv8bao3ur5/
0gfh7g0Tpy9aHVIWyLBV+g8tmr6ciP4SDrbCwqdnnhDTqkn+JN11Lx0BwEsbL5kGqU3J88BQUJNQ
PnVaMHJTTpq0vjgn/cfqUfBHkzsN+I7z6gD8jgdTn5ko7hEY7B6DwypGovPUvyv1uenp7cGehmMa
LvRJr5GBeY2VWrgaXRkxRQdcLtSbyndfQP5gbcyQxGBItz8ot6xTLA7AvlCj/S7G+2ieFGuwOU8V
3hoIEl+0g56O25S6L8AaDJM1JQCRhLz21DEstm5e54wRjipcaHxG1QFCdAjSLR0T553SMPgAy9bx
Wkf2q86O82nYh6ppHrVXM4+Jhqd7ZexsWRbSKyW2rP45POIUJ9f0slH/rKG9iT/ovUkQ6/jRO9Fp
KGUz6axNNbJI+GvmdyzbMV/diFfakAs2ZGQ5h5MdnLV0sgG6KvD1+aOebeZ769lX9sd5zFDUiY0b
oVhcKrRo6pQBwSlElgIqP9HPuKgzI0V3vGxZNMoIEyYmdazsFq3Ixe1bjWyd4d1hgzdZnNEgX7gI
H6BgrcduQdoJOZcXP52jFumrQ3XpabKSkwyLyMMcYUHJluw43sX0NK9n0gbTGswfUfpW5gBEc9yk
0o+F8wwp7GxzHRth7WDvzObN7tqI7ZRNjHPV8cqpEWCAiu8oXClF3jSU2ezFsHj4B1YSt/XZ16hb
wTlue64ItzXaCJEtt/IVpDIX6I2ZBAK87qm1eDGR1SEuNlcdIzJ1NNDvfE/160DEp34SPAGxdPbc
/c8mlsiKU9qVOdGNeAK2xG1Ausudd8QVvgYryzLElVQY1XyVPbR8lZVuxd1Pm6kz/YEFrxJu3bFS
KIplwUygPmMhsI43FzXmYzrc135oAMwUe3wP9kp60i1urhbLMc19+l7ybykg9CYFezz3eZcrKgHM
/ePZWwnFu57n/Ah/GF/0GC2ptLBwRdxwhy4qNR7v+DVjJXyflX38KcBg4Lg5++1IN4z0ZMfxCT86
Fkg8BQHQfmfWKWY10cnmSt72Y1zsgDyhmSyx+skGDo76+p3kweThDde9okmPKE0J9xFmWw/ZuGEZ
gI/4Yf6CKzTSBg/rTvArn4+1c/K+Sg8nzvlXfMmYOn3IDUwbyKjRpzaxBb7K2hg+EA69eJFtELo6
Af/eI5lNgaCEvy/mGXhjvNcYe+NFg0UPLToyflzxaWrgyh2n1gjkl+Pu+sZj8cfg6hP/BjbWAlPj
KWn3lAG3NGP5ifn4jDsbQp/kkGQ0zCa/UtidjsGgD0MD67oLJiwYGSP+0FPYJejnyfuZcxcaLC2d
zWSTXllgGv0EDOo5q62zYJucNcvqqY3C6C4cCkXfFp0fSTth9wWDU/qgwFON23VQlPnKnhRkfRh3
xyheuksZ1lqwjn/KUakAY0wzYxaDNyS3wkhr46KzEGZz6DoIX1hPK/fiji/zEKoxbyhDHuU6qyFO
UjG8TKdt9GlIpjtnJ1m1SPzYkPTHRMWjrtaZvJ/0fobS847+c/lbcyVBjNHW8VCP16ABU62vb1a5
+IIEALI5vbUl65CH6u0dEx43MiraIfFKYNxpOtwPP/MT0N8d/3m8pvLljYwZ9QVCgP/fhBkRdvW8
CT2GP4P0pJ13G1mz5t8CTTk0ZzV9XijweATj/X7lbo8bg62S4zyrDcbz2UnZLOH3iIZR+K9NcMAh
SBIbh+meD9y5wF+UIdBilp+eh23Cv7oG+451fzR/0KaKlgqhO0LVh83d5b3xYUgHZgqOy9sc2dl0
1Kjs1jUWUagkWWLXHQUQTz2WaP1anQiKE5Fb/EC/1UfOgAJog3/jd4Q7qYyj1AONZhMOBXcCI+tx
T//1kslHb3bIkaZosLtGnUkatdQVDtpp3cOdSa2/aMoYlU/o5nCvgjyGKtuvFfiW7EBTLf46FlBW
py1r/CA3tUIFNwStoBsZMTrj/7p5GQQnCi5lOWiU5ZM3vGEZ2a8om+lTbmvKaZD5/EYXynf5qKRA
I+hmTXLx/vwjEENrOlHfKMtj6GGGVjpsumW5qxkB756aVnoHZwO+7B+CSnPKieLhko/J6k/NcfVj
w2fTx7ARS2rMf3Y78qQi5xc7EcS4u1JFCFN2u1Zwa+5qtcPBVkWz/uaaNybSrIG6o0MzGAk7eR+s
EgAaZ78/fbnkSMIx5uP8MbUa4mQizbltr2DzlBmAqjeGns4fQONHOyJBntB7XLE6gT9/06BRHbYY
YEv6++CetOeeVmYMmTz3rlS3y5//Z8wcZFf0rjmuhjXGWixEL2jcFRrPEn7XjN1nvvy42uqpis4P
9FXBZKhsVYbGObW6CeBdkSry5UsxGK2OHrkVCKFgC8FAH2oHkadM0C/ckRv1ehbxkf4Uu7rvxbN9
KG2zovyiNzwzVUvA3kTDh7fjV/mXx7Ihv+02T877agXpETdS9J08pmjshUkOPRa+GErT2aMLXi/z
4xJfHzzxOCTjq0cfZU/N9dPPnrZJG4JtF242R24HyFC4Y6SoiTc7FNwpthmcOhR9PUJbrY7WNjyl
1VNL+qYwMKbKDxPuYdJkGTYt2DhzOyPcSJQbtkNg9tw6TDyi6rOvuMT5tSTPgE2rMcAmE5bFFTMP
NYpMhm3vJEkiM3KGb8UxTR8/HzrSiCos1P2EXB4gt0rdRXfx8e82HwC7cIWtcI0Zs/5AIqPodiIV
vKg0USIzUW3SaXAlWQzUe/yzkqdR/RUrPcLIRuWHItmKTBuDvKeiSgrXC02fgm5kVdgmf9yaDGeY
1FefLJlpvZTrNHVuuNH0lfpl9JVEUmzd9qWTsiZjTD3q0Zhc2FVf/1MqXvz5r1WbaVG0A35y6Cqr
K+bq02+8QmUoWvGDxrrnanPhl7wdx7NRDdEsKtUtkPd97jK/DGGHBnUX8XTuHGwuhS2mRHGls4SF
q0r28drA/q7XR5y6kUxiR8M47vE073d94dtr2GR9JrAYtkBM3UXVlUtmCnkeCiqWA+iB8jKyJrLf
o12PX7QWB3W8UvSBqrsvfWE3XJ16x2yl5QrZtq7rbjFOXLc/91Uu03Uf0Z6rOkwKuvw/pRgZ7mw5
WhpYFa0xMlN52oyeNBdfuX4qgAr4krOUE/miJebwqTPRBzYgbrFc2HZUEe2ZPFWkfMgzfBijGY9H
34FMhR914rvKVYm7DeXQ1dnyKaaKCokwQ0ZuhAPf1b+6ju+aq/tTRSe3CdLBDDMZXMYUPklCYuVh
ntiS4pP7SGhPN9XWTc7Xc90iPOFjx/lauRNDt6sqyr8DitUZj0Gijs1sXa+UNXK7iyYpmU8un5ow
zhCPbLvLkicPMIbqH7wX5quPTtyTxmVmjq99DDtjFXfVwpdzfzGW1cVAJ4nIZgV7P6VS+4p/Cf3s
L7zHrOSkOsxZKigbrkRVFb3llS9xrvEOeoGm+DZNPzsJW+d0vpv9WzPMmbwogtdYzayKi2XbT+yp
Fm7PK3oR985mizjq8ATUFTLMqFg816Na1TuMMXA+8P2fxQcFGSFHA5vySF78OTxCgFIaQ0igBj3r
uKbZLeD+zbNn7IuHCSP0Tv3iTEakFle7ZhdCWNoviKdYcvvuhGlDn4tbTToYrYb68sHPS3OfJkK1
r1HF8Ku6GyTAXrOKoQfGW/w22uwDmwlYjDgJME29aGzNfeeNHmV//Kn2+63VqY/u8jpGinUKF09f
vOI660+VL0uqVXbTl9rARfp/y7jrcpaxx63XCVi9wjU+K4nJkm+yxrhMjBvbJ4rcsz4j5/TCmQBS
dkQVjTkTRksSGvDRQ5X346LC0wwnPbFpiyNECBJ1srAkPnl/w4SZrfNsPNBPiKcEj1fl23gVN5db
xV51X2YSj9uo41LOVGRWmg9ABt+TxwbJJog+afWdzlOAZjaB/7YD4WIWfKkGRKBzIhq1Qz4Ut8fp
jJOsui73jYZEWS/+XLF6QdruSsGcQHzxGYFF0SFUddvm49l3nfVwCtdk+vZYEHTBoY56FGmFUPZb
d072kAQXe42hIuK5j2f+nEp8IQEZId+GCHFV+f7JQYNrXJkSCLwyRaA/jw6IRthsxDQTiyt2FPuW
VC2uPU+Oob8iYg+uRuQ3qJW4SEe9aQkuS3CjJyGVulJ7PEyNb0sEDlG6cBGJdd45FReMEdlPcG4F
EYmH7IFs/1/1sOOQw+fI5wwbQLXl5Flwz/uvpIoe1Cdc+9eYcw/Fri4+K4cSKyuTqdYJ2LwEvDQ/
s+GRjS5/fsUB2Se9FBIqiZjiXFA/Q20nTYE33mc149B92YnYpKbijoJdfnm5ij1bnBw4IrMdv+2c
VhSnZUJTtKg1K5XXIoQXOiopYoHYPGrkE4w8W6g0xfRuPjYAPSjo/3DbwxyhJJnOuOOPbr6fOulz
I2qb2QJj4WYUvm9lvzkofxSOmjRQE2F1lzDWgdU6tB4P698ngunaPOdP7I2eujSFt0gskc777O7U
9sqPq4Of1m+LH/KHsNbTbjDYxOFQ0Un0szk+MjbZIdHOyhOEYKywmH6J37NXymnIngofjLMNF3Xb
vzQqZCPOHI45ng0A4jukA0YwWWJS14lQFw6lSc8Cuv+bgD1WmOKCU7ZCWfaEww4LoLHMGgyT/YwR
qC5Ab3kBQlZv+J0B/iA8nrVSEblMEmNw9XbcDhYhm1Dzx4VsnR3vUDtvsxJZDISUKw6EANAJEdAa
SZJpRgThsL742QnweJ473i/HSEp5E+QH4iC6wBnJGHzRtY75XA8TfkUMV9kw8/X3rqGXpORwXbzw
RkoRvrUDIyVxel7ooJSTxL8M4N+hq/vN30ciBF2oBvn4pTOuwAqCs+lM5pdebwu3eSnuw1JVW0C8
OK4oUUTZwtIj7lWpKp5ltT9RdngOJ7ZKij1slm65/tGyh2K/1N1tG24NLGI+zn4UAw90sW58VUWH
Uhye46mS9VN2dpWHW+esM67VW+MzYh7q6iFicWPsFm8wfSqoP3VRYIiqnP1xKbmcjOKkZujGoYQT
gvLVWxk4X5/Zvn2leDvqFGJ4aqhPhbPBl+bst6RiQ/8ufQ501dRq02Sn8t3flk2kU9nMDpRPd/tj
JOz+1NZbfJxhjfCs0DKInSxvBpSCOUjxYIenv3LlwTkUORCjMyHMjXpYlKbVfYnrhMXZxUc7ss39
R9iZ9SiuNtn6r3z6rg86HrDBrdN94XnC4DTzDYKkmEeDGfzrzxNUt1S7emuXUpWVSTLY7xBvxIoV
Ky421EZi7PhaobEDAgDRsU+yJ8700p7gX2DYGV8yOFK/gsiuC9kWYVLB6InmgXjHANste3wvQ3Sn
9e5QtxFxWIIZDfOjYtPlfqjSafrm/Yw7OwkoMukycjjjA41cbKq2AveM3BN5lv55lCyVAMCK4N6P
/IYT+T7gFISYE+9RI1UGqt+VV+/nLUIUQHMyTAj0EQs9GOc78uQkFIDZg6SmORqEbKiKB2dIzCGj
sH/4S2i1Tl2U7n1MlVWMSRF9dXz6W7JZO8XRPX7j0Q8GnMceRba4vXO1EyPr+Y5KnFASynaMvzfI
YLqlKa4vOrYWU7TbRVBbtygtnr+bLgjo2e29u1RqW6wCdIfSEa32gI7t79KrD+42pW/vpNfsjlgo
aZph3UNiC7yONQMnuSFafjucCOFSqH5cIM7ws4vQ6KJQO/hrHDygv4PSmU88JD+zAHuDNhI/t7yv
doQf4kFTD0bE72qQlsNrH8ZvjoXLAms6erpHKzIM2Dfsi3fBgesVR7zGM44kNOLVjahqNfN2REn7
vUPIgk48tRoBjUWhq0zyC4UyLCgaYHkMYBsJ24tbfg+bklchC3O2/e4WAMafdpJNWqKMhrQfuokE
aiJCThMxNIG2NiJuAIc7776YAQsCP0MMeFqwnM4e6nhOM08qgwcJRWlqM9XdqU9uZ5jjxBSvKQEh
2pUENWdv7E5BS5qDOurW6XTXe3otVsV42KILtw0EPu6AgxA6anYH+aPx+OaBg5TptvY6UyABlrDX
4XgZ6rgFdBgfcmm0VCDhxdISpnmnuw+7/Z1P0NpxE1h6LOrDmKeSkeTd2xtnfJ2TMVkIK6ZLt40v
Ev8abIwXWgRS7f62p6cHlwT/GdA/zJkJEroRda32kEJkUijjdVZ5xqtQ2rT401n+Rur3F0pnYQLe
g7xJoRkidH22HEJlMiaG6xIbrkIyWBQb4+VJn4unkyDRZI81PKZzckczC2ACTiMp2iWhD6GtcyBh
skRfn+JAimOfjgp9iSbWTOEthpwIp2UqvWcWV9qFUfE0ALYEF6e/hU/LD9PJb6OVIvHvqlqsXWKW
T8xcFKc8Vk8uZKp3+FysLk5x8jIijFc2cHAKTk5CxQ3zipbRED68tNyFmkz5oTSgS1ru8MJQoFBF
b1XciqItLlBRjSwITXDnDzTIWjUXqzyBFi1cxTHlYt4mak/HTBs5t6M/iFHERODFpmxB9k2+PIvx
H3ijwxuDfcqy+82eZ7PvLGMj2MSbJM42toQQXsgmG3YQWtNu9kIZAPD1wbo7oOLOcLlad4kjHwPj
iiLSdIU3xEU0kmR5Gri5YY87lINcoi7K4QukiCCFMzvMUTwen0N8PEuC+M3RjkunkFmfLeL41nTi
Rz6oh090Oub1VLNDClqubTwgceNWtOWykzskNtKXFHR2Sb6aASbunvpTyBqUxC3AP6cNm6Tr0oXl
9ew6RXPBca1PSLDtCGkPg7DQBw669IRsAdq9sxR5x4DTZPaNXJk7IynNCD9HBR9b5A13mWN5lrxF
GA8cb9QafHvBg9g001yoIES9B07VgiB0G4040z0cWQGSctrRW+5SlVQDVXdL3Mwfec4sjTtTy793
ux2xsAUNHT4eL6U3cO6P1GeOtzQAoBrh6Zzf8lpuudxlRcgnvKHlEdrYhJ7pzfUucxYS1q/E7G1a
TowsMCQjnKQTMjtIJhO/4pFI/xtCfTc/fQ9xqHnAWpKLBTWAbkQb6vvXfDIJSI57dEhrc+2oiuPy
VMkSUCzHZiVDPrv53bYnGcEohvTq2h4BPB9CJthzdlk2LzmU0TlnFr+KB/EyQNxugLYt+V8nFHwj
VWMv6PUsj9QFH+XNZ0nI9iRzD0IzRGHYPnw0GCvbLTY0zJplK3ItSYcEerfb3ZNx7U999WzTpWXa
wSp1BDFcAxnmQIClT68VZL159rQL+Bt04fW5U20lm8GwOf6PSfKZQXE7yXezipbvfEjGN5pOBXYF
1vQse6gWOPGNSViYi/jam2eVZs8PbAqhjr0Tq0fCnIaZcCXA0sKimOsePhvn1HhEIYdXEv/uvHC1
+3FwtvilNgzGkpF0NPbLEWiT+gxsC/QIDBFWSkIw4j4yXvEEDeHCccXWjh/SyQWiTYKM9y48tINN
VJ2gBsAjcDZBzmE0YJ6rvoO5z5f6hcHyVkg/UZ0AUqYOYqrO0PzI0ua3x8gTPrFuJ0GzSIPJ2327
3hU6FHiCoPdJQiVDuGRdrAoW7vwqOj6BF9y4o+Y4Tes4VaQwzn36Fad6K/YGVz9OnV4TRil6jSTQ
7dnVlRhwvcF7JaPwZX2RzU2pzkt3KxUMgX0xkdDQRgxE9Y5Umjpchp/SDp7aPDsF7AFscQogBAjy
Gewv4tFScQbXAm97peBWMGsDpH6wTNnkNM88Lp1QDTDEmY3JcbsEpZU/yl4fNIA+8qWdbR+4triU
HAWQYoU2kUxNwwcnl4LD2t9mb8cgAU2zVQ5Fk2Spe3nYnIcsIkhFnKdoegh1Yzta0l+derJQwonk
8p3nb8ELCUeQV0a1jDUG5AzDqUNekPQBJBifys1Bl/e6RNDZ6zGwoxVaqS5nbmd6mytHlzxBfHoA
g0/b+xDWD5oWtqjg4vhRJUCDI+rsqHjzFFoQpIeZkJYosQPjgdOw5RidrTsPl/57om34DqiYzhIg
u0L2FJnOJDHFQWiU3vD4Rt58aUQobXS2QwDxw7jtPUHlq87y7IFO00W0GZjHqAlkujCqqIIRTSnJ
gr35gRbqL6pf1i5yNgQOHFkXpoKBpdDzRxtJMc6gvO6Je2DQt0QMsoV6Gfd372P74cVCAyPt8NX4
Ige+82YuaettjiQgOdCdv59enSZ1n3YFGk1e8lJlaBXg/ZDPfdFbjvZYNmnZKptueswbJbwtGaBt
ZsocaY4ybML6YxhffLnjO+1BHjC29OKJt0L6zNlQhnEejil2Qcq4drdodQWx4hJ2Hd2sFWeTO80R
R7shUxGUuE5j+WEzTMGogLLmiFtNVNMuX7zifATp5eAGoqJVNCSmki5spAguP07gw5j8XUcQlJkD
svg4+1RnrFYoIxNroaH5dXFWIA/FGctr/aAH3w2IEmh5FxJOXOZ8kDUEGdKxIpp/jTYkhIIaZPLB
jnDZPE8CDDubHyeDrG548014fjjm2Y6zukMpqQGAjPoZXuyzEBxZoAJZnFQugBFggIbr4Rgy3+yN
T1g5IUCLYMKrQTGPPfO7doJt+m3T7uqLE9FOZwXwxdpLvXI4cTQbZFwQh2FT6lpaLofiimCSPzzy
+dxb9ydsyJeARShWxRkk0BkEztm4aQcolD2kRGfdg+bV56wCDmSTQ9Xaz4j4d3f/UXtzkybz6KL1
6ljrjr6fk+8ecSWx4/zcy57ig8essr2LK1AMWsMGRd7ft3Rk8aD97iKG0Ns/7V6rQ7SCliS2RbPp
eD+/8AGXhudlZY5MARXFNoMMKMexB2EjyJSHjdVOR2s4RvYIE6LHE5mNO5Bygb1nrnwAgFUeLqEA
jN0jYof4jA5eDu4KI+AMjHlYiBFNxufhw+3M4ql0ERx36PrN6tz1qd/Cv3XwgI3xGMIA72N611CS
HLSMxg9B73E5J9IFvAUIw0TWxEPE75hbVJ+ArOeV4ekOyY/YBfFJcs7ynHQXbCjdH095S87n0CHY
2WIjFc2ZN/3s2QVyXAHsD1ZEKZwJyFQS21ZbD8w8Qa1kuWyT/Wp2kF0sqBhlgSSI8juHDqKdLKHB
INNXF3s+0D4ZlQ/2BBHIzkmzYFBh1nAVXD4xITtJ9wYgMm/7SuT+7EIATpDU7lA+kzDVFZwve7e2
gUrb4Lq3vQOaCv54q1jnVIxnxD4cPIkE4JIVqSC1YanZrPhzHQubCNNiiPGEi6dOhoneL7FuwuFB
UYPgPg9bnNYhaSIMX/OKWVqd9h6oR54YJdyrnLGx4w/WMAE3H8T4XBjCIXfdxTFg88aGk7WQCnA4
zItttziDNefViCU/Z4HMQRZ3NgvI0xI2cE58wBwadgcZLpo2ehaURwocnLpvkqH2pi2uN5D4mtL7
NZIKAXbThfr9pG5HKHrLBi9HWo02k2OVfQBA9HCn8FDxCnL6m0EQI+M53eOSkBu0Rfv2PO3vw+kU
z6EzXYfd7jXHqjaHSLX7ECDOnb5qd/nLCf+l0YitGe0dqckbUsjdJRPMkgQWgvljX02/2kdvz6hH
1y2N8KDJKc+56rfoTxv8jBqu7A9ODTNnuR+p6uctSSlDX4AoRRIX1t733R82P378bJoksOlyPOMk
51RhypB0FP4dTAe+ET3S8ViqImjbEaCp4K/1gPvDJntQGyAHQ7h5dP0+5AGcO9gSS42bsmzSw+3V
gmbu1JGT6Mw4iRFVxo+zuDS4N0BqVKK3aUPlXUtK0s+E2NugsRcZjw2fc8FhUbViv+sD7VEMheZm
C+jl9Mhnl5EAy4eHBNt6BmoHCRRI9GnDw6dlzOANGbXtI6BLFitYIZiGkpz0yYGh+nTvV9lcAnZ4
2N12UpBroLYeaN+iCQR0aQxViYXSBwrdttYSQO27YUjsOSZBjcjRjcb1EIRonHr9WuhpvyKY6kw7
OINnj7gkgFJJerrniqMKrWJ+7N0QzAcFJS5r31z0Dt3jzJ6Al36J5YcSm+JFD0ixiFv6pugQDMke
wyOwZyuyyM+DPbXIFR9psWtPFUi6SzVaUjtDZk+nRzz7XRIGNwI2okiMHZDOADGBjf3qODGag9xk
SACxfHBqc3Q7K9Jlh/w1CLeYeiL0VrQ8PUmJkjbDGmIsgHYh8JKrem7lOoV/KwlKp4xpF5GLXCt+
M/4r6RfkiXXuc7Xvgs6bYLhieiisQJSUYjBu8TF3rtAkmRH4QPMZbx87q4NDSIKqsCrwxWG8XCs2
qfoVcHlcTyuC1gtVDYRbwRX1AGegDgoO3S4I9zKpCwSJKCD0kesgDa7gSsYgEXZMyoEXZupKEMYX
ERU6ZfNnl9jpk/bHYKtckZPjDG1o3tEiuroQcBU3Ejre4QaIu57Md57zHOUOPmHm4RdfvyVHOZmT
J/FIUiEh4VFa6Em2A4oy4RIfDZa4Ar7U3DgsTsHKNViVFxfHxdkJBgdNFqokHiiBVP7JJuziukkr
Rvd9c7BSRZP2LtWS0ea9nPiTZBJYe0mtG5eabzyyrWsplQqLF24F4xfmeMK7F8MYD+7AwSsQIiIo
A0sIOEVoAf4iROhdMNxBvAC9WlVIcforDBh28wBYscfMDp7FfN8j7YxSIuw/qEX4ghojeXSfS/bA
9HRxLDXan5ysyQi7+8m7v0WOl5OF9UNS41rIMkM3d0ocLidNxq+0q3bwMp9QOgTGOn4P5vVwZ88B
CQTkqxacNpkHMFhISUqAg3ABKWan/ET/uXDxgLgTbBvHVhyu2aCBRLJgGFY4ds2gA34zBVutfRV7
9aFMVBBa2qtuew63+PjVvS8btk/Fok1QAIG7PdcpPwdbgb6jJkz9rMUtAHpwSey8TTg4fmMtbjgr
i2KgpIO65ppiTl0moPmVU0E6RTmAgT14mbP7wv9oA5tTgU9+n50XErmSnqdgwWVqKGJXPXZVC0lY
g6iG2s5VWDoxCWNafLBI2LANwYAeHXLBBNxM8donEDWb6ICzzkOgWCclZQAWLz7NqbSDVDxLiYMI
Axkuz3v6dAWbgAaZUBTwW5/OqhyQWofcJQ5vybwQXHKWsw9Lp5mAd74XaEvfTuQwr2F87YLQgHjQ
t90R8zFEe0wvbh5y/uAWKD3tkX9xUO6nRQBsacwOnHUBKsfT6RUNz4Y9rTcuQTdRwsriFxdwsLul
5QOVl0KGheNNXSZANmWiR0HEx9chb3TvdSkFc6ytj55eP4KnKQcSEJDVp5UhxJ5cyXCwePq49S21
nJqz2GD9LpQf3OGPPTNKuY8+fawcerilKq2aYOQ5JGaoDvn4Zs0bn7lzXuwhy62SFTbQ2U7Mkx2b
lxB/hsSzIEO5+8w7LrBrc4guhlxX/xjrI7wA+kSGFCvV/qY3vcCksk93juLDRHOm+ArY33dgesmb
o94hPCAyeNE2VDIzS0Sv2XWUNwIESsBCRImM9rW0h+DJkPovXhufvfC8dhfoJH58hcUqpK920mny
CR/woou0FmEo0KrrGz7RktCqSo5kV8MZpaAxCcV+I9pz9KkvabOnpNo33wzulFeCo5g7hzWFeaB7
tpwRkn6k0Nh1iqog5MMQqKTe3MZkVRxismhhC9YZ9A3ytvBn2H65SddKwt3Hm6ZUiM67BnEJwt3b
xXC4Sz8Eu07nlU6pEMYFGjaS4Z6u0AAQ+wWHMnImUmH6cawPsXje9wG/tGBrozu1OnTaX8gyQhqx
dwluM5da/sAkaC65woxoCSuikSlAcN9dsrFOAQVuQE6b4SgFHwAQKL/IMgEZECW7OR5vsm87Y1Bn
Z6l9oZbehclrATbdYNitPRjRrMRuw16MX6yOsWRbGykhU04HjgTS2rUGc8apso9reyGxO5E9syYA
exn5FK+CBqSdJj0ryCL50QHU/5mhfIPyjK1cbViS0seiRewNeU930Z3oN73pFkFqdEjoGEJE+x7S
NyOFvIwUkIAKiHP1KD5gume5YPdgV13jxPKN+ChA0F3UgSiqW+BibYIVhYZvvfewUbEidkcyflhA
nXIjn44/rBgogg6CZjRlJ5Ganhp+6apRAtKMNkoHZw4TeaIuCxfwBZfzNLna75s/RV6JfKqDKGvr
lQDJ7xs8ATkdoTmecOtt8g30ggOz6x8d25YAywMKIrT0L34XYEQt4Vuz72phAIuDR49GkBOMbYQx
6OiwJCHLYkjo4Uv0XgLK0V3YA79Y0XFWYmxnSVZDEBAyLkPcZKc7pvxrwx06CZmrxxpA5IbWwwr0
lIvbajReNku78/KHG+qVbhfKWfajnIx5Eb5e5HdmsJD3LnXse5fEId3fMGwEO2gvrDEHcgRDUCvd
J9UDY4PTskWW7b062lwE09z03tNWsqDwTgllJnF6F29PcaxvfDHK2RHbAtykqMWXyVrMrs7CSIFG
7shovL3q5kMSAkGeN2sHF7bBl1Y7010f47ZFdgPUHKWGjr/YUv3BMrPsUnM7LfjM/FgdWAwkYjbc
5/G6fO8B9kiSQEjzm1JRYxSA596rx/ImAq45aEKRMaUIJCJ6aoQVCJjGhvURE+yhr+guVxfm2Ybk
B7WILyyrt7TChB6hzIc/BW/5DHPpDumleYtVtP4F4rzFAm2VNuNPkcUQH72FetJ02un6LCX21VjK
vYkqanD6r9vcshemQ02DkMPv4Y+I0ibJA/nT2Rr7z6HBiw4pg03Zf+4CVAhdD2OV6BT/tmzfwMpS
1kOFNdaWcQbrQg7OOA8M6qOdGhsRPO2G/KxOqO+qocLQfomFHiijPSewJCsBCBvB2nlHcBArjKwL
8Lf9mq5Jo0zHZXp3O2x6KaAnZnMNm2olCoEoYUZtKpIie1ydCzRCktI47MLSaFMwt14sk3y1Wj1Q
aCGzQRXbfehB23kMigKYQDQpxtS3m2C65sWB4V3otrocQjTpYANbXgIPlNUSPlGl3sR4SjiatLq2
h0OW9A0iIG0PIIfXThXtKWHoPXdfNZX4oz3S7SOC54rokjBiJPwTcj9FO4zhaxfQGnGYET+xAgoa
tE9q+FsTFVLave9CuvOMqWk/z6fdVkJe2d1R7SlE61qzNxOmg3lHRZTxIK3CiAxzOLhIuNY032Rh
7GURIzMD2/0Ta6xDeUkbYi/67NFsG5GRbngHdLJ9LRYvgViWdYSOYnqwCD0BNtfJFEbvJ7pDGKLg
IEMSllwxYpZftKu9e9tzsP8SjTEkKA20U1GcqHydbO8gawX4OyhWAcoslzsYnT6dYROd/XfZeOVs
fjg6G83lLeUgJK3HkCNYweZqkxOcOYJd3gm8rhQHnVG8tdAXoo206963w/xsBCH8S/KIwAKIme+O
AOfbMacPetFyMIknZ0C6xS8EkMQpDYQueBgoi3y1JO1DlpcCjTHbERowZwBtZjT82egi1BD2QffR
BzPqjOlYMus8OK6V3mPjkdrUc6wDQjHj85MDiGyljFljx3lQPtj1BM0WYS6V0f72iyLnzrgZtKcA
Ezr5peNteMskooYHr9AWfUF9Sf8Y0kSUSATNEa+h2Wyh3dbtVl99QWiPsGI0J6ojwAQ97G5ZBUjj
AcPex2Qs83zY7pA8urZ9yAL1RMtYild0j6DeKMnsFF/17nWWLNdbf33oWLTgXWM8trDo8JXxIwaa
C8mFprLk+ujqqDnxnuxB2MT++9zCgl6za0FFyZ5Ae2t7J/xLSJB3PwFAX6hbdzp1ySrviUJGeQiF
Aeh7ChCCVMJ4qH0lpExgY9MZxjkfw5tNdyAoISw2ZxtOX6Tb+1J/Xrpv05V0kMDxQHh5FYoT4ayp
3raJibAYtxCGd4Kz1tHm7btvDndPAmc8rFOfCZiPmy2H90Dx9RIcrR7q7kZanpwHvXsQXmyRvU8q
CFcocVVUilOdhyen9yVJS4Qr5guvnv5DemCltyanEGYD0jb03xC4kZh6awYVDcKCsnKpTIVewHfg
/MOgpoYA1w4vsCVCI8fF5e6qWPU1LO7zxV3tOjl2G4fuh+Ui1EFXX3u9uKB3Z1e3L9LeQ0VM6Zl8
EsY6BmXg4nsERrfwQrQJk5QQMyl9wBQxuEOo7kgwlemb5neIz9OkxJ79mA3IoaDuRPXgdnQNK+I0
SGRErIbpaQdSnSKe1FHpA/rI0bqRkASmXsOAFrE8j6TiagGEAOX43kWHtKZvl9EjjFpB4MKrPFFx
iqhExxwhk6g1ADuayQMHFMW8z2qq0MA0Ii485HyXU3VhLT+wBXxOOH4o2TXd9hkiPYMQGE/hoJN+
X7ZODqXMj4cHz4+QzIqKfLnSmzSCSlY5hK/Ny+a8J8skUEib3JScGCry6qAaCP9jkBiFGNuJB2By
v5iFHImdFaLyxRP778zopCzgJR9JyQOxNGlmQujKCAiIhVIEea5m8k9wxnLzS5hGaEW2F3Sjoqn9
zm+P2ImWd535IKJv6GE/zB2lbM6qatvQSuw1KIYWDjYoJVDN69eQnYjITuKaSzSSbMQKFbRWPwuO
IvNNEyEF3zkAiafTtDCPtcXWJaDjhiYEnuuC+KaRLpcFzRmOpK9XTBwUlg1np/tO2LkAqfUHokGn
iI8ojC0b90w8wEcA0sKve86cNUcZLp9zLEAXMuVIqaO7SYRferEbdBCD7LonIwmbcDMlYGWsTJfU
AIgx7Y+/w/lMB/A2fQ1mVQ1C2pbMynkJ3GVbN1h8ZKmebnDU7NGoBJH3oIyRizgRWo5hencr14Sv
UkebrNIdNHDQLExbx42dPs/dp680fLMM1biF1/+k0gReOWQ5OKz0xiavcxSMMDIJkBUo4y8nW/dI
hz77TR8KN9Q8EpAHnhXB4T7MM9GzF+1+9rg9UsZB79Kye3rHG9UcmLTRoBEAOD1XBhzx1rAoSiLh
y4AI++3WcwvSN/3RMYeQf23y6LbWTT0KownKSZ4uCFLq6dkPBatmUc0IxARuML8UlfVGB1Ha6zr/
/tf//a//9/36j/WPM+o47/X59K9ThfTV9nS//ee/Ve3f/7r8fDha/ue/2+2WYZktq20ZimqpVlMz
+fv3/Gt7Wsuz/0+5ezTMk65sBwbe5q7bGJFBubztOcw5Okhlf/o04w8f1/rrx+3Kh2LsD43tQAg4
6+y9kqLxdgeF7AeRjFUIcIxSj68gAXcdor8JgWslbUbf+S2WRmk3ukqqCXIclIdZSRWoo/PgxYrt
7gcI72yntJPv0iPu+xi2SPtTLOhRzxfcY6obQc834r3gEVv2190u4WcbgVkAUFKx4c0K9AGIXhzT
V2h9V8aq10xNH8yVbFFzg34KTsZ0RvXmxqFxFO35FF/ahptjOKr7Xu3VXtUvM2NwICSgAQhWVcEQ
0JF8pHxBpEeKZkZ1f4POXOTMdn+YSE2XmfqnmWz/dWiP55u+rvTrq4+KaVAi1K8gJ6N9vkhD9N+4
mWpX+i/Jo+9gh3yrFqBFSEuEU9qeXleHlEwqPbxJAAeX9ICKXxPNPnlEXlHSwLURIlDD+zyYH8Qr
6HRZhi2nGR0W6MVRA7ahZefJp8DJ33sn9+Cr6BUe/EdyhwfaYohb3o3WyvtID7aRGiDEEBr0UGpH
9xAVxMBaI8uyRu2qSeNDWMT9OjiFF/4g/8qwHR2DGR/y31/JOqaFKS+ki0LwpqQESb51YHhNlwLk
6OKhkcabGN51fPPpvRWsI+UbarP0r0FJ/uYfx7dxBZEBcYWoxTVZwZvplH/wvL6NmMZM//2YERj8
nRYq2BYjeNJf8RzVn9IKLRQm1wmitRVVnKBEJH3Te9NcHavjmWQlEPydHGjFEtBy2gPgQ65Mj4wI
UejPd1IOKDJsAl76QPOU1hOBOjGiaygP1j3Tu/vwWaJzqEby4n/ejYb6NyumrVia0VZVvdk0rb+u
mHXdvq8bL33HaX53TTqDiyJiiXIgmDkO5ttRUw2ZQ1q/+bQIDXY+Ab6zDuDoZRDDoWu8yKbRMphj
iZKfO9UWG4RWtJSackqOhDoENOhwxlT2H65c+ecrb8nff7FaavV4r9Wr8eobbHLEVIKDfw1ok8Eh
GaxZK6fFVnp9hAaBM+sL+jLFkj8qjhiVxuinAOG8BVR3tE5kos5g3zLgSOIzMxvInYRZ4ZPpkMn9
07CbYuN+36i/DHur+deL3xj6fX96nbYDt9MhrPJJyiGa9gFzJIJv2F3VPkD1PFPnTDdZCLGek+OE
gNGqfE1GTZqbPxw4sSiXFPmQBD659JPDISuHMlEiDGqSu/885q0/XfZvpru9flutrYp9ObOuS9Yl
TXKxDM/4ia2WDoWnqEkviXWo0/rzFhynbM3wsmhGl8/ub7rq1PDKUDY37bij7Y8ypAEEe3Yb0IHM
rWRngkgbtF43AoWSEAUG3sGjhSJlCxU7THZHi++b4NXAPW9FVbIJ1IjtwR4SIcB/vmHj786qX+fp
N4P62qz3lfW67gecOxhAgn5FhECJGqTU4gVIRtYRaiugC9jPpqd43bNjOTPfRH7S+UHhfNAbiWvx
/cJIwpqqY7PQA+B4Ks8j3IwBVXJufeFeEGEZGP1/vn7rbydM1UyrqbRbWsv8bZOcq+ux9ajUV/8y
prmM/yBfi6Y+TPJDekg3EQKsn+9yb+j/BkQhdL55Y/Qlvt9FD9U2B0ogG+Q0pr8wdgGxU8zwPayw
qGvmzJpWtK5tumK/EUP98UjKkE33scF1gJWlgaeOxeTgDJhf7vq1emNv1VjBipbURBqBzteFmUcY
hWeJdd1hCSuEX+WT38E/D4oum+t/bT5Dx+i1Wrquar9tPsO03tvz7qgDcdX+bnKh7cfTRYH+jlgl
GHtpkl4VyUsiICTVVxbUpcgcbtdOC+hI8dq6Z5jufhafSTzDOAEmejjwcnTAxs6ekobon6/3cz2/
XW/L0rW2phpGW2l97ucXS7fbtq96fcLS3X2azCLdSiNs2u88QtozZy1OVJ29cpSEIc0/JbIoEen6
01bQ/2Yp/eUqZKv8chX76lZfdKP56p8QrdLDc7CNb4Eayj6vQ7G+W45iOYzl9K2Z3ZosFVWH1Gqf
AuE6PyFakoHjtHwnFafbH0bpb7Zqy2oppso6V7T27+fB9fa6v/fb1qvfDuh0HZkxPAd6Kc3oY4SS
Kp2vZc3KuW4Ft1T1WhSTyvVt/rC6/n62frkOOXF/GaeD9mrU6qx6DYaoN5PN9xaoWViebP8rHF2C
OKwzdGdQPKLYP3y6av2NC/iXYRBn/5ePvzUaR/12MF99cdJkJ886qG1230gyE4On9Aaq0FY0uvgS
nTsyq3Ra2UXoniGxiCnn+Qci3PZU4flvRBkV6fC7S+94fmIQeEJu5o1Ci8kVQLWm5d8hAqbSeKIY
D/EmlfgdmzndMGmwHB14b3EkpTW5/HbhmFjzGkG8LqgMKrH8zWTKgEF514j/6OrIESKH+R0Zk0v4
wIAgWRNc6TTajs6c7YYn5gMtQ87y2sNJH1dpRYbdCiju9Y34Rk5T8bdUMEVifbRLHw4dxbStQI3P
CIVvMnHojtFRRMMxPmKOEJn31bgx1YNX/IrFFG1hIfrbqMZvFP9xxoVwRn3jLaanlRpbHZqlpQZ+
7JMXbrIzRS5i4yrf6lT+GYaznGNcEEnsf17r7b/di7+sMf2vk6zUa+3dZsUPdFKDYEZ0QTTjakjf
SPeRbnrwed60YieTQLu6S3+3hAKUUZ5BCx4aytO6Ijp/Hb/QtIsVb3Z0adZFh98O+6VP62pXG8KZ
D+xHXPlXt3eymxTn6PHm6xxpaNmlSnq8uTQq9HUnUwnTS1v15rUwHxD+QILH3k525LApaYv3EwS7
yU6C6qU72/3nQdB+H4S2orU01bIMs2U0Fc38zYw/r/eWdrX2x8yoe2sCFeXsXB6xUZJ4Uzt79eDu
NRq0IZn2QDehpUf1YbXLlGdLRDGVw+D1GJzPZDcf2CYgDwwL9bdoUj6mOx3RtP0u3Lb6f7hkVZGZ
+V+2/JeZ++2iz1X5ardmjVcfClvcCGedRigHsnhPsikMkvWs/mZMEmyfmSjWQowqkW406HDOKRTr
0BHeaL7SSMKfIZGKiUvl5wcLACVUHiNxSs9xEzdM/mrG4pDdaVjbpOMdP+efKgzZjO2g/Dx84i0Q
IOdD0SjEesrLXkKFv4v44AGFTHDI1YmtSn6pHdAqbFlGW2R4o3WIZHg6CxT+KlfbxP9rB2jZf37a
w49cf2nxJWqg+kwXBjETJexlxDrKVIv5vVny0IkoE2uC/gneRcb7wATs7vpavOubBJ/vlbxGHEsz
2GdWFzkVjAcxyo4eb40ut8jtYe9pwk7ulDKiJi+UE4D33/J8LrrRNb410ljc7j2VG9xnBn1msi1X
2OZNm1wWHy+//HRhZWDkzenykckNnCLeRczSZzb4Rpdp7lHuQ/5JzPx5Ykqk3FcY5AtXRFbD5I8k
LgAXvt+xwZUpKxkbelgwTib/c1O8y0Vujo+hkTxXESP+skV8VYwlIP7GEbspppEcQfcFEsYvKOhy
UR/zysMoVPNu2kre4X/ekSZojFGTHnxMfMT4ysTIA+yUj5ve6HJnKCsxEwa5Y652y2XJZLR5c1pZ
ynRd0pJ8NW/0c5C5UJkcOoAy3gpWvsk4y9pF4RGHUoy7nALVCtPel8GWqznysbIGLnwS1/3ATZYf
ZIhKjJV8ngwJb9Sn0cNyHa6R032kJcvymMnS5E14tmwQSge5Mg3dJJkpFoqMnIxlmzVw5C3k1mi0
KEvp55dchDxB9onKBOg+dyC/6rAy5Lqsb5kFGbktr9fYLGShYKbzEB2pemeR8kW2u/N5T+aGK5Kn
XCLkCcfyHLoNe1TLrb/KVPYAOjNS5nT6TIVc64krltOPu2SbyJTJKpa9KNcky4ElxJ7e9A79O0tJ
FtTPRSG3Zb65WiAyurg32ItlSkur02fk5EZlRmVo6wN3I3tA/mlMsSwXi317YeL4f+NY3XUmY0i3
nfhMQ0ZZRLKleT2nswncoxCo82wGVd5CnnGgD6sc5/KwnNVyYr8pxyPj/XP+D7yBIEQ4Dfz0cR54
ifrdQOYjlu5JXKjcjiw6RjUC4Ks8ZlE0cqVI9u1DcLgTwG1IhzfKsLotjifPRJTsezPSru5TG55A
gldW6e+GqMOqX+gKKJRU+I+VHODat5y8gswgbww6I8iMHObl6shZTJOUjkZgxg9GsJvXdE35eTwf
ViqHtpzwEsJIkDJD4QbciLCNyKbllYmR7UYz/xJK5IpglL8Omv2mS2NCT+PfhRinDDVARQGlDiN5
XOJZkDCiW+NNMFSCUTUjbUKwyx/lbe8gWHx17jvHjACr5MXy6B3RXAmD98FDeo1kElzRUx2FQFqL
g2y9cKmBxbY/HgvaeSCShQoR6JUBTnWOXh7KyDhCaKjiwqjcojyq+SjQ8N0KmjhIouegEUfXQ5Bs
flkdI8KWFjED9dT8rembPv0IeJ4V6GBe7e45lRE1v8Vhan+LQ3VFVb725O+WxOaxzmeJ6/TzS2I2
Gfs3o1+vrKCUYgWLD9hHu7mMvs6TX3G5Enes3X3jhosnxkxuMj0wv2UG1eCIx8QUfT5BvsunSYwo
XzNUKD6unAHwhlgGlyeXj/DAXP6sxxq+R9NHv8u9fL08FLW7aObj8H/APRaD3C6nPwtHjWf0Qj6m
rVz+Vscq/l7Nv5+rQVZIzb/bWABEAQlJxbBOtlGFJMsm233J5725rJ9rCZ+RYWEK+HyBf8lsEvYg
TsCk1EOFyo1j9PiAnlpRE4boiOPr7hVfFnE05r8dmX26N/JZt0+IrPHOVnDwDgFl1oRx1xAsyodV
5eo4n42BxnVUXJPhUfEnjiwP+ztcYMEt5cLOETVb/A4S3UU1HPSkzezKZUEXjiQuvxO7vbP/T9h5
bqeudsn6ijSGIoi/imQwxjb4DwMnkZMIElffT4nu0/vz2b3W8LKXjTEovGHOmjWrhJntkgtY7Qrc
DHVCDgydw1cryrgUukWXJONTEew9Poxcvtv/9wTKWqcYHYfuvrvi8ptcmJx5qItMACjbuQqtwSqA
978zUrmko2VaNGe41wgTztrKWhVRW0w+i5Ej9x40QBrpkcL9Njo/7Ye87TzvHnmTMpHLkUbMtrXB
jKrkCmj2umOBu1lqPyMxwKzRfNIcE7w0SwQG33VgFbRAEE8OkfUacv5NFEW5LJEnIA28wdtVekPe
w5aWlqRHLGssaTPyjTrvo/zDetc76rUEUejQl9gdV6/evKeNlzypA209ngEvtHkjAbiRCCi70KeO
30uP3cf/OgeVqQSEGD2d/pJLq2mkC7rqU2wCeFZGQ1MpFxTeHXgkl5W+DKFegsNOiOhD3YNplzdh
uDRaecdHtoNTmrjv+PymiiwFOjOQegswe6HHe3CBx/+CoI9Ni5Yv/SxwSMi+M7iR+K26uVxSuCrd
C9dGnyVJHejX6RO7IV7FQ2vNSIwEQy+At7x5hImDiituuTiQ9W5tKhxzvZMHUigEx0jOn2Wa/QgA
BzUEbLVaoOMvyzeKt+fEf8Him4N4fCCUn1zolkDzHy5pdYQgH5+PX64wM9INA5VqLlqL1v8AWjje
4Lci1OgExKVHcSVj8uj4BAzqaEpursIILEHg32PODDPSjvGQJ5J1EsI9HIkWLdhvcARa6m3nVRDC
r2ItRXzCEfRc/ZUT1fnaAFswYy8pCMIVnuzYJgWtrVq6jgBuU5O/ltbwjoij6Or3qq7oGRgcVXCb
NuIqBmYPfQBwUJGFyymDRxWeg8ejnO47AywapgHTner+DSO11fspxTaeGW8mxrtw1Bn1FBVFtuBD
jf62W7IzaOBp6qxbVDDvTG6tdZfEfH4ktYJmPaajRvrpJ2s1qpF+7mzTHLj/hM/RPbWYwiabxapJ
CT/dxY8FxU326BMhphA7PLJoMtV5G72ZcE6NZn2t0E5tvtoGHss2yyX70QrrpiO7lNZ4k6/rxOMO
KB5VrGAT3MH8URnFjxFbqV5YE49V6RBvmRoZbXJIP7Uz9o7HUq68+/GW7EYTpw3T6MXoaXId4n2j
qvBxpqkVn9I9TNHHMnkc7jkYmKcRBgXzot9QvMCBLlvHifms1J+VJmInoz5+5up7KFBwzlzDA/t6
wU6vNegRZRxej6z2Fq9QvG7wWNhARmJLbJegD8fWaaTV3aquPhseG69qEWZkJ4smvlZswNk052Z6
7U2f+U/zTRsXdC3FRxpvFehoLVxzI+tPXloQArE1p0sULFheuuZkz7MUAGk7VXFNe4ogC5ZrtIDb
ORuZxa1UHWzZqg0Kbs4S8zlhHC7kER4U9pG1FDwB4H1eiLjadM80nvwB1XOWfw/obMWx5d0rG86q
r7OyCQ82/SPrlTytDvxWZ6Bg4h7ru1vXTi4A+ftox+5YazpxAfCGiG28H+LQxVBYMKpqXIPqWlRb
FgI24SYusfiGbMKnvmpfXcn5hmuWf+kx/LOi21jXcdE8trBAirZDvd9OPcM5B3YH5atzKFNFCDmu
lccWv9FAJorhcTfBgKPasm1uqQ5EkNKCIEIHdGstmmdafHR7LE5lO2ykBh8ehh36jbZ8OzHS+k+j
nfNcFwwWUeWIadrBbKMj98HTk05Vh29HRyI0AU0eGzw7KRGOmeTdDSHFpauZoUHCmB1qPjAzgKss
+NSMJot9g7flJmsabYGcaoNlq2jXe7pf2o8Usax+Vj/mszRVAKh6W7bbfQXPHvkKWMscbzyVHK5O
1OPqntNDb0OEoR1FyzJLbIJdu0rD79azVv5G8y7sTyu2PliLW95YIQk2i8hgaSdwvv6Kztv/QkcA
wXRNz7FdV1XJ/wS3GmvrtDkV5+IFfiWVMGmMQvmbIRTahTm6GwNgXCD60laGJSF1/mERZc3NOBvx
C7K0myzmc0pnAekGzd0jyG+vx/kCF9LWFls+EHuom3SzYTWCSNKQXurSiPN5jivy3DtF9o9++drw
W5c8WVzax0Mf+VIERX4cxEsMwnMyWDxohzvSNfdnTQ+DjyA6B3az0yMgBEPNn7jGM8rC9rY9K8KN
jQCri3QwRXH0mxFi/l6HKt8ZhAc39br2+/0i3HYXr4gL+c9Wugvm6PvO1VS/7ea352yTrLbECwfY
0/O4WwSfG7gHe/ubLMCKTNiW7QxsLkHCAX8DGubEh6fj8yvqv0FTgeKXxLzN1JjFmx0B/oK6uxH7
2KEl9/DYRTjCpy/3CjotYwX/c3mORcHZRrNPlqEclIAe/Nlk1QgdOuxvtOij9nbp0tlFAz9taZha
spqusWwp5suvOpeVzeDSouWWwd1qtBf3YD2c0YNCbI6wBg7UAgjviI3oL8vuamQhVrgb8fh2uBmt
vzQHad/HCnW+I/QEXGSaL2njZXmZxjMkA7wQHXgYu3gU4pjaP9C2HNSkCxpe6VSjf++AQEZrtIhg
nbNnlUzpMmqHEfXefRNa7LaDv/Qb3mxGkuEbkQf75u2Qwusi8rgPjx0Y0pK/d6be0BnST0KUNYsb
NOV2pQDzZ1zQ+pcqPFVGl1oUZR6N/P8c8sbsmO9qm1rZ3WIxfw+dzuEQGzRPWqcQQhM9pzd4dY19
9Oe3df76vr+mmlPMdqfFzrvBF1F1D5Zzy40Z4YQEd2IJkS5mSTmlx615Iu9s9Ne9PRB8QdqiaF4f
ZxJdRfVrYiG8rqt60LZd9u04awI5YQLdx2MIwEAQDcUYMiCFXAKahcWBqykmOlflycNEUav1XHtX
8EMZgkAcZAVIZCKURIiOsCLgP+ws2jOO2SFUPEwU2RHrEj2Z7WuCJd8BtRs9QPRECCjiBH00CoWJ
nwib2P8XbRuxliuOR6d0Tehhs7vrceiqFSuDiJdoVBdFr1PlBPoJTATkhwxOidOB0tcm2SVWx2na
scr4Z5ZF+gMJWxX2rePlt7OF0A5G8IHqV5XmK9C6V9/VqJ4qZhPGoAVcUczqVZEM6WeihFkhxrKl
5GJWBSFVPTUpnhS41cnk7OdHDVb7ugIt5WAKF9T47n5qp1GQoNwas9lJlaWRECmV1bvtJ2LiKDXZ
snmj98CuKA6T9rUHaqC9T4mImTg/ek7Jz420YCu2I+V5qzbVxs4htSHRQx48h3uu4yFdfOOxWQXe
j2I95HuiV/gWJAsLfKpu8CLHfx7KVv3fppBlWpbvqsxd91Qt+Efda2Gsd45hX25j7WMnhsSD3a00
gDIXKY2ICipQnSaKqvWoxofCcWWAj+cZTag241OSvc1eGs3s9ZEbmvA/7He9bgkWNks9qE0bXFRn
LUyBsmDN5iowRwlmbSwM6Ayco9T+2lx+N/jJBAbCwuCj5P8rjyvxF+xzbda+NDoAgOBH1Zygceos
090H9xbQ6D5a4wEPqKQ/9uBC2ePiiYiUnbwYKZFX3qggRvDNnvVNEZKyRZPccAlmwBrIaG+QN4rr
Ajmpo+/qLfpYFtiSesjPUTMmP6y3ZvGNmuytqs9i+CTAoZoqyEgakU8K9/dy7e/yDaxDOEeW26CG
wx2ryjv/uGH1w2pXbyxOOL8yrQSXOsmtfx3CGksc1hM+mFrrWD9rkm2YbEpIqH5D+yqAyLRO+S3N
KqFv2beupGYXqTjX+jG2160jSnPE/KQY8ArJhfQhZhcPsG0y5QRyXKaHpolZfXpEuh+u2eatxgvr
FlUYHCnV/WPPG6vo/fjM2vhazLjDoqTBC1j3TEjZ3FkBEOYUJhvrqOa8juc4EYoi0pFuDOJB8Bs2
zCFAgOZKZ1udnWr6546q55qhqiqKWaHvlfEoy1Fwr1ypRuKFUySv6IVC5bALCbe8btm5KQsm26aL
VGm2VjFmwnv2oTuoRBixCeI9BXFK2rU6soyiTFQFfss3/bUIUF4Lfs0CvEEJ9YPWtmAWOEAG+DcT
z5DBY8oYI0EnOEBktSrZbxZTh9VPL7fn1bUw72MR4vSMW/sBS2CNzjopZOs+1cEKtIAF99cxZv0L
Rcy3bL9Wt81arV6vIs1/DLHD+b46XjKn7N7ug1tBX1TC/c2BhOGNfh9gft7SPy9D9r+QEP7jHX+t
QtliV5jXwiq7OQIx1IlK5xJdIbkc4ZLXg6KRrKxwe04z1PZzXJLZy+5jRHJrThHsnIn0yzMsstB8
uHUP58GmSBv7+WXf/vNRitP3qwb5Hwf5i9TkmmfXLEsuy9kJOU7DbRlWnNlRtkuIMw7uX8IM2/k/
SAn/G9L/4o6Ys8Zmv1w4BXNdS+8+Xv9ocwX4YVkVGqSh8qrcQ7unoBo9Tdu5PrXrruEJL1imHiua
9akCjlZiD6uniM5dhwBkzZRb8iGMTYBCXWhE24evLWaAmSDZqR0STPNlliy7FXjYAmoJhCqIE1rD
XpQprWUGi8/hR4ENtdmrhUJ4vAQ5XxKNLW8jnovFglCt5J3dR22svxbfFOiPnVWzVSChPrXfCvvw
oQ6LK6DUvOQ7wSMcKsmcAGgYMxyXgITNm9aweryg/nBnqdfjd6IxfkecsJ/MsJ/exrXQ4YhUKKOI
pAqdSoUqwdQHq5YoFFU8dE5UmQFLSdH/RARQ3pjpcu62AVdE3riUFHhrTw41IRWhXSId2CJ8XUB1
h/NxawuCEhQFcaQN5/dzKQIc7s1Ab/rUronF5c9lEWJ9RnWISAncrMIQW86AbzdYrmq/xeUZeIu4
TbgXQZS+UU2Jg38U/1TJLX9UMKuKwuWP6oI6PVUJBQgRnKcHVgtWFnqiJW4qsE47uEA6HbmqVdrP
VZpVIbtO296pi4d26/ajkxGvRaV2XSN9Np7dJ/ru3mHBUYpOd1zCFYiiXkIHq+N023hGKnJ1ks2Q
Mjb02CNNWACEelOAYi6ABuuCF9SA1ctSMaXLDTad2GNQDbiEiiHxzWYEnz9rPf2seERRh9Gsrpcg
51lPFUjVzFS9Uw2PEjilOerp/HalWnCvbBd0DxHNQLHBVFRkxAcpW+dnMJF0yy68rn7GpXoi6g6d
S0wz7ikXi3BWv6oOoHoRLkpPr+tz40E+u0TbTxToZj3Nuwos7RJS6zsuh+qAk/tEd0gjSAXBCqtr
q5isirMKilxOxpzO5PFVV1XIK0wjRVwWJqkHYjDRRrc/sxfFWBq9F+74oyqporGKhirLVyXGdPkj
DFprgi45Z8xZ6WytQQmVacdb+hSgGc7CVjm0Eo6R3vZx/DogRhpjUGP2kS6YZAXas8T5bbD46AP4
m8eUhIg+oNLlgdugqqmGhcbaEUgdiTXE4g4AvuJbXFsnPij6wt9VVYG6NTeQGUaWko2ooesaiV3x
qIWfbIrq2Qiz237FguK8N1xfhs9z2cZgreUxgKp170mMTAGinE7Wp9NKQ4Rbw0j3GGo3zpjJyKaJ
p64OznrWBcF2u+mMtcUjvqqlVaC+Td7DlOzO5iYdFLqGDd5Tw8DlXRQjiGYp+dnz1Broyl7aXA+8
Ia1nn9EqsF34vN8z6DJqaQDr5ilDEyY/e9FQ01GsWCkcXkC3w05rXO5q8FFIqCGBpRfedR0O3k45
Hw06nOTAChiTLqa6V26vZp81qE6NQcqVLhq0JXI/dfZ1ZjwyfW10lB8jj1o4ax3aHEhkDrRywS2b
a7HS8gdwz5jA0V1rEgesD1HpHweiQ1n4TfeU3HZDZBX3FJ26gEwZnVX4G9NnGizOPXhD9V5OipQl
M9SqwGOJq9AQgd9kxgh50ZxPbz3N1vXOekmJHroOdHkzZnvPmuexlxxHNm7CTlVlmLVn0A8gto3q
yRpP2vPw1t9FZm+XeG9W02o69EnsInVPqGtCqeW2CLTViPBJ9EnqcO24BL0KKi9TyNRsJwoWlcQJ
BVR9W+jwI3DUllIjiq0qy/wNFES2l0NFs9VGpdL5dkgvV2cdfi69ME/sQZ6g+0ZPDDQ4FPIjg37F
9iWiQQqN8SXisIFVhrdL/HlCuZWYu44p1HbiAFrVjk2Jre3jzaq9nXxuTkEdpUdzuExLwKegdg5H
m6Bl0eqLQmzTiBcYgi2gSo+2aQtLu9S/xDQdWasQH7FZdDoH5ipIVx/Lc1Q6gddfp/jAhRFgjkfD
ZPSd9Uart3KZ3pZDh75J4/safOMXh87kcHFNrotkZc4b18+9lfjb+dF65tXcYbYPzVV6eltZ8cXu
d/3uyutsSHzceN0aOqnReH5T8kxr2BQEbXCeDdNPcHE206AE4f2UpuQ9DOo0EF3C+88NlUu08cpB
nQa8wdiC564mo3N7OY7rT40noHtKubTs/+RdJDNxzYYR1+5fvhqvdLDRiAdg90wcH7jX0E+OQzOa
h7cuQn7gZMcWIeqtyzXPIwslFDA99PCYKpCYCFLqtx2y2Xjstu5+cj3RdNbZfLjj4t6DnGi92yrz
TjdvphMcOusVtlHhBXUdxCaK5EpXwWQT0DOHIgs6ZSnEgtmweNtEWYy8wTG+dmqIw6FQNj3QJLoO
bga2WQVitAiq8m80zJ0wG17hF0geBi8Ti8Y93wk3/Sk6W2GlLAyJLjhfIwnhrlJvjI7ECQGXhk0f
qlEf3M2O90XqsP3wzbDWiPwRPQvox6Fcg5zIcIYLDYIdqDpF9OyfIU+iq0V7wwqhoRbdd93p7bMR
MqwMM76tglE5XGZUo7ddfqB3MroXIIG7egQ5JLqcIjTF0Q0/nqIrUOobvba99I2YCjD+aYF+JBAx
N1VzAXUcc7qIvsd56nXvGK9tRYGC2wqvZwS5fxfhsJvcO8dvH0+NYJzFDh2ZifexQnLCwGTuw31x
aZVB1wKLtRVy92+J069FzBXczojvo+QyWqAGcT7HZWyHh/E9gkK3hN5lt3HcvqWYu54D+tqflk9Z
vDlE9Fs3897g9uJg1cUv/eBjNVFT23WIQtZoRc97Bl3sCJPTObPfnNmF8IAPb8MaumaR+Tl7djCj
CLYAr2VMF+VkRkOim6wWSXaOTgCvWVR+mll0xxflk46FPKExoQip+2DUlE5X88XILTq3KENwLMCa
gM3wlVIU6rH0wvmTGUYnIcP0CpsEl4A9SoX3Vkm3cTe40LAeXch6z0Cr0eXQM3I1RFBr7AXuF9g3
YKt6Lb2YN+lfot182kgDi0ll0EUfmV3Bu3AewiGlxuT6WvLt/stiGhEeRgrmw8sGTcRrLK7PvhvA
aLkl/gVTmVMZOE9F2OgZvdogj2ZNfxHA74EdES4QaZkL6b63aSClFvm8pyuZOJhyc3yMVvPNPN7N
Y6Qo7QTQuJSdwdQ6Iq4A3Cx1SzOqp0d8xYM6rAuccu6vFJk4uAIcfJ5Na0uw7TMapxynmVBq2kCc
OA5VHT1S67L4H4wsur6oUERbS1T/3kdF36J+ShWQipaecwet1p/PPveYXOzpqcoH+lTVUZXKK8/n
pwqt3FYQwCa+prAm9Ip0XZ2e3Kb06gwc3w2i5l1v8a6mAMSiWgsAO6CC6ILouIpcbkL5NVI5q+hf
eIcVr2BH+QD+SWwjUqUyrXBzPe8C1qTnYihKlbPgOHWkeg09RzUA1QABJ6DzHCEQVcAjVUsHrQw2
JhUVVUhVz8gsmTXVOWaR1SjneUBcZzIp8ZuKDr6LzYICdLX5fS/j/fsGhWyHvfGQrNvqLWKCJfeq
DZBdkvZOMNQ3YdIbHtU2SemLz11ixi6ED4tnLpGP9QTW+eyJ9BNS7Rb15LF/wtRI6eMQKqSiNSVy
MFbysXchpawsLA9U54gG0htBLJuEeE8G5TcV0ynX/FgUTFWgUw1P5do9fQYqjKo8qgtkVzdPZA7/
TRdZYDP0jeicniH7CIQWcPr4MKnsH8DfBEwLhdu8b8F71vRAmfQa1poQtjGLOfCXCK69adCokK2S
3uNd1HpXdiAJgDWJLqC/OqUrrBlsXlPvZTbt6hX0GHBt22DFh0fCy3YE5+oJ+tW5x58OdintG3AP
1OCICmpz98I4eudZ3/pjPVtVcb00o729TazeJhaSzklGLoYZDE4RBDQBVCM1KgKX6DHVFSb7BZtG
/NYTaYpjQxighZZjdVYutgt3vucxJhFmmHyqBLzpaqDtKGXqCulMTYY83e/QZESNuXVWvRzoCsAZ
kGmRgnECYtWHQjjFeqGRGiBUjZgVd+W/Ifs6uBfOLHRxYjhQwdfS5xJ0JXRC36lxU74vYFfbj0f3
ph4WU0t4FhZue3a6k8qowjT4UEKhXhcjEaq2fqueXmFsOoaSkFTvoeN4fDUUjKPCgISz4nZRZ4SJ
iC6zIO8RmqcIVlnwZqLcTxif0k+i3onyowNfFeUeiftV89j0MINq1vpUeTtoq3PawuRFFNLrE1UT
crvvej5eN9Q+Tum1p+oIjjr0P8ozZ8el1EXkMpLWCWd5TDxNN6N/BgahAkKMugHIFCouQDQHZ1DG
dU6EFWKGwpE/TpALy+kXU2GJqpLowipPUd8lN43f+S8Wf5n96DyFTwqpBB1slqPqIpGb6P8KxwS4
VsPspanbfmOYawpoOoghqBVIPD4BKIqQFRXXXxzYLYd4AcRuzLeoH7ACqWZCZb+659xr+EKkhGO9
JIamWNXx0dBgaW66ZnU3jgwmDJeBz0/JjmxRx2kIwWzm7XJ07EQCNTVq9ARuFkmjciW+vgviUrrJ
6Ub8WoPxcW0bXWGznJckjUjfhLZ6LeQz3FPIFVox6B50QJ26vhOCz3j7SxeVW//3BoX/hep+iQFk
3rp0sppdjBfgE1RMAH5WkHpF9c7K4ALkcmnn7S1XiYPiTk3dXg7yIBBEQ3f2Ir6SRmCZHj6FDetM
NL64gl2d0wODBvTjvopvoHNGikSDlzywjW80tcbV24Nbu0y3aS30SQSBnXr+i7JHleTICRctdSYB
tPAbrq4SY6Cobbwh5+MJIAQbrukDe1EvUwV6tABkHsALT2mRQM8AP/SCcKoFh4jqxU96OT2uT6EI
+qDPiZZ3/gRcBhZ/GYvxT4L5Unt5pLJipT26OQRnCD4QS+xKqnXtCDkUjd1luumCCs7Y/qggNeud
JmWbfFgnIMxCzfialT6cOKFVymrPwDJCt4RGiAQu4SThIxsgsx1SCZK9Mhy0hOjFeBWz02NXdCLt
hdpFEUqgmBG4zzRqJlooNbMXMWLl4v32HYoIQkxV3BNSqjKJuAYqQ51VuuzcRwI2XQJFk1lVJ17Q
vNNE8ePLx4U9g42GmfdgJAncFPT56KIS7Ug7rQoYD+aZOFXiJ/H/pKIgMUO1oYo3doQ9ROhEZauC
PKvtQWxJcWz3zOl9uu1lNB7u0QFQ8Rk7UU7NrUotMEHZ26t6Dtuyk54ofqrDS6RmtfdrVeCVxw9u
cs4mcoRP6kEyVreYS+N1xcsRj7aOgQ+7vZBkbfZQXNneH+yoqjTzaWGHTvlI0Yz1pNNTKHElFlBY
IVJ5LjS3dfm8QqgCX8aMmaWGyhJ8OmXup9gW/67ZeFl2s26G910orFiY9KypyrvzniGEoNfcUR0W
Yr3pwE/v2mOx0RU3iZZ3heOm9xTpSyGZdsQTm9GfCwbOv1QMoOTUXZ9iXb3h/a7VZbddcS8K+s1k
EHRt2fG9m4+KrnOVKjUWzTMYt8eIuO9EgDz/+aljnojCyQ/WmYsAU5snIt5t8oN40dOfj6wq6/6q
ZfzzyJxfDc75+Tzblo2jOuGkBo0+4acxgePjt9X/VsA1OCInckXjlay6P0sNejaSZATD5g1xrrkh
kt0leutjdoFSb9qNUV8nHsfPtKqiT6eY7z19/fmg/719r2orR3Cl7v+me6wOq4Nhrtfbl9drkseX
GFcHKS2gmLbtq/3FBymi+waZkt04a26GLhWIzXCF7VnsISp4bkE7PYSrCQbnT/W3VTRKU8w1CdTH
WOJC0ZkjGA/jDrMSWP8YZgJrkU7R2cxzTiMZn5Kri+CmzAM2DkycO/kAz8b9TQQ4mHVkMpIU+pts
w/83lKg8OZ7ZqKE649U8s/arFHS2rpddlhlYf+yn2eb5iBzfDZ8k+vnTnCUQ9lPRaZyi8zW0OiZB
PMTtp7XzWm7m+SqyYOVc3OfDYAUJr8Elwlii7gXXRW9fvGVZJ2u8LzZR6WF8vhp6AEJLxOG3zU3B
hnX8y6SwVCb759CrzsRnMvgN7qVViSX8o7p484rGKj9mh365e72RBBgvltdsXEGqwA0u+wTS5fqc
msdeYxPV6s3Cxjrxmt5oE0dZ6bb5W4O2+2/HwxX1arbrO771W1Ni7duZeznZznii5j3y2yCJBsiW
ZrHr9r9r03V6MQAuQHPOQeBH6az5KVmJ5qLtl5+Z2sdR78IapNlEpxBxe7hiiHXt/3bZfhM1VHr0
TdeD6uQ0TPv3WnLe7Y71rL5q9M9211vGa+MbcaLovp5ct88GOrK1de+yagSLxujPs84SmenX/fqP
N9b1+8f9WmaNs7UsXb9/PCVLKkD1Zn3WWjpJPUd9vrVYtbYQ6bPEIdU/xsvTXyKr+v8x612nZlk1
r+aYv6RWSmu3Lwyqwy9odIX1gHJwdBhvvrYjH1h4Ndz2r3ZQ19rloGPnJcZkVvUjOoMDzjO3MAGu
fk9uqVQyA0LWtxSBiS2WKTsM3YrWdXzv0hpZD9YnXGNo6p5ic4tbQOCbLTW+LWB9HA9D8+JIfPSG
Uh7K147/cRrTekbRp707DGhQ+8KcbVlGg8X04+M6SxqIvKD+Z8Zo+84R7vdoncia+Xx1iU1ERsu4
ZAIGpywtNgl1L0Qjj/vONaJmMXlffN2wpejdeMaxhwo0Bm9Ah9RlcK+De8+yTLObpFFvP2gxbmPE
oPKkxKV1wIWQlK77elmiCNtIPpZBS173LRzm6Fn2kdvAMyt/Ql621p70OqgZfzV/cA9DpTp6kV47
/bx5eh7dl6x7fif8OX0/t19qyRx8CTiLpmZrEZ790MOsMTidPxajspF6Bmvg6TqCcGe0sYcHw/Sj
awPP15gF80Q3O+1Kh1eanvMhWhDEZnF7Vnb6JnLxC9oJAXVhLIerHVhVez9ddBadPQyVBM1kmJhP
2z1yqlnSfEYEDtS3jGx6PQPXB0ft47llZCTA7EawFuvxsFVgeMONrr+Nz1YA6DEejRrhMvSvfDk3
01GGQLZs9hKUZZnp61f5/myD2Sbt2GmPtk9G0Uc9QWZ4FmUBYRuc1sQGw94Ed/xEgezf4imqV/gg
L5co1SXztrlDf3+HRvyT25+dRInMdjgaNcZ0lzwh3IeHIZcakUy0JW/RzHi7XEa3eJXj5to50BJ/
wnatUb6Vs/6+iPz2YZHaYWkOUOq8sNcse7e5HZ6sofvjZQxLpNf3QYRA7D7uIESHyUeH2MID44KT
S3X/khqX1JkNzMtIeta3I4q1qUOIF85q++C9aH0cOLkN3r3BkfvY2oEaetFx8WyVP5eiRR7wWXTv
rd3UXoZ1FN6m12vIeKzTVtcs5+Xcpy14csqjO1iv6vvb5mlo14IrLfBLetibt11kdbeAviizDXdD
5F3owS5abi0otiiI+e3VFIKmOafX3ozz/uznMKYGeA/u3eu49y7S8oGZRRjCGrwEz201kPLZmMH3
LDJCg4jJCGcRiPqM9i8jNKdeH3/dckqUXVlS1okV6/s3INPO95EssLWEXtSt48UTO+ENu1eUlO/A
k+pqOzCYMLEhMyGQ9SeOjyDTXUoTasPbjmn3C/bj8z08vQKFt9Ca6y+HQu3tBBPWZD/Gq2tsJrwM
1mbNPUR6wD47Wn5dXwW4wv5VcwKk2jlwXwiPF78cK6z/UKcwMDNfdEzkADbEDHgjtfDLbKEmDzMY
w+uQp9g05OWtHPa817Ze7a6aR0gUKA5FAlEdQKHsazaZTYpXowpht8PLeD9mclzneJMZ9tP2HNdn
SKSfPjOIiZTh1hdO4Uyx7iADjq102fGT6LB34RrXOpyia+TaYwtNq76HXsQcCP/et2udHfE9cBKk
cIlJywLsSf4E8iHjkEG6LxezA/h7RQew2NhBnI8Bbh2ms5l16AzZR7fntYVEaJGa5/DeQK20sQ8t
hjCeBgChHlxoJ75BSzl/Gu2lE1nmwNq069lkU8wbBDre9jm/pjYXZ9WhEBxwgnYyw6/Mh7N9i9TM
Kf9aNEgJ1nRt9PUAUI19udmFMQ23+hgeuBXcDFx1eJaPDMOGW2dG+RcANHUkuiQ4xPvLz5+3z3/X
NfH/3/ZVka3+sX0ez5uju5GuSWfhhJP3ujRnkdlLaKvBCC49x0isMqhCDBCaf2EQWY1/7Qn4x5sr
qPjHm/veudG4zWbFuLiAFFzaV7w4QInEslCurrwZYIAMmtLzu7J5CCYuKTC5XB6vPG76bBEan+w2
6NEVZWgA6S6ieif9YD1MbQyIL4zK0+gEa5SdyurJdzo8zloGxid970BNgb316fCqxtiKtFP140C5
JSt0owfRR7RdVV0FaKunt+DrVdBze4cCPFtnhEQ5e7oYxKIDCPJ4NILpuOGW0ijm8TzRnk+izkgd
+cEEURu7+s6Uyetlb6iggmfp3TY/6vtZzdUbpPqvctwGufQW0F05tZAwQdYPgrGSU/pDeEx04cfv
8TTGooc5DsxPp4qLeNtl6IJCq2ggCFB9deKJIlIFOUtQTjmyUKQ7ItAMkvfngQbU9CtQgxlabzTI
EyCsOw7cvf+82aa9vvq5vdoCgNBb3r5GZRuCEVV9hTfe4Bzhu9UnXOIWU0mlj3yCqMBxfnxF3zkb
odGUEAgVdrCfn7RUSxMeFg+xb1TG11YRnbiUduiG/NZgb3m9zXfDzVRR175vdVnh7yxxraweGOtw
GRvsuMdoSzex3yWqvuJTgfBBY0D1sbeYrDs3HF+LzthgI1o/WUyKOmS0W1p+X1gY0iUZ2/59++RQ
4L9j9Lvxg+0LxnZZvMbll5AnNmJGyPv6e/Fs9D1cUVFZv0cukp9DP/LxukHi92sHHOa9r6XA3Cze
xh8trNGuoQT41qk79R3+s6gN3UIDR2OPA++jiNi7dqxjekKAckSd/v52PsNu26a872JQp6HO5a/W
3+uXbY/fzFq1aIrxmvGTIds/dLsUlkce83kdTb4canAmo2IfzahtncOX2xionuillOqt35m9HQl/
nkzMKE+4u6E3/055o1dP2WPwTsJBYwl6QatzhHVR0bsMr2lJ3PXifpzeNyigfhy+V++b9/N3idXL
itX5HU2bgAYrRDoi2cy4aOrORrPYR/wUJA9QYY+LQJ19bkMdwuwU1CJwIDqjvfVc8p5bBJRlTJgN
cAI7vLjNaw+PHhyRgKvw0F3/zFCF2iPi1d73ziZKewwMWCuAYBE+8bM4o69WVs/2Tmb0fkIpFKuI
YJGsKRXj7tI5430+AyBCQ16+JHkniy4YWNYgLxC54TDBxoFBGDc7xNGSvjjJwU9drFLp7oBwSLvP
lEU+1V5iU6/ALA1J3mWC7w2n4GKZ9rx5oW73dFLlselioCrrtm2En1Hv+q7ru+WSNyIj4tr1GlTN
j28SMO5llJDfVNZYvpl/kW71f6duvyam9WtiNtz13tuVSGyp8iCw88Gf1zSFkAMPykvcWNgcixSK
nFdKeIxtwCpRHutqHPhxJ1tQPyBR1kXqBohN7qD8QAoELvUgvkgO0Hh90B3LAVg9RfceFBRAQXUe
2JRDVda8dBpVnUbU5AZkAqN7ZyHaQz8GW3/5a2r9lxXJ+kXrrc3y/f1qgzK94qh1A7EpMUwjjDiG
y1E2gkdOqL4mVGuwWmTB5hndv29atBjjQXsRvygawvl8akY+zZpMIFIATAL+Js8IpfnPK2cFWfxj
mzwftjdvdjgVyBVyU56olD9vlrTJiOJnZZFfi5avwrkXLUU/mHPfwvox2v+co2T0PWK1wrEDqwUm
4IcMdk0cM6BRkq4qpiJ+AUjz3/00j3HY0I+vYSxDR/quaC7LxpfPgik5XXfP8bTfrQXTEC8retIu
UR/PA1TjHfyZSCZeOyXL+YzOhdnQg8+IDOc2cvaDsx3AmaZ9z1z0jMnllSW6m6MLj5PCunm1o/om
MepN+8eG3bGGbkeX32JY91v53CHcvie3S9cntE6XuYL22jHM3WlGa1KW1KkLNZBRIhPxqBPmY4Pq
7SL2ywAKFwSwV58dgzygMVFCeure4nu0hmWybpETD20sU3zMDyKOwTlFOBmxRS96pMKjYt2t/aB1
I5UeMq48/DAQRsL2r4M5VoLPgjyulcxaUVlEjQka++s8KH1Ko/FpSef5itTiA/kFFIWvYhFCLSui
Wx+DvchyQ9T5Pd2UQ3InJ5dvUI3cyQ2drrxSigjZ/+bsFSbIunMdXN7Ho204HL69XehP3onGlNvB
HWbEgtXpRv6aQ4e5o9mVj7Ov5fTcz7k3jWYtjzw3uH3tSQTH1JARbD19b9qFk7IXYG8Xd0fDjBFO
vvqa1QVBxLQ/hCke0aPRUvsetBd/fvhywwK9/jeU9+HLrIYrwLonM763bn5kF0E9sboe53GLOcFY
Jia98XcKD4Al8hIRgqzZ0AeXzzvh2VpMsy20nUpnMo9gZr25waazKd5vu0GNcBkSDfwPZFB7uLEi
3+iECIFjSV1GU/zW4GZJltZ17cCnf//2At+DAn8J/ynIMcWpR3Cr7hQNyR5boBJf9XZBI8X8jH+a
up8k4VGjSn56RyUMKg9k81VSUnKA3HyON31/IXqIR208qATBvfaZZMmeXBjB4d6L12Z/4UfrspMf
BrQ+k3R+1fGDGC4w+xufEMlFoS1v0uAIQR0HhRgizQlDBwZTIz0UWE2Ei/KFw1gSlfpIg9eAhuwU
fw8a5CmX0pCFNd2eQihGwPhtPoNRC/7Gu5GPbRDRBdqOcaKuBW+j4egbh+3wJQO3WG+7hdX0aaAk
qEmwMgzbP1Ctnp6emJKvGE9JXtxko4SPixmMeLNFwhTN/bAkGXmyPgF+wmsk7yCsKpMbTExiMmR9
gM/AcyYUwSKcdSRii80OBhswXyM3jaLmS9h8btKMGYxbASsj/MMat/1G5vrCIN9yQ6nUkEZIFpWr
qhyWzXY20Emgw0+0MYWZiEb6ZwET7s7eSh40TdPWYB8MWqPPPKKpNS4BtiEa5dEpZjvmI41T2IGf
QzbcbtzmL/ovpEtY8OXR1A/emCXcA8g9cmn/+fqLYK73G3P8vWP+wvzWV+e/KDvTpca1pllfkSM0
D389z2DjAfjjAHdjy7Mky4Ou/jwp9T5vN90B8W1vaDC2NS2tVZWVmXW/Zaf1fkqkzPSS01Fj3z6Z
1X3jPvTbwZtB9ABC9dNA+Ipl+FC6ybh7BCHjDJBXc6BE5fd+2N1gEXDtINKoJUPz7cI08eM2iJY2
FRYkX+bPM20vX++9HU2yKLm0KvXvkHvvm2OxPpVadm64XgVZtJ9mCsch85PGpOPDD7isvbC5mMFn
bR27TGVzu+e2D08norTW4jHvbZ5QTg32g8p4O108LhA9colG0aQycpqXodUmFkSCWU9oE3tsKsDZ
I/KvtJLuZXB4JXpT6y/ZbNOkbPW0oP59+ia/tP6pFHIsB2A2MD3f9j5FNqdd7Ka3yMr7EetAiPgh
OXf2DmgTbTiO18YBuyb/cSExz34QeUxNPlqM5IzUuX+n4H22OkHl0s0XJBf+eHfvYS8TD/NLXD+T
nkNC23bdU9C5Gq980h27bJY5+xY/7teHB3fTXGTLitfKMqdd8cbof32Mq+LaYjev4Fu6pSPE5jU8
RF0PEl88Sc9jazXK3HvLgafveD0jHZ8hP3u9+3rg7BEWgPSGNOpJBhbq6g0xmH06Vy8XOjkdCBkx
FszevXjTZ6c2lxqK4wqeiEH6zhKYGp3cBY2CmBm5RtVY9BYU8YFgeOMaOf0hmIZrt7b1XG40LHbQ
9hrvGyqk7nN6nyc3gqPtm+N8GP54H13rF7fqnSbOOW5moFEOmFZetWwTwGLBcZ429TC2G/mV6RhQ
yqerNcc3vMLXw1AX9lxIl47D0WPeoptX5b7vV3yK+sOVO0asFDnX2hE9r0o9rZQAc/HItduGTdTS
axKaA1aiCb7KAKEuZMILjSlXc/fwmCIxwQPJr8a3Ghcjo0Uj/5AU5WlvcXvabPEdiceHiMXuVL9t
Wddvb5VDi0/NDKOX0cwmM56cRdzxD43MqyyZka1kVeMo2GmOwN+3LmtWWLgj52zsxrMsfD+c97T+
MukgQJTS4P05St68Gsd1nwDDWqZU2xEvrAl11lUzNKo5kr3roXXzN/Wj/5rAEqdd4XUUxfQxg/Bf
PV04HqdSP28eD9fGOQ+q6+zh6zTc9P6BuSCm/d898SnodfbHVbjZnq8TyXkqNjQdsZoqSHvFaZGM
tmQ7SBekVECyDREoBMacm9F8QzqQjuQPLE673T4R3ovVbs/F3ZMthTmX85QNP0GcPnDzOvw+9FUp
CYT8hGn2zuuu023j8uDVrEY2OsBtQI81EF9eacaxteoqyQioD5S+4nKswpQAJtm6ce9Jn7yDRydG
XQRXbN098VuC/lL6SdEwjbo4aZeZsgvRH2S9dCRdkUswyywuHaJF6CECghw/RHTUezB0edPz4vkJ
upMXiJSZ6DzJU8TYM0BQfCg+37F03O8uzadSlpNai2QdnK4TEahEsyrlWxLtBPjthUuDKFjKA4Mv
+XxJV7Dh7KsbAwxjwCnpvu0PYOIx2j/atXMCLJib4knJoAScFEGp/PHFtvpmaP1LD/jH0Pq0LF6u
O/++X8RofyUEYtSI2iIetNNKPyS2KWQp8HkkdBENBjrMqwhrJblNisHzS6V5e5F9iUhUQqX03Wkh
yXkkrWds6FGOpOs0Yzwd4MSU5+LQjAFkSvG+9MUpo1Aiiz1WYqJ33AHV5T13nMQdDx8hRhTUFGn6
7lm1MhWDTEQNdNibIj4VpcNB+e3hEegzDmXnJxBQ2mSI+YVk4wz1GZRmVT28X19W0ENsvuQtJ6JT
fCXEiZ/5UPkWcRE0CsFc6gHjSdSJTUMjuPJC1ouQO4NUJbrZ6l1idQlaRBkS6arCObChCoohJs6h
eGK6iCn4HcJv5meGpB6it8mWe9cqyI5td/L1Nf4HY+T3K/zZjXu120ULc8eCul7XjZkF8X9TSw9N
qm8m8b71TVE5+Iu1FuCObriGjaM7Tr2ffe6D4z0LT8l2MZk9N+kaO+iR29K4j4pSczIYPL+m1GXI
n95pgV7nr71Bc9JsDmgc+UDj2A7VtBZpTm3aeJnPhxAmgN0aUCTyxhtBIen7EAVCbVj7GE7r30SI
ulN/L0r77LgTeI5tBDgY04TnT6wzsvPF1k3PRNFMjAurejvVr3TaTNKqhbPtovb1VbH+QnDYXBg4
nuMbhdOIJpbfAIL7Og828dU79k8JTbUMpoRLRIdBlhXzOVnZNX9DGZJKpeXPkIEYUVTLadl03WXV
U5LUoi0t4xFR32hxtP5IKmF9c/lu3CjS+nxCQur0gW0g2g78T1PbZeHfV6fAv0wqQCZmPfvYWqOV
QTPTU/BWMenk2dx+VGjjSYPEbXt9ogEWDLeH8Di5kJNTLUkbeJtf5/TdVQdRvFidCMsdgBpKtoA0
WT1/dx4dFBztVTUbRLTsekl6PyvHeXLo3GkUdq1d9r0TkuwVUR85p2NWa0nDM/tB/IxKKleju7FD
a5FVY5M3wD3uq0YS14JFq7V3KJetag6dcNsBHedqwwxgFYeZFxvhAYWyae5S3LnClaKoREmhll1q
CSLjuJ5WEKOrDeE319uw/w1dBbo5PCP0izvntyseRElwW2d3NQ+QLnT3rE4QkutJRaiJVkpCye4K
+9aIgK0mzqHKDtGw8nTqH2fknChIeAkaTuiQ8vot6KDD0vkXfzv621GFkQpPy78c3xGrYhIs1qSm
d3nPyrFXvy9GEUzGwiJWgmQRAvQ5hThYyJTIsoBDqHkJIFBD7melINdhj099uAJ4zgcyWC7epP3W
1y+NKppebUNb9R+KQGQpymXZ7WLduS1pmIjQtpBTJs/xhz5S5SO8oKEpoC/cz9B7iiNaUi31QdLE
6qjFLzW621n8gQMyK61WLW38yvOcAb30rsPoh0/C2NiGDkMyZzFbC9Yq5xCKNidHEdIGn8CMt5Qi
ZiBQonnchFF9UuKSMlPC6yuqUJi1vGiHG55MlqlQsbGCpCp9t/7AU+y6jkOiUe0TBAwpJUWMZSM6
nrJItuur/5P0mlJZGpxqC9iejtylpltLrMm4MFruk3ZPgZ72Qbrda6EW1VKsMSMirliqFgrqSluG
PRvYsvpQvVKhYkptBuBRfGGtTlm3jFXUdSqY6vtpiXoVcNJ4Fb+e9WuZdTcAXMQbFJcapRdZpYlO
F0AXO0l6rSoAZeGXPnWJvJTiLVx7xNB8OnxaKCUwUsXFFvc9bAfTkjEvByBxkEuyPZz5xh6aPpxj
rAVvtL3FDwpnioT7I+2ikVVwC//cL9jKULl/KMgQv5sgo3eEa9L2MbA4Ql5Oy/3db+jzCkGdFyg+
Rih7g66tgxZbvzDMbFxe9E7RpsHmufsEWeuwD0u4/Gxp39M+sYCzHYBsWOC8gtdLECDWvzwRrEHO
dMNWfI54T/dV1eDW/X2PrOjZGPKiSv0Ir7+0uqQHJcVSSXX1QB6Ms432RZ8r+YNEEfK1Eo+XZifa
Hf0h/kWqdyG9VwoiurQTKYIHqSlK2J9eYpwQxRraMRG6tU+HpU40th+NO0pCHYWKhu1QzW3SHs+V
gYi+21h7amM6SgIUCospzqZih4v7jgfPo9cIiK4YDPexDknbEfNdMY0ug9+p9P3Odi6ifDDWBTJW
XE69KGk6w7TtDLVbdLuocMq1nzrZ9OJE5By3Qwa21wixwpG9pMxHNFCU2bAdtqFrqHjKQBixoiUA
H3DtEdIjBJIdCzilLfovMtkiFqzcME9UYdXQ48mltS12iwdsmq/AuvMc71vvhzmWO032gu5N8Z8F
cbgy07/S4ho/ZLhlYOeUEFXCfWbnbNnz/Eh7ic19pP0sqfSKcxOnLqFK/qIj1oFZ3EI2LQXK3Zei
ohjfYfv0rMEs4xWN1tUc7JDfuXGhx+t20F35X0c30f21EGw66KqZ/gra2Ha4GusnuajLoge6HF8W
wLXYMErY7P4ekdV1KltfdWMrbcFWMdXFS5t/sMdB5ataUN7LqYVjF9Zbr6uKziVqlr11aYAMAwsD
D6/w1Lm1tVijc1ZIvEaJJk3RgWK0BqUaypRp3L6eT+nW00zhaYtbfiWelrgM+jTsJU5uPnbQhl1f
ZM2rK7Ro6nTzuTf6qNfl5a2LcG7nahIWDaiC4umUYM5UWgnJnEuWTo6epaJVihLcX0TtFU5BLg14
7KGaWhV1Lj7ZEwcdQyevszlXRUzHCwrvNDk+nXkROtpwKFchmUDJJmqLQhsGO1JpPn9AKoHNxwIb
V5HAlWPIyRgcBPI3YwQevo8FOdwg/qLflWZ4P2TUZj0i8kUDe+rBM+9dUJ2ybYYWL17RRG8zP/RW
/UM7LWj8ejPtY/v6qFVrS+dOWYrz2SGVOe2TO9aFWGyA8GKy9wj1Qmlkr+VAs4Bu3Wiu6UQj6vyC
zqkrRQo38URjTgIP/sZ8qNVPAgyNOGWqmw5Lo5YrLVS7Yj2xRhfsfStMZExZeq/uwbBtDaK5pm71
vsOCiwpuOdtIWYVNX8LaoBdrvVCSzRTD9ribyxnpF1MBQZHyRta/V4U9CoNYsKZ6m/PKxF/sqzUM
26s5dwqr4e5Zx1esTEycCUvPnSPQ8eHni5nJkQxVq7eOLeSBqRGUk6QJ/0hrI94gkJBwsZUXhteV
SzBZJ35WDsgFN03fq0XdgEGC0xfnfoVYWwMJFkllFnVkiU1miI5bMgAXG5hDr5ghuFD5eNczh1yy
XjFvMCKUbrqNA6ZRjHuM6uOl2B3UbTqlxuLW3fZ/zVeIgCVPkGTB6MTLMB85kPaNjsZ/wg2TtNdz
Za7nngYh5lcMYA16jSENDN1H+rtuARkQaIBKbqGBX75O41ufxGyHIUZhyEIPXPnBSOeitkJ63Aof
Z3k9aFToTEoRxVLOys5F1xcl3F/KMKZh5hbgIsScCzav6UGbwTiN+ZNdmkgYsWJ3JIngjuE2l94r
gq0hszzJN/UIB6UqBIv51rYvbYgcdMXekXgC9QkSjkKmobPOnaAHFkFcIJ2kGMyvNNLlY10UGfqz
yD6i0MiWnlLGAxQgVKCrjhaIDGPwFNdE7YL16LHTTAmD8zud/JgeLykSpxxPsVWXJ3rcsriIlQ0I
0Ie8qwJuMkNA+ePkqh2B5onVQJcpeff0ccwV+jt/G8ofjlmKcYBCp3/qdazOcQMlS37lGgPps/r4
hIM7sIIYQhKtCl5QPd7sJrvCOxgCUL8yQImJ3gQf/med0AOWAt4PhtZErtKym1uAGUn8I2KRbIWP
dk1y+gRdPaSIh4IZhb0tSmzQVmTneVdEKTkeQUCCpNqXBFhfwpjKnxCtcC3CgX2vadhGHVmt43j4
qsuy4jcRnErn4kv3guGtLpb6MUkykzY3H3qVLpwuuvbdPtVspLu6xnpCfz41zl1dU71BBwLigvRU
H62LJQkvlxB/U5Q0Ar7AfZaQw7hyt65eJoVv1KedADqbnMZQ3sOlsEje9rnSS+cBWdNojSMtu3/r
uiOdnG3nQq3sQa8PaPaHCzfuBCZErNXkyHnGHJpR42XIouXVcV8ST1S3fXuEbJ0NRJ3NjAMZmfQw
kD6qFBVxjthTjd89Gw7oaqydobUVIhf2SRutoHiX+/W+X5wrziH7pZMiVlpWXHmOl92ItTNcB800
pkYFW9Eb435kiecmtRNa7pGMiAGiEDQHdEyQ6zSXsn99VhQkq+2IU79mX0OGjgkfThf6MNNFl+4q
7ls0kKAp1qi8REx2BEeasxQZ6X7VveW+SsYU9dNnGWeVl7zcZyyqoVX82pCujj/Csxp+ZDHDcV5I
oNkpmSBK3KUDK3dCYRo4Gs+7o5tkVRoDHPlIlnry0T7MdKtqoOlm5YXMkaTgXGw2MoAO+GQw9BQy
aM8sAroTE6UGRXFH4ZxO+eMB1t/gCl9Xk6Fu8D1srAM0AXV4oUivJc4pHkZDOHjAckpfET5K1Lu0
zt0g/p1k5PouyNGleUZ5d2rf9LIr41d7ofMCsP2aAk/jLN4wiIgw33yV4NkisCZ4Jg4eeo1Sw0xQ
zVq5Hsi4USmE1k01yVTk/MuzTzE3kT8Mc+whQ/g0PmGVlM/+Y8o7xPdTOK73YeHXXrx9DUxA5PuM
8xQkv//hEqo2/oZLnA/3y2IXWNbE38LO6F+RPTxksy3dkqMZdS3slSEE+DL/MWp5L2weX71tG361
3768G7XV/DgzGjRDQubT24e13QNdHB2vmXJzOTX4EAA/FI2wZXam6IRuS5vWVof6YuT5tWSSwHuf
eSw/ST+j2tbf/bzOzy/xBzuxvbePkCqqa4wcnJoX0A3jAOX3yR0e3pyq3bNot0YzWcgUmF7UzhSt
2OV1zdz3sM4Ip3c0LfdGuNjUcvCQc8PNawadoZMG/SEtDgU6/rl7Dd+SWUQHeasedrNV635pOSDu
8dBI6jgd765tk3Z3725UX82/Oe3/KhwYhuk6dCZzcBr+hP/tj1vrvNkG+BMG4LHncUj3aneYOvV9
NPUXw9Ss+scPilCR+R3y6P8F7OH3+fumP13w3Eg8Lz9e6R+5LIEnzHKVwbLUK2Ghb1DRkYQ0og2U
glJWLQgVLcq0zupyAbmxiKw4iyA8ajgG3NE9qx8WCMoShKaV8LTiLpHRLp2oq9BaoZF6+LGgE5kk
+KsSncy9TmWoEJ3IS64QrJ5Dh0Cs7BoiB3UFPWr9w1JPUJNDfuF9RfjR204tGryzMOKYotQgamEv
JCvAaBDWfp5JE+RLSghdtPIhiWExLxOKoL9qbXCfUaDCIs/Ex1zdkBCVhVizqtYiefqLyVsaUVyZ
87e/ZjzNDSxKzzQ+otikxuTye02k1O+tf5YGrj75M3p9NPtSYYOHABUo0YshaOCkR2BGN7jCVY/J
CeANtIZ2nFB8KYxduf1lmiD+tPA/MfpW7c0PZX03hIg3vG+xdYOpp0YZRVWQZNTtjMJ6RIuSU8ug
RqFahWpqMplXLUxOpzI9kUkIuLIc8lf1PSW4exv6I9/X3ay9GFYe5T+AFA01uCYzovkx8vZv6gS2
/Y9p549RKLj0t2nncl5vk9PFkeus4ndVTpxXgDZmhCIRRvf9egYzpO9l4SunMFXN0cUz17BVwgzk
hsdgTuymhE7xGuNjN7+/kPK9Oyc6mCtcLoLq3vWA6RSp2LmN1uPM6Cu8f3v6qRwp2xYWwvmmVkTe
P8kLfooaSU2zJ3vhXxEjAe+CEaU1ZNVdY7JAAn2k7Lnq3sipj0VZTyVTlfhUzNrVJ+5cFS+zHavu
91MV2HSUw8GVQ+0a8AoLnjV/3pKc3Ln1lMdDPRm7uGrafK0fRd8pmugFLY/edeoPhPyUoSDKZkli
twovTFxrCVK1aBOHjeN6OAgHDhGJVuF7Uw7UCjb3NIQsxq1VWEpLWc0op7SmhsDWUhEpzFBZrOgR
r2Gr6Qc1gVZLKVpBN5Fke8+Sqqr3gnyqVbRMMZ1RhRZZliiiIQ2rgiXKFSxRdHfs8SjBParQq2/w
s1UZTI1yAFHOdSFK7mRdgQlpvZISFslsmU+CUP24wEuaFA7Jv+pnGR+UYHMSP5y0ZoJLGUOatstT
ufTJLb/DvxBitmH91RPln/USiAgAVT7GutiFMMzL+hzCkLJMp6IduNWvBTvmX7lcaH++XgUKps6n
GovNIuD6BtppG77LnzfBYeFeN6vKjki5UccZdJ9Taknqd04tYqh84jRu1fXs7PVYq5zNK8WLE55B
9/HXe+H9RVYNqPGEiCEtC1V54H7iF9xMs3JYbG+HfoxnA/SH8IHOpW/+s83q++L2kfeNjCmlWx57
ZM771+OUmtTp/fTOHXOaL17WcWP709rUz+/R1JOXh2Z6aF3JrAFbO4FevelaveBc3T9cBrep13Pm
xjzh7thSPqqegsbqVA9f1sfaAWvXKRNYF1lO+7ua29+Rzp/HWehCf5tyNlfnekruKOQuxAr5enjF
TS3Z4wNsstreXg3nZ5SNLnS2C724eV3Uj8f/66ofmBRFUVubtmn7FII+TXqVxTrbxOu133d3m9pi
gYnNDqLCdVTx6t6567lxz4JxaWEDtM9uVc99/fpKm0b4r3Lwb4u/+WkPDsmlsqlsjdvEwbVU86jK
LqoFUeNZhpiHwqLhS/OulnzBAuXiL8gId1aZd+AO0gqQvXc8WhCrY3FItUmtKBPCxaJeUzhFqvpA
HYaXR5RtCqdW1ywsaUtw025qHcS+sXlk7j70LuQt5AQfwggW7UTOhkpMtGbjJMXkuugwzb5rHmW6
7G5gqKDvQKevVgZ+Ex0q0+/hIcYaHFdgEnu5lhsDl9nSKB5IfbjfZVDDMo2xjn7yhuui+qLyChUm
lhN0LCiAoEMI4McoRGSamjZgNTxecEXST1ctE/QNhB3sf9MHQgdbU2lIdqTbodnM3myiJ58vOU2K
n7dAbKSCF2U0rFZly0/HremuqGipvKZFTdYnhFQU7WRLqnqVPGhXbQfoBc4uTlxadc6sRyElYJaP
ct2DLIHnqRYD1gk8dWNgsWimmhW7hGuMILOcNtNqGSOYLaPzRsjK7tfxScJlqRdjoRQweaa4NcmZ
CamGIhFnrkBC/RnU3Uwkmgp9r/SlpCQTnM+yLbDaA9CTeYqqXGX5S2NKX/JK0dj6r92WQkKBcuW/
1w8V4FQZETCu8ps0YwD/OPyo1HfomPUrC6Y1Fb696mJANmCVBR3WcBCG7bNCyps2+xDIpzKgmmBq
5GrUgmGBYIHea1XoHQYL3JdU3VD5wp4cgBfL0amFtexoAZ1e5UN9iEqHq5kAfA1kym39w3PISiOc
8s4pJZTjQ2XN7v8oTVhKy2wZP+nkayfIZIrT7w0xVy/MeYRP8okApIUre1kFKipg55eQk2y111tY
o5uBSjwi46jFe0YscWLhD9EfH/FZkdk96HARuniEvauWDfrtTYS+KV4WvmIVUAQ9qYQnZUt5mhTY
EQE1CFjxASoNDCLIMA4UOYBvZnNuNnowqo2FYnBl1DblEkGMl24goERQA/xKiiTyPBGIINT03BYU
KgBMQDkxCD+pbyfQCRYr+rADeF1lBvjxegM6vxAN4YTDAQisF7xeAqj+wJlU3nBZaVwfVYgRTKRi
zKrY1rUAixSaZ/RbdB6ERQifKmAldtFEXS3ATphowv7YQ+26cgWKB4Iri6jr3F78qAy9xw5+scOd
BFcK3pQ0XHrqAaBoTa1RTEmnufvUWTidKdxWy1YZBF+aSV1FYWckLF3+3GUQrgI+xEB1b8q60QdW
GnROBaOXM3BR0ynqzLwaQyZ+H5kPtHUS7Ko6LjA2o5Ka41C+WkrFjkX1VbMQdThwdcITmZthIcaN
XA7qlJtQSH/+qEjmWNifaRQaQ8pQPK86wLGoFmrWxjSsuX5QaYVzQcBc4slKqwReehOVwHRF+ctQ
bed03k7Y5NxfTu0N5kPldY3AyAWFqu0G/rBF9MtFtGl7d6YVK8qrvofVLDA5Q0iOOVwNAeMqtCnX
KmEgQX+7nsaR3NXlAg/UApYoiEjZmIAiwUBqCFoAcFx1PSd80Ww9nqvp0gYhMkdSfAqrFz5D5QRk
Ru1UhCoKoxNSt+2wpF+BlwR8bsGxMEIsUTjlcRrG2ZKMbxli9EN7umXBBQNlknui1Tyg0TAbFeJZ
xcs3cCGF0epbr4hY3cz8ltsVOfyg9Ip0y26oBx9FNLA4Cw8XNTMrU7D0wcK3EQ3as8BMtl18eQ9q
7YLbEqnZjQbuDvRFly5MDh5M6jO2e7t8qJWoqIwXLPz0FzBzIva0n2JwqL102I7Vvw1jerIp3pZV
3xEFquA3RfjAqSSDko+HXQc6G+Y07OVldO2saRCl/nib4YV/jXrcvOAgpWRx37zid6l9NxtyqMlx
m1yP5U51gm6pdhepEEbgPhtTRmHaq0naP4zD7rrtcR5ikLNoIs2r+uVpT/Sd6ajrdg9DjHwnRSra
zKGZa4Up/bCg1FFdpMeiqtX6BUsZ1tmvA6HS3OSPyPtPEOSzgm6bpd71uLhcWQXuhXG26l7XopWR
Sk2KduA2EAUoy1QlRM/CSvipIglFYIpN675xodSkpF5/TLinScXtGiUpQgjQW4gpih4CQgCaudKr
SK1UHEIRq0GjBB+BsXoznQECjIb8CdS1SdO7sk61INbEXsZAmjkpp2rubh3eL8pKi9yUaOC9nO90
L2vgCpcvkHJAS4Hq5UPwu4Bx3T36V3it6iYZVVjM96hRUiAXJJrTxgw3Lc3JmntV0NDTzArVudaV
GyUW3RdKJIVKayyANb/tO5ePyuudVkd8RgF9qw52okQjpCTvrt8qgz1ESkZlUwnbBjfE/EWrsfJA
wZ2gDj8x+iODIwzBKFLd8FKVH6krkt4JhyBk0np+zqqEbGprqkVYM6XDBKuV9OtBEhr/alvye7D8
KTFanW5+aB836pYBZwHGwuLnnd6p4hmpPKaYT6gYKZOaAyxcMicslHhOkVv4QDCBAQw+AX1AaPnZ
lRJy9eESK0sUpPILGzrqFITckIQIm8R0KvlJ0L0UgyuSUvCoEBO3dN6nnwJc6cWUUnR1h3elt9NJ
gc9UAKPdUAyvj1Jk5j8pHNGzai4g/pI2U8T4ERvBsL3YLcU9ZRy6vmB3L/dIbYtCsTanv2rnFZxx
TGkRv5lAfvokmqVqIcNGf5ksBXmpIqvIScEeSC+BNf+X++4+uNUrGUR5uJwXojiZ5rnNLUjItqvw
3Z4T8yEuvAAiKj4riV6+nPiB88WDKENrmgU20eZh+d5EK6LiK3zxzTBYKp1guDJ+9VAJkQo799ep
p5HPxIoqSTWK84cGs6Z31K1LTfCqPmmCLc1z9Z0Jl98QO3d2JMjUXJIPVQ1K9EQ9OdXTWm8qqzq6
P6jCYMTD9hXDsPWJYEwVXFTVdUA8dX+rtCg8CTk4dnooUEBL/2NLy8gTwRyREt2WBnHL7MGiHiEO
5X3y76Vk8kyR6s3iSG8fKosoxlORyXhSGTIf62cdDzvFzUdzUKwWWHUSFtI9cn2I5joqFZ0qI2E3
MjzWYqH2ooJw+JdZoqyUqMyk0qIOViUmUW6OFKxYYnler9XKrCVXx6xV33gRxnbpoQRVzYUj12yS
EgPmXYtOTPtOAxr/skIFWGUjmtCz/moVL1o1HWqqxtNuiyikaLxe8lluRSVWU1NZ8Ja6Wenhlhfr
smqXN2/qTi7xgNwWVLHT8q8DVZlKF1YollZzsVV4vS/gmT1WgbcA80SeeaSaXuy1MlA18gSzI1hW
Abgs+q44Wp11nT91alen0BIi1mKn0Sf4uIxRdUYiYuLbinlWkZLwyjNdBMTu2AhEjEarbkSKw3f6
Vv2KWIvMF9YKh6irLpxcb9c6UB4uczXXLORc6oC0xbL2plOqiriulmgM2gs9I3ivPM2M6I+Qq63T
oQVaMLeORKsG/ew4mZSEplpTims2UwYhagPVVPahMtN6VFbXrYlaGFN/5XyosAhx6lpVtU67qqPU
YmWShtvYQJ8nVgOxSLEUaecUV1nNBPGDI99s2r6KbC8P7cuo7Ll9aqHRJhQIIcLhejw4tEhQwwKY
EAGRpXop3oc3gLLiYQIqnp7oIMpPlagLWqQZh1XTj0r+ivQPrXqBOhZLUEQ8CU1GOJ81hNDW18oD
KEjoLJ9cLe+K0zWZqduNfi7IKw2tP4rfcQYtFggacuPfFvfMDpw5tehSfKDHXRECi5micjXf0xLH
vwMX4gytWAr6TNjGoVefDSETj8Bmig8R0b8xWveVaav8J2RS1ECF+8U+TrIC/99/lL1mPPJGPUhL
KeBpE8rV9Y7tXIVIZwwmqlKB6H28jGVY+7Bp2Y/mo04bLRrg2qXdPd4VvbgBSc+vnl80l5epqo5A
aYoJMfDYi0AOjr0QzT8sI6iSXy/ArvMdWvWJg55UMjdeGJkWYJ19lFs6U3d+1B7pu1hznPoi3Rej
9781WcvghVVIUIJgCa1cek4lYfU2Mrpo1cHQZZVwZiFBaYZDrNQ4as2rVtDqLqx7qmjtzMSkeZqe
DJQUNKz5bXApUCbpo9BaFo7n0q7IF0a6KumhFtikrroBqp72CpuguV5pg1aZ5JeLVjxMOlrG1KRG
1g37NwEjQvQJGovF8NQ8Pekz5Zsufp7mBmVRmiZd9i6jNFvg98pzVKPW3Ll7V3pXgcKnaVdogch9
i4526QjV71aUIrTCkuKhp+RmFNVs1QVXwgJF0IJexET7KwbViqWcT8e+YBY/kwlqEyUzSUAE1ieq
kfCBZSdAzVMir0XFbKX3liud6HbKPjWbFbnlkHmMXeaMUiCub+Z6E60ZiwlPe1+WWvQGbZDKjRAD
ZaxaSSuzlPhV+6/ZatVCCdFgHu6TVbLuYyU/KEkuZZq3JePUnFUyD8s5NGlfX2SlW65yeA8SzDKj
oziSob5s+KXrEZkZm27SOOrErG+Qw6AEUknkROs6UBjhtVj+y4CKgcNEqyeNJu5eZFkSDimbipoR
/UAprUkNd2+rQld6raOA493SwZ1ph66f0cPV0yc+kVQsfZCJ+/2d8mAhGNpB1k0LHp5aASlNEWBm
8az2EiIB5FpmSrmFA+sNVcfTLKbbXV+SwYmsW9T24B4Uh8aixNOaVmAo9DWBSG62nStAX8Nw1ry5
exagppKbAjGNUn0tGKfhs3IYXIB2TMq7RthCzK+kUk0LdOBM2hxv9i68VdOWNhkMtQtBA9IE5AZ4
16quFESHftyL5vexInrtzi86N2+6oNxgOtT7CnYFaQKfU5i+hxObJELTXmkBL66EonX5vuughYMU
G+FINPsrowQZ+SZh8P4S9XxKKj9piIIs+ZVUFjzFFvMLCd+G+SFzWOBzQUtmVeo3Z0az6IYP0nTk
3rKeMB/m1tU4JalXYKaKnOIXLc6rPfonlsf+rhE1UbPuWvQQ5eDF2tZ6EM3FmWciZKBSKfsuDSpK
An+nyoFjIlhCIuV8Khnc3fu2Eob+XZLs8/Upv/VWt8YVuTuDPHlFUFxKbmvb86ACI+47woL579MK
R8JwHMMLEdD8WSXb7y87385tdZQt5IdM5l5Lihi181JjNnq6gZaJcX5sSK8BrZSV+dhz61rRKS8z
aHSGxAvV6g1JXi78GooMFC0f6qm2ovMTOXjWMgbnp2OrWk7gQQeicDGrwSjYAz9vu1nLrgfYubaV
2bvkKGpFmFLt1UPmYAILtbDo48TDTnqn9v6ZAIrWv7C0pmXqrUTcWGK3oWhacZuAEp/HAj9P+WMo
TFWARC+LTvDsAybpUWk51FylfzVgrRh1ATggNMUQYUIRF0HTh4VBTz440qpB01j8tHmVBHbd+nqJ
Nv+yEcZYAY3Y/y7OJ8H+JagYB8/yVMdXUT5uwCC9NAMsw0oyiEjtQvZV4DBauLaLriCljHioWpHV
eG1PyeI/QQszmVndPWsK0iRU6XPDT+gGB7u9jPO14IQNMEZxOQ7vv/IpepkoQi34gpBIhTsqAD21
M3wzADBYviYKZC0CVDqAatURohlB3VaNiU61c61F+gx916dpnRcYrgulHEpXR2dfQN8GOE76ZWmZ
NauV86QCLc2Viiyll8DfFt7016f8nzHRbyf8U0y0CS83b2e59/5pVV+TWnrVAwSGwzhCNAjhEcuK
r7cHIYn7668J4H9bND9Na+bRW1CmNq4TRbuSKuihOFVdZMG6tC7oih4wvh8AWci+vyzxiKuutpFi
YdO9if7hZ7L0eLxj3sNvFQae3GZIS+BesvAqCRHLUWmIsms4i5x4sFkuADoOWngRdynOuBGhmFQC
jwOuEXkoPpFCfEW5zEGblHyBiyIO3zBlSq2g1spEw1hUxW2pNcRrEZX9m1Nl6eR/cao+W3Nsj3aS
hFdTd4OKUWWzTQEtVA5S6FQgHS5oi6acgJYGms5UIRKIU9wJVBAzuKKcNNqJ9jHLUySYY4HQuuBT
qGfLRRdJJTXX9cQDN4GmRbipYGtFcJIy0s84Yj3rB+H6uks0vnWf3EYlGlIA4wWqoQhXmX9Am722
0xQMwsTChFOSOZQaCucreR9KHi8f+l1Tk567scxr5jmN8UhhFlLDmFLyr9LY12f3H+YgFPAtOwgN
Hp7vfR6I2WVtGYfEOPTp2MuppC8YPkbbdt65/YA2g2NDNX7dN64tK61i1qulN6gju8DPRnZYdyxb
ZMtu1mIQfUVmdHPDvU8IuY3PsAyQEnQ/WHHU1vWoscEdhnj9hM9SWCjWnRs2t0z7tJUk5bs9uPX9
nApwz8J459EbmldsxqvURSEmDolvBt4wNarXnhTecr/D+S56WgwvFeyKas7Yg2BC0DMVcIdTFlVe
aePjVjY1qx3rWDs9HW/QKbejdGr29qPD03F0HK0zWtyd6ER2v9XuU4cdfsqm6a2WTtNBOliNJrwU
OjvgQj2tywBQRQQP49LF026WPVemzhPWRgnVmv3z/rkyO9xr4RTjrTX/WE/XpT9ajytdHLFAYrGc
1GO6eto+bB+SqdEzepcBzeWT0fk12LK6IEpp3gbxg2gd6YM53dFgphu090/r1910Mw3G3nhrVDnU
sfkSTuSDV/kOyP8r5PpzSNifINrt3c3s3N0dx7mzTGe7l8XL/tJw4zneHQ8GfCI8tWfWg5c+uINo
+2r5g53fdw6z+ygPZl8PT/MvSie74uDSYUPogd8Rald/o5csTnaSHu0o6AWHO+4gdF7DwsTOf7r3
d38FMyKFGZndWjmsF+8c9fJt0vx6D/6afECwQ9vwbVznLWKlT75A58jz1na6y/s7rNywWl23XX+E
/YqX1o6L+tfb+suoJzAxtselxwhd33cR/f95tNvLJd376/j+eM6H5qV7uzxGWVD1w8fKar7wcFkC
h11/Z4XyJyDvwZOiUX0YWhykCVnJ+cyavZ1yI4/D6OkESaqaPORzc0wTuVdjXql8s+zZf17OcluW
YXn8F3iY+X8KbO75PUpOAduqtN2wmjwjZAY9xQAOi7tz019e+ulbNN78wDnK7ZNtI8L4cD+wRb61
bBxp6kgZ1rNtjZnnLf1x/2bcF8yw/y00v/bO9KAPY5SEc+unNTmxzIVl3y7RU940Zni672dwa+wn
9NhP8fRYoxVbN3kMe4cfO9ZCyyUpq3ycq/Ega62OjdOP8w93DixBx+wXFHe0+4w3jWBSCWsmPQDP
XVQizjOd9AIaa0L3qlEkxcutGSWt7Glzq55IZyq15JW2i3j3xNUftwdndAireVzn++752sa1fJnP
jvWovvhujVW0/8WRf3aYiLf+4R5dOfIUH/K8E40ESgCrgmTiWHXt2Y/nOnjeN8O98Mn4a7O27YZ0
TOCcF8Sq3+7u7fHse3C2oyd724xpOUrYjo/jrh4QjTtjlOD5qn55XjDvJtXjh/Gx6qnxBR6VrFU0
iaxJLU0YREvkezVAbowfnlu1RgRMGVFTHlZhvhp3THAX0rOPtsNbZ/PDg2jZpYyEUm/oYTm7dapp
DXfip6SOC/p88xy8rV4r6A5urQz0Kn83XqxrDSTHrd0MZJsBuUDLX+7b8a0ayjnQewmeVhQb7wPe
hczyIaCHDD5+pI19Gkw6uNPiD6JmkBIwbmqGXTea6x7F4er2Zzg+uVWTJBBrrg/TxRyqah2rNpnn
qxNWg7DaQGy0eFizmYP+cnwE2qfcGzSjJ/MN12yh7dSI6/ufW+rd66pxqdqUYNCg0qIVE/VdEzvv
kPhn5CP+6PlX3LRPs/zV6flOPdBamtP+wOng5uAQntdRn2b124sLrxdL3xZ46ddX3fkz8v11l/3/
i14WCH+76OuzsfEP64yLzrCecPFWUDD7+6iGoRce9jQe9s8Nh5aoTu3i1Jy4dnhc06psjtE53nlB
Fefhw7ZmD50lXvBUjTA5nJxvdbO2TmrbTdWe0aPghmCeRjKr2vXB2tcyGnE03f/bZP3fcfjMZvhI
YXHyabZYb3YH62IweDMMDhubCq17szqu8Hk93NS/25r955r819aKpeO3s2ZswlN8PnHWDs/UBOMP
HB0cxjoKoOf8yT3jZUobi0V9/WTTdPNMD4raagAQiVYOYcmimq25r2pMpNGPY/0cV0lzVrXw8etL
a/2ZRv29k5/Wr3Szua7CC6fEez110mr4HlZTp7p6PaU1SEEoeFGTpSiw3ATh0rYTPTL9NbMewn8E
7nK6tSuA0Ydr9Tr6es/M706fFqbfTl9lh8etoUGXL28Rbtm4szW2rDkfb6dp2P9mY3/GDL9Og2M4
Hj1gML75zAfdm3vHXN/ZmLWrX5be6F57v/V2HzTbeMdh5XyXc3JzU9vhcfpwvn5zf7n/PFTXwVnc
CmnHUqRTvx2qfV045nWfssb2oqHzkVa5tYK38xMMrHOVSvCQfLPmP8fj28TrVvCGxEXm0LiOI1bV
VdV6gIiTIy/CNAdDGcDX/8fZezQ3rgTtmv9l1pcRcIRZzAaG3oJW2jBEiQRAgCBAEI6/fp5Sz53v
NLujFXOPWjpqtUi4qqyszNeY0PeITtaUgGKya7JlE4Svm87MY4o2Mwo66SjoZW5Jeaj7U8bw92jx
n6t5mWVBnXeNR8HVkH89EjyEHSlz8BWG/HT5vJ3I5BvMRCjfR1CVbq7qI9MXjBQ2vsHi5mYbxe7o
iEg2fYSZ1tVA+6IviWA4pe6Pw9jQneu8o9qqfSOlRtSscP49FJS/Lqz/c/qvDl5am8vGVc+jFfod
xblZ44303no67mrNWF4nPRS1E1ceaeDU19D50i05QU2v7rnBLOhxcy4/7Pf+moGpUtfQWHQFOv0l
t781iXrJbg1R60OYvn8kk6/bTkJ+zvyI0ehE9+HrNrNYmRA9X0HctR8Empuw1vqQI7IxPC6igTxN
C1KylgbYv+8XCedfMpH/nt9LJaap74YWGZzfZWIdRl04OujhUrMyXFVaxMmgaXcH07kQ8xBFxjuj
M7raJc4mV+dguAgHIi1pHmah5txmGsZ/+7AS68qzcgof1cu7bN+A+aJT66eLx9eBDd+sqzlZ5SSf
4QONa24/nCr/ssBw8OoF7+lbsWUCn6vSS77SL7l3j9z0S706YKSJ9zPeLXk4Og3K1LawQMndKLDl
CdS6G1QW6NStHVd2CT+dRBatJ815ZrPO49i9unBGDGDhTpV6QWeO4G5hDp7bJKGrNeaftWfvrJru
nbpN3utu28qRChcynQUjxXIaeZCjgh+4aTs002WrsjEYhwmOT+5F8nSUd4j5C+vt349H+dvarcqE
NMPUxM7sJYxq0T0o5IdYhZqeAY5Nd1HXKi8D1OYOwkddWWS3ESpTutQLLuiBO13DIalRz/XuRn/t
gBpn33z+EPG+SxS/p5GcjGSxOVMpp6vKy64izuQsliwlXCkNBShD9ax5BO3EdGvqjLObowwPqpcV
vnz1WAqxv9MVpOKq9Iet4stmVcT9rmrg69BF38uwqKr/vsgoRnwomrar+YWRTZ55OkXK0K3jYqRE
OAYS96tEG+SBMumo115+AR6q/bSF/M7Uf78X0B/VrgwB1UBg7PVeaHLa3IOrfvDjlgreYaJ2luiQ
x5FTYySEpHG26YimUna3O9r7QVl1HqdHBmjh2drP20B5CNcIWBIXvH4OFG8KwzEfoYsAna2TToek
2kXXDnFTekKoLB6eEIhGdDV1yo5bZK6ij26HcRQvy8sqi7v+XXeA2KZNP42P4W1zub7Bk7TjqHcp
3w6Pc/VWh/M6c7sMGcvtgNFUdqUyeOgTPfopBfhLLO4iE2YZmqbrkgb79vfHQ4G3jc3O0/TvPeDy
Q4TOMPlCNXGpnOgFKw5WTshCsiQsIcl2B6FzHZC9tBiDDgCJ+9EYc+Bj7mgem9X6A3qLqGvZrJXE
D/uS2RGNXorcbzowoo733MU3J57qrjlMd9paWxBM3Gx1z9wcOfJpjNRabEubLiJpQ2OAC5Mb9kIk
2bAoOmsTYxSOra2+IzMiX7/MDhRj0eqBqh+AFNSFTzXKOQCWViAScjvhUFh0NbZZOHRMsfAZVP0L
VVEvx+iakCkgCjXmEPUOKPxTsIT6aWNfas/q8FQHN6tXAq2thtoPrgrfC9zLeMRWU+0q9JgMHZbO
7zc9NoKgm90L2U/Ro5L6KhRyVK+zuRX56n0ZguoOetGYMGp2XdP0ro3ToTkPtK44RU8aBxUYyvSc
Qn5+7i7KMMY3suqlqa9JG02Zown17wj3ZwZLYUJhWepqhmIq6ksoyVh65AiRWr+Vhrq6rFE/MrBC
es4aOl755ucCl3jD3+8PByRkQOa0NPHl9/sTyVHThE8O2EX16ZGOM4VFjSl2qCFgh+4z7B8C6AtO
3vFVdJmsml0dLndqPtMuP1SC/nrt/3Mq2kupK7kU0cGkOOXfMlxSaIQHiPOrdufhd2jpWb1HZ/j/
/2Yb3G2akCBC1Ve+9iGM7vf4dpF8Jdp1tS89GLYSeuGHoUT9FLNQK/1ppRDZzevdNkzFIPHRxJW+
hIBEzZRUSSLJr6pdxk5T7YbkuRBw5odtsORO87ARsFdkJPizr4Z2Mvc6RhTi8PbvS//LhsRgxTJY
JwxdYjf8crOtq3lX49ok7aaF2v1qoqNKveVw6T+ao0FqoEWe+mhdLV/9+8DfneXfb4Ehc+1Ye1Lv
E5X/3wdcGN0auaPiBCgIeoFnye49dLt0b/Ak611t9dP4JD+SvBsuBZKdn259jHwkuoSP2Y19rTKI
MJehD4hzD8hDtM6LenC4ZXZ+oaWOhQ2+bwpeivHU6PQzUBYXL0ATe5pUwyv0AdQxQMIqu/Dxw8R9
qZ2KxdeQu9j3ojKq4T/5Lfj8n22P0snSMr9ZpX89YB4kkSV13DJa6GHpEvV7B3wKsT0M1/++nX89
rE7BEDS8zLJviQ3Afw4rS3E31IOq9FNyyxAjiDTqy8rmXizC9j2Gfc+DNKofJs5Lg/j7YnUdFynL
sggeVKZ/P+o97HS7eio91uQZQ2usbzv79r1Y3vCawJsCU4Fh7spj6xiPg4E1C1lDUgd5Lae7bCcX
0Cy5I1k2OfxjqRxjHo/GHspJ39WLGzxsCcW/B+Wmn57Qn5OPjERWuiYj3zJ+AdP+c6s0HEo1PbKK
tbo3VsD++zRXRvqbGjrBRHmre5dxNjV9C1zhv5+Rpv0x63878OtcMztlJwjvhwJnn8ckwRdJHRhj
as4DtucoIt098B8OKgGD3L2ALsj7HQ+Y1iQH9FyBpBfAk3oQLfDZndRDDQUBawVufCnN2oE2/olR
q/8ZhjlbRTGtrsRCxFD+/dkqodEx+ddiHSKYS9p1riYXOkd0V1DGpIv2ldF6nwKMz+BE8Qvlthx0
3nQfiFJoIy5ye9oaFpDpG+Yv+Ye5obQCmdJWd9VOG7YLkYwUn+g7AOpC6319PdHGdK7DRKJ/bw7w
EanXbCV09sMU1vA4lEI3yzHIcJH4oDLQPQuXPv8n9gjB929PSTiiKZamGIb2kilk5d0Ko24Dg2X5
gD8iaJ+dVQoICmtV9+CwJAKERx0ejyzhdVY6Ja3gfCt2chKYkSvUtANqNxraNS3gwIuDHHVEmf1h
30NRNwzetTdprs1p7I/hk+7rLZUxKgXPpbx8ztLdAV/qkh5f4rfDx/Q2PGAfM8VK85y+1VOiIXVi
DZs1UeLv7p5D9ZiAmB2na2OuMijiVb5DaBLoleLTS5091+bNMejiuMpaWUFGh1YUr1PfHCTLwzhZ
Cl+xdJNuitDWdg1tzPsGq4tVOOouuotgnp4Oc5xAxnc/QQXHdAoUI8O+BSAAGRzKF0cFUpI2AcR7
fGwem/s0XyluK7wkghVAtp8Ke9/bhpdVQ6dgYNEfkhmYlphi/5m72S2uE71TFVCcLzRl6IXh7FNT
c9zeEf/dpE7iUIJ3YkoppcNenbVE69/dzDVcocoD0WSJMxmP8TrWEFKl75PaGqUplFyh7obASEMH
u8OKZtDNq3EkemIniL8mRueal49wCpI0G/dpiWjeddswcXRlnK4o/sQxDmfYOZhvrJ9xh9Xavl+c
9NzAHMEZPXFvqWM9bb9lP8obFw7F4yz3QmB02QDnh1azH5nLJj6ku80TpS29VE0Eqnv8lqUO7pJd
Qr9/JzI0dvf4jB1jzM4oZ2NEydpy0OV5FG6DWyr6Oh+I9nT3N8yDtE/IAFDi0ezC4RQyEMJlMBcX
WeImtM0jG59XJhcC1ZfCrhX78WF+HmQXCxgooTUUlWSUhx6NAWNZovlwrewrzj5dmyW2rezD+LHB
VY3yFiClCosOqgku3xSUUwvcdfpB7lGLY8VrjxkWgVS3jrEo+bI/yFObl1L5r05VbteS3T7wo7ss
pR0ZKFKpmFnwil17jI4P8kBhvHal72HanZr8xKHelzQO76A/7O7p/q497JBVj6cl2ahaK35nnW6U
cXIK5sWu2DUd+7rLednlh9KabP6ZOhMl2MdpZOtWl0rn72OyuWt1/VSqch3b+/17br/PZeq6oRt4
sn3EWdnGwvOGq2DHEWIkFKBxWcaWVgARYud0WiwWn4tdYu8qRxgulVTvFxXWNLBZHCQisLAVzZ0+
f/rDXcA//PoUSlj+5yJ3eXVl425rzBo07k6Ltzehp35wtqb39XWOeoPEwXJItb+wjR58md6lvzwj
7sk8efQZdvbX8uvgfZ0zZzabnbEP21/t7Xh1xkLFHmNStt+fxW+F9lcXByMclr/9jywbC67jzd5u
UZPa7t/3+/22tBkxrGDp//dxcM4ctbS//r2QIqT+Z4w2NKOLDD1CCwo5xu+33Ew6shZ1L+WaLbDp
VzhZ+9pt3HFbzvTex2VohMC2E7hfXxycHi4fD7d1Wqf5FOwoYYttfDvUMs35Trisiet6YMBWepVL
QHG0keRIDrRcbE2ZNTzGAyZt4ntKTvyfK24d/lQ4MUEx4aOLhZuwbhIAWuF+O21cfJT7jAiLSv/7
VMbruGPPc7uw5+v5ka9z1LLWKObPuZnd3vy9YxfpkKspgoHkCA8yIg8xiLXP05zpO+90PLq9d3eK
sv68J8ZabzqdKlshsC/bcziGNroi0nR+5Fjuk9bHMXSE7RmARoYNAweJR6ww6Q429gmJG3yrGWKI
+Yc9/8bvrJ/8EqZ0/CFAuevEPUY2riB8jcDciK9Z7whSn3fMVulKHWCptSqccirzTxyOq/p/h7xl
c1LHxy/raDDDvOJpi2nA7mKBmedADOMG68YK3HdlV/bC933d/Tz1sYtCe3GxwF5rMiGE9XGDdnBb
u+EfUXk3zP0K2/hAWGORt15SDx9bPKxwuHp6b7xit/icTCZPZ1K6u8Xu8zNm3okDUe0ZcXChutIT
JyFORXyPpcnuvsOkE4wVHlYRRqR4u1UOJRCSzwkMZl+cHSWNYYjxJK0tZmRln1Cy8nlzIixn12Cj
BoPdw3TI2WT4aYaehDaKYiuYNKe+QF99ZLQsxOcTaBKUQT6KHo5BlG/oeHKsZ18olyx/vaGgr+3u
Z+GtRbPRfnsrJo03w9eBns0b+tQ9vowq5BOx38v7JkcZKZgaP4QBWd4TxxXHz/iIXbJuvseExU6x
DSY3sz82UFDE/9+4x2+zGS8ayd5s9qaOZm8fqjP74GBPD0dFQomY/alT45sZuOfzKrTFHzHHa/w4
Uf0Zd/AZpLmsOh1X/PCcYGJe86J2fF6e0Zygxsmn/aXPvs5fQKZcKi29gI968FWONYOQEbiBa7nM
1PF2exVTq2ImVgx84beGYofLFnwP4Jtl/Wp/AcuygJcLD9GkT3RCC8uO3DN6Fl5rrzquiAPnFS6n
RL5ysFyeV+caF2pxGdQ/v2MUKSxxSSQLEb8sggVex47pUGaAeUoo+/qy8IcdBTeHRVFDaY7nYvxQ
BuhKIpd8SWcMXVVFFVvTiWgvm2AtzVLjclUf66kIP1zh1R6/Y6khAs5+vFX5QjTmh9yXr5q4zPdX
e1p6BOn9di/uF79AfHCmIiK5d3fv7kXQnu5x5WDdwf4dA3jxA/HN+15E9Jv9dAk+zNPjMXXf3/kd
CyzD+5F4Mn9/31v8dTgnFKyhEzkEAtaz+fxpD/3h8OqsT76/9oc3h2nrf0+N/nBh9w3nkzl7Op36
Q0LLsM+Q7vf7WHT6pw7VSfimtt/vM736vGZ4sk+nB385IbTqL67OiddbYHI/LUd3FycxX7Fy9xf9
08KPnU+4cb54l8ZeiEXUdB+D9RAHEp9tk3s6sQzGju9z4H5/wQd/eMsTRz/9CntrLH05gbX/a+m8
Ofzc//63NQYTrvilq8PpTvreZDZ5E3OzTxCZTeyJXTmzHUZ2b/z3PRUBxTCNPUcsl/gYfsxGnjPa
bLAHFOPofGYJpRbK8jv46rqlPWYoHRiGtrH4HnnwNwCCMDtWYuBtUJazNzOm3ma0wdJ79P2/0B6N
Znfm8GbkjZiV3mYk3j3tn2N3xOxbivH8xeTiFYQa+7w8OF/LbdhfLp3VebU8L1n2DPfMUWv7+1dp
aQNM8/AdtDExhIJvYw/KyYkfbLdMDr5nbV+yum/3cHedMas6f0oWtYsjVlHxF2d5cZbbf6/lmiTG
+OscYOjLhkzPRKUg9vtaXrdlGIa36AGsdl/iqPoLKytk0dAXnDQTeRKM5YlB/v1cG5DtFa/Av490
bqA51I0ZzuLz3bIZx2IpLxCPZJTfJ0QOVmExPf73P+/FIi1+Q+rn31NIzKZvi9UQ2OmVi+xC1Y75
EVY6CGNvMV/NvdxDMrszRi4GDpDHDCzF7QHZ4+RUpGaHj20zvxA5vqhrixzI5F6LKIYjjkglZIiR
Eooj1PGGmhPyQWb8/VVcAWvk8UhOAPbFe2/cxoVHyVlT2+KsDfwMuRTxg2wI2mgrOe9i1Rd22+/C
SlvyxCxHM44sgb/xbrkjUs+O/0D9DmoCJFT8VoJpBkvBwMtZuGwbLFeRo600t3JIHj9Pp2B6ZS30
1ygZ2Ivke2qIKShmS3/SOBPsZ8V6+Lmb4OboSb3ZZCISVtDpoE+FdSRbDtRj6t7dK1xhC8q7fn6y
RFbg+OnhOifdPZlrEQauAHDhkvFVudina5+5flpYHpt/5jm1bneBvGPl4Lhu09XAYrJytHnuSnze
PQVFXuF9/UuhQLCwQN3U2Fta/YwlMPteAYUgnbqR2BiMm/6DJfHhBCCDA5weW5etjuBBC6bF07su
Gq/FK9pkYsMmd805yL7vtVxAisVi2/IS2YkW4r3FkvlrYb3CDri8x70mHNz7t5UwPWNRY7WRa+eA
Gp3gf4oP+Q0SSt/4Kg5OJNlouwgBBH4imE7/nkUojP1tFnUBe6iWCsq/+7KS1JJRhs9SL9Y5oArA
zemsoISQOEo7FY4bhfAClldahGFxwA6Y9tFSj0d7tXRov3f3fHkMw5oc7/6mfERBT7+6B+o2uGVK
jsWAIzUlwxMZZLiCbjjGZH3+HH9LIzJVYycQPuydWf5wQ7qrEP7pY31Syyk1V3/TL32JqHIUpGLg
hyQMWcfDnZWSPqtrSfX2kDj5kCa1QXkFBT9bwtFxq8CVkd3OwWs17/tv2txYavN2X9bjAjwZVze/
wrvq9uqhSHrYHQJKjFj/xeMw4Ld9a+TA2RAUomYurzKWWEgr720/3aurw0ZdZG5WebrfKvN8XBAa
rEWouXckBMMfFnvZEPvA3wMde8SuYdKHkgHEvLagdD2+P+8VhSUAhc2+mpijOgXqpx5sUx1fgE5R
PBqFAPquowr6D4p6TPnuTKPOhIgnePbMvSWL60bd0bFLVmFnrW3SwxIzxo+cEHMyJPGKXOnlwfCe
e0WAQiKCX1lPx0C2cIgD6aB9Q4D+XI20ebblAVhQECcH+qqVLWOGNYg+c3xQ60n+ZY3qefKee5m7
hbnnWusunvFEPSJj4pCKnL/Opa0OhZSw4ZrewRM5H/kVJS6qMOBwxGJ1h62kD+AMYMhEl94W2jUC
pU8ncYTx7+7aU3aJhwoZ6NU5G/jr3Lg5j/d7O9V7Nevj6jKgYw0oKLS//59cx5fn8pnTyAWOTxIo
xFTFZ+qEI5HaseNLfmVy0HQ6kK953CmhXJge6JugcEw6esGpkzqUFH6YgtKfdQCeL3tVHSYbcKfv
OsHnhx+lQfF//1/y/yri5z00D0XBQgaseE7ZFIdTFw6383CFGl40eAwfw2SRz3LqcTYAUqiVo0g0
dQd1v+6XfUE0picqJEVRQwashpljucGc8ZSSf2GoRxoDdIdM5kSCw5bpE9KpnXwIiQurdn+xPYR2
pxDfYQzzIcIfze7eZaBuM79cwy7jU3FF+g95jK96jxREPB3C2je/Q4EOG44E8ekXb/6H+/RHXZmx
/wvgTb2EEvPL3j1t60zLKuXpY/tZFYgsNaktZbMIPFXc8a8QjAwYQQEd6GZ7pcEvp8tO9Wnoidte
lV5tDLRnc7pHo3+f1h9ZCGcFflJHrFNRNenVSs/s3tPnpb60vlb6D53+U/1pAhuA1C0df+zW/O0W
aIpJsDYtgw7gS7AunpLVPDudxr/jZZveL255M3uaOpOwWy0zeaoqU1M6/vsC/1ggxAXCHujKpmwa
XV2Uvf8zOu9l2NTpjWMe6vndPCrJ9v6YlXfVqQ4/pHQ/HekloeuUF9MoHkbjB6V/IGcJP8PUk4vN
4en/+5L+9syMrkwBSKN/KcsvB9JLpdax5238R2cEfkEB9tw2+wLxf+3jwEr/76N9J6K/xW/u4H8P
99JiuxuV1iZ63fjl49heQ0dtzm2quKJYSzW/Pl0SlAxplEcA5xMkMevn0+1gLt2a70a9NstFAqrg
0qDqIqOgV5t2bYBrlO/uvf4/GMz/PdOXKZbdSyOvoRD4SjougetLHa9rduy8dDKKE1dp+sOd+WMb
+3JnxIj4z9hK8rysDeXZ+AWdAx05nrKd6M+NmR5ODY4+B9O7NWigWaHdNLFNxu/G3ApDJq3VJVvG
NKPZhp14nD+LVTfC9DX6aaj82ed+OcWXKSfrTdgUifRr+DcXQASjqHpnbjqBpDvMudo4UejWi/4P
90Z5XfXFgWmkgckiqtBz/P3eXORIfyjyrfHVw0c3wKdQ9D8z+I7mPT1VCcgfeXWLfOV54iZ0nmMF
EfvYDN+tYLQ80GqYSbdh5jzDz3+f199CkCmmDdFU1iz9ZYik2aXOjWvS+FVneu98NN1Nqo9idatz
igadJeuHoKCIN3yZPXQLxa1gZBqggn+/D3Fs6VpohdyH4jKtohQSkWLnNLfqO8LuB5Q/ksxNWc/A
D2Wy02jgioKMc9nfAAuJ3KazuRimrdW52z3UXmx0nJLav7yJ8hhwmDGMDOOH2v7fpvw358roqnpX
Mrri4f5nYAfG9WaGelH7h3ISSU5X78ej/EaMtp+S3U936jSm+LSfBJPa1Q9u1/Q6N1xMq2nUy5G8
y3f/fmh/AttV+rBwwP73+bwE8drSYrN6VLUv71U6RaXzLNkKJqoNcvTJPvg5uNcLsvHOwaFyFYHL
WmezHY2mI5s9r0IA5N6/sC+gAgzb9Idw/M1LennEv53dSzwO22tVxCFntzWnBrtSq+218UC/zVI6
SJF9A4m/uzaDLrzt2guWoZOje4EwBu5lyfHWsbVVBcZnqUyCxZMSykDZXwZnoKhIp5Z0hakuVktz
T6KiOOHyCWCMhrn5iQg1CSEVHoAimm2RcB08lKdzOkw/ELO+2wp/XiATRlZZuWXlZS7fJTVLrhHD
IW9Fj6lJnTuNcaTKtyV4z5iN0pNSPT28dCUfdScPnPvb7Qln87A+dOxkfBsu0JQ3KU0vDm+PdPBA
eBgaMLviNThZWmHB3OAqM+QdNfuUDnJQkKED1KpeXUZMmQ4VZpDb9TaInej4w9j6buj/6+peGt/d
ThoHdXuvfb1PpC5mRQn60YGB5mWRm4PQhv4Ska+UMHERvSgRV8EXntL+gV3iXfEaquj5CeRmxv4T
q3e2YngC3aYUa+ZV77I2Ivto7bTt1XDy3C77BoHuo5nQ+LzNrgNrJ+GBiubDvmFowrPCxJmdu1/t
n71qHVIhzqnWS5g+2iEAisumdBSMQTAn+aQBni8reiVPp4r98v0QObcUdQarV+n966nWnQBm+1Th
tRu65s8r9CzsThAx6wEY6iQD6EtdULrPsdF166OxBbN40gdMGGomjZelul1tgat0R/rVMc3Bwz/s
2p1GtnGcQRFyC97NcO+z/K3x1Ck926torNbDdpwMKtNRkHqBF9pAtK52u91llvj1PJoXAwqGfbO3
eNiXWfNR+VAsMSa5Uug4bdLI4QfUMKiwfD2Wt3m6MZd7KnWiQ8uwMHsGBY2JEJ5Z6h7qKcXi0rgX
n6DQeJ0FOHD0sjx0vGlO5BY1EkgGNJ7Qck+n16IfsWef6ezaewUbtsAJTDYDIYCD7ASovbLvvRok
ac94i23+ptJTK8eV9MN0Ul58IoAPfYez/5lPL+G1MWvr2u08CGfzDOgqjKvKbqc33Q7G9cZSAbfT
Adec6ANi/PrGsJlCpN6a7+3HfZ5v6H5fB4bmSBsIXJ911mu6g/rmXzQc9cY1O18G7jjw2ANLbIVv
pVtxg29DaNb06rPb8HFEtyntOHFg1ycVLQHJjZdJx4lMhJGbMU2mVeOWy/j90Z1fkRyJ7XDOPhpr
KLq38oBqCd0tShvhERyTCeXpiKxislZhTiZLpenHjW1RcPTw9yunkuZKbxeEzBm+4l1g7Bm3UYVN
snrMjg8q8nRk99f+ovICSl4TiRKZC5gic+vbkPEYsCKC359u4LN7Su6lpJI2+2ZVEy1x/BEyIWfb
IgNSr/IhwwCgCFOlMw9Wd+ybZRDvzi2m3NsWTjXruM28M5Q3HfdLZgWmDu1fXZC8VKYW0cOG9tmc
MD3yrTfEjjO3IPougdctO+NgRSltKDsZEBgoo8ZXx71yWz3l6ZrjMwGKIkLmXpJxhBd0e+83aI3T
XqSXVLO5DHoGVe/qnd2ObYmmnXMTI29h9dH/GWUwZKCnoB/Z9rN4YS1i96I7SeyWD0rrfCtf3JZa
29e/I5/8J/+TcSgDDZYU0Y2B+/z7Mq/msSabybX2JSdZ0MIVOMH99epWoccu/k5auAxSSq30hifN
HURIuML50rcmKtHbefYaarZIf40rnPgO/QRi7Fa+9lKUZCjAepLpyhEsucaJrXEGu6Y1djpwADaZ
D6CAm2aV043sBpMq96pVpvf1+6ZMtlI2YYXsA/S4r/L7psoaG05dfhlHowtKLF5bEjeKwAtR1x8k
46qYmHMJWxBzFiNbxr0fBOv4K7y60r4t+28hkbubuvIHEI6UHO/Kt9lW3eLdQTeiWERr3c4+BOZb
Qe5hdmPJTkB5jEupp7E2QRUqLr0UD2PTlo6PdwakCCIbBaBRb0Ok0x3pWB45OwG1KZxAn4LiqzZp
3C8OrhGNi2x0u9R2UztJOYfnmSLZdxkFWHIPdWWT0SSfhMBAQB6lG9VGYKA6N5c+bUGmWe0UO8qo
T/ewv1Jq/cnA+68r3zdTgTYEmED5ZV1PtUsG+jmp/RAMhwVYx4l8cGsnhQhivFcAE69onwx00tHW
D1n46WHbLSnskxVheb85964rNV8tRpQTeg6etVB+2GJ9n8LvizMdEph88DqAsP+xfW/0e5rIiV76
gTRkj9ktZ4WyugDmuei9JN7SBL5e9j/Miz/31xxTBxJtALfqUlT+fVpYidEe6q4KlDXK54lW9EsL
WD800/orRiMpCnFzlsB51tvygGMgrGLGVjfDMi4fV6Zlx7dhUWs/5OTynxsJdg9gXEGpy4I99vKw
aniweRGkDx+NHKWxhhIbplKXHKPTo+DQyTOEPPYKe/BHrDkqcg2GlbjXOvHaEDH8H7Dq3zWGl+ei
KBbAH1XWLaDML/dITp55bsmXhx/cVTKWJvh8qiSERjV5Ggf3rpRD62ku1Cwa5FbFzzMvv+fOrULW
XC1/GiRivXw9GV0ToOMuwBjKbC8P7G4egiIWD4wGkvaRDUFDwTpimjsPeGL2D+NDXNvL4eg1wC8y
Ld0Ushi/Hy6uaqWJm/vDl9rh9elcpEmjDWTYO5fxMx1YH9bdvoJiVD/S5QVY00/tc1W8/7+O/xK2
AfiGsRqVDx9ZnRYk7WFetHToIviBk4M6hkjXHNWnf7m8tQFRZyjLDivzA7BQvJanB/yV/bgXF648
bdElbbaF9BWWn+Whx3pjRe6/75ahGH/uuUl1FPZuGgIbXYDvL/crsRpdKq8P30Q6un03LwMlnHdR
38MQEppc6bazFrAD2oL4PPc6iaPO0yG7piicvt9JUSPPek6UepBJbnCdJXPrYPdE/q04PQU1ktKR
Pnr5x3M4jdO+tJFZlrrD+pwVLjIEQeM+yn624A1b1qwGq+GqtsHZtass8LRZ3NMPjnYjn5oVo3x7
mTbdWRgM1Us/3l0zt0FGoirnj4t7OFkx2pqlg0Y0tRytX2U2WiiPmyhoHwKneG9pnnY96M0InWJi
RX+NTKCBpOfQ1mjQ2aiQcpXXsMLRVcNQvXGvU6CNWF4bVMjjJ3xw0L+ypxSOsYAjpdhcUnl1MQAE
/ZQOc+AaG2WpgNb4Uj4QnyLxOfA+l3VnfIHThHl1CKW6dq7bVuD9spO+KaNeRn9imo60WTq7ue34
dryxT4v7ndqrBeXIDip3OmzPKYysu8MbaM+53njirRleat3n/kj1OeqM03ZkHtycVbKePqq5BNbx
4GrYJW4vazo6lOx1ttfOve5J3RnLd1t8aOxxADcXm9qy7IIqdjhS3VJ3eoxVcm02xuSpW7RZn+S4
OqYVsIoXSIke8WLUTz3r80bzu0ddJqF1pfYaID3TKUXzgv0mvg9pL3xTP8PMvm0QT747lepEXrKL
xiqOfw17xTFiJqI3c+9VX2nuXWekWvceD4KNGMPnKQjZnbtrbgFty2uqMFEsiMzPnbZ4joAnedGY
nvMm9qxesjIXiIO65kQd3EbktvUp3/A2xSZBJ4M1kQ3FCujqLA/E952HoAJYsiNrQ8QAjMKp4Xtl
NvPODthXleJku3TrSJp7Bwpd+2h286mJ9gJfaW3JcAuUFxT7Qi0MMBVAxDeyiJKN1qGXg7DSaV6a
ALXTPV4tnMyRxPcg2coRztrGRK3CD3bVvj2bo8IvpuZbB5WXh20uquN1CWp6ca+EC2V7PozSuTWD
HnbkMt/bDZvFgq755SP9YO83k/bdabhDkH9zeAOALahzm8e8WQvBmMuawX+P7Gxf7U2g2x2/QFSq
Fy6SYQOA4k0bw5ObZv1yiDQ39wU4/9PrjuRlBPR2Je3TWTYjFIw5c539whvwbXWdTMwlEmH1uThb
k/x4XdWrdq2N2x0Jl7EmMZrfp8UqX1zXIJNMCiXNtN4BtS2O1AmS98uomKc+GRzya/tk3C6Aot+P
z2MXsCxQs9RGlppnx5KVDaz3+zbGkYGiVoFAAxwNyrR2M+02IlF8gvTT7RL+eujgwYl+YfbB9ISg
bH5K+ytgRaGGU/PjcwUm3rKrc/qRzppZtK/HZIl11aMaQ8NOO155Ywxpdsn08d6g/VDa11WwT98h
mbOJTSbxNjrfKALgC4FRVk+edbbtXNlfF/8PR2e2nCi7heErokoRAU+ZRBAF53hiRZMwD4oMcvX9
0Ce7dnXnTyt8w1rvege60lCbfVEk8ivY4jQ/3GawiRc/yho/elTNuPhExniQPgrOjtXzJO6Uipoy
Pgnr+t6hEoJh9ZWtnk61feNiP7n2PuJzStDm3rOvOnikGcTNmYF5/i47kgGFh2cCxVALMy3G9OkP
+5vnn3odLji+7ZKAieKf+vf5e27Ek/pb023RNd0/X6I/vU/dcKU4mAE4ijv5Ktw+WOxAfl53hrCz
QRNxE/t9euFR/opt5TAbX/nUn7D3Z/fUxsYUVy55w2eKjtBYzGrrvXB9bUc3LkzGcLXstOnUmn9F
x+YeBYUne7GgFwHVeXWNAmw1YhUVuIZ3SgJYeWbjN/cF9pE5dp4ajyW/52dct3VhL4A/Q7o+tCuL
qKXGmOA3ipF/tUIsfQl3NVve4G9up6vocAp3pnryppgsdKp+ukE4KXzxOMEBp7FH1syCbN7WRQm0
ro6KMdH7Pcss33BNuDP4LXe+3ZHcaG8bonSTr7FV74vjfDUW/M9v+D3wWAAvveygBhPZULbD6rmM
mIFasjOD0mzGu1CBAq/68IAelFMzrV/HI0CwKTdTeILprrLUZVZpXvd98biiNLnXoDPwscpjr90n
ugfFHmUtfANs96AEn6EAwpopPdLjV2wtl7xCnYwvDo4ljN9T4RPmcQHdk0Yntn6FLlfLoQcF4rf6
HINJ9yVUHs9C/w86VkKy58CGXsPTMGf3MKi9m197DUYflnQgqiZ5a50Px3uqz1Dd2iXQCtxDHOuC
6lteh2bOeWYl+2yqSacSD7pvTkkzc3sHXKnR3qf6IARHjtGT36wTEKpSR0J1mrtCqcUuWRXS6J1Z
2OXqSHs4/RitE/6c0SGkh0NngWNNIfJ7vcs9OtEFqIP1aYDKpyiWkms88VyTDm/xSOvo5Hb5G7rt
OQ81BBaWJ+oLNw63d2+in/6mGGRVoFfvpQlTBlccnxO6MeZESq0+U5MFp+pIZiAggEDAqVwpQHbZ
atgTWL/56MmBzCWcG3iAN+Nu4VOnEcKmjEK/6fr2xQt/r9kuKJ938YZOoyEm4W7Jy2Yz3gq19pF1
BZDHiPh5qKREhug0mRjzBbTuxxb57n6KyKPVzGYtah87hL1qiCN+ZwO2Kp0m31kFoQFZBbfZjwzm
+lpOCz05ildhP4OoB5+qcxYG1YPszY0YzwBX5Ia3ytI48T1ibQbLQrOIqTDUgs9VkYf8Bfvq+IId
oxzD64De/85DpmhwJP01bLjJEVdT8+hAkMm9u5D0votgJYzeOR20s7g05+swKCBe3wtbWYIAnjOD
yzP35MOgUMmPz77BeezA/r9twGg7V9xwcR7iTcwDpYxQTwMagIECwhe8GLIWil1CHLd+b8v6e138
3IIJL92MvqrVdgbvoNqGAaoUsAjGmpACwlVI7Mu9+yxBcHfwb06z7emdLE/lHYfg/KnLYAWQT7yr
KmnVNv4tjLjXtiwnJ4OVGZvGagJNJDR4EbmOy2Lhp+7NeIyLpNj4w+iX9MXtKY4se2dyYhPl/Dg1
hnoptEcClGXwLduHsFUswyKlMtwRBICh+swYXEJeq9YCvRNMzqhz7Ik/JMkz2bhhiZ4VUIdKj3sX
myW2hbESg6lF3iWk75lhNTgIN7a4w4w916KVdxslP/jGm/0dJcYebrmk3Tnb7oMrYD93R2Xz3G1f
+3QT23EwKS3QDK29K5v64+SpSbOr8sKBNnQFZthI5k42gHePGrnaCNLOp8u9yUdLND37fu/0zdfy
i831d+MwNipbmEMoV3RJ0MTV9DqPdO46SBq37XHAVX7hljvKjBv4YqMRAbIOD1RQR/lcGjDMh6AG
6uUXd1Zs1hzWabjlkzegJOSLMZqwspYFNaugD57KE2t4+YfTwEMKqJxw9kc5xYK7QoEptW1ioWbv
gn70lryGv1OY4kuOh9a4fXNrKso60SNeEqAmlviXDwzlxO9zy7oVy7eotWuBquxvolcGm6zQTwyk
IJWaBIWnG87aJZGntx2OssSDGy9qJXBxE2dPG72gXlFI3WlB3suKcCthNYfABxlFWDqxMYHKaWi2
fEGaZndOuKtG/syWg5VQQKrF8V5S+B0/I7qrvYwSAZPIsioM8qmnmmFJzgunnsv0okw1uqNUY0DA
6Rr5FJ/X5EBi36GqtofXKtLpSbpvxfo/QBPpHTlx+FatCPSInYQtcAY7qZ1DO584pQJABApGGelN
Nt0f9eMHaQFfnbJpfqK3n/0VAABw/RtjXwXfjNueIPEcWm9TjEzmARjQ83k4MeN9aZjPta/6oTls
gH2LP/mF67y00JLRkd6cZRr8gWbVp6bwNdObC9ohtAed8V5+ziNsNzE42Ytjbpn8ynxfg5P+Ntxu
x/oM384fK5fNdE8XAB4YJOZnrSsezaPFbRrqupxBmotwdTVV7aEsZUsHfF6ynIvr4iu1oDwG1Kl8
ThgO/hNi46k7JWNCxBddg+Zhv7kODWyeD7LOnn1ZC+M0vuct3WfQuM1YtgMmC36OsAtJYMTaUdax
DB/rbeA0c+F3DNb7QNOT2l5PSDpiEpz0Xtvuu8HbCfVJjQx+n0Lh3X02NEYcAU3AoRotoat3v3PL
QyWgkNHJ+O82QskdIjAPCE8y35cTw5WBk/xnvqU1vnvzSz/T5cqnn0C7yvWDrf1KEsz6W1HQ22tM
UwHFMfwzCL6Mkc0U/ueptQfKoZDRL3xcwnvm63xTXzmyyl+qiRNXCZOd29SMtM3iGPovZ3IGZkp/
bu4AMJ/qeWtlc+MYQ0hM9XIwGref6/AMn+YP7v5ct9eRG0YI6BHH2RfcOsdsmISgeDGrILs2W8At
Faa9BKYx3gWpl9xGC+AXvmXHRwixYtSyvAajUq3no9fJQ2/tOay8ZIWjT63pc3pXIGBDJ9dZZM0+
rd7k74mVE4yB4dcKQHX1MjqbWdtW3HRuBTsPpeKh0OstUOtKgCQ2qlqYNRTZUm71CimyaXysIcgx
1VZ1GQEGnfPsQf1Ftmx9aq7etblCD02shEkt0aorpODiTJN9PGo5RbFiO7ZO8i04tzO/tvUWzuvU
cRlv5+fe5t4zI5d5OiKeR3hA5enAXV4eGUpINj3KETcCZDivkHLIea6P3OwepgGnBW6GfFsGRqNR
ilngfLuDOeCYsINf91bHNoxv8lyb6rCrPLx20eQe9wv/reO3NIPAfW4ZGR9jXeHA/Pn4SiD8qVqr
yytM2hk6g1RzcQeYX07OU5+hS/u7MG70SF4FJW9LLOLY7oxWw/kvBM1yWc/gRTOYWTIjmT0hP2r6
B7brVn+dFkcMgJga8eX/ODKy3WQtu+YmSs2jDrl5lIfyuAsqoPE6016H+SW2E0pTwJIZhySWk8jY
npRSn2CxJRb3PhamNcfem9DUHkXmvr3XoDzzTRxEW8qy25ipMbPf9/d/M83YSB/PfbiXdwX7JTTY
LEd9vkStjIHSwiRJUjXb+7B8n6BCnxfUavpSvHCRo+3cl3tR02BN+xWfcCutMjzyV3BGWv6Ht/Wk
8jIXu8LONv3S9Os1R022UU4QOl/6AgnUfVxfZQUttPj++//AltldVczphqKjcp/rwhxH+9TIv+3p
jZpKWHdnGIq8hQnW7ekB1oc+Zxx2nmjjaOrIFgwknYMh/Wvc8KNV6xkXP7W18/3GJxkQS7VB+DQ/
2sM0XafL5hd2BOsssae7BOqzwG7D+xQXOStboha0x/q44YAWyMotnO6s2dIlucc6t7uqOW9aUNPE
kBwXyFWk6ZvnvkiNgrqTt0ZH5Ubmtz6As+G8RTj7ebJtaEqP+ia9TFQtsZ+iiWpkuuzNNjCzzduL
KgvTy2HP9acT4U6zfAA2o7jB50gbGRB8J86G4ki7ck7Gk64/avbHetS/LSmnpH/xyDQ9P8QPzHdC
3fTZP1axoTZCiE0IxxemcmsKJ0VPNhW9fXOQ3ejaCdgNjFv8+MEIn9+UjPuHEhnCbVjot/OSG6je
x+M8puQ2JlJQu3EcEXVJoEGjegumyz5gFFfORvIWxrd+2083N5JFkact/MzUKYm+swzl/rj54OhZ
9A2vIN3PTOX08ooGpUxMFiWWs2jIIM+UMICWgz+5p5coAFebHcTAZSSDymPdoKLIEUmyHF7wLCIE
hqonOSfAgdpsVx+T5rE1VD36JYDOpIjzue2Nl12O26Z9bC2AvPv/6gZgRS+W9R+m938xUfFf1nZ4
a941NXtX+qHSNgBSySHUZyQ9qiZHz3S7MFw4DKQBoNivr/WmIrfNkilXGN59EPim5o0MusjygChv
1xvza4N8PWjnSE42lsWCkn/jYNHSJYtIO4dVGuAyyYWFzJTzq4ZtD3g0vad6pNKwGquBYelg1RoD
p5gKNXO5Zj9c86YyGMqZEXmqWdRAaNNCPd2DfZ0HiEBefxrv9/IPlY/t9jhJUQNIppVvJl5d6tKT
Q6I1QAMmy2GN74De+s/jmwqHZK//wKMVb15s0C9SCrGgeG3j4Lbi77EBxF5tsYuvikVvhkUwzeeL
9uHOfzB34d/QvHjvtbKqvOg4feBXA1ZDj0jhvzwRyKSNMMQIQmbHySbc8jLtO31e5+W91i25IWKT
ib5Q045b5QlWk5XjEblt+Sl5yePXFPeNikK3hC3kSpq3axIIPbkfmWgpP9EKwBkyQH18Opy+fEKP
tzDzeRJjUuPt1B7G9tihVVEe/7Xr671qfWjHsQgAS2HBkFluSKdt/n2CEQCYaVkDD5JDP+QoeRuK
xf07wUAGQIK65YSf2A39TxAavSebnMQEO4vLHnD7xSbRcS826RBXY88Goi28Von/AbTVb5yKevwz
g5NxSbcM8TGOXc/0Ce3pePeSbff4lTX+wJ0gVlnRkRpHtCk8PHwvTFSe25k//Lwp/sWGIXq0Rzi6
BEHrzclK8J5+c/7c5188AgrzoDgknJ+SlR86uzRVtE3MJ91oR0MLYgCPobBFK7WKX3XDV+Xm3EOV
ILVsBwG81qc+dq475rjxVGe2a3JElhZ3qoceatuAk4xOyXzIPbisCphLXfYXIw3hPWV7xY0gO8Rm
64e7BnI6QMUV8kH4ADjAuKPSv+hUViz7U6EfARexMIBfBMIMIM/Mg54tvmbuIjd7pzi9UAqrgJsT
+7aZ/mQeASHmg5afmbnee8kGRwZEIDFFy6GsV/wN1rNmrdiP+eYL4J0LkX8U1wBaGfGeaOm224f4
+m7Gg26fu5wgPLDxjJojlfaLP6qV+HfypQTZbgBMzXFmTrAknpqp8eZg2ZwhccQmH7iamj3NK+cL
g5jLsIJZSm38mAIkUQOcqY/x1c9+XXVHtdVbzale4uTWtlY3agB22eG5E3+H8/22AovlgI7Ib7SB
f6I9PSElI7vheYp0nOAekTHdkH5sKn+Rg3szVw3pQmP0Hosdawp4OoaK2w/iYNJhOFg18XJEyLPD
8GHNqvR7WEMIjfkqaxmMbWZQ7yh2ikodMh7yZ+CnGgbhZM9Z4KLS0hpSiT7nDt7ZFw9ICPD3QOul
6CAcXLyAHfyYB83Nazbq33OXbN/UG6nXsJI41Gwe8yGc6eKlW72CBVbeH+s29hvMFWgEdXggS8DK
IHEWX0QVA/g2FoAV9Dm+vAKsRDFXGhM3ob3h7GVVoKq/mdK5uY++YLZU67Lb4FaXmzUTBlNefx6f
r5c5BUygUPlY3UGgIBECErqIuQotKsP960S9yHFJzaKNpBN4hRNyxuZOvwQ3f7o0ixBlmHUZY3nS
GaTb8jlHvQRMqOPcgIHS4PBszn+r8YVMvCdElh2rRcLPGrwZmNojoFSb1GxlBQIZFZ5J6fIIv8qv
ucM/foxQYYztofbo7w9lpF7AC9vlK5VNeoSk9XGP7UjuwOjC4QTgg1GBpzh9kgAplbz0T8Qf0H0/
cBHGgUGi3WYLVSXxQNAmliJykxFMvkvopgmjoBGrVg3PTsWqh0eR2KXIdK1Ul8pRWeo+saSzzWLn
x6325aT7FyUv4ywjFg2fS42D3UcfdxF4zTcDxVDQL29ERzfn57675/50BxAPokHtgL0Bzcg62TCk
UdyCxXIef1GymcN6hzCBWW6vPcbjzhdvI6dIWDvgPZs5Ew0Tdh9jilLLbCBrDuazen+u8JjfS+vR
gVafOwT0LVwV7G59818u17Wiy1qyY6m1m0f1zXyD9gms7gLC6L51QgMg4Un3DKKgsKf9Jy4G1okn
GqjNOGhYYNBWWNct/SI6QXTsboGzIqdrwcKAgbyMOfdn/F9KVjY/g5HjfX7BCh6XOD+2ZDROLwiO
1EMUqMe3QzdFcV6QJ54b7xOxaDxk8+PCtiKNjHsPKeDIFjq/DmTAUCSkRImEqPLLVWg9MwNRUhRQ
FfMiB96vl+A2pOB/N/bQjOtaCQTGoO0QJ/eF6A7Xgl4OuCjcjzUKB8cvVUp9Dt8uk4+vLsh+lcOk
/TtV63B3Evyq5yGS6n0jMIpVFbnyndsLctN3zElGESMvkSvf5eMMwRWaId7CfC/wTglvFm2mPfQK
ijYD/Ai30VolBuUOIYv73HjiJPlVZeNlmKyf3/Rhx//gBk1KtvpwUzLaKfXW41lab4MZQ/ENTgWW
islTvVJ5RxcWc6nRwIR35QEYT2gfJRilhN1DqFL28V/D2OqQLbHvxIGoOfGNqeP9yGTO8f4VW+v9
m+lQb1wWTMSHTPfdWTkEsZUFH6TNgp8F40EIgYgx99iQ9+YxJQ4GbwOWO6NpdmnwcftQlxaWmJN9
MqUhZkRard9zo5I0rAFP45FO4eCeIp+OaTsDgzayQwW2gzq0NnC52dSt8U6/QmxGzngEhTQyNwua
YDNon/GM52rN6fEs1SkDSgym3fbgzm0MfBlmInxDywWXwQgdSda7Xb9+NaNtecQs9z47v6mA0m+V
DJySlLFkH+mvH65dhfgHAgNO+evR1uadMhkl5aBnrd4A1rLauuUzN9yGU1d05pcnTvzDdmIS8rxG
ltoyubnmvzX6gjH1INy9qTtkI/llEQprBhP0nmNrvWJvYXmJ4Q7DSBPkAxYyZYfWZdTOcNlm5y3U
vKPIpSDBWdXjILMEaICF9qqcpLS7dDlZrHFMmlBunRmU5XSzfB8TBiW3ECDRhldgVzdjKW1zb0sx
RmQ0bA48lvTYBlIFuKSMQoy4ZDBxvP1k/AzB1YNV+e2Wh8nARH8Gc+oLGC9AY5cKKKEjwLAyIsoy
8S+6lJGzsEZeNtfsbUQCGbCf8fjYzjZcrez55XiMLTbPYx8xhRFJWjvBWYb5xj+lZcuT5MwpnbHB
CbEAMORlPVoSDivWrmBRfeKv6/BJels5l/qjeUS8ud/xgy9sjDKWUjD5K+2MghWzsGCwMTlP2O3M
EFpOlHiDtJPWQAEnlY65ByppQAZmpIGFGmFWsiOZyZ4Xt/vw7Ji029g8g0NNPk6xf0aAoDqOUTJM
7JDEM+YKg87EQfyTXlrGBAlvDvHeEK2NXuAMw5AXSBoyfbSlrLv7qTm1VHQ86BFmtxQRreH0fGfa
pwMOEd5e4aMxN0ISUZ5YkugwW5+SwWt3YdAuadI2ERL2zqwuE7IPeJsGqBg2TV1A9dycXguiDUHk
GTXQiFHpKf+faPGYa3f4i1uStM3ebxRA1MzJPPGvoS09Jf699O4oLph3QwqZ9RSGEbRtiSufcuvC
3ffZAPrP0Vlu+TkCAVftk92PINQW9q/VHZKw9/kJcUAhWmOcaR6au2Ch3z9NjnjQjBm8k4AXF7OO
mKhaC3dwZ158JPuqPUkonGFOLDneJb0AB22Ja0TfPrJ0ppYYMAFjxEOd8sGr/uXWv2xkaIEMybef
D5zQ29yq1liKBU9TcgRNuS8eIochO7G4qB4hlmcM2oLKAKBljQ2s7nrbrBrsS7jujJ8XnxPvgJy2
sqMu9VGNqyZ9WY9vCmc5KW2n9Aqov8ToDKSyfTBrHUObVawF71M73uRuOhiA4HRAMj5kpmCUZhEu
t/2ZulLG3QHYTmMKFh3iF9jiAN95fDeNCTbMkdlRoUX5eJSwgmoGH3jP6Qj63ejnxFShZY59GfzP
H5fnF9GUOB1NqWkGI3OZdI60fYus4ZY2lDBMLgm0GZefgjGNP47WEkj4WvbD0UQaY0tiO7c5E9lu
qTzg6DnTw+wyIwMMceyGi0Lmfpv81Roy5rmLAIF/0v8cPvYphoMINUE1Fts5WJsXXStUEjo+ztmR
BhcuP7ZpQArWe3M7t7y4cR4GV/k1FvofF3TagPoDUcITAXK4iF2iEKj6tOmYO3zqvyKFsC4Tszit
/aouP1LudgEeYvJu4c9/3jPetiUTEUZt7E7mPD71KNNIBgnVdRfAKwBXxeX9m7DTYJxbFBxmQCnM
oOXgFBqvx2CJTKXmDASIZv+C2iy1FpdQAubUmdCo0z0faPCbSq8/LJSFrTyYXsxgJev5RjrVQYpj
8sjuuXbkAr3tGXr7jYw1hjm45XUK3cJdaAMqgtN436aAH9f6N/pKYcOVxuzDeJPwCWuQHRnQu7Th
wj97HXrMk10L3lTC2TPZrOQayDyU6xvGMhFwc6adzGqcQjRFKuLXEiEElKjWm4T2dNiJUxfr5AWA
E0VJgaecldJ0PY+wh+HKSraQHpLEyunKnAZy8HIGUBk7n1/5wwgdytRexi/oOKoqz/URwrLi3Cuk
NbT+/xU1BSSVSVhrwnny1FQMQ2OnV7z3Lbi9gNWXr8b99N4EnXtv5cMhltxBdfp6if9UZsrgOIrX
oqXOXuYCGVJs46TIkC0/FbCuuGXe2zr5nVbG5Cio2nNhKgm6tCUiPg3zjhACwOjPnZnX+qpCeAbu
bV58AltklA3UPdrPW8j431T8zIi4V8cbcTx62MhvKs8Y3LZl6gJpBNe+ejllGoz7Be8O8zF76jL7
pQtBzsQv+GamDx+90uYTIz/6IOF8P1mf35k3TUFNzYVoJD8F42+Vuvu95QODQwcKOpXWeh5nLl0k
o3EEa0d1hTbHnV9m64lHptBvzDx9erjlxsIq9jEP5Uw9CmXknnP3I49wULfN18zaEOHU18rnXHO6
k6AtAGbGf5BRfekkVvf1vt86/dDbj3wZ05+lTOg6SZtjksV5cCdHdvZfb5HDhoMI0o/T+jII0aBC
15OdJuB8xiaDS/cu8OE4RRhjvvzuCtLS8JQzUa9/G8J1ZZ2lnW/uuJxsGmr5PWdWjaUDjEOn8W5r
bgSQydP7UDJS6fX5jT+PdzjH8EoxWg1q2FzXjtLTyL7mNgSyfsIJ9Gb4iRKXRJLUffvNdY7XzGDH
HmUL4o8LHDzqAXkLS85TTwQrQCk1fKoT+LuDxrJDmwMZB2qRXvFQOOxG0OcKsW22VvD5MorDFEYQ
upXb+I7JkOWNKPeOl8UWW2ZbSJGchB8PBRSRcdk2hinAQHyOJCXIBsMXdhzpRnzkGiJm9oNmTOHs
42NRJFDxQEPxSi+98sTHiopfor0no4PkGzsTF5kiW1f2pUN1Eg/AR+Dcn60W/b1ZMIfJ2/CLiXZb
8V/yRhx1jaMCtJQNA2mUwtl2O7XH4gZ7nOPiLM+sAyYR2x2zcW73yu6ZKcrL7Idejufb9XSMKvBB
I/uVAB+GI4f9K1MKspTBJLcVA28QS0z5oQmIfhzMbVZDg9grtEGA6t38QXUJRsNAmz6WuKrKEr8z
/96eQxg0sfm8so6Xz6AbtBrwSTQaiJ/lX7zrV+HHHiU9rsDpdRWPonkgI1GPNpij2QnCJdHCfZUt
f0+vz4YYBPOTGjivBpVVe/35AwAnaEDfHHIVM/73PnmwdjhjvPpKZfUbH+e74UydympOqbU4uIZ7
sb/WlFCjFBRDzpvPM82RhrLq0TUTsf4QdoULkm5hnnZYIxDtMr0CIgyNmScdUgZgS2Ss4So5TZ3n
Q9CTLYcl0Kdyz9oNNT8LRD5gvpPrcxJP3BdDgn6ZiZei0hUKsAsxSpLCcJyP9MO8sCZiBqVYZk7O
yZHAssOTXmKpntsr9PeMMfnlLTpYtEESDuZIz405kd1cGlOtIY1HhA9Rme3bryozMtp+rWzy0AGG
eY3zokeHpmMJK0UMbYxHm05PIfFMYWGM88jxjJB9NaHnirDUZt+gTZmzRs6SzmXlA9ibbH1onzdp
X2CJeetsUdrTJXzIAAM7w0FQ1gsXZuFiNwI/PRcmBhWf/eR+I82K5DT9Zol4CsM1E1xONo7GCDz4
Bvc/uKnrLnbC2E4zfzYxXmimILO9DabHt1/JmZEVyxhwToN6Slio0Hb13J1dOPpwRLl31ZpNU64R
9B2zze1mpxQ14Pl/7WckdEj7iYCL6yoEFybth1Hy76weSST0wmw9LjewiIgdTL6IIUOg2YI0o+8a
1eRmyiFkJYz7D9m2zUHXMeq9cEIrN1Sh/8F2gMtUTxRH3Ze8hrWYGMIp2hCRxOF04znGLDng7BPo
AxVY9RM6JXcVJ6Hk5G75HeHnopeslIqz/bZHPlquMHf6vSnLBHZMC3xrE9Yw/xhFd5ITow7/kEkO
FMHAYAjcqJuZU5PrEhk9P9bpH0BEeLNzi2r4symPHXQOVKAn5K3FarauO6/DJjsmxAzs5P95LJkI
lpKtok8u2XPPZABbzczpPmbqEkBhJ48XhU5ol9gnrW4+xFso0FyfM2CtUWNYO81dDTiqs20UI1gq
1xr+TyTcDctPHJS7clc0y05HZwuJnBIRsxgcan8hEctv4zdNjJns0MG80+1UPk0RCCEfzNZDq1XA
OZlVw2KXCOgDtx0A8mHnZdsdwjsu7Vmtv0ZNjz49RHsug3gXgdxYCencUGK5XTFGEZCOaP0cVWTT
muoLsyfMhkVeq9wuzCmuwZ95vBJYtinMk7a7MXtgzhDldhwDhPAFRPploaYxU1NLFGM7YuPWNc2f
HK/SNDcavIPrljszpQh4lVFsvqXnW1dn7K3PXESERHBrRX4Mpu482N6MWAYvJqtSe50uOk8SKPRu
9PMyYCx2D1o8lVAD3gWqxFI2b4L9EQS/V2gVAROFtLEWqOb7qNBF/img8ATglUr4Vew+9VvHJ92Y
DDXIZZzt5bTwZ3W+PsexGc+mVl1C5wW7/RAZWAIl96NXFJ0biGLYkwYU0atMJWuRzph11cNKxvGY
aHkatLDxBsl94l7Uxt1y1oh6FQYTDp6hFt0JkPfwBsabfw0SHq5PJ09cKZrYs5IruOkHLxqKw1sl
65DOtp+OtBwJ1sQpg8s0f+36GwzSDOFBwUNhy0fQaBQnF68LQdLF2aXLoXpCuYtzOjjheBNqv3g6
cr3YJSW5iPhGpdnNDtnHz4xeSxqJ6Ggg0QT3HYzEEMVIVZgpDe0U3hzlWBdxwQHQ8KQL+Ti+8bBl
rHCLURH8hWJoiYpAPyLqqbSdDIWRQHGO0mg7ROGSzS893fw1Yd1Kdlfs0k74eg2VW7Z5aLbZ1E5a
9I6S97wxKfi88qOc89UEv+Ab3MCJGCflxiBR+fb0Qrz0xbBrhMYROnklHIeeE6hldlMSHwGrW6aU
yDd83fq9fc5LLMZ7IIGKan2KSEiL+AqZLYt+yE5ohegnauHIvjojSbnoYx7ka7AzsQqGQUV8HQdA
t+MfF8rLeC/OyZg02H3H+VR7q0YaiZaalP40l81X3AR9mVmtNNm8VdAG6VHRo9xmCADUQCxhyL6h
/1XHOP8Y5Ow6g9I6iKh/cvLR3i/Xz2uo+uIyBFqS+EeVTC8/pCYtGNi39TEEaKy71Bvr7reABLVV
9Jxi68aPLxo51HoOMflUhCTOCFhWYckiP1tHuKVm+p7t2zEdYTHND8Ln6aj1Yi3IoIrZTZuANvmE
WSUtdJYZEPY8DZ6cBvUExTFT7vodjHumykJbVGFlt4q96KhEp6QWTGXmIOq70FUiy9/HOZkP7exQ
BG8RQ6Y41CPmYvOX6BSfb33+YsSU7+V+P6SIAJgUwgwSP6t5NOhCME0Xy3xeLVORarkQtpFS/k5V
BJg4k+QCHEpB0hT4li2KnAajDvKVzouMgcLzc5mJS2VAl/wE4gw/fqa0fi6tlJEqzwIvGZmWXBJv
NtLi9tzLYROw8DZ9DQGRtLAhfDrxm3tG8cvX26xAD+GMYPU93CbgbDMXRUD+og4RElNhQ0wk/R0e
+qr2BbmDH9dNbsT5cDsMj0UJUZls8edUu3EzS7aILAdKWI0gf/2BVk2euPSGu8ZptyjAoKfht/Cu
H/ijbhZT0uYpXIlhGm52LE9cCdJWPsTOaAYl9WYpUA/MjvJIVxZlDlMoZZwr3LYFZMU5fK2MNJAn
MbVxb73k5FsFtX4lfy9V3oRPu5VbKxJ+RUREgJI2JHr3zw2M+sy8VjL6dmWU99nqr4usTjMmuRbf
gw9rqoJB6EaJofwQe73p2GUMhBOqRuM9xRXXHbt5YT194zp3YlS6OGQczR86QH5PabhzX/npNEB9
xZ/NdfWDFX07OjlsnuJx0a7qM14hSuuByKSCLgvuFMZBADWeAYXm/Mn3Gm8FmAqtVTKuxPAYar9c
GsQ+f1QrC52wtVQsYhlfznk5NFChM/PnU2vkRYD86O5ipp1+GIBVCBDvomot+mX0i+Qg1YK8NDoN
lRjweo6DGyPtXzFYTLWMHFr4D7/COvMEn1ewpu+YBvPg66h84avfabULKX7X81AOaCfMv1t84GEs
DJysFsaMiDyvnprqrrxDyzbVTaJjbY2m2cSBbSgtPrwIiRNxkAu7o8JDwa1tsULAXjLWM0OD4fwr
aPE4oJL1Kiw1aaga5l64xlfH5pwsOSQZm+yF4TI+hSXkzBbH+NXkr/CbE/cRxJnZqfxCYc4zAsZU
vv7HieARh80GHNrEOP13YzzyIfp3uhs/0Q0HR1QiPKrS/QRz1Hcf8/aHY8U3yn75KKxHMjspVkh8
VQ9ARl3OuSe0v28nZPmbzTY2HOwidfVricLoY4hTTdWWZ0aAqY/ChniFJe8uO3Y8GWBICE5ApSon
4uhWwmSEOTVWzd6Lj4spQ2JChkkN8XycMmsAy6fcttQ781iYRa50LhyGQ5LdH2eU4vSiOB9uhMpi
nqEyfze56LX3r1MCC/wj7LyWHMWytn1FRODNqXBC3iuVJwopDSCcAAkBV/8/9Hfwd+dkVEXMdPTU
ZKUQbPZea72Ovxe1aEFQbb2lm3LV+oxhTJdB6U5H8jNJCLYmPQIOCVAfnK6D/3CLgJJjqk8b+Gyl
25qDp4qAoYy14x4pgQn7Rpv0QmBhPfccx2gOHl8ZFcpgFa2jxh3lwFzxeCDHivbOwtdoGJHQGrBr
tjvLoyso1yW7ilsYix2zKmZCqKoSZFf0mASSwSx2+Nnbh0az1g/dKL3C/rln5Et7OA3Bw0QYXcgF
31vV03xjrsHEs/lzoSCDwBtW8RrsEK58iA3vOEItAWO1wfjZ7ShcSrzZ2blwWifpwRWa0RUx3XzA
wPFeLafMB8csvx0T3Pu7iKW8Oet6h6SyyJ2gwxrv48FolFphe5tGrLJtvHzCgjoYIxmZxQzhCSUn
JzH6iWZZbnB9XTQrbTzMJeCgDHINY8w3w5N8mJzw8fSvykxmLIYhLcl4O9mdJxu85O3z5jb4zBgj
r1nOoWwz4cbJGzjTOy+U+2gtQsajPMI7HOCDLCk4Y06738tea9onAhyneu80frtoh4Xl1Cy2pWTZ
oiO/FSdYfNnn5D4vgCgYoC/VOcRgV5inOIDjlwpw/227i7U8+oaOLNkb/p+NBoAKdv/6lFwXuJYW
f5IwlW5X4fYGf/HEL88n8tSc4v4w77++9SlkI0Iovm4uVA3Fg65EYzRg/4lTLBNuHLu4uDH3DwSp
3svOLhxS8lrA9ip2kPH5e6a2z2M9nsZPIljUjRXEDDotR/bz2YACIM46NB8FLZGNAescyrlpOIwI
Aa8RoKxxmnSIlqPcPxiTCa/hRfku+aNpPsn9dG7tDHxgpuQzaSfSoTjH4XiH3/oceAA3UqIukBFN
rpCEesd7HZYeB3eMUNcmrIuM8mzNgYwWBYQD5GU0B5F/Vdt4K47vkIF5YTdMvN+qmTGa5jasvwio
n9NPxi59ne2g4X5TWD8/pXm9LJa3yTCg9vWNuug2+t4aF8dvjgx1A8FoQyb5+YtgopPBzgAmDEZ/
beArQMn9yL6FrX4HrL17pG6IOZDyQYg/DAa5I7xssItpApOgofrdCpAOvk4R2x4/SdVfhUFXvPEY
mzVFYan5JjbI7ATcYvp4qPTy/Ly4CaN7OLkJQb8PDyz6auDmNbrNcZxrjjJsLnaaum247AYNlx+j
/CA9hJ9E/8fFPiBqoDpAUbPgfFmF9nMm7l7TPLA85eN5VZYWQBRYU+KYZAqWS+ByLA2oFBPoHppt
D7/LuQPta5BWlQMMy3dp1RQhwn5f0xeNvpCt4ZKqtW1agw9Udsoe9jnbUysPTrMY9yhuKG7KZQSk
eLb1K18UssX5bMs0mPvGmpm049loq0lvfC8NzkcP7CJME1xXe+SoOZvTGm5IRY45DCm+tfYFpxv1
mm+lK6IMc31xZwIjr6zsaD8utHv8IFGjRTLX6mWJyyfMAer4NoC5aSUg78ZFBHC3bhg7dxu0i/Lc
WLLSsUUZHLpa8Jp97d7eQM2H+37TXiNraczu8xp/IdQ+ds7D85TQ1TkJOtoQFF348bNNc7R/nxc6
ZTGAZyAIo/CjCGfaoXl/TdtV7lqmrV3ab/VxLEzoZfw8LHCW3M1+cXKkK5UtNgzkgWswqtgIrgby
/YDiRCKvGN+t0C4xnXDvmsMT0q11h1CFe242C9d54eqGraHoiFf+MWAxdw9rLtgiY2UV3p2BBv2E
4fu8qr6MlEJgVMNCK67SkqUynBw3X/nMkX9ehCB9q/h17B//0NfNf+YUWyEQ1ypJMnQ5mIWyDdbb
CIBvK8nTal2xQWM7RerSc1mKMyVmRKnsTdTzdHLoiLrvVGWiEvGOzPvOL0HttnII76ScRcZKCiev
narPKZNEMtth9soe5SwX2cyLK/A3dRdUImFKUOXghaJccxeO/aSioDIgj+AS5Azy8rSs4A0wunmC
SkNBPkTMtrVBQt49pkRhascz8k52Vy0TA2mF3PE9g4D3hKBArhNrDJ7Rnd6cRtXOSPQc1lmFOTXz
vgJb43QCkT1IPOHmP1f4o5ARdh30VRz0HOA8Qoj4eC/rEcOvNrOLBzl++QCkLuU5b5bORCecVp7c
rGrKq/dM4Jp6CIJHS5pKc56GAu8M/zrKC0gl1PQm0Y/OczfURepQdbwgFd1WdxbkwwFYk2gOwW3H
bBtpNEmOmoETBAFgjkBXivH70K4eboYW3EBi0lI+PZVvsZtldzJBwf0NXquO96U9V6delg5VZxju
7X7pU6+gcZiHaeUw1YNvguCTguvmpu+ivNflS96xWy05I4DJYB/YZjWFrSFEX2UMQzD8+rOFg/y/
zqbGfwwcfvhrmPrrXj/a4rGxSPcpIBW+pqXhPHblGiTeoOrY3GVwpaCnuGY23N/sltGNzG2Y4y92
lp24mifKF++HKNitwJE9DOb+Ysuh/GrLIf9/m4kfrlqdxSRIbsvHBq6CJ32gbmKQB+jC0PNmerAg
YpV7PooWFrmwmHDPX8HzSOuMbTBKTsNOlvE1M9cGwqLqLUHGMWwovLCPEbvSn+/obzfUklXdFMlZ
07ER+a8jxlPWakNLjGowKs1Ci4HYVLOOj24e07j/+aOkwV3jp1vIvz9ruJZ/eTmWivFI8o7PEsha
v11e2cREsfJsPR1vfryHxWsX/cUdRpbFXz5V1v9lyfLjYbzM0HzmqYwxDeSeCKQamk1twudElCeF
boF59R7i78QKogBtuTUxdj35OieYsk9b+3gMlD47p/tYA3UPJ4ISwDTV2ZOTw3u2ZxKEt5wnxDQk
ibyuIYB8J9MnaiXZF1QU7Bmz9MyBMzMH4vgC10EDSr2UBA/tE3XlsDgoEmrNw0al+K5J8YUGBM1J
mD1OQN0U/ejzgDmuD7s54GsJSogOGvFsTtPHGz6I0adUYOnOWrZvB37xwC0Bzj8V6/Y6aCwwLhjv
2YlCrqaD/prMs4lBec7GjyNithDehGW/FJaap40NAGugNOl9wAQpaYGJgPhtcQ8QSRYqdhd97Eaa
jZsPEBxfRIQlAwSxfsKEGlSP+KPkPuoAygVqyKGUue0PFpaiEPPYObizqAAzB2bPDSUHABcwvt2Z
NjMMkLfbwyXGpkKVTKoTVFWaSEhp1NMoJT9aFNMyGEEgFGMmR2WGaWGaLYkMbqTFgPfdPA0urvfs
JwpAKRyoavtiiC8D5ffrznLBKWok3SBw7OFw1rqvkFEy75wC4McH9rhv+Kbm9K9V3AbClf+Va+O+
n+GWGYmgvOqHNUy8/JQXZQbW4dInwDQ37+RhIHvHRcCLKLTV5FOkLxDTVUr+JihnEgPYVUsRoPfa
j1EZ0BahWOdMXXJxAL74dIDbiXvkWmCG0d0BbS0SB53BnUET/WTC9wpTQlrtCmktYPc/AJ/IdP4g
XComLFdc99LKv1vQvlxoICpg8d2FVnBDgAwQZkdes5WO74ZwesB5gNfg6it9p8yzWf9dLZhWPmUY
CfRz7FnFAZZHvc6Bvt/QEDZvd4cy/LlpdHBrnNH0aKvalJwNUJA5B86re186QlKBTgUv/ouqfw9M
92wcpq039VoAzABvl++g+lcxDB43715NTCKIpqk1EflN6fJGDQAKcNMCyAawaCA6iEwl1JEEGZWJ
PApxjnVwisTV6FY0XFZ3+E2nZxiNC7nF4zPXsOBaAckkc6Uf0CkV+iwoEUPDHehJac4Y+Qaauiwo
W2uMA3BArnFqdaBHPSiDZReUlJtTQjFPhoBB0JUXI31sZXnNEPoPAkFbgWw+ODvY0uIFOsY0BM3L
9T7tlunhbjjC3W4yt+lcKbLlLe1wB2lxZZG3NQ0TN8RNj1GAZD/Q6FM7AI2Q23e2IxpbWM2SHX5l
aFIiT6YJ+kde3zBfW7eXfh9vh06vPNJLm8fyUw/9D2XG4DRjCrlG0R5LMIUZdrYtHfAB2kpNsV3b
6MCBg7GMu9w9cI4aSyhLci3rdK+3dec3r28xgQ3GeCRddCa9d0tNApMX8tok0Reg0woDlfcQ+gzo
FyRjCs0r94A1hfgMWAHCynN/Xybv9y0EZWbzCtfxGNorY28+HGsR+xrBQoq/or8nqu016Xwdl4Ln
eJiKDU2v8pFsqhVerQATCU7UMO7hkz+xhoSyO9xvotkHhYpAoTmqv8CU9gSEG+MIRRkoNYCcvoB1
Aq6Gf4VVO1o+b4WdNbqnqMdVzninY5YjjeL79Yb90awVnMcqsVygMHouZB0WVjsd211+f0uqmdyO
34vSG4wrulOtn0AVEnTiCRLnhrXm6sD4c9SqyC3LjQKjyYFniGGyshiIHDT35O9GsCH3ceqqKN36
CcaVZTzpYUOql9SYVFdVnLJiK6gFd0pRv6IGND0g7NulGVTUwFrsUhhieV27KGd3V37rsFGovgzn
dTU1v1jGintjuuWFGb0T+D+ZuWtskEJ1bLW7k+Xk73giLJPlpH9tjPqA6k+ZSEDDd0ro8cI85n5o
otKxsUxGUvlO+xFBRRaPaQdLXgbB0z0REUOyAxTy96xMeP5tjjGJ3QuuKa40+0MjoBBRypIQSx0Z
Xsk8uhyoiH7jijPDz2UIxbYgIliqvXJmuLzSvBfj8N0AyE1tsXJyJu4k5oFYcdJ0dlmMjupbzWQD
jYlKrTOhkBbSIFw9400ZXYyzq1dBpU8NEAgw7nbSs8gsycti78GsZU6r0zROpE76ZnP2MgJwA22C
fq69YCj7PjCNCaucdKSw8R4lmLJDPNhZ4TEjNwd9AeMxRvVQATADLj2JvgqFKdrsZFkuUZ8GpvO4
IgzLXhyp7Huu4qofPgeHT5T1oM6CxTEiDoK/JR3C5XlaMv0bpqfmB9x21JPxTqOyA5RsUCzBG7Vx
T3rsIBbCx4OshB2CEI/eo5X4Yq4izzO+/Kn1LwnYUj7aV1+80hHzmzt8OUrsG1r20blZMLmhHbh/
wbun8ygcYYUtIo5E2akIdDjZwPHTeokDKcgFI8gSjYPpwbjPBzMaZmYSvqyADgPrTZpXEOSGXoJC
nkF3hgnyOPl44X/59VwWwW2qXQajI2nfIHEk7aNy2m9tEk1Jpl2RI5cNYuYHwpAWiAVaDYRARhZo
S8xhJMLEmlqGE/+lXGDTi9q8wISFh+FTGXDTdQwJvNsi886bAq26re+szin87pPddpWhwB/kbI9B
CM1a3Z+XrxmCA9tKR3uklhpq9UXhnV0EPjCiB+r1IKpNnoyo34rLwKxEVsaMacf0a9RgkkgOTe5i
8nubcovEt2TWuBVq0YlM7y/hIGZzdfzu3G89eahP7o6wbVPkL7HTLr6rtzRyrg9MXRneok+X50wD
XssbLlHmuGJuMZD9JQZvTGpH1oeWcbqMHs7wTRF33ifCuEDqhogISS4nLy/xXF5EXxBrkFxQYn6i
/eRuDlGe++rA5r6lB+WvI/RzvlGg4V3AXvANMW6E28H8vhh0bIzYIa9Gm9Bp5rc5jgOhc0dxQCdE
VwsHP8LxzS7HNZLsmwiP/ozMfvqCL8kKssNvpp7FKZMnD888uwWZPz7yeADQD40AGLRHUCc3cuud
txHU7cxZlTMt/xYMe3V28AWYKLpTHepPlQk6drRserX/2mJ4m1VImMoAWysVp+CRjOgLQU21Rv3+
pXvC+g5BzyM/ewh1UybNPGR24qC/HMbnZ1/6jtx9fCo552SHkyG4XeSt5sOPBPlnmde789L6ul8A
8kqUe+EyPnwSye3nflSN5MhBUwNzZzL8PvGY9Jvq60FRy47G7tBNkfa68od0YHZP9Cunsi9OYw/X
3eAMzenYr2hrI//ae8Js8MXonHSB0xY1mIOmgDbe06+v8Q0zoM7Z397LwHCZ2/CGyglvOl3FoAlO
wxGsnICvxZjcLVZPGUK7fact5+H2sY8mQr5KbB8rRGPKdJBrMuBGiEICFJq64hyY4xcMb66nINkU
6wIkKz5E/Nc3SRcO9BgvPGIgzAwERdchnz0+2pWV20/Y/bu6dp4YVh0M+hi8Y/CkRgQ7yJMwiRmk
ZvgQOqV7XvcDlnPovQ775ZGGZBN3NJgGY8tpV2bqC8vHEkfw1uu3QCXovhiS4ndDTuFUYg4EVu0s
1Yk8B4z4vBHUPUS4CbuHR4jrQTq+vgUW7kDvhQ7nq/hbsRyvpo9PXl5igCNsKOjaaQIBDvXvgCAg
krRclffSNdkdP4xBI0jA+sC6s19kGEGNXYQfg8pWh8EmeYqD+6X6fsboKsVOpBFHy+6CyvQd3O6t
dRDzDcQoLIJRzzCiJn3uxZE7wz/DLuc83gJS+GsBqxpCDFNliFkbHXgbHA3H5BXjg4B5I1SYiow3
c37DWktYFl89Dvtw9UdQ7tOAEd+EXQ3B8Js+YYLJMNHHHWi+bJ13bF0uKKi3FQw9Pi28ygbSgpQB
NEIQeKcWBBimjy3Jl3u6R1QxX6iG8BuYxYvHhxIYnBleOFZKh67ixcegzhgxceMcs5BgI9dC28P8
QFjdXoO+n9lY/4EirfSwjcfsJZ8pI3gRGJXNqJSQiHmoOAZC8oDQhUudHCdjy/iILXuQeExviauq
QcS3X4aVr0+pC8Y4d/7fEjF28aAvQqC05pTkT5mKxgO8kY4msXfATzEbI2rYVU6yEabWan9b/N/W
j21TDZNocCnBgtjPllbAORZ+CMEBedyAcdWC8xqXL89IoFkM55J6BafDr6vbRhv2Rdsac7iVKxPR
cJBfTA9/WWkOm5mCdYPHxsMdeJD4Afl7g6YZ53g28RUl51XFuXgDrYU1ICU2PSFwF55H24xT4Oxr
NS8CvSzWYd3cwDVp+1q0WAMuGIMDN47u2diUHQLtDMbalBAoEmz2uHGExW3LkYxqguRTY8V13+fA
7dA6Q5pAG9ORiJZz2S7y9enhD6NIpuAhJHOGobzncYZiEOzGCZuVWYzNY3eVmc9ehvpkmWMTQhYu
kkawCnrmk7hL3oh713xAtadTwayBrC04unc+Cvhq5Zsw80yvrn3+Crazq/4SKxR1bCY4ZyRnTzU5
QW3KE3kKaFDvBtOmzEfXNeloKSn2GNjZr2u1qeaMm1gxJwBC2BvjFknkNlwOT5sqBvGM+X6gPNAw
Ccqm98FlmtIjdR8LzmaRS2hgzo9yGU8h9r8N3o7kv4nXT7FhdD1Rlo/h1ejfrjQuEJsqnHzAJDRP
hm7S4xX1qr1odyeG+1CagzWlPG8/rNpNNilCLwanSLVGz8KHimZBKoM4gmVlDqzGPIToc+GEY/qU
asqelsDM3s3lW43oEyseys4qffh/CWU6EuLv9tBRkKh2PwS3jyyCL6FZ04RSjhljkZdyl8x6pvip
pwmuQen7zvbDBA48m9W5hLpFkeMw7WSNFo514pykBp6Czmnp+By5PQVVQagbVDLsGGD3aLM7ajrw
0ihIlg3PCZ58YyfUAMeomQwiNfdaX0oLn1JP9rNTpExyQvFUW+CY4sQn6c3viMMOYLtRnBSf2rc8
074jCk7kE1hDWKF9nt4XDKwFP3l7RY7i3xbFp+BryGTwu6Kq+axX0TuS1N6xDJcdlbGyDtrWHsrp
rZsUDBHW6UQ+UilneKu9lvdJ2M9elke1DFqjA8NWo/xrYkz05SDaVI+EGEsskDfsWMVdVX+m/Sja
CJWHOaUjd4cSskYNsPpVr2RPjznbTxSur2tpjm5ksTPJ4FQXeG/yNb/5vkk+S48VVV4Lyb2tVdxw
dLxntBRvEiQEgLgUczuWb+r1EzjVVTWSfPkDzT47kjh+wuBFxfl1oP5smctrtrQk5ayzpiWBLBAO
FCSfIsCNzXHE934Zo/jYntSFKNGStstoTy++LzDsG2XXerD6vM0PHKZsVft83ax7XIBMR5qngDaU
unwWiZMIHq7FNp88LDvEvXJTAO9jt8mEWec4v685LIUd5/afx6nab4NNSyPQRxYtRSO9+L/j1KTR
u6dUZ89NtOMtouZm7/eaIkDTd+yP9RfSEBp6pOmI+mq/mN9xwvu8IfM7L4tkNn4cGjYxXHCeCMxe
4+QIwi1VAUFvO2B28Kqhdkblvh4AHh1ac3fVcT8tx3/+GrI6mET/GAvL//4eP4Kh4lA2+3OTPjfV
TELTJ9smyPMBzRIxjJgAd0gly0He9t4sc3P8fK92S+Fo+q9NiSX/OFqqjiAxyyJ9IgiBep8HWJbN
DqsGJn8XA4NCr8HFEqlhAddgsMWwAO06O5rpdB6UyA6CTQqq2rU+nobDwBIH6B2tKvmWm6cLOQaQ
9k0K4oMFi/OjWgkcubetuT6voM6vwZ09hAOD/C9d6kRIjZg0jdKPAk8jRI0AOVgDVEGijQSLAQh8
kgXd3YTJL8xYZLz2FfU1lNcI1wLywjtbJtWR0nbTUXAK63xMCqpbHfTtR4PrmOYZlKFDSxdEfIUJ
+3S2jXCi5xjAl2A+9KsDP3RZz+IAyYWndC5VcvhprIF5XKyWBy07DOJqQtondjUYMY/LZb36x2UM
2Tw1Z06ZZHwwdhzHR0qlNYHhnwbnQUhTRBXRYXQLZybER6nVR/o4WZljGMCH8K2nHBk4Td0xA+Fl
FyhX1YUm8ePlXG7vmJ56zYW/zYBAH19Eb/+En3AbW34XlLPzwLohFOF00NeMLv5mWW/85llvmbqu
Waapyor1w/lb181abp/KYwM/PZVGFQWt/sV5Xy4KVCzApNjDzfWH94jRxbvCW2FOmTwbbzHl2e72
Jl/0bxzAbmzVKTC+R5HwKJfWm9Z7+U4+YKBWb16oeTT3tnptXvCt7oglCRcdSRSxejRHKpTnWJvZ
IWKklcxQCqOjXeopqMtfS1jNFWcIvDtOJ5KZOEkAkWFxnLEVG2QhrJFm+riapxvQNy8lpuBwsTQf
wUDOxt+5Fr6vqaPujDkkWmGSfkmBHkMFGN/2EYFTg3CYYBE6v3DF5HGADkAzC+we4BvjFLAfoEsL
swZt8vzkDvm9Ry7q0Je70kV+G6xt8LpADjWV3PxCh7LmYQ1DjWJnjpXBWxIIheFc5DKMAKeSFzxw
nM7ibXLz4OlgzvSsnaTyrUP7coHCDZQ3yO8Zp/YTC+GM4bfnmVwulWrR96MCTkG8vYmTestZaY4z
rFT/ljmhDsDPj31HEfHMB6hTVYlsh//un2rTt1JR9o9NP0R+7nhY8/vRGJy3hk3lUu/ZN2GhCzyw
4+Mokm9MXJHOWNO26CGefj7B/uHhDAnU0qkxfPyjgG2msNtKqLBjXgUci+eR/+f98vfLJrWSNWxZ
CsDWfy87K5RciGLAxbpixKFPn+Cc+kAb3s/BYJQxxunEQfQob01kyNscuy5ketFH/RwbYBzpt4RH
PMQk9fNxwGpMfYveb0lgAt/TQYQfjIyVT4wTanzRJvA50EboOTSAP38L6TdYjugCUVQNURbJLvhx
941UEutMah4bdlvMGLB7rHABtZmlKE73XU7yT2uZbRBLvjW7bKO6yUTCqUg+gNduTNhywTB18Q+M
p5FBM6Uvv9Jjt1IDlPtZ6oZfN2/HnDfdggFIRyQhwyA7Zve0rT3kmQsu7ZPXwnLLBr68kzHtpKYi
zElxXtN+RYeDzZrHG3J6fFE2VHNxJ6CvZuIGV5FqJ3i8UxDBTBGgM255n9RjzT/QtGFejP6dKSI8
Em7ll3z9852Txd9DF4gwkC1L1YnM+e8C0Kuslvvs8djgcoX+mXq8emI3M/gE4HKxAemhqwT5cMH7
EL0p43ijHh7b9IS2C+byfaKgHOViuW/yPnLOu8Im+xinJ59ueE+QMe5NITu5fR2k39B/jgo2pswm
8TXEAxI38qBGh4YIM12CkKFbXrBJqd/wHCJmNLgfLCBoPaliE0c4xu/VdoCxTpT7QxgGSedrpNql
G7boM4t9H0hUyrvXu3r3MghwsPdOmLgk++4LOa3fHjmzp1FtFzqueCUSqg5Mye8S74uwQQ0loqu8
F7OX164hpgtrrtE1l5ycAf37SD+hjcEGc6pNbmPt+x56jV99yTrjFQNuOjKRyG+aGU1lk7goH0jO
IIdcvYo7Hl+Oi0k7x5SGVA1oHythVax4qQktiDb7eFniUtIyGG6YgyNeOG8QQPMFp68jRB4if3fx
kjlme7ZGTJZrxsDcS8bkKJBazjcNZRMm3sx44aDAL0TTdnMoTJ/VUcb85vTnRUO69S+b3b+TQv5n
0Sja2Sh43XoSsBBMXUoYnoREwKOAsAqxmHEmtwUR04F5QcC1so9jHV27qJFQfA+icuR8sd0CgNJk
N4HxRs88NGxwdHEFAaBaVh/gfEnNQKg4ZNhGHB4za9pejWl/fZDq9f70YWncsLDNiQ4fNTSNdAIb
gcpnbLA2UeIC6G61GZ7J19uuOnvkYsDWpWNdhZ/waRfPfsEMzm3dZFbubrRdypxZoNd5NLAONo5P
T3yLNvEnHGCOLGb6UBB5UBxqgQyVb8nJRMt3h1aYOIO50al5V+mNBysReFR0c9NSCyJaWcZ+oc20
VGOi+OdHIf9S7ipkDhvE53DwiOIPxoWRZ2Jcl3kFB98LpWgcZT1u5wD6N7AjU4Ts0WA5fO8sIg3a
26RSbxMZ656nC2tCzSDh3Gtfa7qhqTT9s9DaimasKr3bqsqyaYIeJvVfrvh/w2UN05BNGg2EFJqi
DKkq/+JtRLrQxYVVlJt7/wLJAuTtafjLEl98hVkVStZ7fgs0K1rITDQ65UO7x8S3E3yg4SVbnp0W
6W2Zv93wiSRmY5Aa/DVN9Zf1bRqGZXCOGwrnyY9r5C6ZZSE+yo3WJVj7qYgFJkJC5W69/vIAf8lk
+vcn6T/O37yP8lAQ6nLTqqnXFrIrpm4cNmMjfMGU+MrKv0QJS78sGGpWloskq5YJw+W/t7/u47g3
OvW+eZ2PabjoMtrWFtwEgNLKwZcxiolxmjujTL4z+3rxVjTvkAP/sgp+ucMEc+u6pcuWohjmjx3k
1sXnJiIidpOUL7JaNl3xBastpLt+VZ9F5cXPS6KuE4MAmvaM/76jS8/po5dTJ9drXnWLEuUcZNqm
i94f95j4c91kLGUSWcdQQXW69vW3RPh/aqEfJR6EI5EaT9ZZvf+00P9auVL8NKsiS/C6Ezza276Q
gzQyIOugHNSQIHRTyxxbMAYqhlIP4FkF9P4xV+sXudHPryck1DAOP6Lz8SZJOAGDIcduAyfeSJ62
Ik3lPvdUziHhDpaDeXKU3f+y2n4L26K7F0VTUTnvLfVHd6xESqb0KqmKqX5tGsIDBggZ7lp/kGGL
alAsiMZCwRSNGmaXxUYXSYcA6M/7xi/jv1yNPDzknzeUWtlSRDp2UTN+LAK1SgvLqq18c3tNtWGS
agRWzHmFgWqNuzamM5J0HleIJoXXMobBYCpImqvLk0hwVLHsW55WHiLMrGnCnmG1zNCF/Xmh/kYz
s1TFUglZVy1IeD/mIqEmWU3UpjhW01zygqg9jUz3gZqTGTlsCtzjiQDUhL8U5r/sC//52B8PKm0f
6S0Sk2Jj8kH3ZkKas4YJ9B29XYppIPXTn7/nr59niCwLDTahKf/4vLt+59toar458/ab6rrMFD9W
FhLtU53rriAf//x50q8faKqiqavisAn82GITQXvUTaSjVkUx+gS7NoBCxTqIW9EbFI9yRkQs2uve
CixGiAZj5cHLby7dGeQnb1pZ+nqRz/5yVcPu93NFapKpqrqkGpZl/LiqtgzbLtSafBNXF1OIXFW6
jzOBlKnzhWPnLN8XdCCeoWp/edzDKvrD55o/duWnGMbZLXvmmwYHbsLtRiq1IgveQm9jdX85A34p
GkxRlTRZ0RTJUknJ/O8ZEEsoXgXJLDYtQzvKVsIW6NjunmGuY0YCWvMVN6dWDeL02mAzrfqRMG3r
Rdq77ZcJSq2SJiNNz4qwkdM3Kf5Ljqz0v4TX/17ej7UopbES52p43wzS3fzVjkw8D4oatrfZeBWv
+i2qxq97906+OQCx+qSnQxdwzrNvper+FsL3zzP/77MxRV0xh3RbNoH/2TNZu88hBD3fUKLevMIP
36EqZWMyYHbpTvPST2WGcrjDMW8Nux3H1IO2fQDLKat6wgRwA7l62p9AQvUNUZpu/a2hsj1pn+ev
bHq+MIkYv0afKaZEPWKZh3MdfDcxQBnTNqkIuEifsYdeFvcwG97b6CT5938swfBo8VUUaUsB/18C
al6jaqyfMPP0qmDe4kPGaJsiEAYeTrKPaeFL4wz5Abb382KNGyueLwpm9fKEMptJHg1OElhroHcc
v+VdNQ19vCUW2D2C7Az2o+qMPp7eiBGAj1bdcoHo9Cum+OA7yRK2NK4WnWNf4pXmC/MHsVFPR98+
tFFsjSYYWs6rL3HKyB+itTpmOOkny2E4qPvFd7+tx7nf7MGi3vP9c1x5f36vf3+GDOwMQ9ZkTfxZ
bsBFvj+eEu/1FEbMHP9q9JBT+AAzcyK63eBOd5AvqMegltXzwYzPINXgBaGL/CsHqZ5HV+plk8C/
BHTAE7zPXEzrA3WkLoGxRgzgprF9akZ+uCJebMyQVPWqSQERqL3Uq+eyDsrTM6hXAJtfj7kBvwWf
nEBbWRhTpX/ZS345Vk2JY3X4tooME/vH6509M03TznnBTAezFuI8Q5rxfH9ODi9SPppXZEfMHl4q
mTi6YMst+BnA0qMT/Ep8z9sLBR/gTUgz8IJxofQPl71p8ecn8r/b/3CNmiQqhsjZb/0Y2GQ3pU5b
hWvk6O/xDWC/HVwGsnNArfn30/R/91caDgIkRYJGLc38+XGRZFXRM+W0sUaqzfS89tF0uakHSTh3
9DNO1est0LuL3xCzow4DNCiXzmsBZeCSOsjlmc+3Gron5VIgosYmvxmrK3j3QxDyEl2Ik5r280n5
PKoxf2b8hPVdRSMbYpVHNy841V5YQUPLAHHdeCtPmYQxr9Yd1GDMz0cDI88ch28pMGjsREyHBihL
nnZgCrRs02SLiBoLsc8/Pwa+/i+7LamwGtsbz0LWf04Amzgpnqra5RsSQb7RJ/rlAZH+4B1njEoX
EpyXBvjO7RgIETLU6VPGkjgjmlCZYAN4D1gFvUGe+M2/tZPXGsQLkutq8FUEmT9qATd7oAzX/7CM
Ner0BHIc7ILugSEjNO/IDNK9qTL7IEkjoNVGo8Pw97YhMwBBGqRhh5g3uCoW1Kna5d9ceVOOrU8V
edMY3dZriroG7AzuHgFqIPaBcsIe8YitWufXSItBep0ziU+CV+PdF610u4M0Itqii6u8w3891QfY
cJhnvj0JHqlhXy/lO1xfX/jEIH5Xjw3MWdwoECeQ9UGYqxl5sLM2uHs77KJSkqXhZ2/4BMQ8QGc4
cUq84vnXazxwPOQ9SlkLF7+UrYQ5I99KhttxtqFKjetxQVZFIHLjo0/4DERYkWQ2S5mIPC9vb6/J
oHhFJQ2nycf33IdtfTK7FsrDbd7gzHmUTtYYwGlMIbqQa0jzdhUgWcH/EaHix/1N9ZW3NEgD3DVN
//apTl79HMHVHKONc+s+iL3hsuJAkoFZpr0w6rcDtknpc6xJFwdXMl38/fGFZVcWxswhRwzw3m6S
A1MpOH/xLaZntA34k0z0dTaCJHi6+THMlyggKIO1vIZnqGJkL1/FKVAPKnwSyK9Ue4RD8B8bNmHi
VT76JIBCTPKWmEk4MtAu8YOs/nLMHYGWOCXFmcsiIxKuBD4u0EQgVpE6Tb+CrzDUVQkXom3ivWRc
vdt5s0n4cZzBz87zCBK7+X+knddS49rarq9IVcrh1JYjtsEGm3Cigm5QzllXvx+xVv0/LShce++D
OXvOpruGNDTCF94ARqIbmdNHH7Q7hCjQdJhN0G/N9qjsg/NeIp07p7Vwq4yPFd7DwGOERUkvdyRy
g5gDID8yMEfjArpajA8CamXutTtygg2yodQkUfoZ5afMJFnXUMqcAtKpOic6+MCiZNdy4WFVsCu3
3qZ5smjmKVTCwApDrQ7uQoLtuXIDhI1amTxHLojTeV7vubD3zbr4GyHmUff7xozP4OQpIdNRgSTo
jaVa5nSBoOIdPn0HfWHQxcfiZ5TBFxfBBpFd/iT2JggdLXOs4v8q9PpoODK36PiCJXzL52981+d6
LmO6JuzUfbLzHlruRskeNokt0oVEzAspcfqenbLyZKrmxU3UjmUbPJNwvh3KD1gdyOaiBkPUAY59
3lLA5Ww05iVC4LFOETV40G4ASY21W9JOsObod6BqgMQusuXOaMu0oL9wgEC2UNGyxAsQa3QdoWpQ
mfOCOhz+njY1ZvC0BCzq3fij0tapPwP0QfyxpVyY0KDOV+nKA00xzKm8zf5Yh4ZACvEo0HajEKIL
TBMx6+ciaWexEt2W/r3F8V/hLUW3V5sBZbcdRB6DPUQFniSx2/PoXShDhm9nf7BWn3lMx7s6W5lA
+4vyvnCB+ivhOvIqiNprlZ6/mLwjpkmHnDpuNAJk6ekEK3SSIH8cINsR+vkNKFPkRNA5nldsnXGJ
RUDD+gUBFisH6u4zUgtg6uC2ojZ4W4Gi2fbYKKVswGG0tM9tQabbNpPs5i9TiWE5xb0ZSDlk7mh5
z2lJzKmMgrGFdKFaF1Oy0SEDVTJnx/Bzk9tn9BJCyxtY285bP3O4vCLQCjynOxdzcYfgOtrLGXhG
d4TvmpAtzTcJXseoeTWKHUKRCIlNzdthfsaTaWfq7m1k2icTMCdysHMCCaJD/QkuDqRS5PbhtV/a
XfwATAJKvncDcgD9bgj4x5GXoD4IKrCphpplAlEIwMOfR8D5a6Dhtnf/jioJPFSsEszR4JCtxqt4
C+EhfyTGoSPNYamAVHhBDsHG4NgErguIbSGv+q0EKhiKKaKxb+mbseGTAK2yNokOkOmvkDz2qXcT
DHP0JxfB+D7eKSpxAUNxdAUG/li3wd75O/Q460CAKhb0CRYtTNpnfL1m4h157Ki4NxP28tMYtQ+Q
8lHktIGLof/pLqM9IBIHoCR3GvuznoGW9Q37SaZUBbrIuB3DsWpYlwd3mNWvwV86U/zVu+gZUy2w
/MQlycO4IY218hizBcxbY8THL50n5IbaB+kS/lWXygf4onyj48R7UVDzSQARdogtlD00qGDtqrbU
2zH7xb8hwdROKjJ9HKfJRjuUJnlEaW5wUfaW3m301kroq1jpc+9BSM0OY0aquisTiwxgO/WramwG
INSiXR3AKfMRiHZsuPzCXy54SRvBg4jRobuC/ALI9wRXcTt/1KuDAOXrhmaXhdYCOM1bm9MbPDbA
IHGtqmdnWAbFQZI1DHj24a58hlv2bOEIwN22oLe7oE6MCW+KTF71LoJ8pcO9J/5CLmA8lqMzqHwD
xdsXGbWB/JbbYCWiDvssINO10ZfhXww696y8pYzVtLpWoe6BmB0Pf+w0/BOCc3MqIAv3Q+C+WuSP
7hIMnWWzO0FxonU/IOFOMa9fE8EtkpVxx40GYpv2LGkYV/VN76AfMDJ+ean+pgUELKFcNas49pKZ
nXs7J5c36hOdPm1Fo0nq2UP6xlkiKUYENCxAH669FwstEWcRIesGWsK8AmL4KQA3ZUOVRU3XFVmb
BOBRpfWdr+nxKYFm59enlHyMMqRcGUgR7jM4Tb9HmvL30or5WVihSato2reIv1YKh+2VJ6eMZR1f
dH/vi862qJpFBz8oso5OgNYifdMuDVdGQLEnu2ioFuptx3GNKSKELYVasAvLY3Dq9e+PJ32vRfJ4
umSYoiLSB512kFU3LUW/CqhFmqtBvSSdvCyyzq6Fj9hD99CwPZKoli3mq5D8rpQ89HG2JzUGybQs
zaCgCm92mp+afZ2bUqDEkBVA74fm3BiCm9BT9nwWJwnvYvSSPBapmwlIsFuECR1IfzNq9l41mlZQ
yLeIrUcFMw1nVhW5LL4gv7fJag5NCtGRaNop6DlT1HZ9vhg87xDr51i6z7qLCTItFut14uO+Dn63
B/styZtSWww6YmQ4uVmoWxaogNEpKJN+TmTmP0tmv0PMbpRB00PtmJuHInrTMRcNpQpPe3GV8h4p
wPqAJoKvFfaNScO8iKlaUGe+8vm+t7FNyeLTUU22RNAM48+/1ObzQaC2bcnxie61MShoR549jNFL
FOkJFpSDkT769JIpHulMUjm8/T6+/NPy+Tr+ZDuVuZQkUcL4aKuJARLlyU1ev6jKY1ASIWBFAdMN
QTzKuIYvn3QawsSiKZlOBoQYFT1/K+orr3zTIdSCGv396X4o+zM7km5ommnqVD/Gp/8yO2LgVHHd
5mx2/CjB7CJiE7iXNjxEFjKjY9WqfRw3vw70uX3rQOqRmIMWz8Urp873tg8PQtFXNABqUFSf1Fd7
SWuCvErxAa5Ppb+VApiK8VsfJf9/43weRl9e2KNm53RyFJ9kpwUMhyUfLANmN9WuTK36vZ1pyrSx
ZIVqhs6/Jh++bXIprw03OnXw64a5HC9ElELQU3VOlXvm6/sFJruoZO4pclvqOoEQhDUcLSOBCw9Z
EG3VPCKFOojnEk4gvJsOba55CRcyyteKvpeMm1p4M6T8XkmXnlzbeXdpgCfCtMPQdKEiZnpltfxQ
LJFNzZQl2ZAoehpjxeDL5MVDT3uuy3DfTp/L8L7SCU+qwo6Mk+EteGSUEVLgM3W+VB10smDP1DRq
8elCzbW98jA/XFOKqI+QVB6FhxkX1JdnCVyWtNj18SlC/StbsadzvMlpvLj5Is0ff39z84flSQ8d
QJ8sipooWePTfBmtKAbHDCUlOI1pM8GiIhEbzeRhXcFKuQ9f3TfwWPpLegHer0Fm/AOnB99CF4iZ
naJs/C5nCFYtNTxXJFsuMJOAztsfQOmhY9ofPt39om4XED11O+kYE7zAiKyXxOdMMniDZb5s3rER
hD21dTFroy5vHYxhFu6Si/EhNiuMDIjR4CcJ4PMkILZLxP5WMl6noCfH0VoqFdQV/rCdKUb5d4A7
4fzXdtY+AAUhoPl9yrQfFgsISF1UOFU0S54eLZVauehNylBOKHsdiz/OOXmy/EWIqyEk2D8tXnIl
UL4D/Ht1YbK8gXpyj90kd/GLFY/AIPG9PQ83A4ppHEzgjEJ7Yz6Dk6v5w8jq9BT4EQKx9cIG5WDC
1UihrD2QWIo0jpWZBJQaRaw4BBa4wHEzfUsfyep+f031p5UhEymBseB+/oaTa8U28GU/8U89pZZk
J68QcLgEOwEbYfWo3NZbEq/VyKgyjy3VsU+05irem5gBC+RBxVsLxwsVlEfEsLcheuZP+cOAflVx
qB8QsyLuddAi/v2h5R/OJlU2FBOQhWKymyddpVCuwzhrRP8EHLlUjkLsgNsnbEhPQrONxnuQU6YE
h4/QYgH/AxpZADBT/OuWVPVHEQkaQhb5mxOsUv1KF0r6+ekoOVoWtzYdln83m1pljdWavX/SEOvE
MSDEQW3lRpfGPHYQmfy9yRMaRHy/z4oyXnaTWIsOp0jd2eSU+waZCTlRnMTr0BrHjLV5SHbRu6ot
9Y/+0Dz6AtC/cG1StdkFON0+I+fQnXxvoc8Iwp79cm+9u/QvYIaR0Z+wPTSxjvn9AaUfImVVUcEW
89VMZmcyMSa9r9LRHe9kyirkjxIxzH3aHiuKc1lOsZhUGufc8MoS/ylIYFiLDrCij/9MjloxSmLy
AZedrJ0QteaoleNwGda3ZngxRlOi4uD4wexhGzfNPI2BcY6rB0Lm768/hgDTz6NoMrG4ougc+ZML
1e9zr0o93l4GnsSKYGlk+taxXgvTnAn5rhevDPjjixsWtzhTbqjmdCFmoio6eqdgh8O9UgzBXWMm
N1ZurCRkEhP1NRWbeVdT6AXkIQV0Tu6dCCQhmLQgQH4NtYrfZ+D7AlBFYFaGxNfQFPbHZAoSS66G
OkvcU042gKRCdiB2iGD2q4m9qwgjmitT8O10Gwck8jdEiztfEicDuk6fAG9iwErYZgJ9+AVXTXit
yf0Z3f3zaSfDTAILRcv9zo1j0D7yVkqOfXARzEc9OIQA+chEdNDwQwpvb6uU57jFNBNMikMmqALx
9Ag0mAzv4cpcfzuFJs80XfWhOmSdxjOpCZxOBR2xiOvyUEivp0TZls2hcqiomcffh/1pwkn1yDgJ
hCXZGp/qS6CR+LEjNxWjKnWFKQ/pXA4Gf2Hl0pXM8ntey/t9HWk8Db+MJPNqRWv4LnC7Q4lpeIoQ
WnpSJBw+g8OQ4VZ0LHpK4iAo1Svh1PdGvipqaD4rvB+/sI3+HdtXqDIkXuQc2VvcOBbKKhrqhoh5
x0gK5Fg7i+OFoyEalML4xCtZA+qbXbtolOmJMnmMyWR3mtEVhec7KCSPeKttFr0SZ6TNosam1Kve
LFhNFMoa98NAFuvap5avDT/5AtGgBnXRMgtFRtEn8WmaxZG0FLxm3oxF4fyp8B+CwZ9pWrnp+4NJ
HJRk3IT1XdafK3pT5sZNzilU70p6MXppS+z7+3L8tkosY6x9UH0QdQ0w3jQvEzvBirve9E5df+C4
Ec1FNOwkpO5ISDp52wzPibdFAkaWX6+MPJ2dycjTTM2oZSWwdG4dYhQpfckQ7WmAMnQCYQqsdriy
9apHlLNXdyWzVVZXGtHfwpDPBzBpRFMGA5E6vfZU4KhC3xrwi8xDGT626aIg6SIjDYVVKV9UGhBU
P4z/W4DX57DsC1UFBEtqPtkbmddIg2sp3kmrtol1rKM3i6K5vKoAMnvKlZ04zaLGwcYsVdEsw+AD
j0H8l0PA8j3RajvZOxUYfmElWGCssa1wI4q2XncNMDONr6aDTcKXqs7ENAhb7zQg0VmfxIGMV/sI
HRIl4GUqZXMq6Eb7yszm+rXBxzf5esV8Dg6OzZAsgGyk5P++aRxrQ+21FdFDcK8AKazxpsCZL86X
OVLniYKUmHRfmZCCJA9kFQJkFdqD8UrD93VARKW7/D+sbxnYiapQ3wN8MDl8ilLrjXrggcIiWxbV
seguLCwvWbTpXnZeVe+G0IYqEHvaJOP5ffRpLPWf2fjfwSdHT17FZWUZpTeCFw3lwnfvATHnNwCn
EKrv22svO77MdPbBS7Oc2UygpSbjKUlI3dTJoWn7j3Hx0Siv9AirDF8397UpLgrRcjAmetcQbWPg
8G1cYLnUloCOgdz+96vXcSw7nsEtExV4EzGRlGqff5/Kb0HZOJfK/44xhehlXt8WgaISI6ljmCSw
lAiR2UQizOgEX0B9fzU0/Wk1j3tWBOEPFn1KzinlyPScpiE4oZPcL6gmMZ5Tr7p+deXtflopgEBk
ADKyJLF9/p1BTTWFAUMNYmD6ZU6J0i0qUJ12jspqLwf0CPV9ZZDHG8A6IHOIxGJlK9hi+tI14A16
ukJpsTaTl6t54k9n19cnm6wpM/bczC0r9xT2c+6I/zm7wGNeRcf/NN+6DmZKtnTTBJv67yy0QlVI
hRu6J84tP1pVyZrLj51y9aW+hcLjaqK6JqomvRBq1pNQ2AQCMwD5ZyQfAUj6QA2NDWBQTg6T/kWi
IyTo20Fd1ciENK9E40p0qZBWi44GvTseKfOKK4nxT0vg6yNNXt7MHKsXRWJSwXoV462YvZbmXZUc
Rpiz1NwGtB5+X3Q/zbZhmMiEip/p13TNWWrfuaGJaA+hqXnHuaRW22xg2k+/D/SNr/Q5219Gmqwh
zSkyxak04UipwaC5Sh0nbID69Nu62/b1MdZzOwNCGgw5BdkFl2MA7FrF+8gyybwUABy3egv9NQSE
oq0TI7ENT6IBvm094BuVMBNgpYnBY0zCZgZPBcgctedG33ot3F6XVmt2JWSTfzrzvs7eGFh9udPD
JJSyKlSF4+ebQBbjUKJCOq4ggTDaj7nqUOu0wo1Tygupwr4ZZE516ALaz9XZtG5b7dbvT11wI6Bm
gh3S+NSmVmMH++f3+R9XzvR4/vqok/TSSAzdpSkoHFt5GxSPHGAmRY3u2hk2rZuMXxkyCfe+xZaS
tEngkatdK3tOxIyolGNR9YUA121FlDKplA6gvYz3qwfnJ+lj8m4Gni3QF0Tp8+L79zPkwMXbRLMQ
PRru0t421DvJ2WvKgRNbde6plBjtwavhRyMlgXz00UWQxIDY4OwD765ALKTNX6xGX/YFePdGm1Nc
p9iISTnYc8rKc6xiBLAygEw47TLqL1W3j7jEg/cOIF31BwxI7Z684pIZB62hYIbCpiPMLdDqhNDq
ms1EDPT79/wpZjaoko/xskFx8fOu/LL2dDkvvSzJyKjiVeSvGurOWQs+oWjWgfSshfDjXlSQKa1c
bn4f+rMvPZ1vxfz8viI1vGmmMjhZJNRC4hyz5DYzgn2OJ3eFC4egI06DjkDW4KTtou1adzeDi0BO
Ei4D9aQqR990cf7a0Rl0MtTPLWedeyh+LnUOIPwjUIOiqos0uJU+ZtjeQAfN56Zxbmt/FSoA73yA
PTrrVjkO1AhilHes5llhonvcpfwcGcgeZ7rUWvR1g/Q8kmAgRrrbRmgWgXmJLdzrMuMUgAd1vWtt
qJ8SOAq9/zMt0zTK70wp7fpxWlw7YtXJwnojyLcy+OXWLmghVcdMfkyHKzv7hyN8rC/rAAkgPSjT
xKJrrDrzkgA7LXElaMx8gdQ/+E+rmbXClVLGtbEm2ztU0k4IFdJ4Vzg40ahDh8nfWxAtcAL5fZH9
OJuaDMNVHyvF0pQNQ8ZmNa5XOkfAABEYNGVPiibp21ZYSa3dooFgArxHDuqajIAyntrT5U0+qBhj
KRZu0SQtVBO3I5znO6pDvqBdaGlbwXiRlZPSLFtrISoYwKQrWQS0A8aG3qIa3Knmba3sxGWgIGzQ
yjDooE0gNebbsCMA4NC+0z4aDVoyBsd06PzmTNkB3x7nmv73DyGEoemIyFBHgOA55U0GUdWrXYl1
QxK8lA0C+M5T2z6r0mPqn4JMt3EE+v1LfQsOKVpqskW3ji4htbTJzZI5XRt5A5cgQbmSIE/3mdk2
uA5wPVvXyGDf7jGIIFCk6EaqOm2gac4+WIEwxOR5R799RRDYBc+KikZWXImLJhxNAk+qsGN8SL6h
omrw2XP7crxGsqDmTlGFu8KChZ6mW0NX96ZJHRLr05hfO2XfIRObaqP7X7SiKE2J8q/gXqucjdP3
v6vxvw8yXqYc9XBGP2OQLw+CPd+QGvEQ7LyarKp7zYCLlnM1P4vle1aipqsdTZjozYCitYIiKOZr
7sf/zRf+zyNQkJJkhSARjvMkSHT0YKh0z+r3SouIMUYQbfBWBLdyZdke1OtSG67N/r9J7OeIJj1g
cyzMaIaqj1v0y0unglT5eZ0mD1DLMV1bD7P3Zx0J5dmVN/vpM6O6ABmaIhBV/s9b9stAlhh5cesm
6UGq5kIHjM1n3Sb7JAs3UvPht1sjWTnaJgYelUlPAwKbVvny++xOaHj/edmvzzCJjEmu+lwK2uQQ
Shw02aoyIa445XKksfbuB2SRlaYkmGDURYkXcThTur0jDeC1UIU/GxRwxebKvCg/fQA6X/TnDF3m
VpmcgXXdBKmQhuHODapnZ3gVkcoXy/5WbDFdKN6dIF6UUTFz+4z7uZnn4aUErTkE4PIBb/oyijsS
6MvB3T5GtMmBJD2k0Ko7F2TxgMGf6lmjeKQgBXsL9V9ewJHUpa+G9u+T+9mq+nf7cDfSfeVogjgq
fmpvfPnASpAFrhgU2V6TLwodDAjBdgHcXRJpKKowKMTcXjqV+CJa5w74sAAmEQF4oYDObFirMmiI
6GmOooFf6O4iij4MHSE60IEagoJNYjzHErr4gmIss+ZZynZZThkrptbe2o35wUT8/kKfxMDpC1lg
BkHu0CAEKPfv1lDrVovywR/u8uQGG4IEAwRhL9RzPecoWGjI3lYLUVhAk6zTk1w8GcMtdBkk78xi
kyQLmg66uhC0ZX6nxLZjrWNu8ebv7w/5eSJMHtLi6hn5myZiMOpk/8aRKZHHdhliGz2eSN2sNlGU
x253ISXxOkR3KNrVGfjv4Ultq9tGLW91FeVQ+nmaibhyf+jQmwMYPFToFhlLTBR8YYdLgQFrStNv
c3lXmdajEIr7QFbXogwnwO2ERa28xw4Z1IZ0Ya7gltdbYGJp7CDR4ZrI+pQiBPDqUWjqhWj2G9dp
V+PHVMpLJ9/kMO9pAlwJl6V/44lxfyMMAcQTZBxHDF2+f7+YHg9JnjmyeCd1N8kzaqzqxqUQi48h
635FZuFtjefiGlzi32v5v6PC6zYglwILEcdQ7svCb9uOGap9fd+IgMuHs6pj6JIunOI4YD/AfPz+
ySe1uf+OZ3BnQmMiEp0e2bmmIGvg1unDxTkm2Ns3kA7SBxQ4rtwN8r8Bzn8HIrVkB6BhIX/2er68
mKjGZpvLXraX5J1uEaEFp65ch9IxqDYpVU+Iy3mULvK238c++GT2Y+uaOG5oW6NC2WLUuQqxIDXI
shvKaT2SIv0pVs6ghBF57YkliugPkgmXxPGuPLwywYN8f/rJ9nWtLujEJIPyk4QXwyRzNGr4BLmE
7x3ZW1vuS6SYCwURfU4pUTuGA3LUyS4AaaZDfqu2w33allud6LsYBQFVfTdobPedV+pLydi7FNQT
jaY5Wprym2raQUftHbdD0Hfzt2YDFyWeW/fWvX4c5W/FVQBoWzxZ9sjseMWacoc0Mva8mxZ+DMwL
wNxw8xbo296gTjBTsNNS7uCfwY+QF/6NjAVJs2k2KlSZ9pBl+PSVh/REJWYhXooHATd6H4c+nAbs
yr65GPYNxChkAREQnmGUvi7nb7cUhJCldlbeXXwgZEQKCu0em4NtLq1wRoHEksx2NORmj4/pflj7
C2WdLOO1tXzD9TCeu+gVqRf0ZkDtj48hL/rXaoNVNJAnmDN2Zwd38EuXCurF6Ww//hG8RLcyfJf2
Ii3B8i/R9Jy/7Ou5DeQZBbluFx/SA1BC68lZOSv/BCDjQVoigwzJeFHtIMrwI4XfaJpZxUq/1JcU
eWJs7fJRKGHWK+cKB6YMy4x05NoODwlico32UUbE/HFuS9geN4b/FNT0HX3PFsLoTWA1qm02ly1S
BBKfVUPnzwjduZqJdhrra8vwFyKwf1+FAqPgQZ4Gj3WO1wGNi9BCs80vl2orrmrEyIvwQZKFYlZH
dTejLzyHcU6ZPNoh1LEuc2zuvPoopI9Kl50UVHcjwjpZ8ldWHB7pVe/lKAHDXHOW4hmncJ+Y6mMb
KEgrynbV4DGceQdHXqgVHlOjSlZ+8eWYndZps4YeStq5a6MSbSPE6sGjE5GoeymA05hdGs1ZHoIe
j7WgnsmNuC+i6KnLoWaJgOPCYo7YsQpjwF0pVrvr6mE+2t5hBrzVMgQHkDqMXGmbxetROBe9OScf
WWxglFK0vsRQ2MkSzBjbTCTEDdF27aOzO6Tz34+7Cdj4P/sYHK+sgkSzNOrV/x6vTmwqVkwpbFeo
7OHOxQkNQb4GH0cN5LhSo2CtFKNsMCwTwMRm99jpxHDtLkKgcOnF0OtC2FR5z3LAtVXb17l65Uj+
JBn/ewurQCmJoS2T8x9lvH+fsR0SopBGwMMTrKQbYizZ53boUJARP7JKQXhQbSmTYHlT49PsyKjh
RvZ+ADQZ0KzzMAUuonivuheN1rwZ4u/Cp2lVhK7xNFIdO4bB1Wboj+vN0UiKeYcGjKE9oydyjlFS
ruVo0RR/axn/UsCV0qmoquWA1J5Db7s2ozVHObBJIJoskqZ4cWtk9oNk/fuXmghFfn4pVaIiKeum
pmvfEBAh+iaBETk0lPlIEQbif6scW1tNQr0wmQk4guuIiUWXQoDK58OUc1dOiZwJ6nFus9HxSOjv
jeDBh6YirSwF1LhyNqhFBQdcgrphFyPQbrygxJdyGrV/LH3vV5euh2ZqcMtXuyHeCYKA+Y+GyzB+
3IjTobWFyYY73NRMzKDdW8ZNkxyizsMObKfEf4v8wg6VdNuInnyC1tJah8kBUmUfYbmp3vZcXwKF
LUiU+aHMHvLUR6FjVhMFdf6dW5KhpX9S7F2CBBR0/PT7jH7esNN1paD0R/xJkQEdnn/Xlac6FQlS
FJ7wx0bHT6ERNxfFtaXOC8SujRcthDO5iVMYQ3fOp52519tD8WFG52jsXSEYhRXKlav1pwAETCgw
cI1OGencJOZsPRcgw5DhQhHBZapsrSZIbx7CcmMpeHYdsLXM0Xz+fS6QyeFlv0/G/w47udCzNq9C
fRDiw2Du5Ty/1Sw0lKGsqcrWwsSkrv0bUfbnWSouJBfB3s5aFea5d6GvEpOjTlqDV9dHj4uifahA
mKWSMcs0+I9Kt/K1lxKSshpyykbRysAiVcx6u9fEhZvCwQoQdpOgL4y+OR9uPDzWCuIYYr3Q0/KM
Q7jLiqACa5d+YCvJR6Ou4lbdxnmzkpoBS6FFnve2MKA9GyYLqrJlYs3LHBY+1gKB6M2fkuI4pqEt
RhBWa4u+f1SilVe4OA+dpa61VXS2C1NeC+5rWcXYI+KmMOCrUm4dahOJJiAecvQwFCzAc9aYohjV
1lQgmBriWvaPXRZAgkuWuuqvM8y7eE8ZR8d0IEvJt67uPVYZ+m3xa1jrs0Y4RlIxG/NOPXQI7jBV
HwxbR9a6zd/9pMOTBynniB3gIGvq+FDJQmXjY8ZRpfB1cLTK9TtJgYc+UgQQfFShrgKx1Q1MPWD2
dJiuiX16I/c1vJ2LTMbiyOVOINcuahRXneqmCA1bA9w9jtQj/ReXL53PBsA4xHJ3LV5RXbbt0Bnt
oqNVHMcvrmJHqDcooJfiXLPOkUR3DXMcv4AFWMmb1oLTzbbonLOExvVQrAfgUbK7NjkKLYO+g7qX
FUBSfG86AauMU2UsPCVEcMltGIsr2T1HOi4vIvdIlm6GeEbTP9HyZWYdu/5vD4YTBIYCrL3a81jC
iyetQv1diNS1pj0bwp2BL6pLaBH3CzFHZoR+ldwNqEC8Z3ymqgLDLqMWzAxZg/LsksW5A+AJ/ENa
J+U6VtS70nNtVX5H54a+komZXIRGHGRMeVgEiW53KmrJxbnSinsHf8uWQ1Cndtro6g2pBP7MTJaI
TQVs2/7WKPq5qhkvkWfejWX+VMExI3Sf0y62czHHbA7xEMi6PZ3KhKPbkJ/b8inu42aW90RHof/K
6wWUHbQx+xRfJB01XuUZlsg8C8yF7PCfYO2qko/wJnlnWYVhL+SLvups2i30qaSb0U425H5LS3nj
m+1GqqvV0KPC1s3AoO+leJu1e9qZ0OWHeQiZR84MjjbRplB/DJVh4WXeHiUEWT7DAtDCdYFvbY3e
Qu4oM5UpFAR6GTHiuzo9KZHvH6IOrA609bVlxvrvSv+zuKj4KSECpgT5OYOa7zadrUnRykKLrdFq
qLWw/OG7ZNdQPP928v5zbYIfofIINhIRk8lx6hR52Rmc/vtWfOjcu0LeuTpW5R9pgOQiFQSQOpF5
Tfvpx8OUQg3gB/JkWvP/3iwJ93ggha1xHODXNvM+WKHzg0WeUd4Ht/1Zt6ME2hR+B+lboNwUY6qH
NWsLR/v3Y33SXfvP2xM1ED9BeZFNc/L2ZegPruM41b4pjzhYZ5hFJKNK31FGO14MXusKLY1iV4tX
Rx4vz+l9oqpwIAHRaLpqjQXwL+mtlEVa3tWptq98Tr5NIWGcBlmllolZ0r/RmCSKd7HszQXtWJhX
rnZe7afhdRPrUGVExk6/gI/uHDTlQdvTyLvBHjvMyoOvP9U1LpB/XFqcMtSZ9q0J4IBE5nIQnI0k
wD4vkdZQ9D8dRRjL2EWcuUPybMYPeuLDIj0nVAe1HOIk8tKtMgspr1nVqsIhUOELVv7ryNIyLx5M
B7NB/mN49RS4zA12IjGlIwuKj0FIRcNmJuxSrhajXAkIJOYWDGDOBIHlEDRkW+AAnAg/3c5WLDLM
yrsJe3+RRNp8MKRdoL+LSBoG+t6E2g2FOBpMTuzbpofpj3uRMXe8bDYMh8bBong499GF63iudpy5
ytly3grtxQGqqqv4krS48xlox5QcnRH+jLFie5hAlf173uC7wv8qlcW5MOrlcT4AI4k6cyaFL0Z+
VOuPQDvVWTfLag1SqHey6hrfxM2AfV1irHR/YcVPpk+2HqhLoRlWiJ59JEWxDtn0oSNwUr97ONwn
z56Aar68jruNKVi70H1AC0Lj9ErCbJ5KLz4EKi+5EV3kxTvErbFjbAccdai+wS+b+T0qZ/qbp410
6ZTuUI+s+VMvFAdEMPC8coxZD88nNYtlBye8jIZHBUY11dYlmrVo8eY4oNcHb4xSm+Ze8eR5iEGi
JwDj7buNhb+ySQZaJfUijooSvxRhnhFpm7gUxzAfnVNTb/I2XCgZ+A9o1llwammtUKeMtGKuscF6
7lqr6Gw/RmW3RhcxDt9FdETMrNskMY6sBHxG0cx130cD9pzJdw7pVZ/uzChcW5l/cqtoFSUHp4yX
Vfw3oZYeQA8VDHfRpNsUyV5HekJ9qERspA63urStc7Ry0zNsZ0nuwbG5M5HCtVDecRE48G+zAmyJ
fG96f2Xp1hgZ+RI2di9qoC1boqbWHe6cEi8lJ14ik8oBxeSEOItrL66xER11HlhHC4PvwHphS+na
bYO9e71z47tBf/eyTYb6j/FouXdy8xqjmmuAoiz8g0Wim2B2bZ2x3qstbZ4DVhCll7rdt8lCby9h
QyElP1BVR+fiVVJforKYl2gf5NFJlPFRDBX0GqS56aczXCU79X0siXveTRtedMQc1MKuYHlrzU7C
BiwM7Sg9zFq0PlvhJbwzKIsP8ULBN7ov6o2Ic1GKnRU+CVKdb1s32xph81AP+TONpNug9G3BdFdZ
sA3h+s0yc4xjn6EVCCbCCbSsKkCKRYhXAsAZIzs0vbPTkZ4cNHO2KpOzL38IPsIRRbxRrbVRb7wW
A3AU0HNxidpsHyD/GT1bOeRS0nxTOZfGbSK9DMnFUpdy+aRh06Ijs1+7MBgSqiIzsEABwM+8lOy+
bJZlr548eIIBHkuG4iylmm9NKOT5z62wdNt4XVjlUbVWVrdphqew/ugTGJ/aQa7vixCdg8WA0jQ+
wXqBKE1yCgUurVYj6MHqxXt1BGeWu5wPES0lFWUY+Hi1juA49EAE3xeJ/BSy2VN2R1Ng/aShE33r
ULWIUoXDCIhmVa2FWL6JGv//cHZeu41j27p+IgLM4VYkRUXLcrZvCJfLZs6ZT38+em2cVaU2Whsb
aGCt7iqbFMU55xj/+MOmbqyzMuHuXShuH8UHXHBXsdxteyqNdsa/pELGqn53CjdS8VTAqq9UZIgW
mW0tzddw4DklmbYWSCzImneV0MOll41LfGeNfB3pmOVl2NqV3hQTG0sM4zhsAr1fGz6mO3iXdKgp
RdLecgw//V8apbKc3OYWhm0pIjaYcItjqTbeScMhxlBiTPHvsmpXYxw86e1em99iBYSkDleJ7nZd
cGwJkmhhQY3ARQMmzlGMgzbiojhM7wQsStrs2RBEPPXYv8L0Qa+9TEl2c46Tg/gRG40zg/T7hWRD
EyDojnzIcFVbcMbkkXwfwj0DGc5Yl97jSubSMDwI09vkn0QTv7wM31ch/wI+30bKMsBlWBO96IG1
rgeSZ2prny2/2Bdu24i7xP5frdUHZUy3ujp4Yzc+6F3vShQnekpam1Q7URVu6QAtsd0HM07FWQy3
l5C4tnTGQPEIpd+nomBLU7kRJWEvIzctiCec5AfaWeTy4Ix4ItUxTmWkVJQxXCZ9Vb8aIQ5JNVHy
6ZeWSC4iKbvDdz1aKmUtPRi5giErY0Nd2YdScTKxPSpIhgiQSCEkw+0CcfKtAUujxlVPszX6TSvb
jNnLNJHDS/4VObZ5eCvVzTqZAtrk6BBjOGeqH2PKA8DvM8YzROpuW1Nf5eRR+S3mU/XDqBvvhoV1
hCfuhxnLWnOdLvHPvF1wWG0xDL3xBSuueB+bm1H7jQUGXtfNXkqYzQQCBD2ku5FxnkbB84d0r7GT
ZDWbiy67AM2dSFAq2Y/BVzB/ClCWqwfW9dRpACTDWhNuFIXgww5uecBBbCrYLnQOz+l2bIc3aUSe
NT2EyU2DVU8x4AzYMknNX/yGbCrQ9q7fjSSGxR1IzzcyUwDN8tAsUC4AdBEBDL1OVsukZeGVbu0N
YdPGRG+Vu6L2RAhdzFF0bwI7G92QLXeyybOAcUS3Nvhec4v5lr+mdhHbVfAagoC+Rf3K52T8oO3P
R0eljpfZrzDWismqE3jn3Tr6CHcd5fap/5RecGdRcVP6Up7IY3owSBBOaCLxBsKsHoIkRkcG7W7t
3NSRXf0OsB7CK2dfMuK5hYglEciibqVh04gfFZpSy02Mdltzt/WYuBZgw6wWXtpp5wBEQbWgq5Fy
CTI5a/lG4q8lw4iC+kUMCdvBfTKsbLlqj3lrHYrRugKh/M0p+p9SG/4e+zHYDeKXi4JX0aZCHTX9
mIfvo3if6jszPqg+hpbXZKc/dRfgtSJTGV0Cm73ArZJAL3thDOPDIHlt+zCNrzI12bTqU0/XnqRr
g3247z8V0/hV6yaNC5Sii3bGKkN5zDpNOktshOGjGT1H6tbCn+sNB92ZQB0QoHBtxE5HXGJBHNgG
TEicnACTUWsrShtNpPLxfNORKYcCZ0DTPKyL6pB3+yrcVPFtSvZLTH9INjtgsjuFGxE7KfMQ6h6T
ziLcTdUK/yauxYYdd7hvOBYeN/BFSFvGTh9IVN6YWChhWoRzFf5iZPsWdv1LPSlv7K/xvfhlpbDs
1s1rTHrbZMO64iihVGwGWx5YXtv5QULPEtlis+IGG0LOsXsjG5iaRnO6z5kMNz7SI4OMusVwY6VN
bofXquEKRFbGJHDjJO3UZAEHWIZ4YMutvKPOoEBdJmHauk42sDAE+lxmC4PLKZ7Ka0FZVeD/k2ei
4u9wP6ozhg2r9DnDJY3o5tjOCW7myb5ywyFuTOhlSVxdQrCSB5hZ/OqG5gOTJ5qSgBpzxR+HT4yW
TY/21mzc0rJVcDXWhUKgESuukW3jbRrXMbo9ackh7ZY8MGQuktPSjsG8m9ERrgUiY6lQhm3nrzRi
C73WIHwRxGWnK5slgbdb+9FGa22qBjajNuXkW0GJWFL3SrcqbY3hUmv3xC3O2+VfsdaTvOiLgjnA
pYSAEMPlV0rkg/xGoLn8PUxh+QgBHwFvqFUbOEzOiWirKlcsnCud8fLOXvanGkxDZtqsIclcGsg/
+lPYvbk2GGV2kIunPH8TBnWbSlhNam999YmljY19Sg58KebnIT0H1a+BN+/KPfywZWgQ89BeY6EP
NnFxD9bsUzkFcXxAblJ3zOw6qKFnUaHXMDFpa956gkg7w15AHAkHrDbY5uY7Js5WEuBg/PDvt/O9
Q108kr9uZ9l3/ngksUqUglJU4q3/JD4Wg0vqlPrke+B4GpYzZeBF75N/W2SOTD2hujpYr8FXPgGO
mtsYTs/DJNwQKaV75QfZI0GyRId0pR2ZBAq2WE7KFfMbyoLTSAa68NY7qisPD9GnQSAlE4zbSnUH
haqeuhodg8Uym2sazmolytCaSG3JaW3K8XFUzsb8VmNTUTtYniJ5IhlleKqvaZ6wLf3nW/LnI7nk
DyUm1YqV+fG5ZFSqetZiRvZSdOtux1j6Frur+aUpvscxGLe6vLFN5U1nkkaIcFex4cAsQ92an7qH
8VrCHM/JnyVivXZsCqzWynoqho3wC4WgAHwgSp7RbMbqwdxR8EjDS9o40fieWXv9qcqdWbzJy1MT
s1aajWhn+l6Sn0YhZepuF+9Tsy59uvCVsQdHSKffQ/vWFlvFXMeli++2eUtNlSrvMl9MtBpgP2GZ
CvPUP40ufmxi+F5lb6LyFeI9UmbroD8LBO4ExLbf5c1NmJzD/Fbfzumx/xVkv8TYSchyxqjsueyI
uMnyE9HpLQYb9xSOCccSpSz8nVUleFmwESzXCFbDreYpOHl4CJXhvqoV5rR8jE2Vn1LrGYWBxozW
x+/EroZdFsO74hH1GFGHz6REzsg3V4F6Jz+k7Z3aA7qSNOFo9M430XaQb7q1pr4I7+oWeMbCifkE
Vq6JXp9saN34y/z6wWnweWPKK9yJOOrutHmXkFfLJqMe8K1oiWP26WmZhTrGcC7mO2ZObGd03S8L
h6ByX+raKTENHWx9OlqxJxdbYhxp6+dbaS2/J6T1Wo7w0E1OEp8G0W6He303Rryn+Ahu0uJEvuZK
L5xq2mBIm5k7wbkn9Gc6syo6YvMIcCL1b4NDjvrWtPu+OMzKmvJw0t4K4sqirXmDfVzpFScJZ8XH
RFzRPee2Q2xz+6qmzLA2QU9UN93wqLDHYvuY7cXp8DSQ19IRMRGDEdi5h7/Ic5t4y2r6iNapsq6B
y5nFCAdwp+xdwfp1lWOD+0oRlvN8CCEaDY7+fdUseTTSI6Zgh9660b5IlsVn0thm7W1W7izs6Gxg
lEi/MgP+aSqm6dBX8YfRTJDVi5rHGrR6Dsy2eJhwMo0d36H2c5F8e9eAy5/2ZASHOkeDDHR4qf+T
qzyfp8AoqE08er4icRNikahi5Md/325//kj/vdKlCnCUGMggLykOPZ61vmeSj2XsCJnGAYkBcyI4
lnrl0Fsw18sN/o/PZl4M0g25boJq1AsGvXQrj3n/VNTnMrnyXf1A7VNhbpv4f1gUw8C/f58jitgX
RmtMMla2kGRexggaSkUtdPA5BxaXt4fhNQzXMI2L4kCFgzMf5JIBucSrQTdKcBYWwjfynUhNub3y
0H8oZTUEvRhTGNycIV4cuaJApxhowLfxVnJOhJHhfUk7gT1wfKUf+PH7NaCsEYBKgfEP2oI8meNU
akN8YFZINYtHA/PLnYyJdLtr48+h3HV5deWiP7QG0NZoPuAHQCr7Ps/+OMK7sIqLqAZYCSpkKx5o
tGgexOgXL/DM7Cq+Rpe78Cz77no0w4KUsNBrIUhe8EdEQ8tCJTXTA5yJklR7PIvv6NEjtlk2TJo5
bLl7pqVLVmQTYYlhByNyT1cNdnRzXq+hy3dH/76BvDXedHhu2iYjVC9I1uEb5r3n0Tqp5/GUNbYU
bGgMJ4yMjWuF2A9Dor8+xVIs/vHYasuPcLpXIlhFd8DuqL3M8tFSd3m6SDYz420WrryI3/qFy7Vo
qjw1pM3sapcDipolEmVtFx3qaLpJMbEQacbR0GeM0LrdwnaCg7lVEyhMDYcXgjfen2AAbozeAWgK
Zin4A8rv+aRtq/AriD77+QaxGpxBmzTOnipa+awbvK9UZBMVjrBW4QhFA/JBnhm4SzBwkgyUeBG4
frKSSdRWY6bZCU62ymdef07jp7Ew8jXda+9ifFXUHh6AMWyoh5Oc/MkpOURN5rSZYeswUup8N/fX
xnfLvn7xmHRNwkQIegaGWZeyAXmS9SYOovwhPtBlrbaBS1ysPa2Zj2JpemVz+PFi7FtwxZEuk9Px
92sA+JILspnmD3xqZyZ4LnUEzIjJrZVxU4uu7MYXZkHfa4fDjBmVDHTHRZej6I+3zuiTmaaCy8G1
O9Xb8JWJx5IL8glYQy1kNw9kZtvXCLUXiqT/uSyb33JhTtPLPaIdfVGXCy47ncUdge4ebJ6d4nUO
Xumme+WR/nDksDWgQWHPRYekXTxSCUaWgHk5eeKIOtSdmk13RRwc0lK4/dbD4qJpRm9pOt6q6i+o
vmtDaHC7lffIkfQrIVE/7cg6PB9VwR1VhU18scyLPsz7TuNlAsxcw67x2tUzenTczP/9U/+0KzJz
lKCN09hp1uXilkKcp2azl4/CdOvr90HyLGGYKb9MRD1DA5+gWwb1QZeODdNyw3islQY1zItm/o5N
gxV3zAAhk+I9I5M2sdxlDKZP50HZqeUI+eKtoDFUxJ2fvqYwXYLwqaYwjWp5q8AesQa80jOYIUXh
aD6u4Ca01+Tp3z/ihWb4P28RbHCCf/DXgsZ/8cUao6YGcT0rRxM8wTI/p1g6qxqsz2iwg/y+hX2n
MBaF82nr9cLqqO0OGSohfD6zNHrNrYUErglv4njxuSRdk9RTLMl4Sv5g4QF5TQoFBPfDXvLnLS9/
/sd6m+pkVgDu1TMEkUZYaHA5SmaJsSXOoeC9C5AM52sE+w0dOXcVKn3VBlWcH/zddNPW7n/+gtis
9cFRVFeEJ1gwV1x1n/huAzNVsAVBXO/4G+AZ/A1GfiFjYjqpu46wSrit0PFugHI7rzmO0bY+zVt/
N8B5M+1WsZ+mOwAhaGXJPjtXjxre0/n2LibNle6QrYGOurEFZWMS7jriREJwJ1mnEqBPZPcPQeEC
G9A0kq/RTC4DQDXfn6bc0faMtlOSVYU7i/6qJSQYZ2Z3YvZT7+NsG2qE9TqTtGa4SsRpEG5gDqEi
6uXHtIRmtYrvs3edxB9wJKi8gHwlTrwc9m6o7wE65dZp6arMB8FtgYfGHb+n7tf8KjG6nYxDuaez
43/F0Rv6h8WKgHjVsgZbsfk5biMmjzR4FZRTFt/oQFtxsy/6I4Ba+ZgOT36/9fM78DciYufpAN8n
wv+kcnNyAeC+JHuwuowhgbHjvyjh2u8ewPXC6VAlbhmt4wgJ0s7QjgrBZ5UXDdtWPzInForNrHs9
WSWfgeW2jReDE+ongxQe7WQOkIqO5ujpKslZB74JPjwgIT4djFC7VwWssd6K6q1BcoEJrWFdac4M
sZ0p7GsVe+q2hv8Vu5FmB/V2VaHZBvTXgAJXeUz+i538qvO7NPYwBZAJAyD7ol/PkLPwcS/x1scF
gMEAoIeLNhXMsLbc2XQnnCkRxrHGEyfCmlN2B5NwX6eCCm6i7/aqzBYze5hRqTjAZpnMqM4dI1vh
N8zbGtqoAWhDp7v06uE7np89vFVt3Yi3auhaksdoBAhPX+4zG29AIjEsVHRHhS0CFgCx2d8L3bpW
tho70OjOkzsE7lBtzMgFTejrdd3cLXKrB0tbM0CBIl4RSyttE9QwEHV1m8RasYRAvEXDHj1F9zB3
8dRFT613HgAiggHTd9Af1eQkhM4U8f/3i7SdRCsGeAku7WlgB9OBAAQ2DR3i0SeDXYjRBcfYp8Gr
y4yZnBdy1ohEP06VpxaU306Ub3sV+3pPItuFU+8XExMx31qE7yibab6r0jM3CN3XCn/PvQsQYEYn
Qdpj6F+Z67FzQ3lFtkneuAlqpRZy3Lkd1xbEiGPcejDaYwXs62To7qA7CMVZ/ILp6Rlb8KpqVqaJ
jmdjTct/l+pto+/ZscdX2m2odRPBKrEjjDvZQna6SganzdfMq9L4BsG9T8CstBeUm6nYtXBS+g1S
IWl0CmFBLxRhI3XHHhUF78Nu8rF/YyJtAwqD5GYw16W1CS0uPMloZkOGw9wczt7eoO25aUNxUXnD
aiBLezMXB9zm+eSguMvQ7RNYN/oNIG2hTzccyiBGnvCG9HNO8gKidMB8OHVAAsJK+a2/Ze/spMuD
+4VmrjqRQy0Nq8Fcq8l5FDZNswfyhnMhdzdAmOnoFrKtYJuv42/htNT7pOUSzRE5SbjWRV4JOJfQ
Qm16iX8/u35iRXE8//fsuii8er+AI4HB0ANOxNtTSezwxwInkNd7pbH4gYXEheAf0SCJMpjC3ycO
DpEGmVfFgLVAcFZC3l4JZ7qM/BREFyqTYGu45kH2Qyuz6D9xVADXXpr9vy+ZaalfYGBU3bC+4AFx
FJBCVZAqjBcP1IHMIYbx//A4qScp0inQaXYvemq5m7R8NMBmCFn5+tWvGBN74R0Debu7cqnvCu2y
HfhPzquydE6Xdpa97ifzLHIpgsbW4M3v4hOm8Gvcf5egZXGtfTFAZL68esoPS+RQt425jatV7Y8P
+Ttu9j+3cVH8aGFktpLMbdQOjnbk3437j9HttuX/pSNZWIuU6gumol9A8iEMHoHpb/4AzYHsH7RP
hNS8Eobt/C8Ai6X8/cfDxaNAIspRwQFiaY/+qI/w4dCasa2Kh8YVPqSX/dJwwQ2zFW/+yu/k1e8r
782PT/GP6y3388f1Zq0Is7ibigfkWOt8Ha6XABaFFIz02mO8dqWL74tcWKuPtbJ4EBFN0UOmK2Jc
nP8F31JdntHFM6Twh/iIsA6b8csWUq/qZJRa5KtMnjhbZThQaNszYtgtOOwFeSqxQUE4nWOMWrKW
vC41smPiXJhZDtV56FKEr/o2G5OjquGcJIJ8txzecMMSuAFLtrLP8EBBtZTu5pJk8SZZCWZlAzIl
bXGLml7xWQLNuUX3JcEEbpLkWVXqsyCIjo7CKoWzKBu42oAgDEYL9E4Lj4ZUmzH06cTjEtvcW3v8
5SYwnUE7+yr9SE5qpEUzyuEhSpN7wyd/QVEzgVrr9WuCXwcmdFrSO4jhEW/wg9Bp4u5xoXibhbnq
pY2eMnUktyltb6vsUQuUtdEXNkEHdIAgCNKnJJ8XloO1cJNFaWtYSLfQsau8f/2RX++HgyNx58ZM
bHcwufgN0sTjqYTbah9v0+J97I1vC6VMGpA/iwc5IQKb0xVR0yqABmgFjJfJAh4oM2KYI6WkrGc/
dgJEbuyLeeq0QK9Vv3hY8xPATWpTbLQlHN7sD8DnlHQYsCvtfTpVMCbVbV4qXi+mp1Im7SmK7DBK
1jJ+YoN47natDL2FxidszLPBd31l/fywXpdTDEGQvrS0356pf6yftlUN9O1B/tCv5UWZuIf/5H4a
nrw212BF66uOItcueHG2JHHRNELHbkTi2LrbtE4EbwO6u62spRVJK0jXVpiOucJNu3olh9d7BwB0
ikfBJXTro3YX8/+VetN6YNubKw9D+Wnh/fEwLo5atfErq2h5GDqBpZAsV/3Gd+oNPNzVfBRImLty
vZ8WOoYasKoBNzhoLw49a+i0OhXyAqxI9Yr34Z0rrqDnUHd5uXtNcPsTaAOX/L+XuzgI8lgM8rYC
t67Xx+8oNaK4SrdxkG4414z41Z+e5R8XuzTbtaYMa6RQbo5ip29F+GiC/iEMu6g9NB22HXK+7SzB
6yQaweguXwIbLLQDlt0J96jEOsZjGPu5SUMOV9qtokW8NRzm8aMjnRNMQOwUyIqt28GX0IZgm5JX
Ah66GnIi9HrZB6aO6KNJMEhe65luqIBaKL6I2ARE0Lf06Rpd/4fj4c+H+w3n/LGQwISYTGc8XCbS
5LN99iSWEQywvuI69A2GXx4Ofz7XiwM2QoWm+I3EgDjelOl6rl0/38fTXhaPQrvJzY9Yhr21RxKt
Mpno7ICsMKaDg6f4zzA5iGqY6bjeitbVrV9RVaxam06O8L0oPg/XZJekVP+wpJiTyCpYGVqGS3qC
oQ+DXIuqfM6lA2kU05P5Hn9Iz7S4YAnFM+0Uxb3xGxJx/1K+MC+s4qVYbww484ywHFrbHG+Jh+4z
eQvAfHJby2zaIfmxJIUrtyEOVBCAkxshPeqk2TGVTAgA3Y39Gs6nGHkNHo3ky2V2A0mFyB0osoSj
qQ79QUxk3YffnjSclMpHmvBc2WaCRzqRxoQwdKRkw7EZSx7cg4INX3O4AzP2QuSeBT/uQjSak+WG
ymcDOh1fN7Byz0ECRcyhF3qWAzuXViAZWbRCqxRVTgoJV1sYOEZgR+SxyXsJW3ltaX9S8rVTGxpL
9t4SzBbaM4GM6prOEXINPTpO6ybwRArJ24urtTTQ1ju4GhniPiKskFoE4otp6zvVM0rIgaskXtCA
0nSbaM3oNVYXbtVC8bzL6jWkGx41/9SkldJ4Z6t/39zQqfz01WNaRXVGpAKGofz5HytCLHSpqnVt
Qs9krYZd33lifDRBHBGGYaLOuLr+6FFTqI7WeoSaMFuSLG/Q9wnIl3ASUzxiD0QnEbQ34C8l7FXd
hfFKrSI/Dvor/CpEe7O+TFosEAzO0scAQf7zkkmzMp9afwX0/mTQIq4qyfFPRbrmbDGOh2Dbwgwq
GAD7EjDEBlJIDM+CV6vYpPW+ZDgcv3Y9Ujkfblb+bBD+6v8aBXLCcJzhgCbXVPFPzYhCqTng04wR
pnBIh+NCxKo8muhYhQ78u3zRToQcVnfmJ9RXa7pjnxr5NgkBNBCtbpt+kyTuNJ4V2MdQrH1lpwFX
SJ5wn9YbOAKm4DbybkRu4oz3c+2BDQ09jTxaP8fKd0a4nuI9mN6U3voR4i+UFW5EVoJVH5vq1tIh
Dfg3RkxFYnkqSZliOLrlYDm9iCwQ/SXsf0WtN2P0KPi7oPgdEFZH1hwOAHjNKeldrdxgD5d+EvYK
cSkNNkq+NmSGaJC86Az7x3Hcd+FxRntBDgTMiqZbuPThvcI3NDxM0r719634GMi/I1xZM3z4joK6
H9Yd9DM+/Dact5LX6Y8VGmLFHtawZwv8tcl2cIvkJMp2LZ7qCm4/0TLtXdLutO69IjzkRWywUIx3
UoRBJvs6ItdfGrPQcSv9SiFYN3sij5Arp9a6w8ckPjX9toBwUazNfA3erG77diXfK8FREWE9H0TN
TXCpCwAmz3j2lO+ZuVEmZmnr+twOWxD0TNlAzZefJSDTyEM3Xo/bUfFaO1mEMK/ZtG/DsxpgfkUZ
XTQrSTmP8rGSGQpbCRkih/oxzGDhJa9j+NzzHRXNGUVAPaD2SVB9b81NQmz6Uzqckm4LJ9xuSgfJ
F2KQ4Zidgm4fGuzS9pzdmAjtIEaj66gBiv2Xhu8ZQs+gfLJVWeObFNo4Oc/5DRKMQnmSza0rcKP0
EYLsScRZg8t6wOb3Q/HWUjT/AlGLyk3VYSywTd8qY6dodlHdj+WjoDzryYMcretoI+5zz9o2mBd1
63/fKn4uTJhfabIEP1S95BQ0tTTHw+wTgti/4O41PA3NhyQ+R9NuSdxRS5sMhha8etEM/vulfwID
Fivj/3/pi+PUkiex1Rq6cOnUv/QOQngCLRmw7DVsOJbxTmTrJ/NQvDzDhXk7LKmSV8vApXP8x5H+
xz0spdQfGyW541HuJ3J/nDTe7aHFVb7dRBnhoQ37dP8oDSVinZtFwJFEDThqbEuwYdP5McivjJR/
Gsn89TwuutxilKchVnkew24JetVDGx0yQcirj48A8ACocfUZbM3UNk/KzhucyUndgbDtf/9arr4R
F10Csu3EEEC9qIwhfbzk24ePaNs4ym50r+FrP030wNYoUFTciTRCIf9+/OguUkGagCwIqH4xVg9M
BHaDU4L8XPlQ38PYf3zRTPNwGFZlkKeL/qKZuoghviif8eZO6W5X0I4X0c0hINjaX8iscAPFM9Gq
GahJsKqJoG3tIsXW25kWyrCtl+sp8fC6iXviFlfGM3VJK7vpK5AvvOUJfd4ZIiX/pgz7gI6u3oQa
fPrVPO1L1a6oidHfP2QgiF8IbhgJ/WcqoX+ByarMhQBbz81TRKAZATMVnAGkT26NdTAjifKeX1S+
jPC18bb5SOhUGTQ9N+MWvw/KOTFxqgA13a74RJdOOw/rt+F9xRx61ZAyzqFL2jbs/2cQXBQezCGz
eBUdgscS+DxeQYNuXrGa5pDA1fI3MAG8f7iZ4RMzMW61OaIXLvf8BoJwmWjtyextYEh7iFuYWIiI
i0lNPskv0T3IPlNM2eS0xnPYM+VlEKAIt026Bu/g1lCaV61XfZB9tXCZA1QSwCuwIlfKZ8CcwV/m
BHni4F6jC/sUXSIwuIqfi0PSKlOR8pF4uR5eX3xlR6Iw+ud2AEee4E/ihvjn2+L3j+2gV6SmV2vJ
5Ayn/2YHLPInxT/WVkFsH/thlt+YyQjnykSdAwoFgzJikYYIqZX5xlpc++JHVcxOIZE5/QwTEhjX
mEh8o3YMFcBw7U0NmCUMuxLGItC8/k0e0bqzBQwSgu9gW7wyOstpmkPT3OFdJpcRCqhFwP+VyJmX
pUc5N29EKnULjmUrPomL1wSBzqKHdQIWodH8iF+CJj0JnKDtRlJxn6HqUSGfdJa4UQrSbQtsofX0
ppjKdaShnCveirB1efGmUHGjElUG4j2oLU4mpbD+mQsHMK7wLIj6t15HX2JE2wqtQNV0WzmLThE+
c8aIGMv8UomX7xLrXRr8c6MxLQ8+/RyS4mmMJdtv01NW5IhsO6abYC5Q32ffsOHCtMrjMNUbmams
HjH+nMp7KAnbtoDVXUccv3Kzi02CEA0nwAsiZ2pYmKieoLAUtUB5chbIKLbA0mo93GTz12NWEhNV
P0JfQOKgrBfRPeRwEc5jgXbflx0B+b4gVF/movdL1E3ADweKyMB+cHSsTYbsrfKTQwbfefkJvNtx
ROr3CpcMDflRDVylsU7dHJDtG8mbCWFPoCluLFCIxNNNiRlKlJwXdpAZ0c1gfyMIDTG2n+iv8E0c
VtDHVyLBYj5k6OVLx/Lh2gH/Qyvw1yt90Qqgo5azoZ6qmwwcJXmLwPbU0T80UfqMbzPz/q9MHVaT
/FkV+W3MRFFATOyj10ibeMctGrjTXNmMf1plsmmR0UBjCrHk4tA124VyIkp4xsxvYoSDZG5LEJPH
0ZbbXYPhEr4CBbHZ4XQF9fn2/f77FMCZ2IKLhMwHHx71AvXBLRovtrnWz6L3ktxJh9lc6Z/suAqa
X3vAbcoLX4Zj40n7sQVtXImGK76S3+oggoIgxx6Jn4WM0sA1XPmhW2eHaitkDpFwh9fH6GN+rI8I
i3nPkO1FvlP2mFex/a1b1VHvlN9MEG9FJsw3zV6+Njj6VvFcfjbcYnVANB4pkQV/n6VWStZv344Z
cjOJGj/A3XDZs4YGanOcPIscFHlXbCRNc/AUbdL3mt7GULSTnpZwjTEXUd8MwGUhOy8/p0WkfxeW
LevQkLVPGg0fdeL0jDto1n01DLYlTN4Ke0KgwjxilWa5awobE2MuPGnjCV8zXfDKrt/7NYHZZkaa
YHjKBAvJTWITFrctLfFdB4edKaXDiLUhFV4ZGl4psheIdqIat0lUuBOHrTSLL1LeO+X8tiwbBdLh
FL61lO8FCyrPcUCqeKbil6nYIbreUYuQ0MNRD8Z9nW53wnBue+ACfl3tMyfE2SyI6Ea+6khEfZPT
13cQCuhM610tPlXphGrFQy7TgNBXTwt8v+DtjVDQSrxbgMbW2J4qwiBS9mD9phPg9Ugs7aDdZASo
tzEwcg/ruIf+WGBjlxZ7pg12XBw0KbyCS/2E9GBDvTiALTaXqmpeVNJimM5B15vNcWruFLQecuNj
8MGMgGMjD24L7b5JurvB2IfWRlAqaofiJR6ak1QK21LJt6owuEZfP/advM2F7kBJhjs05jB+cVYF
pCz+S1y8N7D2J8VALu7FvgwMOKwJ8fLKoLjTSmEzW14V4OuimXdgCVknfkrYCxqmk05Y24De0PdV
RY1qWzWpSUzc1m+DZDv4xnp+rsPqrMshM+xqNejPOgYGKQrevnxP++YmD8JbCLorJcaxL98qmGBZ
g4oqH4e80l+DHal5D7dmYCoLeClqL2MTbw0jOZv6JgipT5K3TMC789zUzOTLO1htj0qW3s69wInn
26FQeTM6cLMRnA4ApIY6U4YY04wYVyriSzVR6UDyRmClCm+ymR964h3SUjo3JHnJIfLxPNbXbdVu
RqV4jVCC0vfzbjhikG3EODoH0WtR35mQd+ok3cvm25BQFVH5ldxx1Rl3LXnwFaoCK7qdy/bkF/PG
CkunDPq3psx3A6WfUSkst4zO9K2QUVA8EDKEa2G+hBupy2RoMzb5KpgpphkWNRVcBpUc4nE6RDFV
JVrM3riCvS6byj82HYthGfxbAkati628y2VRj8yJDgmOuHT0BwyxScxAwA1wdMWDesHI/3ktyjKJ
GTU5oRf9UTenjVphLn2sYCFGQFlK5VnzMQIqkHkEy+RKrK50Q/o/ZyZMxS2aE9EyifwRL47PuA71
Iati42jV3Y3AMHCgGfa74/IZe7Yf5VMNSnuuqbijXR3Jv5ZekjFZQhUkVMv+BEiC7ZUsnyW/dSq8
eBAag3h5KtQ/a/gckh1FZpXvxKC2Z6wwcG4iIa9VQ7vNjgrU3oHqpGPBpTNmCA2elw08HpMC5qVT
n2qg1Ch9g+PDKAmQTXD9qLRhPav+a1JNLkYb9COVHVHS1OldHxX21zw8cKrDoUO4xcsSIepVrGtU
9p/OI8be6FtNgxR2Sb34unxD7TXE38kdZ8nJZ9OxdVvag/0O8FVHfRVgDbC5Ssr9Z0OvYZgD6E3G
mYYu7+KFrDU1LMu6V46dgGuo8JyxAFjnq474KTNp3CJf3FlYk6KjaohqVLQLUKxq7Uqp8T29u3hb
/7qRi9a2ScJBwKRWPYbqoTBEG/nXbNQenhdujzI0Gu/J08Upi5G58JyP21rY6swaMXt1r5RbP6zR
v+7k4osIVKkP1FGI7wgfB9Nsm21xg01zMrrIbh91xaVVUXbxTdzeEa48YjiledB4/v0uvr/ufzyP
JTIZrQFlyiWntkwzXZ1YEXe9tWs/hPKsoROcRE9/GjzaaLjhoksr3BOwV6zKW/z6NpUDu22hNj/M
kidLqxSpWkWi80GFsgoLqnnppjVNB0fOatI34U1zgptW1R6eWLGK388KV3wh+n+cnddy5Ni1bb8I
EfDAfk3vyUzaqhcEySLhvcfXnwG2dJrMysuMcyV1SAq1CkiYjbXXmnPM5VWk5ed08Kcfc9Yj0VK3
o3XEWDukMWe8x9xB56XABWk2LlC5hWRYEy3Dyau8FQnywuCj6NKdQ1/bxW0speAKdZxafBFDUAgJ
+pchfdZCmWf1bbDeG4cyAqpEuINg/VtAjlXZqRip++gAWnOceKTybeSEFFTk/lc7UYo6Fgw//b7z
bkmWJAbm2mzvxIQBKUgqs35up9YqzIJl1H601VuqwuODaRTEywLWr93dxixPGAchArnYg1O/mbWK
ts6kvQhvMEBIDrGqudJTVj0zOpPtJ5QRlCqQOOwQnh/GIuN5ILslSWiGDMaqdKgTNIA3cbzT+2Zn
ZMNjh0MuC+8BFW9y8W65oP+NCseFjmg5XBBxveol761qPuLSfiteRypMJ+LF4JakBvhbOym2rRws
FDSTTeXOe57BiIaPEGLOFA12pPVLEIyn0u1IGneXWf5CcuG5HA3eGWlpR8E0AyolSe9ddijSu6ZF
VoDu3n1VxUMT8/RZAourPO1ad5k2Cxe2hPyrCJpVBgg6F86+0w8DKkSnfo+Lk6vD28DLAc5YJs84
Ctdmq4Jzf7VhJA5DMK0CdMixe4w9PIMBRMPgsdEOJdtFG/AuPZ1IC4kgSV6Mmi2sm/LXB6UtG5er
u7Zx5fz7mdDHpFrWVdk6eyaSIbSyyrXUPVX0QsUvHhKEECl3QF+XPkpGmQDt8mTZvK9BuYoEfkhu
3s+ryCfP9u+ToGesj+gE/o2T/NKgGfIQ6PcwioH7eGVEHTNmXm+kJK+ytEEBrXsfrK4TNVVnNmxf
RL0l9XBsvuvidzjsTI1GriuOenSlTqCsuXR50OzJXB12X+eg82zIU1nqBuvoD5MSiS0ZRP0Clkxp
TApadcVNxZxnAHrDQH0jUIanKxpz6+FJ4i7vXmXM4jMBNWaTOBOoMkb/mKL7fBW3WKnJGgLYor6O
uKg1/lMZhONEBn1N/yO5NW5aEPbHYN/guO/rSbYzw3VqbZUR/bSWN96vyNsKb8ZSwUJrg9jtpvgW
9H5jNUzH5j0rjb0PrXUwrI1y1ycLFWmVOWai4Whxull9HGhW6shppx7/S36LismeIYgelq63ydAj
w6Mu7odi1NBTwKMzxvPKEHghigmEnyrauxXkVYZqG77KQTy7reJ5Kt/Kf9Lf9vodmXJbT/0/Bq2a
pWgeyESQNsUSPzhQjBMhAXa21hRIdNPm0OEIntiv3m9pZha4Vdsn0qPDKYMygS2X7Ojp8KdeqZBN
Fi0o8bU12ZpLF1bwLeRPer1utQt25pYRfbGiQO7oS94Xy0jdCtp4wCQPIl0E/IJnFnMlve3vgYQV
m2YuoS14bh7cWb01UcZPGZBp/bR59PJFwb5uq5ZT91UKt9HSRkxxQM/O1V+12z6f65AwkyttHfNv
zQN1zpfH7Wy3zxCiyYqoNo9DegSURsFJb7VY68FqIBsEu+smHyWHtIWjW+VTa4/0v+p2DrSHcOsz
uDTwbk9pSabL6rV4df7U7ST6MO2l92Tj8Ejx/od0pJ9Bdol1+Gt4H9p93d6WzsLPYWTsAsZk2wz4
1U3M3qmdbBRlG0neJBgpeDPXuFHaCSRt8lV/XgIuqFu+//IzKY1QHVeKRcO08L7Q5pjbpIXy3DgT
ccMDb90pzJ5/NcpoCfEZm7w4iMWn/mYEueBbWFgx00Uqc7rym/6+m8v5qvlAQqf0K5+MJGnpP9Ng
8MO9xvc5mWz8mXVbXhvQf66Vfy1j/969z7nIl2VMJ2FRTp3I2keIGIpYmheRzF8lCmyIKeyzXddc
lk7DOJlMDbDvvQpJ/1H2jXnd/M5VYy6o8gEgJRkvXWWcQq+eeb7YqLSgC2uRBsu+OCjAA9K3Rr6v
6TUHLn35gBRLd1MNxUIzgBOgiOjJ/eaTAXbd7LHP9O56IFnae9PUR6OUJ2H3WHLpXPwtEtKPjkhQ
mFlZDQLNXavutqHeSbUAzZxYyAXedASPLaTWUOElzBk6P1Ts0qwGQbl3UDxQYO4MXBr9mYlo7qF5
5qbPotXNq/yUS9K0vioOOm82js5dUycEhC2cMWqPv38xMAw5SqkX0U4BiMw8G2EgyTpssmAbsnFy
XQQNv534+PNTOn4Mv97gs6Oe+2rrzJe0iGzzHfu+MtlQ0cA9Zldmplc2xX9tsz6PBOdwjKOyhf2X
ijBslTq2G/uQFYziMdLc6uqyUd9GOLNjPnLYyoLXR/eKDbmPLcsCrPZ//7E2meGUBQQvyuedR9yp
QaZlQP1JlrT9fQaFD+dMCUnp4+cD/WW5HH/s1yOd3cyoiWI7aORxNmlu0E1tCW+fgs9aiOkv+u/b
+o4F+sqCcxbQOlrlWHCwwf+35jgr9tOmMYrGg9zOPj1SP2p5HWBntjQZLEO0KrQCaQG2pE1DO9Iw
+lXGCK2CuO6CS06GPSbkq/FjxsVq48s5nRVjoW/muS9X9r6XlA2DzXkP/DyI/2gJktVOm5f0GXoI
C/2vwXkplZrPMBUtifKqPzO7x6GbNcx4AApm7Vzy0EB5cHyMuTJo0J18VCp0Lshibd+toSI+7sC0
w8FwPJgmZTmgvKichjJvkuewW6zA8N4k9EVar51v2GW/ux3CCFIv3+KuI6LuKdYfBKV4bGaTMqdp
TvRlTce9LqgvytufH5Jrl+bsywh6PLewYZtoY+gUe1vTvollj1Xn9PNxtLHW/PqOnz8XZw+jobWJ
7Emtvdey+zr+Y5nVvLQPKsCnkZTL9BI4aKT+cYZhHluYucqYOSxD2v7Uk6ML6inEKlcwL/azZNb3
xzxlw5i2S5n9d/iWe/qirO4s495q2WWhh7BpAwn+bQML7cpPuVhN/Ps4mer3RVLTKkch+YHMgPpF
BM40wu4fooCqlflAsonDXNOkuBpqSlvcX1k1j2Id0uFJAmCVEzMVvtgeGB/wgd6vobeRIkE4wuCU
r9L6qQiJcmC6EwKrQRpaXjPN/D+24//7hp6H/oi8SdMy5w21AJ/44TNKV0g8bvKm89SbjT9v4MIr
BOtoGxuboU5p4rJdix47q5sAK2gOjkSrDU4hbwK2YmNpBum0lL2VkfwJEQYk0rMnIwyWq1lZb8rs
XrX2qfoG53Hp4tBK+Qr3/rD6+a5cbiEZqCNY3dnvnLdMyPao48JKop0s7zOxd/R9jHdghAiACUeH
cmyaBzT6SEoZtafSrDHtKX/Tz2dBiMi359wktoNkRQIIRyrF+K+zPVfSaURo2YV0VLSTFhtjZLLb
gitrMFVqjxL4oiBZKNKrjVkvAnJDb6c3nt2eQKPsrQXdU/lbV+RL4sG3rS1P8oydR7LXh99d2U4q
ae+WH5Xz4Llkryh3VkVbqCOVcngwk3klbZx4a9ZUcsomaTaa8xLSCVd1oOcHb3hoIwdKj87JpJPA
YSocwst/5YurJ/OevRTI0Do9NFI1NazXnitmH5XkKNiL+PE7wCAdG5+jxzA23xQQuWqytdWle0yM
mxQBr9/tNZtwaGKhG3lhNtDkNYf57Quw8slACyrBSee2bzIEYR6YJL5Ro4lD9K6oIVY6MLLBsnbR
MGmrW155q2F3w628i5H90hldGLTvyT/2fQyw8quJy6E2C+yf/ABcJ4g21FWSwJuqc8wlGKYGEvlI
Znbb6CCkhwLRaeXENHxhQrrOpC4eWbK5SW59ylNA1z7pUrQX22WIoGU8nTxcMWttzBhC6odH5YW1
Ta2kbQZm9iWQKeEUpnf9IYT8ZIb561AlszDZpybdrBIHy0jpZDvdufU81XWC5dYNC0WhdGAyaUWY
r3n/YqcveZQwRZEXwthLKPeKtABRi3iPs+BmBu5BMeByEsbRwghN7PeIP7fo2KBuDaY4xp6k+XEH
JkYnd96uNC06Kp1/yO1uoRice7ouQ/K0e2dp0DJjCjfR2OgowU2F7NYWrL+EbSnBE39UbGPbZbsq
jZswj5sGWMMj3s2H2Mdgu6JQCVCACuMkE2zACHzXUyPbRBVoMAzjTa1qFMRi26fIRnGijpEGDoKK
mw6OIPlZKyc0F4HaTwxyvGhBzcfscCO7syXlPpQtnpl1ybMd+tWSOyZnA97gR1vHQMH32dUwYPsz
1S3nnK0Tk6ghJDBTlA3Wb1flu5JP/AcmaQRwJbdNYd4U6F4Hx2QC4aMfjZnsZfNWgczm1DtcK0P2
0krGRkO8alcutli+2KKn6MRbyk2PuRmuUm4K4lJk+pCKtJFp3WUg1uvKX/nFE75ktI7xH7MrlwVC
IoKma/sIAZOcGjzX+YwQSrvAVwBn2VhVNQIQ5Y9pnMq0nMf8nCA2YXyyptK0aD4QNUHrWcZDtEmU
faeuLea+5ow8CNJIJLe7HeMLICGrNg4DP19nQz2rnzLWBhthDXmHbH+GWaWvMrQuMj2GrvxDSLv6
YSe/g/bF7cmT4Pr5DeKhFgWrls+BmPAmObIKhuyuKbOboGOkpv5mXRiKG5xQSIgkNoLShgbnogJF
6Yc3SlRAET/l3SNjqxyvvdTuE9tYW2o1JZkTwj5PCpgw3wDs5byYcjshOBLDErG70IYlVNB9lm7t
omVh/o3FPOFbogGtHXMzmgo8Y3cw3X5WJ2ACTfxUAEP4/7T2i944SynesiQZiryR/aOlvdgGnYP0
IDNTT/j+mrF6L3W0HLPHpHzMUESlSIyhuBohLynPbht4MxgW0zg8FOLJkFGwxa8KSFxHeugH8xha
vz2L3BHrLmfBQG63iHgpdMXduUh4VXrnXDGhIdfHKaJ0LGga+gUBvAIhDpYpBpujLaajPe++9C1V
HANVn+VsTDskLIw3ZhFqJyOAH+zd1+JktTERBQVDd+ux859t0HgDiTRW+qJnd1xkAj2UtFlZYItV
rYBV1q3atCKxEuU83IzYIrBD1tFVEOJrQ82wCFPJdkJ/Egj1FfpgiPKSBX9QKICwBQLz8TwNmpPw
vVUARt3Cl1Kpf/hUCO4DL3HYa/OcVlaQpJC6GOEOIEfRamjHrCCTB3CmWRzlCjDRUbiMbkeCMCs6
UVbrAtNvYTqL0mZVQQnLVkpEGwVHC6nelfmskRFRvzgcpzGxSHBBE6sgJRqL9AAznNxxD+qEvoq8
D8anEKyjFTzU8W9xiI4BK6WHxqZR0caXN/Y89wNWGRLFlY+oPrCMhNqjIv+O4leKhEnhIVPh/jd0
q5AWbaN+o+g+rD5SatwX1yac0nsLGa/JOt09xvx6Xs0L9yNy8REbCr+H7DbeYVH2M9uDO2iS38pP
paj5uWRQvu9+/1MxWBo6G8HO1PiU4Xxpb4gkAQBZRtIYmt3TkUy1jeWse1Y/JptqCyzEP9Jlt5up
lwGUjmc6S0yXfxDAkipXxl+XzoX6iRQA2rKmJsbS98u5xFVuRC7pRUdocGAoIu/Gj5j3uxPNvHIk
9Xur4Z+fbaGjBglKKiqi1u+HKlq0RZrhOEeqFnRyJhDJQoJIrYgZX0WtZ/rjeDOQdBHUbgHgwEE7
5Pr0OWVxbN5Nb0mjYqRCZMbMD+rlz3fl0oX4enbnY8DQc9MmlZxj280FA4gQRtGWRDU3v3IdzpKE
/74OZxtmpS2hDXtcB0cmrAmmAVWX3hLUmLgzVTuV0p5OSBTO2/7EomyIR4RBrq7BBiMEkcWxUO9+
/uk45y/UsBbEAJ2sMP55bjw3oqKS6d1zayxkppAvQvY0qY9OBYNRxftnhsrai9ONlG+Mxj9p8h91
jFTv9rVeLcNVOFDV0H+u9pbNS2Xmh/ExHqueSpivQQN+OO0WjvyqhOY6pOAQDt1hf1tI+26ACaIY
cz5rQX3IQFXQ/6eP5rX5zEdEBlo15JPfmvIsS+19JhHsK2GIGMojBSPKEl9d4MCpWXo8GP4SP4Da
WFOSxRiJkEXVvDW9P5ypMb5s3doqCdOkiG4ae2K1z0W7dBUUy30J5GME866oNyYi8TcUJJqoVprz
XHjRHDKIRSZj67xV9GybekOg8KSNGRYTwFDpcNVgvqdvQ6fNIv3DSxlrdLfjRRjL0LTeq0a6KZqX
zJUIOZLXtd3cZBTkftzw0Q/wN78YHbxTNM8q3ZOu6wh2InGUOUX8VmXth8j4wzHxOqB9jP5X6iHV
9ogsLMOnREUIhmeKq4LrfXxyKuV34mdbPaUC6GcO3YjBxqNdLxXToABHIHbTQ0RNyIXwTwOSNBp8
GnlfEv/3gP1DXgPDoFDUhhxOTDnXswTzmrJvq2DuFuHWiuJ1W8wzwko8H0uOvqc5BKHpSfPqtZ3h
OArBpyfZqi2wGqK7oryFAb+48th+35b/50UyEEqyhmq0187Wrj4246ZpC+cYs0VhURnI1oCen1cT
BiabHJGXckW28F0r8J8jsmyP/VIhi3OGQC/JyIdaUj9bdcOqzSLBAam1smGZZlfWibE/8m//5J9j
0S3UdUvV6BuecycaS8n6At7FMa1OVEBmcEgQjnPDqMJUaKzMmn6+npdWQJtvgA62jVSnc2Bb3mB9
NxxDYN6Her3U2EuwFvn6Q+Vc6Q1d/GmYDGzVMOgefrbvvnx0NNOWSrvXxbFtf6v6XSlsyrM5MSYd
QePEoXbhlQ7OmWvjPxfzyxHH3/7liJ3RGrarDmK8mOyiRs5RQC+EN795pZokkqeM9vYps6xrH/vv
c+F/jiyIYQSTZisyJo7vR9Y7P87bvBfHmG1bad8K2EUeeaguzRPiZI5sStio0wJNHpis/HxHLy3r
o9iVdd0ydYj634+NkjeT9Xb8eroyWzYovA4ZT1TAwfPPB7p0Q78eaLwIXy5vk3tBVqIROxY1VIa5
Gz3yTSvAlriHoTvyCfv5cNd+11klQZ6skZZ4O4+dO+4nWNjAPFbXjnLhR30mZ8oGkhw0bmfPTNUM
st97vIB0dNCBsz0p6xXvn/A+wvpA1+bnH3UWx/75pIDRYU5BUq2hUSZ9v4j22GS0g4BSzCznKFon
g8UGS91nmnFIEyhkpXtsAmwMRBONb385qnk6nfUdiBOFlFoiDpGJBclYsQlLNOlJpBEayQyQAZuX
vDr6lM0x+EctgNG6afqV49Pvq+uDzKczB7adsJKOe/UWX2vUw+5oXwoXVcZAljXmrsBTFkbCyR00
Z1iFdXs3FiSwy+eWH86h8VV0yX++LBdWJZNqERAfrT5hWWfPsKTEcabojmDvh5pvn5c33IJYHHvv
Cj/xTIL1z/VnZgx9mXkG2RNnR1K4JaoesEbkVKYormfUXZ6Nq7UJkLdHu67dRmG6URJcoCZ9OnmY
IMKeolpZ6Bl96e6hMutT56Z3bnM0xoBH7Kg+JoeBbEckWlryaNSPLtVUzx9DgA+l7zRUx+wj4NTi
wST8xdImPHNTldZGUiZYKvCAKFs2p31+F6UntURj4L//fIUvPeeKZesy1Z+CinN82768vBZdhLRv
q8+XF3GZs4ylU0DQKFrL96tftQuvLgexsbWptqbxbft+sEHy6Z4V43KIh4X0seRE74PX6eefdOac
+8+9/HKYsxWiKmLbkcyGLwyzU/3E5zoGHjhusWioyM4e3gSIuasciwsVCWGM7HH4shGWcv4KG/aQ
+aFdCMSsG7qsjKcXWMP5ikbQwGywRtq6M69ojC/tJ0xQp8w28bLLxrm8PdG1zLfUVMBduPNx5Rf6
nZbsG6+4zxF1DIq3dMTGQF0m6WBYiY+Chp9WtGBU5b4mjr5UxdQJrvTFP5WkZ+WLqX4aNtni0qM/
u9FNy/QK7rA4MmCYjYblCpeagbjGweVF8Z9uXBiCDUmRY1Fa+NUh043llcfg0uIxPtUyJdRYtJ0t
4WrndpYas1p0zZMzfn/NRVfI86qAUYbNfmw18QRq8rKNQVDa0nRMRzeZ05QZOUoU7uaVefTny3R+
WQzY4bYgl1mVxZlguuQfdlcN9jFWWRxKQletZC53R5ohOk6zsQGr4yAf22JSRv4ISMQk3GW0mNHn
mVVyWxfwT/NXXLkzugMyrWKV/mqKH80k6yWMPX06/oefL+SZsOyf9wkn8hjbDOIDvcD31zZ2hFH3
XWcfm3w1Thhs+jfs2MjfXBbFsHwro5PNSmaQPZ8FObEoZGsvCQwkm+7ka2wa6cbF27FTfuXExsfo
r+v574l9CoG+LF4DKkw9FLJ9lMSGl46iHF1YBJaix5mpEOKmmC5JrSclXglkiixrCLN4IYGy6Fgq
QfW5SHVy2tKdj7SXhJafT/BsSvXfKweqjkVBs6Fhf79yQgqVIs8L+2jGyzT5QIfExhC1wtSI9hJT
AfCwGLfDaLoCkZm8t82VWulMAfHfExCW4PUCVGydLYWm10WJEXPrguaOSoZFlx6+JS1b+v00Adks
xxFME2x9bfjAzvFq8X0ml/3nDGw051BosCbgXvt+CfowkNW8Ce1jBZwkRNtm6GhlImli8choDTpk
G7QJzVZ2oga5hWPxUbG3qpiBk7hOJ21NXgrOwZ63lEnPQ6nvB+fKOPHC1s6CQCSP1jA02Oe7n6Ru
JbSdsXXUzW3fTftwzsrtDJhr1t41rvyFZenbsc72BGpUZJk8cKwsucmtbZuiriUiQD6o1zaRF3/V
iPsmD4DwrnPZJfl3Wt/1iXV0k41ifAT9o+5t+eIi9Jza+d2VZ/3SZ9eihP3fw539MCvwVSc3+GEq
Jt8iR4OpHpGHTHzGEe1bIl78TJm2tIXq5IA8j17rkyIWqXguunaSaI/BvWK+hRTzVk/aS/ok2t+M
6SoatmguawS1HVmttnjOYmVG9OEk6UBnFOqURsy2AGwDpCQKdw36jTy6K8RKpNRs5svYxKI47sJT
SoOF7E+B3imbM4hpSKO2nnICGAOaWygSzAKcTcKyMfhTI9kmvXpTNQeLwMUW2oZBuFtEVB4GslrC
bBUvZRRqbvySYRbB5jxtm/AWBG/CoCeF16OPAbtPXV/TuzZv7YZE3OzBxZwyzl00NoDMMyX0yJol
03IjSDUw5llZLEV1E/iEX+f8zftIhnKBSdpmKOaEhAkdUwSNUfRWS9seNS85KkG/MbSSyl2shvKd
6vbKKnahRKSdD43NAOnJpPtsf1dEWerHNMopwkeRxkyuwA0vEm6kEULLooF+jcZ28RX5csSzVav1
hqHPMmEe7WKXlEe1W1X+OirfbH3180N78Q35ciDj++Kk1dLQGq1kHgMyk9O9NJxc460hrWA4xdfe
Rv3adTwrtQur7OVGsseDhdOUjnfQB9NGWjtwCBoJBw7kFDq9qZ7dJPLMR4cqFcXGGrZVluxkpZw2
8kFjCtlU64FPlg3WxxD3dsHgCkdHpuEgyJPfjnoTFb8kL5vXKajeXHopuoemQXMrnofktUvzFyEX
e92HGG0ja8XPbpPMEki3TdbN2o46A+UkKGfYOTUFtO8t/u/XHAkuew5Q9XBjzxp3ZR2qBWwL65jA
+jLvynSX1fS1cQFhB4Pv8vPRLl10heNAGJXZ3J1/geW+spVm4OEtynVluZhC5qp+aKX1oFKFIftN
pCuvi3Jh1MGXdoy+AILLvvHs6Q0tlx1Iw9Nrco9LfCs64O/XoFgq9kGiA2XibjoW1ZUd7JkU7/ND
i5cMBSDXdjRynz1eruNqvVZ44ojuaOqZ76FS3Q+x7wPVrMgY+V0iBfHglolIm/US5mQvXgVY7ctb
oYfz2slPsVzcxJFN/m0grlyU8eBnlRpR6UJY9KIMTu+sEEq1PHbVyraOfO5cecsAjk61Gl95na8d
5ewLJIooYPhkWEcqQco++sASE8VrL/LFK01FQ/OZiAtNnO+ZM5nQDqOiqAqZ65q0+bVm7P+THt3Q
ZS+HESMIlN5Ub3x7GRegm4BKFZsg+PD6Y8ouPunD+yh03ts8vXIFLj58gofO5mKrdP7OHr7YsWK5
i3ILQZIylY0j44NJ6zwG4onZbI4KXCrRWLxI9uPP79mZ/PSfx0/oNDnxWssKf/r3pdRsi7aS4s5i
k1CtZQ26xpwgzyncsVjhQyEmMVuqIn+SyYhXJGzF4raFp6VlEIOCK920Sy/913M5qzkx7VuASjiX
UC83BhQD6Gthist3rPkHELGbqw/FJ0jx/Amnnc2QhYQZ8oLOjhmWRtc3UsCyhr7JRysU16M8BhW5
2s/0Tc4W3AvjqVJjbK03Nf2jltl5xnRcATrSdPU+9vVljP81UYO5QqxQla+8rgJF799X1V2ng9TR
XgL0UIoGr99VkmkrdTPbjN8hZ7TETxVM/OstIaeElRnY/VYA6cN8Tn1QZS8/3+5PQOJfPxefEZYi
0os1bbwFX7Ze+IINI/R8fq6XEPrQTRuQEO54m7O3vnsIM3C5JGnLc3gw00wBJORv7PgVQkgtzEVt
Szuvh4uONyEz5Z2SIy3IPmpjgJXjLkqHnASjOMRWtkV99vOpX9oTWeLfU9fPPkBJ48SxrXOnHPlX
TRE3yrPcfBnjNCYOzj5m5CbYebzq1WKSoBXrinpuo5H6+TQuNQM4DWOM62JltP6qzlWS2s2EL5NL
wLIaslHFYxEEL57qrbXSeg+K4sWDnWmhshPNh2cHd2BgV90A0ajAulefnJ6JeXSKsvwpX9AEWpfx
0XXynaXmE0VF7CyM8tpZj8Xe3/f937M+W2Jdw9F7zaRikuIbqzFmOmnFnWyspE6a8Rkmduk5RpPl
Qu6vlhF2aqxCCdicXpqnBVQ8ee8ijWEFKmL1l9LtIzUgMf5aB3Bc5f46SwtpOnz6Edx2thgJV9XU
wQwRoPSHtni0+N54ChGGyG4dTA4M9+1UJmQDbRXpynFKerfs7wwEMj/f5EuNMPbe/57I2apQN02a
2xl7ImyNsXbvBGvucCEDciBewRpmfcggilNwnRQPKxnB1yQelz8Ilg3QBfoJ3O6zF1VIThkjekPr
5LbT8dmShw0PeVeeZHOYJcBP+RIHAWq+6sqPVy8+K/8e2j570ZQKm2zQUvA2tTVrTRfupTLL4nRX
joNwpEr5ED1rRrXJM+IxxkvhMokYbG9AJCofAjR4ziBmg95NZRp3wYBXMMdBaFuTRABHvPZKKp8N
6L+eGxtIjGyqDB7Ov+wBfBTR0sdgVdOOucXTjXFXKwEwShn9Lnx7dnsr6phw1Dfbye7HtSOTEBPo
eQvnV1qB3wC+6a9QyAJJG8y7ONPmwlqbzSyCeFvhR13awQqQ4pPfBWvjWTjIXcSmJ2gewNZCd9NZ
1j6NDdMchQAa4qxaqT4hy6gx4/LRTIeJR+KwL3WrwVCgQHa7AAukZk07uWUP6D9VnEJPkq0kHIYy
0gsykkAByhvWG7ubaxQikvvmWhZNmHqBxYcBnZlvHdWY1hJ7DOeN9vAMObGthntUMSvEbUOu3+Xg
Y6ki+lYsdBYqdqEnpdaXwrZ2vjWsktxZoZjVh5dSK2edPVH6RyEni1jPJnEdUOthAgx2ZQU8CW2g
Bq3UjSYAIT3vRiubObKwPN8XqXGTLOsYn1z4KI8Kj9+6Uk2ykBjF/j1i4MLdmUmNNcmMgEBJ70Gz
jhKbobTVlhHqsIRkl1rFJuwbt0QcT5uc3bw07DtRrAPFuGnQhkFfGmW4k9wPT5Ldz0pUjUagzH3w
PawIDnWKk7EHFOQG8UwmEKDHL64RzeVa2SW5DwAWaRgO5j56yBKxLBGMdOjmRp2F2EeJ/ja4zdp2
CRiVY7LuCFWBh2cn61arH/xGv8cgcFsm2iYc/niyvNBw5JrxPgSkp4jTlRXo0l6aUhClOpHQwLzP
XsISZEislbp5NGCjpkz10JeJNAEWF+OoyG+lgjkUPcCKIWENS9ZOId0h5+kbDNdcUV5g6ttofeW0
xLi1PnvVEDiMb5pOqIf16SD5UkA4cZFXSuHwIcmJBSxRvRebvAakprI+9+6bnfWPQQ/YPkqVvRo/
xU3/YGjg+EIm5dLw0VhiqWAQUdxhrUraOj+4Vnlww2ZtWuVO8iPeuWoCBZjCQppnMcSfwlwroIyT
spMg7kTbcLToe5hWFX8uuVsdzVXLWNXi8e6j/mFAP9/kMs7IfF4hEVYJqzI884/MtBM++t71eqDv
4o9Soa3kC1NBZAjKeqlR8VT10+CRJCMWQ/cYRAiie40U4CTWbhamWj6U2J3D2ASQGvxWBiZt/aYo
caVK6iqrnI9WXcLthv/3uyjwk3jJchCoWuuQiYGyrIjoqgvxgFI/rsDk4FCZGaFx1Jv60JTxc0+k
EYSbrRL8aUpvr2tEfiF7KEdWLjhF6UFSzFmaFrcNK+v4BTCYy9SuugqQKWd8I33kodKzHfm7lsxd
U5vWoFXgEx37OwuTa+2JhYoHOBLKTeplz5ZZz9gu3ZlDtkeol9onuZypmKNtrsrnyfBbNPAHkRLv
xtNAMT5TsnCR0+OVqLD4Ao0AOlMHFq3vOpf5J2tEjEEbLBxwllrN+K8lWesd8KlFpVa7RsqmqbUc
ongXJ0e7UqZ0GzaOTL8vNqaZk6yyTKW07pCYwielkJQRHRvsNuwnLbVv2wxnddqTgbZuy0NlJVOG
FdbYC6+chQY1gUE58U+2Vi5cAT4vbQ8PRnIHSwiSpHYfp/gqEgKnhvCgj85sRYZhiJ4ebrOu2vYE
FCILX8CK7htXWhqXigr7s39i2cCF7PNXWpJcb2gqgwZDCeEZZrW6RzTZYQSJOwwxzZMS3PXeCalQ
KePYUa9CtS7sr2iUQy5DNWqNks7vxb8SOhZgQtk8MnxKdlV6M+R7qYCJFn4ICmUfO4Vdz5uKFSXv
eS9eEmKprH7jNN4mdo0ZVqkrO75LGh8UNsgEBIMGHZbK91OKpTKr4P3w5ZZ4SQgAZ1YlUOgz4KMQ
HcxkJoXrrJw0kNivzfUutB1sdkKMtFV2QvRgvh+7aBv2hDl7bthb6It6wlxxBFwzol08CoMOdZzB
odcZq60vC2aZF0GbBh4b7Hrj8kx36sa2fofl9OeV+cL3gjtrf+5JLBq+56VzztgUxwz1IncObkS/
7IyNXS+vToYuPURfD3RWGne1WlpGyIHY2DKiH0dT/bJiC1wvw2TK2Pbn33VJ4QEBbgQrMg1hu3V2
l0QWDYmhcTzAJsumUqgVkEeilGyoFzppUdYIbGcxS/NGOGNGX9lg+QPk0v7y85OFPLR9wHqOnnzd
Sn9yCVxEJVA7lRspi2ddA/G/XFuDDPlUWVelvcF4ZrGdByKekvdAgEm3qIAoZlPzWUXLzHo2U9J4
ofkYLbIra8T4Y86/rrR/0FnDBLMYOX9/WBrP0tNCTum3bSRrSdMtILxwLYEl/P9RNKMboRPG53zk
gJ29eQD/egy01eeO0K9PEuDMUjtm9vtYWZRIRCGP1sYrOi2NOjZCai6Xxy57KaVsQXiJdm3vNz6g
5z+dMQUMNGKKEL+dFTx+Idw2d2PoD2TglT1BHiLAWfuiilOsFqcQdwZ2ILewIaMsf37GLq5CGnkS
lsHFYDB99vJkdZv+D2fntds4uq7pKyLAHE4lUlmy5GyfELbLxZwzr34eetbsbasEC7MaHVCA2yT/
+IU3tLoFsQSKSdgu1XhtlS9i+JgiYBxYD4W2Q7AoUG9G/1qydan7Zn5/9Nl2QhCo0vNW1k9G/WTA
gAqthaYsjZT+kr7wkKXNDQl/kWvh5aUwTtEmzbmJ404Z8OdCM2KkaCCw6SeL1pgH7snCSVmINFvx
rJlXvNDFUiirUG1Xym41mHgawLAJSowxc+kKvuLSifLtXc7hAEYvRKoVD/opGR053qpRbjfQsLLg
Icuem2BA7ii9clpeKvuZnMW6qeCWIypfYe63U1ki+FOMntWvGTdBWh8FpAqlDiLWKUlRnKhn6DTO
4m5J+T97CMoJgb0O/OArYKQyAJuHULv4M8wlUdpF1lYSayql8KoC/Fa7ZQLx02rf+ky349bAOEV2
FC1amZbPZfbHEpFvCr0VyUnSrhV5q3SiY3nW+vdlfenm+f6NZzs8BiMvt0Kpn+Lixp+MGiHIO+1V
KNOlx7Bv6A3RwICwfHZAs4gGw582Ty/gEW2aTm2+6zLOicTJDXolU0JmhFRSoVnBxXddRKeHh6Ew
1377mpAE/v7Vl45Q0EvENypdFf2c2luKWmTqo6udhHpSOv+k+GqUtyo1ZAnOdtc9/v64S4tXR1ib
7og66Uid7d8kTqtsgBtyyrIDGGzYFAL+L8UqdpETAEiVPf3+vIsHhk5xiiiOIZe/EKnfVm6S8DKJ
l5E2cP9Gd5r7luXLGktTEn6jeKzROW+vQrEvDuokFmkRBMPWO5vjoY+jIutS/dREd3CQ0dleghfW
dAwN/VuuCKv8nJIP78aLNZb2Sse+O16KU4GgLjYKQKLfR+FStEOXTpPQ56Rzds6AUoTeS/W4xAnO
apcZCusaYADF4zSj9HTlrNQvnZWGJoH/ogkG9v3s481Wl8Mg5GFyp9pTzyjJ0TQnFOjV9iU2Qqfo
PjK9gXUbPpvDXBzBMFioDnbPij1SjNbApxV1DPvzQ3lusm3AyMnxXAc0P1FrRcVRATakIopoD+Wk
AVtsZdydI3PmeoC03nvKP0jaVA9xvOm0dylBWeGuHhjo16FeRTUuQwNLQVu3RQDNZVUAJSgzyZYN
fCDXFIHedS7PijTXVbQ7coOJgYKTDyKf/GFR4YJUee0NXq6/T9LFpWpQJcCOG9ToP8hKKyvDqG3J
cEFzkhhaLarsVP+A7hEE9xYCPvLWbY5XnnopkPj21C9Y3LcNIuRU7t061U5Gf1gUw4PcraDdNiOk
HSTwMvVvTFlqSvF+f+5XhH0ewBhIxnKbIjhAF+/nlUovp9KGWFBPbBB1BLYNX3d0Sjx1Kl1eSMjW
BgXNJGBuGaU2NHCjJqItYEMcLqU9WLcc66movfNNa+WHFJnclS5Vdz7Vbb1/19GlloGmWizxGphc
meMAbPw3M0YHHH1YaeI/nB+eyNhniZnk2slMjnm5H6JDTwGDBehO8PS9hdEVcry/D9wltJ05IT2n
qhL3yLnWjoUGn2oyN6cckhrUr7hbJV231HI49u4JenrXOH17C0rCCbJ2F2lg/hTQRUDe/6s3mfJj
08S54/zzsxDIox966ilX5RVzGArNA2isZQsfOUK8IYy3FDy9SUpcaLaFhr+QiU9TRm0FUuzvLyNf
uFmYA5280ST1ofPxcz1FrdKnYmwop3ZqF1q0ZZEeC1a1SoN4DFCGK1D6QjtDyTcSrHgBdLA7ug8K
IhWwUDPtdqq1KAjXiYowJxIhmuQOTDZqgTFtdpoKOmrSLqH04OJOye3aTXXt/ZWf71/XvVRUpaac
4JeAq/YNuILch2/s/UTlwDKCK9N37YFnGzCWBSnMYks5KTLGBG9KK83McGuo+0rGkQJB+2u56aWK
DlNkUQrFX0P5J/TpMGAZ1BFzJhIoSYM0YIxIQvCPiQm3BFk+xqp+U3AWNxq1b7ze6s7+fZlcaotC
U1JZKbSrCELOhnnyZ4zzpAY8YR2AisJ6hwV93xUPgVcuRlWkeXTq8ucqxkFKwwAAa62r/joXruMf
73A28jl7RsjoFp084RDqbz3maiGiaJz15DKS9OK660J+arylVgTIDmAlYC4kSl86lmPi25UBmfbF
2Tn842Wm6/zb+S+2itHVLjm0Fr4iGwhWyRjgAr1LuPAkdus+C9ki/uytzyvPnRLU3557Fm7L+ajW
pUw5SRSXKgg7f53IWzbXNAwjMovNKcf15feHXghNfnzrNDHfvzXo+q4wmPwQp+fulVTC8q/cpxdC
vx+POIt+sokK2Gc5wxlQO03got20EQU591ltDkzi7x90cQ9rojm1fy0olGcrKYhicyxaUGZs3iJb
io+MYV0dyYWNYyNfWyrKpfGDI80BS5d1gmD9HD+TYrOOjRPFpVJ7LgfJllJhHbr1zEXCNC+7tQq6
AJyf7qLiothFqIANTeEHv9aKChV5Z4LxbPGCCWnZS9IhQCciq4ZHGQkpX3KkFP5K/Ti0nSMHSPOK
2ly3Dhre9viSFSrw8mrm+Wg5FvFtVj5quIOwg2Q0USVEXUsVp3AvWFvZ85ShEzV5yZyMsm+eglg4
oD3tSAFQnGgnWN5KRe+wR1hi1Ky5OAxOZd6oJkB5UlSkmtEGj/mBvNtpqS1HXAyUIjMCMr/e9Wi8
xDTU9FZbeetyyDcKFdcO6ljLyFv3on8bjTgVmPJjr77kQv3e1vVSjCrbKgO7T1CKgRHS9+/5C6Lg
hdCsUrlAolJoTx2k7fS9Fe/bGJMMGc3S7kGrPtR61fXDX90v57DaVHxoYmrvofSSlo9x9h7IDx2+
eRg6rzNxWLeuemM1Kqof/lLQw5Pef3QMrO/jQAnS0UOhTBwclmbtRbOYUyZAJ57IGUCP3z4MMIba
MbtVEcL5/1+rcM+QZif5m6xXfi6enEYVzeSGGoKwULwdeME2cfjbekw0dGsefn+afiGutWTsDyhX
m6C1vtKUb3sdpLLRFT45WFyuR22HhNCsh5ujTcQOutcxuGdr3pfxIg2h8OsGPMMHah+E3S8ZlhU5
5JMwfenQkdUFFm2ya1HZzpTFEPx1JxfEuH5LoYII8SlKeiextKVRP/TVLuXAVjARC7LQlqgOdZYw
97hK+ozZg82OSgdSuXT/wn5nhhF8w1XZ2BngVBNZL9nXZrXhzijaBeaGxjxuT0jPoNkvleCMaAAO
fzEbjSy8Hs1geWXMLhzJ34fs7Eg2C79rQq+g4VHtynhvIEujzixh/ftTLp2Q359ydkImmJaKo8vE
sCtKb6raqlIBYt0BE69do2FfYo5BViO9kGTRmK79n6uOUMSrQZfrp058AW29EFKk9UTcOGn+yvKu
ct/xagK886fsAWHTsg/35XjydE4uCnmTDZn+X8RdKq46cJUNSZHPfaejqiukSKPOFOBdKq3jYIkD
I2a5r0qx/ape5lem9dIlAZRJxh9mqp2eQ7B6GSGiQLA0kLpfleKaUlJH4HUrlK5tlAcFzd7fp/jS
PfH9iWdTnPZSW5JzklPqCJRJp9xYuP2V42SauPP4Ab4HPQ4K4DKVjZ8T25RdUeQthau+WabNFhUi
7aEzT//Nh/zvQ84+xBSbtNPT/zt0QNQr9QNQ8++PuLQdvn/HNHvfzinXRcQKrI82XeES4AUe4/pH
otAqvLXaK3vv8sT8z/ecdw0ailVhUjJoMLXgGwT+7dXi1zTuv8zLeWctaop6xPRIOwXWlsiW6i5+
XiqnLxyA30eOcP3Ks85zPrELc/Bv2kQy0tTR1vFzLDoKyL6wQ/hu4dO/NrJ+qQ8nmI+2STxCfAuw
mOTOtInCgS68sAHVxnPq2HrQkLEbkd/r9JnYdSsX6achW7rti2scQ7daBFikx7oDlzyNCXL6p6F2
P4V4OMnGQw8/JB7G5SQvE2T9jYKgyATFJ1qcu4o5r6iSGxk6qJ8V1e6cjkWl+7YgjpNDbly5q0ot
cKq+7cWXEKuHJBURmMJPCsBpOOFHSyqJ7SLuuo2XiCcdU0rXBUonI7mYauW8HunEj37oCM1Ej38b
kz3y4A6sHhm9AjwE9ORed5XNELxMbeq+QADaxfULJk4AE1QXXnV8RRnQWY56ShL4TgyqR0TsEAWz
bCBgUQJHGgw0/z3wJvE8LB8Y2rl234czDbk4dKaWwSGs1hjbKM0yQDrM2xXVXmp2WGJ18cKAEmRS
UMKpctlKjvBpEhminDseZOkwBTSDpa5BOgB8ejEslLbqfC2A5k+sZOnHKNPWI+pyiOoTNKpJgZr8
qyE+xtY7Om9Vhj6cu/ZB9cgRml3Jg8yNnYj7On8ZrXo/Jm9p7iF9I9keZOEIx/Mo6ghOi6Wef6RZ
ufaqcibX4KEYzgeptwcRpGf0gUph7c6nUEqvn35fvhc3CgVSiHi0MMVzhogRtrVRixWl8GQZx7eF
f2Sj+OVD4165cC5tep3qN10H2vdcvT9PGCnplQ7rRO3kNyeeYhnHTrlGy7h0in1/xtkpZlQtT04o
+opCA4cJyllgQAW/SYDMmbNYw+KjiJEmPaUseIlFrOnbqYs8rabCG+7McSsTNP0+wpdQoda3t/qq
uH47Wy3VCzCw460kc537Tk11OfQ+jIb6BurUDpCfwMqdq6fsmfn6F0sADgjoFTrGOvX2s6CjQy2i
tLChPbWmPKM5fBj8hgYPQSHhr6osswapqxIQHjZ91lBsBH1yQc1xYrPWQrByjZscdp2SKtsURJYq
PakMU+Z++JDzJCVYtGm8aqgv+n8KIHtKgjQ7NHiuJsujwy92m+pJ65cTv8lw/1wZ00v1ArpFKJ3I
UMrQOfu5mvpO8JANUtRTqYDEGZ02u+mTe8/3Z4FjverWvi2pyWPpKF8Bv1y68L8/eFrm3yaz1Zsk
8V0ezEZmIUFugrp6/caf3v/8/qItJ0MgAE74D68pVGN/kAtNRUYHb54BZy/rwVfeNUiQ2Kqa3Wuh
guIHklmZ6wDrnpq005Sp9JJEWimYOOGjE54HvTrlGOJWysIrX9u4OXaIwMbWSRrWYoW8I6ng2Ll2
n6mIxqqQ3rA9HzEFQrdhzFdR6O+trtsDU7QznLPUED+QaK2yeUbSPBcIH+ZxIgi4YHA5GS3wg7dt
f2pduJ+dhP4YYM+rsfSlkg3sZvhNAEzobJ0ta6jJg1SFPalliuCg/OKBPSOMTMxHxeMMM0GkGYvE
u6aqd+lsgVsNIBkJCOUfhYPOAH0XpzEzkiy9bGklD1J5S76g9fekDFeW96XD8vvDzg7LEKc+fA8j
1heZHzK6YQUMuf0Yk+E0KUF6Fvss9tY5+5LoqfeiORn9So2Gk6peA/h/hWM/1yLpsgV90AToQZh7
9jKWG6rW0HvKSUCHtCB1pX0ZyLpNzzTT3wPrccxRVlDKQ8uGE0p1EdIFoVJgdicaJALiN081yOoI
hpI0iAsTTc0ihQPacd/1aKGiY68cAKkUNLsG7Zo8xr8ZuCSBAtQMchxV1b+it28bVtUGjRsBTERk
2LSx3DeRIoqPUNvw1V9Wq6WuLYf8yrV6gaLFYy0UzGgvSwzbWZGqGF1T7qNWxoaH4skUFL7kVgdM
fVFgPUFzRgMhWmEa0ECD7m7zjMvHXXWYMFnVNQ+4izMIDssSDfzOyEPPZlD2a6oDbiefMjBSMlIS
Ufro1SCyomEWCuo+iP66Cr5m/oi5Fn4soXnEKPpuMkRFgjYbVmNkrbTi0Q/vathmSBJruMp2SGhk
ydY3oqWE5G5222Pt2qL8QpVp8fuG+AI2na9BDWGDLxYP5ZSz816Wht5wvYJZTP4IuXobRavS/SPg
kwzGqQbyEahOUL7lhrVFY3E1oIeBWjIO8jMUMrLOWErJMdIVuwLU6iGGTC8lafqNVN+C0zLopPz+
vhenX5NNFPN0BGqUc/06Uc+b2ggq8qf2bcgA4EDME41H1CmCNrU7tChHddyI8cM0XpX4GYDFDbMc
+xdaP/41VvmFbp2E3NJUouVlVC7Mn7dWnnpm2YqhfMrLFeA/n+aGQLiOX4dTJ0TqRXaMU3jm5Scs
C7sHSIaSpBVZu2Ec768Mzb8RJ+8CkJWmPG0yJvTnuwBDTzSBWONUlhhmATpuVASEQUMr+biNxkkg
7l0yDohJcoEDXqMzQ/PQQ6tWoTvToSXrQVO48lL/xhO8FHKclEQmdNX5Gcfm6APLAElkKY9i7MTF
ZrIp71nhdQ03W9gDzp3JQOCT/lGsrsDovqKVf1Y3EBAqRJPg4XlRUvP8ZpS1WkaQrCOQkhcBcN4k
vnN1/9C64xI111XZ39EzWHiw1DQLKQQD5UgNXUtpM3GZKKkm2DNk4PWpCdqW/NHp5iwY32hdP3e4
CWjyjVo3TmUN8yZZBZQEezqLWbzJ/Xanlgiq5/4aaWK5nMe+NQcFvkw0XNTEeaV9tj6IA4sgUvs0
4eM04rEM136gz3rCxbaTkaGZlyRSXdfCk/xbobwVFojBc7bJ5rrR/0pi5oDelnvQeJsQwmaIh6g/
nlrofgAEK7xJKlqkXbnhpyIFBwcA1gjNiAVqXpa8Kq1JJz8Dwm4K2Y0KEIPy1ZUE5UKczhqAYAn2
QaRCfH5kK4ji5pKRyye1eOy70FYsLJX75QSmbF9BGevVMh9xPLuKZPw3tJAkVGu+LgzAT+eHhZLl
MdQkQZpACHJPx1WYt8NfhFxmvtIBxIFI7N2AzjHDN6l9bVIdLj8Sxl647I3jpDQnLH/fDhcvjEk0
CWYzyHPaKT/36CjkcI9CRaJHWoOoRQYf+dQeenMRLAyENfD07pR9kSnLtZSmOMGqm4nX0phYZYJM
oeu99BF894pnDa3yxlpnpYSX4iue32FxW6e3oAb6YlX7TGQtXanIfOWsZ9tJnv4y0dklXjs/7ZSy
SfGuyiRggUuhsrvRGbvnWtkF4r7QNjxzFJBAzpe5joD/0goWGvvcqCBUYhRdL9T6RvLJffauzzp4
DMP7aAA9dTDh0KYgHJxO+Kxipxk3GahHfqJLEa93kb/9I3d3sunbnYnYVvCklvtCdvQOHToJ8gPq
7Tp+4IqngFO+K7GJnAxvwf1MdF4r+GMBRdRFyPQbQ7PbvdS+yBTf4x04oqbdZP1flQ7Q5HNtV9Cb
smu6zNMd8O+oWZzNBNXqP+jKqtWMMh9a5lykCkOrpnCAxI3ing2qMbkstN9XmfkzNPuPoZGG4ipp
DrGZdXYraXEeo9HeZnv0CpBbF+emClFKGH2Q3oi49+Q6yaoRdoWJ+5n3p1RKpwhr2nC3HedkQn/O
eCya0u7IcdXyVQJoIYcHMdJtydbkfpH161Dt7FTM96kHkwY2m1TZOp5CCAPL5mObffRNcFsn6OXX
ALfSd7rQ8xTJhtB9ldy7ztuJmLEHVWI3xUrMIZb2th4dMNu0AqggoG3ihaVjPw4VxApxJ1Urp+mG
nSsXW4ED2k+Pvb6t4ENpKfW38M1KnryA0zh4zlN6gubOTOWl75VUAYGNR6StUb+ugv4QjLE5K56K
dLRD1Gt+H/gvNbb/nerzgQcD+nN79wX1mVyJo9vxboQfPh+TbGZ4S+Cx6lvbLZrsFpsU96hxCOcW
uhreqgRrEuJJaEvG6WbUN1PpbN4d03Lmi3s/2Zjxzp32gtMCpbS7Gx9XO2keL7V0gXiOVtuRug+j
xz5ljrdSbSvCrZa/uVfypp8H6X++Cz1J+HeT7OE57aAcZfj9jZdOLuB6E5MRezBK3ZuMbR4nMV4I
8f9f4PDPI895t62XudWAAQVOYI1Tr+U5zeEZ5cJ1sS7nnv37xH3B4P6ZODrecA042Gij/Jw4g5Zy
JCd1csCtO66WXXsqosfYe82izEG/adCyZTMJzVDRxAisKNyt15FRlJ+a2tia8Jl2qM80+RwuypWh
PxNV/c9AfHu1swjdyxKZYrep7X1j3UNAFdXQ7rzboVsrATaV5SGEdiydfGU3Ntsw3Ut03Mx1l75k
grwYpNA28P3LpcJWAwN2R/piImdFWrcVTX8bmP1MNXYiFiTC+IbXEHZyuveaY3rpY5DU4LZpGNui
9ylcfZLJoryFeQPwt26LVlSj722hMjZDgyNc5t5EBONDq6yTrL4SQ6jTV/42QVNi/y3b9MymUz29
00/+juaomjjm4HhIix/8dq56FGO20TbaYLjuiHexhIre7YgRSYkRux0elDlctgWQpGxHOcZBOHyN
15NjkMyc/Aj+4lzqN6Mw8zA3fpWHdbJFlki40tH6wh799gln8XlgmTWVPVPf10oKjAFiZQJw4q/l
33bSvcVLhYCA8PtwYTBPp0MhPmnJ0hgd3dho/inCiUcfdjpTr/3pSGjgiKK7p+208NnztpLhhPIG
wCXyaFL0JwVbX78JykmT7lrxuTTWJnTlHKRy/dzV69y4skzPYoP/t0zNSUnDxEzvK9H8NkGD1siZ
phf6XvDe0Nhvsaytc3ltWeN878v6XC+DRdLoa7mRFlBQdW1NJwnbXMueyLIYbS3aIX0qG+GOn8Aa
ucA52z1kYgItfO9q4mrS13M1EmFSeUHunTjUyJKNJ6tQ1zrKpLKSY/TlOwFgkYosVA+3OZFenEe2
gnBm4YP6FQ+kBPMx/tv5j6mY2lX0Kkn9vMow6Ax96jAv+fia1tIy1JJNOtwYcXFfmX964rGqh0Gq
P8bVa0mpD4VNuwk3mgfZPCzhpGPQC3HOLfQr5yC6qxdX/v8O7JT2fRvYOtZVQS0kZe97jm+thPTG
NdQtrgBatvdcxwCC2oaBbQVHfaQNh7EO/LoFbiUzl0zFc8tZM7yY6iwDIRIFimN2ElYFz6qCfI38
roI7CITHysIxxqcEjfDcCLzFkG6D8jBGnYMzke0Wn7kRz/xgkbn7Euui6rPxpXUp604uCcjQksKh
SZVVpi0V/Noc56eqnRdeNrOk1zE69ip+gOK9GoeLJDwFTw2dNtU9tBaWnXq8LjEHM9Zi+xZEMH0s
XHvztRQuvALJZ+7OqoXAhuhz492OSmlrh77z5z78+jynpGo+d/FjSq00S9i+xjFWHoLgMcbcQKpq
Bw+mtT/0dqm/StVbKTwFKAyMEKolqOIlCVFJWN2oB5VcLtT2Mlw5A8xoW482DbS1XrYrMqJFEvQY
zaxSTP3afHKgofYr3Cp8oKLsmnxZdDsPKaXi6Lb3ZUN0u4ut1xB/WaPEH8vUZzEAoiR+kj6kJjyg
v+9U9EPa8VlOnydek6nAgEaHwZfRRi3zuaB2cCMrKtEy6jfRcsAaRqB6oLmLIl9rXYnJUrOQ/L9a
95C5CJ11Le3JI0LOJm4+BSI8nice0OawqnjWCR/Td2VKvRuHchOIFoaJzawVidYDnNwbpb/x48b5
cjmLH3UZ6j8HbHiPS7yNyKPTBljrNX9blzZg7O2j7CCTR9dT1jQz6mopZuKuG4MFbBZse/JjimhO
ZszV1KbJp1iLPKGNzy3iSLhHKQtkGyykJMRZE8/xbPBU8LlO/ajHi8haUkdKQWmVYMNmSBKSHgkp
SNGFa8CjWCIHweKS0hX8dfy+3HwWiCbb9Bni9Mz04MXnGy1+btp9eCdpleJ4WfY54qht0lMxM2ue
qsQRlmkLcAqaDwvWswwINJqYz7K6VFkIFVg7QVtFiJ6FsTQbx9qW8KZqZYA96lNfNLuuSO02JlXw
B6LRfB+yrCWIkRZ+015hrSS3Pgx1ukIL4z4fMU19VMqIXm4yWXAGc1+TnDLrPlmJdq9RzTc9mwKz
ognwFXR3L3nCXjLi5dCePG/VEqNLefkWqR0ZT0YTWLAr928rlfbI/gaAD5GoWEj54+TAGHAbSwFr
BSGUsjpiJCaGx6B4leq/NU5aQobWQINUyoAOE7Y0VbxLJWTPFeVGTGH3iaOTd9D8ErOzRyn+I2SY
3HvJoc3aQ6cVTznK4Rk1wKCvN6PfP5YaTmUZDlpCr82HLl1WJRZqWHkExk3VHHLPPeSWvzX7v1Eo
OxXxCuwXcn8WjyvafkPkMqJzUQoMbYKBWrZoZExNaff6vm63ZXca42Vm6Zu0r/aatJTj4TAMR5eq
/eiRKGTtvAaQ2GO/0EveUzvKt2ai4IdWO8nQNbMmuTdS/P0sH+um0o68gLqsC5nN7FTHzYR16iGh
SVMbeYsizzbygKon8K9w1OjY9dRlWMi0tT3vYJpQLgWKM+Q9rCGxepOJgESKOyT0NwISdUn1ogQ9
4RYuZU4v7cvkQwddrjSvUZ7ODZXqcGxh2duiqkWLvv6woo9S3IJjw7RNfDY5scJmXEvxayLdFyOH
Al5+XunPM24vAWYu0LJcaQ+pKszVNt3QXrbTJHP0sF9K4sqIn3T3dRgPgVHsWzwxh9iba81rOGZO
1m+1TMIbO1h4AfAE48603o32xmsOUO92ST3satDAUW3XcTATgzuBCK6QdxE60vHDMByQwp5XBiov
2D9HIo7p7nMhK3YbIFBqfnhKPfNklV5JvUjQR5XGztbrk0XUnLsAjfGBGVg1Ua3uqnwdcUFL0bL2
DbpMD4qYX4kVz4Do/4YiZ+lvMEpBpgWytud6QPcG/21Ed0XTRsiiKpB1G23PREKCuTVaEU3VKVK5
Zir8pR32b7T3P9f2ORYnkdJKlgrPwx6jm4U7o18gLAHrY6aPL/5wbLSZrS/JkX1Q6FxEaxrEM+9B
F5aStleCmzF/oimk9osSKA+BajjuY1KTt8G2RgzNkSAenX6Jwr1IlPPiaa9K314bx58Nwf+Mo/VV
8aEvyH9/Rh4xd6fntwSsgUiuypsSJuGuRne2wBRnlKhO4ompXsnFrJ917H8fe5bwQEw0U5HK196o
8NWSb2inOwO+iFoNfHPE2J4wh14L1fSPWp5nwNuyBuodYHqhfDaUGqSlOMtwtgSjjGyvq+GCCRTB
QsLIR8WtnvmQQ6zIXCJZK8fc4Mk+UT6QA4mC51q7iXPPUVOuYt+bx+67Ed77zTMeS/Efafjw+nyV
aB+izi4Jb5OjVqYLYEkz9lkGErRojwGhIFqzc8mVnSJ6SQiI42NefAby4yg8u/JrxGkn+YvCRJsF
dZSDHnEWhzSJ5Gg2cINFqGjlKgFdy3VBWJHfY789m+A6lrzwaCrI/adb43SpPblRjAiX1jtGc2P6
kh3ngi2bC8twiqZDlfVVCA9Neswnk5jmSjEQgMnFMhPY9P+E/OdYsKoTjITKjXSCJzzOm2aROYi8
4+2IgszcI2Yz5ljWUX3eQDmDbRasBv2eUvkMI6m4m93IDjl0eY9PXrEUXrwbRYAVcvTxbp/ldq2t
VaddCCt0zZFam7m4hywl218jrkC7UZq79s1Ro19mJ2+RZQebaJnRVF8gizOuKFPdSzdA1OfRRtH2
tKUGp4fEn84iir0ziQLptpIX8qPRzKSb8CVZjeZrs/ciR3JnWcT/lx/RNZOW7U5OHXMZfxT9bAS+
NM+BSS10fStoHxqsbGKE6KXARClbmO2qKdajsgrvsB8jOhuX8nAUXICvuFRjpDrh8cDLhepNshQc
FYe6vNrKwkrNuP56fBC3gaO8A6hntDJr16DMEo6I16zrDABAOjOPGrF9IDtG8lAeK3yjw1tN/2u2
sCtt3lZci1ScavhEL+Ez0OP0PZ2ptliuaEiOKdLPyyTa+tzNyrMQcU8SaK6GvwQ+tq8ucQutn/qV
8lTti30WLxF296focR4veiSXdNuM1pI0Qdb7afB19Sg44U2lz3FKDLuFms0ta9WkMPm4SRaCDPBF
sAsjXelFt1Du8JqenHM96OA3EdpUXUcpcpuYOGmu9H6jiQ9KdG9ZL+JUdXB3bbJAqML/MxQLT1or
CJTq809DXUXFNjQ2teJI3TG/w6c8bv/o98VOb576eEVK7cqPkwb842FYZDtBm0nz5D6h7EkhkD9l
1q1SHeJgnYUOuK8wrfEX3TTKIa4RsDMWufzWWi/9rH3qzUW9areShGjSa+B9IqrBdy7qduGuqQNp
BRKp22iZsqioJ0orV94KT9GwRtkN5cB8QVJh4aMNLhaSsGPwa97zYBE8FB5L326MNfwb4VXFIccx
HKn/ICT2ba9f8btn5crM8ftdIX+pmKesta3agTmD+pYOFoVFDZCPo4Gm/1J4hflsw6o51du+mieA
DefFXDhAkFiK1GI+QB5ZZDPyGsvMFMvVfYvMGqXg25a3j5bmvX6sn+otewJsagt+fi7z73X7jhZR
9IDHcbayDsGmC7fmEXPFwHTYI/223YIfclxpK1Oh77OVj46IMBOIwQU8lWmy7DJ4ptVdRbX7Rjj4
HSjHxUi3Y47h7Sw6Baf4pmGUfIqbC4FwT1ftT8vxzUWyF1tHyWx2BwAdtXX8BQsu3o/ZKjr57SEk
dmw0m4SC9KE/BcoiBNVJWV9dBa95fNLefbZ0bledk7cLLVtlKPXwqdGs2oeLQZ1FcTSDu6Md8JQz
j9z/6E0ZI4lNGS2LbN4j+WplWFyXjia8KJhSYF4zR9Ql1h84PtgPSKATy9R3erDJgudSnsmOpc4L
det7VJu3obYC4I+/Mi7ruIXmiMOr0FD2gYGB7h+5dUrJGYQ/o3FfvmswIyaDV3XmbRJ8Y0PHPTZL
I+cnP+twDujDmt+XyDkJHKa0PqJ+2ZZ3MZLrGVpcjT3EyoxVEneLEDuwMVvruLuWOcrtbKOULlur
AMdDS0vDN/wPjAX9XqLv2KwolbfhJgTm0y901bGEpx7NsLw0F02JDNOsWofFoTWhqzTkEY8YXqcp
KN8/nXo7iLhWpw+lSk5xyEs0SGZlvcIfIzwVz6VwF3eAR8HIyvbwLHF5u5umXKsKEeuy2xmUSYpT
zGVe/g21Rcaax/Fppt4FEhDCtf7sWUvU6mptIZh31RG9qsFfyhhjVzgt3BfqnxwplNCaG6fGmrnu
zMID4lZYajoHyuL/EHZeO46jybZ+IgL05pZWPpVGSnNDpKX3nk9/PtXZG3smZ9AFNAroMkqJ+k3E
imVqNp5ud922k23VX9zDcsBkHhzprvhongeKh0O3tw6SYg8fTW9Tz+PIv+F+Sr8jnxPvbJKF+ycy
yC1eZ17ysGLOcMHGByYJUQ8uZewExLDH+YnE+AMuf9vkPep8uAen+EkWj8pLeIl+uL6adGOmR90z
MENVPZzBtDTQVFvYKufkQ5a3Te4qkm8qlyZ7kPsdXD8S8T57bZ9bjzkqBc2NT51LlfVabI2f+ajy
k7chFUv5xZci46j2bppBtv4x70teFm6HWt2H8HgTopwkEFGk1a9t/pB+Z7rHmBEihklwh0Eet4kM
xXqcWFb0QZFr7ovWzTc8gTmYJVqDDdwKD99V6Ea8M+vOImbnEMeelb5l0XGeAukspWdGo4o9vhb0
kyg7lRtvpFru4LoQN1B89L07Yr3eZGiHT73coN5y04Hk8SD0EjGIgWRTWyn9djlZdwZk3+5NrOin
A4J8NYxmzjIGao8d8hmarsLt76sWTH7XnswNUTyE/ZaMR5x4uptrv1ld6geZIwZBuIapmYuk06p8
gazsxI+XG1dZ3nGX1uAJW8Ypx/YlFraddInAUly9dtP9tC1CO3+gzkxc5ULWY3IHWinsu8oFl8FU
cp9ZPkNu6BT2tN+UONV/395SfkwhcVaOsCXF3PCqD75788HAKal5pDZeO7t7jGqX2m3iUYuU0O2w
iY9lgI31a8PqfdRee8BootLS6pIGY+oCRufthVmXAHkUycyWMc9tjQbKa2l4MjfJHLB6Dd3p+SIF
1/imEc5cEp5d0xk8tfeba3qIrpYr+GFyNx5NPqMIgZDYeaTi1a6I77A3y4PhGRslA0ShDuJvw7zW
b+XJS/ejLtli6CgKhwgqP89wuw0/zzqDyCIF9KB0b1M7Ge3K7Sevv9TsmHwvPgubMhi1WwyTtF2a
Z9Xap8f+aP3oLwQReTUh3SmGqFutxinSJyQRwDJonvkM/F+x775C2VUYsCy7+Qy4FQU9ZH5la4k+
VLyW6fbOGDcRut7aE+XNKHxZ0y6hZM81W6ROwQ1f2fBtZep27N60aSO4P7BRbOkaMYNMfRa4+Cxi
5OnkJy12uuU0Owqya0RBNhY0kT8eB8uPjF2Hjn7gZkAEAI7IkqmugAcl5woXr+YN0YVbTXGtJVC5
9ycokWdFeVxIGp0c4RzfL+FTI9lR4o6cnELxmCbON50Iy6aC6YsDK6eP9iBo+9tEAs2C6Ewf8f45
B6XEO4wmcaEkqHcxV4I/PGlvlaO0Dv7vIZi2bT6a0YNVnM2pxtAZxaU7vepuwb3PDYSJRRrfFct5
8gGZkFbzNvlyyvv2HsBatUdHdtXUqcil37QOB4qrf4VPgJnRznBqbqxX43WmhvWi0/xZBlzsHe5z
r62wmZO9xOFgecp0jO5qYVNh0vFh8M2FZIXbeHTjhqxNzuDiMXvJ4JJIcI44bttvUj8fqsEnsfZH
fbko6UZDLedUktOENsOi6C6ULmP4EG9QNwQrsETvrKfTebW5pwZ3opezFxYChfFMLgoenh4NUL7J
WVGOoDkxtq7lB3Jr29qqfvY0+WKzmZ1gMDbRQSIUDEHDWdqlVJ44SNkSndeX6Ki7/mAG0CvEXfXT
v1lbkUZw8XAwcw1pw8s2nBa7PuBLwFdSPYaeTp/9Fgn4C7uSg+VtpjqFwk3A2sx87tkaGGov4ENx
i0PBH+yE+mBEYuExuQmk46za6v36aLmTvezb+dhBeAniCzd6q51N2+65DnZGg2KeDM3VwZJTdvtL
QbHpVc8Zrc4D8I9Z76JHnHVHDF3tcmsQbDt5EJRxXfGybXLGJ70VPptuH4HlMfbK2/3giv4Ckm7P
6WktHU05qQZqLTxyHbQQtR36K2ZxZ625qMqW9Qx0bH5k9a7DgEVzpK/O8JkFcDWOm8ovtsJ75/fk
FRvU1e80a/NFGjb9ZKfZnmj0d9G0sw/TE0DicYPBdQUbBrhKvBeSwFS3pvSZmVyDTTdsMCzmaPfw
6jnkb4CHsukszOLc6IN9w8WUNZ+r+mUaTm9swBjxKj6yybCJ6iAtGbwSfHi/Fa5FtRGj1/yb60Nk
tTbKZjS8DiWcAdwTwGDOtxgdGbbWHvP+iL/bk3kiHlnyMSDU3+XsK2e7wm4Xz1G6L5ymxVoWT05n
Joa4urtd8kQgRj99SgSdu3QP0XXo9qr+VPH+L4seaJj6mK/Z4KOPibfIfiJw/h2EEmII74tsy/ii
eUs/J1JJCgyunJ7i37Ee99XqyNJRzXZx5+UQV8hfJpTxI3pNH+bcg+ed9Hu85ZR5N6ib21XwNWYu
7XyI5b4N81XdkVKf7nPtmRX1HYYYTMPxDVKUxqCF6et8Zp28w0njxzjWgd+2R/86ZE/VXXfm2kv4
yKDb3d3q6Ow5D7CD/zR0RDY7f8d1pQfWttac/Jh7WudLMz6kvlIexlN8ysPnxa93RfuY9T8RXspH
TMq89iWt/gJB/fI7/B8sCK8cifhMtI2K8u8QlC7FxWTGM6mZQCHaLXjSuAVpefL4oOIEjvo+b+9a
602IThFVqh4OLgOZuu24NiisrReOc6mkKBY+xZXRJAOPlKJQ3+X1ieSC5nNqXqLRsvV4o1SV0xQH
2BvOvB5SZduNi2NwpkQPBlPV8g1SlBON5SEyQDtFjH7/phUkzoqP8x+goXkjlCoQnGFV//vH1fpo
SKxE0I8GegRLjAkTaz9xUUhvCZunPrXexjhQS4qo3jeAYfXQa2H/gatXyl2KswjZYxH8jKkY/Hyk
hakN6k4EG/mLKH3p7a4XLUdXlI1ZDljitvs4IQ6JQWrHWVeWlE4NN0Q/+WtmAF5/5nJr96a403Vb
5blVI4X5RxIhV2ZBF+25Ld9MQj5nvT7KN1feLPFkRHqVgeTZOIm9xNRDWrwp/V5LCJj4RUVOqJlU
DI0f8oLCwkEuuHrL6FRR73CgkwdcnZFAS4m2y9fQE/LKjRj51CoLPwbsng230rZmznyu43xWgfOI
3DHL2JXSU7H8GOuflbwWZIJ3ONdKp3lBHhdmd4mh2+FQ3aX159RXtiyqfqtqTssYem3mQ44tM77B
9mpGvk5NLb00wnEoLkK5z8VpozFElFPSsFCoaCTVvtwGRaoxuzdD45TOcZpPbTx7NZhsGofovFNp
Q7aqfM1WjR2JrS4eSKjsKIck5mOrwRaCvMEjEvJ1hyJFt0EwekfWM3fQuzdjpe9EfCjMQTaPrm4u
dyuwdTcChKlAIdPV6uo7eRifGpNzhztGy6953rqNhA2AWIA7Jm7KkVsfF7E/QWGmlGZoxrz4xs9g
WDMUJ75f42uip1420VRtBjN/z/FMkaqUv5DY6kJmPRe2SXFSwq3Gu9WP400ynssm/wt56g978J8W
/69Bt9H10iz2iQG3jzZdolvMDkt0n8VQ1R55r/Uck2R7qmjDhzZ2W1RW7M10IAMBc1ztsSH5t67h
uxAqkkH3NrtPLX5a1Mdeq5lFO21ZMVP1al59SjaS8ZmvB7PjSta/RevSJKd1xRxBnm1sCHWjcC3B
2sjmW09BXKXvs2k5WrqvgBfMpAJqpjdsD8nwk1QLozY7peVPxBkT99iLe1rEOvVJmfkLOP4Hc/+n
h/RLcVAlONqL4aweR40ymC+7+SnWtzgVAMEhtuHerGaEzBkCBGECNbN9l08MUbdz9ynV0CpI/VVi
zO65S7MrTt6OBAPon8lU+n9lLPzLKfZr/lLV5JK0UVeeuq7Yanp2EPGInFmVHbPa1kyOy4Q+A4xK
iS1PLbrjQM0Y9XgSIYAaZTG414r3Kd3eAgTantjxN9jlZ9XgevtYtJuhfbmRVssZ+WeDqg4g+MbD
TOMkGpd8Vt1iftYw3IZUrazw7wRQUYAfKMZBkrBzicjjGDLghUztcYxml+AIdFbgWNFLUjKerE2/
ymbguONSpgxIgdLpNnF1wKRMt1ux9sObyUy6E/8mqvnlrve/9x0EOx1pg4X/6r9fALHM9uwFPWfI
p8PHNNnmDD5Sw09x2kswqTLCrTxjA49beU2vwHnmZnzpkBrwkCRvJnuVieuJ1vPNeSmOLrd/M4pg
NBJTEBz6uRwW3JCA0Aum2HN+D/+6XeG/VrQN1BnwvwyewbxW12EiWoDDUVZi7BTT7WLBpgHojymF
afrHe1Fq/JvamOvM1qqvFf+tqd6NVW0b5JBI0jFFTqUkmZ+m5cYa0XPdcJPM3CKLdkdcVGFs2zrU
z37JNv+8Bn8ZQf3ng7zNLv6FNZNVfdQpGuPcufXIVuRUx8S4xSBM7XZzvROZxysQk9c8p2U43jzk
M+rVBZnwP7+R/8/5/M8d+39f6a8pmlauXVYalnULAnLUdVMn1x7dypkVVs6nXPY3Ezqp+Bl2XpVw
88pAdubbTdqOz5oAKWHqTFoRqLbx6sN/oQaByqIzctIZOUNTMpUdJxirvGSKbRX3sfbTGJ0jjTGT
IBiMjZcZJuSTk6Q/DOJulK+3VaBN+2I5UJ3YgqmcheEZWP4w592mBXyuckgr70YE5cEKgTyLixkr
T9wOQT8hSpyH95JZR5x9DEtL8h5zcBjXvDCyUj9+BRPNjJc2ZZygyx+TQcd1n4dgiIOj1Uetk70C
MHux/nBBaq8GfC8arzdaV76NtJnFGuQ1iB+MrPfqekOBbVU9LIWxz9gJenknfso4UFOY+ELX2aFB
CiVdeNAIWzmCH2KrYDw9EGUZ2x1TtURKgnzW9knTPguz6ERV4xT66gASKUg8jOpQ0V8JnUXaoDvU
DVfw5BtT5vTUPasC3Qe2cFX7DPhUcTtiT5kKR1nqvFViBkpNaVXvYRzipa+QpLZClUGF7clso0nb
rwP2igD2wN71c9KiRvtAe8C/mBJlp8zHAvtzSk4MUytSveDWy6jJ4s1ZHJ6kaApucHNW/7RZ6uhA
tqE5+Y1kkE2gQ8fymP+9xCViVZTPcO70HD+x1667DNTwmK8WEVm9fAYgN5S0bfIgx4+l8qFmHLVL
4mciR1hro95rIw3u/rfE1CcV4Xy+CAnxewqaOjBRU8dLCWHfkjwjEqEU1ctXEY8VladkSv0n9h0f
wkLtKF5jcrQK/GVLnossYIwwbvhdEYZpabyjj6px8bNJ8rmrahjSlm9Ey32iAd3NKuObRT9N4ktj
CB7+ozgqOJrmLSNJ5xh/Z36bv2rWBXsqm59QyMGI6USZFfe9XO6G9Hspo7ebsV4/HPjklWx5pQ6B
I8NrYXonFKWRjoX8JlTFxzR2e6XCLgpQfrBcLV43UOOD7dyiSCLr1cmmmm/ueVlk6D95V0A7bExH
xl6ib8pDmVs7PZOfUhe2WgxiJX6O5hSUkJXqWfdjqdxV4uRJUkSSKbqm6gEjJpwtheGnVNkBrVMK
LxbroV6AaFsGJtMuba5T8ZZgGyyDpHfGawU+WnzNcN+iU4PdNjEIKiVJEQZUZAkKYgM87GhR8Q4n
uq48+ina51uYkNmMT8M+4otkLzkKQ7da3YxoRDp7SRBnRhwRo/KETClvx0crj+9LAwMzfZmeKwrS
euVa0X2zetdUiu4mrUiX7bdYd+p0I4VqbgoQt0ZtgZIf5pLJaJMytrl02uAJiolYkTXMC8x57vSL
tJ/XHKbafm73ZWsEWQOoIo2uoPCWNXp7aEZ6JnqLnAM0SJ6cfZo9Dg167iBTtjX1UmEShsbUXpjw
z1TgCQQegp9M+WcBG+qc8PbU4/uVaqAvEIOyadfxJ2VKm0HbUfEkIO+j57K/hAVvWwSeTpy11E+p
eirULaaedK/hccY5YmDmLwnZWQS00JdmK8W7YbgaU+0XhHEQ/LSltNvP6TVS0nOnUEXcuLrUlBp+
HgnpT+y4utgowiEclV3aodySjt1dMqGra2MEYrdgUpBwQJbeopUITDDReTnIoRKU6pGLV1SKBHRJ
PNVN4bXrWzHx+WJHXoB/Y+Fk6dVVKcFysbYKCKbf3t61yrlaP2gWCTEmRkeml0wm4Nuyybt3vDQ/
JIat2QoktWJgJg2uWte06audFYLPJvxz3GGvxpononV0oVvpC7lW7UVDLAdjWsvw3kGtbvIlWHQ4
1jFEIpVxgYiE+RaiiDahvqtvA39Wtpb1d4mVb4y63t0OUgN0x3Ckv6sD/kZN+dUoh31I7o7VVU8U
tzh/uR/cIYfmENrLX+5v478Sz/+FBPOrK0lCeG/doitH5PstkyAwIC3FUC57rHAcRiAeg1Y1xbI3
IUn2inILloeguLqtoCKvgxG7qjjN8T6ZLU3ZNS2IyuYGyUi4gd6wPmgj1tGU46URME7vhfksS7fh
5egk2EfH63YC84HIHTLzsxpyZkYmvpDbTSCCRkFvavK+HvCqdRdijAlJHKALDAyMV0qCRogPeQN0
kKmuiatKvr7AtC0INiFSDRp9uSGIdwZJmKSn2yWgJuGhfiljDt5kYKodHTI5JQBT5HbLoGkPbx0E
Pa3+q+3t377QX31NUw+KtYiqfoxr2avwG2zjUwzPgGiQXn+ahpeFUVD4/c/F2S/57n9QjX6TtKxJ
sBLV0s1TKvANIMDHDUcTwiNcDjqIQJq/rOqryWpGnAobQw3S6VWs4QQsfwG6fmkk//edYK2hyrKK
t/YvoKtoyB1vu7o8SfG7MGr2Tb8rYA4fTmg5CTRL7oryjeo6qf7icqz9N7qVLBHuYiLNJOr3l7Ii
X4UeE7oesRhU4WK9TGITDAwwphgrXUrQFaqhwMqSpeGxR243COa2xccuW6NzVFmAAQMUSFazX4iP
evo0iY9KcpWzbZHFJxX5ceznkb5LVNihJDgpvESWXvN0M4V3Ld1Jb7oW3dqqjRtRSF2TLLiaO7IM
LGNAlkZ1RVtiiPXZlIrTuiQoIGK2B9Y+YeKtMOLnAk6Rkt71aGGmglGLMMVfosWM5J9Xyx8t/O9K
XpZ0GaM5S8H45Vclv5ShUq1mVx0lwk8nCKxJxtDHLPbNWDhrCmnBsiAQ1X47G99IB9ASoj+RmmDm
KFSNkjvAHpTmPswOVfk0whVpYalljeFb6IQVzfywJG4Z0hFKa6NMHZBSGwz5S6OTu5BLTsS1Bv/n
b0vvv51w//qxfi29aMbGpkpEgVKUOSH8I7OAggoXVxy53LCeXAsqCGOHcs6NkteQjWiYApfM3w4B
HuR/A0D/9b384v7h2tSmwmJRXqsvWonQA19kmfmxvADY3Ugc9V4Re27WkzYGQ5bvZdUzZTQfAAqG
RwKjJ8u8tQESB+7vhb4EhtYeDL1npRTObH5NQBHLqAdlqgWxPASt/IWdhC3RqXLpLYx5Z/28ROmG
VY1yLyz22fxDqJ6trEjymMxYC2whhqb5vCX5lH1Kza0x9hZe1hRWMv5dxFhZqeHcCkfi3kqFCADy
OxF5r4Idp9duDN1KGiAkMoKExV60EGbz3E7M7FWhbi+sp64D05VtkQFsv5Gi+Dp1n/oA8yzZFxOM
qOc5el9I9NPa4WBNny2gWPKpi4ujy9+LWd6n6rghtNWWEWOsXe/oyXWpDxaiwoX6mnSnRoteMoa7
pnyPYibtGn+kJii/C/G9/MKGBlzhMqPBjYGDuxm2/Jz6IqNKHnOFMqmVtWBOzyvFicqNl4w/pmC6
45jDMNtJ00lMnydUnToIrz7ft9C+jPBlFjO3Gu7W8XMsXmqKNU3bZUaHX8KbaLxrt2CzmFZFMrCl
RFFYMUGDVZaU76DxJZdVJ7Plk2I/jtfMRIuDLsEiV66Lr4p1b5RvIoNCYl391BCYzpnyMadGs7RP
s9O8tOfi7h9SY/WLnP5aOFqSt4qvObvKiF57qSfFkWSjsrkfKKdRzeGVNm5SQ3INxDRq9LIIsXdD
i0GDdur8MhH9IzHCbdMDSV5+j7mHoH8q47Xgn8cWABJN6apsk/q9qj5CVpfA1V0T3wIbZh1pkXcd
cgBdugrSe5HOEB0UN9KWY4dddy68yjHg0n2+ACN3JMNN5muD2jBN8COA+csiC0Giq6M+XSX8c1Mg
20p7S5v3lgm0APg4n5OXsrhWY+hPiBf06twMH0su2wkw/W1yUGI6LmELoOG4ps1HoegCDf2uHP8M
yKkJCIGTQb458lnblOKHBJntKP8YxTGaibKsr2sK4zDR/AKTl6KvnseWbLpbLfwUpeupCb9NDg/e
paM3m9pisEaAQ2OtrkqWWlMQCwOCO7Kkox4Zw1MWBTWni9TRrCNlJaXHlRHmhYh2jWZ2QyQaosoV
PSCCkNbY729QlPKFgIKC5ThBjxI1SAhQgIm/8KChO1H3IrGvK234gebf8sJmfJaifq9pI0ZcsEZX
38AmRjZ/tFvczGyXbOgptJsm6NJ20xlvogbZh4WnC71n6uVT8RQq11EYkEPBC8g3ZF8FPWO3iuJO
0Rmv4yhcPpQKxbapBepSbZS29aXIN0Pjy1ihYhbzvq/2BYnBehodaVWfSOko0K5VK0MQOfpKB22X
tE8CecQFAdoF5NOyY6SjTc8N8bMdlPA6e44z2IlmBAcQdM7Sosjtiogx3m1ykryLgvpGqsGuLbFU
AIvT+u0k9u9diotFonnx0PnifG9WDxPSL4sp6jp/Se1zbbF9huxYtuAdo68MxkMrKJ5cy24G9SBn
4prngo8n2p6UFwhn6tOYEP1dH9VKftK5AeGG4+1dXnMUM8rAJ+cRmxW1P4AqQ+MypVQI8TZguP+2
VMc7kS5ZrrDZ3cj9S1qvnqr9zLQ3FqrNuEv3aYED2ZK6Y3RMSDTjo5Qis48Zbkg/uyJqKBUMOQZa
XJ+F6NUaP1v6KwO1BPYI4iJ6o7ybqHll4y21cGsEH0+kh7F/66bOlcbcOS2E3Zrhx1JSj8O8THAr
sJAdTfM1SpHWlm9E+W7m/lDXkT/FnHm0srrV21L3o/WIZm9ErxqUtYDiheCpvQEe24RlY0SqizWF
NyhINpDdQVbJEMQtxHRqR0m6k2n7c+klxzTSikBawgcZYA+hnJAqvjkkPxx4YEakdVaMtzBjhKha
fEXKQUq3hmzaguqL5WsKiNDCBi0EHXuoHNDNsuP8frUelVHG+5GhMDf62gxoUPBeLF+A9oxb5GWj
OyXEOIVhb7MEOq4nYTQ/RNbM2F3Zx1UGAR2hj7UcjOm63NgKyRTQ/4+T4q1CHkxLxF2w2ImmvM/W
a5WdWxnvhTZ5LaA0SmKzk5rHjFwOMfpehvSSRu1DPPlJhiaMFWwyEy92sza/pRA0clgvsyzi+pUE
E/6Man9oY8Hu4WuEEuBjdK1Iu05bILjKsJXhxSQpVIwggdy4K1gkoQYb+8QjZ/Ks4gZqUBYqabmN
kECL4/za63dmO527PnKNHqqAoj8bWXrfAVYMu6ihpggfdYHNQflbYguNTCMXX6L2mvQYUDAb7zZG
9dJcRumjZEA0cZXE4f0CNkOFyMR5PeAiw0LgvgKc0IuXEK3euoaOTubPcKZtTPMxKMN8I/AHCzVg
GH6ryid+XnkRu3Vh+Vaqvwp2CLWvm2qIUQ+yUDgRUhsB9QoxWUej3bTxVY9fjGayBUZQc28ElKj2
ktKIR30QFedWQzEp9oF6o6pXx2VgCaC7xZ1nL+qTpyjRMRy+lKxnGVfnLBqdor8fDc0fxu6uLT+7
4arCXjHL4sRLuYpGgGnMMh5U5jTaoVVHh83hIpXiguIgL3aZQkqbgdch3CaSlljGkdPw10VcNSzM
VrVs/lJ11Y7HbK/pmP636PNajQEzo2IAY3yooWL0wru0JJda+MC9H9qBWzHXbTpyODpw5elDU1DV
Tf0lbRtXDDHOqCeg8Rtb1fJqLtZJSFwxE47aGgx6dtdTBhR9TOegwH3vPaF4txgK5pVoI1yRNV5b
2g3avtUhxsdJoFTiU9vM+7gWtthFcnUmvnJjBDQRXOfObgBn65SoI8axWiO61vCqCvlbWD8Cgk1w
mKbFHYaDEZ2t6FyQ1quRlWgVKkK9hAYSoVcIEkSeYDZHnpWrkCVvpkuIDyx4U5onSExm2lNoHrgS
ws50WtQ/JsSKCim9dFki8HWaMIbmSRc6GuL32HocIFfK5OiMpnKSstUL6b6k1twPbOGWRqTTLKJ8
MS4g9zGdkrOCOGstLGA0NM80/XUpIqsIu5dwlo/oO16j0NybQ33pYnJ25OnHLEt/wb46Uui/Gu2S
MmQY9dob0amqkRqMkXZE+bExGoHfI5FOMwTgzzBAgoLCMdKZqukwp0Q47BwUlZm7+loFqvhkzfCZ
UhXtMVRgVXRWuTzFQxNkxR8yWE0uOC0vHL9y1ncpGCYGUraAlpukpxQe86ShfYe2tE6aW4dqMJfQ
rlW755hZWgP44N6Syq2g4W0Ax37Baa2SI7fvX3p4fKZYsC2pWiem5f26WRK4g41w1gzAvyjXucvz
kxKpd3KhndNl2KWj6YjhCuNfa7Z6tgWpfJqzSXQRpkPKly8THFAZ+z2OgkYx9/E6VDdz34M0D4hk
C7KaO39ch00lNz9iwTS+VA59a9xpGq5g/fw0L4aLdpoKbTyODTyb6NpdDIsKfB1e2ipnJPJWT/p7
IUVepbM/xLcBe9NFunGVLvKwIm409r3goDsJu8dyRNSHi6LOT6oQzi4TaS8ZVE3oRGs+7fUR6aFm
4VyKCorN2Nqq+SOxb8U2dELGGYWId8pwL6r0XuisUj13i0REzbc4KohMial5dSiiXRNfqqe43iM5
LATF1fAkuq09ne6Ab8mfjAVIyTiLFcXoOCLvBChdoSNa06XmOJ8amMFHUf02o7dEzNBghBsRmwpR
hIRRJUfN6K8rvOl2yQNzFaAiX1qcgECGH+SZgbsarT9ZtvITyZkJq30f8qRkgpgZQRbCVlAzP0l7
WE8y0lgJBhx583tFhtfFeaRM70UOiyHXgg6GdmmVrh5HAWj921QwCuXrCLEQruOfrPQK7P8nYXHl
mylrDqVsiV2zj5Aqa35k1s/jwQibfSbkbtJLmzku74ciekazehhV66rBLzBzpbVHykKDBznUpqtV
JUZiaGFlCNg9+s7hJ+I4HIb4BthTg5SKHZU36X3uEVpejzWgQEOpnR6piQ5lsj6tNRw2bEnDOt/J
4uN8WroUjmSz0RMuHpwi8JZ6NPLqFU5mW+7nnk159Q6Y9NjB4VO17c/gObDt7yBxPs8Hfi/ZBgf7
fOjt59x+frafg8Nz5/Pr4Rw8nw/n50Nw+6W0A+yqHH5btXPbCzx80rZoo53z4fPPHwT80eg8B+fG
5a8VtT34cuOiVZEfWWuhEaQ/4iPT+wf5nAXCg+l+93bnlnZ4J/rSjxAMT912dToX1cE+wu0lmPdQ
olF+9Y9A3N0x260bzBGPiIWdxOG99h752R5x2gF9Pb7X9k2qeDd/Fy7UezvdC7ub+UexHQauJida
fPkRTx7z8FmxHh8osRIwmU+y4bDnXr6kN+xNlM4uJtt6nxR+Ub+6lKGxa6z2gEvXBJ+R6+A2TlHZ
1PpBA7ipPITM4aHcax5/GccOu4DaWG46askQZxVxAp3HVqosX8I02sZ81yx+JcXLBqIz0NZ9s1Jx
3+JEYTuJXLxGqvox8y1kMZGAeuJcIihSUQ3MdbYLy7hiBrDu1TD2gWgdTfyKRT68cqxX6c6Iuv0A
EUW0rKdkVZxRXPYq9Bcpf5aGFgM4+SZOluCvaMOlmMTNECpuQSwGkpup732zmbc6vH5Zm+x6hENS
Wa6ICs1ksGoWFGUxKxkRQQo8Ma8MGGmzs34llxRFkq7sMI2k5AIwKH2ZQWMyH6Uw8fUeyVmpBMq8
vhY4WeTrzbNzCNSw2MXDvcY2WMLZbuBWDZMHHxYK3wCnKULSUemzQyxqIC+h+4cxlooe47wuhoPG
m9LCtzKFecCmgv1APC+CA0Rkuasi+TLnt6HgQdPHTuvXrepgGDqO5TaDei4Kp6qW99FiugvofA/e
EE9qoMSQXsk6TcyfwWTriv1OV+BqZxeT+9kQW39eUa+3n0N/vD3ZAYfmtCrctt23XezcLhpmegl/
Mkk3Dv1q99XPILwKOIxYp5bHt4Q+RRI08cQpqTcTxGiWGHrrIB7NOTsi57iNFEfclfC7R4hUBFOp
b4fkkaLWDVv5zhzpllFPkm0Cat+lHKw4ovdzeIhBbEg0ERXc5KnzYz1+HsrE61btXhYynqniSzmX
9iIHmvQTgsPcHEQSc+CVNihSNMkH0qkwoss1HK2n8FAhNh67aWvAodOJkx90KukJZSnQYMh5Pwv/
j7Pz2m0d2db1ExFgKBbJWyvLkmzZltMNMe22mXPm0++PPsCBp6ZhYW+gF9ZEo7sphqoa4x9/QGYd
HWrvP2je9XKy+iqDxylbqwiewEHIzVVmxSSx8x4ihvuCcZNOfSGg4WOKWLYcPHLu1ncj+tyRlixS
VxEkLw8OuI+abszVu0FYC8J45xO8MpVzBD5eWciOhLetoCOGJv+xaWc3fFj2G4TeQQODLXmMDSz9
p2Isx9WBytWwo5lQ2BmrWdkc2vwdVIDrrBQIAAWQn2jvquEkVbkpS34lIw8NWmw3PmMIjgg/mUGi
0mO8dO77kdq9OqRybyKZd9H3wBzrGhKPxNG1HlPvXaAr0e6VaNeb+1o+Y4VRp7f8wdPejbpkPjQp
i/YhZstF8urIez/EI60T8x4LR5siUW+eTcafRHBepfpeaeFxjAiwlRVDQUYQPE9sQBwThw0XkiA6
p3SF+JWq7hbHiZQSQkXd47xh95K282a46817AQXS9v54EawI1dVmTVC9+IU2r4rpODGuI+0UctIz
E7KcuRU/JGBBMYxTHnEsul2uv8QRqQgL/lP1iK8CGmg8s1TIjbgA+tGB1Perosl2oXxIB85ItgYV
0SL2CS5ASpl9DEjvgg7ZlyYZKmVzy6wWdaet/f6tR8g9lcVjugqskbbnLZOPHOLLIYPFRa8795EW
MYvRk71lPmg0aOUmI5gnGRDo6NdWOjcgfPBVXlE1NtmfyOI0KOsHUaLSteaetRrA+Ub92TaTD4vh
ElNTFALxlda7CHjNZT6Mi5T3XA7YFFkRlg0GNjGrsX8tWwHt4T+lx5ANnb1aJGzuOpjwH5+9I/cn
FbbHglHxQXZnGW15y4BOoyWCf2AFa68BCa1P0npRe/a9NpinLFdwxKFoUIfihzISiMmz/0wKLDMS
eevHNx18mSCIjqPy0sLcFY8tSmLfPTk0FH1HnB8pqymUk0mZ34DdIddSTOgZFlRHjqjJuCdLk820
XBR0C5i9DLDuxyygLT0k4FhkXQRwCJ9q/pwPNz3CUF2pZzydProPAjZQCqwxvy9Issg4A13xNLEj
8egZwmwpAug4+BiDRHoAcWZmXrV9dI3CvQkf4eRg96HPXN+GeNfNPRZmnFwbKDN1gJwQGV/j3PAA
/ObghH/4YHs6er/CooRjugoPJUaO6asp55a89tlwcpJiEbIgF/QI54hVIMB3o3iwaSOS+n1UuuX0
uvW4p679HNy906bUeWR2dOjchtfU1bZ5OV7bUXlrwBM1zewEU0QdP4kHwj0rKPSNrbowbR9T0Ng8
s2EHlfA8PjNsnjp13I4VlKpRHgaG6dVEe2ZcW5on/qlVWbksPrJFiqmzY2jfUVYP92V+5wbQS/uP
pvjCl0oQXxjK7UT5jagVhFHPlZxNXIuZrNK9B5MMcx3mzrNKMeybyqJIHBqnFisU+yj0eg4xZu9N
rDnFvpPpvuTzGhBW+fmHEoa72rmHk3dtcLTFvYTRwDkyPg/qS+03UMoZYGik7MKEC9mGkzydtR1u
TTj/lKq/dmO8aAM5iyDvVDZHKrOrjGIn9TZjVEOY+rB77AUSZUHOru1dO3wVcevCn6bajIorib+j
zb/b95tSePMSGxStLOeiLVGegn2HxL9qDVBrPdc9aAKmz0ky3lpe/JENwUbNh5nrptvOshfSItEF
m2LftWGVNTObFDcW7UqHxZiGNjKaDIyqY54h8v7KIh59oNPPk/cQB4dYWxayZUDPbZUtejYo3Va5
gUXxYDovjrG2uPGaEqqz1bnAe8fijNCxCBifLZ1K20JvDNBvFw95a2HG5qIB87ZdzZfPANhMwAYB
7nt/rgNlj2PANLOaVernRA43BwDKhIha7RYGzAEjbMhL4r/a3ELku8rS7kbTXYzoYIbRHIUDjj92
y3lv1QeR5nMlgNGmE/32X+6/Mh4UwT5BOdpbULIU49pu433bu9djEC/SImU6izFmTs/5pnU7Y+LQ
tk/sKwsd6suAnXBGxcqbx9q4Wlaw+DFwvFa82RiMK8UkQK96DFkd49AsDPU1Rd4EY3zWxPFCowPK
nWFdyP8G8YjHxT1mW1kQbGQBiKmmd37l3/bTuNivJw62hT8n4kBlrqbRtRLdYySzy5Xnst5ZmMJC
kw4n+tQho9+J033Kzw+r69JiZSbV0sjZlTzFxz+WZnxI1yYIbkfR6ds1ZD9+XOmBXm0mZCkzbPwc
MLfCLhibPJqxhJ2hANFcDFG5hEYzRK9dS61WDbib2ovuWYuHK+yXrkS1d7NqSWOPbpywZfepa4y5
Pz052t8Ktye3eo2VcA3nCQWPzKHc+6wWPt0JdlBjc9vSXVYgvZr+Z2w/ai1/sxhsF7G+90Qy13Lz
ZsRlVu+PE2NWt8sdFaM13LgdlToUe0i3b3ajUWeVuEol0FJfnQg5oEIUZrIqB2vRZcHGTV/dcR7J
lVFFOJhQfHAN3fGPbpgvpIJtc5CtNGBbg8JBia7r9DrhYxwlbPhw58ft3qt3EuzVLp0boziRKq3a
sKuWnouIYi6HObtOGxaveXSLXd5GwRxE4hYFizOaJZ4xC+FKF3j626q3jhJzraWMQdpo1dCRZgU2
1q6QBDNScXe0sMjAOEHF2G263v2UDRJZ7CH6Ao8ov8MF2JkcXTdxZhGsmKygbG4m8/s0iTBHYRmZ
xb5xzUPj6rQh/A9o02EOxfBUWznUQV3GWT8nxUjR9BmkFzmFNXb+q/eSwJBNbZ25adTemVgFum12
r0fxYhj8jc8rkRooLFxVxijJMbaS16xBFEwwkmdDaMtIWjTd5kotog2e+yAG1aPaN7tCbvw4wR9b
LFOqPxfdk2edZIPeBkVtd+o9zotIB8sljzM+maTPjLjzq2H72FsqJqHxusuijR6PdwnkRF+/riYO
BWdWhB1TTm9nA6tM/Kmx3XflsBtA1tRxWTfuG+5a6wxvmjYMLZKMKXVsrOg4Phf9iIgxUqjPWsw6
1Ncw7WZa6T8USJTyGifpjR2edO9Ex0DviTau22J+uzI5BBSeWhQl1HRvap8uMifa+GHr85/GQKNn
6OEMm/ouLa4rQbA1V+/iY5VQlDzq8cKJFgMQdN+fKv2jQpcti3jLI1AgceI42+zr+ghD02d9JWHw
p2Ngbq8yMYLOdgk6tzJ88T3o87Z2bfrRo0j59BXfY3LdoFvVIRa1oTtPB1CciJYyNaqD6O+DqtmO
AfFQGBsYbVnNc6WbYyTPBoomNXnCNVx04Ev4vfR8DuZDjSLRMKNHy84/nQJS6wBgF/YLlWPMMm7M
Bkd1juJZJpyNqSD5tX3Fm5vxZMMDfwNSICB1ESCvD+eJM0mhdF5Q0OGsak+ZmcODJ8EJZNeyDYb1
ThsIjG/aU16Hd7Iyn6lK3wufzdzU0304+u9eqvs00K8F5fCINp7me4R+zZigcm+zUF/VCh6L+Zvf
70u9uY8z7atUUGQCjhY9j360RMVy8AoD8ig6j2jcBXn1HHvwD3JnkaDZN3a9RLHsHAzT2VrdGvLe
gCEA3cICL1G0Wf5nm716ffAOSroZkETmpnojCnWfztzsWSWzASuHa6ZQqFY+m8xCDlQj0i4WtnvN
CGcVNw82NHKzYYbbBteda4LGqYjAPcTHo7Pomfyuk3B8xKrI/0AIM5rule10oGUMIxHi1T0eYfAy
8B2V+YqptMTGwXHdhW89ZuFzEUsMNSFSjFd/mGN2Al1wFLGlZ1cV20g7Hju+QxX43TTjt5jIggk/
G/RuZVj9ok/bmV94K6g2K+RQsKuLp4jDMCjGdVcqO3oj1GXeXPYgUazvhIZqYqx47SEu3SXfCAZ+
9oBnmereW072GVM+ZhmOF9QXAj/8wj02Nj9r2Nn8dBNOBKMdQUs1oDbuKL3LOJ/FwXgrAyaXeYcu
6jHPwtu8706KecgSHHdiD0prj4UIFw7GfmYRM1rlnCU8xeRagzqSaa89rL+QwQtnGiG/1UIDPjBz
/0Mb6k2Bg0E7PDUDxZzbY4IxUJCZyn4S7iiYRsPKxMPtkVCepZDPokUFVMATcqpFoimnCFWaW+BR
UIt04QV1jPj7aRwOEU2rgH0i2R8ZWkNGWfJyKm2tu0/FwM2G+hLMaj6U4sCbw5MqHNZueCpKkjP/
uNqCVm1u9TQQ+qMa+Ss/0lHSDUeT/JJJDVVMO1LtLbTWmPcCUwbMQNLKuYs47XM8ApIuX6kGFiQG
/d29G41rXclvsTU5+mP15vnOPKyI76qw47f/awfs76OYqOpD58FvhvUYtSrOUfmiyh9aUV1n9dax
njVRzX1SeDsksLZJ9HM0LOkjganCec6Hg6A4M+gL+QYLXHFKu5386/dAHMF2qjL6OF/GoUMvY5N4
pSwdpIBp7C8Sx9l4NGwqj48UgxvP7hYuWnuJetZzoffsDY3qcCaRD9r1bYj7EUrekJUKtxyyaF9v
HOW5Z9RqvVXoI632WZMQ6xlj2N17AA9uFMfQyq86d5XqyFap5oGIUyxmWjSAzxHLp3QxxUTWY+r3
TiavvOHDie+CKJr77ZG/D6qx6PIGSgOYJ/XJVMFPzoMSfoPZIf0IgeLcnD4DiyBprBlsJuqr2UzC
Sxo4/HJ680WmCDareqVAXDFRz+moHfr2DrAiQaARAZwVcb+rCe0WAEXmcJQA4YISrHztacKjmMSY
inaftAqzGeZ9Q2/TGoz9/wu9ZyO9ByGCt9JnI9EnL5YBNUWfNREAbwtSiNzDdNgxgT3TBtPUbBUw
+vCAXnq/34D1pCVROS6q7EnDdpjkI0Y+J4aNOnqf+yAB/ozICyZmMNyXJUAKZbai9W+ZwGEgvRSH
p16izJ1xJlUX9FCfOEZOMc/1jzQZFjIngUB/GxDj4XHASxko4EPNWaZMeMSQLy0kKyBMNT1zlYNM
ULpA44XErnMKdvdGxncoIJ0Fr4HY4/k6U+gBB0rNOMQDgsAPlDhMR/XgkISfOfSozmrvtaBYKigN
9YDYD7BoSFuwI3DEVO+iYR900ymGiBIyfg4w6UKJMJdWW92L3Lr3oOGQtnibm+UqWjiQvVFHQAw6
gYYPoKSFOXK+bEvrkIV4M8FwGQBxEhxL4zBb0EHNQgERRg2WHjJebDmJrr6KYOClJyG0eejKTUsO
s5jXNkBtuI7xdlM+Qv490Xza+rw0QECj032UFIc0JRAczjKMysWQwnSJ1FmcfuSMDd1lQ0XjVHeS
vm2iOf/O6vxRKfadcnhGJW/alp23G5NDIXEA3KfFNiGJwLnOTWQUNNtLj+yNaOFreL7t0kuJIPpP
1vokR1lAY1BKNfWMfdmGwNhaSBqFTA6QSQCNAcwYpuc3zWEQD4zWcP3daewSq9JCsHfVPMTJGmUD
85TYvYWC2GmzdK+ksGy33XX/8vvj+Zn0qsPKlarQDHGeJaF3kvUfBeqR9QlCFz3V7+Gu3MitdaPN
3Zf8qaR3AOLbsv+peJA/6Q/6f3SKLEaxGLdAvvPgngGtT6M+L96SzwoCmL38/VdqP5KY//+v/Cd4
QcXx1RV9be6lukLxhIrCxcUDGXH1RzeWtfmRq2SEA87W9p09QGyb0P/02CNOL/18qyOnuvCLftwi
vv2iMwHi2HspVOCQKAjOCX1lLDHOwB8tAodBSDHZ0gNAbOOTdeF7nsS15yRlWyV+3iRUzpLWGUlZ
NcfCSrUxPSjAEsX4qiRH02Su+ZpNvUI+k5cI5NqlK05P4pvUcqidJGAoEu4KMtMbqCikRtJhK2qB
bw4AenqsS3zLZpZyazCRycNk5cpHvYsXvIGaiZMYQ6DDC7z2H11gvz+Isz26Vsycp6Pq+75kPOOf
LP2THmWeQ6Ym7ZFInYgw5oWHV2OtTGYy92G7+f0bmHaO76+CxayRTC8cVbV0TDLPPoEBJDarGxnu
qGNFv0ds23v89fn7Vczz5/91GVL4JDfDXF6eKVT0VJQBlw8AMvARS+9i6Eh1RYSgID8UiNjDBqaD
ngt6MQ76MqOZ8qE1VAWMRGyPqhDAMt0kqLKZ0yvOHAqChUJSjSh5a2wLoKR570MzzJJ8L9ucsvsp
th+y6hVZ62zEqVtnjG/j9ELbQaGl2ZT77SxnpYOdpAzo9Ni6LjndOPFwqV1G8BEEq2GSOYyway1Y
ynT4vnMbD9o61mj/UW1VyT4S3uL3Z3W+Tfy/R2VaDnpboTtfm/G3T9UbugBPcxnv+CgtNtChXJCh
hC/XLBEX8hF/fCsOAaoOugqNuNG/VwWOEJWLYCDaWfW2Dg6iILb5xCoYir2rzMnx+F/fma5qqmZC
uNKl/FK6fLszIwxNnNeVkCymVadRXsO5zrYZChKP0fCFa/3wYZPkZdsW68chwfJsaXlN5TZ12fk7
Mz8yvE11TMxN5cpoP0vVuEv8+8q6HaM/sNYhQM1VY+WinYT3kyTbul2VdPJ2ra3QZWZ0dyExZDVa
uHAY18IosczUD3VgMminmkAoVz/aUMbC22kY4VIJxP2ti5mzwaaBYmYdi2GDPxRBZ6FQl4H8SJFZ
jyUgsb8qA3uObEZA9y6NhwFo3MPCuIBJlKXqHTuhYdTXpYMGRcnWZXzno+tJmcnhiTBXCXV1McEz
zRerd459o5FAMW4bWdxZ2dIcAdYwlo2SreNOODgzOre9kBjyjyiIz5U8Zw4RQ7MN3TDOVnbbpH4f
NUO0Y8RNQJXvMJ0leMD7MMyj5+4rp1kZKA2S5sKWYk+HxPedS3VMNEjE/5IjqBpCTB/3t68ptOGy
CCPM980wLJvPOMIej1kIUxtLlEcnoyBnAlRKXE4zGIqGXDeqx8jUelPSbNvrH6pPKLjEaswH1Atg
MEN9jLF1GTP7LqSBFemHIQX2h8Md+TZbCuBluXNinEWxjYUMbQY4OEZvmjXtUQ8NrNSClDjVChdO
Pb70vbUxXRe3wsr7Y0I1ZQLA0CmJr0tT32bMs13teRzaeyUYnxzd/Ag7aiN3XdgYHJFp4ArrOpHM
Hwj0tQbzxk0wgx3HHcy3TS2HpQPRoI30bd4bL0FePkChWFRuh2ITz6MOHY42H4SLxCRcxQQVLA2A
Px0xx+Pv6+zHVKJvr8E8c4MwQ6cvgOfFHhtY7HqhhwJD1JxjjFbj6xYVrSP3Fao9aK+VswJoZ/hL
4z62/GTEsTgKRA+//ybtJ6He9990Xl/kge9kRWHurSFfFJRR0bjtRkg6xtZ1tnn0ntj/0cf+ftUf
dUGO40hLolQT0ji7qqM1noRGIPdyglG6TRM9m348V2W1cKEjjhJL7IYRRIz/FiNAH6LbohBHQ9R4
asP5858bZaVnFQLIHTEihSpnRo3oY6DvHk4iuWlbfd5b/UbX32oq1AAESI73wjt1eGk66a4hy2NS
GfFH1aS91ZcVbanh3o8Awq372TXehV32p7dPIWtomq6puqGKs7cvq0Q0jZNae03faVl3g+z3kOIF
HJDAraB+opHS2XswXNrHyrNOn+Ban57NXJuhFASLhdcUM6OgER5U4P2LsY5TZ3K2Sfz1+85OOEI9
+0YkSDZD55QY5X3ZrbJh2zHQ7HQcSRgVo7VgP8X32dwEAsH0pdLzh97pr19w9lWYVmsM5LLGB8f4
6OVrEd+1gLIQSFEu2hf2xJ9aDKJ+hcOWOOWGG/LvPRGFA5IWMcYHl5KmG+05J1+Vk6VDHYFDQ489
n4f0AG6foh2nEZPJIEVrkPBn0H6saz+5+31R6OclBrv0X7/o7HhIsj7P4y6ybgscCss3IGs/3pkc
EMNapard1Cj/7aPRvZOg14VX1gzQQNxgasW8VL4rI0jNitE16QIlbLQVViOw5ZsLTizWT58JobQm
VYlhafLc0gbAray9oKuOdI8kJHv59QgrGyFWsSx8on+WTrEYdfCmWVrDPV7pkAc4fYELlsD4xK9D
bq3UBVbH4jHhpzJI6xblS2qvUQZJhsrqvMiXUB49gDCCQz5taCHK1onWRTAXsLgUwtuJV4cWtpz4
3fcKRETiBZWp9CN/lWwZqFhhtop4FFgFFbPsP0iaZY+XypxDh23GE+tBbHDs9ZRrTz8FQNLeFiDz
9/f5U6vN+W07Upca7Lzzsspy9Dx3Rp6Uv4EDQYG8tvfdtt0ldyUDiGX+kP5HAFV4BdK2sg76rdiY
i3aLdHD8ZNq5C27LP86UzYejKQ0OM5sLr9Kc1tP5itc13VLJUpUGmd9/LwFjsJRYlX11xE6fdEPD
g1UCZW/hQV8joNZd1HhJR0toZi1/qLCkprtedBB6cJ3D4o05K5AYfL6ZivpCmYc36i10FMXdRdqy
ajeTmsHJFhGe0BCdrHXDfY64f20pP5ASr7AXZTqf9gvbWXJETxdvl5hGMmZBGvL725iW8/m9UklP
Sl86Bcrqv+81MaXNFMdJdlTTbkQaElOM+NVUigtv/cfrOMKmxqNZdM5rPEjIvWkoXAeuMfRMpml8
lk53/P1u/iklp72C+9BQB5m2Kr92t28VnWE4ue5AFdlhL8NlJr5oGB1D5TYIFsxyPfelhur4+0X1
qQ84e4ZSpdsyJWUkWe1nW2ZTashKzTi9U4yZxYmVE4QxR6topDfZ08SaAzaEdvVCgFBib4IAM+YH
SPjYrgwGoOgq7ibAC+gZdzeYqL//up8eiVRtUwjD5v8JJ/77DVvl2KXC9lFwYhBSbzNqmazCN2tl
Nkuh3Kh6NqeL8tQLAM1PFZSkpJampU6F1Bdw8e1VKEEV9rgLBLu+Xk1mP2EJy3WcecGRjq1EVzMN
1dPoQuv7VSJ9fxk0h46UgnreMkir/3oc3y5LmWSKPI2/blclrleOpyb7nHyx6sJ6k4xNTa9Z4Ry/
CsPyCXMck4y7ANMZ4bw7GLlFg1zYcN8SExPnD0HqiINpbi1YqWJfTm6Ss/Q9AwX0K2MVYS8+NVZx
3N3+/tqmdffPbVj0uSxAATXu7K3ZURC5HuqrXd6sOIGzaCGdEx01Z/7vFzpfmNPzYvFrE6KiasI6
+3izSraGX2nBLmKMQb5D52wB0a+i7uN/ex1QmwmYUFVz2vrPN5pQUdXcwFgoB6ALU7zIVhRV0Pcu
ABL/fO9UkWzcQmc/40+GnKqpbx9AIqBHSmlmD/VS3xpLORuvCNJ5Hhfh1YXdRj8/878uJW1VtVWI
sfZXf/ntUq5Dsx6puXfQOJCGUltleYg0N10mjvsua3DY7LNl0oUSrmytTaQoxIpZyxaEPzjF5j6q
MCCmIvFwuquf7XhAq4f3XaNe2APOC8jz3zndx7ff2erBENqqwDpmfOWAIioG5gQDjqzYojb//T3/
9Px58LY0WYA0MurZl6vXItYqTJF22hii5VmG8avWrizckX1kY93EjMXfwXvyvPDSlnNeKXKfvHFq
sGnRCFD8v++zq/TIrccsmtAhmZOCAC7buydDVssvk5FxvG9JuwAF99pk3WPPqBlo0A8WaZlVNCxM
bJxaDPiFZ184/r4cfP9ez7qukRzL+EOjvNbPlxlTLCcy3eFhvDGujJtn6+p1qV1tNtgWrYJVe+Uu
4+unYPO0eznMZvf3/x3DFZZki+h//yVY+BQ6X5CW8w9+Fme4WwTM5nawXqaFyJEP4WdCPXkpCJEu
fAvnXTQv5K/Lnd11K6UV2NWY7GA6eMZxdJcwKGNyeY1HVZ/1H/qlblL7dzvjiuybjqGaOEueA4RI
l7SswQVq57OlA1bzmY8LrP9ozhREiCc8fOeiwwKxhyaa8nm03byGw2PUGckTBqkbF8uDnx6CDV1P
OCY4onne4Bp61yGDy4eHx8fncZld3fDe75zZatHNDwf1ara+tC39+wxoo4FjBWWWCY5wtgP6em5i
ZOCFpM5ACjSAqj3UoMfJ4WJEgtgjOTb8P+gbZg4iIJ3kSOMxT1CWVaesO8YNXoStuh2m2BYw9AOE
mjnQttNniwF5L3r6C4vjvH7iVABmNUzNZIDg6Oeoh1omqYMqAbi6OtJfEuvsVK+/f4n/oAxfJ49l
mhSGDCrM8yqo98pIsYso2o16eVXJI2J9psnHcRjwKQbrshndUYFFyGiFcg3GH3mvEuoLuOhAzoCX
njh5sd6Bkqxd2DH/PeoNxo6GbSDdpiU6f12CT1BpSk5GPDwL1Hfh/uut3LTuBaDV+fcc4EosCgZm
xrQHnC3HsgutOukbeWB/rLpiPWSrwfsMKPYnq8wai8e8x9liwOWZWdHkrGm04SLSDAJirQcmSzgT
5sE89jFRsYFKXTAIhpzViN4MTy7CCyazRAUPus4io0DWuwjnNB020UiivUGlGeDzWNWEzqQ5fMSF
As9SQY7U9unStoeZE9jkwN4a8s6eWOGYvxVBug7b8DqQT338oGn2YbJ6xbPWwSo0Hz44yLTu0e06
mNjZoi8qkg4HUhJgpXTW5KqgurTg+7pCgU8CE0yD8QY7lEVB1SYNenPiL+CRWC2Yl1kui7BGyAO9
Xk9yykDiAOq9bzjPepRuWvJ68pJ8xyRjxokFnxyPtrZtI0Kt4DgFGMN5+tGyOORwj4jorNVan6WQ
OC72OfoEOv19nBga1rIgNAAOhm5OS+rbiV5h05P2Ri4PGGr61V4tndub1kGgmUNOhW+VHRobuvrC
Gf+05NNq/cmKPmZaTVgLQs8kiDcMJTt5YZX9M4ycVhk/R59OOf46HzzJRqkx7EmjXcUmbwpaVm3f
iJUV7MtuH+ufjbFPm2SuoNMMeeJNFq5/X+c/bH0ahZ9Jw2PQwn8NEb89F5m7suPLh1WgY9Ij5sxE
a+wACZf4/Tpf+8XZC/hrZnG2x1q1rFK7FclORXaNN2lb7pUGzfisf2IuFFhLpANjjufGhRv8YbPg
EHHY2jnfBPOSv1+8ECquIFIGO3haOlrRUT/RGGjV6WIn9cNmoWPewfDYgTeiqmfFVJSOjlUpxlfH
DltfkHF2bz+0/v5iC/LTPSG74oS0paPTK/59T5hKanIwjK9OEWvsgUsR5hpUEHAuwR36VH2evzeN
lE++DWACHuHf12papHaGT6+Oi/OUoj6umQFXBZYGFiKC1cR6a1Ekkx6AE/wihM6R4n0/rBI4v9UR
GQZeJgor+xI/58enbfHdClowfGumZ/TtwzWTvo6KlmdgOs4M29eJ3kyKYkO5DKWzE5v/w/fLMoGL
46g8+3MQrooDN9NTqPQuUKS/nYLo82IbAv3bGPHLj9K+JQMe5aeHUfOFa0/f6Pk7AGsyhAF5Y9rE
/r7XJuiNwkyxwRXIVJWFwCm0w0viCLYtcOyukmVL5BKAHwYmV4l+oSj96WvDdVwn6RNgwvmqIL89
6dZQ6Ntwn9hBHuBrC+LJlrRg+V4Eo366z+9XOnunaauGSW0DRnHcItDF0zAAHYy3Qt8XMOQ19Q/s
AegiWAOq0SWrxX9gc/ZiRqp85jxnCqxzIN8TfVyKIiHmSCyIFbAsuFSjywCRigce7lhQAFvzBt67
iZu+OMDqizj1bQ+UKtb2uLIYS7MvEdUdJgeWDrUfMw7b2ykER7XxI6HKRtYsmqK78H38+IK+/fCz
x6bWo+uproqgFJomRBt/S4vG4Nu+NP8VP5yifz2is008Eq6XNmoY7CbbAsDJ44Abs4X4GYbtyo7W
bhOsZe3zlbZ3wyLv0wOuGoeyS+YB4D1xH32Sr1B+AxbPAmWY2ajUhxeR4OyNpmbymXe1cM9ovpH1
fCoEcpD9RDkJbJes2D9GKJRHifo7PWmyOlSjc5hkKd7F9vOn3YVjGW4OVfaEwf694gZfM8dSnb55
gnLY72DPssyh6Wj9EYHG/2F9f7/aGQLgR41K9IcagvWu9FNsoYNgXwm6tTFAkpwpVkvU5SqD6N1H
k3vP9e/X/4dr+PXl6w4QoM5JCUXs77vVgi7RS5szMsBBDCO8RRA3+OX1WyUcZj5eeB1NXxLA4Cbj
oMWOotExMLl18Gh3HiBgK/VbZn8gpymxSbBgfLS+sSRTcGEzA7PAT31y/hzKVVlcaoV+elGCbclQ
JfW5Iact5dvmpFQG0SauHu5yxgruzmXFdeGCPUJAqb4Iyk8H6/lG/P1qZxtxHWTodAM32dEdUtoD
BvRTNIW6TVgDjXzNveDC2pb/nr+m7fBK2Jbo9zgB/r7BpA0Hp5JmtIvEEc5eaB3Ro5l4zeO5vtQy
GqB2qRH83a0illAWrQ0cYvEZFaHL1JNZq26hGA6uU07s/Db0ka2JkyIYDdPH01hYk5oK+22fHuHY
FPyFaBl/uTL/MLdjaqNKxL8Bt0bG4bC+qm4lG4kUiTFYd1JR3sAL12C1u360rrpPhwiHPHqEB5Oi
wekR2ATNUQ3eUh96yJ/MhGkvwhv83+P0UlCMbv8LHEzPCgYXEw1qMHH2elQdUYDQ0hizXJVhv7kr
jP6UBDXmq84yEqQbdspxejbBBw32vBOkeGnFBj+UbYok0V/bVbeuBoGvstwhimsZAFq6stGQw/d2
tYq9O1k8BuPJ4hGA0eHKP+gKYTkupHzi7TyCxcFrMol2yEZOpH6WNSaDUsH7hYVR4/0AdjZgmRPF
x1hDporqIImU/yIcsHQPW3r7tgsfCaj1rlo496H+Z5oil+Q4CaSXgvZx8rmvtfpaa1DhfurBO4R6
HMCDvT9+pHmA3iubWYW56eRLR6RBRTpBkF4PJJe1Opx+5OAj3Xk2nWC4Bk3/9Kg+CU9ZktGEYgF3
KGzdam8VYO6foBQ3GAKFkb7KUfhMjeSYqovaFjiz0QPH27I+QjLBcPPYDTcCkV9ykIJexcJL8U4j
dZhOLhnfu+bd9hDEt1sv/dQsKn2IbvgFtyArTJ00/cTZTlVl8zHagni88E9KeTOazF+LWYBuP6xQ
/8t1inqFVc3XrqTmJg/TRUR2EWFJt3Gzlo2zmkJQGmZFCkgtFuM2CSPTo4t5jBID7sSw8BFZNeAS
WXiNf9lV3ePLzwFdQEZQaHsG3nPjOjMNe8zGRszfGIjGcNDPHRWDI2/l4Og+idImguT0fVcN+r0k
XtMfVq21H3QGsSXnWqRGNyUSMS2kedYkUoX6XUnJaFYKPJQ8sasLnQo6uRWGd2hNJG0h2dyIhHAD
IbI3bpuFTgYTQGDNcKbNDUKJbNRAchHq0bEkGdbPu3VASw51NLbgHmhIzr/iq/80nkOmllzXiCYy
J3j2JnWr3W87b6CrHN/KIVi/dKm3z2xsB3q5GupkjSoPKj8OmlOn6Rbok/D1WycYggqcxqYIFHD4
eU2zkdoFJQ+RXWBgGiYiE6eD2Jucbq7VXg18PPAr3EjQQZpoBV+YVibbMifb0cP7ii1pK5StpW8d
fcufvWarsHWxw28mE/yhaWclFG2v/4S9jcvoydGwyq/xiXDXJnOD/H8IO6slx7Fti36RIsTwKjCz
nU54cSRZLIvp6+9Q34h7u7I6qk6fzqpOki3Ye8FcY6IYLCX4SZiIB6/M2Rf1+tYj8WlxvkhbpqG4
gxTzrjbvrXDURMF7GPVfuk2/TQdINGUkWcePh4CRP34sNbXWRX491I8pVI2B88Gjqe1HPp/sddLb
HSGzhRumiQ8YBEAkCBmZ9UHsrn/euX/fjzRkasokWkX9RDXw180B74Rb1Cl+ci5DcFL2jadgBiB4
xI5Tzed/PtZ/9Ck4GJ1iLBZAn2v/7FT/2mqlshmsMAiSs/LZWA47y6nDnRNcLGBcW9+Nr38+3m9d
4ukUE4+romYqFj45P7b2xu9NelPKeGwPGm4MXgMHx9bRBRPv2dos2+PzrgufOmyIxAPs3C/Ss+A2
z8G3FR4AEtJN+ksmJP0ebfz6kn5c9a5qoRrocYZrJstghfcvilB2k2kNHGGJmDwYrO0kopHbqAGI
j23A05AL9SwGe8ceStVhMG7un0/VfxRXeF1TKZSumiajTvj1PsCzymyGLAzO40t47xmURFTFNHfi
wtDaMXPU1Hby8udj/tetx2WhqoJdocEN8esh2U3T0GfGdJem+Hc4sj4TNdrCXloedZQ3f6sf/dOK
+jX00iwVKqRoUo4lEf1xPOmmRUgvyx5tlYN4qZkXOtJhFLa2xibNHDNGXbd5lM7qDSiKpHK3FZP6
w7z/avkWlHKbMF0Yz0V/wVEd1RPrUDXzGyeRV3X8rJWf/viMN2D5uDM2I+NJ/riwNLd2ms2KbjaY
K/Z0rIlTxpKjjz+fyv+8fFw2URRlVbHkn3GLZjHcmlkxsz5PSrk0zA8R+FWBZceKfkLUnpKBOX4n
if9y2/yeN2p0WP7/sD9Dy+SmAYKW4ymxJ29kiyV0RrRflH9bOv52pOnr/1o64D2bQ1fc0p3ln6YI
5hYyl0ehmAZC1QAYREQj+AUMXQgIQFmoK6P6f8g9Nj+4ozJb8GDy8s8n/T8KW7x7SzQo7v/T//7x
LLeGLCVBUgyXde1ut7PKvsxre57YG2+3Oi+O678s1f+5dmiItyigsPP9b/D6r3MQ11p7u8Elu8T2
y7awL8vTUrXnu91qwcH+/N7+SQp+Piw6ip4pYaCz/M9ozr+OFelFDtpYZghcuveVuQHbgAkUPNnK
CVS42dmaOnPQrajLN5AR4nnXr3DJgj53qy+VdZ98SoicWmBP5jlPwWczMCCUByRIjAOmDGjENQOA
CXpsps2oBDIESDP0IZZ/uUX/ow2M+IEnX7G4Tor1z8Tlv96JH8gjI8mVuUOMoyfi2Zhgm840M9k3
K0LHQgW9h0isXOTjMlFfzPAaNvtYOw/R1WKKgJknHNwGVw0OQzwbYP2zYA/4SR/jprdz4uBIyDAB
OiZQHcha/lqrRa/Bzf3bxTAmqb5IsVb52UTiARweeoQDViRic0dEILSrabPoOb11yEYRJIeJVzeN
ktezUR29sRS8cMhPggFBrejR0BA+ZMFi1Dz/4Xu53654ZIeYGgEheSqtJvkZsU7I98UKY1bA8dt6
RnssLiSPIYGJSsG39QR31i2Di0CMOmAzoREs1RE8nUn1hajq5q+nFmiBK7yAjHtoPuQSgQZqe+4X
Wb+BdhhXtYxL32Dso7DZ6tqr2ysSsV61SyysCCkSmLyYgWjEM5WK/hBVSbKlCjipnyDhr3cRRutD
c8N3hjEgUzoGQfSZj76rsNq2QPEM3SexNT0thzgOQiwjpAMzp0xEL7hahN+i2DwrtKvNTnZEXVxm
XXdpLf1VZnooDFn24X09aJkINNgyWmE0YFVUJZ0yAWS2ZVG74YOSnBnNR3NCukSLrDvm1nY6P1Vh
UIgadlL6eM45BxF22+qQvkDSep8MF/NqqVLvGqLZdLdLRsl0Mtwh8P+MComFudJwE4VCMa1l8e22
1IHExBI1U84OadKoGOQoRx8eusLq14EXDKLTYJrzgtiX1NLi+o1RBWmP2QLcTMrh25ffIsrNU8ZD
hClIo6P28qYKUs9MPlQwujLiYi3CF1encWXNDX6FWepX1botauWpNoelyOw44hsbWts8fiKSm9Up
Xmx9sQK6b9NDrpJTgv1FoMgXc5q8jvJllbz32fKhKM4QPI45w1CNdS+gO0RkeKaS7abctE/uUmo5
HcTC8NYscsLw7qXEgUvmHLS4wTGIioVVE5ZPSY3begXz0u/beR3OJIZVNK8JwqWPrAEEZ8yNQcKQ
NqCywn2fjxuN5A5tKVk1J7B7oqwpOXVzuqka5DBenTYbAZKI2jK10jkmvStLgI5p1ittSD0ykizm
X6lcx2rkSRlnJnVXsraMs2OrU1cri3eBnYhhzyhM52FuznvxiOcasrEbge2UyOBDX4Ygon0qIyQ3
tmTmc1Nb59a+SUATGcrhxvVoYiSs6fZGIsCdZAHTQSxExLeIZzql4yT+zjPrDIfBrR9Mq+erXKlW
RSbOpvS2l6zX+HanYJvI1lcD8g5t/MK/KfvOtC7p8NjTXpjm5hsfHsmtb/eiAhOSSmAbxN4tKmYJ
vd9pcZnkgh3YyRAo3ZsZ9fOER+wvW8t/hcColNhTRERh/OXXrZyetBFmDOTvQunYsWaqo7DqkuRY
Y1FC9t+173miPRUtc7RUhTTNn6WRiBvifZw6zQV0teBCvUmsoqtwe+2LV11dZbXhVC1hAaMTOTzt
0M8XpdJvphsMUNYE5RlJx9vpYcn1JyQGEaUQrm8f/W2X/r3CzX7zr7f3I1KhIJIN2B0kGxkCC9ub
l+gI4N3St+G7SYlXdgtAF38+p/95Si0aDjICo6l3+OspZXWxSkurHhvmtjhiWD3dHpBajoDcdO6P
Px/sP9M4psot5vRElWDrRyD96M08xi8z2WDEYU1GeBTl35jEBUTbXxEf/TP/PPwtAvyPMuY0y/5/
R53SiX/t41L4AAmu9rfTeDYaO9uk77drdManAYapyhyp/zcWwxS+/dx1/3VA40dKxNiWGPhmbOy6
bCenq5F+EWNiDpKd3khnVVScb8q3P36XvoxZbemkRW0H3d/Eff/bi/3366B5oBrT0BzDpQR+P7vC
VkIp30xi8ZBtEnyol8o+ugyjo793J/VJvPfZvnyB++/bwVN/iFq7KMAngIKc3yiJNI6QOEG/htfQ
bx5zZddjgzHDekP6bO6y4ZapA1riWTRsJv03SKGTTbRkbQLZ1AweuVHbOGPi+Hc84KHoUrGqa+xG
bP+jtmzKUB0Tt2/FvT/EH8pZaYA64hnjWBJ7DVQ7W5Ps/pP99vYmnZk7sEpPKoDS2487ED6TMafz
uMcNHM24aDoP+MxXXmiASv/Bj8ABLVs7JtxC6uHjj0d9xm622GN2r/AJkOz7NmYxGfvBU/3RLvqH
K5z0A4MdXCZJtKGgPdc3W73jBZCgneEgqevjMUjJ1HKU1s6+GNiPprTPNt/53dpmuFLXC+/QYyNh
Jr6lOJvvw/d68zgJlp3eow1iUTPz2KtiVn+4LRDkz839Fq+UYZbJ9gtwoA56cbkgd+f1G595i2DA
zl9DQrV0pin4Y+BURjfGaUN73PgMP68iF4kO6x+sT/CdOx8RB01hoNCFTdGUikAFtZ3+SX2qMe6t
PKuFnTp9FdmQYgKSJR3aAg8SdSZZgC7KTyyrsGlbCXgI9rOAzzlnODFy/cBsOF1nfw+vMqAP1Vaf
tE1LRZDGmUljyL4xmelRqVPwReXxttAF2FoFkNrOLiF8q3u6eBwJmRNCK65JBD4LzwiMUZ7aD161
5ZULlNr9yWzsx6ZrbeEev+JBZhlu9l4lTIyB1bJb3EtvdrU0VgWxDhumw77TggmJV0I5S0sX254J
VpR6zYu/qV6aT8wtwk3DTN5+mMEPSjZT3feiIN11ykXR2ajCYVVHjvE0zmXeTuFAD4UmZoZocmY1
84q1S5w61Q6t9S10EaoA/CgZNGwXOfbzEKm5URdUaSWsQAybPIe/wA1sonkWYk6zBEEx5hjnrGuK
6yCO+DxGXwKjTx58Rqy3+HsY78KV8jzggLJWqBUfOcE51gEv8H3LLz10tNob3qvRw3mgoKjJJu+m
hst8Ml4NgOmmBtfNg1wLfVDMaMVS2MYzxx52afHOJceqJH+ma4QxAV5A6oxNhYDTLFwqpLcz5zYM
PI0dr1oA/uwFLwgdrApylNJcx+RMLWBEWG+4N2BQgBP9eZ+sUGUNoZ3s9CVXleWUkxZbQHAmWnnz
ApKVXE2kuXBpP0ZUWw8XZC++ROJrwDT9xXrDNgqwlv7ZikvlrqdO/Mo+Lsw10I82WCCIkS3o8dwW
8aZx00teONYbIpMGgpbEZXNlPnIjdchFgWfYXCpgjlOfqAHywHWA0bQxKOFH9vhGU+mtPjKHlODK
Suep5N53rNSzbh6zmJiGBdK25XsPcmvnvg1E+yPOodECK3KC7x6vh4cjrmFDfGuU5M+KZUv1HCEb
y81j7e/p0ZZPTHXRkxJeMU8KP8gZeRZMyzM29YuxySi5b+Wt8FVvB75/fOUHyZ8GlHudTYc5aCgY
uQ3vLvc0ZpNH99ZvLAYXfCI4O94/GkJLu/rQhPk0iUFdr/Ni4MQCfHTbxznh2J27L+mbnkhmsy5/
8EVAStTg+f/woRwezxTViw/xw3xu6SOsi9xut8mbynqnge5l1Qf16AK2wliC34rxeAdsqXcQtGio
W74g5Crv9JXwaClJAhq2BpdG3AOPqdZGY1jqs8ch2WG7AmjS0OzhcyS61WyA5VC3lTdlyxMUgW1k
fu5ifgqkZteQSddLf+VeC29TNdc/tFdzMVB4Z3hKsh842+As+0Rr3q/ghCFGtLtncW16j3GJJEjj
ZuaGpzGFpzYN/WgRXLAo0aZtQyYzud80+4EXTeIinwA+Qe4O9/8z4dp9sRFx4oNvAWszsOL8wJxO
R2i46R0kO6lcZsefcPvTzwGA1Uq4RGyG83yerIJjsi0d8aJbc9qYjwovVLssHdI9gy9ajsr927vy
JqK3hLUu1+CQE16CdaSaQavSZicj8wdzBkQHM9s559LEefkNLCNzhDQ1BRsPdr7VtP0X6Yk3jZE1
dHM7A8LfAf5fCgqwfrvbc8Lx8yPa3cizYTPNJtjJU/7056BN+Rki/hNFIHqe+pr0gLUfIWL1kKQH
1pXRUVjrR/LPkg7dOzuW8sK8XYZbjO1ms/B4e42f5APK5VfsLsVDd1De9L1+7uc8E+KmXFUX6d5t
9L38Evg8YtN9Xwt/yRB+1vpMaeq/IiSnSitRwP9RVRQbHWPGzPB3KObTcLvtaY6mzA79ZQzntzj2
53F+nBLDp5hWgVKZKkMRAvWeZR2Cbdovb80WSTTGeSF5Inz9P18LRCA/QsvpyEzYMiLGAJuoaT/e
YduPphnlcXeeih14LzwQ+jg5Ucg9Z6Q8XuCkliITp7pxGPgguyqbxJ3YgygMAQTyV+ViXLjlYc0R
sBAf6fecSU4739SKU7+IR6Yx5uVGX6EmIk8lMCD6obfOpnxXDvGz+Ub8Qn0A9/G0oCXo9MnMZDPF
lPs0Lum3ExUQetT75kqUIyWO+hZfi6u0AbrW2N13vMgO8jsRDMZ/feO84FkjTwU1Ij+o/x44PlWa
j8lMpXNF2mXRrmQAZS6Yc7+aWQmwXLejxsMufTdoPAHuIvKUHDZe9hiGitMWm223aezkXt5DFSz8
uiRjpSAQOP6lvefvcYsfhhN9NAQ1qhuRGa4VfPrYeIUTC1S2IIetO7dSaJXPGLsQCVc5zXf1/Hgx
eXwN4jho4bYy0LHEL4F9mv6n21n0C9n3lLeSLQgaw54af+RVr1gQgsbCFLSEGAof4v32kl9vWOck
Mw7DbzFQQZBpBg68OpODYdvDJs/+YNklegrf1s9SDiWQcTxItFiGA4bwCo1Y0qV4zW6VF/bjI/2Q
T8lT8WE+kVlxd2CX4T9DAHh84KLHEhrum0PJED4d5E/aZiyuMcHHt/FKZSQ4Nufxu6aBJNrxOX0t
j6Cl0c7Iz3Ra0Zix4LC2FIjNIqaz5M/yXeSlgM65s9Ln9+IluSfPyXNwuj2b6y6wxWf2D/FZWfZc
hxbwuE0lp+hcFu32U93ig9A83z7Umi0lBLgGjs9ml2ZdYMXtCXwmoieQhL+sDr8JsaeHx6RTafKH
YjJfwMP1r0TQKh5NNo69dBEWV8M2bArvurM8xZjHzL34sHpyFn+pIf9WgGUtQnpM8kXjiMnAf6rl
/zpkbA1aYYhWvHskK4pAFs7WGG7m8VYaaFZfRHgZVXT88yrx20z0dFAq1pO6myFXJgV/fZ+dHhWW
ngv+DrvM8XYRRPhiT2YxM9Rzy0IFRTIn28ijdlaK7Wuq96eynxzWW9QKSDbsWBxmNw07KsEBF0Uk
PMw1Fg/oyGAnt2MuH6PYX9MhnyEEOhtas6/jBc4pdh+RTMC0zd4qtrQUBptRKanNaNOihM2f0dyn
rKSLWDdUb4SPUrzo83lPjVA8+AVPT/PcUXVV5eVfzsi0IP+aCXNGKHOgrjR0pLQ/ls1ETx8CGNp4
h7cSwUA2rW9LBra3w1OFIxMJD4D013wN2OIYbqzjbf/YGFvNk07+1nSh8HrCFU2O03oY/TralZl+
L3EM9wvKgfdYDCt0BAtxDmqCP4OtubNes+P04HzFH39+K7/vxtM7UQyDwRh03j/b7gPr/0Pv8vRS
3ZudtCCcwgkz/Gy7vzws/8gMf5wyha4gnX3G/g2GNH+9iQJjlNKwqNOLEoGp+3pghMvaQ8o9tK9Y
nKjttooOFhS1cWPizxVumx468lOevUnaXAx3pfwq619KugshPfpHMQeR814J70J3SVkiJNAxD/Mv
d/5v0gju/F9e9I+NuQluodTUpr8bbp6YZ2eGZiDw2rw/DIe9LsUHDVcb1R1VXM9AkrRQHszC+/Ml
Ynbi99uNl8E8l2wxwayoP243nEKFUjXChL4EZZHuiPEnpjQaGyV1XBc7xUPwnTzhmUFBI7wrS0wU
MPolo45PBur9+3ANXgCbbsLT45q+q8d+D6jigbPsW9LZlBaULxRiyUuy1NxyPt2CpLerZG8ecOBx
h2v0la5kJ1z762bXPHUM7iY7nP+qZlPI4Ibx4DhhwxCvsCga3kgSmwpOFmnmAIYIkXWGwbDXyXMd
ne1Leqoe8zHwgIUVGHapaLAXgbkQFRxh15G5yJsVzItAxO7ZaWDXJQuT1+0fy3gTjbO+WlAIYFMX
5SNTU4QW7PStscgHtJzTL1S+gC/jIwceVJo2fHERlPjorVVs0QSwUvbjuXieUpJXwY1dPOHcZpl4
6vqxV9fYgjgPPmu55kmYAYl2MmdYR1jD2ItqRQqyyjfDXNkT3VOQwEphn167VbIcPNGTS9v6VK8U
L5KvdFGfjTUWEftkVm25Dr53cw3gT/pcm6mH8sCP0At3k3f2Zf+ifnaEBm6/iI+xBzp/SQpoEws4
/ax2zbm5apd7fGA9KgBe7T5sycYixdFm1ovwmZ4CJ3Lf6CzY4aLahWttjZth/RzNFLfZMYvsGQtS
nXm0lxZ4may1BVaey2rbbMt9sG8X6Sp/pS8hLarv7Bywf4vYkdsweBbqvnUEz3K8mBlqSPZ2bx/C
5eHmIk9w/CXbOf8gnrSn/+4dDAtXRCXiksTZ8u2R3NJhdoIJ7Hz/WBnrdpkushmUExfe6GVKkbcV
b/6LfA/WtmnaPQZ1MkpBmkU2aTtY6wKIdzDl3yTi2NfhN6a75QKw4kHbtWtjB2RuDgXTpXDm9s7n
4UNbU3D2bsvkjPUGr/tCcLQf1+l2XIwLYEcT6z6yQ/ReVAmmmtCmvJp7FJZX/eX2Oa54u16xiQ/B
TjnS7ZHP7Dfw5Y4QwumJcHaSs5DaCqW+j/rjtmzXqhsuYfh7TKs9VU8laeUCFa2bOMk2nLHtzMtl
v6EVOwc5OzOXwq6/tMvoos3aZTYTnWE1zrIlrpXu+rqnJ2DYhYfQZxd6OluEuTR2uss8ims4+vIx
Zy5mgUcfGCxsDAniqtca2dwzQNwH8RkVPMfc02uF7TJm2EPDP3yn8NQOU/BXfVonJu0mS9vv5jVb
BzP5IJ67z+SunMQDRnSeOGtm0lE5Ni/RnWoI4ah5yBfqhUazxMtIrtki/oYkZb2b5+5F2mXPBLrS
xJyxJzOlwWbiTXmPLGJKl87iaKyLaiGkSBpnrXTsqbPqdN3DhWk+peqXHOaQu+ZhtAF/CAcbv5TW
QKXtDp+U3OrUlV1rKbtQbEh1GShr8N7En9HTdcScjPBdpeiazAu8jCUVnwuKBAGPGdBf3Bwk18Jv
21+U1ML1nYEPSDs5HujjRu4O6nDFfyksPXZ7qsLXVIEghW7Sjo6jPGuwF3kpCDHJex9z/7U6UK0o
Di3RCqmzAuoogP7FlLiXFgwozmosvBl3xL3IDvji35Kz33MzkIrTkN8kjCPs+rFjdk3XKWGrs/lI
q0xg9tBqPCFrEYrdnGmMJIDU9mYc445oiJxHQ65r3pYPwAr5OKfWI3UXkJQBZa7v1CBCF9S/7Ols
hlOv4+euLunok5lvpyGg/3iNVtwbtzIq0svA7VYcICuj7c7F50j79tV1qbAfZdQz8Gway862cGwx
AkpP0VeZXbT4SWrmXXFN8BwIzRwZ8rOknkIElBrxfjE+nHrkFiAvewDjSSEbXkGut4Fr4WPrv3ZM
dGcnud4JAgHnMW53prAdcjcGI1g67dMY49i0McVT2n3l1unB6p8zxtVgtrRcltKhDd5D7aWGiZi/
RTWOfrSASea6ZBlYqz59kczVQ7v08kku38Nx1RJldOpaU78D/z0Bx98q30P6lYVP6fDW8jhUACDE
9qT6F61ZZeMaXrWg7WPFKcH6UZsdkQXMETok6pNEGxcxAG3iZyh3sboecUjWvC5ZxdkZaBWNQy4q
xL93jArZlptVWS3Z9uR5jzGS/Cq26FSo6xeusMjMOW0V5UVFBkIKle2H+vS4P97H8cB/81L1ycjx
VJvLUoCylzLQvONDTBF8Rd8sK4GbzbHDU15BayYX8U5Lhx5I5s9R6e9Dayf1Z9oIIrOzaC3oJjTI
MgVzHzfc+4EjPDD9O5FVm2z/yo3csJ9V/paKiekN+rGlAVMsAjZtjIX8JxHI8m0m96eUIAGGeStQ
Br9Xzyi/mwz65JtuuT22gHD8w+XYPd/KE4VRzOrHyf/g8UWhNMyviXoSzG1PDVGjm9/QsJiN4rrr
ER+8SsJyPEPo560ZgUvA0FFoBhgmolfwBH9ahXZxLdNQICUM9zSaGtoALPeAQsDQy5NLn/hY9/0Z
JyatXCFHBbHZaZhvuTcWHQkLDXIdj48aLXHt2H9SJiei4YRRO+/MXVu4CC90C57iYR2R6xbBnl4V
Z6KVn3V5oapQfxxk8rHgUfxQsQkxLlF7VurXzDrd8I7v5nyyi559RnkFTJO98hbakXnVy3XQzxUM
uzkQ6gQ4QvQ46UmNjjLLscjR74DBcMWj0kGVALWG4JX04cY91ZDizm3SW3Zrzke8M1Vy6ZitNcgv
0udNfcmNaVb5XCC9netbZXrKcD3qZxKuKP3bkK2N20qqVxRL6OPmVHwE/92I3tri6FcfCcmXelTJ
hB52u0lewp0QbspNQDFjo+0prOJvZIaLvnZvDEU747cOX+xqHJtN+fbI+SSp4yXErwZRdsa4A10y
16Qmu2qB21OmSJ9GyWN+Cq8dQViTcA5IUkLhO89XBdMyQbGq0g9N38bB6sHwpHrgVzTsAS0mBAep
OWijK3xU8oytHNRa9MDkGGdy1N9kpBPH1wkZ5niXLnRO2N+7xkvuJvmjjD0qMiTWKBcD0SBdolGx
rukbKpniG2lHQJzUHnk5NXtlCw3U4bGmoRPqC51mFuC8YB8k25T7vN8QWNGheTzeS3WBRRezHIRb
9ExSfOJaBsxta0YtrXOqVbmXzFmOwqfOV9iFYMdnZ9pefWwSfetjguipwrdkwoKMPke+S++Ayq7V
8omP6VuvfLT5C9Z72iJdgCMTzBVZFd9jMHNVUtnS5m3liGHqjdIHVEsGYngSxc/iGLS7In+HQ4+9
JkWTdpbermJ3ueEbHY2nVn5q6j3PjzKRpSNXRxHv1fUuQEGjVfdkagcpgFWyqzQs6vKjGw7SzSMX
V4SNUJ3EZTjEGKhSz8+uoTD1Ak23wFCeWCRzRkpexnXk2RcptNqMkpj7jkaMwKUkiqEqlAQzKmJp
s9T3SuIJgP5wUX6mAo6dzzRTQRDTf6CCtB/tc2ydwkv+1i1vSK375/GEUSSHxGHKDh+z3nJv4Tov
z/rwogsUzUcaSysx28gNNhbUHSmzt5ETzhWJ8eo7ZmQSeMHoeKPU1b1ki8kb+hTs+hNFNsalGmOp
GLumWsHy9ctFL7CX+e9gDzKwbtY22IWv+DynHpCXg6R6mMrtwFXmGFPPEtMZ9AV9MenYEasOHn5k
dNRkxfFLtzLQEtnDl8pAobQKgGixiYYsakx/8A39WencDn3wqlM/R38bXceVcqQeKFUfQrSKS9Yu
9lnKEJ9xMoshj9lV+CQQU0K85VcHT02+tQh4eUnCkpBPrXEjWEijnfNqmgVaNzS7YuMV3doMPeLx
ulxrtxeB4yBvkY7qU/rWPssHodwZ0H3YYQ9tRPz1nuEwosvPmLLVt/Uje8LXrNSP/N1Cyf/VPWZF
8RZp+H5gkeVh4lgm7pAf0Xv19d0UZ5NxyQ2XrhWtOeGNDmpgOomwxoUtTci1abLRotvivx1wL4se
9d2zfNvKXzSRxWWNeVBFL5iwTZWoSW9zfcXsodjPw9t1aBDaxOm21Yi0xReBdhGsDLvX3vvx24wP
4+216jAS3eFNyaNMP3uc7Go2lCYkeH6Zv8mQualIpTA2ap3GRNA4j5KXUVlo2SKgCoXnmC33EdNY
B/DhGAfK9TaUZrVIn0qaZY/FI/wqsFHVt0l8qbJTrSqMl24LHcOxnbrsHb+eMhAFF05mRxZtfdCm
iqvh3RRILPOx2UXJcewJiF9N3Py6ZXBzlXSZztG40gNnXCfAGLnG6dLlo0U9jbqJuUuyXWnYlbGh
kh3zmIkr5S2n8S3WrFde3r1Rbu4LQiauhDCnjxuDXM3xmae41cwbxWtuNlUXHetPWPe6bX3ToKOy
PE29Ko6OlXW44DOd4o0EMC8+wk82AoZxsAfySsoDFuUdx+KdFasb8dle3oXI3fa0Pu8yCz0cEHzR
qYkvMWLNNg+KG05ybI8p9aAZpXaWWSVbiEszfgvAMHJU6onY1qjX7LGWkcTD2EwXIu2TraXMpqYs
5NJqpoeYODEzNH2GQL6/xi+tjsW7zf0r9As1nSFDr3By6xzlEkrz+DmP1rjUyFsCOZU5jI22pqFu
LIr8QH3TOsg2TJBq6X8q1NyN6bWQbbQivIBJBQHpcYn8juVKUxYlpT/1JexJLgVxmTNSTeO1Q0c3
LxmvIDCN3AeClWrXSjP9rfykdVXQtvA9C0eRzPGL57ymtxghZLrt2zy3QcH18QbOJHUNcdiD/I+8
MvLM3COs1xDiUvPGex5hWsij58TPzTNV+epwI3diwNiJ1sGJFUFZyReWFYXqS+lmqGZeuEtUWg0L
iuQUc4l3GMp7q5+lYG60swq5Km4qWFqSFSEMiJewL9nm669ScCFeRvvyVTqR3vEc+/7SiGZB47Xa
cpCW0GDDGTl8NOwBXFrjfowXIYsxZV1EFyw4/7g2fkXywsh2SDkr3nt9ah4idlkc4L0Jdml1KbSN
wDwacai/Nvt1IG87/yCI+07zbhJzKR63Qiw+D+KO2zDFGueqvrzW1Qz3eqPdPPy1iP0VXoz9olu2
GJ5iWXQWXh8f0jnfyKt6CZUqPQ13hgZeVQmn7KWEGfRt/gg/SCF0DoINqrpp/X0Ou1ues7jLqcPt
pclbcVwPNRGoevTjkwTaNV3FOLyLe3jZYmtj+qDJdLlqSEvBEfcviR/Hs6/aDtXWwBMS7UzUftB9
ibHFC+hiSo6MO7SRf99GVlDSpDp9FhLsqs687Iyiymhj+dNoyxt1FLyes0uOXoEZR8tfFq/BAgUx
Mhfu7zSG76p/onL1mgtZCwKCKDwnPb6n2646o94V+ovmI4CFt04wcan8jWJtSuNgaa5BQ4koiJZJ
vtSto6TMx/LaazNUoFazGc7cJ7SZ9TV8nFJ38FPjyRdfEipsXo//gVd9RNfqMaPHhAICMUERb/Lb
Gcut1nBiLOMioSOl72aJzUCPvdlsXje7zW7nMT2wWzm7xcpZOAv+d3SPizW2QLZir6cPBEYesg2K
xoQj6OY1/rZeo97nn8jJ3cZef60Xx8Xxfjc/aBnZT7LtrIol22RSzkTKWYU7V+3emfNv7T1ntues
HMYjFotzZy8s96vCSTA5oZ0WDLzdKRSgJ+q2QA/gcVvhPVsJU/B1Sxzz8RKpl2R4V9Grffuxl4rP
+e1F5W4YQ9ZUyK4JnacwNQklWb52WcOlQxwlVe9phsGzExVA2BcVHY6KKAB7Vgo1z4J20tPDQ6pp
y+fONOeoDK/WY25JC4kNvHIb7bNtlw+2BLVByaa9DO2TGG394GheFazBitfUP97a9w4lVJT6zgON
bVQdtXqV9ked/TROFTtQIrDN1JVwJbzhQx9OEgdqfby8jGW4RBSFR5I9KruwxmeDGJnPdNEil+6J
KOHfatoKbtPy1POj7gO9C1hU5aisG4KMD0xzDbs3Mbw8MPi59bErFuS9xkZHgrY0GqfPHO0ro8mq
9sxzolVI+OGBHorM9zfxUYo/Q+oxioRcDKsrITrU8VVWGMGmI85lpYKnmS+pyQj2E3dxVX4Y2ibJ
Xju06hPEKtFOavfZqs9R/NmUc0M/kDRp0TrqL3JE+Lpokl2VYI6JV8KRhFI0zz4FBzk6tum+Hl+0
wk21ed8R63xJ6k4oMnwADlSyFIMMd0WJImpeH+Griji7u70G2hmTUXNYRN3xUZ5r0hLN/zb8b1SH
Vrtupbs/nOK/gtP/q+yiSmhsDVC3Eu2GX5sprVKWo1bJyZmGPYMvAmIp7EtYvXng1OovZR7lfzg7
s91GtXVtX5El+uaUHmzcO7FzgpJKgm1wCwbbV78fsvT/O8FR0NqaB7NUqaoBg9F8zds0RZx2kUeh
AqXJ6LnKhtnCnx7vl9PFSOlzglmW7WUs2Iodj06Twp6y0uZZFB5sy08C112RlW2toRltrTNkoEsn
HehBZarpyCgaAuUQBMFttyEZeVHs7lkBc3MDON7P/0GsWD8rc/rYwBW97Yf6Xnc0gX7pkP0YsTXX
iYkcbGJCTAUGhFvmbrFh0Q5pXnf2yMRHvAkvp4tyo74uQxZtNZRVA//cdHsX5/3YeVHs0cG3aCbb
RgCJ6+nvptJvE6kihaTSt2YBweX5uYR0ozody+RAGY6rkE6cbTjcBRSrh4NZF2lO/qWUCcsWUU4E
y1BBVJqff2tb19VFPKga8P9KIF9LE+VdLjkD1uvD4HzKHVPKvVQsXFVXFvF+jT3nJRRMg24vLog0
8HuXu18TW61huiiGlyKxfMR9vqo3zul6DfayFt8veJaeUE86q+TFSX+v3eaK/HTVkmm9FYIacEDH
BDZd79au+PFOrdLnRtMTuXeUDiOqL5LkXZ8pAIy5wNMV9TdAVmvv7wGlNvmKpY8LODte+mrXtqWT
5JvEFyvyhnUXx/Ha9ubW9J8/cO3XrRVw/XUM99s3a6heqsq2p+vY+mYnCR1dvQfJr//UH0Ep9Hb2
xxR8SDDwuaM3zmQijrvGfNgASLeZhgAaCZKcILfdQHrqVZNvl63MK+LDYi3BHHmjt3C68cep/yzy
sru5aNuSFQTvT9ri7zd+3BLAoCSl2RCMLKHA8nOV7nuY5OHzVc1xHabNpk/PfcrBzs1JLBCBfX3e
Md7DudoMBbxMoysuMWgLVyGopamvBe0w12KIXrZMK6vqU/VxTf+19G98044BpfaSbQ3Y/PzbNsyK
ukAckgFRIwqr8I10kJBI8lIbbpH/92BS05T+sT9ag7XWTy5UQtrTd6yfvm7FHjTR+dUKLcCZ9sAd
NFzRz37SKXIrdU1qa1tKxvYuqUkzbHxg2L1D98AO/cp2V24UzdZWMJl0HqYP93HrXVsN+qsBnQ6D
JQZt+LfTcEpM51quOwscuXOT/PoVWaGNdD8q1+2+kJCaFwOHdDRlly89y5vTjJ3yGQeW+/oa2M77
uuNLqr/BIBBLgOwLgANx54cuT3rLEWeos/nF1agLTQEHaO5uWEmk7Dv3gPeVVdBRrua3uIi3RGlb
J40QF6OEsrv7Gdolr/v3zd0CcHpBNdTejgF9AiZsOKHFUvxiV+xD7WgXn/Un5AvyH8r78nQDTPxC
HO2LM0mwryMa+ulr5dUT7gwxvL/XuZMPzo48a4j0JxJBH84P1/Il0MODC8Vzuhvh9WvJ/64eMica
SIT5zU9edk/6TIh4/PXO5oi50luZXqaIYxYvdeZoF+c4o9BJHRRtovTDGBf+Ke65ZaSEug2+zKXC
bO3mCg3pg1/RPT2hogxGNY0LjyqcL8E3BLRvr7eB8K6M9956ljjnZ622jQqtIxgUlg5xJdotQLBT
b6ZYnfmpC22dvi8eksHGXXsNOOhqK3NIv6k+WM8Ye3GhwTTuDTe+VtqyD/Px+MSD2Dg58Yc3oRr3
bAoR9+AcUE+k4R1JC3D5tmGJiwbacHUpYeUWbtE2OlikI64ZR9AS3vY2enBDYal+6rmFw8wTdAYJ
WLOtBVd/6+aLRS+S4Ed86hMF63L3sCzJQUB897lxbfrQNCKCo3XzDrB8FnpMsVHP3fVzEmjWAlS1
fdNt2h0hZdvyM3+VfT0mB/KQvgvPLt0mC4gFzaPoAlpxKfuiHaUedVDL4FnXz5T13LuL41XdF4D+
XsaCI3jrpyzM5tVTEVa+hrGGZUaX0cYBHwKCg9axT520esrduk91yT95gne2Pk/uxTp+mKE8XhxC
cJ62FE8uo/r9xozsfHg8CP0Hl6VuH13g6yG9+38UUkV7bcEefw8WYxUSgLeqQZHMtH+KJ/DhvMS+
BXkc5cOzvfFuFpSZgHzUXtG/4s3wcw2aahZCcYOef3OQp4oA6dukB7bmrBJKSjXIEtmaUYKJ8gnp
ldTXgo1H48oCCkG2VEIys191poW+m5O4Z69y9OWeHPjgQlP11+7WT15riFOUy6l8BqkDqDWsB8+Z
b9oXnh/Tc54qt6MshELubDzUcj06RGXzaSwx/oSaANiFHjL//DrCKQzuVW8EbSuZJPF9JAi2Osdw
/Fkcbe1PIzh4GfuKmr2ve8uLtXYzz3QK9xiepkp0i3qzM4YuFzdBMNjCRfnlae0exuZnslTtEwju
kkG7xM1/AWPSJhckBFYIZkXERH/ebYq5Ne55SXS0dEbgZdAk+Mgtn+Bo1gTPW/vv2035JRhDMUSU
Nc1s5Gbb4XMmqXKmbEy0FfcNGkgjTNCs0+R4ciXVoX1bL6id0U04KrZkYFtvna4wuUiV4ckGlK7p
f+Sf9ZKk/EBBL3XhC98hTaeOIbmy5CmVV2bu5uTiZY0BjIAHjOr0aLh0CS7+FlXyBnjySPwHtKx1
Td/U67aumqgyjp2RZo/Qchj77rC0gxtXZUeA96XW8CMoAET6n9AOyibw/1aIdTmua3icgjLdbqxA
wNv6VVwqH/VH+XZ8S7ykbho55FdYT5nQxASr8gCS/v3p0N5pRyYAZw2ETxVFlXRWTOu23p22RwPb
liTu9dlFLmWbKgRHROdzcndur5SSwcGtLfkZqj4fLAfssaieaUaZhleKIMQdjcjpY4cf04u6hRyG
fpCCGiZNdHKac78U3TvsJOAYY6r3H/o+XI+2GLlRZGFdbNa4kFhpvL/B2rZqhBLtEs4wmJTYdMwB
3SlqqSMNysoIYQua1IPiHauo6AA6SF4gSGnWVq+2e+P1ghqtYx7pxtm7vg5JiF/AuIHZos9788PG
M2ihIGu/wKqSPsdK5YhuhthqYxAkgl1DWhl31iZ+YTNgISbB/VUoGaiK3ioXnC7JQRATRejv0GU4
qif7rMXKuk9rEZD4gfLTRo+Lk1/892sLjXcREQL+J6C21GIDZ+mulxbifj8/exdXiUZ7p7AB+zuG
M3a531yQSdZrz+/S+P8Fk42jgv5lOcTbojL/8+Q5b7L1Qb4cxP6Jkm56MbxiTxU9rjd9kRDigmHX
BeJ8jfHH3wv5Qeuyqfx8H7i1dZNaV3ND2EGUjOAUOut5Pt8N5aUxAQYdJs4p3i32gT65gfPaUP1M
4VPdwsu7OVbHxnDXMf36Q+6GnJaCiZSBFayiSe0DWNphfGlKpTAo4ElBOvGKjQh/EylfU6JgTSKP
RTAF9HvvZWsuml8hiqtVLydxUhDzVUcsv/XaQayUAGmxS9c2RgVHBSNT8AN1ovcPaZRRpURZxa7O
NjRvM1s0dojn/DZQIhkQUbnN/QvYceR/hEbNNX0xLpTlEJKEBIIqV3DOsrDEJv5kpKutZjjb8vRM
PRXfNZq+W5UANLn7BprxSenLZ9kTiT2vBC/CXaUWXA9y6LUi5WPdeFa2wO943n1lHPirq0Yj8lJB
7ZN91vlgLQIYTGgWHKFdqMjMCjvD7d26GDzy4z2EDg9XHg5PX7ZHrTVQFOKxqlR5O5KE1c5Yni9Q
0gCjllfeR381DVDlUDiNK0cp3OarQZyK0sKVdtdtB4VcBYV9ST3tQKm6gA99cKqD4Bhb2dlnBE6U
aIt/eda/G6Or3N/rXtHlIfxLboEEG5o4wOW5RsmGf+4e6axs8+S+288LVwAKmXvXAJ8s/+SwbvAO
3/ratGPbPGSIjU3X/x9RbtPYNbnQlU2SH4YaXZnjKcxJDfQbdAbt44byz1Hf9aWLAc6IuKtYh6Kx
2oX3hlGcKFaRAQS6aoi+GG5V+6IGFETMMuuWXf0E5J10u7p/P+5XJPHzyvzxuF/Hz7ekfXtIemYi
nvM5jwlqkWtKNy0CKzhPsKRKQLMXezfduOoQCs/gOsnfqrfNhzSW3sWdJY2hC90/wQ3s3+QhwNfD
/KzNdqP6GeoVCZkOdcP6+4F/icR+PnDri24xIdiIuyKfH5f5cj1fv18+r6DTbi4hj1cGPAuQT+wY
MqjA0dXVgu2H/N7xDE0c8dektc7ktBaNqix6+2GevEgIu6/Z31oCx7X0DqmnbI7eSMog3S/0fSwC
aDnj2F4XuZubm0DKsyAlGdgl4V4bpzshzuCmH94y+MHXGshCV+yqPpYSmxljD4uNb532dbR++8Ty
cX+XpdO6N6Eni0oKGSsou8m2GiZpmE02KBgN99d/cv2unF5oN5WEIbepgvWjg9RMVIeA7dBKoWe0
lI4YXV4qiMdimDrIF6sXRzk45aS62+UTtNV+vQFkZCEia65wTk/kWD6FOFhLcvj3J/gl1Pv5Uq2A
XEDHc48atDI1XgSQlYN8UHziXIx818YjNlojgpDbF4nMMcvt3T+trzVEhL8f4kFqD57U95n9ktn9
NrMb5C4Nc9dLJpdIAq1j7dxqVgHbm5RQ4gpr1BuhFnffeQi5aU/ebpHQ6p5iB5QbgGcAH92lgPNo
b/c+FJzE4OeBfzmhRROq21npDrHWJFy1LmX/pgFFyvo0N6ut31PHGwQtpnVnjPPLcY+GGLQjVPtx
jVFae0tBRFwWdg3nxXozwswfbK1PzMW6tvBjhMy0cZdjfC7pGpZKPw9lc1/cDlWpbefrUIpET7Jh
Oo0aPWpYCHtn6x2DDUk5pPxw/SpHpo/Ri3X2efGOmrf46z7GKICwil6PKLRiOkPc6tXpxoNQN6Lr
dEVqd1o9l9aK7TkSqELnPjab/62IebNq0JShFKrL9H7M1qV6XdfCsVfDxwWTcdwuxCTWxK2PR4Js
oDGATusEd6BcTqipFF29kq+5bR9d+EkSTcHyQ/i5ibO+LVntnu0hUanpUAUyXxU0toQPXUDHSuKm
IWc4+lUyZklmye4ZViKU2vCMwYq27bh4vortfz1Ia+5vJ7Gs1DKHGrZzT58Qjs4A8JriXe+tNFBD
sY3S6VGoyuK7YPfKJ+3kiPTlYQsI/vlol4rX0FZhQ5xBRfiF4TcrZecd490bsfCZixO+Pg18Loaz
h9Eqky3CRN86mJ5eD94RfCVgfsm+CfYZTQHeuMsn4TGLx4pCg8RtkKWIqK63UhXtdhPEtSpmQ6UA
I3jM0n/74upd1WSmJ8mzcsFV/YRVOqgPdR2Y9c7HJr7g8Dx5G9XubXrvyiH380tCVHsFWmLuh2vt
Yp1SdNdMCi+nZNB7OemXwVY6PN1plSN5JUTKlWYbQPPTRbPXIDbki2AfjR7InSxZmko+22YCEvUi
mjXEkFscBf4+FB/7ubw1XTiZZgfhutzeVGsll49qfk3pOyQTAGAjuQ89aEICE5/iKlAcLoUJlrBe
4WHEEB3Cu1vGx3gzSmdFPxlqU2WoD6ThJToEfz+Z1FzLP5YcBxvqv1/hLHZpbWXU+2Z7lOWkqaMv
aXGJFuLhFihO4Mz2YBBQweLGsLSOhf7gltFsdK5dFoBkcqS2FQnWsNj0WjqKc+mlvzyGcbx33u5B
iCdA2LM/VHdg2akdQWfAdt0C8mCnjvP095s/UvwwbZNZgaZBgUQgdf6569U0V7NMUer5zU6DYgrv
yPYRY5sfo7M/+Xss6eFQZSxqHyRKtJiVhz7XNpFveV4Z9ZxLkBCfUgypgWTf56ZX+CKFdrh8FGNm
gFi58XZhafdC4w1d/OFterQRJOlIZL+qPj8+O0YNWDbRIebAwqm2dasd6m1t3OS0nh+dq0fd2VqT
tPfi6WWRRlp4osaOhra1iTL77J79o313j/YkDz/ZciCDPg+zI4aJt0inivn3VP3yWeDe4CWoUFdQ
TBAHPz+Lrpn7407isyA9Y5dhU1D4d3HWgeR8ds3CY92Eqsm3sb4qdd8Ofj2VJOVacbdTv4ho/ydj
zghHj0q7Iyp6bHS2RmrN9+10v+xSg/mGte6BYHL92olO49ylUm1fuubwIZhoRkOI7ssTlBJta7S6
uvXEeqs2S/vmXsOLn03Q0Qho6/ugsRfUm6Fa/v3dHpuPrTFb8b+wu8mFuT81kJWnuE/zEWL+/G4B
Wbf8M50507ejYKIMu85W6aEKgtMjvg0GkQOtMjbXzwWTr49F75rp17nTdAJHc+Tnxx87FAGeLTcC
kXazQJxdrInUEbM8MrGoAuAgRcQgN7Cgr5X8bfWoRy3vZZJyoQW5cZfe9Dm1Pryto4Txcsp9M97Y
wd6aETmlTp+4ae2v9rY700PD3oaTrhzwcS1/Pc1XIQ4rdT7/z2m47qter9qKe7459DvIoGOIfHOC
1a5C/ONh1hqpFS7l5n2XnLUdmJntAJGbycF6WdsjnC6tXRwizGG5w2L+evLs2cbpkmN4bDYzeBM9
NPsW73q1FSffE7GUE/HQLLMdfE8QC/HLyPpAseZfZa8EL5p9cib1O8PihzSgGRd5dMJzRQUT0pre
CgVCo7ql1zmAVUehxont37y0j35XJvAYKzASOsCGwYqm+9v+kGtTVuXizrJiVcW54+LmYUWpFbOZ
xlvL3Tv/RPvpXXXdPbXoxF5qrl1aUW09dVyQX3CTH3dE60Fa3/l0FK7F7sx3PkOtXdLaH8Xz8BCH
iuuFPXeK3vXZ9YeGtVAGdtBzgnfD7Xc8A/5kLNuHh0AHSFCAa9Bsaj1Efj8p2cXIxTmATa+2lzj5
voyqEZORTsK1t/ZS997PnfkmeOO6oClpyZI1Oq5GJh0h6EuRGpTJpMDEY5ayPneo1H0ojkUP1H2V
HPiFGQdEZH7Y17s9VMGnTj7f+/f3d6dpxiwka3FYDSH6/oNAvaJ5AKCBhoNF665+XruzVzDLMG0d
2o6fzADCYqr9jiHn52ySOsk0twtOnq4N+JWP/JwTXOtQQEHvk+WofYHavh08G3iliprvxblTeUsB
EU5gOzbeLO/9PnuRI9CnDuXT8QCHgQbwHuNjOuT+yrCsaFYuKF9ELhp85AKhHfR7HWXpx7tOBdFD
QIk6qCEYxLs/T6LD/rTLjnupuevgFkU5xHt4SPaRecq8zaxrw/xyJPwYr11xOCWYDJon7dpAQSgX
WF44T8Yhu+bZX0UHZwbYGAB052d4jFR+vCfNtZ/vWd8SobfJrs0ti5ruLHVTH4SkBXg+4H7tCJmb
sKf1zfneKuJYmDUItFx/DqbsjFuurgkgbjaQ32iMVBJh8X9/i/NO34dpfTvpcCvXddmr5lSGBxDW
gp4Fj9FOaayhTrXyX9cRpmsBfXs/eUP/y6OL7Xds+l8uGCRPdezEaBoiutMOyxLhKuQ3hRPw7KTW
e38XJU64dXruczCbcupNTMuJbtZgljqrDl0wErJf5plSAJYUAoaeD8jb8lQXck8m/IRB6KzfpUjA
LMhCAxUtC4q7/nITmB68SjgkiGMMqsLJbs4NKkg9vLnBOa5iNItR0sK8luBepJ2MVGecRWMqhxEF
fboBSG3aCigSV0adIwdn/3Ji80psFdj6kQyNkJzw2XTHWaSpTjmuC6ucncHDxXf0HYChj9EHc7N+
Yd3RNVAD8y116byL5C6o2xDJY30Hht015sfnK2ejsNiPNsAtbKTtHMAwBqIOJQINcn+DqdUqc6vA
hCxX2bp/CXcr84pGB8yhQerDG7Xyf6cXTswGxyC6t6Xk9SJaR3bPPn1cgeohUGCrU9DX7saGx6QN
7r4YJUCDG9iFPjamlzeqpMBVtAEgFAa4x0AuSB9OMyGAjrRfbN3ULgZZWADFaZRFweAA43BgrPw7
ORtgG68bRwax8VwAC3ETgho4SkcXDUJnF5cWXHdr65or9OWpTqHTPuNYnypL0d27+wgv7aHsohjt
pHNK35NjgAwuRxG/95GTwiRx5WFfNa35dHsXDCxKh1EvboBGyZh/PPi4Bgf/nzGCOulv3AoKxc2T
7Z1zjOvAnO/9EjSf9QpoCYJFsydvXALG9OiLHz0HMHu4G92CHXOWLJvTD3kTv56wloShvCrexDRK
EXB1TwhKCn1kJb21j1APIL1kuvZpFVw4SXqeGehO3We0WAq2ZAwNEERElsRrnl2b6uPbmwCC5Ti5
fjT/gjRUppAhue68rmD7l5hAYUv+7/ZoZWfHQta3++wr/CrcL7zf6A0ljGBurD5QSrfvw3HtDQbb
4RDnL2uxcT6d92oFW6sz3n3oKXFSmaqqCAqQPFDOzc+/XYKijETPXk7qOWy/hAR2emNi9jb4HgGp
PKdRiw+Ozt9Jzq9XW1OmxUYVoxWAsz8HTQvNUC4FpwNHgV3N7xxLUyBGEsXYy+jYlVI1MeXPM1+l
QNLYROEwT0rcOvOTnWlWeUF6Gpv9k5+E6RZBBns/qhccIwfYJqDf4A7BJkGIycI8Nzm6ds8pSkuC
mohUyNbqmoHHDjjykd+fqTUDxhnAcHkxr8RjMbxQRHP2oeP5iuNbEOxs68N3XQh9zqtDSBp0hBbK
rzPSyF5QGRAaWMvP+cfa7CoqvaSai6PsFQCJbVr7kJPT/3g5D2DL+dcAcZ4qqPoaVCdsH6LamYOX
5Lh6lp8yB3Kcj7ixdRk0ALMz+3EHRu/urz6rVcdSebxIWCYEZ7gqUVbmLvv5qMJBOFy3wq6my1q7
vSUdYEt1SRpCkCVuEfw9WjPrrZVC9RwnGkWgu/oQJV+le6YIZzaDFCW+2f+3uswPHWv/Cxv9MIYJ
7gohPHBE7crtPdNUFWMY8mxizpeDNdoFo6kFemhfWuO876fhYOjOor39SRgMVd1RUKuwnjqLG4+R
kIqLGOAP0j8NNFHrCNqokqgXW5VwL15enZE62FgeaRHf9HXfwH871twvw5HjK7AoaPtrcvuckU/7
TIW20dSjqnmPiJrSqItKgPf3F3zs4ZJVanxBTeO9cOtsRZOHShdPZ0PhtRDacpbL0ZfLz8ez71af
bmQ7HSvmsVnYjEevA+AeK0ZQWlvpnG03t0PONJIakcaPXkLrAytLzXHr2exJHwjTTl7PY7H5a0xY
FQrQA4E19HNP6LdNuV9rmya4Us7WzYVS6UNWjhNnLLrja4BkdYSIvLWZnbxzjCJJRxD92OlpPUDr
9NpU58P6viM1kfybjRRyxHmBeldp/UOcfbKbrV3AUsn/4Rzn0oDgoKFtRzjbqlkIRqZlp1yU5k6M
CGpwdd6gkoTWVHV9rOfc4dl6PdvQAd6Djkj6saHUvO+3kZvz9NslKStJ2csL3vdmJ34V6sFheJ8L
BUJ2QLEVSqvlc+oXS4QS/fWUhW2dFhoxnxIi0QFOVuqns974tSZPNsdljDjXAGIGMO+Dux8cBzUg
18y7zEpq1F2RxmM9sQH4Y7GFRbvYeAu3Jq1nCLcNZ141j5WJgAElissh8IXmECU0nO8/ESJI/Wsf
KTDneZHHEG37aNV3bZOHY7x5DPqR7Ekq5Q/wye1N1E53Ta3myMk4V0ex33Z27UEXgfPetU6aSuWP
E7Y1Vmt7iGam6kfhi/9DM2YzfSksgqvQz+xnd1WE68Amle14wcfyKYNKkm40NEPspdpUw1y4ZoZ8
pQGUWQ5GZjZCblOuz9D/Z7mDyLYnapjbs1vw2YVMfTzxmpFp9gLk44Al7/y5OLOd2ruLNFjZFvFb
YYd3K5xaUDiosKCrbs36HTfYI2ywNWBrfktgKWVeQMbZWQjcxMjGAjCwLggO/n2WP0bJzUC0tZpm
nymKRuss3170otgLzYanbPZCAKKTR49E78X05lSu5nzR8cB1e/7wCoYdyPrL2g26Nv9jq7X1FM1y
+7b5scwuS8nc09rrx/HI8zYuASswl4x6kA4pu3S3T5q1WkEB/9x+wNoIa8uZlXYD34bc/fecSNJv
qxuul9JYsXHHfVncfXucUy3W51pXAIs6SVwODJ/ca7C7SXaJJh8w5BgFaUuIX6CfeHl8b2LX0hHx
QPCq+cXvWRe3CSqAlPaRuFgkthg2GR9AkWDrg54fKBM8Ph1lcQ0F98kM6/7O4w8Dg1yH6KGg7IhK
h4MukmfOapeWF2UpJJytPvgdR/rENtjSR2/INlpyeET0EdBPiLohyKDsuakF9Ihvd746RZwqQO3p
Tmli3zeo9k8r5xLRfkZfsPTQ3j5bveHbJbrZNfdbFhtHMnLsy6I3BGLmWDShMokTL8+i+foSA/BN
sLHGSIciwjPdW9PC3o9P4MTsMtgHTVYNjtLeDEheI/MV9R0llIdlhCdaeBocbzhjGLMz8oUAjFdo
Q8wQUEGVLhmL0A4ic0NiBCkcekrzF0hw3w9jyUEgepT06XjDxYGr9X5+MqnqqBGuYtFhjlVDNj55
p9FBQp6zp8PsALMoP6XvSBsh/nmoEPa4DbBI8PTOHfoQbTVrFjwxGBi4stjJ/1yzUq8nXfbZ/TA6
C8/CdrYmWdYTq766En4gleEUtYHUIDXVNbqQ2eAMGTk90LgzluKW3z2NNKwcgI5uoIiuZVCGJJ4b
1Aq32VxU41q9oUaFtGDxUu76We/1ADNprVgb7XN/+uidMKUfaKgOlOHFGB+O4ww0m4qiYh9dtBrv
Z8kVDC/Jg+o018my9X+Hw0jHUiGh8lEj0IXteYbg3vX0LkkfO2wCzu4VuSEo6mfBRg/pYgTF3q4Q
HF0HyckxsPLbubUZ8puN9g1xWNY/YgJyme5xuzz2C7Ck64lcL7Skf2vyuSclmaPLJMJbQZhKnpnG
s4xmiXixRKO/Pw7O5Yt86qvaWCf/xckMiPQWxy8gHSIYuvQ6qpK9LSkddklfBbn2xYWmMX04EP7U
1Fon+Q1VrZIERJrDO9xZ3svIC6djqKOJZaMsMfn7JHkE4LJGQC1Aawa9J+paK3K94uWqZjdO16Pj
vMRvPTwlrtace9L3BwPj34A+4/pltpvd4O5wknXkA4/lZoYnEDDhi9Oh0dpl37N23uEqx4WJTAaQ
CUpwoRhMp7r7bIkRsZwdpLP3bnJw81btOeZCgdENW4OWvfJzZ8BnvZ1QbeA0N/wXgBpvU+LHDZHB
EVmNmckl/d4RPT6G682bokLQxD181y+o2LcT+6jdqn2ScIE48SGaU98mQGyopK8pX/XSf5+onfv/
t5eEEoy8pWAQlLQ+7e2q3famgXIEovQhImmO5sj24kyL5u819JgIfL3a/w7UuqGVvVEVWGhWfEQB
o2XO9NxptHINC2t1dwX+gtba32N+scUfvuC3l2tFtPhLykbau0sE4ygaw06xqGAIgWTjzmhVFHXn
OaQVyjzWdCyEREJXd5ja8Gcz52zPouHKoqOjBkUsBim0XhIHPHGs10HhrIZ21NBsU+fw/DmJXNca
fPg99AVgcY8H1mroRntADViaWPSrXsSPpl31nseTju/369ZElZ8KmYzSgaC2cvPU3GyxROMVndjx
vL03FwVrOk19C72ZGS2zphMTLOjHT5z3zj5QM38P84tQhSnjcUIs2xq8zrccchvC569I1htNNzEl
Me5pYq0vp9wGzATTjlbZ31/210gWvAWpFucSSXwLSnSo5fqYCxwJl6jPexPLTjVn/G9g7S0Eb+j1
yx0jPkLUm/WLIgdBJJ02KOQ/T4NyjxNrT29gW5un5VKKdtYSsHpt3z2ShnD+oY3/6e742Zg9Aymq
bLq0Lt4IVGaIlfz3zqrgr4fTt8dp7Vs1NfKrvuVIpgX3EsNpm1v/fD9yF9GMfnzHbP8WSH5/99be
pTy4U48Vg6HK4IyACFmjEag1jiaqQK+uatt26nWO2kQeD6uLQgmsbKolcBB/znh1Mne1emLU0gNy
IDs0Yk4+HegpwXyDeWjUjaCtSn0m2Qwnk79f+rH61nzwb8O3FncqyoeikpOm6iV6I5Oux0rtZ25I
ykTt1X9eFZXFaZEHkRQQAgI8qfuTxO24Er5ay+1Z0Hh7vIgFKkft4puaVvu8MP6TsyGXwgP4HFO2
HW28rgrVrxftt7Haa/x2xBv2cuX6aaAe5iyOSU4hWTX86uYecmlgb6fDxWwyMf8vSfH3oVvrOVfl
zd0Qmw1ts6W55EVyptQHVnTuT8djlwM3mPVCLsD3v7/zr1kSxwj3uwauSTVa35nUqVccGqmBr0MM
DFWKuw2dtq+bd7CqB6/2zJlI944D5cFg3GB9fRu3XQa4JZqSmOevyW6OMGCgvaEPxMMaLCbGtGMZ
/Xpgfh+tNb/CqZecVaVJTZ14VPvh1CQffY3I5oAMdWydzldrnRfXUgVdrzHYzQfkOppvPWBpzZ1k
V37n6fTILGEi2Rs0kCH30q5vnczKvTjdtzIhTO2SEqKGiICC+g/7CA+OCyHNCtmsJMJg2Dm/3XfW
0a2dBR3SEaVH4mUEKcPKVbyTpwR3V1qi4zi4wyQ89uG2WYsmpNXH0Ez7/MqrAZf8vfy+3Gza+5sC
vwhetcEatJdftTnvaLw3kXws/4vXYb9yXl5Akw3fvNxjLfrWfeoPKneVvq+wPnLRwZnt7cmkC+Py
6+b/9iDt9SjUm1ty0XkQpx+Tk4PqC6dTBDeIeNDCmTm8euc13iyEny9Ppw3cStOxIfz8OoO/xbtn
rTxcT5nEqiQFtpZCdLA80aFQqzjPqNcZHDg2Qjj/9ZT/HLW1PI27eT3K52bUytOtdMhps7bDcO7j
62n7/waDm0NAdwdb4tIpb5BWtdXHiKtrmzR77q+3b5WL6tsxMVBkb2rFgv2WOIrViIt1wwe7Zln5
eZFu1hJU/pT3la0l5bFRQ4Hn5Xx3INrEsbOZ0xEwfJm1/PVmrcB7U9Tb0+H6nxGpcVJS5VANdqBa
ZCJpgu3xv17jlvrx/GwPI9eyyujZJY3kCv3c+rmN0IOO+gkOo/uO/fbLMv/58VuZs7He6r3ehoZm
0yUs6C7t7BdzJHu6l4PSSAar59NABnsNiTyUKcdsvK6d9oiwa/rLNA8ps6sg8rXWd+8pl/t2nfEI
V+fyqjEpG+RL7HJ6tjtW2C/5JIJkFHVIYsm8pLYUwfmkyWWN9R0rTIvSYLs0M1vu4zmAlUaO7gna
NSGBDXeAQlm0nCIX25GD/TrfFPEb1QWDFvLXz79tceHeu6BFgNzVesBKeBuhE2BNUwCBX9qUs2Q6
wa+9q9L92xQrqkldBFycZDDwzyV/qP6f7JQ+M6hk0naxerEcvVL26VhQXzl5a61/Gwq+wc+hNqZY
prcLlx2aHHsvVNhXR2sRqGFHGeQRCkGIAg4Wkwy45zpUgp8DnYXeGfQ+0l269bZ1Rhgz+U3PnSXq
4LXZ8d1+CX9/jtbaJ+VZFU6pwq169owXzZc95UmVnE1wHquQciFR9EDfnV05Og6r1/30EGbhDWyS
5B0crlEs8VDjxe/r76P7sYfamoNWQ0HYZPcTAuYoeSy9tzlHSTgerAiGuRG7ZuARFNeEhNzLTT+M
tlgb+FwcUkQhS7Lb9Kn6B+z5Bc5Mg68P/cEqGQ17GV96YX9OunL637bMj4FbU3+tb6W6v/Khbzb2
0nRNMUNykpWOq6GjoUAk2knTsnXQ/3V07s2MXyfU6v+e619qjD/fvzXXvX1vn6WHr+z+CZ0x72Xu
kQhQ3Ri+Nv2Kv0f7pVUEk6AR0yCWa5iBrUuqrtaVLJUymqVgO5tDEc0qwrNNJwup2frt/fp9oNY2
yq+HbHev/hMJk7mHlUXFxqUJ1kQ4/4c8/edrtb7lAR3A++lLyEy1YioFXoPX/9eo/C1s25kc6Up0
TOSv61bnjEDjDGCGoDbhwLcTd3Pe7OH8sUd6Qb9BjoBrCHPPe+nfR/2l5sfL/qQ/mWUwBainLht3
Ovsp+9yR8v0PaefZpDqydelfpAjhBPqasngkPF+IqsIIJxAIJPj18yR9Z7oQTOmdO/fc7jjRx6TS
7dxmrbXJZbS7XbDLdKIXTr2+wWsnB3nwBinP9jKBC0kgeGo6dOQWmuaOW9a0RPK37y6aV2PUPgFr
UNx/9ItjG6Vu+hha3sI1jC+g0K29fObHD2N8nLRU2+rcHEN0SrghHRS6Nja6xrlG80PcI4mkAKN1
iK40/8skER53PYlqD3Z7qwtCH47xgAgeIddi30Esz3Vzlv+d54V4HBkxTYaTlN6ymfnoVLtUygkD
AglFw/LJ7/P9jeET4pUd0/62nZMLeMfCSBorigYS9m4ucm+vPFiZY/7yHZnbmx7VfXJW5DGPf2iV
Q9IVz88Wfug+EAoct1CKtmqiM3T7/ZyH6pPXUSkg9UgnRJwOLevVX5XHpnKTZVCTOnMboSpZgGXC
Mjm1yjMcn8zUy2iZ436o1JKCHjLa1VAdSW1E3SkWwkHUGNm61tA1c7yqDwaEq0VxBT0SyhFZusgt
Lqa7bXxKyUshxw93E6L4msaWOfdYnsy3DUQwQSPBqVKAyLgwjzDaoIYa3QfhpCKpXXUYVmQY2bQp
u5Y3qQ9RNOcWpqw8s8BA1Mx5iTXtoG/Pm3RwtAr2aWPeaTR4Nk8VqrSHh8GDvwxoj3guG7qdtO8Q
0u2gWxvsm9e1+Zijdxm10mG6s2i4jaqTbGtGT/Vu1SFuHoMtkvoxNDcF4TKkBnpu3NpHBZW25rwq
9k7OwskvfVu4XzPJXPn4Fqrr3Y4DwXGYwM3g0CO1YklDlXfSP0RwCKOhAyShRvTJzbwlu9KtjII3
yTlMSxvjDqCi3uvBWYFLa3jN3Hj509R+j5d5TVBSPd1jebN2VMJm3W5Abm4QGQP/R3AqGmaC0PsB
w55zFj95JAiWwaWmAkhCNuvjJun/vmNNGUASz5H+3Q19p9Lp9UjxE7AJRWJIci/3+10jO4AElJRv
BrmSpXGHBeW4J1QqDkZtk3ZpYP5LCCCSen4YU5S+WtOCYTUqQ0oxITmKp2bu36fpgzHjC2Cg1SD+
qLJDOqft12t6DsO4Gu62D/IzWDJJzAD7upOVT6vT6HtJc29Ezbxz9b7Pr4OWXwfVaso+Ds8MyrHq
fg8e7raLAuoSDIk0o42DjcOb0AngKvIkrnLnmznSl2Qf7fZFOd/JRErLyudS7TNso+GRZZdk5P9m
hekCKENhZN6z2J3C/ngrrcPDQx5qW/ofVD3dVLDEFkgdN2Fr89ZXbtqriWB96TJdrfJGAhnKvBla
ebM7xtezyvrOahqn6sze1lGS7FnWbQQcCgGsolQkz5vsh3T+68iZ43SjI08B+n/Y3akz3DS6/dCx
XN8bKWqpNNyjPYpmFbW6InUUdjWxVkfzGMH5+GFuoOYr8QFFiiiHg/MhWn79qMyeV+6XK2IJUC0L
3aBH/9t22BxH9SLcvlxU0lMG/X3pa+DJJSQVObXXo70rRfuKpjzphZTQZju3rTVszbAPS9zNhwzo
dtR2JBButem6jeFXKx5R7uivVrrp5ltUObW/PiczdTVRitr2CrMvMZqzIqkguw7bC9HxH0fWthop
Ces7nmOOD/HBL5VL/u8yZCy5Mi8frvERbLcMrb67XXvg/Fi87QZFQ7eZM9rzHfprltLe/DJim/Mu
DbUSApgkYSazAiCO+0o1riNd2OcehDOoTmKmWtseEQrFvUGdCi4NULqt2x633QdjkVJbLNBcxulY
KUwTo79GB3a1N9w8DMSHQuvrymSe7xQI3U3TOSAjagczqQEPNqs9OHcfwvYxguSGe2PYpJ2TaBTa
Uuya2mMwHHlnO8cwvbvQr1+S8cCOJ+00P6icDXDv6qoLyCZyBsSLeGGtSwv4kHznZQcI9+7kDJ1z
LLPJeP0e3O/nKgZKlmvKtPl1B4Ep/LktWlWHfAcgym/Tu+YW1j8kWF7mnOV7zIlu4t2dOceQ6njq
7aPhEyALOtj0G3nnMu8W6Bk7vI3u56JyY7QRlv/brhN66gZSJDITLPLgmSX5t/1xC7JP+U67RutA
YVGvktXctmELklrZc/X8n9YYAAePDoM34vZdnIzVvp1ba3z3F1ldhI8kbAEplKyTDey3dLjc9yRD
daADFdGsg1Q01u2b2Dd/xlx/i2Y9i7zX7uO8f42auVGX43xzVzRGBZP5w6POkw59hI7uzLZjUM3N
u8MfoOSv88zcnO19o8zjw6HEzTGRKrAHxzasrcXc7VljJhmIhrlqLoI8OafP5+nfmT6TTL/s3PXM
ja0h/YM1lw0kAO34JDIcaMnc01xJ/A+ZlpdpPt/VX8OV4vBODyKmeXd4yx62ObNBHUs9H/ieondo
UUkkzHddrZO3pzknKUteibXbtaT8s8KySngwUlIvD+aKoyZzkpetsdhPcqzS+6BEhyRDoSRJMklW
fTY83YLtMeUCSSDeDN432SzoKzzXX5TJwDLnjPfuBqNzCwwON4Ek/luhpHSqHa7Fy66E3jUlXEeW
RQV6HxRF65rptE6Ch4luW9CyT/+DV/OdeUfhAOgJUc9TLE3P+AbKo1pTFMAp0l7U2lKtKTS7g3XD
xw5TPuvcgcp9gUAhCsitYJRl2eDVWL0OnnEQDkHxFsT6Hj/ctNvSMgKFWPoDn6Q3dVmH3HMDFCL/
W3kwPqvmKE+N4kMk8PoFGaehEuj3nRJv+ALZZIL27L7z48iqDUMu8ozUB7+Q4hDhZaUIFplgIGOk
KjvAEMc7o2EVVaMtIU3A52sJPmGhOfimr+vNKFoPnMQBKAlB5vH81WkUN1Ro73X0IeCmu80gEgBB
cysBb68x2AJNlq9QcCLSf+rS/Lrna1Qe19fK7kE3Ctv8hv0m06EycZxMe3shPIbVqRFvCYTz7vlb
AMzQVXi34EFh6Otv0Nsd3dDVXVlKgnAHzi16EnMJUH6vM/CYzsxGpU2l/GZZZJMva1mnzvuEt+dD
fgLAGNgVJfCw2Ue6FFKOUI5PqNms5rS7j0F9IHs2waYYxoZUncnzjt8VWTJDZqKkFOmfxw7560Hz
QOLyCQbyFcNPmyRYHJFy/6R7yg+sHQ7zolpXWlfZFSwvXnu/BJkvyYQr+vmh3stnvsSctCPRFQM/
MH1OH+vt4gN7OZ76OxpJh+yLIGOhgkxatVbNXPsHNakthFCJ58QXD4zvdROBtl5v3GpA9aRDLa0Q
+jmDvuN15KDIpJHNRKAMwYvX8KAUV5Hle9Llujd5wUR92eLhMkmPr+0co/6sbr8YNjkYgT5Hiomg
7/M6WBIkx1q5JC8TGYYZTwhOvV9Hiy4V8oeURljKmkzBGS+dakdy3EG2g0HxeGGuqLte3JpVQdyp
RisH2n/z36Bp9cnFeAtv9PcL9HllWG70vknq62pm+x/34vlWrT5vPuXd+tIHoNX64lvyiJLvrotc
Fkhhsj8BT52WWRZtU1IeCiTVZyshDC6PulP/kZUp8pau+/+eSnwdryrf+l827UyKaX16MLMmFMl2
iaRaXZSkgs1hKMsVwmncZkPXvXwvIppj/b2s7/lEBkcCD/Y0HAZsasbvv3A8tvG9hFUzCfJgbJGl
9amLSFQKmb0GumVRnvv/cYUZsPAPvZ9E9+uMuQHxBXYKK3wUE6oxR2NtQX8bUz82EneVVwl6L0zI
SUpxWRLEUO6yMI/Ceo4k+ePKeDLY+AcEwxs67uAx8Fjl3KuPawo5A4oGXGaStZkNLaQlZY1wLtFq
s11uTL6LXxLCBXtzTKOXzmHagAKFo5JzQ97xa8zx97CZrawk532lMCd71yZUtUlTNo+ODGoCaoUO
1XlMtEzf9DcyX+CtrkJp5XYqeXfEMx+ReS+0wqMQ1+RHACJrU8CkTTVJfwdvhcFJ40n/LGfiH7f3
98Qzx2mjx1eldgvJ0cJSnbG9VEtxTHiRZHokl0v56U18WeiMkT5XqMbX9nI8PFFJYZDXptsd4Avg
DrZkvzGrQWoGzWmZic87X+8OKWssG9ZR6UBoCtTe6/UJyoEehwU5Po5w+3sQmkTPVIdBdj1/OEtC
Hpmddvurk9Hn/+Cy3dFqba5y6y4fHDKd/pFcrLIqL3TmWw7JLTlsS/98i03qtivL1AOHpi7TL3co
OQ8M3VzkWK23rLFepfQBnAo3kMKcmjllyUXfarvdBfCJSbKs28UvlW3JHKgWe8r592dCPmdMeWtf
X0vGlOEWQgVUVLPOV/G647mMK1KNbWI+SJKQnJM4EB5Fq1Gy+vQoNHOGfPf3XofMTPNWBbC1DxkS
52uLtCKnzEbNrCzGNDKm9OjlidN+ONrou9DMBDIbnmYhyyM5BeVLWlBwctvNoNcmJxwAepFpWBnr
3HtILaWNFsf7AfqVqvnO7Et0HkSzu58z97eIky2m+Alc4Kn09uRu/3oVi/tzOQ7WGnOXPOJtr43m
BsQgMn4kQi/yhh3Mobcxm4vcB1kGONmdhlOG6weRhi4iGfsd6XNyNFTVn7U9zdHFrGp3u6L+o9ZL
bYpNQ5J+EueEMbvmWfEPbi6t71D2AC1XRNvniT37Ne+4Gh0KV/UsiWdAFIhw6n7YhNxndfqUX+gb
nVNyeM/ystC/B8zcYGVzi8N4XUBRz6w54QEAbNHq7tGXIc/pL2kQD8nihwQKyOeO9RU0LUDPl+Zq
bYdDePE5tvwdr5r5moxtnVfu1X1IR5/Bo4uwX3wmQS7Xnk+pdFC4wScGM1Kg2HkxWx1yHX295yLJ
huxWJ7JdY7X4by4hnC6EQgrIUr6LMUQ1NdpVZNAVwNRu2238I8o/FvkdQd5hiEuYdwArcskzBxC/
E7ochU5qYlkHoiZl6KIdi4BPNusWrXUEm6zJJWz4ghCkajibOt3MUZpSeGesBkmASWKcWncDRndT
Vl8bHQDFwz1PrtLD+F9yv/HTOX35xoy3cb9v74UkoXuwhCuZ9syu2z2t3sNz5OVxXTjseUb/gwFG
+IieLZL6Cow2kwWZV2/Hc/Eh8fkmjx4imFh83UCGkzxbgiJFLiXzQwhYfRkxkwmZXxBJPtWYIzyz
767EFDj+GGldpGwpdri5Jbn3bC26rpJFh2+M9Aa9Wl9f9vRWKafKJpVF9ifjh74ggVnvQagTHVX0
V3p95S7Kvpdja99TG6/DZlb2ttOwQ4+YUNeUadMHDhTyMKQyd44f0v9gY+C/wbVVpdZq9E0TMGRQ
8o/Uxw2G4ks2HrcZiNjr7IHg365cfvmqd+E7RYZflxpAKKyeqLF7ub7LBy9CZxjaR9Ggrfa22mca
QemBtlfZ3hkmnpIHZDaOb6dDptjwch+Wd4Ay2/t7wMw6ny/UPcpHJigd1Q2tTHd0ZWyhMCJCRzfz
oNfPQDVjRshW1dAUQDQMPceM+1CLotNRvzK/HdmYs9kOEZufN7qIjZA6AUBRJ4+F2AO/KH8QGkn2
xZMhUJvWSmI5JxGA9YfmBtKpoUrlV5pPRtBevrh25a6YWh26QQcibvMcJCJwcl6D4lvqVS7Yrxlk
3qa1XtolFT1SOREyMObjSOn7jvUl3by+S4rt75vw6TF8GTDz/IS1OWQx2pwRi7dnFKW4Cl6dRINl
QG4H8EuYGkrGZavRoJueCe6kvwezWc35jo+GgMBRY9+eeiEZQxAkwaFwSgJZIMPJL1r21l7PfLzN
HoUMoyFZ4exGQo+CXA/kQ3jBov8aO3NKH3sdBEJIbeFk0gRQzGeTqyX1f/CDNGNv1gcHx1enN6lG
1KwNes4YX7RouttGymMYOqsqdjH3q961ejgKEveD9Bmuqfp8j375RWFZ26nq7SKTVTKIr1M7831B
uGWNWRDDxTzk5UbeT5+8OLQKIMgC/KdlNmF3vAckojh9svwdmtiHq50ClO24xmKRm3Z6N8Kvo2Ue
m9s6qN7mG7zOJusNUvjq19EdqMMgd8QYbK51FlCgGoHXh9taM/KumpzMq7FgeFLrlJOA/mARX43v
8VyYa5trmfVtS7iRDcix2lmy1Y42kKVYnlgJkfUKec/6uxWWA6PlDMuhUEY8+XXgshKftUtwfTq8
31gcrR67S7mvOHd7Z7UYLXLhBO8PzeuQmbkW5vtazIFSB0gS0fQksFGGdXxG7AcQycV2SZZCabl/
25YPaSES97BgQNFBjaTbzutEr2u1FpUrQAZHkSVLWDZ4QeHDdLIdhIi+ILc1cwO6Dy7M66AZN02L
d+fSPuLacIYloHypdPwl2muQeBErxH7kySj/A0HMnKSXeWaeneOtVksfKdfmIEho6gKZQoqFJ6ym
vrEf0o1NMePSlNeOpP6WG2eptRxEd3uAKgD0pULfo15winFAlj0Z+Qxx8OP2zkRwdnU5uvJtXpy3
YrRYNaywMxeNoonyCC/QnRO6CnmNzGtz1ZeK8ch+YxxWizQ0ymsBaE6xF7SVMZp58/6Q1GSlyaeD
JgChSO7+dXsfaVzW1c0NBKpEm4PdwT8lDVVFpoSUBJ2i8zf3wzl+GTLzPBbX6XlzUVT5wN8dOhFT
jvIhhkhKvlRGkYCC/+YM/5pkxiTeo2uwPl6qmMTmRCIEB2uP7vMy10a+a/jkZ/Ie5gz6wQ4X4G6A
0SqSE6D09bqy6Kyn8YMmYRKbwrpi99dtEkwki0Eb5cZ7ctGyx/f3aJkphreDQiObk/osdT8Zk3WC
LpSkWi0K3Kxpte6NKmbOHN/zaPifUtwT4q/USsz4voVdcRNfYi4NFW4zsYDgDOrOxpm3HGwv5Rbe
fEF1LW9YaVzfJsuRLaFwQ0Y+G2lWNe2hRGeZqlYdGh2EdTY1NG2kQ1IcLbU+pghgfR3oZete8zBH
T9z8X4Nnb0xlc6tGN1a62ZZ5W6xTijQ3Va+ygTxalyfXHoQB5lkqDBEH0OHCiiXiisJbQ3M7Hags
hcaU29UH/yZdIU+ysSsA5//enQ8uEbvza5kyJu1yfjweYeEoLxqGu2RqxiBqg0H28JbpB7FcOz2Q
uXCkO8Mh+daQH55nmEEbkW8jidHzy/VUPx6YX5+UufsohQXK41a6gkIoGoP2DlL9rr3s1jpttd31
ZUFlGZkdv+MZp+EVOuACEZy5Qd8MpOP+Xp3nw/XXPmbu554+yOfqBs36GC9xb64tRBsrxAsyIvh7
qI/PGQcVrUb0X6jPZYeqRg9d3T+ZcDyhs++69AJ/ZA5gTshGWSXHB3yKrr3P7d8BM9bgrFZ3erKj
e1XSuK7KZ1GgaebBLgwuDpL1s2IkSq3aKl1Um+gvqyh1krJqnZVWfBbx3dVnx7hxaxRUq+DVruJR
M4Lm2anRDttPq85+g4CzLgIk985Vay6l9GFZG1rBWlecx61dNfOSqu+YQuoWv5cv42vt5wSJ1xNM
lpENaVNAIBMWQFf8WVm+zdkreX3/WrqMlxXM8dY368p1UHO+b2LQBTIs1Z5KJpXNFjApA236kug0
Qi9v6Nx5ZqxpkmpFAsdnEpVrKgVMKIk4Aqfnf5JH+PhigJZXYT8RN9Uyjl1hcz1sdpWENFHlmQuT
Wi2B7UALJlFnYLY6Ehlx+M45m/+XWf47bsZ+3ojRdrd1SppwYt+tGflx0KHAcYuk5uFQ5jzDJXnU
3/aTXHFZNuiBgJG5e6XaJQV8whMFnZC4EAHq9rdskCFt4MGoX6dlTrDoSeWUaYvSmyytrvQF/pi3
ePRyDtfHNa9CjqLhU4GWSBmLPN8ej8plj81BUKyLtLhAteEoCJjKhOVu52RMmnPhrUaNPMP73iVD
3iFgaHhzkh6rZXY7KYeP2mPDqkPplKUJ3ssBvXioP6VbmtlRKBlUmzYCq4Qw0aBjHO3+at1dBO05
QTuPqNfMe56eBb+3nfn1SZmDsE4KChm8G59EU5ybyVmALtJlUyjFDb5Pi9BMuAa2fBNQq6dHVbVB
EaNP/4VVH+qnxaJVgXb4td4SQA8ehyyMF5suOkNzt+AhTkDMCw646aWJk+YoKH42sb++PrOVlV3h
UtpU7hLLWLpCgaXt9ORJgwXbWCEtVXNISsoq1KnvSww0lAhKQFbtp2XR07dFMaj1D9WfGgAHX1ZJ
/hu3l44+XDXqMoi4Sg/1V/LhUb1uC6cYR/vyVBtzujOZGmKrRREOepXgvAQKiecnxz/7kBPgrP07
buas7TeKRisq6CD0ZjUf9bV1M6J6xajW/75NH6AD8kz/O07mAJ2C4H44JtKCSVnHMjBhOn4gA0vP
K8f3Cx3hjJ8ZMPoHgHqi3ZN3gXeeZ7Y/vu7cZ5I8NciqFLlfl/mknzZR+IjvgIbNdlXYiN/UxU/P
uUK2d4yOCXzXWvw99Y9GFJ47whjYNMLyzNS10/m0TlLGnLQHEqZBtiXkAvRBRefN751yJGEDHB9q
F/DBkRp6nd+8tt6Xi1LHkljc3gaEFWSwSG+TdQiNPBznx4AUeB4mClsNRC8zGgqTp6hSYmbmBCUf
TKPv1FqUzqQeoVeQrVRyGe8U4D88EsAjqwiiov1M0ex1ivei/qgmex59tJ/IAh74N0lkcmezKjcm
5ToHtDLbG+1tt4tm42KysahZ0TVIxNAKA1vvtOK52V40JwXRbapUrmagV+zu3Jy4k7XdvAhZdW1u
YVoOjsPuYtXs+r2DYe0cYPz2VUyqdeqW9kLH+aabqOW31vzdMnOcoii8bMcuGQdfdfDaJ93RosS6
8Hh0Y7OKMmAAeDyyguGiyqeHxqhZX34vd4a0pRWkUgABHhGAL9RZO6SXE2tbvztlA01SVGse5qm+
c785QcT98LXAvWi0G0ppR3RjZl5FUrgaagMx5jWCm+Qur9PuDS/op+COcI1i825Q6e0VaBuxFqMJ
lc9l2aEV1aQyKQHwSDHr3yoNsNrtSX0JJhHZ8EGFePgg3InOwhgsr4lC+2xwta5oNlhec2aqokln
HbKximi77txoeeSeTlKAssB/1RoX4dOKwNyI2J0V7AiI591SLc2YBIZqrS3VSByiMRqRMow38b/p
F8uppaeI9ZC6QL0QGOwoNUstlZQkKH9odALbqIjBWOffs4340RyJlB00H3YJ2emAPmWmDhXBWpSN
wGh1fKkmjTinvzeRejsaKb+py19Ca8Wq2Wyvak4k54XQsKnWU6NXE72HUbY8uahzNEsB59njDmwk
DAYrPoZgfEGLpeBczA6VK2pXB9FttXx/vGxLsDzq585VzBxnthOLI8WEtjejo8dWeDPgb/jB7TYN
Zujj2b2ZFwtpbXxUrdH8nltdeyTLI1tHazcLyJImRq2hkGECeuPazF1hbbZGDV1td9L8duqoFfJr
ZYPF5vniz84GUOGdDp/MSrucb2MSId8wwWkx1o0l1gfUcLfL6d8b4GgUA432hr/cEEi1CZGFOYoo
c865uN0Ahe0rwPOSu2wH5mTwoFcUHWg4c3hBKfIRsrZDoafK4UfDo1ufrEma3wRl45TRNtbcTOx1
zz5IXS2/M7C8jqHZQ2vV6zvGMqHaLr6X9MwzReubksu0YD74GV2CB6pdcTiJkAAikGVL0/FtAcis
6dlmk+wtSxkYxPALdnWhWlPbqk9R8dJEq+63+fMN/+aeRF1hZ8oIiZPOMWccXchraX3TLJn+SQhE
v6i1Pk90xIFf9nxNFNpU+Yf1ZAYCALeaZO1J0ODKgeqg9BDkDsxt/ya+tg0QKqIdeQG4nNmA9Zvu
zMQsCnhb9PyyWtSNEkED2gf9qqb9xoheDydyoKm9ktEJ+VCFzxt/rWrc/w2aLnvxlbjVeqeHHLnT
Q9LOcIYPxHl3RsFY/XTIOgYN/+jATeQMorIj88cdFroXiHHDQ9XJ7jwwQ9t+wS+L7zEcCRbr1kRd
jD64WAq/dzXP6HeKzhH9J/RuMQSK2bpzkggNjYlsJbWl2eXRWiDgId+JjutOPLQ7uDWdCk3CNNIO
d/7cirPhVCyNv6z+FYgKIr4xmJUqHcVSSzerxjQR9I2gmRzHirZuBgaP5lSt4cgwRlwAGipexbRp
0JILyaTdyEoEKafpCR02Nqz9EGO340dG1f+RwiMX9vdiI92OpelfEISkE9perMpMYeXe2KKfm/WF
KxxRNDH7EWaTvl2YwApDf41GiSQN3sUUaQKxGi7slez1tapZjZ8pKvDLKeZZozUlN7DTx/JYw4fh
9wY66lxfcyYUifHN4jj+DM+YbOMrdHgaVkeSuhwJBm81Oqsrv0u+K/3pViwt4gCzraCB35nS7130
qF9xAsaqqLdOS20aYKiHUNlloIrYndu5s4C1znRVEl29PmtCf65bG3scDR+dljP+8vGQR4TynZls
r4iSvi4WipjQ/8yIGrDY7DnrqJhREzrpCJYV+R/SFe5kIzDJURNRetQWdsJahazfXIjOEqtav/MT
r+Eh40puSThlSD10cZs0p1+rBrPq8MWtaZe9sh/GGVzwmePZ2TfmHOIDr+qVAyimK+iBMPN5UgbY
N7MDHYHUOB9DelywpR6fswwwQvCxDvzJIQKUHc9vTQdfwlp80cdODHY09joPmbFpkcZuUI5qt+Rp
NpouiZaS0a9/2fLPOnexQOrcYLk8WZNU3b3jfDUHgZjQuU4WKN1GYH61VksGvbnyOVw2FGPKnvZ7
ijm2BxqLtxbjWWCO4fwFZis02B5qrTujAfYpZFdatr/sU/NtJWIxqfN8nGDCMtlAeCVj0ENiJCXP
XhZtSLQ3yBAXs+T0r2IlVRIREiIVN75xFSaA6Bh6arSmbmJ81axHl67aCUUmNnyHT8JNG7sj6Ayg
2iXCweW6IfDlLSrCo2ueaE5/1gzUka0zFK5dYvZUiz/7NRgsZ3YyMX7GlO2ccBSLFo7q2Qaycf2O
2Pomyf+zU+4sKIwaBFsNGASxGFTEQKJzNxzoNYfNqplH+hQSTmPcmuCvx2ere6p3dYOSyHjFmGeL
5KfsN4OsMYrdYEOk7BhHyOCOBQ5PkmivMU2+YpzcnaHWf3gPvvrLoeWd8Lm4+yY+lLvsczn2Tr+5
semKGJnLXn/0VcIo+me6/GEmJiGn94u+gWZ/DujjGCMetPjqQL+ukdmc04avJGaQA3hT7j7tFWy/
4Z4N8Ck9SRqVt4x8+bSO+z5eC+ykyTHpW0hkWMVpj+wgT/NXlVx6A7uz6ng1To5ufrme0eo1PK57
1Zzs5Zk2iKelteIv5nGTFSPVlpat1Vr9NGCHs3aONZ9D3+TZJtvI0b3hZf6g49NLea98p9VHsiDA
Dzt9W5glqovcN1b7atDJsbFFBfWEmTfGg+8fa9nwRjSXuImgq2BZUlckTfPcrvE9ZJyx5x1vEnBd
Bo7NKbWkWOD3kY/k0E4Dgc+4sgzHPWGQVl/yg/lIjObU2BoT7qN5NRstVAxMV77JO/FdIameYKEW
ZlWwDrhsxmiBvNNsxkunT2XPRX5VMrDqso2seY+ZZewo9bPsAOqItV30F0XeiVNuIPakHGQTCr+9
+ExIvqmU19drQnJ5Mpv08Wc0C0x5ffTtzr6ngwgbZsz25rSMkFFkzFLR9I3UxaMwgaoJPIWd0UnI
KKwoQxlOybo3920OFn3AKejRdlggkmZikJZTVSzpRuf9HdJpn1Ljks9f1UswtqimvMYgYbE0396u
ZGioaEzg7tj1LfVsKVoyQ3LrNgWaPiFBQlJwH7PddVRxwy4rz3kGYVjfqqIXU9GqOg/ri6w5wKu+
V0q4XJz/i8EtAEhNrWGUE4p+Dth+fXcm13wNi3pJqVFlKLYnoD6+gTqWOlINnzefi5hHqckdL5MN
ptq0iaMSUT/r1IYcDBuZXWuB6oH2gf3LyVe+szgJfyWwjR56oAzecna3C8r5FfDFAylqbbbvllS3
xWfub81S51mS3nX7BpIqYGryMikfkD2vg8uE4q8UjrK7p4cwZnCJdZLldylaSPF/MLgCtePnIm76
MfYdEi16Bo0V9w1c1qyPa5JLJvyYS/29FJkjui1Ug9JJ52uo2z5ZN5Rudx6ho9Kp61YqOzQJ3fqR
eS6KSo0KvRqHHgmmQtXKA9PLiWfvOswfWGDQqip0+ntdmOJN3VBLIpM6qXf+vojFj381FLKC1BME
ZJxZ86T4qCD/GQKwA6ffLVshLxAe74/VqjwTkKGs2OS1LftAQWGnf42aWdvLSS3d01BROdZm93QS
AxKfdUSEHQjveENFcaAvNhomsmSYY3o+sNRex85c4XUxOiX35JFAp0oJbhSr1CmRc6AVkvnzBdii
E5I+0Nhm+++lfldUkHfr16Qzu3i8Hu6hcsN2jCTthvYPPu+TJ3080UIqhKj4CeJZSf6NvjH/Hv3z
zQa5CQ2E1uxs9usZOsTAgXfzuSwNTJ66VEiND6Rc/Y5WHKAcrekUDAcpZFqp5XEWip/MPRyU/zN4
ps5UVqLy7rhlv2VlFkCPScqGguwYwBTMUBJrF3cUOHnG7OPZ/jVqJleZrKNT+aiDDTaJtKmmAQ4m
5y8RpBSBDXqoeDTgymsA+hTse7usek02wVEhQNcy5yvSLpX4UAnugzIZgSIi3f9ANpH1OxAgaeb4
SkxWkdgImr8beOPNxejvvS7Jt/+vT8jsdVI91q7XmE+QrdV4NeowBXZNm+4EkEWBplsMTQAivcC+
W2QLvFXe2ssh/vqEzI4jKVejCVZAvUNxebsg46CAUO+mgvcLfeFxYk4JdGT7mL6bc9SfnRf+Gjuz
79V1ABJlAzqySf+ltK/TZBxEk/DFyR3DKNwMWpoN4kgdewo4yK0z0nNwZAWZQv3jC7KKNA+ldn2U
d+gDHsTaX4OnqhBSxHsi+rWp5pjwTw9VUS0BW/uPFc8Y03KymSNHz+VCeYesXNH6Ds2Q7Exggl5D
Hh7hYZJaU1pPN0jCCK4bVGxXlvzyNv3DNX/5kszRP6TaJq6ethInWCOl2FVE2QKLSsYezgEgscg+
EBwQiC5yVQc+JLXpewIbQ+MHWPHMO6YUUzpUqxd517dmHSOD02gxpISWMWAulqzw4YDLRisFbBps
APoov9rTfeF43QH/fV5zcyBuTcEm4wf03Vwn8AO46vdQzzaqv/yizSGthbd1zF1qk6CtH9tL+GUA
56hnYcOA0+Tt46fFLNFBvKoVwDfrWdb5kT5JyXa+lhr4F4tIov39dDsJmlsUXsAi/Bdty3Q6GhTp
u0hBAlr300/5NcfLJTndH1eep6NFPIXqltRS0lo8EXSuoRDqenh4eYIFZXkgM/cU/YACTDrY1TyK
mSCqsqO0dIollpya7KQZtHA6SYQTHpUxGEeSniAwjpOx7wd9WQfCaEPMVeoreDuwdLskk0As5tnv
p/LOv5+lVXAUikUQzU9lA3m4Xs+Wfijfqo/LtuBpd6OqD48VGnDtvejqHs/erTCjO4EobXPMyBMb
kB20hPBvGQlgpBSyZaFioMTzfbhTveuuv18jJXGkEe/GCiIr1EJxCVEqDn803PHNxlLPjYt2NkLg
xpdrzuuVYRT8M3u6CVHFrcEfZRFeZ79d7xL9uD1UvSilq8hhLvYbf62oxnpeHKnp1+YxvBfmw3Ow
dbW4e1yfjfW2JnCdzSQJO5fj3ryd1vXd2dnumoW7Yv39tmbcx/98HV8FSR2ZA4gPr193I0Z5aNVt
1dvU+rVC6J7UzXibVs3odBFaDbBR1as+hoX73ghvczst0hnnVjEv5djYqzWzEFWNYhTU17e5+PvD
yq9W4p8Poy6L4Ap+FtDlzIv72F/XceWgaGRnlLJ1uxppsfXYtoKiCM5mdLB0d3sUmlf42fduvcNs
241pyWglpU4BcbvIjCtCkYrpunNe7eqbQUqKc0tyoJzYCTlk9x4bqC0O817KV1Pz/GqkvVA3gENH
iJPtqFmJTtftjZ5p3kVtbKtno3ZezhW/UG4erk6BnhN776ANt8HaKuU6pa+X/33ojAUvK9tr+RQx
tF4aXR7U0R5gLB6P+l29GOluelrTqGp9aOyUYiettOd62hhX09mmSmM8fsfhfBZzZWPt1yU71OBQ
lzRb1VCevDjboGzq663zuFZzmKDykzJ39PdqZV+C+Ty97LcnpeQp1L0uTpEunfrGDYrt291BJFFc
Sl9/n6pPpqhE0zopsVLFLj9//Zddvp/XmOvjpuxt48ZWX8wVtXs7/gShFWw8ELjmobYx8HeNv4eV
ZzU7z2pZdnasFsuyKfnrJQuDeKNHaNx6FX2IDbqGfhCNDlux0739Le9Gv3rL/5yD34NlHoFNGkWV
Q8xgZVBT0ejcWodNveInu07h4CZl/7jxNxo1uEhr///NMmPowssh2m4xNV6stG/aKk1GqWrdr40a
0MS5lnN0Xv2V/8wSSRQsPM9LKavtrqTpWdkmhZJHt9rt1TtrBxHuG6W0fUxzDPinQ4oyLQkFmg6W
3mgq501S2W5urKe6dVnHysXZHX2O6fzqREdvf8+ZWCZH9p+ZAdVQoePir6jynv86osXLObpVi2nJ
S+fD3X5jw6mrFzehfT56Ogmi+87dJaCQ2ctQ5RxthPznXkr7G324fXjJWW1fy2jqHxK7ut42SqWc
l/XTetTI3NASFtusZpFJ6W2rVw/bpOxdduPNbaYdD0I+C1rcOEGa1M5moOfsQCar88+SQGORQShE
LJyb1yWJ5mpcDB5x2dsBzi5uvMd17T6iu6fGSe9SmzeCWrqK9vumGoXiENJyMkiNa7HQ2iZfl6N3
LVJNSNat9SkVKHqaJ0X39cv2S7nH/4uzK9uNFQmWX4TEXvBaLL26bWy3txfk5RwooNgKKODrb+CR
7j3dbrmlqxmNRnM8BmrJJTIyMmylGub6tVElZynbfy8MXXAYGTh9oFBnF75yobhY2K0RTfrWnJmn
Zn2YS8xA0KyDrqMHUsOg40aAItKyY9oRuCuXLlFKo7Dt3HReX+PfCQmnHrXb4T239kYcbzF2OO1n
D7I6GGdsCbw9C/PcRGmObQ2MTB4VMl7xw5cs5rLJDrIC0PXtb+22f46jlY0GiU18igMmhn5D3Ehm
HRXDTuNbN3+CiebX7vaFE4ZHLgZaxwwFpIKn2y2nwYotXsKQkFXrfMQzbhzHyT90RlTOK+FcwdDO
AIbv7YLwFXRN0Gq55D5nlsuyi0ytYkeLkjZbTUWKAUlVedDrgvYyeRnc7jBjqHPKrAGnj3l9Yvuy
D9JyZ7GWujIJiLp1jICl2LApHE3LE10dVK3ytzL/Kv0bbHJKVTFSiA3TmNQ7PruvwkTYJL3RKm/a
pln9bou/NSDPXA78HHYNohrL7MjFfv6zbdKRso9rU484ycNSERtL5NsmySMHDKASjVFWu0tsuSVm
RjscOmlds2PLpfzxBo6xaD1hIgka/U7foEcYxHVT6JEKecpi/psqSWAzDLThBW37mFaiD+K+DCwN
15PFfq/V3jwktHSh+6feNGRVVnmosQm8dgM/zR5L56maZtqxXVfHB7Mx6HVXfem8g977f699dhbc
0TCayq71qB12cmCBYv5dTFxnIjzpaCHfu6KlV4/gGcTyfQTRhI++aRx7A9PYz848DmWFRbG1KO/v
i2Ty59bw1CJQcIySzym9r/M+lM6NgJ/7f5wUTDFwliIJ+OTntqqVSZbFBtejnqeUYRh6RtUe0/cQ
TFsf+KdqYE++b10rrgVG2oVgBRccgiuYl6LqcK+nhwTD6aRESw6aFeS7zV5S/bBYPV1JqGl0Xh5v
uvwgq5s5TWkFOyetazHLhTgC936RNFoomUjSTl8gL4sWHQOKGmm918oDj/ckeeuGVZyu3fFrKgs6
CD+176vh3SzvxBQM0z3p/lT8vUV93dh15Y1tPuCnRxElzZ0zvukSqpXORlN8Xnzk+LMnG9WV7Ebm
T6a9n9lGqbYjf0RvMZWTQ0eOgcV1YCA7jsNs2lvWlmf7kT8o6bqo7rVxLcVNae86e5fxbWJ9qeYe
02npYIdV50kFEzj2lrbK05UZY7T9jWs8txL8zr9ad9uJW6Z9OBP4XNamx9Cq3rmZoPGuvFT9H628
L8URLGPawtlIErXutmRPsn64csAuGQL0zWB/F719nO7TJW7mXMQKVI4iPvY00UradVGNfLaPWAL2
0/iRaduG3SsNcAprn6pvHbzZuDLLzysvshymc4uEmgV0DpGF43V+HDYzA1wzYq/Td17vWn7s4crI
8JmsnDZqu2PsPnLF6+eP3x98Vh/673KDX4wuch0MVVBVT1dAxQ4kJpNq1GXW3jGrVV3W63TwzOFN
zT+MvqACMuystbymEkEhFWq1z1gfMjzFeueZKvdtPaVzAgJin3qd8mdmxGsm7ieL83eBSWel//tL
X0IGgJpAGQ+RFyJf7Wzb1LocpQENzKjVR58gNmHZVkf5Okf26pZvWX9wxkPbtv4U3wj2zsyRNu5b
Nm3Naoug3L4aVV16I3C1DQsaBQjIIdV0uoxx65pVIpkaOXw3JD21sn1X35TuJlFX+rAR2X4wQ727
afpozLclItQuSKugqjbN8HVldfQLhgMWA4qoUEwC8fg7BPzHwc5q7mQZkurIVlcyiVx2XzhfRvox
AOBityy9ZcmrVmJyqLoqjT9dG43DthHHejjUd6npFe1a6lFW3Q7FHrmF0QTV8GoNKdUw8qcHgdkC
lbTZle0jme+kvsqtKJeg+lUGxdlx9NDFdEP2KeRApY50vXtlGDRfgCjIQT5Gn4U7fMk58UatoJMD
Usv8TtLblj1m8Z1r+6l8c9JPIcDkmZ44e8icT7NGyiZpTRjt2+NUv1vj3rAiW9Y0FYdGf0LuOBdg
1yToSUtvCn7ntk9dk9HBfLUQ30jy2ToPEt3lpjdAJHcMizlS8k8X3nPAK47Z3WwfcuuY6wEAh77c
umRj89WkQEon/5i6u/TPwDpajV/QUKeWnfluQTxRVb5tv7V5ULejp2C4kFsfTXEYlS/VAKCLoUPZ
eKOZ26G/HeXrgP8lUXrPZmD7SUZ/3/YLifwiyIsJ8Isa8I/ZIf2g6CRJxBzpOi6nJ8r7Xn+aC8gl
BYhKfn/WpRDuW59hAeWBHZwfdw6Mqal1PkfVtE4Z96z4vWFr5blDDJBmD0i4mLtGJdLD039/9IUA
fKHxY6iRAUFaxzkL3RyXdamjpXOUyR0igsKNVO257e470OmmleHe//64s3rqt32ExLepolEBKTb0
cU4vtppNOdJefYxgCceYKq3f6d9/D94MppztqQada08HGwFJyGPHvM71JtMzQInjnnxM3ofCg+o5
wmn72qzuC1sOKXDkBAY6GhxUXU7fbTbJUBuNGHH93ufO43kwWltp/J3sFRuefl+I71925qEgswjZ
ESDX6Ms+h6f6yc57yFnKiDR+mfrVuvrgAE8mb2DUQCz64T5Pb2pBzbcOXFmF1p+DTqcjjHML+jAI
nUWgVl4Bzu9LplG9oTa6Hwntnk2FKvd94qUa7i4dUxqbCFKoWXly9GIo6732n6SgOaPK0Qaf+z2F
VsIL7g/si4nICKnrE/+aKmrcpOAiWojivQyA+vuQ0+RFHWhrA7OmyauLcP2J17R7y97KP2ZCyZdQ
qal587F5qI+aQdMbsBHYc99S8pjfGq/DK34gd2jzsJAXjcfflxQFF2zQ+ZounbvLuDaofjhnXkOk
iZIkMZdR6VKHeECPs9T3ya3z1rQU3hTpSHFHXobHfGutGf0w1orXHNzP8q5/4vf8Xt4bu/jJecIi
Gy/d43BbHedH8a6/4z9kr9PT9P5W3c+PDTIbbROvkvsmkk9zSpH2Rc4XaJUgwCPDUWiFdB/G+IXF
1DaQsntGQdXUV3U/Q8TI/XTGdPKkC6YUmaRfTzR2qQnC4eBxcMtjitIB/pmAs40OA7RIcA8lWIGW
E4QLYF7P+DW+nvm29FDVqMEZhU3eAARGSKMBwe18w/TJuGW5h9UeTFqBCq1STaE9p33tZQrVZyow
ffkrV2lXer9vxIV7hN4d1GMI7AqSjbN7ZEg1bkrDGiIbANawMWIvadf1e/wcd+kVK/2dspxuuQ4p
M12F/UIAgyLq6Z2dFFQyll7gyGyezAmlar0I4rbwXP3TkdnOrB8guOgPcvBa1IEM4x4KG8EEcSwU
0GjO47BL3bCyh9DAuXVar86ysK4NqugiSAzuc/e+0xiALlDmybOsX0gLVCZ/YtPwPKllyNoG6X6F
LgQHoZtbHZxmO5HmPkG16ZrNOGsnW4ynjpgW1b5lPIMLdPn0Y1PS1IWUcopyF/dbPQzZcGtrL/Z4
0Bs0LqXTtp2nzah+JLXjJSb3rVm/6dhIyyyhUvLHIZ83qGk41OnzK0Hkz02H2reqIVyDGBheUD99
t65JlMwq3DFS1Q2iKBRmClrLo95UYam9zNaVM3YBd9ORYCDGhra4tcxKPn1eHMeopVe5jLqh8dxh
8ngy+5aKe44HO3bsyUm9K7ka6mqzMsYvMxOeznH8hQtnYlNUbRDlKuO8LtSVkiieydjGVZ6Jmm2E
2QauIu4Yk35XxveylLTCNauN6cpnXKhd4jMwdQDp+FK7/I49/4kte4UpheFUY0TkbuCeVkYaLEK8
xD7slqCtAZHjjCYha5WInROQ6p3D3P9+Xy8gErg5mJ4KkwmvjHN2upakFobdD7CbDV+B3+pxcUSI
WqNppLyVUO1M2gouB0PxjM2VJ/8MrU+ebJ9ZbLWULiMZnjyJvZFieKmDC+a8xTrizEDTzTXCzY2m
rtKsDu0RvWAEnbrGblaUoLHBnRyuvNB3EfTMnsCIQBVTwyRCTDc9O8ZOgsbvSWoyUqx51VbWqkGO
30xorp5g3AcSYQ1qp8WYCnHsi5e5FXvSN55l3uMX3oxavmKGSfUC3OnhJWm1sHBXeavfT3bpGxl6
FrvEdwf1RgAPSI1kneRDELOvuDX/VAbbZnHtd+q9cPXQ8XOleJiUal82s++Ke1X34vkekRWd8cuG
9GWuD/W2IKDmxFpgD+PLmLi43ggh+pxCdHGXpP1NOvRhIqpdq37OuQQY+FLOtj8Iba3mic+StSPi
0DHBm3bnjXRx7gBay9h4Qyq6TtVsVS7YaNvcaUZDLQ7ePnd37Uy2NetWPNZ3jUru5cxXv5+MM27Q
t60DUAOYRsVoFsiknW0ExqLOem2mQ0Tg4jBDYdMqrlenAdIzAOKPtoxMfpD9O8Gs+2Z+a2zf0D+F
rt6qiIUcnF6peBwshCStjhOKBfksfHT7U1LOflrb3pSydVPt7TbSZqCWbqHfzIkVVJn+UhYBCjYb
M0UVF6XJ3z8M8je4TWdHDFxKDNi0MQoFOPTy5/9c+al05gFjAIYornKqVK8lb8IZloaVWpB16OsR
n9ao40WR1tgM4UAIOKplmNsG8MZw0Y9Q3NokmifhCyNB5+ZUxkGnJK+du46fpr5YaSw5WE21U7PX
Xnnsyvu4Q8P1SLwiDhEh+VaNLisLiSO/d/K/LaIQ4gAbtoJpTEJHHotsT8RWwCh2xauLcnGRFEj6
fIiDU17FVDdruiSwTdwhMTqy0fJKdw54+pURiYp97euKunKSaaXYr1na+Jreek2Ga42eN1wNjimi
wzDRYfxUJH5NX/pmwnytw0D5eIk5S79SMU321phx6UixwgnFnTOTTTl/KszaknqVDTO14JVZn66n
Pt7gduT50SifpeZV8U401kP+WCtA3coxMGbixdWrNBh1lHA0XoVT+Y2FmMqJCH6zMelrfUKQTTYN
KwLmdF5Z/zXsAdDNx4g3BbqNNBudu0Tx4vGu0V6U6gld7X7fv3CmBHp+rOOWDjK/ccv0CnL5zVo6
OzFIEUyIbUKgCuI0Z34frI2yTKDhFClK5U2CVlZkWRVWFO3HAmk00MGWvCN942kX9HkKGAlNOuXs
DTPa2RgLC3iSPs49KRBS9gIcHLHpBm2VIOIsxLzvdGiuqkdXfSJ83Jjulcj8Qmxw8v5nAaEF3f5c
dbMuapU34qzjdvJVyzPT+yQ5mgjNf79h32LpZ8uFCwYpGswYssGpO3MqvTDz2VDtATWeT1T+HgYe
bw2V3TF33w4pnFrpF4Z71yj1fdzXe0W0t67W+IaWhT0sZ98VqwnJKNs79rFF4G1qaHdKwePIVpWb
U2DrtMkCC+6oRZKDErE5OtSoEGxbwFmikgBS56tS6f3EagODO4FpzmE25tSZDI+k6VtpOK+N2vlm
2q46gLWxITyzJZRbWlihSdxZsfGtgzFuMuJD+M3rBhmWzaFwhlXiUn3qw6qcg+pQu1mom9PWrdBG
lOg+znNePlaWiaKo6U0ox9dFGyYSzQZz4+Uu5KPYamr/1uqnUzKPTGEjcAuCh1GtMeo99jW187LN
cif0iuwkrAcr3rSuvhL3nHVMfJt3zBh0UdDXEDH+APj6QjczWVsAhqsVRzRr2mFdLlY5MvT8trXR
+V6aD6Ld50jhOAI1S6f1sGvggBaTIRTb62p+6HvgQuibLOOGVsoUGUiPYIZcCI5VT6VZwlU4B5vf
DQxOxGcx33Tytca9iZ16NwDy1/uv30+fdcm8I/XUgTpjpjf+OjXvccnGNtXqPkqqu86tVzmB/IAj
FAqQB230MnQm5Pmz5Q/A5os8lPYzsnWZNt7UFt/euMuJjzGe+xpDiejgTkFur00l9+vY+lOgL1YU
h9jYz67hxRz4Z6z6GZRU+21h2ggeaq8dI7uYvHl8nCcSajVClPSvrgcVmzzH9WycX47DmfMxEMg0
kxpm0STFmlRW6Gox+tZ4Ia9dyiUeP7+UmNaN8PJb+/48KRSaVaE4VPaRZHZo9epudqC1VqVhkSWr
DPg2lx92Y69GbVdonNop8I3sgUuDZubgIyCcExM19D5gYwaa2J3eHxTVXjfDrhyKVQpdl1x9UN2w
0PfTzPeGqa8cNT5AYd1rSOjCY+GirZNOeNbcbOVwK1YSMAZJTeR5UCvoDCRFe4y+06kwJ8+sVB9V
VZ0yq1+ZDfeUafbUUJP2yornfVz3fj/02ya0eJCLYByDXq4SbWf1X657mJJDrx1HICedc6soUSP9
uqKTOvmEbPTmo5jSNTzQnAHm1bxG/SQIwAi5FemGu4jfnBsVHlOLG2AHSO0BzgAPq6tdZQ1+1Wmg
eBJ0e6RXMKlTEvR/dxIZAEY0oHIBfO4sl+YZ17VGSfsoZR9demvwg8KuPOKCJ1jknRwLFWuEQOdC
sLMtSI6Jp10k5je3fqmbwBiOHcbGw+oBkvj9Kn7XLc7PHHB7C5kpfAEKf6dXkTXOyPNM9lHhOEHK
Q50jYmLrfOZB/MR74TkJ4Jr6iOjSTefVKEHfSDIvhoEps2sY7wW74C7TPcAYXKg+52Ff0rFqSLSi
i3I7LOPIjA3PKXzSbkfn3rEORIFESGyslxcYuPXW8vvfV+PC0mO0C0pSWHcQnM7Ln9A/t9wu7rso
qZ+KCTiXrqQ+Vp9pz4un+f1h5oWzBGgTksqgJBiQ4D07S/acFXppuSLCqZZogG67NkiJQJDJfDWD
kkCR09ZsPaWraRGPvtrg890td150rbpxqnll93U4kwSlsPlYNf2mqyovy8ifrnqKi+lAzO5Lxu9M
+bC7eQ0WnFcWJJjNQ6KGGeZ6K1FXbCxL9Eihdy4svlbmMCN3DZKpWDM3Rf2G0hxNnGsyghdSWpc4
qLKrFpSuwck4PXQSCHNZOK2IOrFBWd9GDhKLV57udPVaknQJPcBzIAsHPj9M6/ef/5NKuAKDFm1p
iKjQbDpPEPxoIO4g6dCXIdL3RCQ+tw5JZtI6BsECy+KmG92tgvIqCfu0ceTbeJy8ytmGj5gQJQCt
i8iCAXanFYxoWJgfCISa2toM1ezZNfANfaf1r7+ftcuroGFakYMWT6CBZ/BFSeKksjVU5TtyZMpB
g9HWURqaqet+jG5oOa8K6qxEHiujCBpy8xDn7pXz/l3XPTM1iGX+9x2+oel/diLmdgJmhSZA3FOf
Um0/iMkfk/cFaYItuOsSsXfhZebSokjXqCKlh5mjXgz3D+a1+ZHVy7FEwtPQqfmEDp7FrSAjhmek
2SqfPzPe3epiXlvyebAK8DYaNNcrGcooDCEdRHkmI4AQc6GanttAyiudw1k3kGVVa7tFFJU3fpLX
tBxpBjKODnAYKtUrUjMvGZ4TO1lrqDbJAkM2xxiIdO5rBaFJUgR1MoeDOnpa23otkKhxqNAtvskG
TGZM1Fui9oE0D0UFBW99QFQKrLvJqdqiw16BU+yDNhXwclPqxa4TjKgfmNMVy7YcrR9rD0AUTgU6
vmB4nN44jE/lplE1ItJspDh5QPjKTDHu/NpB+/YXPx+0VMpA0iEYFXL6oFQqqZyKXKCYq+669IOJ
LsSY+9vZejMZwZ7sB2vdZNWxhjFvwNJDbsCmJGy4Tq35cyavSY74FYWczLVplh+X8FViB6uJbJvi
swLUkROXosEZZLHcL5LsgIglcIC94TQYTlj9qXIdOwx5nAdue86wwVC2IC+AGumDX/SHFMUEkCI+
lVh/nhNUsBwwLGD4yjIgsPIcEJDZ8oMmtW0pa2907+ssyA0MAe/tMB1fFecOtUgq4AI7IYNulL47
D6gsocM9z/dt2nqDsLxKww8kDRQJjfZKanCBloXSmwm9OOD6yyTSs2yxNoy+bIxBINt9s9qNIR7r
fvR7AGZtlvtJK74dtAsKxRU7stiJH9sL4UXg7JDiQwf16fa2xEnTYiJtlHd7gYRKbY8qfE87bNQE
lAwXUfKoeWQ4xDJCkNcpcDDFZ2xCYII9qP0B6DfOQH8FCbuQ/aNOCsIiZgQ4C23pbD2KnpX1ZNbt
UomOAcaBF+rbjnUz1O0h0/q1RCk1IQdCIhN9EkMMbKYmtMr8pnZWoBUHjtXA1yKmtnE2bCyj4t5q
deIvgTMuLWIQGXD2bGX1lg9DwHrx8vvKWj9v6FLqBV4LvQRgq+cTpS2hxUPD1DZaco/OGf0xLsN4
yIMEBshuEl+gvFt362l8G5Mvve2CxL5tee9VxArH7KjK5gEz6VYab4558tU1eVCAH1ygVyUHCRjJ
UuDyVaEfF5xGlCBKNMJ3fNA56AguJlhfgYCEEBZvnyYc2Okc2sbS+QCuJgoUUmDehi0fMlVDAWje
OFYPQYYx1kNR/bE4CRHEuCgfZVjMHHfTvooK/gzOThfozIXpnaE6g6m1UewemKv6YIBr1s6d0Qtj
InPNrpypnycdj0PFYeEto0vuuyDwj7eyzaGQedm2kZx40OAcu9UGiTL6vAM3UcLC9q4G4z/DouWR
EFMF2YAsUvanl0u4gkzEKdvIEfdNN+9BtPeqVgSIHh/KmF35wIvrCXInGE2oSWGW3+nT3GRQRovx
NuL5wzzu+uaYwCdD5LK76a6x5C+U5ZagHlEu2LfArM9L+RWCanss0hb0V0Bt+b5AIQPpXzq8AJwG
toOk8NAvxrRk0JjpGg2IbeLV+cZt0cWf1b6FgQTXKhkXmguWt8KoOZBKsIjnZrSw+04lnDSR4x5E
n4Fs41DduavIAQinDYkyhIkgJ027Qdmp425yQz0OETy3Sk1Fl4CRSWhhHbJrXvTSi8EQgP+67A0c
6dlZT3kMFG7Km6jo3DBFg0NlgBDZhgt2s5R7TKBUiDf3wHXcaYPpHbSecSzLrYEQxOgy2qI6UsMd
zNpOrYNkuFbK/I98ceIJkCeBTo0JfTiv6CA6w3AGox5me2A1wit0V/jARYrU1wtkKR5ft68TFFMd
Oh1c651o98kYoK5Iuo0C4KQKzDlwZg9gOnqLDJCu0D6nB4a5mXo/rjwGXRAwXKAi+NoNHuFeCQSf
AcjxdQa2NuWoc0FFzfUn6c3tjoDllXkdQi7gR6Wnm35s+mYecOAAYCqzoAHB4pgg4HsuP8pn91i8
t4cKRU9kWY91E+ZtAOJXm69c+y5TwFVYd+nWrtatdXCy27wCHIb1DhWGymMACJ5/9cJHF0OSrkA6
AKwEfCjT1jXAiC6cDL8CFU8G+K3pGGgLHQuomwf5J/DdQUnBRB/NQ/PZ797jQnyP9jrkN6qJohUi
gjMHqLe85Fo7NJEqQIkj9oNLppe8m/xmjGJzvivmeN33xM/cZCvuoPiL9L2ot9CcvTFTy7/yNpfP
72LIYM/AJrbOwgSMsLdkobt1ZLafLeJMdSKw0G+goIHmMYCnawQzaHj5iPaBwfI0hm2sNArMd11I
l3Yz92sZ0w7BDJub0Oa3GVgfI9ifJQDOegQ5GfpbVu3bU1CMqU8asIgBJbFO3y5JsZWyDS+1N3WC
QBcLFuC5aFQUZFCv47FnDImnd2lUzJ8F65Y0kAN9xvidoEsiI0u3PD6Wh3R8Q/CYqACtxxRJkbpN
LTcwMoO6xq6381vTr4whmMDmw9A0wCUoUnsq4LdU9N6AWmjVtGgyWDVz5jNUBpmW+WOPiVakerHJ
n0zf2fVKAETqmkDpP3QswlJk75Ci2p8dOC2trFYFbrrJmpu0rZ9I/ZEiylrggtFGybQD5xNEGlSZ
lgJko7p+Z9dbGE0eC0qghW9mdqCWIMc8FTo/5k4fqKBVD10wwqsnbpQazapMkyfb/cgHL61xlwBx
m7cS9Y8rR+In2LH0f/7fiTjzbS5E2nU3T2Bq+aquFqF9FTSuVwXVgYxHhgq8MlyKSNZfaRCwvcDJ
6gTN+yvtWhdYs6AqAm/BtG19aUM+83qcWGlTZEoduQmCOpCJUInQ0lWOFAR2Xuv/2mnv1bBIsfnH
1KGXW8R01NaT6/gz5gPMBMKIWPDfV+eC418IGg6ae9Ct9J+o7z+xRh+nnTvHcb0sjnQMr5evqQN6
iPCa62n4jwgeC4CKArwdSP4/NJ4HU9EKdD7UEerxhcuWTciyjSkexyq5YgcuRBj/PIqoZy6CmUYC
eQW7jlB2S5GTwIu27gFVeQKsKTWvbO0FDvLyZUv9D5QX8GvOjpjUKp3wClsr668MXUpVPIWZAZ3U
sVujWH3b22Ktdtp9qt7ohuLN2byt6gZEtMkTueEh4wGOzgKrPhYDchUDzXNB32I4RILWbgOqlTYP
Sq0+MsTev+//hcaP5dVBLQcUi4q+cWYvXVPKStFwADpZenNyLFyoy6F4wXUj4DqqMGAhw+Co5RQs
p6Kqtc31ouA3X+DEpUOa4d+3OFvAMpNqUSA5WpI7NgGAbv528g3q8GACNR6IvZyTVV18thUyku7K
HVh++fnDFwnwpbEUYwXOWSUxUwvMFOjrqHCPS5U+W2UwcAJAwJW1/oHC4WiAf4UaMUjzIPWeWYDY
qYAIjvg8tPeBCviRNa9p2XkW+iFjjKfSb1r21ek9ZeXm9yf/yCjwYLRbA24Eaxq3fLEC/9zyzG5V
Vw6qiKq5CRpQzoj7oaiffR6kQB2HolgDefz9kT9u4Nkjz8ICUoC4wZRZRPkUjFCFtR5d9zVxjtYc
lcPr78/Sf6D3y8MALYInhcUF5/D0+xQQxXtjQXUbZT/04wrdgn4tfPj8cqlUKSpKaSSoS8W3EWe7
4FtwVntGG0p0/Mj8DfivJcDMABMFjal0Qs8QdOFhnckVFOOHuT170WWj/tkIgFYsVpUOZWgzgEPw
spcF/IQLvkrB+wnUnD7qHPPUmK539gLUZCLALNDAgPt1InDG8LELWUIrgvlaHfGnITx76BkGV9hm
n4DwICIn3wgV2GcQpxt3QDj7Oa7T6RPqSR4sjMdsJbQCpFV1hkLgURO38Ld6HYzmIa8D0axinntm
vDfuRhIg4f39vPy48GdvqZ/uAtP0SmviHo1ijocX5YUKgO6lq8trF/7iJcBwBdMELIlhZWduCBBa
Pph2LZBBgRrQGvuMqysUO210CjBUf/X+1VGsVaa7KxWcVJ4ewMZkWRaQGBKnfDfF9UpF4eX3z7cu
nUKgVQa8FdigeLXT7zd4m7uV4CIa9PZPlwyhE+t+mylBPz9WCPOqvgtHsCpt1GzSzAyVGOmQ3FW9
uokzULnMj9jKEbtGAoVRW+0CnltBAspWBctiIh5EQkvsz7xYzeObQpyHfAqV9iO3B18HCseU9RIW
T/oXSz7iAUqomeFViMoQF/aWfFdmJxpFE+QauxfkQQPzI6sESqvvOLpM7x6KyUd3PVVHZGHJV4pb
qpXXGncvbd0/a/Qti/LPTR10o0V4XaJigrywrJ3l9C6AvMEnOqMB4ipQ8a3sdOKGcCoJ4jCM/UZF
Djjn6a6U0GKUTaG30RQYn+zgrvUgvsl8E0oCVAU+6IHkhERl0/w11v29+hc0MegffMg/jke+UHQQ
f/RH8Rnr3ghKGOLZnoqKzi21wLplVP+MHyQquY/gChaU/D0wf9BCUQetvHK7ztSPkPyffsg5bTRX
06ziDT6kgOovegmf6k2yHTraNijDgwHlI/GGgoJcmqI8kJGZEzidX2eeCppP4Rccc7Z8odP4gURu
lECrEV3dQQTWQ9pQgHs9oqWcZkfw5q272QnKVf4gzY1NwPsM2DUJsJ8R0vI5lg0ZGXSDQALnzLno
doId6/sWyjyeRb4BkKkJ3R0gU4hOk3jwwGGXz3WMw3/Ns12yVP8+++xMxInKmkLi2X2xiaGKpGI/
EzdkoAz9bhN+soxPv/JcWq5WCoKpUmMbEX47gvzR2gptNb5S2r1og0Lf1dVeBwVQlfvfn3zpogFy
RP8eajYQPjsLisDXSsr/4ey8luPWrjT8RKhCDrdodM4kmxR5g6IkEjlnPP180LFnxCaL7bFDyT7H
LqA3dlj7X3/ox5Fp3x+5hNCU9YNjBFLMqIbpf/MwkHqa/HiQKdfQ0ein0qCOjKc7TO3fmB8Uoll0
F5TeN/nTX22zE1QFZ3s6Aq7pFLKcS7oS+NXZb5ZRcE6VCxhnoP40bqGJn6+WfDxE07jaAOMib70q
n4vKTyOpsUDwo/VQXjL6eEGkzOUAjQ9kdSjkC1+EcOhJh4mqSaNdD807cULyvegoNOo2LqJ9ni2+
/7RfLh0U5Rx9Msk3n7rtdS9qmAGzE6jhJovWnbo1fW0+URvCaIUMJ2u3vjeDPT6V9/BCv3/8l+P/
19OvRsX1R6spUzjEqXoXQUFKkTfBkeVr/zePmmQOEqA9rU68Rj7u3QkEOC81wM/rejlkc8FcKCYG
I2xwN37Tn8vI1SnBYwhrBkqAo3d9dheB4ipqiWFbIj37VbyJ9RDV0aZfVKvCfGg5IVpOb7+S7DpH
gyR2MNmcqr/Xqp/TPSOwWyWl7K1sOVwWdFkA3znPR3rJXANh0WJQi7pQDod3rbgrQneifH3/Wa6E
YKYpcbbBHaf8wFoSl7yrItFL/EZQCz3e4Yohd3dyvG7B5P0Wh/kjXh0TcXjV6i9QthBswzB5KNSS
qaLBB4aCwpXQJ0/NX4aKcWO+yh+hon+/GScwnxJK77U+PGzlSDcjK9op0YsbPpXCMZOOtb7s0Ekx
eQgzQRcb+7MB7PJh5CaTLZrkPHSnUYXe8ANxRrPuU0eATmE5fXnrrj7Nov/79v96PU1Gvk8CHV3Y
q1nmp02kBKWKtVo961vamdgPNOZuSFatumwYQyV+pAN7Y1SuEN5/HkuvhssVgfQIm64em7dFnWSl
5x6ycBWaS7Dc3lo1E+hs5yACzV5ItvEISr6Am99BL79Vi13tI/96Ayy7dDLYaFBd31/7OJAEMdei
HY5WHsY7qfESR/W6wgFE0fZ5bzLDNVuH5mCkKAuTcpFGtwb/4zn173ewFBoOMi2rax6DZAZS31d6
sIOaX0j78jR6p7GO2dfmRXxXlHsxPScDvdzxJeg2lc9IbEZOTsgZxeX7FfTlF7EkBUXXFDoN7PRx
u/EjdCVd0kYHsTOdcBiAtYdVJMMcovyR1Dczj1dJ8Gj44g56F2S6YZdqPXOmXgTG+cbLXHXY/hkZ
yHPaxCgzLfCNj2+jD4kkaHWgH/IoeBTaAJJ/BDmsp6q79E04CzPyqQIQxe5dQUCQKwdjQuA7xJbt
0qyrU0kxz26xCr3yuXKVpxphiRyxE0nyjuw98jzEYe0PkqNr2taVI3iwsPnrvYH4QRbf+7pYyWWz
YtgFnQpd5ZGga10hrlPlMZJmE4SqJ4e4LJxYwFwDdb7na+TXtJD5IF3Hop0m57Z57OAFaepF9PPX
Vo0xce7bFerF0b9T68QR1jKREahUhWCfRPlZ6mCoDhobbnmqNfGio3DMFANvECRi6VupjA8Ix2de
XC9EZEmkVAqVXWbmQqe1lpXlZgCln3k9zOPCcu9Vy44qc6aIOCUMGZqmnsnUYqDFnxE9dCN6G3Qf
l4l8Vqfj0zTXMOax3eq+aCPusRc30A6SazmhHh87PV20qb7uFGmdYDzntfosCeI1GoNtMPSrIhVX
rl3lLtttXPy4MSWm+Xe9UUGv04GWaSVSPX+cETiEmUWoePG9/9Du+PAz4w6WdPg4K2eaQG/FZgP7
/pFfrU6sc6CuGlhUmtcuo20VdU3oBfGubzZ9vhHUvewftHRZkdQTRzceBif0qx+IgYnOPqDAJb/a
EqPeCsU+k60DmzzfJO63ShysdUyR5PLR8oqlpKZzV0xtA9KH8qtUjWXvvnbZqclPXYIFLESgOKf0
0X+6ySFAItIWq1ZYGOa4VNzIVutd555id5lrxawQ7geDjs1vLTvWhksdQwYZfZ7gkmUEiagaCrGN
oq8E+Nn5Bn82W/ZpeqVQBsKldOjqvem+l7B0YATpkbUe0MJ4BhZOKBg8NnD+9NzBTkaypgyYYBqE
g9cwiewgjx2pU+0oRc+KH9dFiYjjSt/T5D1sUcAZgz1AOBNaskl05rpqi4JuC8rSUH+EmrJog9Ie
UDaE/QvN/qbedyitEVLN2BpFtBP4yxRhui4bjH6KZdT6uEWMsO8LhLtzYpC/nyJXorVpn0I9S9IB
rW20JwgqP87KdJRCdxQF6zBWG9Gdm+ZMIqYNgd5rMc6iF/0lws/hiCw/vM8u9HkpkuKf4c8KXd6r
Xs+ss4Ki6FRhd3CJQhunDfh60sk7olRSnuU71b3RxLhiSP/zwhLe/sjl4TshfPz4wr2ruHhcsIym
xDvjaehnwVK1rXM/F85VjNk6vavfUGi75fcj9SmXdRop+uooAlQNJOK6iapEVVTVeqGck4P+mkyZ
FIjZi3YuuQ7zr98F1cJD48mWaBvFJom2QnFUL/kR2HxsnVI4AZ6Om2f/zhhn0r7Of7rCzLfVp2Gl
Tb4D3n246sZFItnVEdz7dwDeV9lOszVyiqxbi3X6rB83IwzziaPEBxDyPH2Oj6NYh7FrdJrk3YtL
bxugVlijB0h2REEQJvkSHatt9qTPb3WiP14+/vl26CJhlPP9Jvfpj0+NFLfy40ILdkZNr2eJ3fHI
vaC71HF84+r+x4bv0w/8v0dd84VKqUrFruzQ22CdpBX4vViJo4xvKqs1UFInt45puEMh6nT6y1RA
KwnBdN1ribJlyK3ZVH0rXg/V5Jx2HbzGOzkKd1pAt5pjFFnIMSHMwSu2aquskrGkQ6nJc7/F90Tx
Dr9iJXAyU3GCHoOYekAYIWyLIdK4wLPJxfWpG7WVEPjYhlxyTaN4eu2GvRmsRraGvJw8n7iqwjEz
o3ihCNp6GCC/GMpaKC+q9vL91P4DJ3w3WNPR9ReulwlgncAc6UFtXmOEeDGaQh0J7Uxs93lwlINT
7vnrqZxr3+v6Uqi3XmB6wOcXQGNAMWtaNHw+vgBGu3IvdIp7J57Rwxev1iK9d59T+ryTq4T7FO/H
043fPM217x55tfG1Q+XFLr7yuyqZ+/TThuGoizAPwl9pu/Dy6lGCYoprKTeuPltOn64Ttl0f2FqR
QFKhyFbwW7s5ca9aFP9aI7RhgaERRqPK+jgUAfQoL84TvoV8FtpNitUSNPDstZT26i5HDVnC2/1+
LK4sKf55Jom4XCJILMFS5wpuMqDrN2LQDJOnpaTMtOG+kTch0q2WG7MCcqo4nM+033O2LPoCxcrK
NtLgCMqiVhc1y0PF3vMUxAs5fRCLH4m5LLVFq5zjdKk0P3NpVVR7bt8UbeLPeKmhevBCu4nq+fis
A3HDzbhFwbmS633+TVdTqjEx9RDFfDwnmu0TYqY4/imxx/QYntLAicdd+fyDwM1wLb7jzjX9ONZf
6LiwiNMlHpu9o2Iwk8ys/PE5xY+NjutMdKJfkJMqsr22Vn7jK0h/7ozXUxJPEAnAz1Dpu14VUHre
F30/DOO5opp1MC4nnc2fJ1v/ggQfz3Uzf5TMX4mFmJOaEVFzvx6Inzjp1UKK2bEcKpp0ob7zCRPT
UQvXNn6Y40tZPMjvcYsKzB6VWX2Esm2swjUTeqPjG7owiBAUzpPqEBZWu3YxkVlGkhOFp15egUoX
C9cgs/UZUksqrsd4M+CmFpsOZc1ErsLt6600tmFwdoV9Px5pnAbCJpS5Fj9IS+OOdlflqMde2qf1
o7nNzEkSPo9+CdHByJBYrCRC/vR5cw+/d7gLkn1noPZ14ulSkS2kfullN3o9Xy19wmIg99JaEFF3
fVxiCsQlNRk162DFi7p0NIZGtC2AjHoj+7swu3XYfi6MqRf+et7VkhZaP/bqtAp2pfgYyPshfHT1
0obtOSv1c1DtXRGdbfM+aDflZLeefLWxd2MXKG2dK8QDp4oTUwvbWTxTNtCmkfmqTv38/U6ifIo+
mqqkv3/r1VYiJZmUFbLrHlIZ/qaDcSV0Hmkn1ee4WQ1o3YPZADdSu3ThyXVX9U/zRMe919d8BS+b
V+UsSuD93MvKouuORrzrWqfH9tBbm/gcdc9xfa/CSBybp6I8SND9Au8oFUcDSXIicVk+JOpzr81R
bB5LVXJcDrEk8y6SFR1lPI6HTN6UsXYZoIwK1NS5XGIrWmM0tGkKtAXriIDKeAW/sxKP0nBvyY4R
7QC//OE+LB6yahEFe6Nddv6+MghBgNPoSEwhZVaYLLpZYTjSD4PrDZSCeNm66yRZJeYW6Mo2yoc2
vnjCAXx94P8+4lK46YoZ15p0XOAs1lCgSLb4EmT4CjhJsBB5r2dJX5faHFCgLeddvLWabSRi8bXV
tYMFK7J/nFjzsB61g29gdq0fhfpeIxxa3qYCPErxDq8Sewh+ayb2kcsMy6ywWCYebPR87g87ZGoB
465XG72/77xtKR2DgYvb2vQOoYwJk/cTVwsWJFPU2KDD0IJ3I/rtD47S2z57SHIxYHQm/am3WlDI
Q2qiQ29gsYtrb7Ja3xr6NpeXaHJ6CTv7uZizAaFKX7rhThHXsnfwtJ3U/lTjRWhsNXmT54c0fqpw
M65WiXWJ/FfB26fuvVz/CCEfu4fI34bxXPV2uWq/h5p9wT80NGYhLMBJpAhH3hEFNsvNgFTdWyf1
Xm02YX4SxjU71bDR4P3lC6NfQx/smq0qO4hVWm1rNGsTX1R1F+bbnDcLiAIvcC/QfinJmxSthOFY
g+SFKbmH6I8FpbWF4meRnzGasTvtZ4orcznXKhxpi6WhIRve9v1KzFZdeIwxo3adgfoCjrJfL4QY
/pqtzJXXMVpq3TqN4Uct4n5fxyfT3OS6UxYL1V+a1npEtJ86qKFyyBjjQ2Lui25ZJA+JcZworVyB
As41FEv6+MQO3CKVaedKsMuTY63gpo+e8VEIsNsXfwrwCYPsR97t+x7uq+NL/Ki5QWhz41joult8
NF78ch1ax6jaBSbKxEtFn7QZ7trwhPVxPiwHIJsRx4+ZqqzdfINVF14cNzpSX2Cb7CIS3XjUF/RO
r6n3WTm0eIq20S7l3h/UiPzbZTm8xQ1Xbe2cp9uhfLDEfRA+AwAZwtv3u9gXYDyPh5wAQ9KaAI2r
2tDL0sLI5Srajebety6pcMmLTUzNZwrSjO1vPmhnSuNeFWdC5kGTAbzwXsEIGtFYFcLkfkoCL6Sx
Bu7G9+925cL3T13z97td3dzSsImrQcmls+E59G+c1snX5qtRk6HDTVOCKpoehWLjH6tsEf9OzTW7
kZvv5Hbeu9tlvMgbW30M79cCPeN2L0lzV8N4w16LJADb2paLvGtLDnj9k1JtQS+ULVeZ1sUk6CF8
GMX7+KRvcIc1N7iuhMIS43XwJc9xX+rfhr8wASAvomQzVo2xJmMk02c4e3XOsEBO6B6C4alP5yYY
DrtFId674aIkAMROYfIWtqw/ovyqOaS6BX7P3vhbT9exv5EKthsVXxkQSzsdctxyMH9p1jeGdjr3
r+uvv4bWuDot21zqilpVg90EZWvJSfZ6x8PXVDR4vPiutCzf1nNCRbOb5tGXy5XeFcuY6QngOorV
WmBNt7l7MpVzzoGkRuIuyDYjpg1VajjerwhbDFc6TDBuRTmUAFhARQjzFZa1ldHs65oooPDRC7A7
RhWbi5sCFWoBaag3zyEs6Ux2N00mrmu1x/nmNZLWVbDxgDebUZolYTCLvReXu4L6Qt6EVg3LUVoZ
abMolEtcFwf+cCc0vldxT0icsca8MnzUpkBjtsCRO99gBSdhiJ1UQkVnDKvBUBzgvk1fXibzmSzN
Z64urwKZ62GY4j/ED8a+MdBejA4lY76pxHGCr9leb+AvVzkL/5r4eLUTz0VP9xOiTsadOaCYH84W
Js2ybcpL6UEEwD2jQXBRrtLddTq6e9mi3XodnBSo4KfuPh43ETFsWbnFyyAZb8FRXxbt2v++Flq8
j8WkhnZUH0fBONACESwqjOGlj147IAQQDjGGTQhgiLLEwcBn2bO4SrwyNBDypLBm/ajZkvtTpFiq
zFNuvHSdsspFdSlAwo6aVaheioR4YNe/K610IXAXM5lMQe+A9Af9XkEqFoXo/nzKcS5nKRaadYrH
ijcz+2xhACtqyjIfX1zT+O0b+YbbWqAuAxB4ydMXQ0AjBnckBfg8o1nU/VatVa/h7/QupdlvP9rg
p6kbK1W/k7L7AZL/iO2j/rNqdfvdNaGdJO3jn5ZO6hhitRPwscxee+hMUYEtF3cpWSOQ23sdqp9T
/2MCfttKtKFtk6Xzy/dDSoh7EMOxehvrF1lG4zM8A8igmrdLf7Cne7bgv/fe+/dLXfoKifrrq/1p
Jv2FeLhi3HH8RMM5XLcS+DiaAmc4IFBJj2h6RAP/JVu2bO41mRP9KIrNrejKr484JDv0+gHnSYP9
OG/yKOlirojZrkvecP4MI3Od1tWyFfIlKjB71DZaGyl2jJ8Z+AODHN5aUV8PAggDQAM9AuRNH1/B
LemM1R62LaBbtAgI/zHiaG2GWxf1oe+eCxBd3sNV3kzvxasnJDq32+ikxMMy4ii+8U2ma9D19qsj
cGQ4DAjx1wBr6/UFSbUKVZR8rgOg5rzbsgA04yyZqC6qvdCBkBlOwIUxGaxbt7Q/Crvvnn/1Raox
BMAXsvGsLk08jjZq9OSb60w6C0ecMm0ZTXi/EtSZUD6k6mP/4OlPHiKUqbqeDfGGEmUM7FT7HZ68
FSa2Es72dC5MvGzVY/4UdWtDtMtj+KM5GMfev9Mse2HYwnAvWXTA9MdkLol3ub9NJq3b2Ucn6m8q
zZGyF8GOViNWfbAPW31p/MwxyU32KdU9Jk7WooSiwDG/kC+0MpT7LFtEzT5D5dM9tMpRy5ddugBi
9B9Lc6b/+rNx2zhp5YYDwv8bjy6vcgaagHN4Zb4TPwZrMP2RHAzvwdpUD+m2csLXOrrPo5V/0O08
nScPYGAUPma5Nn+N5iw2trE1axSnq++xA/R+lda8XArEydj1wdqww2jLKl4MP7DqLQ9qMquO0MQi
O+PXsAfAWcsWxcM4n0uz2jqAcmzo1cTYem1j3cn0PdkWbBgg/cccH+1sZx60B4xgq9mw9ZxuykvD
//0YRr98Jqa2T5fEEODu1k8lNM1Qx/2pE8WenMV4HwkOhUW1rPuzgFX3HagrCJT/5nWnMDxhb8iX
VpQbp8SVgd4/Z9ffU3tCJP7abkJdEJRBqIezdD8umtbRMQyPnsef1iFVbGgmKhTABh72unuLpG1Y
2n4HIfDdoxfLMfc4/QoJ6q8t0ddfq80paN+qFAsRigebsBZ59f1S/GJ3lCBcAgfiqYMDzNUlvhJ9
QRC9msLOvdTJXjYewX4tobf7Zv79k2D5f171OFerEsaCElpx9epZqVZKcWD18a5qCHoQl00bzATK
jJBzdSYN48qdbP3jk0teRRvtkVgtRO+uc/fBeBjonIO987dFKhio3LTmuJaMsI3ycV31qARX9bBW
krUecCHPXiOuEIlTYkjHyuopY3vv0vnrQFkoKh1CnIvEYCXnwyoYO6ekaILeOEn5TdrRLETfnBh4
czm5r/C1HsiszMNFNTyY8jY0XgR2R2/avekAeg9y9+y5GPP5EFWNUyZzaYjvzM5c6fW5pdnYUKkn
Y2iH6S+12nhG+mj1/roafiiav/TqzVBFM8k89Gry0Agp6lxO10sQOEOy6JLOca11LGLLjzUwJvMG
jm7qBeNG24qwZtbimRH90uhWqhl1nX7A4n4jhOm8WFZIG5KzprnTJtNZ7cIHJfC6eQvTFEdndy+L
J7d0goJQh2iiPj00Kea9YHoqvEcSKfxgsMV2ugq9+tappBxTQycxNlr0qxzDmaqt6nJYYuuMoW2f
X1BxuuoqySCHvrUpxg+iSLpOWXCj8k5yBetVq9kee2THoemKtzb1L0p64g9UptekxoTE9HHhBV2B
gFsd4x1ZV4T4VeP4Q8CnKqbVnAlOMBCcU7lrDTXs9/P6ivT/Z8VzqNLq12FMkXV0teLjrG1Fg9vr
buCSaHijreKaMvWbdfld055p/Zqwcqa6TWywPshe4csMRDTlJcNrXCLhzcvPhnsYnMBpcK6IKOXM
glsl1iWUQyoN7e/f+IuOIOculF6sS+nRXevPe7GoSiIYw2mkPOwE+00mXFLvBvT6BS8Gjftfj7m6
WitxhX+DLMa7AKpLUGFE0aDEdS3Y6u94zzlT4z0IJyfZtzx7MrRsn0By06slrSclNo+DAZmnrfCK
lm/MlT92UlfnPz8f9B2l0SSaufpklV+kbmrkwiGgKcDpkW+UdJ/MY2tNQWK6J8XYJ4jSFHc/jqco
ruxReGGthxmup+KzJS70jOKJDC2yvoMF6QS+gZP4XavvCL3VQDKTp7H/Pd0RkYsG8kqpz1n0qFVP
bLGK9WxWL1L0UBWN3atrFLrLRP5tYhWBa2LhvXbWUYvum2BruHNX/W1asFmI+HlN2k2T0xDQ3yEC
asODYO4000mS4zBuhW4t7wrFGRNiT1Z1f+tbfp4y+FlrKIsswyCh9c8a+OtUk41C7lwZXLtf1/VZ
qnunSqwftaXMy6SewfpZEPM18+UYr9qNSSnPyaUTCYcrSsNiCG+csldmN6w5/qFgSv0nLwrw6OoD
5m7RJl4TpQcRSWF/0duXqO3x8Lp0qmoXVrjBOJS0lQhCHMr28o0Qmyze9DtBSmdil83kTsW/9pRJ
w9z0Qb3YzrQQo0eaKrE4YsKW2z14r8f/TC/CjVi/mIU1b4EvYgFsrm+pf/Z5+aY30bLJ0mXunytf
XRCq2urhpiDPQDV+i10HTPSmhY+qCV+FBmJjrUNYUmmfU1pC4H8JFRUN/aaLz4SQzvTIHrNlKgq2
gvlJTtpOum/huGjpe9HkmB9jrF68kEE4i4FQtDojleTcpv2N5fGZXzeNrgKRejI4NskD+7iVNkEo
GiEb3VYeuRu53rp0vUXe+7MMNjXnS8/Fl/ec2FeAdq5GYACxxUKMStPzbmxW05f8sFR5F2AHoDmD
PGmUwx/fRXRbORCUIqavMCOelZtLXS7vyubERGs4t77fGq+kdP9MLMzGCXfkHIG9Ln98nDmKRlKY
2viwdX7sj4G9ji530fKttu3ZYbMS1viy2NX25mM/lUb8Sk21NMzSiF5j4D8+tquSHJeVJjmIQgYK
FzudhS1ak7xDyQXtvShwFdSqdtzYnbegz/lACrN8abwI0xzvXODY2SCi96pz4vmrqJUXIchOYB3H
Rjx7EvMKe528I/jpbZo63w/arZe/2ugxuPHFKAqTXUUsDxTVYVhyxJXJPJf2jXmDbylPX+B6Qvw1
VNdKDS9IIJdIWU+4+P4o2Q+RN7OXJzzzM3tOKj3Z7b/PxS0VzGdIihWBc57BNzJZGtd8Fr9otKhL
cPVW7rn6NebMBR57GX/ED80BF4Gkn+XSLKSRg4r4riAyRbZpKrNcMDEI6pnIKfGmhDdK6q/GQoUI
CwcPOhcCkqvZWhSZIhZymv0Z+RBWaJVuAKLBWGNqs5F4UaKx8hyMKUPiB0NSngmsICHU6e/ii61H
Bys6ZJCOQt24N7p4aVn+fe3LN/brz7QTpvck78Lmkjf9dM3QzKhH4Owbh3i8F8pV65A3IhFc1OzL
cN2Ua6E/mznWRyui4tLgBuP+M/oxPR0+FzvIBCle0xVdqzbJyYiKQ1LCT/Cw8c38VcsKiXyMqlzi
M6cSwAg3Vj3uIf/MEGQvwwoPdmLHahNXMtpf36+Zz+SPP+9kkAtPNiaEjKsV31e15GtmCSIz2XbV
m8J/n5zUYEnVScW1dW9F/wnn5NN97+qxV1VyG/eRrxGgeAjgMY7+uuVK2sNbl5gDuTSsUwJ5uCbO
XCWd5fQ9DQLeFDxdmqqdKX5yD4lpKP0bB84XG8hk9vS/Y3F1mku+UOg5MPxhgEcfqLEzGYg3AWoH
Nq6i29xks3/5QB4nGRQRhnUtwWgnkqRsBclEqJ/axsOmxQPepze6VI0bG9aXsw/NB1uHCPqG4OPj
3u4mXt8NYRwfNM53oVmWk/2xt5ToOY34A5OJFu1x3sDdeyaFG5frfzt1RIzfArJB8xYx73NZzgyg
6Efwb6KgQf/68XUkcpOlMU+waZ6CWO2Ou4lZUw0Ja9YAQLZB0nq7hCZlJQUk3R57PUeRXxCdFjlW
KlqyDUF9v18Nfwb8alPXCLfRDRlnXxbEdcWBN70f60QejJpuWx7VFjboYr0ZJZzN87XfGevAleek
jbi48Ys0tkbOSOjqRMIpMAl6go27tTT4Dz7ZUUObM8q/ikJykvTHUCcnLaw2mT4+FNK4UYzqIR/1
bWYI9gDG8P1P+WqBSSrVA2cFvMs/GR5/VcqCblXJoGfxAeDdiF88fwPMO3rnJLk1rz5deNk15EmQ
Cc0cJtc151tXUqFXGqiKkTR16ISKBczySV6bAlB1Y9HH/w9uu189VdHAkPGfmtwUrg57r1YjtUnQ
gQhMkZSIrnw/BUbXyGwV91lWll5/Vv40IibCs/5CCWt1F/4iO9sob8jztsfw8fsx/1wjymSnQtel
j0ug5rWssTd6EYmOGe24vUGwyfjextmoqY0y0JHbVOrPzGTMH+HO4d9P1WbSQf64hjpFE9xeTN2D
xlbZ9DIsjnnbHsqocabjtf8t+YteoXb/pXFdMACGxkawdRgMaXOD1v3F0Srj+UlmL76+Uyzl1Y4+
WYS5vqiGO1VchuFrxtmeZU+A/FxaDC5kcX9XgR/5gBIpcOOInDt7/X78gew/FWU8hppZ06ZWuvyn
rP5r1itplRW9Bp8j0ugvBdVWMZc6as8ia+iiE1TEnSWlZQRKHYJvYWmdXdAmqIn/oFI06gLmneJc
EtxTFsh3eeVhlG/OZay7Wrd1zIjIXS52pkKZVSl//q3jCxNK4kYtZgg/Ni4QV5qfkhXmmXAXH3xq
XpdrdiefveBNgRlIn63G4HYEQ0unfLp2PCiCuNNAVhtvm1Uv7HRBtGsqVCyxe6gKAul6ay4qHm1Z
7zxa4K8Z9ufiXeat2bInXke6VZRnY7xUGOhprjcbKxzS2hDiyDKqn0PDoDOIYR1pXSlEmIy0B0lc
l/F7vEhzhz6ucKdgtO7O1JQmHQ0ggHxb4z9MAWo2f1H/7Ys2/2oTTE9trbK7Uzz8qgMiegibGU9W
sIrzaF4N0k9MO2ik4W7bs9ZKOV1JRGK6EuR1FyctzQnzt1Aw5nqi2m6xCWPLNojApWhzPCUjPgyG
TdNG25TIH/pz0yWhb7ib+lgwgm3U/bzF3aAqhlntY9cSXSb0UfeLBbdXpXjxo4a+lrAdMJSjimxb
7Oji9xCvByHSHTc5l3Sag3Qv08XURaz9x36uQLmU0Eb5nrIA5zKQIPPR8nwmVgIKpmpebVyWcuuh
bK+Ytjfm7HSkfDxyMPpTOHUAqlnHn02L1M4wVcE/1vIOK+PKvYeDa+aiE2TT2m1gJ5dSM0VOe8or
lsSa+/9L8Zzumh/f4Hrl6rmWkSY98Tfe4pRgpBPPDYxfWfQAknTj534ueT4+bPr7f63QTk2UsVGE
cKdLmybWbU176cGldcWFhhUvMhO9meWkgFo6bntm92a479lwZ6XVLjfkeaBeyvju+3f68pUmJzCU
c+R7Xlvn9a5RVVpvkJ4LJS0lUeFRT16TZplHj25744j4zFacBvuvh13VmKk+xIFQKs0DoSh2g1Ni
7LxL9uK4C+27u9he/HSdX7i9rx4Pg23P89mtK/4XZeCHF7g+pDRp8j8KmmCXYqUg73WMcRHW4Skw
Vf+cGnBFTYSApK2Qm0vTCssLwk2qS2K8aDf7wVPN+Wny66gniSWkBtSvRmMwMoUtoIc6ZvXOiNtA
Xu4l77HUltFbKmO4bKxJw9Z4xyzVnKp7//7Lf4EwMRgGX92A+D5JSj/OxkbVcsSjzMYekoOviA8U
4gbS3TIxDxbPn/RV5kRh9vdZsYlobcTRmwdpIDBuMWe/nIV/vcpVed6JYyvVowC02UxiVgnnHaAl
uvBW8BgLyxs//MuBt/CJxCabBtWfaIK/lqHfZ3qk1jwtal5DAHDJ3Xc98Y3KEc5WQ5THgOabPRBE
UOnCWdfcWAdflEp/jG8k7L7Y+q7LN6XsdYHYw/zgAofmyQrlmT1o3bGV+5kYX3qVfDLj+caP1r+Y
bQiHUQvqgMecKVdfW0oFLfK05iGxf452NkuWxPbZ+c/YPqT7YbWnD3vLigmQ8KuH4jwBrxDzCZCH
jw/tNJcIzFDyHsxzdgDkeCRzfiOfyx/dxrgfNsMmehw27t44ipt8Zx31Tb8e19GqPSY4z9AafDRg
HsW2u6kOeCyvlFX00j+5a3witjj5r629sqkfg5N3yl+zdfTg/ooeII2tlQ226Cdr6Z1ona/DO22j
bKSNerT24nE8x9t8pR2Cff/kbUzCMG1zna/SVbVwF8FOWlp795itu3V78Y7WyT24d9WTfqecrFW2
0tbmoXjqT+5bdx6P1kpY6Ad/L6wx5S+XzQ3I5A+Afr1BKPp0v4CcyT+vKtxUzuukDIuEcHUbkYEY
rdRkXgUzjUaqOsN0HVII0CSxF/j0Ge7MciEMOZ45H4QVXcL4KX13JTsk6ZL/MjqtCN2HJDNqjNmg
4xk/67sVJKNAW+v63usWenMq2wfvfyg7r+W2ka5dXxGqEAngFJFRpCQqnqAsmUbOGVf/P/C3Dzwa
16j20KPxSCKRu1evN5XOf996v4kt/3Uc6635x/M2qWXawdnK7prXWPMgXwX34w9YFdlje+uJBXgT
OguMGFNcvs5US4sFu3FgaEZA/VsJ2aHcgyxr1YC4oUUayAD5KvZk3Y1TV9Uc/kyH1oMP1l8W+Iw9
FCerHiyNMukhwbGHlDjylCjM3tVjeiVyV1l1aVitWqx1Rc7kRSJi7oXlmoocYrQJ9zEdCT93XPgl
S3UxMYG1tziYZhXE8lnGeXkS3vKX/z5T/8NM/nWqQMNIcMXox/g9gf1xqvIwb+tOHisW1IVPG9kO
KxK6AhJ3ynMM31D4ocQsYpannJWVkM3uighUVQRpnccEO3ItI4zIzpE4N8dK+6nKJwWtjdaehnba
jgbaoRnbVYJGkupeCZ8TfCNMXIVoVwopaIK6MiVVqfFaYdrV8kxpG55omL/1yj2GP3NTn+VJ2eVt
6XcotWhW3Jg2Fcj8S30qp/deTJ17cxrsurulyt6s3taDGHQ/7HPXvGVEDIpojnGCSp+mhEuda3aL
ljV8x/QBxzVY3Jk7iJkDSgMNQ9GuKmjROP8q0pULbc/BQWn2+qA7MmzsaqRKop2oRFDL4UUGm4sc
/6LcvwzzS0YDulOLnY4z7kBZT2IuDwKkxewyi8irtMTX8tmGVlBueqek9Vc9JTqFcravpXvRrC0x
VL2ErvJaiMsyCwODTCwgLgFhbtHjO09xPhSwZ2AGYoMbcFOmECL3M4YyAcCh1KiWAMU9D72CoDgA
KWiEJYpIJWRh9qTjC2jw0ZAbdJIkFSadckT0uxda052E+6Y5FdO4dgKdTZh5kWw6JimMGxZiHSu3
/FfUnkYArabaYEhZXqbpEoahp8MWjN1YjrE00Z057B7o4pGx6BVYG60AG+54d1LeH1MF11v9fRAH
NDkoAnTZkxrxBGALnGRvBkLW5d5Z8P+PNyxrZ8aVcuPMzxp+WQuSA26qGSs2Ka29cK7slp73CA7W
QpIpllPNQeQhnKaaAN002WoqIRMSrBtETdPiTJt3aNNz/TQ0fjiPbqPmByPeYKr2vmmk/TAM5IiW
lzJpsDfRvKAkmQZX7WkOtgX2buP4ZsC3gPpZTcLODC/peJZF3BI2tikIpFjIZNTOTjcSk8nSJSru
+wEdVsYcsIm3NEK9OdE8YgIYF2YUcjCwhPbYskKOltQt2shviscp2w5zAN26PuqFm2zCvSwMbko8
pfbQjMGR+RCXBWdo3mvGmCBcybqDk5fTNkDRopYhOhr9Xo7lXVBCCOtvQYitTURDkbu6tlYkM83e
xUl+XJ+Lpom3LBD5QLFWPUQD43yD+svtr7BLWdJ/5NhBCDjyhgbyjGqmFwytdZp2650V84FScVv3
PivhjoNpBgomB7Vv8lAXrc3my55kP4h+CJAz7U1K0fAg99nACIB4UDEGSA2wShSybi6PsJ9Q6NQ3
lYZgQfOkTd/14b1pI7tniF53eJLedXXkno0O/F5DXlOtBj6kVLmkGbgxeFivyRD5PdIVht5VcAF4
iru9l6zjzTj6QnRbG9klZw9owgpjhcXP3ZTvBLGxiyk/bObZpR1aj6eU2Lqch2WAip5xMSbpEs9r
vqtxp6y3D5wiinuQFS6E4PQbhCSh4CzcB6xak4UM18xXol0f5FZ4WcUvY+PBfMBIXmK0RzK8Ir4G
nO9+gQeYv9LqsaoNWswao/uwQoqhk4xaEhp0CyeMu6DnFNm8VTMi+yoBWFh4VGGaJVnkDRI4YS8c
u/nUA4yFMBA0nLS5WGLw1m9OooLGEFnmIr5LJK6bjD6d+jaMhO5ql6jD0zvMkaQkToUuZaVlRWrr
xQYWhgKtkzZzOpziKW0PBrYWZWGTXIiZUO7oarxL6m+0wpSIf6vh/piSvi5axXymhQ/e2YeQjNfj
nZNTHp/C9inb3JRBeV1nGzMjKyaWTmmKiTNjmEwynXJLC1eg/bGhLdMm5IhEPzbVTY6qu1xKXbFO
nTox3Gai2CI/dh3v4CN26XtdStuo5GriyIYLScSTtPT7bqEYvKVrNiNtFeYzaJWfs2buDG7PKhjc
sf4k/Oco5JVmd3l4SnTEzdprjQ3hkD5keNQY+iHcvEmtISGBZeGXnmCpJ4kzolfFEd5KteFghK/5
/KNbEA30D1l9LrD84a2Ye9iQUcn5G39KjLTLfdIMdF6hqGZ8jx8ptNnMZygkFSbZL1my1RePHBJd
XwcLq6tgbCLYxbRyJXKPZDs89hTiwH31Xhp/aeVWHXCxdIzYxnoZtxkjd+kXCoBRjT+/NwmMNkcc
QJMvAh+3hpU7yVmbvbzDZgVKiheb7kLE+fyIUrVChpZVuwrjLQFTK1if4/2E3WGBb2AOaUALzMcS
NVGBKDThZp2y+5auWzggLQ61+zApLIPkIc2Wk3eB3y+D2pONaQtIsI+biSTT9gOMIErtqbUxiOCB
zw+MbRue08x0RiSstQTHcy9DQAlj4jbbH1FaeWJE0jThbWSoOimQh8z9XKqyJ8j5oQktA8SLx3dQ
X8XoZxlWe0NjNDU3gDX3GqyNhoCDNssewx7ILLsXN8tWoVoZ8RkzOZI1ilgyeJALTxbmo6bx8I8i
znNGeVcMCF87B4tefCrL5qcaP6izGVm5+pPoWYx+Knp1c+xH8E/mmMAbShMAoEqMkciUtlQVBM3g
XiYnromTQEcFe6/HE1Hy3DucyVo7zYpCqQlvc4qdEAlhAfdF+Gm27/TV5vpeChMQYT8IN2sh0ClP
8FcS7fViBtlBzp4acYc69fcIvsolISgvgtU2p3UKyPXwc1Y29lisgccCgt7sPeuflm7jmMKwlaLF
afp+F4jERTLPZsElJ0Bs3fKEmUu8TxnkFS1EHYpCr7WhICh6vKsD4Jfw3FedC/2DjILGIxNLwbWJ
yT8oGW3n01Q/FaUEqXh1yLuPqR8g2EjRvg7wrqf/O0+3Jb8rRMiY412hX9T2R9keplPbPVYDWcd2
1OH7b+PYJUymZba0YnVEbMvGGuLoljexE4U6YhhQRiFzMbC7S8Rfszb8yAzpqhb4JI8Gdyw0VDoV
CqK8amo/5Ly+LFq0HST1INbjjyHOXUJ4ybJVHYmP2aT3jKU68M9/F+jS2hP5Wp/DbgQlA8AzML/7
51Km6ITaiIc0vwOhowLTqVvHW95NdhS8Mf0qw3ubn6ZytAPp6b83rX636S+rKMGYN00m1+Yd3Dh8
Lxgmo1Wwd1br54q4tcYNws8IaRzNaURBkNxoqViRsQf9KpPDkFxTCrj00KYfQMxD8JIqz/A10c09
Jbic9seN8FE2e3k5tqOnsX7uL2N8NUM6oYXdROsyE0kks2f7jcTu7+cU7ib2WhJZv9qXJsEUZ6ZY
6GJ01Kc7mnJyfB9mzwN90aC+Qt4Yy1Od2grkhO/6kX/rOv3PVpX2BLySL2d0VnCJrhFfHOLV6t5O
DbBWzYd7Ter09yQqDBL/cvMQOg1cCGS1WhD+8+aRlL5qVHWiE9Jxx+fIQLc59icJ450TxS6Jsbjb
TfVrUcDKwLWhww3TjIjAulQaVt0HceMlUW+ZL6pJn8gNxrcyfBGjx/ksiUfjqWr9HKpE4If5HUtk
JhdT+CDnysJ7sl3OaveQDh/B9CYTglKqe6l0g+CHsJY9a5sd+w3CdJS43dVoKqrnUHJkiilj3OfJ
U7x5CDZbWWcFbj4xqyYVYovQOdaAKP2xC1ywGFFxN+YJNKhJXiLpFEl+Kx2IwV5aEIZtrZLeeQeM
PaH87X4IBNLHu6rH9HS/pOcsdPoEb6ktQmm0G607/EqWc1Pe4m47Zc8GudvkzRjbSnBzei5K7pjF
QcLWB1f10tEFzotTFltEi6V+TaN55fp0WHy2rDISVNzIO8rgOkPUHqh6uZON/K5uPkQRTeVOIol5
s29yipgRgl90afPb0pRMkR3j5fN/P8Z/gy1pwZHVBlYH8/Ur2d/MpKyLi8K8g/OKoDALnia0ENFR
jLZteZTi3Zi/pypFzH5a9pNGiNx2I+++2Ym/YIWErGkbDFvXEKN/SW6L3FjUvBWGEzWAk+O/rEpv
ZsoSV2LlhxHGQksyklV3mr00lbBQXtxlU9wtIdb1Lb6SG/PaK/u2YPzvP2tN2AZId1PWO/dDyHXN
5F3nyBiRhP0tT2Yb9SkL0HhdwA2B3YW6NYyVKy75WUVGCIqNtyZefSmO7Pmbvol2enA2heW5Sx86
5lsBMlc8NLAOriWLvDKaP5LEdAR5OurD8CD1dzPmQlXkE77objoInzRHNAfbclcvmGimdx3wrKw0
C46jF5app8bPWuCvhis9Z3ket5EReqvneCM0DHMPJRN7Oh5NcdyaibJHkRoEqOtFBz24jOc3Tiu5
+IvZp9icelmwVCyg24c1H9hAtNCqqo0TnNOyWGli0RnWxRDdLCnbagQzNYpsh9pC3waNHgIYsURl
ZcCeo8dUbTwxOEnyWc2G7QZDQclbllWR8TzOT73W2GP7KWeXeNUokJYhVzKQ2Wc26FZRZHYtnDD7
dQCjnUocvNr0FFM5loGfNzw55keaUyexbJi5jupcYLuCieXrRMDGVN2ZSmK3wkJE54Qo4zpW73qy
sZUW1RRnIygY/wkXSnkbVoue3kdYylBIIg2LTe2ZpG5r1H8awhtQMEPK7Mws6yRN2IWQeBtNv3xz
D/+7iw90CHsG9xbDhIGxwuF/tMqqOg3miDb6HfT3FTSQGZfGpHSxYESNS0cJF0xiFjxNuE3AshWy
3m/24N/jOYodCYcgmAgbuB9fAJRKVlKlEUD9W+wAaBsJwtMmEF2UsHTw0acVmj+UvzRpJ90KFkvq
vTK/lfq7FBypT/57X/4NKQBmYDuoEjllQof4MocmiTgYXTBRITV7Ee1FcdpUT3lhpytIjOfXN5v7
YtW9wqb/3N6XRWFQm2VQpEVxfRbtZUdU+u0lsBBNfsN5X2fEf5ZbqoL7nExyiIk5wVcSNCmquTjG
AmWy/pOeo5VXr8t3COhfQApaWkivFLgbmERvvlxGvLgzqIGb39ZUfbl21RLzqQoR1tINbp9ooayW
Yr0a2bm6IWF6P/7/u+ytMog/dmG91/+4l2PM1MdYF9OjQF3M1rPwzmTdHAUnmmyBMDoUmrr23oas
DZt7BfeMKcZDG4qGNH13af+N2ai6CJ0fm1ucCmXzS1U0CgzYQsbpEIPOCxqgwaWgcKTFVBaOQQcr
7e9TSIHrAiBQlXObP5V0hdr0W7H3X66+jjwGq2FC1Mz/EV7+OCtq1oxQWobiqp4IKbISp3uM3dCC
g2IZW8FvrML+LrTpL88RrQ6K+9+o7L+iVIemFYdA5+B7cU/LmwZ30v4CioT9WOKomVj//dhutL8d
IxRI2YSnxmF+5TSXqW7MmiYHVN09upYAhSTJG58JSISOg20anqo2I5iNfhEs5kqVrVBs4eDp50B/
TKcAa69wr7dnnhS3wCZkdKOwP3QBC379QKqWZXSLrQjpLtgQSKjhj8xK0NROTIa05SX8x2Boxa5k
nc+tdX5/l+3TcO590sE9evpW5NwM5wHSyemaOH5lPWFWb/0wLNeSrI+P3m/vJavc0120KRfd/o5O
NH+PLUaEa2tfr8TWWZvdA6sS53quT4uVeTFvvXrex9m7Wf5ikV/oxNY1sj/YwsOD4D5EzpWArPN0
yO3c1u8MB0xrz6LaMpzLrToQSGdXW7w37igyLGBA23QNNvOp258vpn3xMQp0uxfBHuzO9WmqWRwC
b8KM6TYdlgPmU/3EocWogyULSHGvuoWDqPelOzMzIkEa3z8QFKMZ9VRX39LesJYr2Ju7AE6CUFVv
xdt6lLnLm914PQJvdTUvvA/BIgXZEu3Tu7d7uGFYg8kHwfLb+l36faAT/zccbvF+sWq79WO+hi56
fE7L+ordhR3Et4CD5axNW6AsG396J7e7bW6v774+dDTPP9pb7V/jfWkTd4tQdz8dytuyjfe4mfJr
04EUb+83yms/PJQ+54LvlDZ9Eyv3Q+tGTyb3jd36wfl6XnLbf0jth1vkhGw6crhgMRsL3dvtYkV8
EvO/k/sQ6thXydpN8DXW3w05AAyRbBIznI9r7n7EXM0r/7T2Wdt+rN/OeHfM8bV8VTlbbH3HYexi
N+EOu14rfn5lT9hkyMMdu1evcD5Cy99ZDzu25h22zsFzSgtd9sdZdnXvo7bCAxOsA8RnLccPHDUB
r49F/xKlGpimhNYJKCKiT19DYiqhFIPhlfg8wURtaABhgZyXrJQLRf6RIXZu6POKjK71vpkroJpH
lSZXNYOV6bpnlgxzo4EXyMqWcmViQmixUByT/zucWZyI4rvJQFzTrJFWoDXYWDqgnE7Pvc3BqKaE
k5INrGZpyMA2SGT84rCMEqRjWl20jKbWPJGdTdSqelniH2snlIgPJJPKBtiz+lTWBx//EJlmsaDq
KBgVy5i4brFID4wGs9w5WiBhRuIbk0nY5lIeyT60W3dJeb7kl31MgTx89hX9x5jekyi4qlhsR9Fp
wdi0xVcDxQsi0woBP2ua3aN0pbnIijOv/B47Kl2hGo642bpjIyN6ana4R+s4H+mfGCic4Pxby3yc
w0+zC7F5Bq5petq5+isDQy7ddUXtNJ2O3T/ADR19bUr3IRnh+SI5GU7MqVi4quDlx4AGZZV3Lk60
H0PhG+Ur3ryWVG2Qs3deEcv3g26nGZtJDvjAVuOvYGztPoLwaspuYShXFde9og7OnTbvx2Sya5Ga
fxT8OEbnrRvOmGaPZYEhjDgRYbIEvlqila/Eh6G6KzMWN1V2iiJT9psAi7AgpAcHXLlEOX2Bzh/b
movixPGd2G9FL1a5h5AqZ0WPGxolYPUq1Tm4s+Yjv/CMBwWIOYOyllO3zwo1qFF6q3PyED9Luex0
rXivLfT7V9N+Jv5MSXZVywgn9ziVTrXXYDokExmB1VFBJlJPlHpDw2A0XAkla9K39OLgzI+foXYe
YAV0Orlxefw4A6L+90Ql/wUF0LC2XssUkQA58UvBRz6K3pFimB7T8YleSdchL1ye5vDXnELc11XE
UsZWgoM8fVChBMLT9D/TiqF/ywRsitnXAJfDRSVtHnz/v/fub+UonFIWsyINJPbuC7llk+jZHBip
vsY5wKcn93i3oovhL+R9bY4mML83x3tz+GYF8Hux/qU+hUdEhSLKCoXKVx1UEjexMCcilmdpdkqW
+bXCRFgGmheN8mRgbTKxwkxLAsEnxHsVoVMq4zC4R1AFjsGAkOrauQofognCUxcdTX3ByppxPruM
mM6L087UbrUmbnvBjwKooit8zphtfJRhj45XupsJoqizHocwgK+BwV8fvVmjaURTRBBGN84KDL8j
j0cv3/jmuCVjwe5Zy8n5qzBfl3ogVgJCHtyRalPSjt81o+Fo5PmK80tTfOYQTKIW8yqVaGWjtuXo
/M21+8s67h/n8Eu9OaPUDvpKnu9jgRaYmxPemnvguHnp4SjIYIIjj7a5MxM82r5hpvyFkKjSg4H7
hhKDWIWv9P2ywQuhZWw9Frjez+K9US5uXC2AwNzelY40WLO6tHDEgsCHpTyTPiYV98YIM5po3c2T
wlM/y7eSCSRrJ2cqaKSNipcP3OW69CvDw23oqZyRkH6nO0Py++/FkY76lj2HKAKXbP35H+Ux5lBF
pBZydixeK6dyOk/20x84pOz0x2Q377Pd4mmv+Oy4kje7sj27o5vtyHB6H/jN4og7pVfs1L24Vz7X
3w9/JLv8l+rzCUR1+cK2epXfO692o131Wro4FZ0JEfCR8Pu0Sfg+HxJbG8xbJD5neFX91l29GO6x
VXA3fs/GGEaddi94y8Ww5YfED1z9jaAtu7drd/LWl+HL+42f7TZ+sSPW45dMiozyWbDryWX9aJXX
xh/4zcVTXnt38JrX1m042OhIo8ap3c4BX/Dq5wDTzezYu+zOq+SJruK0NpIp6jFqsz3V0Lb2F/qL
w1agXKSspNVnx7wGqsy16kmc1G0eIXL/LmVTyhOIiB+1X/o0Jc81jHQfzhw1EDbx7lrXrNVN6uI4
5Qk2ubgXaBqO/v8+UrX0k2rFlKryTmADUHKeyOL2Y34ffgGGb2hrvIqCcy2goKDY+PydaNgLrn5n
uusHfWKraUv+y3Hj9G/RR4P3pi2+MU7wwuPch3tiD3tg/q3yjlWidRks0w2ch5yPWoun6QUO/GPi
BbiND9b6w9xWLxJj9752sDd0NRcszUt+qc7iVy6uZQ489COUKva6OBhOyCkI3Zb9Xo+UavcoHRVn
YxcUXoVTPoUuO/uwFt/BVXlgl3mnup4DV7flc+9J943LQtqtnd6rXPlRc2egJos/HMt8Ycq4AMWt
75Iv4mU9LNM2LnBOKfg3l/QE1MpLvVCfCvbu+nFWbdX9UG3RFakC15dGgT5doU38DLfqs+ZJjuLo
HnCcp2xbX9nOT4Un/f4bhusHamBewY4ae7vwt3Cf+8PW2G12wfp64+/OejSw/ClWQl/dNVvM7ne6
27DoUHehD+9V4FbhvctBOmReusf/103AuOAyYybhtSegtn31e/PmB15x9/UpIfecrA6WB9SWvIXi
/0DfjOL9FJ3/tx/rng2dBdK56z5Sf7MD1bNrR3O1h+Ql9nVOIaP6q+7Lr6Y/ufHP6q66C23xKltk
JjnrK/dwAHab++adNHqHzjjW/N2D/kNxM7cVncy1c6fz1ZfcS9zc657ELW5zH/NH4Rd+5mN9xr8t
r35LUWPuzF2/jW4ZP4puga07hn0QHzYuEeq+vhvxyN4mp+w0H4qTkVvCrjqJBwEMdRft58O8rfzU
6/zOz9kumJ67vA/3FbWSKzoK+6u49UV2Jo5AOil2fBF/729ny47q1bvgtd2Zfs2/yl7wZW9wMfQj
aBzTJLjIdiXafBQhP+f+zMLYXw8n4b/r13kLGSC09J2205zIL7cbd7qoNPzd+AWvC/dg2A445FX/
qVE8WpoTfzAkcUzKTn3QnHWgomOLX9wusHm5gV3wSr2GT0+9yE1c46V+5DT//n8CAs/VfbNfT3/I
6S49HOg4rZwILLZpKWNUAH6/G7fZCc8BfxNa/aFnixs38oVrwpmft/JLtF9P13qqCrezl5N0ovTm
YPoz+L4rbiM2Ry6wy/XjGubsDL9/nrfjoT+YOyK10MTsAlcOrcQeRstwAzfzhTdKAK99oR70kaV/
U/f87mx+qXuos5Be0ZoASNh86b3WDQY/bbxM9zA9sh7eniu8pviV62jcnXa5657na/pt5Mm/a1D1
H1tdf/7HhFewHsIjrS+usPbchZEIzYDo0ZN3fv53TfJb+Puv4yOImYYMylREo//c0ixLtTIhmjgC
OjudOTgD3tjqprDmLnaNmGJAaz0FEECcGcai16jm2mgPvQloqa3EzA690ujEi3LRi9ED4HB1BVtJ
MLcwp0f7wxA239Qyfy0HqM65IIS80kv6ss+GLhiLnObiRXk0e5Bwr76DURhdYsCya3IrTupDc2x2
xS54iE7xj4b+HoZeuWxjbrWVgLsiB4emUtoNxKhYpLzDKjM/dIPyj0Aiu3hr+OuZAfqKruk+3M2Z
PZ+pRx/7T/UxZX37WZNbYMmqXe/Ez/az5Zk9lxrZNGuQZn4kD3TCbOZivBSpA4MEGAInsoq75sl4
+Ob6KWvB/+UCroZadKkxdQAgWH/+x62CKNPUIq0TL/I7UKVWsoS14U1yo0qf9ABGiEHPQKQ/pAH+
hoUpWvJz/DVRUUSOmdlmDzxrdxf1CTvSMP250Nq69Xj6FqCqthnRQ7DaH53s1PizXZrz5sZCO6ks
6coM3kDH8qafWmpDW8rBkm2W99mnelMAPtfzurHrO5ViEWvowDI/BUDJ+p6dws+abQukkZhW+UN8
BgGnp8fa6RHfLdODC8R0wjXpLFiTLeos5uC+9PAQIOtWTSxQNPWH+svQLDl35eIgfDZX/QPCDNMt
UCaUjiKyRcmq8C+ubNjC9nihFRK9aCBWnwqg6Wv4s6IzdemvMuAZdE8rusPFrnjOePVObzyRimo8
6lCZ1AcDkjXtx4y+hDXX0KdWankT2yHNANYM7ybkleykdQ58TBheBh07epo0R34p+6AnWTV6WFz1
wwjWQILhtGDWCp29tNoB0Q0jmSNpVsiFCFzzXZac7lf1zDqF/FM7PxvgYLA6b6wqVdgst+VJu2k/
8AhCVFXTbfqV7jp3ultGtybpmIpozZGwp8mJE2uG2egW75uP5mmjMDRHJqrZxI1qeOcsfFh70a6x
WbdhtlpxBmJLZ+nNtD/a2s/lJwu8fnGIVEOdIiL33dj6Gxjef9/Af3EmIDTyj/v3C55TTKmQN3Nd
oJSa3ZNk3VqndyLL/GbQoK/9tweFNPY1BwRTBnltiP/xoMxjumj12OXHITW2oB9rpl8qZb7c3M0S
z2vVJNs5B+APmPKF1lOH9wBdUD8QqiuF3rpAqnRxK5BcKknGWUlVR6lZ0OLfC06s0bZqZvEpKmdX
1CH/4vM2jBdRhuBtxDvcjI76Jj7B6MV7XP7szMDpOuMZKzg5oQUS7RU5tjfCLccRIcTcu/Lw2tWR
8K45Z0hL0TP3ikojR/blwY/iAe5khJCy3QJkW+pOEKZLPQ5eTAuijD9HcNgAsg6UqRk5Ixyn5raY
2LBir6OoePzt8+C5lL1cftfKfd9HXlT/RAC+xboTM4BtxgLi99diPCrd5qQG5TbP261hKcILHCxX
StZ0tRsiHiW+mZXi5/nwkEfiXh+3g4jBek8DM3js6b8GrbadQ1S5rA/Lebg3k9wNM5yMMgMVnp0P
CCJExRIjRiSsAJcqO2jKGu5Aex2frGBXSCf0LgAxBI/hSzlTnaJnXY2RnnQ93OEWBzYEN7nvfo0L
6w1Fs9L8nohdUHrTMYBvtbyHnzaQTUptET2vwTtRFNsrmjMb9POPcze4Wzpsqz0y3tzoocpp2fbk
0AXNt36k6/z0ZcjGCGGzGpMYCoXFl+WsqBltFUpacQX7sj7ogewGd4V4lG+eLVn+siHyAenWSGgd
2RRy7S9zg1EYuFK0mIS94uZ9Ol13VPaXznKPR3u/v986+Xc6nq8L9d8bhNck6lwxaoov6B7yukKh
4yten3Hqs3Lr9WT47yxTrtpLuPbSL4FnWXeVtRct+fDo2qZ/t08sZ/vNfvy2cf/zDH/djy8Hbprj
0KhjJ10Pp9fz6Sw+cehWal9cO7D2T6JV2Tg3b++/ART/5cb5e7MUbrh8oJBX1S9DzDBq9aBnwXR1
XpnYLOZGNJ8Pn8vdYPvq+WUh6cXe286vLczZxLp3kv3M128O/n+Ulj+PfrUTWX1GZAyldDo+X4ZU
rRLnKQwl9Y42Uj4Ss5Ye8/AV03ErjrjbypsMtT6uDp2+DZatFFwNLk90xRC4iAbsLD6G+qpJM34G
sKK0l1g+lNqlSk919SNVDxjL5sJdiLgDPp5W71ThmGa7qjuQUwpbrymvQY5Q/UXvyB+5V4Ify/zY
1P4cPw/KDy3x5PYT9klWvQILIJVBHN+N3hK7hehB7asBlsRDl8DG9YkVISNGKg+1jCxM8/rORw8m
3rf9FudNfifoseR0y6NGjAFcVfuY17ggXMZ2tzH9uLpXDZQhpzUMQrybBQdxdTOegvF5M9w26COA
iUqCHvdl5+KwJ2rbQfa1mLMUHrJo18mHediTs5qm8OH3S7gPRz+szpN46iXLMK69bG16Ebvbt1B+
mUUvDdfdLaMLu5pKt2DYRk7RHSQhRCpz2sRPfJZcY7K3I9e1pJqofUwUJPnExprkIkgvBqrsnTC/
0sGFsESwZFje66XPO9L0fjGOcHzn/L6WHvJqHxhvfFPVT0Z2j7e3urlG5jfF5b/MW9YbaUPOowIm
TbP5axh7uuhGnImtcRgbxRNmQC0s+7OEe0Te99GGAMXOlVdNg1C8y/mDasLGrJ9VSHZTytIW4RJO
vMWD2p6+9QjcfF0isW+kcCsyYw37+C/CxNgvSzbCVDmUqsgSl+K6qLbTKKCQK5zAhwvmDGgqQ+7z
KMTIYWSdzORZ69EJQHhT7OPsVyWzRsBZQOYOlJDq5TdTnS2B8O4Fy9WSck+WjvL0Ui4XnZJOfIT5
1wzHpnrWaRgIdwOdBeXWMJ1tjm1XW72Z+nFxHmXzoUj3Y3iB1+iKJCQpSWcbxKOkxkNeozQqlZOo
YmvPyn0GxDNbezFSz6hRaHKt53n3TZH1tfbhZK254IqB/xN/tC8DU9LV5hTKsb5mkiWDLcyLF5Os
bPSzBTl7xe+yhyD8IRs75lQpJlrXcDcbfFnH74bIr0yi33sClwmmCzlUKGX/WYWJbbMZZJmoXAlM
L08Wd+DZFsVtmkxuAtt/GCGKvYTTKUwv6/Czkr981F0Bq379gVZmkBrU+IQIJOG52mBcEZq3cdD3
AY7yZTEfY6zgIRjowoVobqeeheOvVFbvtM44ZxN1WVy8d7Rxde27c/x17iMkmpkbE0NWy+vA+wU3
Erqgj0j9SO+0BoMzBGs44gqb0MvSK/G1SAQMCbtzv4axR3hxRpyAMO474Zs5/zeV9x+D/wrRwCJC
TYvdqiJ/OcGdrqebEQnaFR3tuPH+j7MzbU5Vaff+J7KKSZC3zew8JTF5Y2VlABQFnFA//fl17vPU
iWiFup9ae9d+tVcLdF99Df/B/miDmBAn39y47lsuthRiSUAPb90f7J/dRdT+GLRm+XN7hDcL4Xvz
3jsZX9KgNBajztfZeE/P8+hSvHd0Md0iKHtwzQj1Y13tau1PzCfPTvfs7J49R8Glx4zW9DGB462d
PXwD/9IR6UKZM2jdDm1ccjL0+2WjBytKs42rtXfGlbUUhyY+9o+RSu0tUBG3QX3K/yASc7vN1gdC
w/V4qeaky10dJIaEGaDd0j30V/PWTHMkBKElQCgumHQ7jFYHoIMDwB3hubfuonHuHGj+rnw61H1r
cPHfL6LsESl8zVdE1j04Fv9SS/V2w72rT+J5isz41js9z/IeUEgyDNlza2pH3bVrUPzlgWyJH4eK
ZNSfq0yvFmwBczWHK9NHawi4QS527sWxQqq+XoVi7NgYdUZ2oLgKncvzOEvFZ7kV2X/bGPv5JSC8
27pC+whc4O0bts7HXaKeMHNSY29t+Ur+01zYI0avj4ztEywW/Ix8wLUwQv6OZj96uXcft42voFwX
OGJt6cRubXe7oq1OWrPN+y4VOnW6pDLvPrQODDj/eoT+xJArOGFBjZUqfHEMMxkuL3tnvAJTActn
Pzh/MvYZbA6oIsv/mQYm5tXblVcCN8sQhfePyBdl/jnxgFdX0+otXyOe47aQ/jqAffDSnzhD4WKe
PGieO/jS7HaU5OA2gT09ueQHKPgaIWN15WUNb4nZAep7LYw7DeZsqC2E7dLfGxIRsE/cNjqre7Ee
n99xx0JmJ4evngvwnPbKWT+Z/RP2vh8IXb6jes9IVNsFp7fVpERgXByF6f39jn9k4u7eMSq8HB0I
+Ugp3n7edIlu3zlrVXQg/8mZSu74G+dlmPrH8NgQsu7SZrmVpLWbRHQSOjsysv6qzO0W0izmychH
QDGwiknbcxNyLS4dOjzgbLJmLMExxjrBU87QtaMrwpf0LXgv10uAZYSFS9Yq3J0ik5oDXXdukmAb
hxgI7i13fenHmkevCYpy0zu6C/nyhzMNl61hpqqWdvvDr5ujUa1OZj5abj5b9pKezOe6eE5We6hi
r1t6bRQJomIiQi8MUrPTjiHgxbDRRtf2uZ9D5dntKfuQi8oJLmiwarBACnqaeZ4OLFJas5immu5d
U6ZQ5Y6scj1UgfbHydJtn6c2Jq/vGhlpiuq7Pd2nHyrVfmIoQNVJXZCTWOWfyg54CQ36spVCe0B9
b9+B+xEW+SJXUd/ZMJawbKbhbQeLBtvdma+t/dUxzNH69K2uhtUyOCnQNdBwT5MhGHRoXwqB3mul
481ZE3awPR6EfQ5XYCWu8DM69H29czJb7SCkZb7Z2Qf29QIsomdzKI0rHBAyd32Dxr2xgRC7cnY0
QEwOyckoojbC9urnkdS86nzud3PpCNkiBb7geZEkn/i5+lln+wSdNjWPTppeHK1Mh3G5DHf20U90
R6O/a8NAPCg4eiVfO/3FMBen+KvlmhX6Q0oCq0oRqxboPhsxrIRRRto9Mgs57y9OoracAnOWfIZY
pdOiIdZWZxtstP/eOHd1udzwFpp9mo56nNGut6I2y6uGS0xxoTx1B8dg7kdR8DFGUFYRs5Y7cRuS
rh8thfph/rVevWHeXneKk52wni4GruL5IkqdoP/a7TqT578f7Y75Ix+N2p+DzO1EfifT9l9nubXZ
09vY6ekoMcMtAxuisL3y1Ut/0+5V6uBMTr0bH+kOMGngsnpf6oBXulsmK5gOlMMYdTZmmppQLYid
zjpN6V49LZPPjvaSp+C8L8MzPFlN759gxq5bg2085wMe1rhdYFX698Pc1z/yYcBJ45uKBq+i1IJg
tldzdbsqL/PS6y3eRlE0ZYw7dpzZ9z5cOk0dSpmE175SB3Qsurp0KW1cgm5fXdEG8pbvM7krBjSr
HVoWptv3ht1u6n73Gj7UHcwJZBk5uAnGidWwxamtdjhpxws8WISNXX/jgUhlD56Ex3JPDonDpOHp
jHrTq76eLFF+bYzLvtOCnmmz3sHvXRelB7RELAA7/ntD7mMA1mEA5PNFkCJGr5vI6+Mi+WyK8/er
1+0m3qzh9zzIpHh+kheckvCFxjng9vfstssCpj3P/9wWz0hQCX8wLx3BDDwTwc7rD1F3rujOdBo2
1eMXbwHz18Dh6+26z3y+pZSJIfuSwi0Wg8Eo+voqwpe+58ycyWTS0Awy5BV0u6l4TL6vhvURPsz1
UEOdUMbx3jrNjx66AeH2deszuAc5a3jl5ByuAYVgPRphKukzvhGxu2N63HLz8Hs30UJv2R8PD07q
Lz0atA4u444S4j7Y9E4ebo4OPVGDUl69m0Ke7fiqLQ+W3IwDH+SuY7y2vECIvsNU+pPsrmk7Pjja
vJdfK9bi1LVUAACiSSY7hJRF58hny3nYCbrvTvj5dxz5CXp3H6EDY4VUGbHfdi1PUFfWKc1t9tqi
d3YHADvmI4kojsgM5gCMxwEFw2H4vuzNZmH4uQo+G1+wfJy/fkHttLe3B6Xabth0C4KLRBX/A7bu
i8Ab4hS6EmHYcOX8pP93C1Ls05wBr2XXe9yxgs0lGN3zfLDoBKN/a890IvFa9vsv/VfHCbeDSa/h
LT+4Vfmkv5asRZj4qK5V42rKT+rvBdDrzRNQIOQ9nqRQ+yTcvDQcrjsw5k9M46ZT6JFBSKrr2q3w
TNloh+WJJHnZVcX0oyOGqpcAT/h7Az18NAM5QRv8IKG6Xvadlq3D9mzIR+N87OkpQxAYB5wQL+Q4
fvea9svD40HGoHAYmaTBkLmNjma13ByLZec0N+hUChUEEgrNllB7sXcQS794eTE1AWw3aEVoFTU9
74OEpY38vewVdSAXcwXfLn8lizNTuTwTXiBHAC7OPfvfVfCCdU8DGlIE9vjyr/HCfxSHfq9baxsc
l1oal2eiJTB7wPm5M4aA44dN3Js7NKbcOLK1Sj+O80Ff7vb5rOLU2RwSNs7Jrd57SRe3c3EGeJZ2
qwFAvpMAIuV1NCHtTakgfHy7KPIOLjP6UeY0Fnvy9N8eVjmz0HXJzEE63KoFQ8wdW3ar067mdnhw
01AyN2zvpf+BEhsmvMum2vI+0TFBEfOHo8PHtWtXr53EdA50JZ/vfHMCMJM6ZXx19T64xICsvXvy
TD/+PDxr7iloKjYf7OzbxWtRQoMLdljnV42jlHOlkXp/GfPAI+lhItS7BA0nV6aI9VercX7g3dOr
uNNLtvZX41pdFLncwseYjySSOVjgidd3LvzvpnvtQXbB41FRsLGo2/mmtzurtaqWtL1Yz128wT7K
XBF9kNU5K0ES5Tal+w+yqNvlagd1s0kNa5df5OP5b0gqBfOrWI5jQqHodzV27dqfEevDyX8925QT
id8PWjtCyGNdNJxAWLlHxSdGgygCEhr0t2L45DjfdCnchk95HxxY0YTRDkEPIdGflsmvDNZINyuZ
UmgEh8FpBjcomc0DPiWAOMBtCgPc76Zb9D57Y0mLJFGK99I0r33NDvMlU1/JhxwM/DmNK/C7RAf5
QbuJcMhPG7sxd7PTnxeLTKsNRQ98VT0xjukelytNftLBAEj6cBmMqA6gKU0Nd+x5h/du6YffsTuZ
NIrWPopDlFv/b+lOLQ6dq0JXS1PN5y08OwDvD/fOKTyEhXfxTd8Ik+6q4Xgaj44niZ6hqqbOa657
dSgHqzqpWxLPo9NbINsJnU+Qm517cxpwb+xjpoFPbXCiXhqMx30vY3jtzbpAErdB1av+fe8G3xh2
xOIzbHwb8mnrocNU6SpRphhcxrWsMb3oy7x13FXz59aomKv9KBOGD1M/0Jp29qNtBrmcUTFtOETt
ajGx7Jyr7Hximx0dKhLcEeGpRV8ySMGDXAmy0qbMScaF+rPR6JOEchRTyWluw9Rh11Z3x/ykzRf+
wIe3d3oxXkEGpK4kulrj5Onvs/sw6v9erxYt4IymppYf2NTUXCq1LmhsNrPzNKPI+/x7sYcxmNvd
IgzToyZa1B6uumz3yoHFnrli/JFEvX9xfuRy2CyKsLG/I3/97duEEQStmzvVMKWr0+2Cp2IDX7qV
VfPdx/rZDP5BLwy2YQm+3LMG6gS1UZZtuzC2/n7SO0I5eQxy2p0foIEO5qN2YLVrhuADafC8twNW
BF4+Fh/r6EWjllSfQDc0bZtHDyr9qpAkominOXP7oO3Dtjgw+IrnHUTa1C5UFuU8WdmvthZWr209
wAoi3SG+6BowEZGwLFwG65sV4nzh309+n8Lw4KyEAQF61lR2tz+kaCvxerWKq3nlqP7IjLB9Ezj2
OX+v8qOPXP+wv5epvd+03JhKuSXvX7gDozvCEEXMJbG1M95APY5a0yigZSKG72sOakj/YPNyFKtB
77kxbboPETww0BZwcx1qWL2Ws+WoeFiw8AlGCizhfLAerJ2OeEKFK2yP/37qO7nun131a63a+dE6
p115UFirhP8ieS8K/IxkJIkCHdEvpgrA9YYl72Mtj2ejsCHzUeVOJcY4lkhRAlKb7z3VZTLooFJJ
NwB9T6c9/3utR6Vxh74LRTHoKyhZtU28XNN9js90A1wyFzCPiePPBciWwHsVNPuwFGsKt9pPN6+2
kX4MwbnQpYnhT8j6lbus7MTQqjUH1dh+5DvxfAHMSL9fc31s3L61oMBQGRHhhW6FWDWE7QW44fX7
NmLeYvmdk4tAQqY7ezVYvtEVj19SYwBu4soI7L1Ej3Gkf5zdcrotRGLitoB1hbh8j54ZvyzbgEVe
mctln9d5AQrifQMrpDUtcHSN9ocRM/6i5dCKL6C/TlWdieYVZOTw/JJ96P8Sp0QG2D2qfpJNztto
87TpXt6RaH8Kjl/JCC0Ya5okohglFV1/Wirq23UYP+kQzxl6SBR2zNTj/YQ0mxzNSREXf3eiAz0t
XXyaczeBvpAGh8N48wVN/Q2Du72vqoE5UoMVBObRv2WAzSX8KfSbgHRH2mhPZ+q0dlZQoSodphRi
cc558sJ8Qp8wr9Pgbawmq38lQ0FcucOVRUfzkvn6pFzY7xbPhbfeOUTWKirXvnYE10TDU0fMD22Z
YPeeTdXncjw8B9wU1J3IaKHfKEeUnxsf0BaDuBbytk6Mjh3j3rZXdNOXa+YkfTMZVYiRlosNDiwX
t/1pjS+o6YyQsUN80j977SecEzGdT6hoZYBevVUvqNolQJwc9eodpubL8ACM5qu6utdKqF/fSaDP
mYqYT9t0bO57CDV0fFQy0oMH8vgCtmbjdEKE+DrhGXXiHhJHYbwUmjiufJQE2+5m1Moi9akEa6fY
bozP7NQsvA22wCP9FR3DI57Gy4aQiar8/WVIWd1GRdlGsEZp12KmlujHyy6m1dUb9C6ZeLNFOxVv
RTRYbPu5WGwwrAGZuOq3xWLXf/PR82DfSF0IMvrCnyf+NPgIPAkM9zwvjfr9POoLGPpRZIWEX3j6
x69I0Hq5uN2t5wzFVrz0g6kfqXDFIqotmTW9D9/VwSyhqUuD7SKGwy7FXkXcmswKhzGPdxIfTGAu
PvnkcEd/autM3KOAfmo33FSPoilsZvoMqLEZ+AnW3sdpeV3m6WlfzbGZhyDZGdjg8s9Ci74spxVc
opU3+TvAPUi2JH+aUMP92KFnZdxejul2V5XbDonr0SF+PMO1iHvKE8RAB7ktD+9Ynx0U7T9N/6lh
6Z98vR7nAHjbum7TJYMmfbt0tjyttruUfP5tPs8HKz8SQ8YHzvd3K+o19dYf5HmQUnWmXUB+uBSt
2j21ORVQeuUIYS3chRm4vu/PpycRsDf2UTd0my6pB9XKzYKdWjm4X5fG5nySTeuclklL+C48UVn9
6rmQnNH9d2q5iwWsinjr5WIA6wOBEssfqb3daC6mXwGSmp7wmBzTHs0dipw5AXhFI9hwuX4kOHY2
ywZdx0FPBGMQrx8MhzSBPh0OQ/WxFf2h1/E9b+96fbgEjvda+a8e9Lahp4AtgvOCZ2youU9d95OK
qnf9WKhH5+3af3Mn+b/QdYbbrTscwoJYh8BqJAz5e5IEn43TLZmO1PfBr09ThxTkuVWd92bnTK3e
Gxjf+dD/0VyJg6Af9L3VdKiJ7iyeNXX65Re/WxZQN/FHNvvt2o7Irdiwy+NSwo5gvnhl/+J2/IbT
dV+ysgnkP7oB8gBFu9st3l5m7Va13pznGdOzbJaMtjg6Hb1x9+X4bwXDtd0QUX+arXcPxZCMpgfD
Ga2+63br03VtL+WkrEcYpUQ+gI1EeiCk4xJFY6/fmrx2AWFCffJnE5sw9vcT64/eKnhNpAQ7+Leo
dfXKmCk6uoZEdAaGrsRz/xut/C2dNNDkQd9kShQzk52EvTx0w9BZhY7rNqXiP2O5+lvglEOwkgBK
bJxuXzskudO1WPMjANIbzhtq4gEmtxyycwQZx50LCmY51OFIkZanwv+Z7OwrwsErziPOflRSR3/m
L5PvwgmfvOE+FRydA7+c2QRMOv+TUnT2+fe7u6PXkEsjGCcrFPStqLdrhQouh8tz2aKTDmUdEZm5
TV6rMuhr6sc9AAxRC8EjJKPVkXts17blOleLtLMuKzAGcCPdQ0TYYZ5cDDVf9xrutAcb4mat2jE7
6Xqy0y8a9otR24+7apBAh214cfJ71r43a2A7iHPOz6Dw9nvH9mUTpykVAcQoSQR3dGYf3NqFgO/7
VAyadvmDVirjK9ggtBeZPd61omy7s83oKshazxLMhWnCBO3pmD4FEWsnZjQO9PGRD9e08sNpy++V
axnC1U7VXSWHg9D75tEcrCTfTTje01OoKA2H+eE+ofUPpII5KM2t2jkqFbu4ngxGLHLikb22w9w5
CPiW4UVygbtNSNCfv6/+HbEsxJKHiEw3s3ZnKjnSQAw/uDM34u1Ndf/tHSbMUWA78GCY9rad7sSK
Go7dgyYqH/PXqrXTcIlPSxnMGH++xb1D9I/xcu5MsfV2OHuzlXDsLgu7DcvSfXmwa3+vW8t/7FVh
tRn40wnyV5HuF5/YYvvIaPmYEb1ZaYC1iHMF2Jo/gV5XYXE59nT9BcVMSmfBIsOKDfUUZ/O1HGN9
ih7pcIndx6vlGTNjVHj2MPFhAo7PIHgH6P8LpD1jX4CsMt7z7soFVgBPOf18nUOV4LTA7A9Mf9eN
YcEbPQ0WdxKsnIQyZDjujA8CKUUs/N40dx+p3maOLIvqkSZTV+Ek6dju6ZW5l3tZdITWL/1q5uFb
uAQZ0mFgvvYzHOlDWLzuoW9TiGJIQQ9mN6GwCY+ONSqfN8O2+FZE/np9WzH+kH+x0u1MkFed5mDr
nM7T0kkTEfumZ74tz6TnOzQA/g4kD65Ppj5gcn8CCUaetWAFvfF/W4/uwhqRfO/fJZJo/JX1zpMP
73XIPkjELAsqweD/77UfZOJEflMisUj/70kSqpKleyOlzSo7kYqzDAb/6CIHkog03Aln1tCfe9Da
uF2v1iXSivbFPF6Oss3qj4DTTHcKbumMSGa85dGWL/r5/zU1uHnI2lnL0nOh5baazc2g070i3KFD
vEHvhKac6kFmRwWvIYg9ON63z1n7prizq1bryHOuBan4mz9K5aQgcTlEH+N+35MQh2zwuW9q5DyA
87AwsFza5ip5iFF7Vut40I/mptLoOwJcAfo9NzPxD551l67M5PxyBfQQCyRGxp5Ksk/tOtwNuypC
ayJ2QmcbuEgfZ3j2gPRhetT0/eVNcRtsb39e7b1kWVnpl1J2vheWeCuRWoymIiJBewVk8tSQBTyo
v25XqwU7ZXvMj+eC1VwXjiHovO0/ChnhDZ/IqJbO5qVpJKPJbOn++ciDsZfDB+nn8/xqo5WHAuE9
OV0t3EWPUVE0l1Mx0afGnM0mz3+f3gcoAfl8/7da7eo6GecqUVRO78D1R8UMEkNIB2vpRojYUGN6
w5AOD/2E73j2jaqJcBvWvy+imAfBUrWopH48BG9ToKq9KjOjDSAR2Ohi4LfEiKLaCb4OInih5gtT
/ztsusIehEt6BzpJPu6+lg2D5XbRY6EdjtcYrCorbl0KeAs1iZXzlTp90gT4kwTLCW2zMQrMzrUQ
DS9dv290QyhgLIW9M1NB7GRu1z+simxr7PaqhJ4EA/8yHO2fIhIiB75Hdyj1QPtx33vxnuBu0qiN
Xxpe+v0Rul2/doTsc6YVuOxe5gNyQBpKV8ER4mPTNEq43ma9plN0P8q4XbB2ivTyEsf6igfuLa7+
29u5rzn/NqFPW3Pa9sY87RjSFX86/iyki8Jb//uJf9DHt4fq5ge0ayUKGrx5x77yA54XvubNkcuc
rTrIbk53ITcHuRKpL04pqhPKV0B60BS2HlyTpPr4SNPNwdwayNHtN79Ym8y2D7zzjXCpLokkjM88
km7HnVCX/f28DzJSRkZYQDA8Au6o/yh6/Aoi+mqbVNWO1RY0IAckAz7NOK4NyMFeF/y3GzaOb35g
njfvGPl92mGAfBhygPitpfjmYZmVSkrgchf6wvoA4x75QADlLMmywFt+xSAZhu+a2zLErJRH7Pu5
6bnvdjazSd2ywKDawBkge9y+ZfN6vmyVDeG6LfZ0p3ygN2OG6t7V8RxGVw0H+T5Wsxy1KL6jBtg8
26o9crZfWufVXt4OmjNAFC0KtCgghHhdhEPDZ7vfeDvIbVJ7yQzIGMByPTOLretJX/PdNtEKkBNH
Z+BSatB7o9KYgoXhTlqFtCEzp+HGvZN/YQsxSSL/4QPbhlYvpxKVUV1hsaYu6faA1P/Np+YYUOlq
xr8vdLL1rsR0g1OAcSTCZ2WYLRo29N2tiKgGxwfSOw59tJhrIWu73exKfAc14GOLNxQgQa5HAX2h
3fOQFLPptN4nXywnqRO2bLzSZJMB7df5UU5pvDzIWf5aPMPw9C6y84oI8ccYw1Dv4yUjWIP3bEw0
76excmGQGPTdbKTa7zCthZZZWcl9vEbYwHAin5JuhLJvtP5C2SKIpugLOE/nH8QEV1THmXxzRTZ8
8fscW/4KfPtkTQGurI4ft5IY6X39zL7u2WKAdB90Dku2a015STnhbNJTG5ohD84SqBydQoLuBGXr
z8zl1ytPt0ZiIO+kzXG3ojdBdysS0UEcfS4mcEhISfy9pe5vYabrkt0tBY3odZq1LbXWAIgkpSUF
HBQnF709WHn/jdp9fg1RyRNtUPoZDec+fQp0g96+6Y40NpFlMn17nvkRMvfRQWp2gDLfbjS7Sg65
kca6vBbAbaPyI3ExKEgj4NMNCNbdLkIS3EeTxhd+Hytvl67dSJ3l+tgu9rxwqaKR07h727pQNKgt
Tt4Q3mk4+2zKA+4SH/nKfz2tcfu01/OqMg/YNc97F1S9ZW5LpjmGlQTmFtkM5DKa0ZEPIsfNmvUr
IT3ssq1c0x3wgjlPxI3AYSyQSEh608l5uFrHgqMtj49RR9PZnU0abyu+Z28xWocyNqMJQoph+t2Q
3utk8vcmfnRSGbb/33q1N5pcDtY1z9jE0IdycfQGb6Q3hEbDBZKZhN0YBKjbtOiDnYPXNmcUm3uw
xXVkSnt77VSdItEJD0fv6g9yJOinJOwAI1U+Y1PJf5+9AQtRyJVxboZtfjcEo3o5arHCevBokoiy
b4DUpx8VvSVS9BGHdOwpvke3KwSUOfnc+f/9S75Zv5a+xucjaM2r/Z8LEBDoWRxQumRiTzRk5po5
38gHN3cA5LerxYabZWuX0Gml6Ndsb6o/927lLdBnB5yTONPLuJ8JXrWHsA1T3e8eM9+GR5aP9Mfa
dT8YqGO7a6yxNt2Hi2OPchGHIyRW5+StH2Mvj1695eKpOwM/0HSGfsApf60tt9+vm0BXEjThD6wN
CFZxRlL9f+nToJZD7e92wzVwnyrfbq5OLQLTQF2rLfmkcoz3hiYqs5UpeZx0ZZArOvGoElIJ8rPh
FT8IFcBfQRDgBYzQiFk7umaxt9t2TPwdoA/gUxEgSXtyhPMOO2jy3DRcuscsSAoeME+N4RI1b73o
NHb57tgpmRvi0CqOExTeETNWnjc75+vq7IbFXoyRshHvYC5mO9G3nNen1K8AJ23ctTtralneiV7+
MAJ//Rx5Mf76yDvz0FHiRAeg7wLg8BVEg3h+GrGu/Yx4Z0MBeN/H+Xn6Dogv9ECYIdUu+451PSwT
Td48A142cChiZAD6ytNpl7uNedx9X4X1KL7QjpH8A7oNt4+3Om3LNubMcj3ZvJMuHtHKD6L2MHh5
AYTVlRdsK5p8YsDl/b2x7optuTQwMxAKcoJbV9TRC724pCXjuA1IpCqIKpRet027937oV1ulFpwq
ZXeMz/YlnwN13br0azydr2Y1nM6fkWc9Fvx6mLp2aKZn8coqzzn1DmrU3RNzBSAe7slRgCrNDkFT
3JPZwF/r1WKPWWJ0vTVs+fJyTCacrf/1su8HewexOBeDV7GPPs7Oe+HEvj62kZS9EBn+/n737anb
V2vXIlJpp3BHJLb3Egy41Edvc3LSiOS/Mz+J6hVMceUOC/IJnHjbTlNN+yBH+7196hlMmedZudyr
5EvuaLB3mDd7Ytr/XzrAbAKUuSFnMh4FQnphzEGpdwiJta3Urjat9EDThKIdDYXBaH4m/15+/m/j
AHT8QAJeqOBhr+7/MX0vfe/Veyc0V70JI5z5Z9MRelSMSDQAkhFtcjjl53j/ik52Yq3z5fmHHIYp
n5Sb/g/eeYmK9UG8r11MeUO0m/9pdCibNsDDs4V8JOQaTeGmrdtD7HaakWxP7ZzLN0NiVkPQfLwc
HftNm/1B8WH9Xqf24nfLVLmaCjwlEPlv1ZArCDYCUVj2ffcRHBeIf5nT1KS5b4Wxv38t+/P4v15u
1U7OWnb4iY30TWj4SqkAB7nm7nevYW/9IM/q59nQyBzBwNKnqZ+ldL07dao2tx6+pM+m144oaFUG
i6eZ4iHM9ZZEYB0D8IKTjTDxuYOHuPdKmMhHLx9mY+L2ZDXbB4hrFEcgGLF42UNKHCfTzVx/Lt6T
dwBMSrQOGIl024V3Dq1h4pYBMoRXb/VeRlYmnmJXHdv9pbdFmRqz738rNKdzF/XubqoJBAqEiS+l
2GMJ0BBIZLD66+Hrl1B6ySgN5Ivu+VxBDMsimD2As4bkjVC1wobY8YML+mvBWkqT2EbrkFkyWnvL
IJ8ihCMY+/aVUX/ve4A4pybC4A0P+ShT/f2Fa/Vdae6M06o05A0BRTZAQGmGfUEcYgmAfP2mm/hL
smUs9ayuFUjRpG1wQAC8CQTw8Kb6/TtqCY2mp9dTa8VO61WI+5fdI3NsptORJhBonhTdWcNzP4qa
Ep8FgMSQSoy19VBwwyXHyBXi9CBmUCS1HDzvzGQKHl4zNe1hwkZvFadVXaWGN2oZ1GGl68VSJSS+
HRJxDU16M5K27xZB9pQEfz+c+mjn/l6sVnFZ2118gT6fcw3jaoR5Avb0TiE0BOCb+FmPen1ANv7v
wWpRcJOThafo9tG3vjg+LRjZXiRdYyIDyFYT73QnaOgy7/v7IR9WHv9pajLpo6Vbu+dPeKBk+j6l
VwDzDtYmcjUw4DifskePnI3TWFk9uNsBDtLTo7cIxbu+Z5b5sbW6XPiGFqQAXCiclw74CXTHEO0X
DU/3YH8y34KOSrTvcLvXnu5AIZKk6BDP8Rv7B6+axxsDThk+db+ZrzTE+UcbBuQxHXidtJc/tY9o
XJfr1sUG8oMxlpMPV24LvzqU1CB7NeWkj3L7X2vdEXOUbL9T9zpvcZHo7qi8itN43U1G5rg9LbzX
Halh67PlDndtgc9VdBqaIZijl2wQj+xIjxpe833C2lEsZjzYSCH0y2TgttA4tS7qzk5JWGVqzCd9
wqxwA6UxDvSTjwdQr2+EyEbC/+7FI/RWHU1cQnO4Zwc0HNoHSdPtT6lFpCzWKwZg8ou/zUeg2ceW
M3beUZuYNHVkHgRbUiPA5tI1XqM9X9tc2NJlm2KTVMQHhY0cbaFBjFHJ2wkYBU2d0gcNCVbj4LCV
aerhnHr7jo3ilGinJYgnxbEQZH023uOeKj5etsP8Mx9vXKWHDNv40jQnfrDRbtet3d+HdayACKVo
BVbvSCGXfxG9vXQQfI0JEgQn2hPh96TXOGW6D798KNJxyeIxGEXUvmTb2B452BcZErGWpOUDpPng
sabsmDbtmwdnV24LREuA61EuW/Wzq+exsiyL8/wA8AuLHVxritBDICtQx3+flgdNEDnVAaj3g2+h
Tr79ksXxeEriAyFXjrLoQfslcR5HTJoPRCgxLULQvt5KDMMdUw4rQj/Z+fsnyIe5TZH4BbRgTMRy
LByXazebmmcrZMx42MukfIZ7BAvMCjofDdnBg0yMZXByZqBC28euy8EkBOSjviJG9dIwx0UHNxxa
Opl41YQS4kPTtaKyIQY/uEg7qIIiGanwJaVI1+3L3R5bqbnbrnRaOmterwUXRCI6VFeAodZxcOof
XY+OtEOE7E3+fq33AFPjdvHal632q2KVZeaJL4uxI31SrgAvWLpS56LAZhWXuGnsNt1yD0o1lpVH
hHeMQospb8HftQxm2NlagiEZOL+DzOYV6zwikrLi7wd80MFi/EkzCSYzON27Dtb2qlmbnbX9ARAs
oIGQzEdTi9kCA8HYjd0meZ0fREJ9p0IflLRwA9hCndRTJoV2rDrcLGuhdU9ogGK+FxQv4Cn3o7BR
FkWWBnerWTJXoCFKDKgFgXY7s1IEsyRmt/JOEdsmLHqme3VU5zTEW8BrEpJ/+ELho8sWGXoETBdu
P128TGMly48XgFY9TM4GEZBJIp33cgYJA7Wm4fvd50NozPxarhbM8ag5tNQzQm9rppuoxf6AdQ+w
XZ6eHDfEfa1hPfn31V8o0RRxHVOGgjpH7UJWsMov+wv93n+aN4KFiCaIBEqCy2RJ9sz+JXOamjkP
ygQeE1gERF60Du7AAsttdSqsPZl74bbB6MNr9D4q13lymnbMPZidE08/V2pjAjphxlf7fgZthBaP
yIlfUNW/bUKATFMYngEwFxJ2REGY2H42FbmP9w1hFRVmDqTy87t+HflMXx9gKh8u8+dnRiOAXiXW
9osSU/blvOF/L7cin5MRn/RUZNxWp0UvL1ncWZ52aPYBFqPb6tNu4FNKMA+Ix+5sMmmKalxIDzaP
ZCmjOUpn7o7gSO2gdqqlVYxaPWg42jduP+XUwF+ZeiwRei/TpcORZrl229ul3hEtwUX6ZYEIafdJ
RQFtL8zB8Rn/2KSk792J2gfR7mPA6e8i41l5OoGY/jINccBvqu2eWo4ZRxVZqo9Z9miDNl7Hx+4j
OL/E3bK77GrdxMknV0xvwn3HQ9oRtaYcP9qOtz64mzESvJi3GqJsu+raUbCVfWmj+dmLJ7ipdzsz
/TnGsW9w2bnbqbLQh/CALQaV/eR72ccpruxWz1rpKM+xCc/t+rKd50NVEfyFa62ncJfgdoSXk+np
m67dmunlGPOR1cVFXd2qvNY1uMzSeRy13q7v6av1fN5jWSXSSuym52+crdapuzLdS4VKd7A5DrW8
e155+cpRP9qL1Q8n+nB01qaovpUJ9kq7/vZLMn13olqcg83IHBoDBJaNgf5q/MMNbfmE6Kv97zTS
F1toxhpCqSIbq1Hnybh4m/c0TCJplOa3euq4FS5lbwAWs7P0T739IJtRpQw34fbjhGPbykXTIGxh
ybx09Oj8uj/5CQLEg6W/rpy4cpSP9sY9P9vOCS8fnOkwUYEJOMVoqRpcYrfcuefSuWCzdnVamO2u
MX5aD7O8r2OxUlZfSfoZN9mWPRh4dzRwEpBNpWcArJnbU2+czuahUAlrulTkySeyZUna1icZlu1K
iuaKjlrYUKvfg6Jh3DHw5sDTo1bQnLtd1irWatmSwDIpbyoZvEiXM9k5em3RU+gdSgQJipo+mU7r
vRpXKuzd4QUCoxuW3sTdDr6Tp5Xz+XeMf1SY3PyqWjKpr7fq/rSh6r04zP3tHh7e+FWinyvwZEc7
oRzJQcW+1xh7H1wuutYBGIYusRwo1mJvegEfvl51wM74RTR6GwFBk4kWSqI7MNix20jQe5Ro3axY
+wDVNT4fTlLODCVtfx1m7hfO2lGO6Mjf7/RRFXuzUO2dJkdls0kyvvTCVUl6KH8ieiQvlmQYfIe9
pnrg0YUJpoGXCVqEirZ+nXRK/IBWMlPHMgw300P4ZZNEmv6GuULesI0bF6t9N6AwxcUseIsboT0j
vx8F8GGWUGw6Pp5ODathlPcg6bl5uNpX2y3peyVLJL6PDrVzWEQKzrgGdribF+ya3xFSrp5bC7Qf
BieQwdKLsE3vuG1ztts+wuj/8F57J8DhvXeKrlGnC7X+4uFRPzVQTv/Iv/EXO/vLiYFoRBb9D09n
1qSqlm3hX0SEDZ2v9CBg32S+GGpm0quACPrr61u7KirOrXuq9s5UWM1sxpxzDEaUb9A7my8kcxsH
yunhE0uNrxeeVDrSJx5Vm4EZho95P0+Rd8/R2R2e7uf6OcqBxjq0DgzzXW12iFEyzlA6+TZDoCzG
2u2ey1K1nye3nF1rDDwyfGds7/gIn3iLESyNCVz4L5eP0TVr8veCVn2MFxz9VWucZnfuETuGgfg+
hymgvrv5w8hGJnzZ2ccYlQYg0jMc7oaqWel2WprdX95Yk8bQrvLfm2dCiJ6MlcusGadA/eMZq/gm
m/z12O32hfdaziChmLm4aC21WzSnK5T1bOlabovXul1DdDHvf183o4Ay3+h3ddBCw/BFTeMNH3xj
vnB5OfNTlTV15PMo0i6Dny+fL6P86WKKH4hiyTZk3+OwZ9jsvc8Y9m53MPFXwWmvHWo6YiiN/iqH
8c2Y/D42dTR4cHh/5n3qNYhpCKe97QvrXVhlN9d7u5ocpwWNjY95ErYzE0ahkd3HbyQUIC5HH1Y1
2w/KFVZdh+WNx+G/ThIzybyTYjUPvx8MPd1cpnDL0rY9+EntdB+3QMc39YaHVU3nysRWFH8k5MnM
x2ff94u64TON0R5hIhlNEqv2WltaFAgqZOzjG4m8zrx/GOo6fVeFN9tIC0iD9b9Ot2Sk7vfVWf1A
aY6YYLG+i2E09fe+aqN2p+v2gJbld4q8aY64Cs0VumqW14L9vWTzAqOMx1XCKUNyNcNDA+NDiD6Y
VIuQJPxgZVpC88Jl6zyGFSdW4lX27JIFkvmi8Igk7s/g37+VOadl8lvYo+j1c1tyKYYU1naj4oTe
UAxFZpE5nQxXFHURyjBuMpf/GkZkp/h9hktRFxhF6CszcmcIQpMW7eHCrBGBO21l3X6MrIzxt8T8
dPP8WijGaAeJ7+9tMamNZmykiVUNNsuuIIQ8Q9OYp3WkIzdOu7ZxOUUrZZ1KO4kj/Md5JgLkr7gV
I4prmVnvu7/Tt+TVnkIAY/aEJ3cI9DOQs5lf4EVPAZUbsH0oQ6LURavIOpktuNY7SLcnlKupx5mq
W8X3uAn3J5NP0e3m2CGAoWI5hkXjyK5OP2zOzOzgqHwCwSShOZok9ikaBT0q2bewYSowviGF/YdM
r6kYFV02s6WE3mvq3/faVZOCKpbR50hgf5nOCbHmNZIN8MqO+fzJCsHvbf6lOQlZzYuGKF7x6d+R
cieqFfNRzOPDFgUN1sxAwIj5wmTkDxYHkZLQfT+7pj8IzZopjPaLxn9ywWTkqgfvY2WtgyjBM7UV
7JShzZltDpvlK8xiaUNQ52EaGzT+TB1p5LiNs/hF2POJ3e/X8f1HmM0BRk76E6bLN8CDtMwj1U72
nYnAd3iPoY54uUL6jcrmXqaYnLnqtjkw1b/pvqWxoD5FeeK7I2qYP+eamUDVLKOdPXiIKm0SpP9+
i7lk3H7K7ZR5sPaM9lSAZJQ18etoOtfpS8vsiW69desVzha5ry1GfwoS5jAreS0CJS8HWXSjhUK2
/bv5TVjbcvQ4Eu0eORCkidJCdtPMgPrZ7uyGejcdZ4SxWfzYClt7VBzFE0nE6We6nlYwhwIRhpRZ
wbotfVnYQ2ahjFDHN/+JJyniGoZPAtUFFUHU1bO4FB8zbGpG5yYbiTVX5mQxKWKWMOp+rmhnudW5
N6EXClBu5YBSqTVqOhsfbGu5uHR27nO3xtShMlKvqLHGvhq1f0J7/eWIzVRZ1QlUBfmisJlUPXEG
nPu+8ZE/n6M9Y0232SH1e9TjjxAaidVgRNWfLZQjZwkhT2TXS5ZLWUze9i08rUam6M9KHdS8F2vy
mSM6sFD6aNSalUjfnKwqIioP2uPJ0aF+mzn5181CiNu4LW8bzBRUd9NLvpGMj3MS2YPqfgA5C8ag
lcSQ4M/cfmJUDw78KnWS/DylYXQaq8snjS7fee/kCM/wf2MDDaNTYSOpNsViaGY/s9+DN2U7GhuP
VLytFMaZ1MV/zdpVHWPsoAPpsUNx7rcBMvUSN7cUq9r0KEdziwLFeXy168cWsysHCDTZiIsfqtUw
Z3eWlVtjpDJDqsx2Lf+151d4g6P2bSABN900RNwEED8M37I/k6CIp6i8Ge2qJVXUbERi3ZIzre81
8L+lvvpcG2cSo1r5Nlve20titTFkt/PuXs6Y8BRxHiQk53WCMWvdMVH8Lcx95mdN0eiRazgZ4/ZX
mNRUit3kqzx8Ys3WSWhTJpx5yyn/5e7q1s1rr6+gvGSIkBfMKF9lmlJLThr5rm6oZLg3LtHNSZ3b
YRYzYNcNZkl13M+/hm1+bBPzsXnH45NRrB8TC0ecV+bk7xNWXuEpqa3DG2U//PIH/jtVm7fIYvr6
22QBGwKIs7TADYj7loYn/LRLXjRD6/1yz6C/L3183PqE7YRkKxCW4oSHmHrwQ8Un7m9Phtyum225
JYpKTeVK1HE/Y76QZbVo7XIIFJJghHjF/HOognHYoEGyJVTpiJB8TqmjXIbLbC1z1rzp4eYMh8I9
+eO54lAYo5nkgmrNFN6swbgt7tBgGcmvYLqsdvWvcsG5aE63/1j3QJs3PzLj1EWcnF+lmfv5dvAH
H3Mc3pwSpSf3Nv9Am/lm7vZ9ZOo7brzEz/+eqdk0hooOtKmIp4A3bqXMJzaQRG7cAwlhZLN2Odjl
w8owa6YSJWHmplYXQQZsypvJRt4qMZvs8+i93f6iEqxcACzGM0dDSw8Jv+tYtZuppbzc/u4qMz/h
bpZh+7EJR/XV00kOsIkepU2JcPPqFqZhLypF5rjDxaR+RwtpKhvtyVLjCdl8sedTv5WFOL2y3Uan
r+63/m7X9XkvxyPi0akjANBi/0F1GmlFWoDee/4aveR9xsXR3VMADVqdCIUh//ZvnVGCFeFEMJ4/
nPQ4WAqllNS5pGa6yQLBrF0wS39RuD4zYnHUfvnb/KJ+Jat78Nr2hIhKKHPGRrTYDb5ofiP+xt7d
YKTInWUaL2dIoltdPFSmoArFxoHtacfC67g3Y4e4uooJUF4+8sofRhl0AjpEWsIHLYiPJWqKVAQI
WL2xt8U6z39h6jJwraegdfOve0DQvVZxJNs20n+VOT7KWF7LrxLjdv3gjbW4SMyp18UEhx8jurs3
a7LXjmqQefVgP5ZDKEy8zD0R9UAZvGhs1Pv+/N6PzuQdm8LT3bGl4Gt19+V3K3ILT7WehoY9bxb1
+vn0VoQ4xie8dRQP+Oz5dO6+nXXtrqESspeZLVJr1eT1ChHTyX+nAM/3gHoTvSRUsrR5sXLTmLjA
1lmalkvQ02YkP5zpJVl1vyPVzBcn//RARRDLO4rYv2T+AhQjfIU3ZX0KEPlbs3Gryn5uyYuuj5No
Q7J7lrEOWPh/UYgpGiIGijrtmoUj3PutiFcRE8f0hs/F7GHVlAvdzCuRlMb7j87TUN6/lsN22DRf
cmLO8D8nl/Bim/40Yf/38G9LjTMN3Y5xcveJJQThizm8eeb1Zc5s+vDs2/Ljd1HtRvuZccMrXFpC
TMS4Oe8Mbd6M32JXLmo3szNv2djolJnr0jkxJZ/kZrtCC6tBD8IroiTAI25Hu2738esYzXD84OCQ
SL1tOTNHEfnVdgi5uo7M1mgBu1Osagjwcvo9a2MGUyPNJ36audLJVebv89RyFTRFVGo+cYY3b0ZO
s7yvdXCryiy/Xj/N4j4Y0wdrpl3q4MHLfWgL6s9jC/lQ7xNGOn6fTR3zveAkgjFkQsDHk72sj8WV
2OQAkhdobRJGGR/ODEchxKpUozlfK7yyqlvFOfFG587NVnXwrbCMuJU9ofaGDa2MbJ542MtEsrP9
wyIT8iSn2OvfpJhvKCbiyd87wFxgCtTgiCK3cWl3lmq/TUwAM4yaQYAf5V/qb7VIFnxwpZl4Ys4e
dy3QdEPjFHMx8iWecI9mGz11lUcoChOCiGlK7jFciTKsHBd8U4ZML9wXh1N8vyhEyESniyoecboH
Ci61iWwdjIyYsrAXca/3PGw55Raq3USPWM+pMzHRTOQxFxyNKLGJGAy0jeaktdF4PnY+/iI1L58t
oTWLfV+jfMcb1NzaGQ6aAXPniXn4sMXXFxHJi+k6IS434a9IM5hAEj/MWSaYaeZYHERcVIwSLPYm
muFiac3C690bkzy5lf4Du05U+LJ/D1KbiiNY9tCbp6BbrTjrGAIR92RE4c1mdhCd2Jo32b0WF8EL
UyBJRYIE3iAtJPimCg7ofzE0Yd9YeWJRYq/vN/5E/OIYl4LFY4C5s+v1hYQXpkeelm9LnUnPF2tr
skZj2JP1wq2PzjitKFek6s1r4yHIvcCj8oI5j5/YlwnvLcId5Iu81ngu6lXnaizQlGP4mafO9EC6
njPlmUCTkoELzYQp598DYdtgDxhHfg80IHqRR0Luj2EnCGQNtSOqBnyOAF4+/oUlFRffTLfZGgie
jWXDv6jsmZ3b8v9fluh7YuN6twZOpvz2/39GtEQ9Mfjo6Ip0xSGtZWHGPJbosklZphoXC95gPjk/
fIzb45mwWqRgaCBKfCtJLgaR/9jiVCTOiSwF5Nzo1n08sfHTo/Nlxi8XdrtSDvw7mFqEwBwDnnuH
PpNxYnhLMi7iOwl+TS0+ER1XK0APir133pFglCaJAnvCiTI/h5aI6OOwiv/OE+tiFbQRP4FGeV3W
SQTUKO1xJFHncz6mesxEMrcuiU0vJ+v6XlyBx83TigOJyX36LQl6tdP5Wt1KoicGQNQm9WNv0ZpL
TCIMP3Sn2LzOFYFFaqlBi6FAa30r8/X9jiXdvqPKe0c1h5J/2LrWfjlT6GXEHcGTz/PFB8/bms9F
s+mi6hdyHAIrnC1CVbuT1dozT9wWQZAr8XVKLNGXntgcS97mZRLfRD196sR/Nhg1h1ZlRx6UG8na
4/IgWgBaaElnvIC0J8jDV/e2TkYjMhmFTGWwXtvRGYNLlo9oOHEkxzTFU4KP0HIiTnVKsJRziokU
nN6Wzctzw+XnBCAjYfXh7cN1HDhX7Btt83wFNYMsEg8qDgxCb9u3D57nKsyKPbk2dXRfCYP/ssU3
vCIqH4wsTO0HokCafzJTd0Yb1w7Yxphsb97AssObCjlPttCsz5duTwRtwTw1iFzhSB5DJpikRrlr
yWVl4zo2d6pF6M4f08XrVk7pTmj2RTBb3EoBlT/4zQeUQTOrZG775Ig1ejsg2SODzJLvRvuOSjRa
73w8f4wgrEXHnN+hXCGBVHDqAlQLjVs08ztPZIW9ib01lL3qPfhEwj+oUQqL3lPe4jTjRbJQW3F/
9w+udCS+Df92LX7oBrbE/tWU28RVT53RsiExKsR+phgxwKxLwVWjpppZNxfNbJ7/xGqIS5VHM0ti
KoGy3L83ac5jHpmtilFk4gzp3B3dgo3JbDFMPc+T/nbGzELrkG2lFzkYViqbJyiXuRWHE2tAxWly
4CXXmSVZepzaDeV/xF5XY3MwxZkQkSfXisOn8hV3TnbK15AVLZuDxpETN2DMMhNgc3ck/kTm7kwc
2WFhoKlC1CBKrJN9MsF1yBMftNzo69rrSZLvF0H1h5QfV1uctY/TQNYwYlFVr+E3eQFD3swiQGEh
2GKeCKnoTQBY2rHWNKcmTmojiymxIHC+i307xaWb797GiUqFOMyN0ZgT+JBZBX7k3xeRjOemsryx
Y9rXzFKWiHtSZ3jzsuLkIbXJV++QA2UpwsSczMXxEPOrI160s5JlGw57SCp5POh5jXPDATxkG41P
bPj9ScYX92HHmO0QcARZr3skrSUIY63PBXKs10FCydloDjOW+MRk7Jn+V1HrhdU3KgNOmSVtNZ62
+b39Jk6+00zyM+4k90twBuMr7MJ98osSe0bfOUeb43mROBhP/sGNWuJOYYXnEriDMJ25y9qJzy2A
DGRcngbi05vZhSLiNoExInGYdnGpExop2zVbwhjMYlLVRyLdzHfiEKXc29ZS2W9l1WJS67C1TtsC
GrQZr5HaiSMO6cnOoxuN2Dr2U3i0jJesrTokcDPOEIJy+8Z8oGSJrp3dPcx4av6HKRZ4DOnpg8Wu
sbfC9Qjj/QlkYxqTUpoTPuFu7dBv51B2/rnjkA//O+ri30/jOo0lEvaTNcwhpVifwoY5zhyYj8FK
ju/HHuLakWiMUL6KAyvs7GAa8z+rmu3tndYqeWqZiY9pz96q8/NhWDVoBRW8+tvRed6HC+0RRydS
lm9kBmNSCufBrAAcZvYMyx69OACF1c8rq7KadeVAjWzyk2NfhrQMqp08Kg7v9X2eOINsnOaypzof
W/pmof5e/Bh8S50vjM7YfzrTa2neQUKAVI3Gvu3PLFJvSlu1gQDuC63qxL+Hkgt8YvzNmDhIbQ3Q
I/WnRgBhInbpPa/n8CYbJyz1UuYYv+zueNrczo89Z/seYv1tDiKQ0edkPts5tWNb3eBb1vyRzl9P
g94ZLZ7YhGc0utAIiRkGBtEoPspObXVOzJOCyTElxZ4CC8OjODoiyI3t/4hoxi5+wfCk9RWyVFij
p4m3G5tXImVX2qtb6iIQbHE4rlM3N6gb2Iq1Qe4W1wX8ZJzW7DRxuPk1a3lfrscbkPF+kfxuk3sY
vnNWOu9j1VijKZSU07hzNGrbiv0M3o7k9ovmm2PI8Ikw65Vl19bH1X9e5pdqPeiSAZTBQNnlvHUG
QWWmuAWAMpTMoqk43Wk44/0dG6zzbk8sRGtp7tv6Uuwi1L5FRCCZ5PZ+stItMk3RjGyU7t/EUfmr
G4JhHy6GZgPj2/efp1ltsCKOCBg/buZiMgPJZcKE6wVdPDjA2AGS9E4xzQfGjdUotnQlWD9PS7lW
tIrXi2FXwsChz9/+8p8ywxX6bucREIQ6T2OL0K85BO9jsS2Wt9KfoGCc8fvk5AFgQGUIam0mmn7+
hJcdsx/4BLz/YLfbaTBypsFrf7obXz7dIN0K8JTYJLhtpFhfistWfPVho1vQiv/M2LSfDqq9jFP+
WQoFRnUOvTrY/yQYA5YCcf1IVhOUwbB7unQRzH8A2faVP2UV01Vj1GHtv50x9lMYF7jExP54IxF7
pBy7lzFws8eByoVzc+fpTfzxahyMwLiLheRPlzf3FozmI9a1P3LdyGqIdv40s+Cnm5uhP4i1hel4
GKFwh4fUy7hBi9qvnfvi9ms/vBMb/psFFQQjNbrHhVmBJDkrzRDYy/6vJDJhxYllvZOhLnSDMGU5
/fpv6lVak2hMWS2QKyfpjRF4u5MDoVnVCXonQyuMIryHbciYLcNA8WQz5dC8/cGtl73/MU/UL+Cd
AOW+TgAXmTdCduEWF8upbrb+zW6CSajOdaf+SdFKDFRykkCIgt83dQ3lIaSF6HKkzmwNrPqbrIrd
ozVVjjh2Y1s5T/P1myzijzld9cQbla9FCTUMe2x//YL1QIblhhLaO68IK+t0lkxq/6JDVcRjMMkb
4uuE6jc70yEoRiQGy6vb8nPd8sYf0Fw6Hzh2d+ftdd5su0rZhzwyCXFmdAKZd7/bjuCJp0feSqN0
cKUQUnmjukFv/3ZmwZMW9vXgMl7nvymaeof79b3EzDDx94xe0XN9HruYwXCXAOtOvoelpxstsM7D
1FYP3O/M+kwZpAo6J98XE54VxeEAKrrd223+iIyZGdVcKgVEBZXxA23+kkqN+WYiK2hs4Y6//oji
zH0SHxFE1bGXH3jyg/fi43bwR+ZiDpzSAO2WhCF4wXBYPqk2AW5bH+fpc5An4dOkT5zopPkbbNEI
mkZQJ8O/P9iT8OECZBFV+zTqu0kEl4xbsrelXeAaYYYk6ZHYzjTOllLA2JD5jEvcHS2zEMJiL2/4
9GFH/RpOkkqEk6RY3/l3uStVfLlOrgqE5rzNn2dcWE+3Rz1jKWpZMmx9u1Os+KVbWZzH783y5Bc7
IL2+J3C4GUuwm4C8xqaAwbttJPtqE2bF6bywks2b0S0SD52AilvnjSx8Iea9waeXbsclhXEzmni5
YpReGmMBSu+5xnhaf1KgO4WzBww0PQwO9WdgBuWSBKp/SNedL7kfDHmLa2UwwZrME7Ncs5H4/sni
ZSO4berUSYJuoezf7FRvPkJg9+plTmCC3qpH5a8BDA+0QMYFd8bIld9mtu/sFPQjTKMMGmLvWXAq
mdOkQH0od3QkvV9oB2QWKznia0WKc3cHD6OLlRZxJHd73gmjejKwwfYtmMLnj5OvDyOj+ApPPO3A
tOKfgK6wboySxR1P/Da0r9w41HzK+YaA3ttNOPx0/cy+1IQBjC8pElTdEJ6SbOnfyMhHYHuBYj2i
3C5oEdLjbFOuaM+OFGvmJRTOamh2VOYTkcKeSw4VlN7jgu1qrGPvjPETqfPwOmccfJVmcVDjxqGM
9tP7BK7WHec+Yssx5F49Jqo/bdKeLCbQbVrIQr4WH83FxtdsxyTxMOQuROp0M8f+6HseT64J8aNK
abS1C/Kgu6MTLaq0zV84avFsmTnqfDTPCoLa+qcl+9rhBYOJMeGATE0ZYorWy6x2qXrpvLSJjuJy
TVRs64mgN/7Gnm+afb1FzMLtmUghJCfEzllNxQq+NDcx1Q/ZzEq9NCsMdEtYqnsKadA0kI9dZpT7
IcX/N72lPcwawYHav74xvEzhvOavg6pQ5pz+UyaaWI07g0pPuE0Csf1gz4LHeYQK7XYWANAQh1Dj
JIMuVmPvdcAloPFN2PUAxvj57LQ9jsF6BPgXh9OTr26FoR7ui8qqM1sL0rg95vsnocedRSZ4JDuZ
4KumqSkfHxnUCthQYxbL1oEsM0rnNfDhmeLa92hOLgPqAJgcdn71Mtq3k23lY+HX1i/pgG5pZr5P
40GM1mNL7v7IMstAPjxUU/tS12P/s5HCPBrN9UN2vP9Uy8dZahzs3LXFL1ZRXRtVpBHX6IaEEwcE
2z0x2uc8KIj/3pxjSiiRupUJIVPoU142ian7uGQEy6fFe2Yk4dQlUArpR1T45hMGSITrwx4rZa4/
YAjEX4qpkLvHH2DfJ9ZqQuBYGg/SdJFCP8xyN/Fkr6n5uTZ87EtYymSCDcUcsS3NrnLON+Lipy2o
HypLppETIbaM+ESzqtQiP74KWZ43+1EhHkAEbmkgYWIQf2qTDJFVE+mxObIjrRpsg68fb/ET0oqt
vJC+1QX73FpwOR0GGC3SlcIyDqZMmqJCBZ05qIocT9cp6R0IROZCoz4lJquvif8hSr5/yc6LBUwY
f6FVFTHSKWYYLE/Y87H9YM6BmCNBk1XjcOnkxPjxr9Ox2Zu6aD/yKpCn/c27HZA0NUr7GbHV2z6c
HHH0/XVQjButKEGX85lkeuQSXy1xDQanjLPtW7ZHussq3O8LhdwY3J+z9U/PRdHjqWIkHKWT/ZSd
DwovpXMvnSS1ZlTwwzIPPiBolKsZ9HpaMsy/m/V9lcybJb0/mLuGk0B9X6HCOPXgQsyCDIh1NwYT
o/pZ0yN0j56Xwp4iVVS4Stw/jHHMPFuYendHKQ2iQXQ2rFkkQmfWYWLV/ug4uupY7xu9CY192gBy
2HyzxiHZlXTsco3aEF0X6U0AUh01kMPenMX3wr4tFKCvBOTyHk0QjGlNKa6RxUmCgSYiaKOt/rgG
BfwbtpPdDUj+2UIlLcJqze38bikAhgkWJSyiavf0ZE48IbI1uXDEGMi4W/fNbI9qBF1Zf1JlzWil
gHN9nfycFpPrJzXzt93hL6lsFMY9XT6pEAA835ycDPeQ7AqOBrP4udPtNNH7PL0B1qUEj7VVTTAd
a81pz3wKf6IgXEEfFpg4l0mzqWe7ExAmzLVHJzFAu3RRwNNIkVzR3QMiYsv+06O/OLyuP2EumydE
gLyHAz6L6/9yKeyAn5bY6Myu/uGOg93R+FiBLxBWVMSSnZ8AgC8rMlVpP+r8h2bISxa++s03GZLc
YNZjyRqxqSD0wIVuDQ6HAuuP5o10a5SYzTK3XiDCM6ePHl8C+iMnD7Vg2bvdOqOiMacbid6D2+Jk
KWuemYYp6g1f0zm1UhVg+eVMXAHQlg6lsYev4Yux49QFZ0f6YbQjcd1malGVf4WUrN/gr69DR1lH
Oah7ZU5pmPk5LMf6HY+oSBP1lh9DxmqS7zYIiN8I3yt3fCEdBeG4bQbvZWirhgH8AsqaUgd2l7nA
Yt4T/+O0HNKXq150p1omyydDkA+vttJYCT77V/z6Tr1pgKm4U8VZVJ35WXUPIxk74xg30gPqXZQ4
oWvjZM3smzfm6qOHGOrzPiwzYYSv0svC0/DDn5HLdTyNcWVqOBOFZmBO0Qygbyq/Jdh92dNV4mMK
wHJAx61yL1+H4OG9PFrLpVhmTigXhOPjmNTAHYF9JNHj8KyMBwd7FOKdAM5c4jRx1HRhhL+LxdO8
xT2I68R4QVACnF3uChpwwsZFRD3GhjrtC4OvevJBdz4CTinILVQGQCLV+9BFZxZb8uNNOfgZzduA
08TIwxed4FQaNsViQjq8HEj66cM/WScAyOXIQtopmFhKYcWoXT9dfOCbKGAS06+14iiOO+v5TRpD
y8GEfIU+e2d0rLbDWXaamgA++JHdej9XxPO2i5lqEpVhfAE9GJzaK8bM18kUpw6lMof2muXMpzWM
OtOccMgUCaLdbvjObJE4AIT0YTWEJvUhO8gRgBbWW6csLRpdIro95tLy4U5rWjKNJuJaC8TEf/5O
d3zG6ka8Knn7bNFfaK6/9COjJUwz8RIkdIyyFxaYjF2LQgVYxH1i5OeR0y5zyAWoD/YmTfc36rJ7
zvFs83YVEIC3py1Lyg/z3su/nyghFv7sbVbhgMgwCSQJE76pXPPqmErKKzve6e/Om4qeicuUpIqC
Gs1w3hNNw990fobh3q+IyMuDAhCBpJYjX0rvTjBy3xB22e8gJxOVVyNyLtZpOSC3bv28LLqAaKdL
nPuG14LnwG0B2m+YaAG5jBz68wejxFfel19K8NhrkWrp/mg5i2fI9dC5iZbX6EAM+1ljr9Cc/exU
L6HCRdAwwLgjBS1sTdy5t9X+JPghwiSaRlEqJa9wOJzrgeyfilAwWYjc5k0ciFcAF+m2079bxe+W
jMxqQR5zZ15B4qpMSXg3Dxe7PHlfrJbz/M29mFI38xcmAdMLl13+3kigTa5QZ0nkQdPCeKyHvaJZ
J9onGDYEYqa2NqbMi+d72GrIfR6AweOmNZWxSfOIzGEgAqEj1ZNEem2eDm9CAFGDE+OBFLIjhAfO
4kZxlDh27zBZvo+zSFBGlAHRSxrUCwkGian7gdv+600KrIOqPgwlmIJ15LuRp5jjfQpiHigBgx/k
/TdyOPnSMcgquhofvaFSlRIkJJQMHJIdJ42k5ZRUm9oF0QG67k+3dO/z7JJHOU0adHFU9pQu5ORc
84VAdsdh2VOQeNmT3Jy8iTnHANWkykrmaltic6LyTeVMocMDQaEnjzuWWGQa/tsW3YHUhqMxuGr0
PhSL5EiAeycVJn8Lb0gwUO+8B6QqMpfSHxYKaMHX/ZBHkv/aTe1nDEZEXn+/oJ+Kqhc5C5C+qW07
b+TdbMV8Rpy0hPRglguiE48iz43TyR/JwMYi61Qv7QJvzdISN3MkCBOpvLrqTESNMpgMUeA0HP9h
L9VFfyUw70gyx7+vaATCKUB4elCibNP8EnGBsZq9L3ArShTN74zU3HweFQuc2wdmX98C8ioCYCLd
E7kk33T3c+oqFktFF1drAZdq/tADGfbexKudci2t7uF4hQeYRfwCsevMqqh9SJQDnvRly+4DKDO1
6TX2737vIF9Rbpb0gywH1INLylbkU8ivalgfxXpSECrd2kvwfwCGpO+08uAVwY1ocecbRaLzYPIH
nIMkNWLzifVr6ijsLtnWg2JSy/BIS0fkYOFRzfqA3p31o9DNV4afjRYqvsCXi4RkVvR99Tbd57I9
9WTz40w3n4UUUiMgh81JS/hV+rXu/5oNIXiL5PnHLrYjq6MRcj5DDx2wDEiy4M1Sr6XToPMqKFGx
MJzzh5scX7saXz/PliKL6ai9cDOIznvrKSoga9n72x8LwaQW7Rlh8iEf8LIzLY3b0XdxmX71ZGRu
U1gvopqFhhkCQHe0YHqfjxL3Azijbka+Zp/858hQl7TS7TIw84KAZwgyd2a/zHEwxUhqS5UjKy3H
vZGuSGNILFXjigXoDRhyyZq0hLDrSvzizwIJdDiolqIUoQV12Iegh4UDa5NxW9eOemCNGbx8B9n5
sziZwjRHGogNHtGt7pb8Zrsr3i+hCJVgsBWf3DUN6C2hML1odrOvlqR7WORhcq72w9jKw2pOh/8W
foWDdBPAUlDaZ/moN2A5OfmTfCRcJs0u/N3DjdO94lI+ixkHo64XWIwLiZq+Er2dLqSYCrY6sYZI
0a0B1wXuQ4nir/7RvYb25SeQE03TL4oIP8BGnZlyMgRbX08X1HLzo5xvwR/HIrDEqRNett/3lOhc
soFoFGtgQcWmpgHO053W302Y/3DKp1MvbzYOcC2DjrFDgt1l5IGLRi14wpvX6C8UnHzxpJRd6Y5D
Q/L8r6qxSMylhlQB2PZAtpl7Txc5x6/7ccD/U7tc6Os08egut02A9CcckiA868JXx4RuiPJgH0FS
qEMCUkzwtMBer6jfPolqRMsMjpaynUB+ZZQldapZylL7UbY0kG/kObUhIRZH5cPLo4c1cZOY5jtr
HLWwN/6o7qrbCC+vr/YjKji8FffuET58OlTmEv2k6apDMxIPpjv6wUzANImmAVTxrlZDu45qA0YT
APWWuiim5icQBZXmV/r6D2fnseQ6k23nV7lxx2II3igkDWAJelcssiaIYhmAoCdBh6fXl+yQuohC
FK7+7kmb859kIjO3XXutU5NXjNojLP1XRpeHB8o3V8YPHVvFRGV+1l5jiLaAyHMHe9xAXzd3d31x
ERlgmsgveS9/T0e7zjmgh6qFIMYJIPYt6xWgnX9sapQsSP0Z2iBNFpwmfZpe7SRcEzuri83XJqSF
/i7+TPamvBa4r+ahnX1tuzfwZm+F4eoU8e/BNbh7urt/E/6tTcCTQqjzsvWL6fLk7aKYHqoowGsd
9hyRxS8ncuo23vShCGOPI3isUqrNMmUI3u+6SWk92DbVUFiqPSIY9kB6zXlxJ2J7TFSOIE8ywC2f
IiuQu1mTv9Pf3x1Sv+M0mZ+XCPWs305jSs0RVRPRt0t9Ma0r+4Uv8+c2rtShFQf8op33Elzn6EpH
4QwMfmTw4T4VCgNURC5hcQo2VlMmDN63r43ukobavq0Rk4DGkAIZIJkJ7jKQQL6SINJQY5a8t5uY
UFkfv69ndzk4RaKdQ1jTYfayLfp6e6c40g/YDY6A+t6vKUEREIMwi7A4zq5o75lfKD5hg54qWLtv
3MsHWe3ADlUG/6njhbeXRkTHA8Pains0zoOXE10ypnWXgT2gaOvk32RudKIlmJcXxoiZH+eFvMC/
Rwq11ejUUTEVeEQ6c6/EsPZAj8DDd6h/ckWVgKOhI+MjVj9EWSjrmhGNw3Nbj84UrPCQGsqsxksB
7mkBaJo8WHIO4FV65uQYXJg1eHCc7REoulLBlAOVXpxMF5kh0Jwy8pavtAEa3+QuZcN7m/HQMcVW
it97hgiYuiLVAjzuviR9XDtVVWWxCUg+umvqtTqOpNElH+OE9anZagyhbaIVd2W6SuCpBRQgdcZX
drzqv+Q+iGfqwzQVC+4pd8DlYs2X3rrbk8O5cKWROSk+tzMmCNy4dezccUdaTx9kWMdX4h0tcfTJ
CRDk2wb7jMDRInaV3tq9Oy4dISPAKy2Biaz93uveR8aPGHUoynOKh9CDgE8oiD1RfCUrfOfDj5UF
Qc12eGztBmYLXSl+qYCa7A80mkcqedroAriLx+3J84RgSMUkGxMut5MjQrcHwMLDXtKi5FY7xxAY
ikkItVzoEdlVhGmSB0RjIVkW57wdbvo0/WgFbcaUvHunQd5d9vl/FyghU6AlIFt3N/3LixDT3UWU
kvZT/uJMyPrZXaKj0yznwSjCFRMWc29bolQooi7P+gCvArYGY0H2eo7ukcbltjuf7wTjVL0zhxEE
JiwQr/J2fbAdDC+FWtOeapazHnLp9t1r0/JlQpAVbbFGhD8gJIcOkJGbEEfp7lbu+P3UkQmHuNcE
IGd/O5niQ+2B0ZOOYHcaEVa8JXZyWqiROqEeTwcK24FlJ1ftE2oe2htKr90GrTDLpxFEnYYgcqQP
Hj7LO7Xuowv3mMQMFNPsuHY1wrgmYI6+Hhm+1TOJ+nrJwkYtsr392LSLOZfC4FrvgoM14X+WbyH1
7ncAP8XVFVFI/rUTvij2G0EebMBL2jQqbbpR/IMFaI+0xcNd9Y/G4LTgB1oji/jw5JIYYdhN3bWh
V7Kcve4RDckv2bBBREd6KiBFACX62zfdNS2qBDDmsquO3Wl8brsvh8mRYrrgehWfg9e4Kphnc7aU
urpnHi8dCWLLUfplfu4W8Ubgl6TFzstGOsGHTgRKDgnCAoRMZIMuID/19x0Q+PdWo21/nl5VvoY+
zggRG7y843A3Plo+Rd0RUczi2mSJhrfjEBjHkAeHBQPiuOaz4kvtM5uhc3yqmf1UKiiEniY/S2O0
emMtF7IKQ5OJudkyq5PjX1vWgz+TsIZcFK9Iy8OiHUKKXksoUkWexA8w4PqBtUn+RYx1zGOrsRXa
HFMLmZu3E/y73unFGaHPeoPhUvZbu8jlUIax35zWsW9UsPzAMaSrhgRxCmPqgl/h43203Can//Wf
8n9T99nF2ifM2QLUG2l0mF53cyRu//M//vv//p8ft/+RfO0G/+Ly+I/teTPYLbc5/5xa9Y3RfUNU
3oKBxjZLlCLScaU3FAkGDBoSF896IfVfO23GaTU/iCABo1i/mQliits34aS9cj46NA5dt+n9/UMq
D/vnDyltVztYZ+2swW1y9KbddPAGTbgz6ITzXeS/w1P792py1cdFjQSpaYNJbfRSnz9ufr/u7/od
QgxyLObRhDLaZBQ3OVMXQvKrU8NrVDllrwnSPEb/NSjtSpQD+8tKli4yu0Nu2KS/Giw2rY8OXXMk
iV/GSDT9vT+lamgaXkeYN3TmwVWz9DXVwkrly56BWYhNcq87kZHCGABegpX1Hdmx6d/LVX9Ooe4C
7Q4E4Ubpc6ZmouyVFZ/z7M68N/CnXwjmOLC/1vMPil9e4qSB+wqqOgnOSgnxjeeTs5Tz1ljtdSYP
ooLZeobrgArqo1cJNOCaXnItj2TlVRGsOwguoWZS3ltx1ra5maH01e560Nt+fUAkD18SnCn4lr+/
o1LBxKcifQ49kwI/k/G4Rj/evCI3tGusPAh3IK5HTAPy04v/BWS+F0LoeAUc1fzOWhyg2fl7aVkc
Ufm76jb664INAkr50hGe94d9drpzQ2cznp4WWfA1c3zN1eKzZiVhtssrGRI0zbKMMihG5/kEN9JB
WxlHLsvV7ZIhTg4OQBHKOeEcQW/Xq2H1qjo+A4585AjhMkPo/Xk1dbc7J9rlQUEluct2QSsgo7Jf
xw6vC9qDX7sSvPAWslkyTMHP68SnhmLmJ75fHky7b120Z7rd9jIlR9SJkk5+u9EscirLMw/FuO4E
qrgN/bCv9YJJaIH1ZhT3FcsKra5L2/vzc9i8O0NrTy+7XfNFKo0RBFkqojywHyla6ZOs4s11e9pj
873g5NAxC6GLEIe9dcdrt5bHXq8i+oAhy4CZS7NlfNrzl0G+bnu1JVjH1rPZLZgxR91CmejiocEU
TOi93JoRwegiosh3dfKFM1q6HdKXV1A7oA2QqexBQIJChjveEXJDVmil1MUyt8aIGYKs69cJGqqN
erGJKbOFq/zx+LaN00aJNejfckYNEiYVVMqBhEBMAzASzQwJuNVQJVrkf7L4L2JIABAjU9Ag6ylA
tTdMD5o9G5hcQZn5ozGye8q8AWYZVH8gGDnsMKZ4kwHzSN8oAwlsmigQgvam6UD3oRP3at5albWE
ZvH/7alEUKYqOzTajwQRVpjOC1pAr/MlCBMm2JqKU+NUK53Oz8VKTwAeNO142XHQ7ZkgQ9t6k+jj
o0OVx3WlWupbuTJi4FJBMSXEKBBKeD6v5R5eT+W6vhExbCPZM9uydw6tqXGn3s04BzikexdyBUbd
78OLt/KT1oIh18NIZ6zl2rsynwYqYMGElMEYlNRl/PA8AsDRSfvqq2BAfbMazFFoB4a2TZFlMISS
T45oujPpFAowuirGpsHX0+weLpu0Vml2UeQwXRWALvWcC0g6ZXD19OntXUBn7flhTGAOAzGQXwmM
0IYg3iHDkGhq00MQJd7uag6OuZ0Ac6LydAcu0dM+EnoFWbMQwMpXeKATNx/Shl7Ns6/VOJkDoVn8
fW3UiicrAiNbQQUPrlK99BTSzVFNE3ODhRAqSwuULjbuZIKxEHYLgAMVUzMEmj1Hsw3GpGGbmsHf
P0GuuLnomagKkS/8c4iJPZ+uksbZvlhBcqmnjoWf2AYNps8Zv982V5O1D0i4jn5bqTAAT0uWmG2y
RJFyOeH+qs5UqNaKQCYaQQZHzIQs3biOWV6u/Mw/9liyjIfN/pQYG/aohMSgh+4yTKgAAWM6N9u7
utdZEVs87U645R/mbW1cEfyQ2Z3Xfpv1F6PUIyqcQMEdB5Au+a3mN5nwZ03gW32Tfmyx5Ozt9CTF
R4VVp90somp8oyEFse+A6lloACEYhOYb+ByDYovXbHTgffoE6VhzmdSKcFjDBRF6E8OhLClO/sfe
7ZuVb9ZmcZtsoJ7IJjQWwJox6Xp5zZsrzVMoHJEZ75iUiZt+1mrBsfHapOVkaSE5/b5LxW3vftZJ
ilZZMH6WYZswndoaTKvPP+uwTpLspK5Vki+YRPh30IfyWIwUdeBf5181p1GV0D4tWLrh1u5S3HKz
se3nt6CwQmXbVpJAPvgSHQmg79dmfGlKa6pCkPnEzVwK73kYK96lAOGk00BlqEeNDnpoCU6/TkHr
Omk2lv4lrrmscuVTNE0kIwlJdUktvf6tsszypQUnqkmED0Bk5XbEqM4yWHmSU+P4q6Ju2K9Nm2zJ
1BAlKx3D1dBOWhoLLV9kVUUmSIcmIDBZuYMPvwPzJKoSoBsYH6i5l1VB99PKwgj+uJfa1jJvtyXk
a2LcS0wziiG7Daid7SsVBsaD6FZRIa0jZ5QrbQFBgSyZto6BLd2DfH1eHg6KsZswKXwIT6HiM0Lp
TgD/gaAPmaKooyirvHkwX0tEnFiDX4yXSyiL89WGb+xhWPnKQnrNbEbRhxSFkEK7w8PrJhgzCzSs
W7rSBKH5iR8zEDy1pNLjX+63x/X9dpYg2+zOJODN0vuqeXJwZQiyOB8D1AqFGI4jdYzgZSzmwbZC
PavusIV9LYWXqHT9+2eUbllhNVaZfiO8JG50rIEoY9+pqP/tNitNCqpRCPrBJCx0KZ9vlBQXqbU7
CCtPjM2sSacrdYMIU4vau9+yp61am1LlxIjCYBfVdHR7y2HYNoZNkWwPBgiw4wUTdgeHGfGA1hPP
SExXU6FfAlAWs3QAZ8S0HLXvmm1X+m4T064QMEBmb5YOeX1bKRf1urpNRL8ZDoqpGZivy2YyEixq
TK9KCNCJYVr5dQs5lgTXGiQwNw8wRfMwshjgBw2s+zAopZPV9BjQqB0fvrNo5+/aMnREp+mDvxjU
jE0BeXjwvUZgfp6a8LkxXi7m/Y99PYhTF1zPfmKExvDsa5Qmdi96c7/0Nlsi7rMPn+1g711m8sd0
m/s685QtJjTfsuBjAFRvjHY6OEl5ZAziwbp/ESwFyFURLtq0XDX/CqwNGo6ekESJYUYQdLyQLSXh
kkgMqM1cCDHcRg8xhnP7BTD2ZAnxVvMUnAM6Z6IRlzY30SV17Rs4A9HvMxaAcK3xakI4eXk/jgDl
gD6EJKUF9FgR0xRT7WNLvyuhQyYwL3TXIORKPQH9UYD605i+d/LeFVEpD5EWDxzLZ3x27fBKS2y0
bzER1NYhVpjTJc7AHB579OvF7EZQzM80HW50ZzOQ9XvYbloMkAXrXvEt04FQ2td2Y2KN7Emxr7G6
D7dafomoL6DxIApWvyqr+sY+GYZJ/jttNL3ZNhLi1iGSvL5PE6a1Falwzf2sSrkRtv73kiV/BtFx
3MjvLEn9760fTFA+DiMy2/fxta72J4vg/K/tlYy7piE2eb5h3FVHCWc0L52PLf0zsCU1H7J6V5C1
azosngpFlmdjg7hVlt0u7KrdFbIna28CLLQzb7XG3+0aJ10ZK1s/1iqlJOoNse70jNifFjLLNhQj
ryswEKABgVDZXp2LrDSkP9crGZQTbKFrS+xNdUj98Flvi4BDW4Nso/3qtlwM7N9GTK6KUn8uWfIQ
Vn7eZacjW2TcEeDyFzCO1pFiQd1CapUrQuqD5gLy7tTFSt/Szi4bpdCFtLt38doU3B8ueVE4/X7h
9ddeP0QLfG6IYQQH5LpPifpbFMXrXHOF3rulQQFLwUyFIP53KVCNpWx3adweUUFwi9Bte4VqZfSR
O+QkQo11TGtlH44ThqubtbIRlVGJjeKLBj01zLxqKTu5WdJO3m45ZCh44RGFKgXF3WAiN0eIdA8s
ANiU5+mtBuNhc1gb/ld4Tl3S6O5IsoJ0c7kQahTy5bwWq4uqOfI9MPP5wejjNfdznwsm9l4r31NR
Dv255qOG8yPitOT9Oj6uHzuGCNxBmAOVG06ZRL41zMLPv6/0o7ZXskVonyNrgDaHwTGXwpEt6nCb
a/oonve5XM6o4Udy50A3giof2CSMLTWEMaIg7bPTBIQ2PL/WiiSJNPrXj6DDJQmWfk0yS2m2fkGR
8fqvHPTtQA1DdhZxqx8wqoFs9LzXu4zo+Qz/C+q7vz42MRgVdTQ6uNykMiX7aCu79VXO7Rv2MaB5
uOvCqzLOPOeMACOdHwB9VDMl4BYumKbvc50neGRJTxsX6yNZxy+wDWSzS+8c8aZYLW6pRIXMg1l6
EUFz/Toayc1oZPshKlEvons5Hn9vX4aoIA6ndZbmt6vlF1Cj00yY4B9iMM8e4pznyVpqJKIk6HWR
TGVYAd55BOR8cFapI1Tgh39fOeXXaZeWLLm/xLxIZ908y5MkdWnZiEp8NPrQYRDZ+WG4JN0QpYa0
+ymIXpa1Jq1u+dJlK07L3Vmz2THxN07x7eRSYZ/EUUilBdlNgvCN1xynfrOt1wQZqnBJ5eP++bHL
j+1ylreyFYuCqNCjtx302LEoEfQvG3c0MpjaEJWe3tYHuDL8pqT1eajXfaZpXP4dGtoiXDg8DH0e
WKmfDx0Sd3krFcddPz4G0NmpZigDVDgBmohhiVMgR1MVLwf83TA+NShkDmAj7ol/2cdhsjl4Sv5e
QGyspLNt8VVM7vpwa36ddN25L2+Okjb38H5uQWha/b1OJd0YNy5d4xRqq4MjMTrS2M31mMmZY+bI
F9BOO6W1sXtqY9vOAdKf9bf1mmL+3fB0FXoOE6igBc5m3fAP+3v/DqArTjahkk6OVni7tqkcwY7l
nu47d2t9Jwffzto3NdinLdvwT8revYEUAxi2c446iFkbtM4SYkOANoioQYHytbt31F0nYapV6l0Z
R1hmn2uwI7eTKyVM9a8Ovpwyy6QyZsGA32bjbgwYlNdyeLivGL4a2PAdf10OkM7tAHyvYO3adKx8
trcAoh8XqrSDJZBZmyvEIozJXI7tuwH6LWWgEt4U4D8ZY58mg9C3sXZuF/LwchvsVOhMYug0TpD5
kScZXyrcmcdXGcGBm7l3tqfM0Tawnxon97bv5eb8dJ8Z2leagcsD+5VdIWs5z6Rj4mrLEbIhbuOu
+mczCwoO917cvOvqfZuKUWeNrMFSwDdbQ7uArOc+Thls3g8yi3EbxjGPmbfVZkk60g4TG3St1IkF
O55N0MOQxOHWtsRst5GBXIeWbizdxg2FQpX2sj9C/nB+gWjfOWejWGOSaTWWpf6OUT4l66ztMcNs
dsLE2J0caL/I8+nxCsbhAMxX27r2de00ru8WpC3r9rVo58Wkxgz9eow8AkFrr0rIbaD4Vba9OR2L
VJRbKTrYDnRNqhc4H+F19oroOhpY+Jt/IjJGtQwXJ4QNhDD288NLzfiUxTlrtqlzwPjoB7kDYq1j
AalkzZpq4qNK9GRvxBZ/LFeKV7fa8pSmGstdXS+AHYiS2Zfud4Z29Flj1H85UrGSqUgyIBWDClIp
TjturK11TSiU38PlO1LRps9QF8wWNWdWZbh+LKOX/fX+tsvUewJWTRsdkFtlNGU/shpNFEHWcGqD
PQTZvcjBB5veFV40hAFh1zg56nVUMATay2CJYGqN5wwJluZodiDfpJos4dH4+PXV6cqg5GLA+W+V
fqSJCPn6fuWrI50BsMuhQ6N+ELy6AkLscPBv0Dj2IxiZD64TfaBF1um1mG5ymi4+f0cH5St3Xudm
q+PDIwHreOBTjPKdd3f4aXveuOX2Oq/XAGohuvF1MJ+qgNAk0CYasiQBayp55+sFCfmzgcBXl+m4
AbVWdEEe9F5oqLhRuG+Gfufu9fSXMY2l1AEiux7CltOEB+QTBpCae1UFXDGFsJGmqKqOelzpYiVH
aXtL49t1svOtF+Pt1ORjEqpB7BndRjeUaphWZVpgiQBGbYZZUYQV+uoPYAI9iTKS5XRWUOYz1wUC
GI/gDGI82K9AXIUfHyE1Z8Fp9W0hBlS7svjIz1eIhoOu0fsXNRBJLR3CWttY5ma5LMj/rPDtrS/a
3V+A2l4Jx/2WiMuWwTf5Xl0JtKLSbgP6UFGt4/xFePBsoG43dbkFD4C844x8mopzBHsj4DIHjFfL
HY+B8NU12ZSqzf5csxSNrLbpZn/dPTZLmmu2Ryh0DQY8izltaccVUZAYOakxJcK8lz8xSa2KMhjq
20rZYimnJLYKbVtQPtg4HDBiBC7NnTDEGPcYxqutw1YUY/i2/16xbLyS43J9udlcJ8ZnAsGbGDk5
nxZv4/JZ/4Gk1PNyJf923bDv236jimATrBJqciMYQkjcO68dt5kBbai9PZXfFAgWQDrUc6Ty7ZGX
mZyp8kqI3QboPiyZvQtHVO0AY6PY3PysF7GsujtYBrAyCD5S4Srdncv6/664ceA43DFU3d8HURBH
TojEeUckcT2UL7qpM6wtD6haxRX6uXgpnDetYivv7o8D5QqBGkJG5kYkD/2e+8WH1pjn1ZxX0T2h
X0GsxbjK59R4qbnJv4tFwADQ6hLIRQrrkviZPyoG8WpVrK4x7+fWbyNXJFA755Cr/KUxMB6+Xj86
JFR0jFrf8IglAtFQ8wMqDkERUpAWwBx+QtlaLZMkkTY2XdLpBV6aGc2jiPZcyHSx3OMMVpOe2wRV
ObHca417qCgC2hgpW7ZkU9FIaEplW7pWV4CpCRpF7QtEt0F/MmIybMCsOWRjBHHT6d97rTrzpwXF
t/jxse+JscyNWyZPtC5XDhs5OXxNUNQQAIxw5er+AI8NUs71YwY+acei1DA+O+q8Vhjq995pu9Iu
E80kPj3Z+/NPaVjHzS7W+ewzj27daBkSdQF7wTNdQS4dOOyd//fufwOInpcshzbbuHHYnC2WzANM
Zj/6gl7v9aP3TnmI8blaBeBfDpjl6LrblgkQzkK/8XmHdnE/atIyxhtBTwtDgsiSYQ0iBGrWOwQR
ez85BMpuNMgk3C3IR/zu82L58pzc5BzjJXRNu6gpUow5wkEQugzNjcfD72nd5f31bkTljRiRGJ0g
43dbGx+sZ7qIL9pC7BORsx18h9HXV9gJ3VYLx5d4Q6ogfx/ib6wFyxqokYuGuiSUP583ulpfb6p9
Fl9VCdtdK5zBRN+/hqgOy6NB5w4dWG/espoZ7wfkfH2M8ctL6AQYxJYawEZ8kF42m7p5POQJ9gqR
NaR5Jzt3lEk4wgRkdxI0h7pXDP7ecsW9ZUlZQmIRTTnCqdKSxcXWVjstLSae6G43KDESYj+Aiy8Y
ibov/ED+P1+l5+VK93a72uqpLLFcuzt7I+/iaG9tYJy0smlh0WZt2vP6VX9fYFkVloDk0rQtBLOf
z1UyGiZrErt5vE1WLXC/rOm7DIlQPh16/2ifhmYA8ENrGVB56SZJG9PK7/qqmEyF8wMrCh1m9PWK
9Z33xnxY05vW1uR/Pxp2aRhgeBWgQuyztMvNRcnOeVI8amiB7KHoGnvR4AIpFKUz4kXAucL+pWFz
WnOLKj/wj6VLwcY936l3+cDSmjAR9CMmmXi0zr4t9/CxvdaLGDWpSeIfYWH5Mv3ccOnuaptsuY1P
WIlz6wBJ12zGdx4NvkZf0a1Jl3ID9Z/g5f4ShPUjETfTl/HHrUf1kNE65rMg8gMZwyxQjSWpfFbM
3eD1bdozWrmOeE13u1Q/yqK9yJuKaHQzej8QBQ0qKFM5qnX34kKVvoUhcf4myTVpiCFMyw/vuzOX
xmmncgLdGRlZlPjhiJmJcM58XNMdDqU6sMavBhCGmQKRrRPMIiReRqYU1/V6dYkleTKl/ZPCxz2J
vhxRo3VbvCmXmK6mRFxVj6dkwOyELlOQN34BO4vG2VifLGnSnoqmHwENISWow3Dea4nbVfuGf/tY
obX57wXFpf/xSY+0/+5KLhbEZMBYH0arYeAYHtMhLeL21B9/n0Vr0aiJJX6XSfTnhUv+dm/fr8Ua
JcaXeNlEO4LojVm32PSyidSaaXu3oY7ab4f3N1Q+JgLVilKsQ8LfmA5OHjyOndNsIPeQOfpSwGtf
fEN3N7vA3KI+5o5WBhCtkdXpMHrfY2JoySPwT0xZpg5Tny/XMf8BsJrXTPpS7ElG95uxUviRIbU/
19WsfoXnukW9T8ZgAZVDbbdklreH/JIfTrGEkSRFeRN2UmDXR3zjDkQAvd47gbkgWY7rQA2/s3mW
xsfSVKPFhN8rLW1t9Ya+vZ4f2XwQTOjIR5xvhD603wJDybxgs9ZA/05zWZQ3o1FXZa5Jf9zwHxdK
TdV9kuiixkmdZkI/kajUoWhhw4hydupscsULZTWVJpZug0Z8BDs/VtsX2zTPpDVfl7GtGYW1CYKX
mEGfGWaub8v75nL97QeMyjV1TYjRi854OZHPd3ZsbjKxJnpMlw8QHPGw3dUd5Q2fMOsuToxNUMTT
fdN9XU8FVzYN3HASBG8zHV3wSAC0P14v7uue5ogzhxsm6jW9YdZp46Xr/EeVRUG7FV+JrjxgArv0
wNFw1dCWtghGvKC7GU42YTQ4NnESeMoDafFn3ZEID/xspAHSoBmr2wZq1ljOZ4tySdLkaN3o71HN
J0kSggMz8lKywujj6wQDH1qXsCf5rWGz/fn30fzGK3D5UHkXkyyiClFGmZ3XDc046GxWZW2RDQdi
bCXto2yMsprAu4VMdzuigrnzXMDMBaQozA7U/IzffoqSJU0FlO55d1o5NcszI1/GR5r4+CkByYey
3vkAIktJCzyRHdUH1VUrKpou6miinlWeX5S2mrQ6izHRtvUy7T56qhFYH4R65kScbt0Gf8fwot5v
A+OzKfozUvh8xms9M4+ntagTpghJAWBEaonsZfQ1YFbD90Fn195jcW1K10onb6BRTuoAIqQUB8Wx
bZ8YqCTVJ2fB+9+Yd+ju3GjnfoUf6KT3jq2XW3e8xUt+137f33VoIBI/Vi+/ecuIV/t9LiaN21DC
eRiaaOT4Qkihhy9x61LDquOkCgvqhCkPrGhps4WZmuZdTIDRlpeDt0B2ogi+zS0DsLQFoYg1GUr6
+9I+vEH5A4MSE0VnJlKxqs9nmt5vxia/i2AH6jQT5hTuruZHkCJOJn01kKYM4fqihaR5TH6RyLyr
yDlNXiRnzNBj7WCCuEJ//ZxSWUtraMtivRY/B6s5i8UABvgjs42BF5pAo5WLGX2gU1YfWZtqPEWI
uiClosbClKfFZSNPtSXwq8/fpMjv5q2Rcg4zSpqgccRDpk8vIArwioI5qjNgVQdP6VQzgFuBdC8P
lZ/3SXYz1Vwgv7qgrVgtNH3K7y8gMYaN4O8jr9zez9VEcPjDexaN4+4aW5IEwMkTU0SbLnz1YnMu
7+h76NW4hioABBMDYA7oE2Ks9JJryLKUwsOd3XkzMdpIR5KQJIELkmjN7I2IFIjlSV6GCeTHcNwN
P03vn3xhW6fnS3htkCuX7pWyuVyR/2aEdzY7dt6Af0Qjk3lGyv7vVJa8YV0z5ze8XaCrWI0sgjk/
/REI//jIirwi+k64yAyRjKFvQkWP0cTG2u0GWwa3xLsevHbsYTLZQvkxv3rzd4ZMm7WDtlqF0eZa
AT0H5S98U+m09+tNwWVeSZO9d/REpXjRJ4cUTyriHMjcjcnHAGchmt/mJySKgui502qO125da7oi
dbS4BjYxiW1xzcu4s2UiJWmxudz5LfREu/CfBlz0kOJp54Xq3j/I3VmPm6yLqE3WtNJDXp7Xh+Pm
dJQojrDzGW+Zt0V1xO3MYS+4OrXuquIhM9WsUokxRWpcfsj2TY7jvXQgSCTs2pOzRwOYGXzyxuYw
dmsu9SOuKRlLgyk8JmRoaNEGKUX6ublKLSk1pQmOcbLGTPWlbkTbFnG1hkSi7DRMZ5R5UTjqdObu
y5FB7pCnfnOAcaIF1PMHzJel8OHDwyjGjNtMepH3wQ7WG46hPAKRNWQweCXYk2p+e0W1DCcnU0GS
uZwS9blnI5TGx2Qrx5k0AbTfDVSPQgInY7r+vOO+uBgDb1hjh363HIGgaRI9IwOEOejOknuVk3y3
zkHoCGBndx91aVmIXvySjzJ/vXr+0WmJ5L4W+laRbP/EG1qldZfa5byyBN4QDxsPGfIjNnScHsPU
nfDSIpgQT69ms3qFI31atHQ3dD3f64fljgw/7eBKz26XXLsve329OcktZ0TQ1hF46VT06fgRzdEo
WTmji/MadnqYA2shmILumOPrAwVaF+tUBHaEdCQoEgEsFb1SLHktLnls70HFtcmASKaM1hvVJFHe
EROIg84mmkMKDvuSS8ZQs7hct3gp6LldwP0rO27CVKQoOKQIAhW67O9NON/+9rbCxJTfqEVNnyEr
fLtZdn7Lg3a5SXCoTGCVbrW///7LqwJURuToCFHLobz/MP4/vMyxkd6yvS4M3OzNdhYC7RN2ZFj5
6L3VGjdxT39t5cdipSPTdrl2vMk5sTiOpH/tIpCqYmY2ArnCfcZ9jcewz41Xwd35rj0zcWFLq5vU
M0j6KSGZJLbPBsPcNsBHS6kAhc9QM4wiYkE/xEq9eN+1W61wmhgIUh1SfYsWQumCnC/7zNJPZDrY
8f7GF7kc8IQQ2+SOqZ+I6urfJ1llD4FnEjSI0WobaPLz9sQ0YGMrUVWnK9SnbJM4X+o5+MIz46hw
VfpARYrzHv69bFVsRp8NKBwpFlstuxD9zJ01GywLYskUeIFowtKXBaEZTTBwESIsFEp36IR5gsax
XZe9V91hilUUdgUcmjxevKAfdzhJzsZBVi4KKDJuMYP8Ef1FTlbAsL+9mhy2drVSMCoXhnXS8iur
gY57e0yV8vofjx+ATVK3XlUcCPWIpoH74z7Rs3/e3To/K8qJSqHoCkkuIY8oYMNp8EI9/5FTOHAO
yIxyLINN0KTs6nzWHXJV2AWIillmjJCozpQeLihZIyuuoF7aAK8f+QyIl4M3P4JR8IZ1I+1VtUAb
MCCYZ6YnyNpLEefdOp65bJoIfeHnghXcBWTtI+3D46n9vr/tK+EPTWLA9IpqcI+fv29mbjN9F0Nb
s3KmcOQsFkL820LVyY326BxT+Rx9gGQiAEvh3APsLOjwWqc+vTEu89+vqaL0yo/BRKmcM5Qq5R+j
7+6ZmTdEAi/yKjrXXUDmES+JuZWw834EWQ9ZY3Ro1kVTv43j88LCnv14Q1s9tpIbFo1yHwXRt5v3
Bh54RuY+Cf+FNxIh6MuBOTpaRNOaXVcewY9dl64X8zIXarVimsQjplqIehtOfACBgcjrWlRjBay2
tk3z20Y/77lko9fqJr2bCh972mZZ3hXr6b4chj0X1JFg5KvZp9jHswdiQdrYzGZR36Oy/vyRG0p6
bNxuFNYB1s54R7gg0VAGnNeUiO/r4ka1aoOGCRCShjk1Ra10tc+5fJXUjHcE9bETeKl7GO7HhTMB
c2K6oUOLw38BbdLeBe53kwoj+cy59kpXbFozsBwaQ9qqRPT8vGm1YR6uccLh0vv8F9lefzRiEI22
K/GygCr8/39lCoyYD40RMFoKJYOpFnai6I8iIw5JWOhFFITRK/UJwD1037ya9SpuL+vxdSHXIh8p
AyPWl93BSEW3r61RbeoyDgMJHI+Wr4xKXAtOfdUHSMVITM3Cv9MCMkSgU5YqC4qPst/L0kuumdfi
0Wbs0h+ajEbKXHRpGECnEMPkD6oEdW2MCn/EqmTFNjAQaJ/KeVeerovlUaWkKXxBN1jITeIbXD4k
RCMIBTlW14VWJWQWRsDnao9XxDGlR6QTUNmMFco2pGql412ZqRTrRkFeIuCQhovouminE1y5KHSS
+RFeebW7rjhketU23VVeE22xUjZ0WKV86MQWYc6R0kPQXfC16StyyCOIoFp4Cyg+Pr7ExB1d5VVf
MNau3c0CKbx+zblXPGuq6DJXTsx68iGeX1ShnpLb4SBidsHFJL9SUh7QOudyM14RXB1m7mqCy4eD
L3/0n0uWLdcqW+50k7KEEG28fQh7AtHXMXprINlzcRaoCznMgAEl0DwIsgWRUAHzMvLZRl9A+nut
d3htv8+LMxGSHg1rvsjvxAI01I8vIu7MD+8lCtBWct4XlIVms2531VxSJOSAqEoCbOjMe8hHklsI
JGPdI6xwnE9Ll2KVuLibib48FA/zpri4TeG3J/Hgi/AXcIkoEDLyORRywf+iBPt77w84efloSA8p
FFqUCqGGeN67dkptySrom+18CQVXoB77DsS5Q+jLATYCRwNfuHI/jmhb0NSxweEPGLNoCgxxTzg6
ETDWmMSKGNmGAdBWicdVBjPLBYv9dm9ZJwYYhUOX3L7h9pkNRB+j03pvETXpNetVzAayngULEFkO
M+tW6XrKtyQ+78R6U8TuZ93NCCrzXiBYng7eqwMJAmy//ssLmyVkq+uAVJTDqdOCoxXjoDTRyhn6
Tj6DLIo5AYCsJ38WvKlUp50QiIkY0aE6AqX0P9kxB041SsW5QjT0fOrLTZwZxvkuw9tNXhCHYspY
5tKvWlQicHX3qNezw/8CJ2hViErdBUdOwiURope+9QGmnVzfcOG1LncNK5AwWR09yHOX0TyU3Tm3
iipw3UMTb/jpngPhsXFzoB5tRhClUhEszjarzDxTBEPVBfOTwrci0Omw4gvMNIMu8xfRm/VqbEuZ
dkFALyQwPEzlUP4Vpb/nL500Ynl1JM3tnuHxufQ3rcyDlTnYQHPRrSv6c1ufdgkaAdY7urFM0FBe
xLeXoqWkYRj3/LY+DtWT4lvri1fEQaLnr1n6vtVXjnpCdykvXPmMvNh1oW/M8FpMlqBR7LvxcT98
pCla4VbubQ+2symG2u0wvhzQ4rRfjGK4kneOafYffwbpOPEXbvKze5ZfbrcVzdfjdoNu3MpJ7eGZ
ib94elCz94tW8CcBy+htQzp0bsezr9+gJAmOBXxbxvXF1vZN/v7TsUctAL4Ry3QS6+5nFkx6lwNz
fCv0ApboFmkT85pGaYKs5tWMdrbkX+Vj7yj/H8rOc7lyY1mzT4QIePMXBbMdzaYn/yBo4b3H08/a
0rkzt1sn1DGhDqqlZhO1UVVZmV9m5eIqxap9mdl6LGM6hChTEK+0YuxmP8qBm9j+ML2YzZEf6lWb
4VlJf2cp5U5t+KgqZfq2CeGOmqP4sUtXsdo0tBoUkHjIECrN4BcrmGpYRk120FN61CSU2pfkm7m6
aEjHzFr2umm6mRYJmpd6w9oJLev3pQpEyvlI5IfFUdza6rg1unEp7JHGsXRRyUJtuidSE2t6s2VP
Y08bcsxv2u/l7FQN7c8U0Xkod+6UrL/u7WKXOmCPtnfHov+TQmGdsl7ZS5hKaZgo9E3J4ajKX5J5
XyX0h4nBVA5dqDTXmwQASwvmZ3tUgSTQSWoCW6LTawiengGWjfuig0QvwspXGsCuS+pHE03AzJey
NkEu8DJm6bPuuGXbN/4AIkHW7qAe5LI3DEA2pnLl7liz6cCruONagGpQbwvjurSaszWdp3rcp4CT
4hetLtyNC6RFpnHPF9BhbAlreo1iqLeTGjZlmKtpqBow5QFWtNWJ518NBjWVzZvSTtyKvTHsO4se
CF19cCJoH4XjymrpRkMt5tkSlbVXRj1QW8DbEiVdDINHGmq6A3LQAcrMYXwXd/9+ev4mNfxnv2E+
SdSyGXEsf93dQxM7i1qq7XnVzb06tTtzMM5SZl12jFaAZbLzR8WEbVHGOxrR3dTc3k0sCErTHNij
dY4dbG7puEhTf4gW/1I5/p/B+8/QuAlIJ1f8TQzur0PLFLnqtnRtz9JIiZsTlc9jO+PyGvriZnJ7
RKYJ49H2tMzeLTXAA1nft/SiZD8V0uZNBcdenLI60lCW94N9HsjmlPG+V1q3H0fP0oC1O+rBael3
2nXfNpsv7WQx9ak/0+RpgVc/RFy2vVFAxzWyv0YgLMYmGOonyaL5jxWo9cJVawBaPVXDGq34F67s
9HQbsmhxtEy3DuDvtfFiWYWa9qaN15GDUehBv9Z0VuKyd74CyKt0Nx6pTjBWT2/CPjf9KU4DhdlX
Su1qrSDR5p+SbH8Ytj8BU7Mz2GH0T/rDUri8z39735cD6H85kXlczko5y+05zpp9M62iaYgvpFK0
M2BRnrlULI9tCcYJokqR+vGc+Eb++Ydh/OrL/j3tKlo894sVldTGb8Nozd7sLaVrzxabtt3espIO
o2rn6foWWnBPWoy0vkKc7f3S+p7HlwogoakXu3ikDdZc7eP1Mzbm4A/D+tXP/c+wFCr/VVakjK/1
69thsqZhiEpWY/qYJIZo7cqLFLgg3PKv5ELImfqwdcCPuUIvd/hb8bTPoIj1A8gLXl5W0TSA2U/z
FVAIjM5/H9+v8dn/DI+6MfwwRNK/TvH/NXlOM+atpjE80zzqsC7nmzV+XJQ/OCHKnx7zW+g1t2uV
Dy2PScbQAnct0wYBg7XMvSc9KSYQpMkSa3wd2YGZQn1s/a4t3CX77Nvw3z/w31XLv69XjTZ/hIFI
l6Q2fp0Rs4nGbYhmZmQQOkDRwYWjoFChSmUg7DQQmR9x4U260GnNBufrEolKMCAczzCEqfi2HTTx
jpMMzEUFkKIIWoCCpYg4M6n6pjFC5qal21aeBANnPGT0Ze/dyzd0Li0JVCprFU/rfasQneqVvWvW
QnnGSq+ZJyvHQfEtKF2mwBtpKbSddsnmpba/gfFtgnL2uSE8fOjTvnlWpUs7g806O0mggleDTBeL
frri9x3ss9qb58ulbIWbYTEHkBgiMckuFbua4ic3NI94lffZU3bX74EhARLr+QGeVQdR46+KrwDt
ptMTpBudTSOkJZwyT9E9Z/LrwdV4NkNWLsB0vn/IOZBcXJ4SJgcNojU/JmTV3M72EngwGJ6H0gkn
y2skf038Brtn+jRDgNnb4IF3Jz0No9TTQB/RyIpmefRJoKmuGozNbtsuYCcQRN0ZOJ+2AOD1k8wH
iLJV3PIOUidYiK+bPxwk1GL9F8uGdE+f9EvtHYHiryulGMp6yxVWijWE0xhqRQBL1kFklUVCzwSg
hhcEhKgb0dHRj+t/nWhSnz9S+CMIPYaXmOEyBTqvrvF13eskYUgikamDFCmeMe30HN8srvmBc+Xx
1zX6AwJxhTgc+xvwqNnjZGiBXGK7AO/FomV5DS7+hKkKp/K6TOSTH5t4An7TeMscaMNx5p4+5TxM
0FOhXOW6mOAfAgaydhdI77E19hscXw4Ouimz6/gA7aFb9hJQlFTEqW8OPqVm1lPEdXg1bA1fTfxl
E0kqNHhSMN4xXckjoJVldmXHSxv/8vvXuBdgfME96Z6muU0ljNeRpnsfUh0WYCs3X6MRBlRaydtG
L6ED9X2n7teHOApMRTjxjqONbtDF8ocN/1ct5u/7naCalCJRkPkP9gPbXUo6tW7P9ioWe6+tuLVu
duqkg2crh0b3t9ijpWB3W+5a3pbXWpfd08gX7J057VXlWObXebyPFzEC8GlOIAhmYD/0OgFkWexU
Z19HYYMrXIVt7MWZN9Jp7iF6iAFawITJFdEMHr+mWeht6ChBDJ54CQfLXznJby5L/Vlfv2Lzynr4
g7G72NV/fPZLQd2FK8A/v9m6YV2sxIxa9Gvngwyga0+vrTV5ctYFbX3qspx6lV26rPu6H/yVY+jf
n/9fNxAlwtTWUStOq4pfN9CcRIXRGUV7rnR/gYCVaPu5vlHle91+/fcn/RYAoi1ys/xyG5dUqspl
/t8bfSpTT7P6YU5PSXbXWG8rCzHrnvsxEpXRCXM+bOpBx4EvoIqzm5o0dRf13hz+1Kj79zj/HwP5
TfG0JMPJpT6JrhekI/vG1q7K4aTT1TyfUq+eTqN6zDNf0vd8naOfYjmpywJR7X2TryS43rGnpPtu
uNbkUNdOqjIfdEn7w7z86pT8z8u65AIRQVBDfpsXR2v6QnPK5EYF5Dq0D9YkYvWoWk+N+tpVB+lP
5//fVXe/L0RurqkU9ZJxtn4vAaoarQYnkDfnonzd1O8iKbxuubeaK6u+6uSjGZ1m534C224Ghf44
qR+2dTt1/obbW+5vx/k8KB9OfrMWeylyZb8ZdlW/6+rXSA9sJWxOeSqGCg7hQgurny4KUtPTcOmQ
9PRdXVgc67dbF1rjbb0cNPm9Ud+LxlNofiPd5rNHDMX+TKtdbNPI5BAZntEerGYX58eMSkGgc73X
5oE+HwYdvunPktC+SWyWW9DrHkS3KlQtGDQ/r328gAqvvQ5G3SuMEBC7Ay5X8kpLzDQ9+C6gXY8e
R75GuO749VvqSxMhkdc2QZ57luxqXYhb0m8HPQ8JNzhLehosDSKbw+rWmW+t6HXaIrdtFpGUhDXb
h6Tu8hkHV/BVAokKSRDYcOPhzpSbq9kuN6b1hA/kZcT3EZzzQ5JhBXmXRBTC4hCphZp5OCCq5jqW
mw83ae73TcDQIvVo8v1muCnigogHETtfWmOvAMHNMDe9pBC4N7ygTuDf8qgic2GgV+AAMG87i25S
271BF+cvOw7M2S9tH1NKpnh6tjji8bPouRpdm9prijNe+3kcLBDIh50WH8di1xOt5XsJgw0RD/QA
HVosN/1I3/8+GYsx7G0RGa4Fxm4TGhxSuL9f2mleRMc1fDwgTPC6V7pD5+ym1O9S39qxiAhOTdsz
nN1a7hIrtPGw9H3VhfMaZpJntT6jj2xPrcPN2UV9YCRE/YeY3THsc+Bs1GbANecwA81nejKeI1hB
HdifNz0YgQnPF5Ztg1rg2rOYgAqXjMxrDdE1AtT5svo6vGPdXx03Nvy632nN7Zx4BnRv4zike0sP
lG0f9/tq83t7J8GSI15NrxxuuMheVoQqXx2O7EOdnC70bxpFknafbsvxOqUluXmIoGwoR2k56Eao
MZeGtwyBLT1m4ychpAKslAsZvasPu64TBgjCK/NFddzCZMmgDomOg8lxOfZN7fKfRYk6dnEBjETU
nz3dq7BpOCVnAthkcLvjaD2xAHFJonucjiwOBoA9b+P99g3bLc2C1gzjQcgfkAa1WSS5z1dH86bY
6+eTloZ9hA4jUshsuTBxRbnH/xSXIh2Ftfj1KKpVKMyzAWUe1rnXgcyb3WrgNBOqDCJw10NgbHwp
8yvDm+2DjVYD3tVPJL9UPGnxlS4w1wD4Je9NtQ6qJEbb1eB5jp62iNoKoy0AMWHQNmu7d5IrXTos
fVCDzgQKaPIXjxZfIZ1owQSBLxd0Z5PHo5LuJuekNAE/ULnatKNSHOvpCDAzsdiiR4W7MLk/wzeG
3hgf8JwZblLgU4WV43dAM5SjMwsu5g031gsy29y5fXMBQXt4ug538VWA9sL5lhMXVijM9goxDBQS
cNvoZSrcAsZegastsveqcGE/L0DvJzGe1t5X8SJrd3uXDvNw3lKxvDE6FhA/hZqMxfZzEBJvBb7f
LBAn1jYcZrf+2DRfv0Zcq7lFRjB6weBVp+Wl/rEfgXt8qLHrvK4fAAtxFscHyQhsqK2rMB9sex9N
ipulV8yS7Oxy+4DDCdR+9AxgwhfmufkSr0FneTXN0cZDOmK8rrvucdberVZy6/wm2k5Rxg3CLrS3
O9W8GvNz0egg/WCO2Ndpf1oLzxj9V7x+kcERyr3R9HXDNwjXEtNbjZ1anmOcSWWdsADEmpnXqhBF
smMifcvTVyc//X+5H3/H0dzN1jne4ONxI/xXTyfhNtCwVFVzzp+MF+elXEQ8XVmd0CFWPzEXNL6L
hDwGHRXCwb8/+7ceUv949u9tIuRy1WeFZvLn6VO772WaB4arKRRdKElYX8Q/r3yoby5LsCQ2Ffyv
Pvc4JMrlMJT7fD6W0eWAK44qbwrsInpmRQc9XpfXVXdStLeTZ8sKJUDx+e1Yun8Y/q8Jiv8Mn2IL
SrfR7SlL/fXVbUppyJs0N+fLMbwC9qbnBH1dHIECwodYwWznflETMrv969JfdxhfztY2zKWdJYvu
hzyVbu/j2bU4y8ab8WZogi0Pa8oK5NDWwlrbZfIfFA31v6heDNe8dLHgNjZ1Kb+OOt00dS1G1N5m
SgKdw16bHTeVYBQg/0mIBlvXim6uQ23FCq6fw9D5Tsvd8Ch3lakWKUidPAoamz28JEA4F1+HdJH7
df2nNN9/WyDcpSHPS9bLJsz9TaytorKzK0dlcZa+Ll818m0cXa+Llzr+Wlzryd40gz5GyRbddm3n
9yptvmJ3xF2ZBeGMWZFU8Mc1aLkTj25rg0wuRYKFAoudhDCE1fROEXp+Qq9OVWF2WK5/XyR/VWH+
5j9yU8q+dNHkg+Cy/vq6u6YgZbGxxjvtSzZc2zprE0c7lQTRGgUVJN92PmUAOpLNjSSM8Ivyp/be
f03pP8bAbUcKJmEA0Rbh1zHkLZg4mjM053nxi+hQg/5Ftr1qHvA48EES3Y0yYSHmFxznp1I51GXY
Rn6/+irdmdaLg2TjUKjhuHijGl4mwHBlosr1IBM0KoGtebn6LFenVjnamN/ku3GCfBF4ZNIjEGcJ
BfBpNGigObAzXPl5vJVH0X8i6uj77n0ddnK0V53Pvn+INU+Di4TRHf40Fdxm5oP+80VQ9UyNFAG1
9ttkwC6THElemnP/k5sIZEJ+6r6y1/7Jcki6iDq5Ukuve6hei1f7KQEki8b1RN/J+jzcmofhJS1I
Q3Z7CFWTO+Ae7svCy14u/taT+o0YJ38398P98ACg4HpqdriU+K3925C4VMqjgGS2G+Aor4tr2O7y
dems+T58Ja/SZ/rOlPA4+b14nb6K0SU5U91Uz8tH81A8yD/KaX4svpYXs4PiHj/JIdeDlkXM/a2c
7eXhNE2u/SQ9s/TxvPMmwGWvr8dN4JACRbANN27FlLoxbVUv+QuXPNm0b38S1e1XtxmFSb5oc+cD
+LK36bP7LOkyjxMMVIgMYXVBhNMHcUH4f6Yk8qhfpU/x3bCH0oD7WLsQEHDss1flMwqHm+amf9SO
6Tc1wYNbEyLmbvHZ343n6bl+zF7sHxk6Q+OyIZ2b6GrgQv9Bf6tOyP/LTfyDn9x9Ymvku/p5+czi
0PzhbddcUplIDrnN6/pOH1Il8TR735bIQWL5VBx3SF25FfImzJal7MaoGpOr/jAy6VP5zJ9KPIuf
dHDT+yZ30xfru/xMMzfm3OVjNm6xuUh7lula35drgukr25EzmCMYxXd+0B6jDxLASyxSxVW+h3P9
NcNzoKm76tIxUnsaztOjDNWWVrE3/Rc/0yTQeaV85qH8mu4SZCSTDJeLk2bGR5MX2oiN1wIlvkNe
cqfat977e5TI7ls/zbB8xx/lk86p4+par+bH8Jh9px+4Dfrb+NO+J68EWuZ3Sa7vrqHR4HvM8BtX
ematFp9yKmY6bEAkO271BQP71/sc6HWiierTeGVWUXeys4aswgPfwHyXN9l5e22fs+/xsLAYLxmi
kSSRt6lkxPAFkeLcdtec0dfS18tx+zRQ4o6Y9H55P7yEwgWThsu9tBe9DYG0fF2uaJb75tD2yt0+
s8iNCXX5RC3J7IukXN9ln+q3jdthXnHsJIa/fY7P07f5bH4U3/Mhv54L5A43eoyfDcWF9KRfS7dD
iNP3WB8XgMrSvg6Wx+pK2xen8b272Z7TR8LI/FzfsUQQqPOj/V5RSAop/ZE0z93qS350O1XsSYnp
uxy/AkPQPLC8mi/to/mIH4fndRby1/BhyK4yuPNjHF+2jfGSsAqvi0uMtj6xdnta88GcYB9u9+ab
9amwnFNXUV1Gzcfpf/r2IsTrrNUHwm69dbVcNK/4BpiD4rW4nR+3v7bHllzcBhlgL9p7Kuh8zOCt
e+11PC6Xzst2IrRR0O33OX9WXpLP6qtjFf1osd+ul1uCvF7jy77GNW8/ulN5xxN5u5dt9UMaMXuR
v8e3mZXy1imXRWKhHZA/R/FtXJsZ2avv2kv8Xt32V6ruTR/d4G4fDNH5yO4tMuok4wAJeeNn9tx8
GM/lqdsRPHXyxaSli4sOc4Pl453mtHJ+ye/maz5tTk1B5ZqviJH6F7Bh7a19We5m3TO/Ws2VX4sb
7Sjd2V/TrvC0ID40O+2g/MifNVPypX41jJ8FwmcLiOsI4SJizcglhLvEeJbXo+sagQWO/foSNNiC
2ErWRJ74PTnQu+6c3C0/iJzam/Rdz24iu13pIn0qIHtL10bw/iaxoD5Ij/y++Mi/uw/levxsiEgI
Q1C7Uld9iQFHsfqYnS/SEcab/mCCVa+91GIIbvRAmmJFNqjd6t0+8a/mmChh1j4nmhftM5JlGLFx
DBWKFhQxZp6ukRfz6DzLa9AHj7ORzMhE6Lh50evyITV+MwVOd5+ofj77tu5FmWdsXj6elun6spGf
4qf+XWapPLaLO2KO7+cn5ZMu0WxSFun41nIgPKbH6ouUPTYTI9DhwOsiBxgJm5KcsuMqJ+tj6YX1
UVVuBjytOXBEsRDZN91fIomJ9ZF2aU3/apGPXqWIiACL5q6kBhB/cjEDUlQEgUK6iOU5ekXERyXg
FyvHnIm5L0JMOXpQF1kfTk2oLuTWRTphBorOpcBhfL2kMAkKmaJVOKtglteCOJlqB94/ZQmXuR6Z
/weC6ehjvSeFbZlCeqWV7HqXY3cpy2RS+JyXFtcYHvpDu/Hq9rE7cKrStJIGhiA7+Tq6xntDH4BL
SE6UOT11d9m7PLosxGYm1eV2XE/nDX6ND5nfvJGc7r7BuC+P84d6Jz20N9219jiF3XvP3maTw82p
XDA40N4zjHV3l74OUH/Afq7UUrDSPCkRrNP0tetd9Ir4szrHLzYnySCkn057Ky/9sr1RQsa74lQ1
K9q2yqelZJusr4aFscIZIpheaAtI0wnav48CJ4qW4peRJoQ60yG/dSrfIAhffGv0ehry8J5StwJj
OQScXZMjquvNEdtTY3opxrLytPc6CSUSIe/T3fbevPMjnTfCPDYO24s0gJ260xsxN7yQLfKN+PL2
pm9iz5lnviPr9JFbEyew+CgHygUvqbyXr+0CfYkz5mKK3td360a/ajeXlcf609+xMg4+yHv3itez
VZdf2AekLekjGV3n2TlGP1YNza9RLzar+zQ3F10EhWWbXbJ3G9kgtJqf9C4/LM/9m8ZTEhG9p8/l
s3Uyr5Lv8QO805MTO7vsajPd7nKQS3g+vZt0roqtp1297FI1g9f1fTmynhhSWD2xyduX9aY+2UFp
u7VNS/m91vIKFoSqGoFivF+fYXQ6l7803nLwD4/blfoivbNsjbc1c3Hi1dfifgP0YQbG1fRsvlpX
yBp0Pbfryy/5RXpMbvpvm2vbeurqQUw6kHbouHcLu0xE7JvcT6hwwIV8LJ9Ybc2OB5WD2FqSsmJo
XVl2CxhjmWudUhTVxkNAuZzcH4hNJEaU7+6sHqtH6YTs8zyF2aGlk029K87KFROqvXOFQ8EQDcJ4
pMKHriIP/x7haJfo4R9ONfWQJGm4sES1wG/RRSYVUZO3zVl+S0s2u19ghrHRnas07oJx+Vxqt7hN
Y3d9nMi/yq45eijPS+UaFz5r9bF+bZ07UvGQeAVp18XDxLOl8L9wpEqSXLyF5+zx38f9d9PX3wdO
Ip2+K9DsKF79LRoYQJ1nqaLU50LxzEYkEXtXTKono2JdG0cZUHAkFidwIlc6Zd/oflbrkTIf872T
nyJ5NyOujthYV9EEhgelBz+5V1y18WwjJIax0102hGPk44nnDoUwYVvsG/Rl6ksGYZY+S9mZUakC
LTnU9X6dAg0PsvJxWqLZlwufr1qz02En9qGkIxcTMvpGdNPG52ISKzBiZCwJRS5Ao27Kxzm7StbB
rzR/moTl7NUnk7CtPNTaYev3bR9MlxypR3jQpYGOeJ57hO1d6ydRkDlBRtJa8gZJmGTlG9+exLai
6nkopynlArFXOZ5iHIz6sPA9ywFMgZpcR9OzoTHH7IcZlkCpdPi3P1n8sjypY2h2YNrEZASY9Arn
phTWd9cEZONHEug91QNouJ6ReVt8kEk8oKpKyJpni8qfzfEXhYK0oywdxvyUpn7be3w+yfLM7KRv
1zVbLw4rW3DMa2mAON/TDpPUM43UOy/udxIABWh1lP892qqnRaS2kCB5xFmdg872bVIQNqkYH4DD
3HiYjCW96AObFuR92FhimrweaQDzQET2TVVB/2xTBGB5Y+n1C66CUC1PLX1LRWzgQYJtS/mTTYKF
BDqH/OvseJv8B+3sN4zWX+KTRTTvsHZJHcKm+XXXVdY8m1Ui1efNfrTR7lPy8L1BqNo8Gsqrae9G
6zFbRZKBgStqsvd/UjbMy/b4x/bhhhiYPoVSXfm3EWTrLBtSY9fnVN7Tlt1vjManjbR+qKtajPjl
NNd3ao7X9W7L8tNkbqIcZW9lT7dTEqrlJhznQx2T0GLHrctbTQEJ4ked4C71ip9i5WZTvdZ0AqWN
GO/YJk8y1agXNepSbZkPDWs/DlbsBthATvrXSx2pYhxrHX9Rye/GWEI77wBMDAetKUjW2+BAEJjt
c99arjE63kpFolrrpwL7pKBwl8Ycpqr6xnJQLxWcsbmv6+1mKIjone4PEiL1zL9mNP+eR77+X+v5
m/4a5WnUqgXWs23YDAclumqKwKaaRPLzjSXkmXfN1TR6q+Xm2c6xQs1xbSgAvYsdSWcUGoKJDQUv
FRANnd2S4X75A46m442Fp6b7yCGL4JO3n/4qfJjJ6hseAdTnNIrsVju1ByJr6T4vPapgDXY5Dg7v
5A4TfujSi481N6TOPHP2Vsnv5Z3jZmUgV/6mgj3ZFdQVxz4j7oZDXhyywXc+Ixz1yF00kf5sjduT
GvzaCtFYu5oADi9lFPVK/ae/LYecpGF0qY2Zq52aXxVEdAMmyZVnXOXQcPYoqWkbNGZI5DRRsOiI
kjriYq+kng2hkmxmEmCq6tinDEfRw3IUiUKa+mrSbxptp/c3qxQ2XeBYoqGb+UZdnZfYl5iA6Iak
xuDi4qLNEAuVzLd6icQ6MlSx11Fk/YIsQyLQ/FawO1jb2OOYGMGGj0FFIglkhOTiotgE21bYElvc
UUM4knBEgmZEHWWwbn9IkEjuCxSvp2Ev1TeyRknHIynhcfGBlw8CX5yiKmcgMyUo1smV3Ryd7Pbd
Mm4WfV9I4jLRFC0RVMCUISrvPDPylyJIL3gZnypv3CLnZeTI5ZwHHtm4K0rbrXpWPvun/nq5V56J
V8nIcl7J2z4jexems9fRTpEpPSRhT84KF3H2McXxSixqB6q2k8irPEux6Bzh5N7sBCo52CzIx2Ob
3ziUBdXBQAETxUGjlxl/+RmqYNvmlauyvRIXHaHC3qvu5fR/n/ExUSMe3nozmJAeO4F0Zt/W7aVS
KFr98qcOst6ljrtbBKu1Ubx5JZvqo1kZiBQ0hEtYRb5TB6oqLNiTzRGes57dpVGopIcZyK6zX6hf
m/e6dSjs02qDg8ZHm4r7Fc+zTV4juyctoAdOPoRyx2LtDLGQIZ6pTs47oruOvKyOtmE9RBStK+Nr
vt6U7XFJLCpkQJj39sGpyl2TtUGaNjjWmZBy6ZYuXFSZh4o6i+LFJgxLN29JkdT4iEp2kpPnISL+
JyaxnJdKhZiGVY5yjfQ1QdmgcWwQZg3SrrIjcssfUnLqqKKQnjvr3ajfs/inGVvfyojzpNy/WCo5
u+/ROJT4MVePMhykfmqCiEzZOH5GpRJOa8LJteGCkSgsQHpS7pvLYZ5lJ5sMmmYpsE1+dBSWqbuf
pytZ28gUpkE665QFF/68EFdO+HbIbuZNY0PzUZ4KuqhTCir5ThVHhEBS0PMiR0q7DKd0N/Zflu1X
o/CrdR8Zu9lkCkftxdlgIFKJNX1Y1MI7iHHWdu6JFtOR6rnHluJf/UTWx4qXL1hjnqKilVZBXm1C
PvSV19x2N2X51LePSTuGTkmVObpWbxtk9vdKdJ6MnY7vxbsgb97Jt3mL49+kRchMKM3sRhvC9BbO
FDkm2T2XbG6KhrwwxX7O4jlbe9P2u35aQu66IGjGmJwmu5Xl4Y02NBQgTsK2JtFGxUOfDbuyvTbr
/piVajhLlg+TLkjS0K6e+3zxV5P9r13n0UC5f+Kta+MrPYUGp4K4VK+TY26g4VpTcpdVpksSstjI
tYmLH0Mi0vLSfpcT7j2wp7PExxVM8TGYdLYlx+Dor9ddTTzVfJhFxBEpMTn4nKWyr8ZYbA9SMfvK
mh5G65gTNhrbJ9Ukk+kQllCz7my+ZJ/TdthtvebpZrVbDIIMk+hYJx1f+kW34zcUP91slPb1Veyt
erob14eBpNBG7UW23NWD5KUynnwG72ouKb2gOtIgB14Dzdq6zq/K6s6ipuVyT2NqpJ1Z3ZcKFTsI
bXoFytahbBJJJ36Yc5/Mh7lej1SgrRoZRwA9EU5MQ1U4Vy2SGjGxImRhvw7SsWvLs6mnwYz+hH11
rHfTINoo3op6hMwb+/32PuFXWxOlivEpzhsv74uwVXAtue8gF/ZHpVFfQnK5WtdjPI07CfetoEog
RrJI8KA07FQbbX6c6cHExRiTmDuzTjhSl6siCdrIpuISsidSbaOukstB1IVL8XmpkzdFx1xuFAMy
qxdPQ+JmyTpKAnPjk1avUcS2eBV9f778EDXL2MbFdT5MQUuGWyZmHudDmRxTSr2qdNgpsSJSkvhd
Ytx2DUptmYdrRIyEHRKxLYk4Ptb56k0OIQembKMrrjQ+WzNQIxZ63Ou7eFW9ls1evFJkhNCS+MNc
HQ0046FVA9IZWfMg419t+rWVL7uxsoNkPTfFJztVq8jorBw6iECWuR+oZh0poEyRKwwEpoLrMLns
c++dyhxTXBDyFNRaapgm3EzBhKtdwOU5V/OTHaBh+UW+nRsX1xzdgVi4/Cxf1Xv5K8cpoXyUohRy
iQ+R7PFNyGsNFTAv1KJQlZQeimAxrur4jnJO+ZRpYWZ7eknBJ46HW1Dp+7rFgWZ7AO7x7I1z5yuF
F08+S3PMg0kOCyNw5H2/Hmdnnzmiy3dRwbHgTlc19QQL9sz9P4Sdx3Lk2JKmX2Ws1wMzaLGYDWRo
RlCTGxgltEYgADx9f0hrs74VlUPeulWVmcVMIoCDc9x/5VHtUhidATUyBxAfqCaTaBlyEDzyhh1W
+MASbWmNPIPVPtm96ZRv4FR4s9LSSxd9iSdHcNZwqB6yi3pGWuWYgh8DVNIdmE6HBJc9C5XBgvu3
h/mtSqAo7YlRcS+mjE4YxxQVhv0AAGGyBY0+7QfejGmmeEFSbQ8F/iEaJ1e0bIWJcBd3puzS7EH1
YWJD1RNlF00ukCawiv4GsHzexygdoA0EW/8sD9lzsyvfe0qfwgbMlF5jXiYUHQhCN6O2WuoslFOb
SvTawk/koMBkhLBX8+hxU57cORgT0C1/Hh6mobHLlsHn9KbR8tJxsLOf8exhjyEAQMEwMsUOL1uU
+0Pt4D0DhEVAhL4XNQz3rwht8Jrk+cJ8VjoU3UlfjWitS478nr0Y3zo+ymfjJLwBGx4lojFSt7os
OoA2XvBe/flyL4PG66hMFlxOyNa0jtIIwQVKaQ9UFDxWC/eMPQ74yPAeudkQcHlVtywVvgAEJQfF
Dy4F7J+dv04ICNDdfKcdvZ97AEYr7sFQytKrafc+on1psjJceHPD8iQVrv4up7CkiNNX07N8A3rd
T55VBKywQgXgQJLiNmZwRgC3+MUo75DcB+eH6tV6x+HEIlcQx4NrPpmPCKEolTHoITISnaRnS7Wr
1o1htKBeyEy/V/tg5PxmFrsJAeu1CFFyBx3oAD2rMGL4ctOAuSPVoh77yuC+KV1LjxdEF0GRPUGn
fIOqcy7xqwEee7ap5koQfPCkL30VTttS3kdn76y4xoYvBP+c78p7YGPwG6qEHscdtS/CNsilhu3F
lpkVXiyK7+nihhrngUtPN8QeGAm1Gr+ylDV4WsBFc8Yeesl7+dU/NJ/gOY1kT1R06bICTGHBtCKm
olycqkIgQ/XpxK3L9qQ/9Aq7jT2Jzoi5nuNR8ztAptjtETfpNlTX2Hv8f/npNyuW9kOYfEWBm/bg
O1uwTeh+SAaGVb5NvCST038UGg2JDkjNS4/2nC2GN+VdfIUNZSoix3PyptwDIAMFV3fsnoZqy4jl
PoxHNi6gqupjTJ2ZTpO1mDoXGEG816x8AAGOGRRkDO2jth2cRf1fgnk7QgPqD4qOe9DlCQBP8pVJ
aNedXwper/kFf7Dhwj6wDRJWPhgLXaHeRZ9N4qUjrgmqEgeheWT5ceX0nIm8vq1XK87SKGEHxAv8
RKEjvoqBgTT2Q94rn6ifuIcQZ8MLR4l4mO+yNwNlFSx2v7zSirmaaCVp0cEyz15EoOtIGz1iarGb
b5qICnwS39dn/AowypvA1o1CqwA7l52pd6AAL4mXT2vQETAb3mCQRr12WYYxHD6o3T3D6HFg8gjA
lF95FaU9gDvD9iQpwOIEdYq42lRXebQ+P9EnggJhzjgnvvguPuEHRRvXyGyALp4O5SP95AmFox1j
Q3lJAHo17rA3A806HFKNRenq18lK1tZAqtYLH9ivHrPtBGc52+pjeyd+oVSNAXIpeiSofQj3KV+a
j8iAjhw/U/Al0Umfpy8bS8sXNHz5ieZ2sLvcphZBbB9/dm8NrAXTATU7e0zetPvuKZ4CKVoVWiDR
eUu+cfbGM/5SJ47dy3eFeZc9lN2zdTmgTdYwiFz0fDmktV0P4EvO2UKtgpfOz0T0g+gxnJw8g6cc
iZzDasfqWiJgYwIrzwW6h/b/3PkwQhmd+uv8YmnOGV3e10SZyBhDdvPI681goQ4vLizk8k7kPgVC
Yrq0uLzNlRfv6FMXaDlyVgaCnnfjLvzmD24/jcyhxOd6IEbDh+xpKpZGvhzYRe0wEJ6zrfWef2gI
ZuhsMSMCArTcCdp68e3cLbJYCLCq9+sXlA7tO/eZ9dbyET6H++YW6hFsDTqUXg550V1+w0sUCw4M
FJKEHEvHq6z/kSZDpmcLT/uEvIQbnjt84IHDhI7AdC4cPDXDXJ2l8WZj6OwLYf4UZ3b/GT7yjR6n
RQDgXLx2Fx1qksF4fTgb0ggSyhErt0fzYuL/cYdx0WBCaOSjh+4SranIkq48uJvzsgnmVGrIi0AR
JeaoOmPmRuZCPfFQzvIGCTe6EfAT1lhIKckpgpdy9gBAxJOyTvz2lRMeTp8AjZtlY7GcsPS6N+sM
KunxQag/L9QOsYvZqtU4SKiGXNBiETQGTeeM9YlZp/YoL6eD6lS3cOf6a0z1K0OjozS0UYfkdvkS
Phb4ITy+lkeHEq2n1DsHAqQoB+SbLK7l5nOinJYXXUQcBloMLeRqwh5Nj0qLUYO52Wev/RLvkzud
/iz2WJbm2/R1fqseefxwyh0PbQQBB5O3448Jrbfp4RljydZ3POzmFeBg7DGNIA+2G82N4lVCeQG0
8KfZ59rMdW2xdS+H3Awnk7khOvDCqUHYzzh8lDdzFaN+5MFT/0G9QOUhDqze+uduIy6qzYRgjxy0
3sX9g2JLML2woQMLqosfWn7/kL/ODxa8Kcpl+BLJqZ7Kj+6tpYdFls2EX5OXkWXi4F/l+1bc7ufw
lbcGMo/atmAHIh/pz1EmedA4+ocHE7h/6R/Vm+oZe5eKX9zuV+Nq+poO8kv/rcwOpFuJJCpdDrLm
09xax45xj8UdVWLxyc5N+ZdClOW+km+E0ZUKsJiXBJgasDr2JtW7TD6647YCu7JN4DmvfcLDfob0
73xKybz3M2vVi54qf3TWykAZCXYeujEnsGD3daAKfj57dNCD6KWKP7WBUq2KmOqfs8BvSDcDigr3
VraaxVU1P1n5ekhOU/fENVHGUKXReNZwoRaaWSRgi2+qau9HxhBXx7T80hGwi6sJI5m4VoxtX2wQ
SFfNivqVPX9GauQWn2XtddpSC3c6xW8gZEFzoSfwZT63dQjhnfEsNU6W3I7TTchBWud3xVqLFsKs
6Nd9tp7MQDbWMWdCt2/UXbziyKQW75eSdsVN5vq5TfMrJ6zEa9MB+gZTtWL7g5pJs0DHnGrQUzHB
eAHkB7e3HuL2NE7bs4ixIZC5m9l6jIN+voMa6e/z2b9YDmtiIWMsLw03meqjy28Vmz3RgnakiBPX
1F8d5cPFHuZA7Dh8HRP2Dtq9dSVrETwPIIpnZ5I25eQjlaH2gbvMZX8R8rKCQ7x+zowWLAI5gwB1
57dl9VJL3pZeeAcdLKHOZvB1GMRKEIXQGdtSWpuFTyGtbVDU0E/ntIOnNlsvBjfNZeO69NRrfgEH
i3ZmBf5A10JLg3g9XtNAALygPJelHQ0KEDsYhaKysbh95smZM45sc26WvQjW7qwHYbSLK28xb184
zoNEWTWmn3LRKVhYwLmsY/+KVuKS/7DUMtXxLOyt+Qau2TRXauFz+g8N4MA6z37Tq/7hD695BgYb
LZmThrUEzPzX//lPm7YaWwl5KAPqRehcCqRwPQOWlI5+BklicxnUb9R0GDukaWfVq7bbZvGmQ5Z9
2c/NZioeBw0/jV83QRo6yBGmr/DiLn3+FIzWKQFhX8QJKwwvfbXKKOxZ1fNOvtywZaRJIDQ3an4M
le0QBuf8ac52vY5v0JWlfVV/xcJNHu8qOPbhQxN39QsYiSHe1vXa1A6J8JggU20e2CrT7GasV2zi
mENCGWvVY5jsxbfChF1/TpqtpQdWtdLOBxXPO3pI023jQEJVM0LxOd1tf+znrQksKi3wtqp4PeA+
NojcLVtQFhbmDT2DJa8q8FEPnbGYHi7dazGuy8YrZxdZRqjY9IuIZIBzsXAU+FIx/s2HIV0DFdE+
hk+69lqdj5nyUJ5vzDaYOhfRhFL8aVMHvzepGl1h8i7meu58IIqwwByxrvMtQjL1Xa68FNVth2lz
O0xBqK5SKj+O/nwth0GhPbbynu9N0TtIwQXSVYWbWsnnTdif+ssNERVF59TRXVNDLNxgvBhhRc3X
RlvV7SHsiehwdGaTQ48q95q07vU7TuQ0P7IjDtphyB/Zk8J8p9FM5DBxvt6ts48KEGjpmCg0B0Qn
bFX4179wJoSUBcZxMjaZ7I3R+nI+lHu8wvp7/lCUkivB0tc637CEvb1tS7DkO9yAZRq0U9DK26q9
09KDlD222l1lbKz0F6vbVabS/zB8WN5kWdcZRSdfCbXLHE51MMTqZDY0X9jPp4Pe7zqaK316vSQn
Qb2ZzTtjfBPKr0Y5B8ABbbIXsmNfvk3T5yV6+ZkwZxoRb9r1m0g0KbpaAgaXkSX/fBOzYegLfSyq
U5o9WKN4yzQRp9MMCh7OLViQyNzmYP1ThpAv0X0SOPANzvsSxayxDvU8kEixAaPV8TgSHrLp6WVl
YdoLsKmhOO1beJDlN+jmszpMmwa+GV8eJA+ryACyyFB8TdL2oiFRAovRziQZXpgyP2ZIp7b1/IHO
GR4AQkpWgzOlVQxUqhjfef5m5h8Cjb3VowyFJcCF3YgPtfKYgFSR4bgOHyvzebpAmhRw/tFBtVKH
NIG8roJs6egM+dC3kdvD6+fTi1w9l/WDAG532QPu5+p7he096gPDwsl0AXO3sHJcFJ9gGWe4HDIt
36kVZSsAgiU+DFHumRf7XCiOJD+oaQ/WYwCNoQwmfiU2Q08UBhzZD4yZpHP6VJdzU4K33+Zox9Wh
f8wUbiuMEGEMYBHDbVdhY89QClU43sBTJH2dNi9FxG/KqGwKAIDsI6lUV4Y/7RawW3ymAOPCCU6I
8RAZyr2O+iC7WDgLOZDE1dlCu3a21oqer0oFy7qGagw8XhrNF5kdOEdGEKoXjHooi5lh2EPnROZ7
YVK+dy8F7XG46DzOh5oO+tzgIkupmaGnzUu2n3E8TFm8F0LMrXDHYQIlIICdjjGdsJ6FwMGAA00P
WBkIwCBNBRwH7KriSSuJ6NCy/pilzBLF7qdlKDPCcIO5M5Dy0qU3OyOmx2bfkqdUW8ou7C9rI11b
wMVaezTjl4zT3EqmTYuYWqueO7NwXyIIsZ7gF5mqfSw85RzbGq1eG99IXbWaytupmddGVvrzImOK
M3fuD2VFuSUeLpK0Lwz2K2BXrchcQKkWouCMCkGvmyNT5GnXrbzzRPU9IyaJ1CSCnWAI7xtopFlS
KPOEdVsBQndKUBbo5ibIylbNcJbjZxFluuT5G9oaoW81mhvRoAiWBroXMtejOyn3isn6ljG0L+KV
ZEJkooNBi25L45waVAQE8Qh9IdiXogVseEoQa5/XsCPIB6zqpdLuTbDjDljuVEF1pAT+wKTovAVK
SEN7GIDhydTxajiNEnTUiteV/m2RKdBbgscdFeZDHNJwGIJDTpVOYUrFlcjNKs1w3hj055cKALQH
woAgXCj7aimGpJVWf6sICwdkbCXoQLy2EmEDRr6g6JWSQ/hi5cdq3gqY4Dg/k9pOqcgIFg/Ej1yt
POEyPxV02/38FokcGYhKQjTwC9UiPS0iguWexNJO7kbbDO8X+qwDXMHx0FbHMvzEwCfykvShyJrm
Zie3l2bmIAPTGU95DFSucmP0FkA+nVBypPgF8cihBlcU15Ia99w8yM2wnvJmUxS9q0aza/liUR/y
tLtX52YlaXi3BbJ6XBEICoBdiGt/YYWK6Sllrcj8qh41/shiDmd6K/U+nm7k6Lax3nlRSqgZYDKN
PC82AiUe18urvvwZaVQDYQOo8NIw1S6xShTWaAQL9ANaAxmIH1gFj0lYH4LscLfezHqTtIBBrO6f
jwfpr8cDAgciM2XDEBX5ymYyjHLfDSZWsku6ukinGJGujri+PcjDLjNguda9spbMl/DTBNwTVj3t
meYO/Vrv/bJ/OheHOr8xrV1e3ChR5HBb5/4u0Z/GCk/pqhpXC7dHtiFJIm2QECAle0axJ1sE8GDQ
cP5sigtCSQeFD2E+JSLMp3lyp/w2TdZd6YtM2VZgTzFgO8hQyfKRNU8krDWHFPCyO6JSmmklFltD
WKcYG42dgTxg3HDcJ346BR2VRO0KYILHy3nTsvCUbWk89dpdSa6WsGrH+yk8Q0u8iLw9Rr2r0FbX
L1m3L/WDqG+kBEnYGq92YvpltlVl0JZ4o9e/xEYof8kuIJNQIslJZ74aFMs/T2lO9DGRxrY64emg
Y58O8zasfCI4ACjY2hfZSM9SgZZ0pBUrBdTuNX806XOf8Nbpld+e/ZjAFTYSACrFz8f1UN/ql2Ov
bGV1BdjVk2FyAEehy/l5DWl/qTC4dqx0FBcyEY9XmqJpmkgkMyuuPdA3yEIFPBzOPG+16JB2AXFU
nK2auU5lV4a0YmVz5uh+mrjweyjRdfKqVsOBluQm9KUGTtaBX0JBWzJPh9rBssEhUbPyTlAzpjgu
afwGPGxuX3ky3abitYoPTCnE3/hMk6f2AxFa/MsTkv6imPzHp7xSTOp1m40zpcUp6W/l+qvBil6v
x/k2ijZx+Z1K6/PgxNvuBiaUuJFCu8my/c83mpEv/67luAa0Yyrz94x/+dJGyGk9V6nlwPgxBVSL
NpyyGwV14zSPM7ua6MwvVFo6GTn4AsjUmfCpL2gbCt1y134SDNAZHPJAwg9558JWRwDy4BCmm1IX
Xlxk2l1hn7cCIzdrECYXv2uJQamjskK0TTaPTwkw9btLGZTCZnApfC6hF5NW09HDOyPSmuW0RwW4
mCrMU7qZ99ZRuGNV8M3xK6EjAVFDXKaEeyAq/sAZ/dKFbXbRnibvl286qBbbg+7Jy5p35TcZVDNQ
oqA9bzC2DOcAk4vFT0HngRWguRKwAxfqAEOTAiPXQP2TYuSYcOQEwSMQ+zZu0HJixNcGsjlQRi3B
RiStiXfG6xndMMXpQaFxw/O7x/1E7zcRhnAfEVzYe+Ce8sP0Gj520P6mI2Yb8Ht06yAKAyIuwFrA
ZshTtLrVVvoA80QxAwaYf3BtIdZ22e1zX2hc7rUurjiNjSjoNW8EG0QG3zsVi7dYLCZISI36mc4Y
rfVlD48KwQzZrwGXrYx3lCzAq/DZNNIS9NdBv7+AI4BYga0jjcjtpN/QJCJol5EjfI/f7WOCeYef
AmpjIct9vqbbZfd0hzO3J3ei2G2o52/KR3wU6MyrtfpshU+h+RClDygxYcckXsPCgxiUGWMKUJi7
FhJ19pp3sbZRPL2ILw0OAlihck1RZ6IfRmQCNA77groBHRQe9YWTcGss8utxp25GGh0Hwer5lY90
SRHBrChK8R5kWYAhAY+CjMJacICWpy8VBBLvCmqoYq+clO+mcHLI20f0qc0HFg7pu36Do23oGkgL
wKoA+I6sVg5A4RADQgKB/5QOTgQ1WxgcM6b0cWk2c8u7KJyzaCEADI5JsUsamgUPtT7a8hKkgVk+
lS+lHiJH3oToRYxJiHK7zzEYA/k5wx1FdhRI1OwInU+mjYk/FUsdzCXC4oi0gB1nPKZJ2ndgyAEn
KUsPc2Hlm5VPf6/tCGwYn6ZP/WZ+TI7TR/oIv3RmWcOIZkQFcbc9dOUVgXLmxrp4tM6EZ1XCAn3K
MvrAdf3VNja/FnZOBiVLzgVFsuZEAgCXfZmhEjx0XjOI7Z/fWiBa0xct70E/O7CM4xs7aIrkAZfA
sTZdDnlpdiCFyWLqZ8+6sOcuWAKXH7YrQhkiyA+Y4kc2Ybgivjff1Tj+vNH9DT0yiXOVkcmSEkeW
9z9PQ4mqsxyLuDpN38UtDisTxpmNDD/UHPQ6nvGVYvkt8Dp5DnRbi2ikaNcNZV1VP6fjPmwDenyw
gkldgWmOlxVwAb6E8O2XC/3rhvwfF3p1KMRndbAqMcQrYjpzLdqzEq2G+jm5VFhxUummMtKTVLWI
DNjcZniY3HpLeCnQEIbljaZuRLlxU4hdg05aDiU0LrynfSW+5pO+uliRHyN0UVuCIkn3lEG/BfJc
f/4Q0l80wSZBAjK5uaJJctUVQjDEphWnFqdK7UImcajQ8aGB5Cg9nZG5IZcc2XHs2JZ+UfNrf7H2
MhsKGz6z+siJt66qHlmbk1ESMs5UeuXZjps1VK5YusW4ZwMABjPlLY588F7YuEVXNAT1JdDzY9/f
GcZrLb8n0rOR3SOAqwsPepIYDV3YhO2pKXyBmmeP6tNUA5iFJHMMNpdkQwiZYGxbczvmXlOv9GlX
VavZ9OJkE2U3Mok76bYUVj/fY1ldPsoVDMNHZV4KH5MpPNdDP1tVmeNaEsoTgjhPsbPD7E5OtDJW
sUPSgK16ZLu6guwh5yIf8J3zPMhepS1JttsSa27zmp2U7T0S/vvqFl+XS4V0aBeqUrjpd9UhPeoB
sh/HsGky7GWQ0TvuLE/x2yPRgO0xmQOgg+Q1dyGMAmVlQAiqXyUuvmQjbaUVjIDbOZxkzK/Ctu8R
zr7NVvjyw01xa27gEOGCcadhZsvxNmOsPFZv4r57xCNyW6/1zaIIQou85MUB+rTv1i0iByZ2JzuK
VExWta3bHvSgI7vGIzpVW3EexB3K8rXp09P68fZyP+3S2/POCmDGN2znrWecpGDyKzddmT4RZofc
I83G7vc9J23u5RvRhX6C+LDPN0NQeq1TuOZKekBGODMGT15R+G6yu+QGqttc6avG558+ZaitOUgr
PZKD+DFKXg8J6TOMBPNeUxs/gJ17ipd7/Ul7IIXlLcPvwm4+2vJqhfE6mFZsoyT4R661jm7yB6wi
9nmFYNGzaCTxGkQ3FztyU+qe/Jcy9E8/9q91pGL9NyzdNJlb/8+tcW57XQ87tkbkydC3OHTZFOrS
V+GzRFfkOUbAFLaBT2xDHQD2w7ETcQrdafvyViIKAsSDhAsQGM2ZjF/2EuWvb/R/XN4V7o8QX4o0
i8uDkkPe3Gc+KUoFQgpsh5ygYNikJRe+ZflhGkgTXY3bkEyWelyitMGclqjLy9iPnqJsIo6mJV7W
ne4RFCBqQJ/883v5Nx8UgXX/ezuv7ESTMgxJMqXVaUBa0O3a5j7u1ijmpXzXwODpBNd5MtHHFbGB
fmEQowln4hBNQfkEBVeTZN15ZAYBIUiiQ6ePRFM4I/t0hMFD0yMpxFzbeCv6i5f1HLO/JKr+7QCS
GYi9pOozP+baDtWGYSGoeVeeWig60PJ1NWEVRqc6rSAel5725xum/a0NkjXmi+IdsRRiXP+5/rTL
oMn0euUJhTaa2tFCGw/Ax6abJXvm9LhaDfkwFMc0xrNfq0ydvBSefH4ZFjWFQQ1OYEeCNgtDrkJn
n3U7BZFtSSnY0hsALksqKhn13hKn245EtnSiiiZIQOq2S9hw3jdodhAzQWpLk4LMCU6E4IHuPWKb
Kr7miw+5X1JlFURSLInjSK4FXoepeiIlMhSF24m+Uxtu5HoV8/fP9+evzwP5nKwQQMhkm6v1VM7h
MAlE85wqUgLyr2wJxyakU36oo9lr47UIX/fzd1xqoesNQSbqnxHGomgSJ/3PBxL1TW3mUlqeFLJK
jOew5k0boa0MZCLrn7/VVezhH3bDYgbp4lxSgIrU67c7n5vq3NTlqdtoH63wNhq35JkJFFZEwRn4
NIArbmvthUqVyyBV/pfv/5fFx3RfnQG3Ev8jYvOfn5WpL3NRNH1xkmINNwf5hZrhzDJ4dvIEvTFe
Dlb80sjtqYNFn+TPWfPnguN/drT6l9rlb14uS4PoIWqSKpVRAP+8li6dojnruBZBiuHLOVPK0yUL
iuwLl08dSEiGx1VD+1ULGqFxv2y0fwaGXD32Ze6wYYoEGTE+6uo91Ltp1tEvF6dL/Tlp9/nirbYQ
SOQwSnmPM7OMqZBbn5Sowyxqz3lxGPs8qMBS27Mrd65hdfc/Px7lLzUOk46oJBmzpJKxdLUU8zyM
R62IihNLI7+ID2e4At48s4jeyJJH/+6Oshn05s1gfLRworU/Rlj45ec67ZH8wh+wapVI9RSx3pUI
PKtaRkOeAeTVriYjR+zToyCB/L4xl2ADP/DzB5CXZ3Z9U+HtRFa2wSLTrupRBOfjTAxTTiUsbszT
2HkZ3V3n4ZjqdLgH3PvNXjiE98nO2muB9g1539BRYlqklbeCmHrj50v663PWTahEKEXgweu60Yy1
Wgt7OV9eb5b4QPZ6DZmfxYc4+pwgk6WLuVfOqKSJX8jngN2Afsj4iMzFSZgTHP3zBZl/OeGZoEW2
LS5C4L4/gPLH221SRt3/+y/p/yqjpE7WOOZLvFMb0e/e5ZoHNmPICCtWCSB27USIADOUpvQ9K6EO
NFh8AXZ4sXAJizWD/hpxHZoLJ8KAJDttSTe806qVDOBJPJ7hSLNbU1Z1q0vu1+I+BjNSkf+tTXhx
C67dP0db5CYTflnN1TWPz6pr64b+na/sV/LgE0SQFIsFX/o+NO8qqsr36ZR9TxvjI699ZFTgTUKP
74cjWlBcEUmB6hOgBJUYE6WMUJA8aeGXHUxe9v9/rjDS2Zc5hlRviqFrV+cDY7kkuZkTHuc59vW0
d3UwDiky/MVodJnXQ3SQrJNm4Hgw763hcOlvNdLFEvFeJkVhaKtVFT/qYXg0tYz7+kUHtWqxLFyg
6n5+0JK0vK7X1yoxR1mDxxaVfwVSz5mCGaefspPa0bDoWyaZvcYEQomANmdSTqO8uC0/JSPd5xpO
/BixXYwhr2F5CpXonHWIO6jVZEL+SzRZIhx6uLXyvOh8+fJkcAoiKw0YsTZhuAC89PJHRJglpPiQ
PvsXYVUIq0hYDeARev1KEVHhYShU2fuSCtinfk+U02hiveRbslkjSbsf5RjjgeTPMfqxFJfEqMmv
kxWv1FLzz2kwYuYYJPxAcngMk1f9Q4hi5wzEvmyWA3YuM3s7T+1DYowQONE2JqcpGe7qDVVdjFRw
xqw6QUrxUOLMPKozxJBKAJNCsV2L+OeimzLBnTmdCKFHeUguqklZK09qoFrRLp/Qc8ntOuXCBYSj
UXTAFQcxh5ljRrmB0K5t90Moe1UsryZspXKOtIwQvXa30IEwD1NcHHXzcvj5cf+lEkYioPCYl/hx
Rm1ena0MMOjgx4bsNN4kK4UUPLvBpmzzUXllzyoRLznBOscRNIY4hvciIGr0ebitDymxFN1xabfE
9+4pBcv4rN7h5NovY5kZ47S/EQ5/XZgy1a6oMO6eId9XL5E4annc521+qvRto2xzmLgE1/+ElK0y
1qPynIyRnRpPlwp0Eynzz3dK/vcOKImEeyuM7+WMAL7458lvWXU8SaOaIcbbdeOwxVOeAJjVRA3R
MC+2QAGf/CRCg+hrS77PL++dsL8oOmpiWgp4tg4HYb+uUJDm+i8NwV94CgK4GeZloECR2WOubk7b
F4pA5QDutIQ6kM9oFutI33Y5IIoK24KBm9pbthqXSGhjiaBiIaefmBHq+v3nOyX9uyDgWnBJ/yEt
lrEP/7xTl/FsWFIop6eG7G+GMSzCjdny1ZYAFQxPIorFYWuGv6jP/jQ9VxsXIxfZtNiz6FCuS+K5
C6cuj7v0RIUY4+3kvD8SWGQp64iRG5OTifsoHnctQQ5QwErhNeF0HGk5pf5opAjFMs2tsb4wPW2V
nidHsR4MAppkuQZ9rO/j4vzYxFGQ/XFhGZi0S5yacd0wJIC38zfP/l9KAMalcfRrMjNmZO0aDTWK
XDWTbEwZeXKXRGgLqxsdVXRCTi6Z2j1EDRIbJreES6dZzHt12nbygGz2RcY2b1jZb0tseWxX91cj
h09lVpvKXRavtooknYu4VMP4RIRmLB6oPpbDSdXnY1mtNeu+N75r7pfV3S6zRerGCpLxUNKYSjEm
JenxrNa/PHLzL+cqAZmSwVxtc9EcXq16yZg6s2TE9RGTy2AFkQntu4WryUoEgnb5YVV7k3MM7e22
PgGO90TQHtF5YgY/k/ILkiO5EJTR+Xaqj/BR5DvPFtOj7OmxDgNycDaj295Y6ArgYDbNMwMTdmzh
K2JgNyqIWezqd/J9uxJuCaVldNZDj4vKCGQEMF59+ohvPsbT4jSCN2vXnRnkbwXUEEmo+CfLICrQ
pyzGE8zQl3hLH58TTDW6+S3e5d+e3r9bVO4SOewKORTcMvmqiQvbMjcxOWs8LHR//a5R7gGWPUlr
KaewN5PiEBVrAvvrMwMUlAjfDwEn8FCCJ+u3lz72c93/VTmnX9XelqiYJno5tguUahIs+D/3inzq
Yk5DjskwaAChF1CUobDvEiOesfzbpXvz3tn3s/31xawf54vB6V9IBu0vy3kS7YfD4W3zjbgZ+LOw
TyUoYeLGy4z6GNx69xLaD6XzCOXj8bWMrf/8baNblvx/vBLXV3/dOWiqldWaOqrB85qKx868+5EL
7+z31L0114P9JTi3xyPwhf11e/v1lTmMIg8qZ7T5EPzj6+uW0CvnGLu36F1cwfkK3eU/jPYbl4ul
2H48fd5F7rflnvjxZxqEDngjf39+fpJE5GyZmfn52Lr8e/mFRyazOUzt/T7xu+3TQ2xP9un8y0F4
vc/+60MvB+V/tAItOhvjMl740IbNtCqeF0Inp7FfwYqXHzj43R3JvmUrCIh9szey671B+NlczwLk
8kl+fg7q1c70rytaStr/uKJUnZWyaXgMy+zTV5cLuSH0zybE235fVtHHU2kfRy40sY+193V8emmX
i/l+eHg424+GfVPZz9xgfhq5v1zbddXyr2u7eu9UsU3muefa8l29w6V0o5HwtjYwRW4/yWwQX3++
F79+v6stcdC7sjovT6cjvBHttGMeSQMkwvbDLMhzcwhH+qU3JEHml9fgChRRurqYqpbvudz/9+U2
k+rJX7cI7P8s99QnwIslgjvGHVzDNgOMTTYMBi8uNHxw8c7e8itI9Pmt75r9qdl75pwvv4P0KZeV
ZtgjZ7jF0kIW4j2Ljujwn1+JMbIZdQlowA4gOoatbjAL8hfwpPN+A5tql/aOLdbd7RjLuCPoNijW
L7PzgrhgGQH60dtPL6UN88vfL08EQdkvZAfCXPAfeV1ZKq3zNnr8IjO5lwma/Hnln68WfU4BiAUi
LnjdNon7zbzWOwL3D8vbCkXPX8vV/fyErWXF/LTpXJ3DszkIglyyorbL7XnHccqGufzwubInRgBz
Mwr7EQmu/bn8iHv3iMTgz4uHeuDPXZbYWO8Fb1g+yY43A+Mjmw4+bVu+2x1L++mpcY+8NMyM/sB6
ZePJcQ68M6K9aR3mgvPO8JhnntWy8fLmMD84dz4fT3ffP3/Y/8+rrSsyA8OpOaSrzSZXBYRzBksL
Y6pNQJmN88a7v3n/Yqucbft4T5wSvzraxyMJBt4b9jOnte9gFPzvbx5KbH9Gbu48Kvbj4+fn6Tcg
Xr/qCv7n9f7f67vaerQiaccs42E8ig50vf1+3ziFc3+L+d7m5OI2L6zccqcKr1y//jdhZ7rcqNJ0
6ytSBIOY/jIKTZY823+IbreNAIEECJC4+vOk/MXZ3X472lvbblnGDFVZWTmsXAns17vq/80LpWmM
6w/q7D1KeOlbw2vvoa5R5h9UaLGHQZPof9zxTOuHb9U4Nttf5ei/W/+imdSTkyhjwtBK9jC9lYUF
BRaLjAJL9xlhkkWHlcRPsrDCV1gJOJJFZ4Ta9eBn+Vt5yco9+/DJhBT++c9jeA5RwnIs6zR4Hn2M
sRh4FB/JopXTiCBmtyK8IP0ZLBmmW7bKFwKEjAbL7vqtfxyDlzWL78WJwEp7LEoqmWP5JHFf3LXp
PrEm6a7iPjGUjfvC9/XLOTgH17NQ8YUws+qp8+GtnGb+8kMLJ9HDuvL+Lav63xfmfwP6RfV2eVNf
UrEGqAoFBzR1gpT9D/YbGptRyXj2GrD3PC3QK4M0cIkRQ+qoiQg5Vb1vPDgRARI6Puy4Xf7E9Chr
AhUymWshfQWr3P/3/Tpfcgj/I7tf1HZ7UbpeK7lfqvz9V9kx0dLRp/oWiSWs7OfhvbQuVl0IjPhA
DpGX6t6Lzinc7ccvVM3zz597n9CMa60Lvkfv7/1C9Mn77Y+LC1NnhPF1FWbKnSO+PDA0NKLvUB6I
+gPLtQgfAGOJ+bZl2X5A8efePZQYc5X3nU5x/r5mHcsE/mDYdChiYfxmLjjTQ2YSDkensFfIvnFC
MjEcLp6sTzacn6zcz+f8OaJgvdv3twhGFPdWTE9ZzTc/STG49582aovBdwleoVDF+mHLgyYiRExf
1uwaCOPDyXsgv4wm+vyeuw8/HljTpKEZjMzfTvwBFWptfv36xvb4+wL/7zm/6E6zO6TjmZa4ETW3
je2OM7hD90JVCV7o36Jk/F30/7vUFzW4q8dJroCLidh8pLk52kOWtnwv3VfLXUAN7F9NxIO7Qgk4
7s+dH22WpsveKytz7z5B4/D0JOMmS5sBYsBA8XnfDcp3tyq//232tbHsy2xyourE0902yJfZeggE
WaH60Jrw2nlaAGnLQvUV/m29bnWYg0PnHdXGvjoL1UXu78I8TIMduInEh9Xbo3LPh1nBhVXIV70L
Phx6bJ24qqfzAhR4C1ONl3q05vEUGrI13snTXM0liET0L/Xp9OzC8RafeD/xKTgNk+C7zQrWfLEN
/td2+P/z9DWocNzpZmHo6PzpSr2jMNEbvIbv5mrw+rDxyXms1JvxBkzHsg3kdxChBXkMRZ0He6Zv
+MAH+aQNTr7FfQNy9OWvKEbmX4KeXjs/+jpF63KGPuxD664N+ud0Db9ilP4Y36ZRH8r1oGcJT1z5
2eBiWgT+7CbFkYHY8XpKcIx3x2dyvjeAtfm0Djj5PHmnn1ZMQTHHM2Be86xt5SLalpTN48k/h9Tu
RF3jatE0Oodyl9JQRn7Vh7uYYtkogb0eFv45LOSBcSNH9GxWMFsy9oMH+W6cx/sYaiy+zpz6HKY/
sh90WAy7ABs+5hJ8QWx4d+b+Wz7ruGWs7Q9g0FsUCXSo15e0m5fX+FxxKS49t+4uc+MGjiz+qA3U
t3184YJywvbjuDyxI1TLPcMuf0+X6NBe7WLIPpeDJwN18rug4reQfgRiCXdB8iojR1+v1eeEfP7O
uiEnwu3KQMNax5U7zsiE83Mem1Qi0h0Q0vqBUsQwed0zGnKr45uMzhEPPNjFTB5DJFdS5mY0nVOD
7Js8KE045mNoRpjvjyNnB5M3J67O78xt76druUcZQG3eLAeGVO5CBkqeBuq7UH+TQTuH9aPKvz1H
jyG07JxHriDXGzCSWI0cP51r0MqbEU0cOJcZ9Uv5zYWVanGW6dyOxjABeT6dy8gBSOauhkDci2NM
AeN6pYbyOi2pkAoBDYTgNLgUlFvhwGWs53zTPcqhlyCdgSm872MjzGa0kY9FCQB3DemWMKIDKA0L
01k600PV34cwaPsVn9aPq0tgz0FfBXTBitIZqcBbOL8DGjVxpnE5+lThgqgCROvSn5mjNI/PfZW1
dIoVrkodOV28qBXn5yn8B3KxdCYwr3xz4VFGv4nl38P6xL9yPnsOfiwAZs/zgNyCYD3MN0189s9c
rrlPIvJncTo7++W6WMvneliuaewWH2PrmcfniPN1fM5+wojCuPMs86KG2kcSfV70c0jOXEaeuYkb
brXn7PzdfXELdT+fmB/woBOxIYUXTz/UsF+eGf9LII6c4hHsYnQomZAT90sZIW7zl/1xinW4uxns
/QYsX5zMdQbcCKkGC+tb2k/x+FYInS9DUm2SufysMXhDZD/Kb1Ufu5NPQBYFUNHNOcov+Boi1T+G
uzcAhODodp58p3EDRWsuCj0Y4yHSl0ClOchgNmh9Gh7mF5Q6TL2htah850lf0ERhdtjSvuihjuqI
yvponI0zSNR8qnb9NqKi5YZyYcI1W/0n7mygzkhB+F3URfX2sAWGG8i9cHCoz9qogAhLTqTO0rns
GZ9HAsTmNS6gjQzkIiRIMbByXzYSWvDyL2WMYRv1ZNpW5Wsxlw2HChi+hgi+J/KlvIhFAvzicjwX
l4J6L2ijjJ/hwIU38YFz+sV8XBxwvfnFPNsW8zqCd2ELWp/ry3XHGcWP0SQAbB1CJc/uJveO6xLJ
s8EZQSqIM+ozbgihzzhB7lc3xZzx4hQUnUeyA46LNJDbl2O4BOMJFIrHlvtRZ7Jl7pmiDpetYhQZ
RypYgDpytLqALMc3FjJscp02ooNUcAxBKcqRXEMGMgv0RR6qs+aOM3N+2YYtUIvw3sU4gtGe4wVL
WfAZxz9x7FO7GhcyxBzJ3WRyZd7Lo8uD249FcJ6V13tlzBDxaSD3jlknp2i5VbkVuSW5MR76Oub6
QqSKlrQs4SM6QGyBdA7kkj8tV9m2XPUzZ52tdj4Vdv5x0cycgIYNMxoweJZ3iFu/90jzrbrQWbV+
66tBF5K1Dmi7t2x9II/Yl0VMl2hXCQd/CKFgjJQQXGNYLwkzYDZMwEdmm0OshfKCyokd8LrhBoeA
vDgbOTCjqA7o88MOk8dwdHjQYIZ5lIaOTzU9G7R+A4Orq4UKL9rF+HTixQzBdAkvICK5J1/MlzEQ
fCSkJgFMZgEEBpwHxKOf3pEzCkje3OyjnN13F3G2EJQ54E41qH09Ag3vg0MKKPDyM56LWlXOffY4
84yqVMwixaeIYCbXLcI90Uzwk+xWNqaQ4dns8gTFQ8ySWfNAd27ORPPKiLrFYMJoXLi71tfCgatA
/B8ASYfjY+pbXGXKyBXIMzF4PwnERDF8qlq5c8svF5Ol7ooFQW9KjwaF7D1NuAt4QrCbsEwHg9/5
J1eeXmFWlBBmQ9ZlGohwk1LgPkCLzpXZDqSnnJPaeY+zB1YMgQ8G3THChp/RLGNeBxTmBnn4CmkM
Wy80QkySvJpQbqBcyM/K+nPixPKCPetqzABUCFXv7cwclDirqmdFPGHQBPK+jk+BReDqOgY8q8Lz
Q2KDDwXrIOhX4JaYYqDGowtWLaVW7JdaRDYLSwlzC/mQy9YBFm+8i7Z7L/NLrtb6jJqDj6W4E/4+
92B+I1aSEtCi6nAG/4gPkVWsMnNWNDAyhRe9UaSB/GbcTRHXPknqAKIDeFBg8hJuEb/DtD1GJeM7
8bsnm4XHIg0onuPxDz+Bx3KNwf1Iw3aWA6mtAlJz3A1lCYgeU8pQI0pe4Rse0SdKKTGf6SCMmcyD
/lin3pZaZm+YHaOcmbNDQQDLapjEAi52ohGwMM09VwWfVbhXVUTzYaQccslFFTkvImECxZ4sKdAI
y7Dw4VngO4hgnqVfnbY0zuXiA7c34RzcMZJIK5sgWZw8mQeI21xm/Sp/vWcu9wtQ6tFKdnD2EkZV
BuQQj95a8MeUWnGO7GYCw1AaDvRkmvBz6pPbv9q6lH2ykvswA/CcsV7lbppoN786AOvdNgtxByJk
TY5zgahENlIoq1ru+hCm4Ji5BjOciwQEDatSfrMPpmCf89l1Xcc0xsb90FjbTtQHmg8YMwTiip0o
ttd4tcqmaI9knXgm64dVwTXlTgFPsiplTV11CGfPA2ovPC2ESopW7vCVzIbZJJ4wR3J93BrkEfJG
jyYhUcF7WnryKZhvX2SabuYRE81ZmhW/IWoKvSfP4/h7vuSVohmgMvYp8JxBXj0rCK9SDRGemQeL
2SBBN7+EZUzfcsI8VI0ipfLSvXx2AsWt+GZIg1OvvaGKBnlmrXPmYZFHw5OMnIxfRdiFhlQcCxza
p1s38mvewHQUFCEEHbM8oPyHsVWW/WOxkXPrcpyvBwarEaR6JKFkkX+Ki9CAOIEzh2knNhUdIvQR
P58Wopscz8RBTFfTDS1X0Ca2z/cNCUSvDOGzZ8SYPTSqPD8UrnwiUrB/kDnMg7mcErJL/qiM6D/D
skfNoUIPnBjGKSI0mBgoKgiSUJTE2z3nNp1Dbnmbwhgpm9AkOgdTUQBsIA4LSpaxE0AOMM88jI6w
RFmfgo2sBe6aS0EXxpPQbSsoltw35excu1/AsM00lkxehugdEYSSjQlahDlUcQw/v0e0oDZmQVmI
LJOLarf8bY42hhguyEJyP4wvBRizA7J14tFAx3qXJw05yOdHdA6y6xeog2bFTG1FqjIul/nyubyb
MCZ5BOcPksn6ZxdCMtCDcIiww+3QCMwj80ZFY2z6yd3UB4sRFBHAbI9+UjwIlIy47KLVIf5kN6QG
nofDzAv3N4CKIxkyI2IMllZAfZ9fxplnxjZDP3mAAwlNIjOEFkGipjN0LxIucwg1NdKohaRR0YMM
FHPZ3uwCpDsUnSqDhpaZUYdAcGBkAiAxI1Ikk0K/e/5ezk0tA1Jr0BAGojfvgsyPyPAx0vzdbBIZ
SD7ldXFHBJT6qwjKl/spsk5VA5MwIJ+y10LKGbZLCBKYdtEOVED8MrzpTEYPPB57Q4PHhC9IgAEq
pIXsanTEiWlpywSDVg8nCFnLCDJmyMKJXVELqTLjfOgRjpCEh6wyLBV2S1l/l/iBJ4Z8ZiFzJ5Ir
WrMI6Z3LszuMBZoErSZjdb0PrkZUcKEQHZyio6AVZO7QwZEuGoT1iKaN2HV4JnlSmCUYMdmnRTbp
DHQd62k4WfHsyIDshPYbeiUoY4tlYXlvUBKgg2HKmreYX1ZUx1ZE6wgOZ8fhBS+Xf3ykNRK/FY3d
sqgHjBgUFCeAMA2zrIhlexPjbQjhrmQw2pcubNkKy5hh2taxM59gBJEDYpKY4FAehkqvq0lx2MBn
ykZBBxh8D/JfFHGLUWlhj57uVB+uWIwFoFeY/gmGoyOrF2NGeU6giZpwtzIMch9TDFKVrx2miQgO
JY6sw1EMNgyQCQZHDawWByQsg8sK5hveZ5hOYvHi9YQlVq7uUwqJATtxLWxvmeCOyTtzJsQWw0zO
JQtSVKJMACYiTyHxK3lucG8+JvG8wj0QfUNLEabijLpAUDyxxqFMJYN9Rnx6po6lgrLHUEAQh7Bn
STXs9OTwse9p6SE+1nwXJn4RnWayPGE89CxMZzkn481dUfzn4RDhFbBk0VKyeEuPhcjxJ7TYgBE7
egeyevbVwSImxzuaKuHG4GTNerb9KZ/scNuhi+Caui8hPtGTmPVUYYr/wthzFxTH4GuIE6TPRsZu
F9r+OGtXOQpcxzIBuygjjdBBEhtjJvoTtCaaM4J3z51EEv+7sCitSO5enoW+zbgR4uTiOSJtDtdF
EXH/JlIhWh2ZY9xBOfOcEEYHaWwgKdM7E1VDRSOGq5hKtDlBFYKJZZlS34mRypbGJi+SgdHKCGNq
Mz/i39BonQUJ5xBOhCyQPMC+8tjwUMAN57tgjMh2ejWpQtHQUK/4Lzk6eYr9Aa9zdIxkz0Z3UYuF
wIvCx1Y4sb5oyBJo7PR5JK8Juva4kv1ZNDO1U+yWiI17eoTGkkVEMDQU4Th/EA4NaGmBTqQJFmdR
+c4uzWqX/ZcXmk0CpAaaK19A1IX4fa5pEXBZ2Rfuh7YTBJAl7kWuJBJvgcF4pl8vU8G9chTsucH4
iHZ15UpgjdFK+Qyt/EPxrQ+qcnyDwYLckIV7wb7FRHtgOUXQp7K80/sslqmTxYbSQGApKWeyL/g3
+H5MWz+zRBfO4PILIaQk/jESUqC+G2GhUQCOrrjEFhPrIKpEjGeIWHiW0mdSQbjYOquc+vzgiKEw
oEhReqhOUeV6lMS9p7MKxGsOSbpwXvHixbk/3uEW39Df7eoo71ngU+LTGstZn8kR4lJLFELcf9nX
sEW5F/FWjzjOZBtxxlXfJpqSYp6qxMwUCTR5BKSIZBECxGOCkpsMhvgtkGixCBL2O3xShLgWf+3q
aYhtJDpdvESKnUHUKEuN/UU4w8VDMLkudRDyEPh8R5YAVJxi7cnu4VOEiKRU7M7iNdCBYG362kZ8
Qyui3xbnKdlPxd+RWRAFnOF3iGbf3TrRiT1NwusWYi+B9uQGe83vltkGTxbVJZ+eUZZ1nLjlL/hC
Yl32MgyUIuwWJvYGhQYh4XUsZLGc7VsndjZpiHWB3O94Lmjxbgru8oRsHVh8cuVhWbOBEGNj97lu
Eex/Fqrn5L5ZnnaTLmU1i+4QzUJHRX2pBc51BDsCE0Cq8NokSFJdg0ggoZkhgjarI3OIo8CR16jW
PSQ4qCWCGChrCXD0G1FYhP4eFaJfeqgEEhakkYooMFdCKrmf8Zkm80kgplilZBIx0lAC8LQStkJR
RqjCYBJkqKnBz28x2jaH+4Zno+ZOnBNmcoJVhV2OGm3mKitNRlAUCuBB/vIzwXFG2QowCZ4I1CJB
tHC3Ad/v0ZGAICQBUCJ+GnEQCfVJ9BaCUp7ysHKQHTDhrCfZZsVrv+C1D6wcWUWsnheJf8nYEMwk
kiwxVmMh6wVXGamUZEPDercjlcixJJYpw0jm2o9zrDN0RxYJQbWw3mYMGjnLORSpD0TtZHBwOAkx
8ACEuB40pnBEWEYeDs2Mk4ehFDaoA5q5RgcEBsr7Wco0ayFC7U+vBtyA8kA7YlTAGBvsb6ehjhKj
2QdKkaANOv9wr6AaIIuY4xDfYF94RJWYQjF0YcEFrmBfF5odobYYthMhWHoZEJwlOMnumcmQSnCJ
r5x9EbJZJpWlzMTCY8bOdcLBFLETnV7HF5SawkCqTBwlrJiVuEzecZGtqIv4DH9wRtQZOyktMHzj
VvZSfsI7IFroUUcfVfGOwBW7BHZIgjoQq0HCjxaTR5Ce+LImkW9sjOvOhj2CgiQ6RvcC9jV5QsGN
cK7H9JapWooiORLrlrhfRziepAbCOkU4Kl8jmA+/JQJ2/iFONu9l30fMEXtER0E9VSJU+CBEWglS
iHBZHCM5NcR3SeSOGLckBQj1gy2QkD8KEeVAfs3d0g/TTeLUvQcTmAaxhkIL+RFDn9GtRY2RVhBR
ImnhmfOKZEuCK4vDgOxAIcmIizDW7J8iFWJqSujt8+uMKlHnqCbqkD83AbFpWkJxdJ8hSR4b5ORH
drIxMDMkSLYfMZ1lY8KM9dNnE1eUABYuLp8u+zXNC25xJ5Er2brY+vxz1HA8WybmtGyfedCjsA7S
1kyickzyQiNCJXvmgN+BHY8Q0jKIP6axENuH7JJieB6u+y+YZfbx8k72cPGUqASFaBrHRMEGIISA
e5TeJNdgRHojQTLJL+5WnyGyPLL8dlY/yQhJIMHxjU2CU5VgvEN1zs9ig3y6qDgLawktwv5CAE/f
SGhAfuY7YbF6VnKWdqa+TMLJEspfYHhELsSYoTGf/JkcGkCfyTv5eReJkSOxhRP/ij5OrtE1+vm8
WPH0tl5IrG26hno6MuJ2tsdCASXAg8jz7ufEQIg4yYvelsRvxF6BQ+8UHbclLm17R0AKy7zESJCg
FIB0lP1+3kQwp8iQsqExG1hFDBs2ERsDNwNOIzgsvsPgWn/Hyf2XfZWE/dt/RVRNfd6d9Jos+QKW
OWAEWXAPbEKgB4KCoc7MvQXK5P8ktePeRmDPnsDfhmAQroDR93eQWT8ersAYxf0BpPIKXizdu6P3
8OP96UcTffwCaAFK6+Pjgxjbt3DX7+7/C1h3Aktks+tInTeEQCXkLElYCV5J0halTcqPxCxaAAAQ
q5n00L2sdjyXmbEUw6LCNu9WYijBcox7iecQisW/W59ZjfCNY4yJSy6GjHgZ5AhuxN/Y3YiWO2Nm
oHFZdLJEJCgDpZR3juT950o6R3N5KzIgVqnEEojv4WemRKpSJlZENSfCJe/+DYEwBeLwj9S68wVN
U9VjX7dGT56VuYWP+PoSMFXpfgIjP+FUACRqF5jw+9uGcKpAg3v3TcK5T3t3c9u7t28COpzfVR4Y
yCuS72MLFhFgBCiZPABP8w0gQvuCDP+EAekUQGqOqhsQcvwplcfpZWKcNciDT8S4LPjVvWQEAB6c
mpklHWDh/YS9yVOAeBEzhtQSGB7UFZpLZwWasU0O0MzSnMNrO4/yrJawNNsXHi4AyO/KXP4OF//v
XrUv0J0qKxxIGVlBn7izRcHieZb8LkBQQSOjm0FXCxJJoDpg73K0+xvDvHRf3p42EKkEqVuCTyo9
gCcyoJkviORtN2Mx/QJyAvjoF2uHynF+yT//lpK/w3N/e4AvmJwM2sn+3LOEalZCRGdmmJLo7PJs
zXczuiIQs3z/9xW/HbIv0JxhWmXJReeKgo+duEDrYS2UkKSA0D8RTIwTrVP8G9Ul5Qa4SXCWOw+9
czsJ0Dk2WKU7IFnomYtb+HMQW6X/8HBHmCu6uyMY5m23v37RLNv9xSD++/Y166+Qld9G7AteZ1/t
FCubIJ4CUZEcUcdXHYw3mCwhxOG+oCkENSFIgiGY3IihIHiABPsZJRScQAGTSL0rtmI0HvCSxOUf
MR/Fepb05YH0rpjyYpaJ+33ZmJgF4v8Qu/WSezGsJI5rLgfw401wmmMMbcmBEO4kdOEaQbqSIwis
8iKn4qUryQA6BDQKrkco4kGCF2JLlwQoJMYoQQDJX8GHyHuCHxhZkseSYAAW+PU+YHbD2f+MLZKL
AW5COwrUrs72JJFRyWUM7Ij7lVQG7KNhZryIpyym1hQTSDwMTM+lDfqjZcxIO7mSdjlcs3oJ4QEM
D7wUsdMt8pKNZEBQs4dY/DX62pI1km1Rcjk0eCRPAVAET4qrsf9KWgvszfxMaqtj/86JZ1orncBN
H+iQtIjNQvyTMw0LlpTj//p4eKGukBWIUO1En1UC87tWKXw4GCBicEgsUowNsRTgmJvRPZZrsTxn
8qmYJ3usBrEhIF1l4+muP/1b6FRBav6PLv9N5r4gOXd6kvRawpqBqE3FJqGweTXS4NqjX7UZnHAO
Rn8P5vn8XZGjZvwVnPjbpb9sI5em11RNFMQA5MfwKUeD/hQ896/HC7hEFUDd4+PgPR596j0WjwXa
CrZejzdQFnuPYDHBIAsQkS0GnGJ9heAJlhG44oRFzbLG3yRtQMmiaMg0uE+vuvJ9F96m/B1hfORS
EJzu22b5hFSTZHCfTBf53fPRxNu8b96uNS2bzdvbcvPEf5vNE/wjvJ4kOLtJwmoGHFtemwZZN9YO
8VhEW40OyxY0PokxAf5dAbn8pZwOKCBFGm9she9vb2LjvLEhLp/uMPWRkDt0C88rUMnK+9hS6kKR
KfBTthzwhjy14U7CxeNWd8019Mrer1+5QKnpjOLKgY3/+Jk9M3xRUfydqCrR+G0AUP/X9vFXHcih
/OrxFIKc53/JfW2/saE0mb7/kawpxXOUPVFM9xWAZ0zKMnWGo0wvEDgcoE837U1ieLaPrpAwcEtM
o8Iklyy7tjJ8Z/lv+aa295vb+GKJFlBKVmlzmEZHbkIQbAIXuELqQO99AtQu3rM4TeLZT+cDTpjo
Vbgv8fp1HDPB4uyApUgswkCXCoZFDDYBeVToVIKoOIJWKNEN+USMPokkCL7kExYiGXaJckm8QhJR
ArGxfS220Kqfo0JXJlzhMxJEQBvteCZIpuIB4VRKlI78n+TtiNYRqZQwtoQ9CbChd6kAneWLPZFF
Yot4TRK6JUpInMsgDw5rz9XhzLhflQyoZEEvwT4WP4VuOEQeysURtITsJ2efPgtA5ARPIGl7OnCj
e+hVR6QIt8HPqYjQCAcPFJcYgehuQXYMIUica7YIR4S4quR/IDy6alhZEeJi5zjNglfqie7pjCeY
MvLX6jUPQp2OKw4/sS9ipWU4oKFNMjxAR/HxCOui7/NrrHaYiaMyoJkFN6h4e9B7EOx4GfoCOCLe
IZlatDrJOxagaHcJYSjEvmgSABjwENg4cvLkSfDC1sXNSdJSgAfngEV5JouTR9/VDFl/xZ7/tg6+
GJ2aUhelc0YABTwpBtwRrKIgHPUbif0I4pFdxd2z+4jrhqfH6IubCTaQuCtfpDWo7gEeJPu2OAwS
88oIxUvkSTJYWkzSxjVWsrtNcfGlcqAHm0J2j5iUjARhHBxyCDzYbQ7sjxb7jDivFmr33ytO/dOK
sW14axxK1lXDVhRHn16Len5z/Y7txcra1KjuzwARIculjsW5TZYju+VDFtZPklD89qJ/rvL/u6g5
tSBloUIWuuc/LXvDvhzOpn0eN/tlekuQbpFJhjO5dwI1Su+D/hHBmjkx5bwr+qj8+4mvlZv/abrP
i0sPEIPyXGrmr3bpb0+sDWlel3R6XeknUCVO/avpO+ivlfTdLO1wrCGY1E40r25zyOO77snUm9DK
SHyaOzcx78z0tlVqb5TmqjpAA3Vy18EucjYAtI4YqMd1ViZR0RO+0Sklq94rhWybnXsH+mSdVAKn
NKCxr+/joanoz0PEc6rQAPHsKsm705f08gHeMwKXMhBC8w32OY34bqYGZv9x6JLg3wPyt8n4fTxE
Qn4bj6Eb8iG7NPtlMjx0GRyVBh3sVvv21aqi8eAp9TdleV8IC/53Ar7o+H2u2GVXmcOqmr5d6iFM
M2eht899jwLar49E0Qa4/5TWt/s9Pct/5LTfO+qvg/ZepVSgmmAoDSCIVuZbu7d/j4X65/KXezMU
+B+hMLNN4iHTL0a9rmdH65A02jJZQX+i736oBVnS40c2t1jOx+hczGk+17ehXR1cmiclxUPC5n/8
jmfnz4jG/90HdE50yUBQFfvLpFj7tNkPu+5wb7nJB+WS7hvhvmWyePzmef/c9j+vozL7sJpqOkvx
y0ps6+JsNd3YLkdaOTYEBOw5hDnZ3EjgM5GmezQYJsgMoxldWL8r9PnLUjQU1cHccCzHUqBl+FP0
4NTIj/rpclpNaYcwTJVnK+tWRpYsppN+ZcG21g0WTGnr8ZDTnW/nsSIvMA1n2Yc+ZTFqdN2CbNoA
8kA2T1826tLoKHG3CXdqkITasH7ADnIpP/LsPbX8lqYPF+OuL57HmkClA8Du6KyKxvKVgSY9xiRq
aM1SZz/NOqEfe6l4De09dkfSffVmklmzLtstbLh16Wz+zTzIfP6plCAsVxShebIUWox82XZGdawq
a2j6FaJXD4TSm1R6+Jlwt0ygDTlfyC3t6KRwqm9Tg643hnBNk2Gvl33xnUyI4/31XuDZsSl6t01I
WGSN/KYQatM4HoZer+5LYKQC4HaoKXrbr7MXcmHfaONrneSXi01pTWNiCgrPy1dCqa7Q9t0567ql
0vzMTxBu9zeHc6yND2o5oys2fK+EUkoqN+AB/mbMlb8s9qlNBSejDnEaPQf+fNDeOsGyo/bD0khe
WyAXDiRRtEUe6b2pXF6r3IjSgvIqikRoIpeND6fsx9DsV9Ivpq7mFwPQB50w4HRQ6Sh3gNdUGIwn
r2O/OjYPUxhrWtunt93UpBu1zhZDo0HVenA6AuNTwuEJlzu9qofXsaITB2c6VjkdvKlHM9NIoVde
TXuGkwpmyX6f2Dot7Uje0G04tyHWxp1uQSIM83P/4GAHw6SdmJvd+F51pX+23q3DXHpqozSn1K8M
TOVh0w+vlpndNCxr+ogppGrgJbU3g0mbbGczKGOc29YazsyoJYW4n0A3VrD8bE81tkrDtnCicr03
aALF6Qt3Ml1lcG+bHFSXD9N+PbEAPWVZ1O4psUg/ThCsKydsSPoDlwTqiumZ4NcJqHJ2CNrpa3X4
0UCo+d2s/q/0TmHAkwI6S4Pd6osGN5LO7PVBE+m15zsqXonggmWY+N9c56/CY+iKM9VhQ0GC/xSe
JrecibE/K5vmANfsdrXf1NJq4HhaDBtI3T2NlDKFBcSEbx/OXfzN1f+yP0xtw+T6OgrUsr4EAvrR
0uHwbap7inP8G0ngvxBzxlj+5jp/2R/+uM4XDV2ru74rU7tf5nC2zm3Igj4UGlNQBgxq8YXe7+B6
0mh8vbBj598t0L8oIqqrLQiZWaMQC355yGlRVEVi0vxCgeb0FLc0ATrtQYwZBi0DQhMrqdNTN4OO
u2ggfKC9zDdP/5dRNugkAbGhgkusmF9kaXLJTztzcihuzVccsffJulmUy/16fCh//vtKMBL+RWx/
f9YvA61PB5bJ0LerKaG7IxxJdhcf8rhVDi+2CXWSn2TvewtAcYLbcT7SYo+MhOHM9jWw65xWaK3y
M63SsKE9FOR1DFdXT9wqizrzuTiM81rRwySDzWMkHK0DYodYzqS7tkVYfCwDRblEOq0rj3QdVS+w
mdPTUVVql25TlZvbmKZDE3VqE2pqEY4tzuru+NgAmbrkrpo6r4pDM8NyRyj0su6M58JoPd0kGEav
0+LwhgXwoOpAiQbjRh3qlb6/+NAW0UonUKbbY4uBXD46IAF2RH4bqLb1w88j1nmyA9uR0ObxrEOH
Q2egw+uwG8OsUGfHKfVHLeE+pad1UbEYJ2SI9TZMqAEo83Vd1/CtlbvwpJhz8zKuKyRkqp3jYqpu
85PqKg1Vg872QmfjlB4e9KbWaRxL96QOyuiq3N9UFv2dsiFZHSD1nvSEEQlOT/cvo27B+Gg8H3Vn
ftqb9xDVvOyG7ZHmh0p7t9t9aDZOAYsRe/18Jo08eb3kU3pvTaJ8b0D+rtC4wmABaffGWXncnegs
UgBFtRODVs76dqTDoMq9DD+GBEPmQu8kvR5HuqbWN32lb8ZyLPEj4CY/2aF9MhaNbtC/b3+n1AoN
wmBKKGApH2luedGp+co6AhJD5tfte4qhVJ81OuMOtMx+Mw50KmWLSBwadCnd7KCUN9OMtBTt0dvh
tJxMnYfDATs460L4qWDb1ve3GlOcmwAcTD2+1MRNxs3hlCw1de4glAcFZ05/PNkN3uo4LHc0XrOR
4kyhzMA4bDUHs3K5J59jmmcvTWlKWL0ZFTD/Hq+rAEBDu4ZjN7OcETZp6NNsYq6H50SBz0JaojVY
4Oaki8+XdWrR8SRjozafKxtslAa8oi+p7U/24RnL8WAsJvrtoFqIMwZ7AwDavisuWJDduaKD5SU4
MfInk8lu+iDJD4FuYPDS+kLGBca/aa/O23K82zlNdLic3FxtfwzZrBv12XRHc1l6JOu541eG9Vqk
vzJVc62+Ds5QJY44fBd62zY0JzfHV5WO7ScayicH7b6FBe7ycILjic2LKz+dK8oKaPM5Ii1N/XPQ
TGKdWv3W0FQBctmNbU78kUZu6vRGvaeU2Wvo6tufL7Gz1jo3GvbAxSbSoKx3jfb0UnaE6Ha7OyNt
IpMMTt4tp/Ty3Ze9X9hEmypA1wXgxRLUMF2KMauLkqJLe17AwmqqwENbIjYQ/xfZlD5q7fZ43Edj
Toynr2aqXQU67b/stH/Q6RHbVJQs7YkU2csdfPZn2iO3e4XWYY8XOrfVCf70DaXAa4iUaOSwv9NP
b8fEpm0ZDcb19K0+lF5eQwRj4fI6tI6o3w9WdY8FNqPzW2jpq6NGq72eBh7k8M6OX5zrVf6jVVTy
6BDDtzzH0M7t8fko3I30xYYw1bWVC/yETEIV13R8T1LKmjVigTT7sM3l1L491Q+t+iZG9Pn8QKuD
Y/5R2vZSz+kCSwdmjR4deyizBmyy8UJRRF+6rRW0DNVkd7lN8sptnWOUMOgnNY+UipI9MXDwErxp
1XvaXvFag5YdFs1ejkOoDeWsm+o3JV1Gjc6eV3W7Oib7RZca5CGl27JjB2pPbgR+ovS4tY/0fxtP
SzPdo6ypjr8oJOJOpK1PVMoYt3rmRNWxucsPRZQr0IWZ+k1d2stTqbLEyoeivJAf2XVwlLZzzsOz
rHojL7yKlhxp9dp2805LV5ahLqC2dHNgjcT0zcOPEV4exzguVFoV1tCflxn1NKY2uMZxv5l2xkwd
y3mX3g67ImzplqyWkzCr2gDLNEyqw0Ip84cj2dapUwUSxDh1l3vL2fsDndzTolgMAw3tIJJ0TCgG
0nd1Slgzr+fOwaGzOqzN+W570u/PvbWuNbArKRUzZ/pkNsuR/nQH+tkntMvZTQmHTyta0Qkvarlf
dcf8lat+WApkIZqzyc/UqNCTt+rGF7Vd99Qb7jyL3aZfVwXwQzZYG71JCzrIBu/GcYe4rjW1iht7
bZiHRVeTHbsY4T6/Vy9daO4OG7VUVoVNcVoPV2w3+jn8csePEhuoYv9D0Q13NR3yipbmoJdX42S5
6eUUOyXwQQuMjb40jm87JBn5ztlAs8mWFoh0tG7pttMEk8nJt/WHov+oJ5dYuvWxa22bNMxUe1UZ
YEOrfmunxkOlVzOchI3hdLFREnumU94lubncdfQqq6rTRpkGdfZm6MmtWYCRPuvhoAXK8a5TIZfV
z6sp/qzW3V2q5yz9f5yd127jWtatn4gAc7ilcpZsyemGsF02c858+v+j+wBdlgsWTjfQjY3dtTeD
Fteac8wReN7TaOKxGgkLBFZhbFDCa8wo721lra1Hmj7UxgbXfojk65HHOhKCkhlWEXir88cN/hRI
iMmYi4jrJz5SPCVepYeR+IMwABoUye0h/HkT/i08yox/rt0Ki9H9xLuDzw7nKLAvzmZk1Q5goKTa
rkm2XIz/8vyPTgrDl0tFsBxvLsPiCBHVGmKRXd9HBCTUq3pFzE67aldEMXxxK+CXqJuRXFEt2IUO
41AYuQ8yoHGiAnTOIB7dB/87uhmQH7QgFItRTbAjXJxO9+kBns3kU+MPPghzAiBteTOycpLRJASK
DpPBL+0Z7qnLdE5SMU/YvMRTkIh+pW4Vnp+VvlJt+GXjiCacj2Zn45AyWbT81ci4Gp9mZOHDt3r2
vp6suAPoXV+ENeDLfDTfGK+UoYqAOWT3U97pMLusk0XE0yD0G61I5p9jwgQn/GBOTZIu+VaPOEM9
OPwX28w9Obc1hCFt7obcoQzXgLzXcEgmvkO+OKlZHAhEWem0u6nPhMpqlnWD1Ud0drIn3YV2yoRi
TEtQYP84hP74R30IgIf0jeR8BAFHDWpwx9pqQTWpiaRzmhZfTyipMsqa5jOMpFuF+FhoX6MEf1fH
V81WowwuLpi0Ow0TERoeMsSYB1Av8FYZYNxoPOQbxbh5VYyHnqd4sUQPKR3GkTXiICI4cKpC4MNB
ylhe22sz/d65Hxl/N7uOK8bOFygHCmkYEui0iWHoFUBaAQuHTV03u1Y+807JqcQnJRQnI9olDTl7
I6w5ouRbZQYGEEVIZ6Vd4G5l/Ceaj1rLpnLQ2T2ZNURUqzCRemHeBXfeypfOlB+eum3Dhxx2ZYfQ
dBrfVfjlR87BCNDHhWDW7oORJrgXZ+QdRrZbQPINSjustyGImuG+6mRhkC9WZjNJ0BcSH4QAUbXe
asJ7nm0EgihSgst9rLuIOOiEQ6sTpdVs2/5UsQJjn3Yj+wiEhUsGjN6tBYvhMIkmipvSyI31+KOZ
8PmjKFp7zqWGAZEWdoSxcg31oXsQ8YDEy73N/aUJ/CCzy8THznegrLx5ljITDCw/ZHj7InNx03ps
JKiAQEglbUHxpBgwF+vl4DKxrQuOVnMtZA9Gx3LqYCVkd62azVzp0Qv3hksI91YdMw8j9B18SWIm
bXWRnltm6FY4RCpvZRJEG6y8ysBOrXUdXxQLHBGYTmGEIxAN0VJhScZj3HeYkmubrsJYxn8n6Kfi
WaPuwvEwhCu1ehKTGOtxRBYueoJS4SJPpT5tUeKiyZQeayIjsTxq1kaPv/gubtOlkDzGA3TpgjGU
md/4Cq4oQf9Zhooi6hbNt4XP2dVH1+thrFqEv567dw8/itL+GE7SacAmBorirYv945PTFEvGwxbL
VAW+13c4pVEcOkiPi2kw/r/mUJNH/xjYf35vtK9YO//vof66ztVDGX3aSoNcq1tBo3PNzpQtW7GM
9l5tTHMLp7RStgvtUYyimTSuYBOT3V6+z6Hbp9S+ksx6WJj9VIiQxnqA1WCytMepSUqhBJ784Q3v
TXIKRGhHDtrxmsz0Fn0rzYBTHs3kI1VK/i6iKA1LD30dDwjqS9mlzOpIN/7Quoezu3J7ckwhDVMb
xqJzzGvIbo57CMgijhyR4BmOYcZIGeujEB79hAGsihEFvt3NOWumgf/ksF+MuGkRl6vaxA4Awi3t
Ummas8QvV1aDr5mP8iWpSL/B80v5HxAqjfhvoFVyAkzZvAJXyzhNFUFIkzMubYyz88njc4bX1K1Z
4pVzED+oLKkkleL/K6okzshXIJFOwkga5r208+VVFBhTy4ts8m0XyUGvqkPqE7WbofgheE6k1+/4
GMPaJEwabhYOu8pQTb0Ba0Q4g2o9Mzg9fSRJ/pNRY3FQIUzI0JelCLNN4jOabppvKlVY9r056+tj
rKLfl8K1WdJqYuvx+1r9+QFePdrVN+En0iBFQ5ieZSbRTyM//MjU+9zNCDO6da0fJyzYuw7rB7di
EDdGo9+/v14p5TbJ0/5oFvNB2PXdOWQgWu9MNI6YKcjTHH4R3FUBVk51K0llXAtXxztYpkhMGTQ7
bLKvfkN1UINcVrRga1RrJ1pb7j4htYMTgfE33tJlsfj9zSr/viAIlD76N0pfY8C/RhxK12u5MST9
0fPAnggFkw/s6j5GO9Gj0FDqosNyt1pHpGC9pu/ocSDpdxIadpXQ8QY6sLF1g2lBZ4Ait7lX+nPr
3znlUxU96vz56L52Z6ok2QZ6P7hwwVzGiSPdeuWIdczqMJv9/kRjSXD1Bg1ZJAdHV3HlVuWrbU0l
r1fMhnLY0Xoyxy2TtRGeqoTziOS8/tZmrf+8nC5bFGQmW7VsYe7+fbUUgpD1kR+LRydcqta+zo/Y
8lAAElMxLPNs0h2NsxcsABTDmigDznSkezDuYbj/ASnpEAQFRA5inMVkMfrsFyRc+8GqZ04Rh/fV
QA6mQ0Lzqu5X9Jq2GH94xIrps/Q17Kaab8vmJt13yoenPsTxtIwOHnK8k9HPRXEhQ/bGCLBZkD4E
ES/6JBZexjSKeb2wCwn8TSMobJo3cdZuP8Evvzn59bRIc9sJNj0CQH+VbjVm95L1ONT93MBt7c1q
typuRPLcG8g7VaeJ91wglw2hq9I/0gRBirobPmV4PQuVbgPnEkSDCDiocI4qmomKUuPTrXeOMNeE
WW78cZ4oaNpuo2Cs0D350rSemzXejK+qcmeaCy+jD7bdYGsGW5U8CrnY9dO2OEnZJ0HmVTmPCKp1
J3nxGHSTDIMifgi6FmEd7EV2LPQf9abfSB1e559RhmZM8Sf808QhoAvaUrdify9/RlVle/GfajTn
iGT8SAyBklBejuHmg7MsOYK8w+8rVf45ONFZoRAw+NSxuv9ipPz17WlCYvWCnOZ7zN0KG8+vHEZz
Y5ufxhO/bPCcHJQ7VQDIG80pmfbm7x5Ri/ggEUV9CAiiBTtFz4vLAS62b7/f3FVEwFgeYNSvE5al
kiom/Ti1UkcIG8ln7s6x0NgvZzImnmBH2Z83rvOPl8DkkZRJyTB1iRTG7x+QaghEJyu6ths0UDox
mjcNYjRWiHgG22B9l9t4WfV3gbg0qPpNN12lQzwVDQ2bR4qH7gbz7muo+30DIQHmvzf01RL99atU
Rd76pNtru8qJbFV5yrOZQxp2nRJ/TLiaS9wpcAQTcy3cB8auEZ4N7WUcKGrDPhyOzYBzR/9k6j62
Q6lA2S9LM7Mi2okj0okgOzPHDYI1rurPXX6pBizgetyUXJVI2HbpF+GbJKGQulnFfp3/Px5MlQ1O
FkLlpeudcXD9XhDE1NpLvS/bPgNd2T8Z6rqmb6+Yp+hAlR0R3s4nvbAlH7UqWAx6cB8o+hODzGnV
5K8NtZha7jQX8rEqzXwizM2hspmSaze2VuVnHWygeAAW5WAy2MfHhfPX7yCboe+GURRug16ZmsZc
FuWpJn0MCv4O2H8QEqxbmd0XH4rHwNkVJw1Acuh/lM15CO897VlNXorkQ5a2QwpCbRAHaHVTR6FP
DJFVxiTyNi/EjzUleIh7i7YyHtTfX/b3u7/qXFsopCX0UrwrxQUhcGiG9OFCdVwfqPonCXuXuGIV
WOULWw7z39+/KuM7R3n8ern8WAhS7ZqW/LX1/PXyJA3AMlfC4SR7j6K2qUrg3TaZ+dJaxnhD2Fvz
Tpj0+qRSV4U19+6DNzd/KqqSWJn9YO77P8bsTnLtqiNIZSFw39Wifu+PrjHr1WnQlXaMjwZJtBqO
im9Zv/VA+M9isesYcYQvKedchZ4/mbfvxT59Frw/Un6BwyVRhsvzkE23Jx9+mKoDU5KJQOMWv+YS
49TnBj8QsutsKdh00r2Lp0WzLJd+davK+7m6xiwWRYJRhL0sGR7fV1fQBnnPaZKcd6hWjz76E9xN
tKN+oxr5WbnCW0K/YxD6YrLJfXVhf/0QVtLIVeBAIQFisv21ehzV2lQmSPJIPbjxzXz54n5fdVxN
hjajaxrliH61mTZZ5DmlJla7QRymrVOvfE0GIkiQ1FfEo0mMawj5MkAHGs5nkfIM/phWtCvL6+cm
xP66ZIg50wVtXugwPh2FPoV84wpBrAE0SNqvarjToll0hnEYUmGZG8E60MCh+2BewVdy8zd5Eco4
vvBbQ2ur4fmZbTvV/QdBfonr3E6DvQuA3MBaK8lysRI02PCOdPBkQBVfJZfWO9RuvYlUau2u2GZB
tgkdaR8jdIppNltzZTnphppsEQ0ZhA/lQxe1xNYUbd7mIKfJ5yCdaifeBaRjOFXHLh5vcqeYDu7S
ahqsnJ/dDM5zgZoCogLZcsQ/Sqs8eWFAcpeq4KLEHevJMURXFZEJJYs3ym6W2o/9AX45v9HIvTSY
q49dyF/rwkgYVtVGLx4jlLsAR4G76Emyyx/lZNu81RGmh9LWsOzYOWqdxuExF6Sp/BIx3a/unZl+
kUMLv091rfYvUrYz9Y2y1T/6diXJZMevkA+D0vnovHtl0+abzJ+mlEbLeCkpb262qO90b9cYbyk5
6K74WmSntLjjfzUB/wDvaL6oqF0+K8jY5yCdM1JIimkEZRmXUuRb0+AcDqu8hPFbLSMqv/Iue0+e
2nSdB/dFsjWcT8PfixWYJFmjBZ6d3TrolrXFUfmo4rnobxVjWVlv8V5D869sWSCivjEHfy4jNcbJ
KF7QklvOJX9VGdHwx7HpSzeKsFaspePdNzgi4JURH9x8niL1z2F5l2c9ftfFgzO8kKXEdLfvVham
uN1UKs4+6m2X8WlNJPt9L+/KO5Guqi0fCgi2wyTeCwST1kI7xRRTKHB8j3H1hs6TuAtBRPxPKIwb
qUuF+YjZuyvdbabGwLYor8VPrBQnHwH59tajy/rO2ALHMlV+cKRPV3ow9HheZDOlZl6MvZ0DGG0D
cuyVeOWs+nChMlgy5x57gvuhxbvwQwoOlrEeEO9/WOVjikpk2b3p0mYw58pj3i3b9hwyrtPD95x/
E5oif60YHjDIRcoO/p0Fmi1+WlSQPcltKc5w3mvSWjYvVPzsOOvrwFrIDnz1CsexDumFRuPwCQ5a
5Eti0Jm+s6pwkRXXIZ41fgJiCRNXofNnW0+Zp7Yw4YFAIZzMCn+uzuhj6uSD5jHRZvWD7k2imsvB
UM2yndJuqqK1awNryAynr0Ga6BDn38oL1gkHgYGDZYcM7y4p9FFbfg634lOHIQ1uc6AXJbQLQtjm
AR7PwSwHRUIpfoZS0d1zUT9ZqKf0M/YmNcq5el5ns9qwGZNWwtwS5nRaPkMCRA+HbK3irv2RIT98
FJj7YyWizgxlyg/eMdzGRbaYWXACirm6k6s7B0y9fg3F5yp5BgRlpErVV6ezwd/qKpJoE4oZC9sQ
yFIx2hNtlQ4g69fZdMA0/4G1sQl3QAiEe6yVmEwKFI3GLBZWsbiRvX2PozAuXek5TtxJk+N0p1bz
oHrNOxTsFgaTmTevKWgUeBAYg2YwMvVhz+x4oPry240lLtoGVI0/Ug5HAxDWxbbSNw/SyVQFuBt2
nO0c9S7t5qnyIVSvXjGPwXoZy+hrJV/A+7bV5FXbpzGw7n0K1+5ooT5wjvRvgnDshGPho2VQtqaz
63HvFI60HIzF+SBa9notfDSNZRcuW/I182QRSCdDRIcPSFjdRdBkQZ3tJnFIjCfvwsQwoMqXhara
mbYZhqWkzcmQbpk7YrgPiFpDG2ZNxN4dg1avuxAva4se/IjWmMRMlxuGx2bKrxqsjOC+k06ZCEeW
3s/B+JnJuTBLiApM+US16i7fjkQNZjbGiwJkr0vbQn2qy0NZ0/WqhI7wSz4Uq52+FoXH/CFxDu2L
q03dbm3ki0hbmQCg2xjz0Hl4CO+DYZ0wGcNeYf7HWIX+oV7nBVXRY9Y+qjRr8FIfyoW5ykg1OQ9R
MGnMlaw/4cCMOfrElxfF0UEEv5Cc3UZeC/oblMQ0gs/YneN15C9Cd15LO7lGYuzuHeUZSkA5A7U8
45ug3qn36TteR3tNnfGhRAoLb1frJ5NROXwH6vA5Ec8a+h3nU3jPECfe6820VxdysG6YXTVrxdkx
eLbFhjlIYev9xAu2Ce8d73eQyE23SeU/GbSF5hJxAju4Vbismz80A17xLpqXqLkIzjZgC/KmdWub
26A6SgXNeLUwgxctACDGvNFySCLc1Yo0zRi2OM5BTfCYMN9cmMdGdrTyhzh75kvTCxkMg8mG9i4f
Imjs6lF61NsTNYX4BKPX2GfpNM+2UjqLTWZ0eLg2OwXaNwktL2Mv6PYLCoZO3xTsWm30EjqHkuEc
VnvADgKKA2lNpr2ChU+4M/J7AjyF8l5ApLgsPkGt3Z2cPrdeOw2yfUjngHbSO5b5Qni2mI0yDGak
3Ud4DRl7t3iuxeOjlb9R1xan3rI9fk6MadBXCTNVfVAZSiQbb9jxAQJJV3tiwuJzCocs5gmHYTWs
XYCVIppy3zpN4CxYNqdWvoj4wlH6ZgfKEk2dCv7CSC4Rdk3eJvgAzHZbBlQuff1bDAQ/aPZwiXJC
LkO+ETwvmHllygJmaVDAqtReW+ViNXxk2dqFGdG/ydqqRWujLyqy0a2zdgzYcQjpxuBaXSmE+MTb
dmu4u0A5zVznTTA3bnVvrWRlCWY/GjiUeMXRIWRHL567xkYzFzWjWutOcpYRgW2F8ii1dkNcJ7rL
GlXrhyBtHBevFoIxIvdQD1uj5dmWpb6jaiiGpybYqFpkhzjHtrZy8OExuZdUR2o7rADtO/8hKl5a
Mn21KaSVFg/t+pjJGy15jZBwOe+/N0bSWFd9r5Cpu3RJIw15pJh/sQ//qrv0qEjLJHCLfd6E7A7h
zLLOREPTwpv1Scs+ZBZt4uoTI/xILawSg9ONGxgBwZ83ANYKzgvM+9W5/XUDvZv6mubn/7kBw+sn
MgpfE3GRAcuFn9lKMaSDpBX5xqQXXzuqhRt38LM3HF/Bf+9gvMO/7sAo/cD3xCDYZj1IL5ISuTsR
GxwnYGg7GlIRQ8bB4CC4+/3CP6Hm79e9KnkjfagLqW2LvQH/RCfH1IoZq+Mi0l1yLZmoznNU736/
5D9BhBFbGmfIGpmIV21eUcd+mwzKcMqtR+Ln/QjNw9bSZvHaZBK7yx6ZTnnVMdzVmFsc21H0hdJe
mDPvIPHexHDWdt03wjBhMjiTLrNLaeZV09/v8h+LEkjG1MmlJ7yU5ObxF/vrF2n8KBikoMCLxujX
qlfOVWFrea+Gt23SndI3Ux4RziZDUiqxBjmKBpj8v9wDIfIGHTEtydc9/nUPlDeOWhlBcoYDBTcE
e3+8Dj/KabAH+Znc+gqUn4twRKH+e7krmL4WCj3OhqDdxZ6zLXRUogJm4wQshjoKVaiLvTCe+Ikt
Vtgxit6mMtkCW29f9qifTYtcZnx1KmWf96Q1KR8xYWE9hJwyX1oW2TDWTM1XZXaWhxI8d2YFdxrM
w7pB6KrvUuM+Yf8F3rSj+AnJRR3vxVD+Ir96zqkl1JlDS9mZ4K4lkewdXMSeJE3de6IsD5h8qNYf
Ld1Lyb1HaYcZmPtmIRRS/XdTmzTj2MSHB1SQUtmf/HCv+vxVrc4yKT7AXO5Tb+MWT7EUzIDWHJiW
jVawad/LzofZkIJgvhvE+zJG8wYZxqa3rpsXN6xseBjtk2BW86KFJpccc+zgSIo1WBHhQYCYyuzb
1sRm0wRnJUknWgrrth4Jl0gVqAXk3aA81VASWvXdzNBsWofGX0YuyswWBz9Mh425SBUD69AW4ncK
NZqkonvvhhdIkk3OwdUdB8tZW7FMbetOCvOxgoSr08s3WnmjSZb+tUZ0qB9kHmvA5PLVRhUlbeD5
UoYrGmpg66nEOeQ4TPw/GgDK76v/H9joCNehfWFTHlNKr77ABFFHAsPd36qJtq4DYW5Yl/olQrpi
6f6OQOuw9ScpLuLqri77iVtWcyP81EI+TeQgulvDc506nU+bC4MchYC6StvPWqhuvJOfe+h3WPFq
PhiERaiLpSee2pO6Ls7WPMFsJ1nL71L9/Psrkcat8ftB9f1SV1tnEw+ZYRSMIhmkVao36ZyLl1xo
u+Dde/UpxmwOZTItQVVRlGUfHBtKZExu3IX0E6j7fhtXG0U5aIObRuVwqmCJmgtTQ2y4TOg45bUe
Qhqw3XQBsmm4M0vZVkwcJXcjDraabT1366zE54GCndHOrsRlhMiNtySb8anSdXkYg0RTk/EkR692
ItA+gcAnT2g2+0MEIb9GaLF1ymkv3FVw6MwPhlw+OBlOkS8+tCdpakav1WMdvSb8I9XUX8HSd/Cv
ww/9GFcz5+C6R1edBNVcTm3zoNIH5qRz4KdEYgujqE3RnIMdxAkLTn4srtxhJRRrVV6pFOU+wNei
CR4MDp10jQ57CGYw6oX61JtQ1p4V604MzhHH14FzSbqvnqx7Dyr1+2eGWyghHcdbSp8rH6IRVYYB
w7BT1iUIOiDz38+psDUDK+yrcCskh7p6E6hXWwPArc/tofuQGvh6wQFiUx4ei01oLEtzBV0qEe5V
aKFWfO8WO/4WVUbpblVsBsSF6q8iYaUrS7lYSNKN8OF/sNegjKmgu5R6FH3m1Vdd+mxkZF6Feys+
lJW/1GlTZFxdq53VfiyK/o5ZiZ0VtJjSmbnxvAYzuRdTnWby1Bb6ZNSvyY+/r2jjx2dlqZYMm40p
taop12e9JFVRVLhOOE74u2yd0ynCX1W1F1k7/X4l9Z+XUgyE3Qx7RFW/evyAGbnng/CiBUVmMAlg
aC2AhDxoHedAnaWgc3/aD6bKGXHC1ayRp5wVcrsqyBpI3mCuO8GlUE6Wtyy9BYfBVgbwK+3g1Uun
AqcRNg9wwNNF1RwblVwiiJ/9Okkmdb9Vs3WajVNT8RGQJP0f4HveoioiykQhOsYTf1+Jrqt6Ra/J
4TbuXmT5xM6sSCCNGA0G/SzLJpY61dpbM50fmy8sFFmBFqIiFNYIT/9+0ShsPQPpR7htuxlaRw3f
s/JC5Yz2sFWFWequURi22p/AOAXJeBfQNWolsn3tJa8G4LjyRtEm/0CRv+4ITZYowXhAHv39jlox
8ExFE4aTqz652YNXrkyU/PWqx/+2pVxdZXBC0UCBL0LlY5tTw3mFo19J1zyrz758LLFgoS7Cr+HD
F++IfO+DU5zd/74S//niNGpwfjEZtPvqKIEIX/XeuG+Ywy5NHgDux03CXccBxbZ14f38fr2v2eC3
s2t8L/+9oH7Vaohh4DtR5/QnkYiCYN0C9drtieETQheis7C2wz9zOITYjzxV1SyuqQ53qGNiC7nm
IuvuPWAY+aGOZ3K4bheHtl+EZNpgNFVhXOzOpZ2gQdTO3wHa4vxk+KcULQAFbLgb8POOpiIk7oK5
3pLiMJS34TnvNhUxDVRZyCHa4BUhuQWzvMPD2NyTw1DgCyKsoCm7B0m50V9o4+NevQ76XWmM8FYU
lvD4+/xV28ddZMokDeZ7l5gB+r3BDsEfQSyx0UBPgZ0HRAmMoAZ+FFDVqUHOOu7Kju1DIscXO587
mDllS8OEzAGbZ15QVyZ28Uy5CW1Wn7j4z0UT2Z1tnWpRhEuxWmYodLB1NZe6MjHLVYcTtbnUECti
BowJqzXPjbUO5GbOOunGZ/HTuwAKF0J6UeeBOavEqyrJkJIozFsp38fmBNibubCTThRnyrlPb1CA
v8m2Vdg1PPEXyIbwKJh9F7cm2D/r1/E2RtqyOMqqTfVq2futJZSuUqXndoxCHuM336HX4A/z5/fl
/tO6RCbxGWKqpotjmaxfbQN9XVpi7UAkUYyLpoPxPrUmIA4D52be1ftueAZ1BqNLtT95jf7ApUgt
KJ9uHDg/P3NGj/iYmLIBzRHC4/dlJvpRbiSVke+F4hQqO9+Yxxwndlvtql6Bc/Tx+2P/5K7B0pBH
mp5O7c4Bd3W+ub6r13Ij6rtEYmj46CTRrpf7O994ShBvqAWC2Gbp5JVtRrjRVOZkUOWloMiLOMLI
wHxJoIVFNeo5qz7UZbOP/QeVQkxgekliMLYC2lwFqjBQ2VZONUetBToylB+GF510V1yW2oflPhKb
lF86tT0YTXaj+lV+7u//ISPylIh+pWtKpxej7mnjzjoyGYjBmzGanaX71tirZKXjeIB9N/51d4xQ
zcJ+4onrYOWhilkq+w7HkOxsjXc2TeKFepDLJ0b0U8/c8AmW9YZJqcLEKVgA/kHiTm5yGX+UH/w8
2mhnAZtS50e6+goz3CxFxxGVHQK1ieyAq5H+gj8o5PZAuXHC/GTtyJAcNJNvgJUHvnf1CRR56pix
K8pHz7LlRYK9LWatjK7anQbC22+lDbZdBrPNCaxYmXLQvzgHH1+tabTWxA/tGHJQZ1NSjylkGvz4
UgAE0hax+0V0k08gbbx+/r5+f7Y23DOloI7fB/wv+QfTyG/iwIy6aEsF43c7SdvV7ULMdzDkcpfZ
y0Tx9jcu+fMkwNxEJGlas2BI/Rg7Iy4oU71pA7RkIWg/Oe9JydR57Q4GfY04c3IkOQjamSH2UcQ0
hrFjfvn9Jv6xLhQWNP9RR7sL82pd5Irq6GlXBlvGE4zAoeZMx1pJuTjZ4vcrXbkEjpRoHhc3FQn2
Pr5O+lXzCOUqk8xQTeHSy5N5eQpPzHHtR2XWga0Q433je/3Hjg97B8sc1aQoNU316tEsMSojMAsq
bo8hANNTrFol+UJBaFQPDBKK+kWTVjVCjd8f9F+vlA0C8wXDGLudq9Wvh5IRCb0XbhPCDt3DIL2W
HOfO+X+w4+F4gcqCMkETqSeu99zUzdSuarNwG36GjI4r8n/xkoUvLhwTbHz5Utpbxf74I32vXqwv
js5owAKCe/1ShyhK6yAzki0FN/gLT5a1Ozma/f4KpZ977XhWi/B18HqBRXP127VCXmh5ESbbWIad
IhYYWV0kPDrarNKQrdiVQTKIFB2sIbITNo3hJPL/mmpwMJj01jARcPjQgltUrvHQvH76v2/ragkD
oqK/yvpwKyefrYyARjnp9Z//32engTAQuOgwzg0dBcH3k7tWi05rc5pSz1lZ9OY9w9Xyhd0o7tYZ
FL/n8hlKL2FG4UVOJFuUL7W47kNMUG4lIP8kTF3dyvg+/qpVI9wEyjpU0jNmb/ZuJxM8zxgRK0Fl
dmv/HZvEb6+WS7EpyGyDNOPsRt8vVZZK55pd5m8jB3xzVSfWRMbPAfkScR3toqtwMFhpwyW7ZSz0
o1AaLzwalkjU5D8/otBKBBzN2Pixy+n+ROVCxhPGo7y+H16sSr2xOSg/Nv3xcrqqj+IlsJtr2GYQ
DcHxijDaZtZbUJQTVbXj9K2E4yQYZ6OL7MI07LK8mIbIXD2zaytd9FJ2dCqBGhnC/9im4Pql4/0Q
5+LCos/WyEPmqBSitzyw5tDOlm7/p0X4LhNK52OC/9DXwlxxkhuf6Y/PYXwWw4Q3TdNP0Xv1OciJ
nkI/HJRxiIPcBesEZvi34OAfW8F4EQYx4xehAQtfFZaZUEc+ayY7aCjrzxGTU5j3TEK1RX1z7jJ+
WteLEAiD9v2rX/lRNLuhXFE98X3H907yDoDpEsLVLSLaFAtlMoLCrMfzbn1vBUcvePj9y/8JfAN6
iyO9VlPQmjF++v4NpJIYW20RJHeQWERySrEQx31ypEn5NvML+aKgJW6WuoUbg7iJeka6UzVfDthP
FKuc2DXIcg22wF6Z3N4MtH+8nL/vTr2CeRSrboIIc4atThvqtK/64GNU6KElVzdWI+6y2GCKG6O+
DpxpoR/CmjSxAPmFq8zLEitBKEGtRO4XshVOqALwzzUe1DZnqjKhzgG54VTWFMREXWuPChtFJeHB
eJE43CQUMWUEPZShm6nECy2DiNro87j+RJojhyNWhht0MpMzfiqGKOCZpa/sMHScmB60R4+AE8dY
Oi1OEgrxU1F9g6v+s974/utd72CyEmtSFefRVsf/BbRNaZ9cZlDmXeLslR7+FdQj3GhuLdrxI7ta
s7JkiCogMJIXKp7vi6bBGcbsFTlGxbNLwxnvMnZWyS0O9T8+9RFtYyIKZmGJ14dSyDsMijRNtmBt
fbPDCqzpbkB6//jQWSp0DpBlKRCvtZYhsLFSJUGyLTDQzteNHGE9LyEFccKnVrr8/q39bNP5tWiI
eCTqbwWV2ffX1ppRWAYaq9kiGCSaNNpHWksbSAKL+CSjj80OASwJeWG6iyhrMatxN22zby3pxh76
Excfb2Ts0i2MkbiPsZz864wNHEMVdI8zFlPwDQa6c8Fe8TPaJPCpWKOTWLYy56cvu+HljXfwo1K9
uvTVfkPl6JtOGTk7MX/IkS8XmrkbdGuiZMYiQyKq9+ZKr6Gx5h++jpKi2hbGzPJ8W3M4dKIHybj1
Mv61x/z1Mq4JGV1mFEXSGsHWKegA1c/SIwcPJWP2mQhk0fRw3QUcSXxskvE2drbIQqaB9iKQgy1f
GAKKMEYymfltcUpgyjfQqDqVyki9wWX452aomYAdEjAq8MrV8kkNK/A4rsItNmuaPsM5Bu6cP9es
S9UuEqrv0aNP9tYBiKpP9rZKBKr8omng73R1aWvMkgarctY4rnjZgIuC9ux5e5kdos1PVtlNa/yP
sOhDIavhgJPFn0kQz3D1HOkgdUt6Z0mYhHeKDf6VoMZUwYqnrHwln2vBeyYIK4mENzObmO5LDx0p
9DCZZ39UQnRa0meIcPL+xnL61x7x9zu5WslGi3lM6MjpmcBR+w3ra+aB5CF19tbEWRr7+sXvF/zX
hkFNIIMyoPdTvmCIv74cQVMbp/SMaFvi69Iu+uBBiNZGeQO//glg8pXwE6sKaLkIYHtVgMQNxoeF
KqVn93PkA3pbccx6ECbJxt0NxM6QcHRJbgak/HNf+PuyV8etlaWhKsRptB3kbWBCirLmGkB1i+9M
z/kupRli0NRuupGp/taaUHB7VOraH9kPl3EiMMrEHObTYaWA+/3+5r/kSdeHDrQUBU9ayEsInb9v
WnJQOYLhOvreRTyReLZZ/ulFc6yWNL1aNhl6FgkZ4HBKO8ywzGOKKziJYG5sKwOY/6j38e7V+pgM
wf8Rdl5LiitNtH4iRQgPtyUvEN403BBtQEIOYQSCpz9fMv85Z6ZnYvdmD03TIFMqZWWuzFzLbDed
A4wMJxhool37Dm8DbX7/fbx/I1Li4HcanU67R/wGie6fxxu3tEb8uF4puCOFUNuUN9K+QCo0kTXr
R6f5fE+pKqkKKEiOD6NXQxNPSk1PudmtrW7dg0kuKT5/1LRBQUTSpTyuAU+SBL/lpqIiNWmRQKUC
uAvxUH0Oq039OqSZN3gmtX4afXXYkF6gWnb/AeT9O07+87w637CGJE9r3bKTtodpOMUPKro7/brR
0p5/LrwaDBFhG06vhgM4emwip3vyi/QAvVVuHm5Ii12cH4/oXyPdbBC2UtEHiS69lH+OdKgdT0lj
e0/RkH8+xhCWHlsIlwGRFh3IRVuVAYXzsxpez4dVpOEvxpRtJ8tjG5pxCD8bFLKTxEvIZdTu5GbK
dZE03ZK6p8onMxt2qMBeX8upftEmZ0DY+g0WtJ1WXm0a0p082qeYwuxHZ0HutW/THTyfhkj4Z1mj
vwMtl+qebM/nFDgCRrnzhD7mqNrf6M/RzqTx2heb46iaJ1ix3psUgfz35P1XFP7H3r9ZgrCMHnp6
J9V5Q8BPp9tnp2UT0tVEfqTvWQN690XxBKz8wb7+jYk2SFTTvsSlbJK8+R7fxWkNXsOoeRKPDFKS
K1zHNE+UwDG/2KVpm4KM6Yez/ccq0myDANSpb2AmfaeZ6XS62iE5tqNBhSJl3dGe5MWaxYuutsSf
L/z0GUAjC1B5AXdKtwhg3ZowtJx/OpB/ROqE6QTrFKjWgKC+2f3n9pBzqjlt+FJTw+Rs1oNtr+G0
64V/gZ82bbutmMwtReOPA0K+Ofm32w8h4Suo+j7zqE+gZ6qJh/9XJaDehfu2k58e86DfU29B7L3Z
I3vuUBUNdgpZmsoMj6oztImc8QBKpn2+2LtA5wN3kswKZ2L+YHH+eX+LEcX4t4n9v4cb9+Rx11pZ
mINfBM0wHOTPx0Avr+PrCYlN6t81jXp76LHvaFNo98H5HtkQBWfX0D7mUoMNqYe0aGTvxHr3Y9Ci
3J5ruu3F5i3NrSd9rGEM/H3WR/mz9K4xdRFNCqOPD2vbPA+up+LlFRUVm+9s3TJq/NAI/o8TpMFa
GF86TcBVFrg/DVg7653rGR3DBAbYosbuStvdtWl10Q1vUJdKorhd1JxadbL1GpKTZxrXb+u8vW/D
1ZEA0GgtJyqXrbMdU5J/vRR2dUCfJYJni15jfDJCszh7L2E6OdHvtd1+FLclCTXQLi5pjU4imoHO
TistzP++sSi2+cuK/aporRMpdhrA/n+e2TmPylRrUO4Oay7dREgFpEj1wrYKRwuCJk6bHHhpVBlK
AzAVUalpgjtkS528M1nadyrOezB93c2ipD7ShCf6iQTKnhbEVk8Jn2duNWH0Iv5E9YcWhj1loPSS
lbl1ImZEggPwim41RK6P6BzaPRQwEU6DxWJ5H8Y0fEFOSquztHpJtSUN6HLLhQbLwO2rUafxH/YE
la9xma9beouN8xc1TtfZcdrdHToqRWT6adZ01YEhblJOnoNrv1aYeNBRHbIJsAT3vtPw2hpWcrKL
rd0MPW2UOmhD201AZI4DGqujOi1vth40lxpRDs0VOCwabUFWrtFep9p346GpGI49eOfJzqOjvir6
mXfxsAUOPJWUyNr5Phm33jXUKavFYZRb0F0MqEVr9/MhPb1y3dd0jJ1quG0KFlnqnM5d49EwWmSj
RZC3Ohnd0QHkGw4t99lW5dfDO9mRcxyF8+06W9TQKO1Wdtw1zhwxfJBt8/Zw622r08N9MVM6sKis
6JhZT7VP9NvZ6dNo0MD3UKz9XfS3mcUIS6MO8jCgkKEDhoLXGmqVNet0tEukOzePz97igjDgQRFE
gepQUgAtfYL3GZsMQzzS13R9MAjSR0eZhNeY1L8edyOk1KUzIHl5XfXQCrl7Xc0tCv+Q9A80OFFl
QQUrXzpSvZEOW5ucqjVGwbnc3WJrVk+Tb9amNf846MIXZNOtg0Ie2a/TZ758jDt8+WM7f3w+Povh
dkZrf0gb+aI9bjj0pg7aA31UrtuDQ3CYHwZnV3/Lz/btoW7Qos+plCqmtyH1EMzTt+6s987xP0iH
x+bpZtXQNYP9XOdYZoeDWSyg2MPN65ezxroLFd24toApsb3S1vqq+wFfkq6gO8pI2gFKrWpf5ztk
MCql1wThmn3ri/A0TJUGRVqoKMvTV5fxeRL3i01vrH/AYjfRvjS6OXNjC3/ZR21MbA0nyfPrjvah
blQcE7rvKLXBNcH40qw8qoIW3dgvuQO6ed+I+Vp3pa3DpsuBJQPImyjf70AmqViF4HDke5qmtk/z
TCcHbY0d/36C+EA1PxKUdiAcWtwoE8RD7yr+B7qtjTpK+8IZwxBr66qpqFg+o/h6pxRStb5oAu/U
DVhxR+HyMdWndf/h69PtFAb60t9OznZ7U5UGFiJb3Sfhx/Vzu3tMn7iA+PUxbjGNsrLFLUTGcFcg
kYU+drBFv7y7anIClLzV+1eAQJrgUa4+WTAu8zpCCFczaEMpFhUaatogRAgthCUeuBBtm+PFoA86
5PgiRU2j1AfPG3PY4wDfwlW6o1vyiPhPe/rfhvTvDgGBZvGH/q8d/RZMdMnwXWibyAZxD2xKTFGv
q6jp0+kWiSFKu6kMUW6uAzmZ20/qFLLxPx0CEAddb5FDJV9B7PWnEb+VFSotDbpwKd+6y8rCHZwb
OERxBJc/nsp9+8PC8XeY/fseoQD8c49Vp/HQL40m+czzRM98MMaecH985j9GM3+7fn/u6ZvHlZ62
kJmdObeMc+O+veTjZjzrkfF4xKVdbaXtisjlxCQ3WuWiyx/uFZFC9AMS+d9jTLnQn2d8z8qjdj9o
ibigYYv24RdEfcPv1Ma6bt5/9PDlxP66qOTGJRHVa5EA+3OHx8P2FPF+LCdeoDb86NgVCZ3mweyl
PnnjVFNVb5prPyVwXoQuf+2YLDVIKBgy0+nPHXfD7NjICv0x779tgpHnATh+KmM4NFz3J/aFV3vP
f+zre1XIvfE8tC6X1gOgM1HsrnRGSGva047hDCwLvld/H5qu+fXfd2v9bzeeSfX/T/GlIPgbSnSK
ozQ+NThFMwg2CHp6nrcTX7lQhu/u72ryww7/OXl+29+3a3nrXatD1emSyKTvteUeMKGAxse3jCK+
y+Jwr6v/PsFX5dpf40qNg2hLkDT/jk+l7bR5rd2bjzmjGow2o8QliK7NR/OYC1pfO5+DbICeG2zD
7sAaZ28OrLXvlzG8tPuDOcF2I+wCpdH6h9Dl73qPBgNPZx+oS7cNZcy3gSh71+iUnpNkgGGG/IvI
ldIaIlfqg1vUBx8RL0k3tWoChU1IEuh8/wGj7ckOvg9MDVMN0Uer1aTG+8/JDcBTZjVSAPDA6961
VbB/6q2KYe+Kxtkp/sSzPPSEAn52bNlZxYEty2hfHNcVFYrpoUv3DvzhUc+q4of5ODRsDQL4LW7+
9ryAy/0c5VZ2OE5O6XOWXPL19nGISfpcjS2+u348wMgGASbdCMfMTQ5tJ7k0vC7VCe2wsz4VSXBt
J+75Sh3rA8lCbdW7l/NeGk2O2XFwg/i/rc/CaF3iwTQTevbzYbsaRGlDJQXsx13dasG1QBFxWdSd
XtuuVwTj0InkvXZQ62X+BbTkWZmdXrKIykGGImc+rc4wjhT6oCAoKbsB6l2N6jM8kmeGqxryghgC
VNZrPIl4O8VFjYHvsn5U+kl58h/Fsx+FdWpUO+cfAI6/0xA1yunoLCHQpvzqe26pLKLGvUZ+adAB
eKOuhH7j4rlhWvyMaPzLGFC5AhkL0bQoS/05JY5V2kOQoBUNGrWTsa3nM1GoSRqZFTcXVYhovHTV
H4OshPXylPW7tIg/uj+2GMpe/pqYvx3FN6ActptG4xjT9Fk/fzTqFztBHPUZQcy2OMQQEJxrBrlQ
vURtbFwgjPE8URceernu1pPsh7H/B8bD4P92LLL6/2Ye4951S36f8ocs9S+Pyf1eGBFClnd1fSzy
cNbN3sKfKsL/aRkEVKFGim3/VYyoRWEUZtcUPqaHdbPbQAApDFLJuWmeEocEZnFaljSyn3Oo4jdP
yMexEv9tNF+JpL8uwW+H8M2NovRoe2l3KdKqQ7xxfu6652mNRFEL9pet7vbgE9jEDHYYtoOK9sE4
hVkbEuNqoulGC/FN2AvvdFKULeLLahTXpteDBlPr/n75arWcNk7ZnSgHT3V7KIxrzQ+3yyoz4WOo
tYfbVRJDOF6ZXVQc66Mzkcw2WmThTZHIqOpoqkwuuORaMa5Do3u47U4wZT+K2bZFiWC5HSAg0KHV
Mb8uYKZV+i0g90NZiHk6vNdvAIOGTol3OIErtoLyrLednYtQxcUP+e5/VLIwc0DqqPsFFO18r9Hq
Hi/PY1trZINOwyp7w7T0D9FbC86F41cBIQQlUm3woN6HrlONS+98Kiwniy7oD5eYPuMDzdZVOdAa
8wyNZwQdHmajPana6xpdMK1ifMwzO7tOjunoUreS5w9eLYjVH3dhm4oSqQqk2JMfSL28+Jt+m/nt
onsobhVK2VdbNDTRObVFGZsGJLuJxqm8vqIh3YTZJ1lWqGe3HSpRhzoaqFhf9DSfpr5s2TW0o2sD
aGmM8zjsQ19tXj2UtKHycZsISssf6lYQGUm/Yc4zq1wkiL3mIxF2TeFOvTipmZsp4pyJX/Kad810
dp2VznmWmmWQ2pC1yHt8/uQcfPhnXBHjjmcUNCCOHdmRSTWtlSDkKXLavwSxEVb1z1bFb6V9QdAT
VR4FFjDRRyJq+utzPaNjHRyRjhUp4tJu8VviZI6IgQqPec/Qxz1LsyKOiQCZ4+BIbURWeC1CsyL+
rRlEb3xS/lGqppBOtZr21UgtxCig1aJTAUFZEacO7chHesYo337JZl9MKEqRBe8YV3frnZyjk85o
G2Q7B+fqyjFcYOxP/XAGizXfRulmoa0Tu+RcaDqGdz+xf4lexw4cbk6MSOnjTThMHvYTmXp0REB2
RGy7MGFS+EiRgIV5Y9K1NC9ne3e3ayGsgPy3/NNwd+lIEZFX+8xFF4HY8jUBHkZll2TlZSLcEPOG
xpNPyTQR/V8EV0fIyxpQINmiSYq2EJnADnuPjTYSqSKSfEYmlbO3Ghb0rRylyMk+kKpFOtFm9RGd
3Q7ZElTKOZAuNP1EGObDpHsQn40HF/DK10qzohhAvo6aL4q6PRPNXfR5ZYdbC/gGdXOGGV1aUfyG
ZG+crbZGy9samU0RDpNELq5osP+aImCXTIwrisCiAwybpEGnltm2tmyvy8HDBWWULvlms7O+9zUv
srgcFkiFnfpkXbg4Ov0T8t3S7EA487AhnrBon0YQV3R9z6iai4LsdgYJDdO0N0R11hPlWXr5ORqU
3e0jKsfyThjIt3pGc9w1G0M6oFF2Ru/Vy9CBl+etV/WBTVFFFv1a0UXuWVtUk+VBpyhqwKIH/DSp
3ON9ppWFKinjCJLIZLgaUBSKBjuXCB8HXQcZT/bH5D5YmVXYbaY2OkpEP4Tvpm4jw+iKknvOv1+6
8ZcVcJtZqhMXlRZR6P2vqCHE1sGWibWVaf4at+Y0cpiWTH2Iu1cotDOeoge8NTrzLtrB2vzXpOV3
pqU8X/pdqz4FJEErWd5r892sz6cNOnqt/172qGn8wejJ338zeuGtqVH0QQOrzGGZ5W3nZp7NttMb
VfaTmf5EwHrr1JGwlr+03mo2PPtYMd0CgXe2jm48rCbqbrGtMdSfN0asbaJOggEKvdKmIHZ25yZ9
MlsOr3EomZOpQ2GWqr3GHhVqbt+zheQD3zxxtUT9usnVg6lHbjG0iiu3zfVBG9o8ejdMCi0yZv11
EyU2dJHgfWeYEHpIgIMjoSfNio3KdBdDA479w5jRtfDDmH2LI6LWdfuMjoiQyx1/sXRHLMSFiSBL
gzyoRrSy1xKB/WA0Icr30TIzZflAtNz7tZzcOMHGm4iDb52zx+maNSYuqplGxgAcEPfWrJvbmeIC
udR3Ms0ZWG5cbldfrLYMR8fByjFB5aYrTW0jqtMa72Veyc3MsBvwtts1CwyBgaBsyWg7MbLc2uxB
y+mN1v0770Kixa0hcvJPYwXMYq5y9b6I1OJdN4d0WPDIFXLyA1A4pU2Pxg7GXWc8bZrc2Dx45+RU
6vOqKr+tXpr2408gXcV2cjV42IM1rwcrh1/a6v0dQfoSivUlCQS4LER9Hi9bLfvIx0MCpXQjU318
L/UQEfovGdu9HOJsvy/5wNudv7fUcvn1lRqxj8B3wo0Jco8BQ9LKhtr4NXKReVmcGKEaU4/Vh1tP
bsL0h6Ro5xtm8rffIDHGb7fQvXm9VYf7+ZcmvVjt0rjZ3QD2Zi53abU+aWSxCgYdevt3CGW5cWpo
cDdwBOS5wQUnzWPIYp9ZgJxGk+X98rJsFdB+il178lN0ukM/4kY7OhULPo6AgwOwwQYi9iFOwYEH
FhRHQBbpmO9FuA4HJlNsx3atf3RQjLcPG9nC6X+PCNsqtlfjkUEzrb32Bakbj8tOPnXkIZaZb/ss
9H7NpTHwpUIvdPkX1hBxUl6OgIE2Pb9hgbHBd0d06yP+iTtTcpQxpT9ipelKxJ7f+hWuS2hVfUjg
sOUwRbG3yH6iZc/eTdnjlnXi196jUWRn7ItzM7Rh4oiTo3G/t3k0uS3E+eCWwJL/WlQrLEphITMG
P4puJnMU250Kd+Nhi+1oIW6DSI9NPe9XxTpQ2WS7uGllquH/4fshu8ejabRcoPSX0yZXR9wHucJt
K2XFI3fHWgK9FFvMMQQNu44pvMqtbFNghQW7YvEos4BqEUZP4zDGapnIbkBgpo0hMcMJQCwS4gqW
jy0bRjqLuxEdbzPygbdfCxPkVOzsahe0PnF0hEeOzDQ5Blwgforuemzl0wdSSPSJs34/OL+Mtf/U
Z6024W/lFnlgEVMHpIXjqDjqGLenO2UlsjJxmxg1KORw15AmY55hzFl/K0NntDoOKyCrvrgnD7tu
p+xXXJ6mc8HCojvBmDPO9lnJecK9jyOWiHdsyFym/dTt4j2LSn2LUREzKb51zOrWtbasly3aB87q
7HQZAHwWjlhcNFoSWTdjp2fCS4lPU6BoT1YMj0LWgI51MvMlbHrOGefpig/zcnRZF1ApZwts5+X4
IafnZSgRiJNI4szuOMn8Zi2sQWWsPseDMZ6IGmPOxrvB6mRC/+rc1DgzkDZTEJpgnY7qbizfSA0Z
G6SXNvLGBmhEDXI1XrGJtvkycti51cNeYzWHxIZqkVo+HGnmPodFdr9PjcldfeXGbPH+vlgseJ2o
L3HJ9sCNqXHpT75KtXwj9aUoJAspJUNMQM3lCE7qo4favWje6xjvTH19LXsuKwqrhUxZ5osbkrXE
tjFoJ0zMAxMiy+Yv50GcEJy+ecOTBMmvh1hKyPtMcRm3uJRcYK+D93lgamT4rbJeNWmxE39AY/qQ
OTQfLm4Lbk6XiSNLecbcBDQT5/M1SeD0FD/buC57TLHCwbHCDA7rzHeZk3TWMi8rq8dcokmbCY0f
ZYNQ4dNAuI3xFm8Vh5l/cpDigsu1R/HCalsRG+v8EK3S6fiPVZwC6S5tkG2KBb/3Eeg1rXWNsrzp
mG9L7naFXTZ0H/I+BlHkt8z+3ehfLNrgrEyhtnXkPXj/FQe35NdlS/Xf3m5m8LaRZcw+KTswNWWb
9mZ0VEFlBrb9YY+CERSAm1FwwcZfuBs+eHMz4k9zAkIFOxKkVp6Yw0pWUYAEeRcfV6zitFLyIHll
idGVWUmcZ9Z4p9b36M73n/2jMRdj+TK8RI81ZSMR2h+R0Lc85hCfeqocIaoDD1v+++Anv1jzUM3n
jjdHTtKbe/PQ8thUqLyITugpe556051m7KYw51C3iYlWLPrT3Ra7jM1WoY8HzvHz22vbKSs96TVg
XDBF5OpICpHrHB52XUp1YlV8bAvVIZ2fwUgjz3AMaIwmSUflsSqMOZop/jyWx8sMZe+65lSKWCp5
2k01a7qjAtrZOYrftuaWg0PqSO161o6D8pRDucsU6q2pwz08nY7HJ5OI9VPtiF4dZfMRvq4cNs3Z
cZYy+Hj3VMlg75Q39dgsQ25mvMWig+vP5zJWxOl8Op5Op/g4DAb0Y5WC8TXl0kDtg7ROog7Q3DNl
Pi6LfHYeUYEDjXQClSnX5rB5rjIn3JHLDonjEIwlPbyDQxRKlnSkTc993YMP0edmdE6krfoQax0p
NG/gCOIT9J/9rXdzGxiEDjQVLJq4xpQg1JU+ao7Tj+4a1fhjkJC1RTy6bdRhFRxWNyQUkVsE3yHZ
qjRrx/fz/SobwLFJTdRxfEbFQsGJVGPsN513dLfougdgWRb+NdARAKzb8pyYW54n9GI2UWWExRb0
T52Hdwp8FMxr1tZ9Gnhxham53UX+mbNgb437hJT1DRKGp9lBZI0LDCNX27jrMNob17bRxCWg6GVH
9YbxDs7M7RR7pU+IM00Xp8S4oJWAkO9eV5QMGDGmNHnAXgPXmHn3IIq/TjHtEqWHM7onKnUmJna6
dxwrjFb6Op/WLlWkMhazhUFYSp4YgT9jIdJ7Q394xkC3DN9f+HW4HTj3hRUa78ZWDQfDtTIMd5Ia
5ld/WRr9/gsAsBPlBksMa7/EIEgIjLF2uf37Zt8kN2XisuK08pfllxitPnbL6Jtm8MtamG+myRYm
Exb4PS0fBo2fpJn82dkwLGto+DOzP+n3J+bSNN/e3oLNJvjAOEy9+XxkB5vRZoMdCU4KEwMxrrN5
WAHls0bbZzV6GKXFmiFOQeRJ9NYNluIXi5OPcVqauNCy0rbUm7y42kuOVY5c3GzxM8TDjrzI43O/
viensuy/UY/LQiOu+PK1pf6vX+RTZ/Puy9eWQUMWRrQJ2Ryfe+CFMAS8wpRSqyPWUf5/vctgNpT5
tVwyMltj0pwKOsGK2P/aT76QpmUZnOj9wnAzezY7mL5pMTyF0f6IlJGNEIG3Zu7soWZccn5kI8bR
me1njCe82RQgqcjXTHciMfjEvSv+Z+M9Fq5JHsAMaPPHu9rfeSr7e/60v/cnuTGZdPjSnmX5C1Zp
OR7eJOFougbX5mnxzHz4kgnR7/ffuNTupP+1/IEF6VvtwK/g4fdV6FssmUGTc+o1WIUuLD+4RyB4
1DMBl1DiT6Bcqh8C/vafuYb/7bBH8zXlejQH6d+A7uzUSutU3jWdcKjvW5+90R23imUdFIodN43b
vPuefoZ4c4s6JQtEfLk8X+i+6hezHncTZd1PGpmNxgdWAe5n4Hi0ThbZLpwgSCSEI0cjWSQB/OzX
/mGhwyzaUTyzIGj0av3vN+ptYHRs8ByrKoQbQWnv9TECA8jSoIj5DrZ967fXz0yROYXfOPM60D3O
0bxhNnPp0Zx+q/k6nui7BkDy1XlvcLhfLWCTyNCC1uT6UOUbaiU9FY5PcF2g5wMd2q5wdAbZue/T
ccu+vx+mVL4B9PdO5sOHpraDYRxd7WuMzVGHfbiHvBvNXjS5DvvoqMK9vgn3xecZcq1QLB32rj2M
ggacyjEpS6M9rdGX2U9udpRQGavSxXZKcQvqN/pHOKujP58wqePJpYtOZv2D93mFzXswkVHufD0n
n/cvXsU/5D/r/8J66Gb8f5f+W7KrmaWUsNygiacMziFfYV0U3TKsdRJGHQihqIVCDTDi9gx5dH9I
LXX+TLa9pl4PUn1qKeH7lGrwPwNl/Vl/XssUgB39dVylG7A44kRGqw9Vej7jMaq5B6I65hyhfKp2
SRAB8dVUbJYLYnnj4FN/6DZcCZhlBYdTEQe+BTKMhKKqnLYNhZGdodjq0yUeJLipGfYlJHrpYnVA
7xIjmhQOFSPJ6HxS3Nza4OT+xDTQ/Mc9Rj2s8J/AfSI923+eKDrGtef9AkDEQtBTm8K+O8EGz8d8
A6L3dpHpiefcHQ0M8TAbyp3NhhDxIKTq9h+yfMxYn37Ib3yjK/nf6P92UM0/D+p6PZ2u1ZmDErQF
ysmgM7qZFEAIc+OmRjzRU4FNxYf1/v4YGFbDKW3Cmp4TD9e+MZv8YPh+9SH+/4zb38fzzRDl5bV7
OT45Hh1G07PZZEa2RoKuR/O2o8ObjZCSFQ2O/YsPn+ZbOzjb+uT2me1bKGIaiNsRp1/thqjgfp3c
xrqFY14jzDm5srw9ZwQgikXh6wu5qunRoj7NCOz5Cz8Q3MBrm9yJYB+kF2hhF/zgqgb4uIJzRDah
oYQtkinZnfsRfbZzClDnu2MAU9EwMcZbE8SLKNn6vBlgWuQ6yH24TvqBy0X5KED4p+xDHoWb9y/2
gTlNug8n7hPvlKRL8ClfbwGVqtztGJ9i9+FcNi42LPOeAOC61zRhvCIL0pj2jHwVvuD61rQzlHxM
zdG9Vby/+lyom1H5nMdVfd7YxmB9N5HQ7SrAPBC9sbivJ3NFIaUH34x6QXQC8wHp5Wpdt98Xw65a
UxVKLT1GQLfhwVaWP5tMli11xQcqzKX4GRcL7C1h4a7GLaURKMqjxDcyvvAFbjaOBSGlwQ9xFtoE
+g8fM26/4T0FCGlzB6AQAi721g0ECGiZ1Sga9B8+W8GDONuRd/dvb6f9gzo2Cb0ffjzAQaT9BqeG
zIyPvLldjSUnEw8efmN0wb2B4hNQXYB1dkw9BP++huuWsx111bu7L3FK9MkBYRycSmXUfOo/OfMX
OPRmrROPrAvX+uitJZi9m0//bncCwRDBAbxQOTSqGaR0xH/4YTVuyD33X/fAN4tMsZUeN8RQtBSy
A5zqchkE3tE5qBERZGmFQwJMkIVU1XyooRzriOK1hNKWYU7+2zOgi+Ono/lWhpA/IHzJy1PTEUcQ
z46L31Lmcrnsi7crfh4EH/4SB+8uQy2upBnw2xsupclTsHyrT365nUwSiZVpNpKPnfFucaL4T3tt
JyDk5m2JoFsKV1keQRDg3Qb2pm48iaFt8XVtc4PnSzmARNgBplTwl2DzZr8+3LAvQ/zjZIrSqZN7
p2XdT71wWJGyI14anl4AvET1HCtmtnpF9deByGtXNuIHZzPyEviImpMrbi369Myl2MOh4EEijQMH
txdXenKytpsTG0rIDcq8xa898D5gvo3wG6xFg3RA2DvAy36jiMOpjZjmfjo44hTXwe7eIq/nxsz/
tEm2oHhLB70ZFi+gWJRdY/a60siRDzBo3FBQDjm6H3ky+bcb8dHD93Rws+UOS6hGv4OpAt3fwCK3
QUQyQT4ut8NpD+68wYmJPCypfzVJraP3s2yM5CpQOeylAyIG3YjmhdfFSxpR3k+J+/GdN/fROBum
cwQNkPC8LwlpzbpRDYhkXZawxK28msrtJ2LHmMjgMIFPz70A8Qo82jYaAxLaLkkbyjLb6KOl0A6P
H4uUNizjXrdrF6NxiMw8tZFdcwRl1qzryoPmCZF4QRytjRrviPinU+J9wnEPUABdA17yq/I84n6V
Xb32uY/0nVUFqYW2DMBq024DPC7eF0igU6e4lYU/M/3Ze50mTETNBYyTqCsHdQtnETJSOiHgeky3
QL+LBTewwc31Dci5ch1HMhPRRsAoYEcE4azY2aNi3jKM9puAxi94M0ASso99wsIPugAG7TF6yCvW
EdLm6jMzDhRKmXNS/YaGkzI/GkhfWMCFnAkNDxbagYIvuCHqm3B4A9wowZhjYJYuq0JhaYsbZ34A
yJBxYaUZDPyHIiajSwJX5hWk7CnJXOeuZIM6LCuW5ZbcspIx5GNEW5FDhVAgDLCr6ETAwzD4609J
xvgzSZ53ccW9WRKpfYRlTDcgxGooKZ4avtTNOJLJ6Q3P/UOgE4E7XSjYwwWofVChGrQLLbqbyNNC
QQImARBPtp9UqTW+WsNYuV8RUK6gjj1T/8ADDnGdZyChRbBg3Tw404waA/ne1e1ZnwMLEauZNk6d
08fDfShfgGjx5t5nlMOTcCabb6GBbeCQ9qFiNLbDh3KH65sh5QlgG11zNx4gGWPs8hVqPOojEPgu
2EDYb04JRCY4kP1sk/jQIs7JR7wxZYPjBgDsorbOB44k4A0dCMlEEsdHVXg9NVc4lauQNbgAWpbK
houZePfPm7WmVNLtE5DfTPyO0hWwkrmOcxnO9D4Mxa7Eq4sjiLzfZF1dzN6HD1tlgzEyZizhrr5u
evmqXiikhph+g/dYcaK9cW8cwXo1STfxRnehYyQ1EKnh3Xt4tNrgoXNtOhwL7gVJmoPzWZA1pW1K
DZ7WOxpQhMXRRKb3orWEZ1SlS8GjqUJX+BrIBZAJevZj01HryCVyI/kKGYxCs4jnmYDQmpk7iR37
mZ1PwPFB+SswdMn91cmYg5voJsJLXJctMP/VuRoEiPY6Y9yfZF16Ts+X2SXpwMx4ujLFx9YWdKZt
F36s1sXSaQzr3GjkmpzDQrJaB/DQptXrd/o06/drLvBm/+XZnPsC54sfIwB/xuyCWWmFsuRgLUUS
XAEGTdS9I+W/Dwd4KqDvV+tprNkTI2EXxtk5AFk/mDYHUIEZdqIvUzxya5w5kPdwRR5ycKXKgeRk
y5cCinWLqfcwrVQ5XdVxbmyv4QtN9NVi4+Xberx6Op8rZ3y2PqeS3QZkpFXNIG9wMxJvhXKh+lyt
Wk5KOW3FuTcE53FDcIjQdo2Ob6npzZ0DytqeM2D3uBt4XYJBZaZpfgQB4Av1BHivsuz2v+7YH5nu
goofbLhdJkys9/czs8I0yDBwLWrGoLLWljVVC7K17vvQchivAeDsC5S15pHJUXJNONrKnU675hgv
U/zME7N6PKj2Ty5xjcjjbg4ZGpMBATMMVjJvdo6DX6RW1nq1GjT8VVPyu2MmXlutxjuyJiEXcDSK
TbmU1GYQ1oCxpoodqh3OsAfO6jAsA0BmCqyBXTkqkC1uUf6Jn83RvbLHmPwdN+cNQFqsiZRdrABa
IxPkW02nsY2OEKi01EfV+i0mF7pLAW1Thjz4GZD2NDC0kp3ksEicRwKnyyeoL7m5mFn+mIPJkgud
8BJLBrzLBTUcz5KZABKHVZnE+JhfE3AmfD1ZKWaSNDNAjCIKiJhtlOIp6sQfNlkjgeoFmxc+A2/0
IY4Klh002+G8Q2vHSpBwKdY3QGp+0gamVhUjvRpbdbvLoNf8GeYSppvXbSXvSU5pvPsc54oLBuhx
VaDvYr4YLuvJqgtIPtKtUOTnVOKHVI3V+hdGYM4h2JsO2aKm9YHimXrdVZOMQDlzMytzUZEkkzkS
B+puJXs4Koj2emr0MeduBeqGLJktNMyLYitBFFDsonmv5NRshoEClZuRfs+pm0EfmLvaBy7DGVKT
B58sAOv4Ky+cxNSVv1WuLxZ7lpBiWhjDtbirC/cLSNXB2UPvoV95HXKlI/INEkNxWkhNkrEYIV7u
sBoizwQzOSdZJ6/9PzRcxTgfoVzo0X36AWPQB2M9BaOfUpOtpuQvLgY+Y53iug8ou0k9knAJUuYK
nxooOhi+gHd9f8g6JxFb6LFouq8ToNBhiK1k2MfEdJVYMBaSZCOzNLfZjGS4eS05HMlsl7g98q4X
Tph/fUnAywdZF2XBp1LYnN9cbvTUtueS3CA7M/pAs9A4oexUIwFEFBqb/GU6/8hY+0eON3gan4PB
x1xNHzYvtkp5H6MnIMkH25tLcjx7FQRIwkj8CNIZ9EpwVAc+wbEoaEWfXE/wJTjZ7hzwR84+Tq9U
5pQ0Bw0VQKix4TKRSUlzEf1FyxDL6cwvjuTqD5zCyUhnDKkD+hkJOjI5B5F1GYkLZFncpvOGC1Yj
yaXLhnw+p80Jcx3mQPsAG/N5xuzUONMmZVSSp/Kcwr2qFfGnZKnkgOyGm1MN0OoLdVzFROfqo2vJ
Qy46Ffh868Y9Tj+qQuKIyfCRj1FXNJiuB858zqnTt0Yy6Nf9N97R8XyieoKOPhtfym6QZ35YZOJs
Vs2c+PdpcJbcG9XA9lRvUjOmXCAKlsy580kuiZvYmqPVbTVMG1Z5nCrWS2DYmluIuxtkqSW40/xE
pqvmMviv29AjicZQyzfnNmj9nLHj+OZM4pr6+D+cnddy48qypl/lxLkexsATODFnLuAIgF4k5W4Y
oiSCoIOhAcCnny+pHbNXqztaMbN6Sc0GYaoKVVlp/vyTL+VnyM/46M9DGsanOanaRJ7kTzjn3plL
eC7l8xwzk2sJIvYEwyFCjZDdXO4tK1MCfypPK71n4SnmG64kIMd7ZzWsIG9g3BjEe2RvJTdf0Zhq
xuUnAo5zWhTSEmmMjPR4TkOZKas5R+ZH+SoeE3HgL5qAB8glgvbJu4njhzlRQRFwIVE2WhzHNBxh
Z3mvIYGK1SoMY0aTflGRxnHnSFT2CZoVI1VdAuwiIYlYRg/Isk+EvMTVRODwM1Vd3W9EdMqyAGLG
Sl/NJ9egM/UP0XxCCS3kwycpqvewYEj1dNAgIiF2YnBElLpE6bzHysGjsFHsWItcQbDt1SQjN1Qj
ZlBEjXYZHYmWznfyCvtfYJqYZUOuLO2TdbTYeYJM2YwZ4B4iVIZ7RZdC8Y+tCLGivAEPYK5xIwA1
ImSPtIsy166+qmaqS8EsdxeV7vjCxd0+J3DSpXf0i7BMdP+QtEPnjhNGQmEZKG8OU5IqYq6drAoi
t3SICO9GXonKTJYFcWKTE1TQETCwbHH3uUrD8LmL4ireWxFNu0RE1ee5z1YjPDQPh+HVfTfcJw+8
xt6twywuUalv3uitQB+aUkBguBzq74K5QtFMvSNBMEjSkjJ8q5IGfwdOfrcea/4BUGP5oXsogv23
JU6SJUuKiub+k3iq4s599iNeCwBEg4D9V8JBz2m04jUQnP1EKrONj2PN9wJ0nmAwIuhlemx7b8ko
iN3xeMyAjeefk4de0BbuJ+uACccEv8/xh7nIFqYlYxLLyuGX+vWvOZRYsigQHszg+ViOkj02Z2o9
cBM0i87oGn3GoowEQZDcg35o4yP2sVGQJBW+Vm+UoE0tFls0WtmE0R5xu3pvKrJOBRx0dEeclQSi
L9Lw4I2f0cJLMDQlkhiMkkDUrrWCzo9TeeaNuNClL8ySz8+ewRAMApcrE5RstPlkRrwvYAN6G1Ev
Po9Vr4yBQNfx2+hN4EES7hSdfBtZoR7cHhmpcr5YopttRk8QKt4ROpZbxoD/YEIjoBoVBF7Y8LoI
VL0v8vDcLyK8j49n9FjsOdAo6JdVb7LrWZOdZ46sCeAe1J9ljC54AbXTeDg/UZXmVUylusdnkHL+
K5MP+AGvDiBZJ6iiqo+b0+x1puJTJBXYHY1OeA7xZIpsyRDlLMYIwYhy//C15Nsh+a/B9qUZAA6d
6CCp2DtZMGKWYaZFIl0LVpdgpdKoDozKVYEHUbIngTciQOAHuz7RqAlR6lgdvJ5cHS3GZEmTId/r
AkG12C7YHDGiggkzf14P29GeJ8jCzPraGyQG7J/g68JXKh7SmNBIyPzHu/SKKHWHdpJFbTCm9AaC
jST+lx0XUeXUK+Y3vxkUcxXkq+MqjzrA/vxh99AG8C8OsijrywZDrdN1OWrBeubueX4dvJKojf4k
lyNw+IJEEHru3A3Kc6x5r9tnjYNpdI0lB+AQdJ8QNuD5EdION6zBBR4/zHCZdMMSoEFsePUbfI74
rbOoHOEXoywmTTjg75LIlRa8bugVVdMTjd+gcBMdpK44HhhspB5SiiaIE2YF30HHpQTkh/I4fB2+
6v7Yfix5cYAOQjvZILpX6COD/UT0EzpdxXaSRpLRAMwoaW/Aj27+ddAMOiSh0kO6nQxNKVS5TPYf
VSwZDiabCjqZfpbtCddH1Azyh5u/giWThZonYy0QaNwyYToM2IdIi3Dcq7+cat7wFS06RnLqPjWu
gqHsOoJDEffHA6Q2vNPViRZ05YmOe4wJW5jh6jhXgaOKFX+NZSY1vuJR7NrHuUXkBYVUVJyUPzhL
8TeKP0+8e8PdgwFomWKG0X3CeajBw3E9RBYN62A7YR14JE6yJSfs/1gT7fDkggJ6XAbFAvS358RT
8V0SPSE6f3CHp6iP1qwzXc6Dztju3QBOw3gS4LvrfyAcFsgXYIgjwHU7r3dLur2bRz11pBB68xY5
kk5Ibn45TN40V0P320eYolQ7DkuMfxWg4mHS+ps+1PFePtExUq3wMKkHBpKiswaay2IssG2bx9M8
maVh8oJd3usN7LEFKgZYZy9+1e/aUBkXbhli8W+CafSo4HVuPYPoyw0U8NkX/BkUIFd3OXVmlwCX
ZJfOGKLWKARaObcWJ+pYSSDBwESt8Jasbky0jcduFH4OXga9B94cGsbrdaB5Y+q+PsRICTS1u4KD
rG8fyUHkBZ6CxyoUX/10Sc4E7cG9PQOcwKo0QzQBgbux9oITjkjxDr+Ox5Dq00CKJoPDepxKzD6a
Pm/jK1c9TzFB4JGYJKfYCE/xJT58aHdpiq9idIm7icjXN8miwHVQeaPFJijH+AmxqntwBgFoAwcp
SFGGB39hFipRsg8UF+iBgBq/zvRyQG8gSRQ34rbeIsH78/gssNHldDMBjHHHT0zrPk66XuvirxIf
uQAyTLdLZOsZ8z5qI3ws9yftk3Nv+SQi/zxle9o/3IL9Q/GAw2fUTRCz+GYSdPY1kIlh66FeMq7D
84BYPXIsSUc40EFPbIb2qOtjos7oBX6gBdvXKb4BAu8kAMP9kezm0Fywub3JdNLBq+YvOG/86sEO
L3OLtZpYIcxrgTJo41GDfQudAs4eyTWxcfKMwMIoQuUwFBxiNurCK8wyu4Wd8eHtmSJ93nQ2eyP8
il1rJp3pS0mec+8G/wURpgZIakFIcUFSnXuKX1JqxKEhElgUHx+vA1gOoScmjqx1KnhhNL9PYEbD
mcrs7eLlMgN7wJwMK3E8vPAgMU1m216EZZrQWyXE+7QuiWzhiSLmH578OhwEM29tj7beFF+wBc5X
Zd/3vQ8UH5kwVHT2PrY4QgVWQmjHG7GtPdE6vD4TgmibkcTn0HIM1xNw5hbgj+3hxNxMtSeGskjY
sQt2ZtsdiSOt8iovD5O3YCLOhIrZoVBJZLYm9warGHivXy2m2x53kqyyZ2csswIIrPvcAtZsce2K
/7aPt5MwWB48V4MhOnY4nH4oUb8JdYqUeH2TUIH/wUyPlsEjxtmeF/OFGxH4DfG2IRMOGMsaucK7
H+H1wgUGCnWG4wjshGeENejjAtWjZwaDwQvDn01g9nQDL+r0y2BPDOHsS4u6uAqQeBKbdqI62cas
fXwj93g5jnR/7WmAn6a8eNYBvtrRC6ItHgDdQw8rgTlibfSwIjU3R9yAtfLISMY3cF0cwAYLukvK
BK4jgkSUO3aex2ztbDsOUt25S/TboA3yB5Udp4rLUenmD/noOgcwP5A4tRoSsBbFQISE4QmIQIzO
YkIs+6GJJeuHoAxacufp0mtfzb7TXz4qYDChCfN3kUkBEv86w3C6exq4No20YD85jdjNXm5+hnYh
iRiS5oIKwt59nb+uxMQ1sRBVLC0zWnE77BzKEOIOENNZAX3So9T9PiwK1HKoP9TVhU34FZAMTho2
+/EhmZ8WwMinx1mG5+CyqEnC650MFyRNcGjAQFyIB5T4qrFmhwe8VQ055094gKKm40lyoIRf9Kfu
U56QMjjLEvMJrWomZVH1px3nnxanYXcFWFScZYK79084xzLQ+WIoEHwIABnSOrEVtwp+CUkiEC8J
1oRXjcnoC6vZaSgmhtnPE7ZzMXDkufMLwgyFohvBRTtznsgAECvnlXT3aTsUi2VPQOgQ5Mner/AX
0ASqkGX8C1DjJ/nnvVVOx0gE+KyxUvKhaIvlUMe3lSU4feBpguunL2eUjA3VQXivkdyxfpB0R8lw
QAfsm/3T9BhSaHVW94pxOaUeUp+xwL66DPdn7zJsFxdedLugPzMzOo+Pod6/vF5glzhhccqtRJ24
9LRPg0my4t0wGWSkxKY8TfOpPMuhZyW7fzmV/qKK8XSUNW7AxQUT6zClLBtvCJNkF+h9SpBE+tOR
rIhjeEbPjkB4YvvxcMv0cXMv2uGZxuKKwyvSzJg30y7KL5jN4DZv4hWq0aTG5UUKwAuoKao1uPXo
Gt8Mb5mc52aIanKOUdb8y2isD45omMRG2SdZBK+Yz6KqjWV2ogidWQTjVagmq0PSfdISwOt9Eot7
oNmLnvuAWzEfYE+JV0GQty76uhuqFFRwy1IgvLyLlf6E/4X8yyxJXwH6Qsoo/2fD7ojy1cRtMDBx
5GsdPGWp4V5XXXHZ2KKFT3BHN4H93Pq7yQkLZ/+A6H3cYUOeYnjhSNMC14ZOQ6Igm5ManEcOex2k
eezbFju3QbDhFCPkU48Cj/Plcz2DAgDJVbiXGFXuBdY1f6T4sGOJ5zowvT3xDMXfRhKXsEOVOzns
ZxCWsZMWD3KWifBR0Jm20SZ6U8kERBWjFCShDXVdvFl3a2liDlV813U4gRI03D6KkfNCK2VbuwzM
RLAgEMyzxaheB2KvUyxxFLEb8/CIGXgeSjhignJBM2g7nxYCYcVNT0RyERELEMMR7YFfmrsAgoq9
x+YMyDARZ1tSzsrxLInuZqLohThS8bzKNcQkXfaTPVsatyRkDB5jKlfOFkh6ohqoKfctaMqjKs+k
WiVaZeU12KozD70ABlVOEfNz4wKtRH+pUCzYoTiNnYl0AD5xBlkk0zwUry3dIo8DDGaEljLU8BKA
od0nJW7D6ZUA6CGkgntAm2j2tbdPSMHifKtPQzjXKxKjb0TWkzwLmjD/KrfghNPGtVfXIfzsUU5s
9jrMZ8ckH1srKtUOD6HcRXG1qBnKnQkyQZlmr6Sd1NxhE0ONkb0WsNhUmkY2OJeI7/m6WK54Csmc
+/sQMMwCAzsPxVu9U93rax5ee8fkzFVyW7pw9+9vGRoAYlMBi4HwieSxV+Qc1/LSFlbf6OehzSXX
noxIMzSiK5cT/JoeeZCokhXfwMcTGHSQsoo8Bj10rGJ4iOLFzYOvHVDUUSu6PmzvL6dIJHOo8uy+
zbuQaJtkCcHWkSzOd4WUxzB2xVReDdFEk+lehlZk0zIbj438m5jcVxLlaaKzDrAN/H3Kmza9NrbC
Nw0knx3K0S0GRfHAXJ2LLYGfA2XA9MTWYIKOiKL7UESLkVLxR+79pgdcxh0SdFAm4IjeLF0JtDNz
iRgSBQFPjY9C9xaSRyWOC7lS0OWdHje+P2XpvuEk8V50zxv5ZEgJopZJi74EpSNGDGkiKICUeich
8I2jBfd420TJ2w1XS4HHJbGfB8HTy8V/OsRojZJiQsDUDSYDbH4w6E/u4Il09qfJBCfPgB8X2iA8
2sTGRwnrjanEK5BZITYgS45uBR7CwwteQHwH+NxZ5U8XH1eGODbw+0gYQJ6Me6pyPW1ADyqUTM/D
SbRg+nDbis7aGAC5z4rmP5TQ+zvlcMJIiFkgOr234D8mOWmWfIMJyg28xYyTZN6w5uWwfOBowggv
cLxZ0SKZ8WnhRUiChSyGSsSHn0TJjJW8YJ3dpxXLWFZ24aG53gXEjFk0U1zx7LOymcdrOk84ejbj
KOjpWcQX/MX5sxmRwo1bDTkoitgMA3UTyHnkWHrgqmVJiWQQCQNYPRKhweNmnq/1ZU5HHpfTPp4s
J3E7HuxaK9Dbisuc3rgcWHh88hbSQwaegUKc5f4CUcc3HsuT0eNMxg+n3P1dyRcHApseYkpkhUg2
ei8yC7j+XVz63IJb8S5EDiBfIWw69zDiaCqWGt2lf2uoqrzIX/v9o9cnjsenSNBbU0KxEUh8PkRT
z0d75jNfC/CbH/7pT1N0WhIMMNMEQM6v+9+UgOyBIHV8CYgsA7lHf0o+1IfYXR9yO3/zSY7aA3n9
An9bS15TZ66/TCPf97BS89XHHZNOwhcPjDgmT+aha3+6lodPUaV5NHfmER/3oCNVO3gg3/mkwNKh
aDrjEH2g2SlfyJnSaj7Tij43Ji8h4mFTfvifXvuzPkdSvl7TaW7FTThIg7vSLPkDqJ2zQUlyOXeK
1v6MIxHtieSQDFYHRHwnloelDI0k6NH1vXd/+PpCP9ZYOdMIsKUkutXA8fGQZES9pW1rLj/2+IUd
2/bXJEGAwQXAfyRBbLZet5y93vACj8w0fnhla0A6hFujNaYL3yPo1xw79rgQyD+OVpIFZlO+6fhE
JaNoM11HkgrwdYROcIv75zUuAh5CCawebUyPLtYbMU0xhygXzQLhEcx2Jg3rgltJZoaskDXBMVpE
rgFNYUUR+sVkKUiUjLiv/LmncuzC9XomR+7tmPGGCmz+iIUof21kI4dP29u8LqF/1VIvet0aM54/
Yy7SCM6ueXIrd1gziLSTB9PJ+5DM1h38sPJRhi9hs5chndGjr3HBEqU9XElT1spKRi/zPbrqkXlH
1ZMQjkhCtb1qmPks5hD6xm0imfK78DCuFgUhzrG19A32PBz55DsF+4ZxAhP9KfDo4/A43LzWJ6/4
TBmgiJcgXBYsojWd9unBlPlGyxm29VSsWw7hjpHj2OZTRlrGmbdHtJF2398Or5sj3EM8I4y59Fxe
jvSKu0nXNgEdmk09Xgwfv0zXGUfkbWD1ciW/E16SKAIzwUAgICxkpcgLINTiARHpazD4CBjEm8gm
BocrZ0gF2oXrjqVRR8zhKdNeVtJyxKLhDTD5mD5+JA6XL6lA7rksA1b9B2AMb81vkFRDkQ0yALJC
OJfVVPa3Pe7UZ012+ftDluxm6HP+hSv45PXlIta23JhlHH3I8ubG9sPHlPVzkfYgTPa96eMHkKeI
1PaenC/LmqH2/7XiuUJkxUlO5xkf/Q/JkiWF6IOH+7TX/+Ar1u96inPg4xR15nZQ9oUCJIr6EXfk
Rqzz/geCbsotAJz3P0jQMYGg9IGe/Od//M///b/em/9KP/PJF5D1P46XwyTPjufTf/+nJtkrv+Fb
IUqnJpQt1W2/sUu02/KkKNXWAKrdvDsVzt79vEAj13wDl1vm769eAbi76xLzOHjtblEfvOuNAFMJ
/a7mQz/69waZPzVIvn9/e8gorfjf/6n+D5uSRFrW7CQFgZyPseLp4RU/CeWVvN1D41P/fU6BXAIq
RkBY9h28Ngq/A6Thbi6A4imAD9xTfEmEBuizmxRgj3BVUXCXXf8+RdlF/t5q9Q+JG1IJ5v8O47d8
AsidYOA+0GroJFDEEudprsAAGTmmWwDUqn8YJfWPQOB/PE++/8coXa5QJN5qnvf8rADxIXiLgxkV
4IccgB+nx7cUAPOclmaeMz26mruDw9/d7L1mBnZgdDriDryRLRgtdS9fumJmnMZbMnRxC0CTvLj8
VPvmp5nxDYp9sS7OdZfR54w8mEgBEOgtI8Pw1TU6MDYBYIyfxln7lejuXykQlmVQ/w2qT+N7fa/i
tLOyKqP/8Hk17qZ2FeB0BPxu7vZINVRZHimuCWIOF/eTN648N3DZlBNq4ZG0aRzd5XFoPO/Jpg32
KO7+36fdrzyvv7XO+MbzWpIcrWgd0oVq6kb2cuLP71DKbof7H6abJtP3Nynx72H4LiVMWz0c9weG
Abd/EWe4nDI3ezAeqzFuskU1tp+xfCLtuRjd1vb4+Gn0G7a2zQ8AeFP90+vQVbhBqbaoOXCY/Trt
u1mngWfN0smqF0YXwXoLZ4tBnv2VnPirL8DxLyKwNuH7pAD9eYI3yiSPXmTsZiH59oWwPZFjdfFI
Z4AXSiW4Z+LtESeSkCKAAR8egs2zBEXr0S3WAo4QoZRw22EkUVAjueB5tcmgv4b88ff3+0jISgdn
Ia42vHa4+Mz+BX/iBteUGZm4xkyCqhBx4OjbBecZcBjIN8Q5Jr/VaO8XM+CwHp/wiZmrLRQi8q24
6L7oNgRgsYWMIyfXqiFEKyAYUE13co4Trkm5UpA5gpXVo90r2c4CtjtKejjMJEJF9oW+2xCu4AYr
cSGBBg3VpyyAmAyvP/+A0gMA6GZ2IPlm1+vA3eymQ/DTC0JVACA6UH3ZvhN0AX5oYC6QrjFEZIQE
JEunG+BVhFqMT3wjRGNdzjz2j1HGtrGEJ+hG6oYSkzozg1meklm7WPw6ek9AXwJuPgf6VMeC/GId
0l+/qHSA196PpIMruFqIbKaQoMEsYg3IzAHa7Wtj+HZCuejWk5tVkF7UbBAS4wAq2rOADAt5Vgsd
hTklfPBaBA40Vlfv/UrL+CUNbDx5uFB4XXw9caAkqQnCy5+aI+0z3wzKQes35KPcHsUnBoUCQakc
F8E9UBWehzk7UK+Nvpio9kCkYcHpUSETKQBB+N1SER6FY8+JJf01heahE0NEzidRJ0Gkwj3CJ++e
Hus7sbB5obFz9uZ1AxuKnOV07toZF8eiDl5WcpPtK3WswpRLhLqDnBtmu+lXoawU3TWmX6sDkzcW
Bgk4D4nznX2J9kn0gKxDVgpkD+TqSNOETKuN6n6Nlujwh0ZNhKdIGiOA5BqNDBR5XEdA2ePtAtsK
S8yJ90NRmLZD50XuQjtGdR8U9gImDH7f2eUCgmQPpBaD4wczL+cESzDagtOWI0u+JeecHtCrOZRo
kKFkMINL4C4db6GbMP2cHv1dnlIp5DdBBy+iA2M2FcMtxzG/cWvm2bW5tA41zq8sBfPa145RZ9Pv
bibbZZQf/E7lH46zPTT6hZHC/B4158jS+9btSukcDf9tciQgX3h7yyXv9UyGGlQEACStpNz2jEuw
7QRHxTvBA3KataCJjF5nGVUs8S5OQeoHbF3V9pdpr+zGFS/FGtzauN4Ey4tn4v7G29b0tW6sXkiO
ibJ23iwv7tmZ3pTBUok3EMqQbG0anxaceftIsftmZ1FoEyUb7jbPnbafHuL6E7+3WodOOjorM2MX
aTDuV1GHynVKb6n0rgaMlzADwFXbu9bDYxOmaWjewmPlqy/kZ5U4dvVw2wR6A6dur6CvBbbLpf1s
M9+GXF13NxDBkMq97V+279aOLHTqRBbDE1HxbWjW8cUJ8zwyLy+H67rF83eoN26zndStf+Yx8JkB
l9B6+nJ6POB90p47ykP3mlwn+WnStI83JoQd3rRVc/s8dSdZPbwsH9Pd6Gy/8L9mUUwxNI/9Ih3m
2cIxwn23n8NK2/azw8DYLzZO31jSn6BSh9k57lCTpk8hICedn6tRZsN/L0cOZ6HUgeL+dBpulJ5x
HF6hNwMakfc0bLKtd27gQ+4rnX7HGLWHabalEFxyWP6gfOm/sphRLlaheKFUY2dGkp1pflMq0412
cPJOuh8o8ABSGuHWdv3qPO2oC725wNY5dijJ3ujDcpNTdGdP2YwhxOownhtm6+YqUQGEYNqNqNN+
2yRpAWSKOh855SrmG7P0O10wKcrUkYIReKw3zXBzBPrrn1TQ5+ZPNdl+JXORzuhUZDMofIneQobx
t63bvG3N4mJcj3O4m1ClFPISFutD//GHFfyrYvz7Y76bD9Y5u7S7+ji/jdVx9mb1VmyPvWwwINwt
LEbHH1Qj9VfV6PcHfntJ9aFbF5VNv8gzc2sQuCmbDNAQbM8yEmH69w7+KqC+HkfxQqq/a9S76X6n
QL2kRXY8dtqDVPXcnnoWYcll/HPl9181y389xqDAJaXXJBH82zDq5/wC0TbDaPTQLguvC2SoZxJc
hOCMvFaYSi1M9yw8Rc4PtD+q/aueL8/uQnygWzoFxWGrvadJ/8O22Z+VZnksT8eB1fjNBwXQXm6x
8VaP9EFOVVm/mtzAjWkoZOVD/nCeFxPlcdnrkBO3hMFKDyuwTzp/S4RY4awlpiMfHarDoJqBSXsg
jshd9EE7AoV2ctuRELzt3y10seVjXYYUEW5BbpWJ6GV4iNDedFJzBNouP4J8wgh23ycKXu97ogDO
93qgE+WC43QCiRmUVxqghxIwbXx+zOG3agJzjzP9BgSjGgmkY92lcPToOtIz/PnlxHzc9OE8e5Mk
NgmdbfopTliTW15ibUCdmZclAWHc1HAxEMCgighBF/5+oqYgflYjMqJjwu++Rh6NxCTwTJNer/VJ
q51u8ODgJZuJI0i8TeKsKYa7sfIkrB6wHQ/lexy05k9l/NTfZRjrXdLsYRuG8N75lrFqWs5+aR9Y
Hur4OBD8ABl2n8QpCRR0enuc4nuoNv++RL7R+cv86VKP1qL+I1SAX/PrH/NHNepDZZ603QD++pwK
eyhc6gIxiWA87oJq+fn3x6m/S7ZuV7dkMVJTmwXzzUZubCEXVFkrEMeCbTt57xe0RWrdhH9/kPm7
bJMHWZpsCBYC4NuDlLY8b439rhnWUqjgdnzQy6bvUEbw8qmc3opuOrZrOOybnALOoXVkl8PE0IBI
suFtzlrUpexYrc42bYda0wcqR2HBnGGy2996FxhBzPPkRprpblBXcOWlit9UN69DNsFSrT1UC5QW
v0twuHjs6kNT1Xy1k8e6UQaNcvR1bmqZqes0sdKdNvp7Ub0WBwjJjPfb8RKdlrtA21e+Q8HTdPeD
DNZ/9b7cJQYD41gYjF1FpRb3r2bhzmkcvWjO+UA7jmzM7p6F4xE+3dzdRflQ7UJ5FSzjE+mh9dOJ
vlBcmpDbyny9jZZosv3spfrsvhiw50CVBClW7Ta1a55/sNa/OVP+1UwsV+q/GbBY3506/5yYRaWW
6U49DCjS1e5d/b1hSX8Ah5ge4BMPl+/Xded1+2a8n9+W79b75nP35LwYq7/PIu1Py4PyGhSnowY8
FDPfOD6Wt8amQHvDmj93ver8vFEH+1O0ozawDn1aimEHmrSuXlXSgc/Fxjt1HbebA5qpoCoAmJOj
kLYWiNQmrlsU1Em22aK4jY5qeMuOkYHv2mypcoCDRrN/Komm/WmxGapi2zoFFjVV+db6TnGut526
PA8pCeGeDzBHdMgbaQltNsR2tOCgvyt67Wr5q1URNGye1fpTIc22u3nOl0NbmTXlqkTva9vg7+P6
zQX49XYtlelHwW27+5u2dk1Le3tVkHSPtzCL5mKbP8HzRSzj7w/Sf1MB7sqgCFSK3nXVO7fJP6ZR
ZlRl2k1NZ7TDKVVlpne0P+oK3pX2rTDja/f9cn3Ib70ccAz8l7uXzYGQ63afUAGys4tSbVCDmMTP
Cz9+5emnwQ1nx+HVrgrXMAYOzt0cxOp2kl1u4VaZ7g2SHcvphoJtf++H9puOIf2wdJOCI9S2s1Xp
5z/6sV9urV33VtujHAz7lWLyL4dd/4BF6KRu2wx2ai+3WCejfdZ6+6pyDf0pg5eGMu2ngYn34EqV
n6CLZQiu8NZrdv1uvZdKP0U9z47x3xv7h0VD1VwpJkyBSbSib6LXWjr21TZRu2wgpCc33faop6iv
i1fsFlP5QdD/aUehjKGJjLcdjYq933Rlu2uWN6VjHeddQEXoOV6Pil8AVj7+3ztlOvyHrqV0MTR+
fQGFntrnW3qkU7fhznJ3SnS9BJvTA0VesnGZ/zCEVO/9xbj+WiFdBXojXbUpiGV/G8S0WHbL5W17
Ge60ttd0XjtHM3YKxzc2JProGmv09Na9Aozpwpx6jm6dVbN50xz8pvXW2+ZafDTeryWMN+bGr6Ry
VwnVWv5YtdvgOlD7RWuFO3M5QEV2qYSYZoDJulsvV153LTz36mOjzaoDpCUbgBSm5VqqllxauLMK
uEuA1p+Prrbb9Y7XsmfbWWiR2lPhEyEt1d617pbSganeDQ9UaSHfQx87l2WcZesMuWediE6yamyv
PMLPacLYCYtmbnu3TB2qlzZoNVgGFbe9AOvbQnSO9LwC5c6hBzjrA3t6WV4jJbWDa0Ya++E6VDsg
T67UXasJy6RYvuwL2KNmnSVdnBO3nR3brbe53SCsUGdqnvsXncTvlCQ5e+PDdOzZNRXvzsBlyCXq
tlSywX10BvXBtniFPzCFO8tJV3vbSq7dvVca08utCh0DZEg51PBmCvDRO3+0GeEVE4bbDdXuUHod
uH0pgbe06YxFxov5qDEa+xSqDZzf9qLbLHJQhfohi/Y2hPoXb3k7BstyvEkrhvHg7Q9nXyPWu1mS
xmxNS3tROp/b+q3b7SuX0Sad11fqxy1XTZE+2cu0b1TPTVrO89Rvr5/n9EFJYcetKUvQAg6GbhCD
JHvZYcrnJEJtj8Pu7kxNCu1le7LGql3jetB8x+htFGg81NlyOexQumdyvUIusoE/wvxsMqAWJ8oa
YyB0GMAapR1TUS/jwxHk2E6jWK0aWXtAQp1sqkDKoRs0wcHYaxyw+GjxJ7p/bim+kNnueQ9HIjX2
OqfPbjmpTKKKeIvt8e7A7DIA5TS5f74e3Iyt66hmoaM959m7pZCTClF+vi4BTy07hXu+wMxSxDvK
BxlLqsXt1ppaBU5ODpzZCc+dp7ogxYih3iEtj8UeJQ/od0pUGV6yvWk+6IeRXkK/V45PxfxMycgy
C7T85FeZHqS4+Yr309lwD5sH4/apnQvX3D8WxTrXoOjcrjuO1bedoACa0PFNbbrbkpUDsxxKbrtk
vHRMlrSImksT7Pbhcv+wKy6uU9uBslmGh33fhDel2rBBvWW70Sa3iV4/nrpPVgafkv2+sV5LFWMO
Vo4HZLZX6QAhj9Rpd4KaegbQs3WOL7vt/HaiVDtMpPZtdisfW1hZdnmgOZl3qvMwNy0vT1/Loppf
joThi89jPb4CRHMaHTq8Qdkl3ecyT7ebaJv9FKX8Fn/7EmW26nQtQ8cMt+9+xH/sXQd7eTVOTnOv
sLc5LvTNW70Ncv3zkFn+xYmz47A8TzE4qATXsRbG/4c3hRgItYUdUeJQKL9pvJ1bdeykhbwOEqUk
y/K9AenjRNHfd4g/KDUY/yqVf2yCLewT3/wAh8ulPrf15Tgweesd4r7q0GThdkPsqa02r5Yz20Ye
/6Di/MGpIo81HIfAG+S/37tn6bdzUWpsgI/N824kOU7U53Tf6xDV5RJP/95J83edkqehtnUpZAXv
3fd9MLU7t83NOhwGKFHGo7K+Yl29o3vouAzu/29fTq9Ly2s/oc7FcqhfjLnzaqXB6XkZau8t2Qd7
d4lEeaQE8tNtuvuox7fP86e6cB7b2WlmrZyXw9P5GQafq9tOFShVPy1MpQ9z/vee3C3Af8fpmJYm
FdwciuNQ/9vCu/1NOz62uZEeDjfww1AybbdvnWUZ73CapCNQ8+f4sJ80DtE7Va88wymeCxW+oK5G
9NTp1w48skbDlgMq8bybdVO7n3exS6423kNrYNS7l6o9/WAT/b6QaDG2Iqo8lpupfzfdqKpmaaZS
7AaXU9elUHu6ofbs6lyQK3Z5VHDaUSY906j4tYw79XS7HVX7h78P2h/UUFPHz4r5SFFFqjn+qgU5
9dFIjxcjG5xAz9uTDSVgmh5LV1yp2ePfn/W7CiRd/PfD7prfP+TG+bY9qvm1MKeXyrUIF8I8FG6f
QZ2XbtH6x2g3OKS9ekD1pwYygrO7cX7Suo3vSti9BTpqgqk5JjHdX7u7VZvrVbkU9/qRZL7D4/T+
CaNKT3JMQEFP7eDjR5DJb4ofBTIxVCjpB9WiQ2XBX5/ZOJdO3b3pmwFBhkNNnV3rUeXV6kdqR70q
VTbQr/Y8hwuryJ+WUXkq8U/s3LZIVGWdniklHi9REU+HodQPtZaxVqOCn0alnYYadbgbHJR/f0+/
m+q/tvjumv/He9q1l2JHWXtnpLSxkj4fzoNrGWFV2GpiNn1zT6nIl86VnTab23gY8r7SzrbLp1s+
uh2SjQ476ahzHkOk+fd2/e5Ok3YRmsK7hZWpGjKZ/9muy3avo1GlY7MUSy9lPG8JMH+ovuFdJa12
96pce1h6uyLKd3PL/KHO6h/fJH5hFUe+yRT6tlgyo9N0teaSDYprcq4IF/XO+pRNrv3pQXfr75so
63ZNB75TFSeF8X3O1NfaKM7by2acZ0/ne+n2qaN9niwcu1Z/DxPrwRA/hBKgdVR7CnAbH9khHdkd
6pWVPy2aP3YbBI+uKJTsREz8OuxHo+wcN3q1R66So7oxB452xZOYe0pK9fNrlnTyxte2ZqBcUXGZ
05rl2eoWXlowMsrQTl/rWwmx9mZyLev+7v9wdp7LbWvpmr4iVCGHv8wBpEhJpGX+Qcm2hJwzrn4e
qKv6SBRHnDnl7irbe28tYGGFL7whFueptfN658GIqqNXuwfD6CeaW68T7V4XSRo/ybeJJFARZbqa
ovyt6qS4Qigaof/QdngmBO9uBHzCtda1Ie10F6RlDrkIp2lYtM4xVtf98OjX8G9ceDngSkoXU6jW
IcCK76S5yhg8fH8yy8TLkNopZ+/XWSUHcX2nsoR9XDwW2l8xWHE+6Pl5kIuJmLpo8dll+EsK6N0c
veFJEve+vjCkKTmBKVyS/K+eZZNSxMRCTXGfRyYBrV+JUj/OZOm881ZlMM3UJ0ddx/WdZ7+5POln
aSJZOmgU/erZZfApad2F3oOjLAz1n2P2M6HZ9OFWDwzC5D89HYAAjij9GVzFteHku1up20nu250T
4VvtkxPh84NcnecEbWKuSYmwT2HY4N6FnjKOYwFzsvRwNRPXLioezp0783uA9jEqlRBJlxQaRGNI
9ekc8gYumMbT3AcnfmeDGpRFgtCZFujahNxtcAXk3z4pbmS8cBiJ3v9u+v9n/KvSReq15lA2nbnP
ISkPCyc/RbU7yWDRN80/HiFOpry6AwaLU7BJXitlLyR2Jt5p0d7cXDTIiFL5CpL4UeP6NA+DGntW
5sTC3om3HMmSOgvwbcECBRsuvKGlpYkKhoSh66Gt14VgZ+ZexkTT3Tr6MpHvzMqtnT7Gyx+X+xgB
fv0oldwLndf5vh1UG7c4mE4+09gZXrrP1K0hvKXpr58X361j8fOAV8dirdSuLjWSsC8wbxkeKvVB
HVEAD1nz++eBbs8zJSrRkjF+JIT5+mqhXFltoI5Ryw41Ehf9m7+jBBIMCYAlP4/1vcQ8fstPY13d
sYXbF3moRL6N+bEvIwuWCQuvQrGhea8oAtVUQiWZA+lktPmyoNijREvDorxR+dPK37sZfPtMnvuW
u+CPPz/cjWCVZ9NFVZOxw7XUq93u1c0QDAMzLqdndXgQ27nprL3k3XrLhXtre5zT6+P581hXX7cs
ZDH0SdD2MmVVDf33eKZZJzma62U/cWQQJOk75nSTpnofTXg9PJBi6TE4/fzGN9eYSZlYkXSTDX/1
FGJlDrIfyMJeI9fStx32L7qdGC96eed9P2Knq/dlC5NuaKqlUnW9OtMGR5ekVkucvdnvciQGsnPk
LoN2q8trIzv2zakvJnVzysKUutHRUx75Z527JBiUtHOKgZi+EWLgJFsFlpeBoLlu83FStDqCVS2T
SMakjvFDZT4J6dzSNrI6G7QdJxW1uV5bUeISxB0wjpqks6lsittBcWnrdyXs7oS3kjyuk2/vqvGW
9GY5KKyr60s3o3ZwjDKyE/e1xUhIEudvDkCQuC6ms5YypRuVk8Z7bMzTEMONrjEspcuQztsinpS5
nRenMUcTU2XiK/2cHu8iBikox7SKEMeSp0mOXJhSLLsRiRScQ/m9G2CJkmA2dEbB7sm70sMrgjIm
9VisQY6KAG2Q7ttAaVbSdl30rpH30fIEV4HXM6Fmk/YTc9xzUY8o7hyH+EmQbmQyiaZEfM0S9zJl
bCNtSdL3uvlaWxNB3ZkM0TSnJnjL2mph+Dsvl+ZYVfcmqFzomlq2krvz0K4dE3urPJlVAJpa86iW
SCRVyp8EPwIZGbRqI+GFQFmHcJeT1K3ABYRvTnFU/DfF6WExWlOnGiYkjan5ZoYnEkj2f6vQ6euP
kmW7WKgnBYIN8nFwL4X4z0zgqfvU2AJ5ZcK4jfDmMd+yMl7zeG5KoTJABZf+NVWxhDLf//fGooKl
aSA8JBXT9auNJQl6oVtJH9lGtdHxIa/a90a6ME28388jyTdiFKpUGo73xtjNMK9OVE1PBUoHERLM
4tKl2eMuHRQzfVzWSurns1x+cOqZ3K6ccmaB3BIAbEHKaIuxvKsqr6EGwHmpJXeQJh9R+/UmkEUL
1gNdCRUQ89dLJVL7oTYCZsAt3jTHfxla7ZcMOZca7doJEHbBVltoz8OQbKzkPOanXQAXnQ9PqFem
70OTzpKgnFYCju/dLhtAXRXvRdgftHHtZOhK1O9+/ChE2boSUQsme/XjmBr9Wk6OYVOXM4VmPpmB
7hW24GvzOELEll6rKYebLkgxqwesHITHqSYcxvUdK29dOtfHLRaFC0XnpkkoLYP4i7D8cFY/f7cP
lM/1BCki5+FY6aSqdHXrDp6cDI3WeXYtLaVmyYddBIyke9vSmxfmYQjOknFI0teYjf/z2DeOfZNO
OUVOCtdUZa5WZ1MljWB5PfWQaMOZNJq+5x6ow13SHn8eaYyKvr/kf0f6KIF+CuGyyGrKrnZC24nW
DThfvGQzwvf5z6Pc3AOUukzKcxamLh9z/WmYIDNqORWpGPsQjrPluJoSqZmZ8oUQ2gseAfbVPQi1
em/UB73dOPmzzEWj00kXfisperWgMsYDQfLudWKlG1GF+enZPp7907P1WqXXWt963DlTI9ml6WuA
ELgpI91RidOgBjmN14xxzsS1JKyiFrVjMJHYTLUBoa7ur4S6vHNFXTEvPkqZpqKLQDooPsvfHDqs
wVWcUBY/gllRWaaGOe3CCtxJ9lvRL1bgraV+EqVbPdnBSqR15gir8VTPdw6XiGq+R+1JK/qZmm7c
YDiNN4uSifNIWFpcCGFUL3/+wDfnkEq1yXrVLO0jY/o0h20xtEIHas4evMeu3ri48aLrYZ0Ii7Lm
zmK6uTkMkfa/SupMrPr14MqtRGjaVEzGzRHURxOyxXBhInjXn1/qe/2fHr3yaaSrOCH33UxT9ch7
aLQ/eUVwX55DtMOdddWhu9htx6wW53Dx5X8xrkqlSxV1oj76xV/fsBBdL5elwbelaipYk3BP6BFe
eqiaDW2ucpdZtkp8/fOot6b106AficGnTxgngyj5Zh2NZUpXvGT5pvb3DpVIooGfR/re4R+xDyZA
NQqwgDj0q/dzg6xzWsosdhMAfwe3i8qMiRBmAbbraKqbVHjO9Tsf80Z6+HlM4yq+NR2nlF2pisYV
ynTGnECDtmHD+PqbQb1SP995yZvz+T8vaVzdr57laaFT8JJjZR0BlnoKJsVzDwRAiXCifOjEr0k2
T9maXX8pK7w4vQ1+Sy1ApJ8f5ebmNAlyWFASRpJXaVNvhnKj1GpqF96cA66LkA9Hh0P73TngShLp
zuF1K101FYqkKh5DxNfXU93LbtmFkeTs8aLyXqhjhdI6qaZS/itUSQTw05HXbb4CmVN321Zdt+If
UdvVyspVl6Zyx1Xq5mcQTVosoCEt6wMQ9mlZ50HgxtH4GSphx8trwPPcI8cSt/f//yyrEoGeAQYP
67KrRa0OgdtWrePZST2GC0E+J2jPhgsBpSUsfx7rVifF/DzYuNo/vZWR1m0XFVToe3rQkEKkXU4J
lmw03Oj5OkBlUFkZ2oaChFzMyKXIj9368L+b3P9552s8dgsoU46U2rOFAiuGs2ucmVz2sE8EeOeN
lW99yvHQkEc4Ns09ic7v11cGBWNZfqn4djz0WyW9JNJTp7zTs+rlzVBaMz4oW6sdnoWsPghD/bvq
YcVltV1CyIw1dxqr1lHDfK1uXnOaS0osPHREnxTvTad9igOsLdiLbXHWTO0vywbi19ls0udKORHx
NilMIHfFK3oUAEQFG+zx5tHwLh/+1gW2bFU3o40Kiiaej5lhnu0D3DYomefGMes2Dn8tAcXAhEEH
cWAN2MEM0bbQJq4WPsQ9w8dPGW1XxXZSKL6puxjTLf1SZRgewbOoqELU7TnJLaAOWMoRHClDtAy2
qZZM8/7N5UdzeFb6OxUwIcRRRoA0gUyYtlN6c5a18F3IMmsAi0GMTI8k26I2wDL56GXE+Ynt0ack
vtUuMKVFnp0rwECVvxmbo3pJHniqOKUJ8t2e1ZXs/LxdiH6xYsrIiGmOt+JRcvuJLDTrWtRfXcOf
6r40cwVnZgj0N9/wN26w3ZAIN4WZfg8XcDOvVxWZOAR8lcll9nWJ1GGt6YUSZqQ0iEbGgHY0Qsm6
nueu/wSCZCt4MaKOjY7EWrcvaZ8YqrFKrHaBGq8r/M2EciOZ0tnXSezFbOeKf3rdeLSSbp7HaQj1
M369s6xvnc0Qa+kN0o7U5I9A8NNG7qNM1YeOJiDFpbBQZ3njT32yKd3HYCycuD3CkcZJj19V6+Sr
J5OPPoaemaSDODlmLQqE3Z2b8mawDlfFMskORYokV9MoaIFW60Pu2x1I1kBFuFUcLoK2pnARmAtf
+RURE0c5QgzN2S13KouRMkEbA64vl0L6OkKJDVu/fwaMGdd1sgLw9b/Yz6uLjNa+n8V5G9iVcVLz
hdcto3aavgcPIBIt4SUX/hmo8sczQDImVkPWnYvtg1H80/hXGWGcy2rdN1pK3YhdAfhJzsW1po6V
HAvkubYtTHUhQ3brq+xZV4KzV/UH2nNrpeu2Rp5d6uAtlzKKHUxRU9TPTovUddLP4xR7Ntma56Ex
I5SfVxdXCZ79DEqsgHeMPuw8F2FfaTi2Fegr9xD1Em6QzptP5X3w9bVLYjr4f+4szlvJocqhC0JB
0sEdX90yrNao7fPSt+uQ/B1sF/UyzlhOmLwl4b8Y3aXtNhEEzAZyTHcZ8n6iEDpSRfj5SW7mQ5+e
5Bo5oJqFFqqOm9mCsST3ETUUB+NtaoKPkiooy8NYpK1Jh2CMwBXLLUxZFEjAWoGS7VHhKDUxfa5R
fNXQsjIpYqrMXBd706RLtx7/eeA6s6jD6Ojt50e/hfEg8PzvJF6nvklANJ+0nvegx/tMg3Dj0hzp
Z9zgiEykm07xt1G090CANrowLYKDmF7y8Pnnp7j9JemDmlS8IKJdbWklNQ1hcGmOuODYasmdEpsU
wOI0VFR+Hun/Etz/z1BX93Qe5W0jaqSuXTFvmglxSYlX84ByaDM3snffWSTE3j8PevMUtQDGczqo
VPSuNqbTxbUbhKb7UDuHvFUmgjQPusc6fxb19d25vNUigZsFZEeESSCSgn69ZoxUp3ZcVt6DieKy
3bnto1eoExrz7FFPGuZGgHAx0uXDqmoeORk9FGfd4piryL4ob226k4MHrb6TVN0CbZi0hgwuEZkL
RblKVpWo5yhzcm3fl3Ri6mmv5rjFvrUtcpBODGzQN2dJQn8uPgaNOS0VFAO1Cw+kKO289QowBf3Z
yGxrzIyEf/fcXW8m02TLdOHBwoAjvzq8zV4c9F4mAatgnQ0KeIALxV3TPwfdZaxih8l0anR3AmX1
1pXxedSrlaGXWWcqtWltfcHW8pVoZNO0iydiDraryGZDTRHTNB4CKV9EHRKmCfrMGpeuX9TzSKQA
nbQHvUa4fkBSXd6b7qMCqcqBKw4SVKFJwoXcN9DNCufZpKAedfu6SldyaVsdEjKyM4njdJnAPg0H
aRYGDv0RZBXSnZr5qDsrjm006Slt6S4JyS66i+W5WcUcWzoWQTPZjzWeDJ8CDLVwU8WTYmfvB09e
9gA1osnRGayPrfNqjmFdMg3aXUj/+OcteevEgcgIihHMu0UV5eu4bRuRwIQUFgWlGBsRabErko3T
nH8e5mb1Tgfrp1AolcHMXL2fldSulwU5fJDyVUNGc0qpuW25ELcOJO305BurUptTTZbTF+dP4r8L
ABsrpFxAO//8KDfPBTh+UFOBbsrm9aMw024KR8i30+p1rGwMrbdS42HqFRtXzYiY0emo3l3tqUqs
iQKKS0HnwT06bFFYyscqLueD3gEjuJMC38JNjeTD/z7Y1ekvZUWfer4o7AeMJd3HfliZztNgraTB
1tJNWj5I/tpKD4myyenfqU/9MPt5aq7Mff9TzwQDp1IPwHEYPuTX1WDmieRlQ+nsgQlkGJ+i3oRx
A/hLFHQRl8622bDgN/GxerYkKPAbb9j26ZyeOue4Vqszq62BCLVTq/ImEkKe4Swz5l0zV0w76mH7
P0LoqeCvaRt6Wb55FII/ynNvLH5+jw8I6XUEyDyOJXlq2ZTovr7HMLiNnOWi+yD3F0l5I+/2AGOH
OzAeQrAUETuBJtgnOpbhyz7d98HGz7atmU5yQGsmAvEyzuArRdx74aNUbPJuGmUburoBiFhfwaKu
2bjI+SJuEayA05Xmukadg/xkWFb51oPi4W6pm/C9hHyhBMcAw0lrV6PiHF4Ej32tAYdOl115TqY6
cbG+E6StIq00bAkBMcvDQjZOmb4dhlUNplB90JWVV0yRJYiC+Z25Yiq+TZUOv4npghhmXn1ytyfu
Ea3Mt8V4o8eoNEeb1Lh48ePPw9xoXKtId1Ej1zWV2vN13UW04jCRBc/cF92TZOExXK7L4KADvRFX
ijUx+4fEn+fqIqz+yBYiABFSXpu03/XFOdUySCq2noBm+5MrE1lfy+48d3ZjR3+Qn3/XzoNfbRpp
wykCo1Qsn7VwXfndRLbodtlSdi7bRSEfLbwg3E05doesmWIsW/DozZ0Q7kb2wYtCngRzT+RBa+jr
2hO11mvJSlFCr177BElj/RIBw6a1N/VzcZFlwsl1p5001Syeb+9aNGwTA7qEmdqZil9rJE27LlmH
9BV1ENL0YfgRYilOfHxPjZXl6Y+JEz8tlcZ/kMIBfBwiYnK99lT3pJN+UiEp+Dmhih6aOixNeDFu
fuek+F6m5SWRmqLGoxLHXUdyTdEZgl7pnu3Wr6p8hDgbtxBqdxS2JDyKmvefV8/3wJHhSHTRPAEO
ACv165xmVppI+ZD4Yxu40kCxoHIKfCg5kcm6+Z0dwVn3dU+M3C8wY5qqAbChRnGNm8uGoEjk3Aps
K2sncfdQGy5APwnrgRB7gu5V17KZE0EH2QEsem0TWuIDqIPomEpHenhTqGpui4F0hA51vitVjI/a
U43OOuDcFuvgYpVAYvedJxhgfTIHq5PER0pkuZasFAHyvEdjFr/qKRhDClMOCEGUmJRttJGGZa7C
tGkfipCCzVRDwUaHQkJ7/rf2O1hbsKdq20HgHaJFOs2hnspzV9tV0UWVTmHi/PIdY+rRn5Ai2Ikt
iO52J7gwqlVoIWff0KdVVS1aaSmXJ8EFmw/EORmmsNSFtp1JFPD6wqNJvBEV8HOJMG85TcFJFCb8
EmWtGAehqDfmYExjVibLl7pH2GMGQC8OWWf5OE4MkiHTtP1n7sUwmrc+tB8PeysNnph7IQRLejQE
ylOT0EHu3qquXghePnOlLTzwKHwxRGeuPQa5tymx1pTeubsnNLo90VsHWjitQYhI3q8+OMhwzaWt
iUZgJ7akbNYk0OxISadKANxPtwvrSXNmViwSEq7yYJaJ8TxqzFlPYz8QFI76ckkbvGqMVeeRgorR
xIy7J9O15XCa8yPYx3q2drWVPMwCXEa6Bb308T2SvoSd/RLpS/lfjhhDQrUIcE0SbYTiNFJvQsgC
HF4gESZ6gqK1vgOflRVQSXNmDar1UdeduYi2eXdyhWPWzCroXywyE+8Y3lc14lmPuGY24/Pn+lHW
dla04WdQfLIMd1an4SKxRuR6wWv4cwdiPCLO9azTIXakL0JOjDPAyfplNlOvnIDlTzwfeZUVXzoK
9wgAqc6r4HNDolWOlzvdVGtSbcSHGLbSRPwj/Ba34YvzV9Im476AkuZPBsI1Vn2ZA+rUFom6swpQ
LwUO5MGpAJSW0ICneZSjnpOL+aTp9ZkSwg7uT6LUg0p+7mpt6/TvvYeATnsSkRFPywW10pCfU0Tq
LFZfEbpbqGU8UwLMAJClSAwMI8E8magTsfscNVqNiINEuwdHUseY4dNF+e1QuEqMoMSrht8bsZ3n
gCOV6q+atsv2NS3+ydVZ01+NilNdsUMMSdnCpG9U5+g9z6sq/vjWKj1I+mkzT3poyr9SvnW1tZQt
QtQ9g2WhVJPydxCtyvQYGCTHyxx70KeuhyOpzCLnVwukOLQuFulMLiD/pTiz4W4AKt95xassrCzc
xrXCgGQA0S0gX/Wlbx4sJZwNdDA0uxbfovJSwle8VxL+YNB8m1xDVmRLpm9Av/jrAS86gaxHtRPY
3nCwrIuvvQzJyRCmNGkSAys3YdcL9QRYTqQAAa8ereGXXthddDIp07Bd21qc5ckyRtgueSRWA3uX
myM2MjCiFSVvP1qGgjfT8IHIHsRyaQ1HyUHdCvCv507EJJ7K2apRjl4AyXAYYPPteaZJl/4VQEaX
2nsO41J30SNzDpH3r6AZGst3SjJXd+rHAlOph9OTElHQuCa9CF2gdHrqRbajcZ9MBtir6MWif4xQ
dTpt72V+45ReTzkTrVMCgisB9eXrlOt52Ml+y3BMD8CgGNSGCCfUKi9Nc6foces+HblyQPzILKRr
KMDgWUPWN0aIuhW03HCuVWewAHeHuTWBEB/AnAL4RlLl6o0qRNMEv2UYrifDOinlrtJ3tXcmKNLd
y91O4nUJ7eODkT7SwyAskVm2X2cwEaos8WottC1llNF81/w5+90oUP7sL1k2JTK5K3p0Yyo1dQTu
wzchkb7GRGaG0Ialxzs2YjFOJfiNjgv0bnfhxur4Ms7Vadc7etrqEXUBQoE0SqfMZE4s0BDr0GD6
Obq7OZY6ainBXYHvdTWPugHlXA5iIKrVNLBOWrkTsqWVUa7P7/RMbs2eBp6BBqU4Npmv8kJXSr1C
6QjsaJ79hwubUOm/V+a8sQ4hXAALAhhCaKxfHaM6sSqoqSyyG2NZUnty1l2WE/AcLRTMWInc9j9P
4HVJY1yJDKPIimJB7Ca/+roSQ0dvHCcGeV4tdrMdbqrmTJ/9nf/CTXN1JCO/E/3fHo9CLnxElThZ
H+f5U7UqqcQ2kZK8fz7vdn+esU98RNx3VPdFO/z9PZjeQT1fQxX+836fxhtn/NN4XVJKymA1PepF
SAnvFrvnZzy/Dz5OEJifePP2To3omjoyDoiuosFO42REhOZq+VOpUlNHrALbkN85H1k0I3gSwZm6
XTpY98QZGL9T3OG4F00ko7g3/lXC8238qw8K60rVk74JbVHckZj3bLsRUNwJ2xTSlrKPDZtgMggg
82hQ8WeCOkOvQPKPMvhduqk/r68b28YaIbjocIAZ4xj/Ov1BkDaG0lahXfXI7SgnYsoAZeVCvPPa
153h/7z2p4Gu9mfr9m3oDmFgixJKB7V0obdfeu4sJ/dIq3ipGujGqsgsjJ3slraQJ2M9n/azsavp
JTRdQ9L/iR7mM4U8wwfJTccG/irJd3SXJ/v9I8niR5+Ter4poQb3dVpcyUt7v8syuxTMZdhXy5Ku
sOeegCZ2AYkaFZs2eR1Q0uRvJO0Yu68JiN1Er2ccAWqCRG1U3TkKblxKYFtkkzuJX5x0V5egGwRe
FDvwd5K/jfqo4MeK656xMIuNWqxGzuW9oiF1It7zayTxZcgP6vqn3Sm2buNIgxMxDxgwh4/BYfTs
dFfOMt2jid7Y7qpYu6tq7f0u9x6yEWtnQw6DGSpu5u/mZvTy7M/Fc/IcHLR6Gu+jQ/EcHRobvbB1
svb3/Xv6GtnpPFmne2dZrEnEGruxCb4f6ccN9vir3Es4OdlA/Wz9rNg1snnjnzAn5SvsiWYVW0Jk
d41nPH5gKlZawELbZXWIV8N6WGNwvyKcXw7rcDusfazl62FS/DMwSN8262btbst99Sy+jn/qcJKt
9/U+RXjvMdzgzLB3D+Q/+XokUGxgWMFIXFvvJY6Rrd3b1ib+V+L05K3Q1AtWo4GUhPWTuqBms8oP
9TPWidtimS5GZyBvqy3NtTZXNsamOQvLfO3+bu3ksf/4Qb0tnXs7/hf+Q7cV7iAuVcljvi7XuEmd
m3Nrx87EGP/qkDwCeVliP7xXNihtCsdozw97JgCzNn3M86koeUyyfbEH4D/o2DdW+/FX+9yvg5Vo
y/yKcAqKVtQq03qib/WVjnSfvkUPdbRVklfst9HXCZMmfmF5dMKPieIljkoBdgg/H0Hf71QUJDTY
4Ca3HPCiq70mDpKcG7BA7X4AJgWGpdsQUUxKA5HVVdMt5Xvh8XUjjLPo64hXd5wxmHXeJoZne621
qPtdY8TLPjiPVBjtTW+C2RhTJmgqZMufX/VaIOFjZEQlYLzQzzc18eryqUOxdtJiCGy9abaS+Z4R
eHXmzk+ilV/iKJheRlhkXZxNL5l2Ht+OoomqHkpJnxTqRQRd7OlPZUC3fDgVqN/2xPWK0E9r/ZJS
Y/j5ccer6Hr386A8NRIJ8jfMeOKgctjH2ofYZyXjEExhrLz8PMatE+bzGFczgpBileSREtkICYrR
HFTmeA8XR7A1Pw90DaoZ5368+SHNWkiXkRx9PdNTgU8eVxIsEF09UI8gBSwfA2WM22DP9OomoRoy
cADVrTGTCn3paZc6xNOZJJUOYtvlZJPHHD6ybxzDGtNXN5v//Izfb2MekXUxAu1QgL6+jQXRKZXI
6FI79Y5OcSGupKiSNO2dIO/GnI+sdotCqE5O+rFKP53qSq/VmZ920MlRF0asfWd1NgUXDDZ+fp3v
O1tFHk7k+iQ5BGB1NeNRntekbW701CE9fqwO6Lj7+GjTb57qjz8PpY2Byte1Sp6mUq+mqita+rX0
SNANnYsiTX9M6mn9jmd48ix4S0Ojh7y3zGXuo008M1+1fF4HcyfYGvsYM8loKh5ctIOUR9/dUJ0X
HqtVJM0R2E7STVOfU7zUTXiFswjX8Zkuzsw/Nf49xGrirLSSScVBbT2Hw+NQzZp0USBU06xKpOab
Ra6uI+HOhrzuI7KG+V6Uya3xNzS/rqLltuzFIqoLesnxP92oFkmL6zICrO4LvQQ0ITLptSuqCQB5
kxqkheS3A+knhZf883Rf88/HBzENtJRHwUHN1M2r5rLchk7SBIOwhwUaqhvuUUSy6LRS2fbNOajX
PNeoTsqz2ljl6bFiiwGAntxnYn8/o/jkyG5q4J0RULmG7wlm3ZCse6FNu6RUjnq3881iXys7x2ce
RoU3UFOmfqLq6Ise0hT87ggO5/nOhIzB19f19/U5riApg6K5RTXiewo8GRDtihbg9ZpfmjPtQT9i
RvH/AHj+vo8Z0xSp8SCPhCrH+M8/7+Ow8/xIpKebUqj/YONKHkXVf3e5uNdSCeMNwJ0JlAAA9wju
vBpJr9qcEzFNgVZEE9/AAUdHlNl5yFwJzbfhoXQ7eAQGj5EMm6wAreFjRK2H66LP51qrzaUweTJz
d1rmPfXygF6IeSizi+u/p1VPzdNdJ8XJaKx5aOGXa0nHUjm1DjLnUDndOzkPFNMxprj6Wl/e5+pr
SUZGpzzt0n3117m4rxFGh/KkQ5fSouS+yBpaHBNFBk088wlkaSri/oDrO6V9CvTnSJpU/2oKQzp/
kOfNg4OLR2DXG+Ov+ibgUV1CtJ0F+UR7RnEp+jc6AVP532sP3cG7xE8yzpeCOumfwpnyW8c28jdr
VaC+pM4yfEXfkIRrj81f5cncS0/Ki9xPDJtCuIA3KEGzTvXkVUPOuLL9PdXcUb/vPUkp4EyNZ+fi
KdM6myoP5gVVNh3bVnlygY1EZPcX+1sTa5xN8lwc8r2KbS0M1ZfmWZwDrdlEiFhYk/pswgw7+Csc
j6f9FBU4LKqipbmvV7QXbHFTfPxrkGLKd1poujEqBXnmPObwFNbWP3wJpEPy0h2kJ/MUv+sn/73c
GHY2E5fVApecLW5Oi2rR/fWe1SOFLuGhsRHKtV6SgwJWbV+sAYesnWU/N0kH2qWyHT2IUdBm+ufW
Q0QmgIy2hdc80tL1tvzVuxMCqFdmRUr5L3nARYLrhLjpXgCjH/Nf4l57BukTv1v1pH6PX40XaJUP
ykv4SAaDqCDU+vixs5s12cdckjm+Zy0EuYmJlwtBwRqvmYAjfg5qJTqIcx3zXmUrz/O9tujs7tlZ
viDyOOlm/uTRnXizYCFM0M2cXZ5jvEcQtEqn3ZYrEPtlsDCb5KGodkawyA2MWFD6lp4dkOG/66OD
op84x+B3GEhExLmCyvj4/9EaxlrghUCGAya5e6733T+NTMhdYUP9mj9S1zYWA+LWHTplEq7U1iQ7
VOtwL2+Ep2iN3uFyeFGx3pzI0+jZ3HSzxmaezs6mfIxXxoL30jejR7Y6zSejXP1k1MlOJ3iF8xJA
1R+CJ4KElbPJSPMsgJtn+Ryv1Km71ezmoT09iDt3mx1opIpnaZHy9vKUxGOSVSskMaPf7mqY8eeZ
OI3PlS0hap4vh9Ufb4rI6jZ+VM/qa3EoramCXcBvKiLn+hVE/ELEH2T0xhk+/oPRwnohk4Sm/Axn
k2/iY7NNFtlvM54Bmcf1iqXBxu20eaPNQzxbOtClUMFBmE3zcFVoNPFm5rBSe1aB9Zc1x5zk53QO
9szO40lf7fNso+Dgrk/bSVhO41/hr+5grJMXb312sfmB9b1WmM9yTjvS7hbFrOV5KpvAdUP9dJz7
CaSEqTRrT3+UBRZFk3KKITT67io+zvEKaDRW2cnCQwaexYyYfM2FNbF+Zd4EfbF99ETna4e25rPx
6B6jB7LWN/dY/Cqnw8uw9h7iU3xRflVb86D9iVfBk8Nn66pJ88s94hTx0CysAa8ecIRmC50fusWk
+oMyBkLF+HLgbX6KwLfQ38RHQ5v5R00EG0pdZaq+1RdqKsHf4uBvw0cQQTvlFzBVZest9IN5SN/y
t8SbGNjp/CpPbTvv35DlhsEw/EnfkHdZ5RdBmio4dK+UVbWq/hjllN4oPg4oH6LsjQUJ/+uCqfpP
28kP7YFSSfCHvxphRRyN7RT17qKklT7t/gQe/IdJ94cmScqDnqy5+BC84jSS7f1LspWtCRqqzlO2
zW36lj4G2C9wKCq+ZbeQq6n1yk8cmCSa3/tAnku8t0odDdHASXwy/0n7aNu/oCauv3Sv/4eyM2tO
VP26+CeiCmW+ZR7EWZN4YyXpBBAFFEHl0/9/5L14O6Yr1qlTPZwkLTzwDHuvvfZaxTgdn9b58rLE
BUR8u/RhH7RIs8ILm0JxXI25HCde9yk/D+bigjaM4pPCbve5XyceWUQ4fEZOH8oLjQI4BnM4ZNxn
lVlCap1w/GzMnPPxXaQYhTchbF/K5ShVpogO2JJu0bhtYOLUmmlnJq2Fhcv2OTUsOItXqq0fW+yZ
YKNdTU4FkZrR2Ux0E5FP3W/ng3VrKY4Wd55qX6YUbxFtoLHl7HWanVR0gFgK3EmYeJ0LzbkbJwf3
WjjUSy7EZEOs9axB4aAIgYwlKFbKPDjyuQfdFJ/yP0XJfouPWP9F6AbHp+OUZmCJc0gMuOfBehjl
C06p4+L62n3uXtXRMOjG3RhCvkHJeGtCzjGOFjoUYJbNUqxsVLmHdIPQXIec7Z/hwdI0R8o9eny2
LJuDuT/39u79c8LNpTTVEZzFbVBM6dbnLyMgQ8RkEZMRApyGnw5B67Hvo1NaCBy1ZjEeiNawsDBJ
Yvv5hObFe9h5Aud0Zyqf6St18IY1xnIEbX0V1jJPyC1ZnwHEmszkbYGAslakcPdESx5+O5PKqUeZ
N3jKY8XSff1J9W9Rr/ft8z6AR3Z+MtLezk/6C8tCilgDdEpvENTbPTcrvDLnZOy81dNrzYOrrOt8
MK9HutnY8uQ0r4NiUU16s3cYypEYwHq64G2hL7MPfakCfh/DPNSDo21Y9cdxJSMI/1Z/lJv6aArz
ZLRdwro/sW53Zs4Swb/nbCIIZtwox5uIAkilLaKxj6KGWa9wpnmTp+C6AqYHUTqm/2oQHwJpNtDs
glMrc8Sz033NlRu6vRCl8VbHeThK/lAYNcCg2bQ+b3hkY3h8O9nXo9UXTEuzWehPp6O53+Cuk5q3
5eBTXSQBfIFbaR5elM825l3Ddvh6GcclkE7GDp1hfY7IgKtG/UMMT09wXhTNZIjMgvObykYQYQOA
azwaxEMQRXqunpORNOODKcaH/JFl5iDs1sr6xn1Q+UWjoHCuqsmyMfBZxLq8tQT0pAcmRlj1m145
9D5Bs89183KGiGJlBQ6jyeTwVMTdpzpR7akUtdEhUGn++rp02luKXW/xIbXzZYeksmzJBIeSzcRN
C3tX2DRWcaFEMq8buPzgaC2qIUQdjXUSAx1Tq9ptO0jdnorHKKKBlXO72SSMWkEgUoIxRN2qPLAZ
WAr1o8q8tCh6Wwo8fSyzEJ5oTLGytpQmNvtn6eX21rxBK9Iq8/AkInGTHnlL+HwXse7ilu6dc+fz
9NFrfcpvXVxsLhNpTT4GLQXV8t4NKtmaOnq97+jWIWDNDFbhHCwqNPhNn955CbuBl+aNYqDAIkI3
eWMwCXD8eVeeKyT3F3VkLNQYRt/sEtVguldXjG7RLjhPseFTzPa5/FRGyaz19ZGnjNE/E8xBcGCj
/IPbFrQ+nqoAmm83Z4hrZsJmm7n7HOFm9oh+SzjhcT7ZxR0AAT8RSO8FNM2jBTHgZJjFO+wSomkE
ndkd9kfzxnmSOylmJMCUV6yvvAq3EraS3IJXDER7RNo3Q8bZLDY5lP83Fav6s33C/V1zxAfIwxfr
7y6XoCwnoSKPtKY8uK+233DBaE9p2YwJ3VwZX7HwMBYmMBGvS7q3OjZiH524G/f/UrztXXmlvKWT
bCW+6HbTYCOn2tfQmEFw8b3KZwuKxQmkr5Hq1kG3In4aQ8qJdivhjzyv7PP72ZUxmJXfLvbFfd2F
KISPGlMfWCImrn9IFxY7SzQFT/oUzdytIxgGWP82T3hTasGDnPdH/gneImE6SjlNlBn6XUFC34uX
vDheqvHxYBPKp+Uo2Tr6qRf9VjWnkl71HFctW99blTGGQCsTJFSmenhQGLlX8u/1Y9DMokyPOUmv
fXCHishFccr14pyO9cvBOcLx0EiHdiqGNF1o3N67y9a/4d92RPfaQBBN0yt3q3ez6vAxYBJetDk4
xq7XaN8OnaJR/c+yQySaCoSWBVqzJWFddVk7rs/XB3if8iMP/X7nX9XYvzL40ujEIlObZizHjXOA
VOQUU92rSD5yVHNtfSO9Q7Q7vm4/IWBNztEwOIfyIotLgo2b2aW9x2EEgd0uvYN3vFjp2xXxiT9F
NNgMvHx5ZmU7hwls8pN3cEGI4v1z45edrU3VsfpgMPct0V+vQenVUuBWUjn+woz+Goy2xTrpeDxc
l7lZE78r5nNuJfH7Oz6JbESOs7MewVA/8XQMEQxePBKO2KMO7tngyqXUy+JSXpdRYz3H+XgzsJfB
Un6Ze+Z0/PLaTDGHnz0UlB1AOrkHEPoLw49FPAEwbnDfC50XKWuik5IlJbBZsjqza/XBO/UtNczH
5RrRyIkepwFVjTAN9NkwrNfVMvHb4LyovTqu48OscpWomhSTwdNuQhgxlwNtLAaVf5tufRicUz1I
NvuJ9DTwy5lkX+IylD+OoUHWo/jFIgm3QcuxtfWFmRIK3iXoqDFV+J6KT2mYTwhmoeX3FZtwT1lK
8DRPC6km6ZYxLiZ9aew0wa5zcYy76OQfR6VbxWk49PfYOO2iq5dGGAW4/T50dHX/7LWe6p9C6lvh
NTxFPY9ysZ3i/zM/+So3rswzT5ZMbawGcvCh22duLZvVXp+atqN0StKGxOhztUxfNPxJhIk+28by
DJKgHO6mFc+RAmB4CgzXiHIy28xHhgwUIsqjdpKREZ+DiuS1pV/C3Hq76ZZPxgBhlI7T+W7eV+C2
z33li9JY2DntWvOQ3ZwhaxYenBOvppo0Xu+AephJfr1pvNobRMZbFh74rwwlX0R0y8t8jFbXxbSe
87wJGT3Smai0Dl4b1bESdaNhWIzWRweOWKCNjpESYA35cfNOrhBt42GcjnajQXCMjtEhunnypgnr
0BgpU2kq9CnmMJZjaSHHg8nXN3y4kx7F7XEeCDFFlhFVRrsK5UgIs2k63o2NNVA0fwqxPMmClgdf
PysztN/GtA1MYL+Hh6B0lak6h2/IDcmxGuubfK3wcPs7rehpJuIy1dlhfeCrW8y2MnMbJ2NhYUyy
cT4WQwMW2mv+enjlC6/apBoh/rFOXo1F9lqNdkPY+5axSJckyQFk8FibZGvBNxbSJA2qURrIXpSt
KSTww8o7tD3Aoffs9bCuRtv48pm9JuM06N7hxN7C7n0bK5NkbCzEcPe1MNT4FvZxxSWEoLoLcFyL
9ViaiLN0dAkv4WBS+rsRhoqLk7sb3bzewotucj5EZE2pMRTA0fZDcMVxSVAyHN9CPd6P+nfQ32MT
ogjZADjJsRABXM0GE27cHyzqsHrOPvGhCtJA4ms3BQDpurfy9R706LBuPgfvnGYcqzfu+uqqM2Gh
zopRf+fgR2twL/5ODKdNqNXpfAc/JXB4fqeXeHMLj587jg2z4BFcnzmJ9Jj/y/amsthuuEPi2Ofj
Jz/dPt/CHr8P+VK25uAeqTODSJq0qZPRW3Jv+xABN5qcLaQM8nE77H1FLmsZ1rHdrKvgKC3z8fH1
plu3T1rEiaW8IUF9/2MkgM6J0J7k2+6eDl7KCVHHR3Uq4P0wSxcZURg4uFk8CQCcCOvAwsa+9eCd
BxzcQZn49FR36IMYwc01VvTUlJpPqc7Z4Xvh8W8OQtAWYWaY3ax2j5zwJ1Pb+VUeJNWkmpMp0u1g
Y8B1QDwNl4jF6eOyMPbmi+gOoBJMTq+nbgk/sxrr5kvr3BorgctBGhZ0PbHYVRcDDrQRkXSFqCxS
d7iDrOCC9qWNZLRbY/oROdITmEI66GGEZOeIF5NjEf6taKma3wQ0OOqQ28hhLWTb14PPZoQ7+yup
Q6jFxiYfJQFKxKOdT/+QqxNtFWPYPslUn1ye9YU8gYjHD+oTDDlDtIh98tMsrFfZDNRjdY3KuIyL
hRIl0Sm4Acb1PAgoC5LiuNrBmgidnX/sgu3mYMb7JfRxlNZPf/rf6zHvc5z18Oorzcg9LEVzaDsa
WiL+zYh7unyXGKbH6y40GplAVbVzYPOUrc3hVQ+HVrV0hyBy/OvNxauGFsgkIx+LzqntNW4yM3dE
vB9dpDhM4509IDjjEhyWhQOwwa7KDSDhCZSZO038Jn4sO3PATxdm5hjEOZ70hMmzs5f93DPGrU96
uX+rNBM5BHVoAdAjEXesgyfDU0/EsB4KH2wU2COQGJLkPvd2g6+YlDgkGQfr5YUGPJVmHXi3IXgK
EIPb2O2aTE7EldXNgy1QmNU6dH/A9javSANZuqlo9hAXw7EWwo+wdRMGGh6tr1uTSQgUVNOaYBqe
xIycH2FGgKmZXmuJp0AmC7SH1PTY7TBqduTn87r3YV3yCVszn750WCfnU+5VY5PEItfSPmHCY15e
Bhf75u6ZIjhMflbrlgFAoWgwnnmlp20KywKIOmBjngEUjJk748PyMN3Nm9EeqgbtTKOBR8gZJ6Py
OfHaUJ8Mwv+bSlt/GEjjztsisZ+PypH4rE+E2W5ejSXV1N1yehsJHOL5UgqrceHgpuhcOdJT/xIM
nEsgOZLTLHpmRjnpj+ieTsLPzPj7jNpSWMXZZOvMmsgY9Rte6R99aWpgiUxPwHZcR3VU+vJYCcR5
xUQJxfFt1oTiTOCUEueHqD+zqhgVSFfwKgyShZebnwl2y/lUhBTlvTYuwoMrR12MAl549Y6T3M7d
ciJSyTh7J6+/s2oGxNLfFIfaBkCsdI8Tfrk7uCx1QFVlvJ9nf0Bikj/7sYPj73M6V5+VcDfPpnuy
tVE1FnjXEpc7e0V8edKm+1XU+NuxNE1Xs91Ke0ljUuD0Q9qZ6jxdyfOabzPCNG4iBaSW2oOwlA+m
NGW8T9qL9FI/CX+aaI879PGpjpBWnV/8wYM06CdlsuecQs3kd8JfrFG/l+EO12FCSwdluI6d3pR0
TzLe8uGmuvKc2quFKpvdHQur7d4hE2c70S8SVsiucc/n1WH4tgdq7ATB/vw9O5O+WOXfEtP+vnRc
w4iPYYvdu9XnmlGeGmnXjuWNOsPZ2Lp5Qu7uA838c1hgCT4625w8CebnSGab25W6yhHPiAW/fUHs
1D6/ZE81Ztvgh6pfePWb9BXrXAd2N6HTSJpgi8b+gv/Lu5HY9LHN8nXjfHG+UJ73lOd2dKBSctwc
Z82sWaGTfn0z5rk3sDP/6uqb7Ye0yNfJ/EDjsEnRSe1LafbJJniilKFFWHC453dt8Sm/JTYFMG/r
7D3aR1jZpgIQv/dAaot4i3F4Mu44po9O7de+6OkrNcf8liJ5EWCiQVFKwhzqqX46+pcZouCcsU0o
TfYBpTUveROtcpwSWubzLCpsIPTEudolIjqb6zQZq95+2dpA6++3Ne0aNrt02KwzOGVUj/Z2H0Du
bTD0bJN/KKVN/5evLvcRjsmxNtYDFYf54qlydvZ+ktqJV7vYu88NygKZiSdXzIkN5pE4XViOrqE6
Umatoy7yQH4X3eNIiGlj9Pev7DClmQzNm5tNr5b4J/k4+S1n5Y0PGdUjxEuXh1H2tfliUIvh7HP1
Wtv6yCAaH8yTGFOkeOtr8T4CCxsno9aXF8LmOOKgM0Ui/4N7sI8TtlYHkA62C2E8MK05NSwhpk5L
r4KLf/Wz+Gx4NzuzJXN1blw4olpiIj40PT0p3LQSg3hi+6Jb0xwgmwDolb3STe13eXGxlY2walyK
M47Tmh/ErzZWoe4hEDbi8/AZFagh/yYCo7VW9fK61t1miuOsmGFSW740C/IZU3Vo+F8DNUTGyw3d
bUzZRkxj3rXTUSHUXCAOSoJEkx6mbiRBif3I//GLgfPbmuppKH/luNvTYVvfzliJZJSOtoDOiOyy
gtLUTNDpa5wzYJtEyk4HVyO9/r6i/3nxoYgjsQb1g42m50L8dXF52+xT/US2m5uRGLZ2PkaaEF2Y
993VBhp8sK/9ZEqzf/x9uTv6ziUl66bBA7ONbK4NWucYXitabIlIEzsXvIZiFNuWlH1q5WtGS+rv
o/3nttoL3yDLhDouyf330eo6najFntE288lpa27eXNP0HAcE+cUqHGtRWMIDXtSwf3v3b3eoDQYI
GdBbThvG90saiqDUjYF+wE2M97WXGita4K8oKF9l+AlDp29Q7aVgFeKZpNZROZlduz31GoQkMt3W
tp9GUZhX6ruZaZAc9M5Bvz+Vf74UqW+oENEZoY3/DuvK9EE31AUZvwWaML1MvOJICbxyi4aXJd3T
WQopKX8qOloDCCNK//fL/0T8kCcHDoHNBSsayazvDyjPOhgpR9g2xm7vtM203S4uWly2CfK/j8Cd
f19LoQ9ZonUMKazv1yrE3f7EzQjjM1D2/h1qC4KfKPAi0PP7oP65rhSYdxzdtCJDVPt+JbEcVsa5
7K80HHF200FSN5Oz+LEDLkcAoTE8OPLORaNj+5EsUD+I+xkH5RW3BEhUsGvuZtyuudSnfMjr1OFG
E1yWUSKj0bEUALshxez/K9uSJa32/DhQOp6ocTdSqc62F9x3y9GutWicaxAy2zYe9/C4s+AnRUzG
Vot4CPkyo+f13m0f5aG90lqnA1tStpKk6bFT7WNCebB7K1oKs+dpLqjYJ65uFCb1dlGUbxem8unY
YC79gPIz7Ad295zxfQIh7o2gWNl3W6eCg+BOPmDnU+xXHTJAnRZ2OMkNWtjdGyi/VnJRrQ774G1c
HZ9aVKHg9xwRHxAojiJEePnIafgvDPRycGDN8aPZYwyoPJKA7Z/J3W3ysPowEltUWfmSsvprh0+k
5HQ8K1o9yWBzq4X3Raf73BYPpsFX6Hd3HeRIgWlh8CEQ+sX3+us6Ql1hI7DXxGXkum61WKb20nVt
O3+KFulsEc38Moqi+HkSL/f2EnMnk2Ll0UooyQZTWrjnAbU7kMOlq7mTo4UhRveU2l6gWdORbI6m
hQ/ca/Vm8Qv/cxfPCiuzF4OPBeXexXW1WIBDWym/9EftRF+x9v3AeM8y9Yjehe6roeGvgZW5ItQX
1BuWdny1Ny6mwjSbeOS3hzj3oOdM5h5nyFix/HNuh6dZuLhEn9Gf9e87yo/2EUQyEVnpFVj7SSfd
FUZEMb8hdYbkT1HFbbc24O0Q+vdaq2Uslo/8x38C7/SoqAaqDfTOsOS+9re/Bq3nV0mojud0pIre
8fUkvB6p623hPaqwPjjKsB+/4m6XP6NnF+yJD4+9eAZtp+KjjpGvifPt+YP8y+xmUAWZxMN7jand
QKguqdHgmpw63R9hUSCpf3D10jLAlU6QqC1MRyXdvcg2qBOG8N0nJWaVgiAEDzQNMcyRaHmEs+EP
GrvSnSq3MYCQJKw9XWVnP5Y0/LHk+jtGSob9H1usH+ol+1TKdK0FYFMWEtkRKhviRqBB+JCUXpZ7
OXSPvTThJLJuXSTuoGR1y4rvJUfv90nz5Xhw/+x4eTLbM0cRJPXvx9CwFa71paV+0vf5KVFmTnou
16VwXNecns0naQaq4QCGjP1d+FlYvq9HrK9ZGq93D5jbPyYwZoS9zCvbNr6U0n2fglQZSatdqnSS
U8/EQSP5OHRT3Ls5/4rmQfnuXkCKucsxDq+UNcu5hM/193FDKTWaTK7KkQRmXDq9lOBZ8Sp1g/x1
1m6hdJ1xhqa7BY0FRUENW3cNCaEe0VSmt7wXjX0UCD66pfu+p2F+PEqnm4aFEm0woq1Et4QiRw75
MsOksVedmClgn9Bp6LtKIJUMd8LolhgkaU7WTpvzo56Vf72Qv56Rese3Nhqj2VV5l44OpKyIv+4p
/0lH6CyQlVIwufbBBPjKJe4m498v5asA9teekly723GQ1OX4ZMRXISivG7GhQbiBZX2BdwjJu5Ev
jtLzezREGWqWJkboWiqbXRP2uim340oYrDJdd9RewfZaWOX+4OuNFKZocRvTs3oNLjlM1XbTQqG4
tbi/KEeqRJ2XnDt/oFBD1h6M6mdMQseDRNcnwfMA+6L7emsy0PKdsZVA2g9jNkZcBHFVOnL867tu
QfRhGw7Nl9jnCpKZZrK9Pcx6UV+5e2Sk9JPJr1I4R/mGRtvefF65C/ww7rqd062Av0A3zfOwuo2b
60ZpBfuIrk9rnY0aBTy/DffVCYWqz72CaO+Dp/Ezw+IeoHYT8fYdEz+0d5qzeLilyuWyPDoyhFdE
QlzDgntnJo7mUHYwcbJxEAVc3cxHG8yX6vf3+fX92neJdNqmuX7aC1Ru3VgabTbGswtPcfqWO8ut
7Xl9z7GzOuAHb65y1/elB3nUj+Tia+ga7UUISMryD8xOkatuaCD5gRg9QRYnZFfP4UIpuwfdbfeq
2exu/UD//0p3u7qxbZjHbXpbAmsNoSGbsqeZqmdvJrUZdFHgbUds6i8OaizjgRP6n779+7nyM2W8
u4O72FesUF7KVcY6rPYICoU1CG5D4Q++3SHE6ohcXs2AMrCnQOHpof3OP6f630/gLhE4l1fJOG33
F1q8qW6MMmfnVoSUuv2OJ7lJwxe80gdj/tfUHvZ5KhkVy/wHJqsq5f40PJ4uy9YduAn0vIF/jKun
Iuo8uG+AB5g6eUTxNr+Pm0cLq3+id5ObhicRHVCAGh1WyvcTTdkOzoayNa5LIYqjOE4twuhisTS9
egeEYV29EO5VgdmtNfv9Xf+kwqio+/WNbj1EBIpx9663t4uR3BrG/YwhGIzrWIIpX0LGPliGWyyg
5CIa5Kgv21Ftv+zo6MztAS4+YTI5wyP7/WZ+9ll+3Qw7br/lknfeHeyajmCZtONmFBiVb6CedEfb
wJ0gdw+u9CXvcPfEJRq2gW3oZu8l6r8/8XoglPU5Ly9LsjIPMj2dlTQDFLbyhhzRZU5py2jNinIp
9vaWwjwknIAZHB5nMnRv1TrMjrN2kcKmOvuXtUE50s8pJIh2AqF6cvwo49NT4iXAldjAsSvZOzt3
BAfnzYAmVfNp+KwuiFvkZUkta5YskymSs5q3gqlFnZri8SeY9HXA/x39JhL9RT3pWb6vw8yk9nRz
MozF+ZcQRWe3yqRRrtnZxvj6lvWIMV3IJ6eKoHtqDk5IYTqXvIKC883JLYqp7slBuogP8lq/jLNZ
33Hg08ImByfndLBHZZCudzcTMU4T6bCXcmDpjhZcX3py+7G2kgWUwAvIObWg2dYq4tNHFWt2Sle2
ys8dkbOzd6P688RaMV5I4Y5H5KvQg8Lk175A6/fVt+ETSmag7JR64U5DeNRhoq/g5x751KMDFwKe
fPonZTki7XqtzPztqjk1O5BmPsRof0b0vcKlNBjCCtPJv+7WQHcQyt3upigRdDCYcXTgSGviyope
lcYAYFDjYri35DQqTpkt1rPDBTSvVa39LZSv899n5lD6uRX8fTNfm/NfcdShoGhObea6PLmRZj67
8dDR/InHNiDMnHHqh5b/QFLjywT5x1rAu4YAB+yFlOb7Wqh0Od9uE5adOBMpFisRaoTe+R25OTUW
rbfUFqcqaPGZCVJF54j0PjTgkufByHi9KubJIXmkcAFznalIOcDS3TPFF3hwdu2zMl4baztO3qBN
eLe+VWKyteiiMJ/Xu9jwf398/9xCACmoY6FXjBNP/3j/enz089ZNVR7UqBd0TL1OcW6Vuz9jD38k
IHoabmOU3ErixgfX7U/l+2eoaGAwMordhIt34VmOJCza6xmiZRBJB2kaZW0VnDrhSUs2ClKpnJkD
zP6MTPaOW8k86TTsoLKdZZfV73fytWP/uBNaaGka75tovyiEfz2Bc35UMZtlAoHHECnBIJ2oJVWV
uSeNlZP18bHMNx/maPQyHC0wBCfwNuljF83PaG8NptlTFC1wGvQjv3R+v7OfKYmKOIbap28Gzcr3
0yzVjPYqnXUlGmzj88UTKLyW8qcAB32SPoqifuJ3HCV9rIwOPq2OREzf54F2kcTueNb70oc4u1m7
AFNFu4VaTqOBGdNrAzBVOaMseHrZ5UFfvPp9sP8KKFDg0RAVxgJWk+6ddq8XHZtj7XyeyFTQT7en
U70sqWWX6Z/2smn3yGhTDkSA8Ejz3b7+3GYrOaE59mYmBbTnTrZUo7KPNH+UxYM18iU6dD9DDITQ
ewSDROK+nft4xj6uPfJsouee7OUVgUsmYW623oZOCgL7zRu1k/l2ybEyv01HnrOyuC972lTmHm7m
yKnM0LL33sxqPedlN+aLk9HLa2jN1PnWmgnBbGfVmvlgn/q5TeOrZtC2C1RGAnKPdV4xfbueTrUW
YcZUXkWrSGcGzR7swr+/uq8P+v58dDpAAVOHIt5LP8pm+bWoDoWWq5GApAYtQngDdTLrZCd4ynU+
1FnN24DLJrtFD4ohvUNB6/d7+Mf0wa4Oo0edDuUBVIG7UAjxt+1JOGj9Ko77HjnVCoIRxVDdtMKV
/ygK7E+4+xGDv8m9MFsPQd5FQ5Wapxc1Y0ac3IMZKYtnAKVlECRmbn201tPwHfUoy7f1B2HYP1Yp
o/zrundxL/IKu87YDSjZQfV9jkrTdSdL0xwGI+/JsZyx7zePZtEXovtzrPqXTdw/TvumOgwIeLlm
bE/09VsZQph668zWn1/N6W0KVr1z5x+AvoLnhIsZKe0cyRMn8q16sqCn5zN3K+uTyb9+8Mr/Nb+B
YzGMZucGz7/bsvS9PNxekLfilavWRHmqJsHODuaaYzpDe8VWPYNk4+6tz+jR6/8Zc/Aa/rryXQBw
q6tza6Q8knUcXaEIjGFlIl/jTlzPJBrcvmN+sWXJW/aDreinmheC80w3qsbMdJ1W8e/bdC1dyi7p
Tv2Yh3SwukEwn47MJiCtNR5d7B+5DhfTkHwghdfoPriLDYSDUXWKxMVie9MFdP2l5lt5MA90sAa0
4prOS/4HpxfoVavt2wKegGDPHuSZPwY8HKKxOIAKjpEtOs/DfhL8dToLh74if+N0zs04ZsMVHTeY
M+ZxswwfFTd+4Pz3F7t7uvvr8daoORer7DgeWpMgt6ae6YwTy//z++TtP+nvRfV1JUnBLBeZCVoq
7rarRFcbfWtoCjnH4izEBaV/Bdxufbo9mqv3UcTXlXhyvX8ARPr7pgHjdqlObcvGSGOefTCf47dg
formQb9WqCeNzJeV7lrW7DPSHsV4/SDuB0mGgF8Jvk8atZPv725/HlQIDH/tyVERxJOaJxp4nvli
hNbQfDBQ5T6iRB6Tuj1pucbakIiZvl+tFnLppFy4GjtyDBE+iKP96Pk5m29qa86M1W2O52nzMoLO
M+ZMSAmsQyt0Xp48XnMbfZx79kNIEx7J49n8Q8ny7feX/oP+0N9iH2krQ1S/VO1+QbVSqe5P/QOB
XxLjYGfXr53telfrqaBO47BtESY8WkH322R/0d6Hsq9hsY7uI3yswCnNlDcQC0hVDp3QB8bbgTlG
mbu62LldeMqDaw778+/7m6dZhGAAUAJ4CJfEu3dxLVtxr/fUEpKY1DJu7ltH2wXyDn+u1uG5Fsxu
PKKf0b+NLj1d7OgbDzgHP/JCho2lPPkZjVNkqfenw0FuCynVhctSDbefx/nQOk8HKdDM3Jw6HvYF
Zy81VZ8WwtEJIa7LQwD0BwD7dQNfDSyG3Et63M1HNGHyYVlxA3RfQwt+VgLYe6gB+Cldp6AbYQsd
LLGuK1MPtoHh0EhuYn3lCVN9PHxUAurLF3cv5EvziHCwn3r3aPjpVLbXCwWEJfzJEVJtpmd4dCNz
Ov4+xX9QPfpR95VhPF2xAodC8/3Nd+3e6G6dki6xWJ23AZIH4272gicoNNXLgwD3X+sJ4xdOQ2Jc
2tLuq2jHsiyUy41RoRzQS1wMRvi8zAy3HF+XcxjNpA9TebSLVoVFa7Pq3swH2/i/h/vXHdxBITV6
glW1/RquHEp2Fw1ftm4JGReFdSjBDx7uv94i/tLYP/UenET33x+ugP5qtm/ldAmQEl5HgAhBSUsO
Ljz/NaTvXyMK6gMVYgmmOuLdsVu0N3GfQfWIdkMCqRo91hsiC3oP7pCUH2ak56VYec1wPZROzg7T
qz7Kf+S09QPb/7oNki50nYGYKaJ8H7B2OuWNLl2GBFqZ7y57KuhbN3IBT6YjJ51b45Uvvh1cH5Rk
9mBy/TyhCbAQJ2btMqFhNHy/tCyfcf05nLUI90gQrUE9rgYxSYxYPyhg/KiZMUhknoBWsVBT2aj6
zfTvEEfDaKuQmUPQh3t2bayHGR1gIH0OfWo0Jh2CoQ+49Ptk+tfi+XbZu5UqXCp5kNe51GdMlbss
vcAs/FFnFaa1IuDxZzQjPMBafihsfg21V9dCtIzy3H00l+XXZp9VKtI04RuUzm5Gu76rj1NvEPw+
OiiFPLW7HQ/iAbEy1ix4ht0HH5ks1epObc6ThPaUoImqEdqzNW40rVvGYNXorOBq6mlsyb1hCh1T
UJvDgRHglbkNNKc0kLbwdsXSiNrKz1ETgpJTUVA679x6NXijbcaZi1MFoYBPeXENSyu1Abhh6PeX
NLv5cCF4mZdQ7ENz3jM+t2/d0b0FKUooKMHCfxx6J90+bWrUKUR/B91267yjerkQfcKPCrdzeXWB
gGwIvoZ4wZ/bvL75FT04DjT8tLGT2qp9448Y7v90OvJKvfhn7pSClU1SzWr5AZ3ywxlFA9lO6YKb
3aI2sdBf+f1J/xD3H+IpM5R79WkQYRRu7xbKQSur41Y1huSk64N5CenH2Ugw7eZuAGRutpQ7B31i
PPxDeJX6486yQiq+/omgs/D8xdlahL3S8tZa/35nP0gGX3emiv3xQO+scX8WDSstOVTqKaP8iiuQ
hdKVLUXQxq2Li60S5KkDPRZ/GnLm3y/8NY2/zz0eSd8TgIQ1NnX3ewd2NNIePsYQeODZJgJ12yBw
EzNgto1oE3XoudmZof940/pH1APOw26pGTpuAD9gVT3ZCZpUsqjtjea7gfcBVQym2Mla+PbWorvr
Uc70g5DUP2T2LgQIe1tC5sD33euwT+jBYHdbRna8mbSLPc+4M6++B7ndexqZrdMDMDcTGtgOcAAv
Nu+/b9UQO3vOpT5E/J8X/f0WBKkp9G3VAHQhdjCsxp0SX1ne+Bpl2qNA6mdkSzwrYkytIMhP6fku
9W/l+qKnOIL3ePlJP8dXGvuagXe9IAfE4TB4SvXL7AqVUXhkMfF1un+bVSgTovRIuwmbZ++A+H2Y
3V4V6qt0kpbdhIX2DAJgbTbBHgzAe6ctAFUxerh42Z+Pn/DPefX92vLdIjeQmKdPm2v3abi76aGu
D5h+I1Ana/HpRw+Rrh/PmQv+j7PzWo7cyrbtFyEC3rwCSO/oiu4FwSoVkbAJ777+DrA7+pBgXuKc
1kMpQlJoJ7ZZdq45CXWoR5sg8eFk/vqxapL4FmUnLnJiM4s5Tu/xoRt7tV9EDy/HeD3X2aV3xf/y
y/5S04FzUQKuBiKeKvjXJcPeK5SMgGhXG5Rj4bKpmo0W3CfGLRU3O2//8bKbATK9oghWo8ypJD+l
6t/+vCkL4wiWy1bSjeTvPAoh58iy+35lyv3ygiio0DT2LeCmOH3xoydx+K34/AkDR3djRpETSrvS
IFyVWzuPmfAYxMfEOkJMD9Gdk0DAIUigeuP7QYMQ38nOL3H4C4LvOLxr24M/3HbiMek2nvlLqI7n
+oicrR0q+0Rdyb1bUCenSxcjCKINf6Vu54kvXrUfytu8B1hPf0qKoGfz0MopgbRrjP7056XYKXCv
KdrfDjbjwFvkkJs08UPbM++XbNqmpYNawddyCF7Vy53VawtVPjthusuo73bWYJNxLgz/fJ90VCqT
0i5a4wQHmSSt0YdiSuquEGJXaBBhiKBw0phTpVX4wnFn3kLulnUTL4IIXqAOOT8t3EoXmHMGWHr8
cGkAgxq64BDI8t6X133yVCjryE9gYm7dAlXERChow2qIyXSFm2bDImqbG4Gf3l0WocDQnqct/QH6
XxUgtMk8eKxsC/XFDIylCIo0biCd6Wq7aoNFInYrI/pjzIlif39PxHn0OAhsARIAEJ5YTUnPywYG
3fI0MKiE2HrmCPmmiZfNcwvJ1NmB7utSP3QYU5hVYjpxdlI7erGADmtLN1k1l3K2aOdQHR/GevIE
vvysyROQQinyGdFQHmrcOBlTYYvYmG6D6PtvQMh3m5VysPc0ESBNXkJ7YD3e0+lw1zOe+1s1H6fy
5XeMtZ5PIXEeqVV3yc4fr9+wD65gP9Bg+bMaR1S393PlfH1MI759NsUCA99BiexbrUD2jFixMnpP
3QlduSLc+9XvQr9LGHwkMUdJvl2e9cM5WHrBSpeWfe6ooA2ipdos1eS5H+7O6JpnR68qHDwRXDpw
n5c3l/KtyCxb6UDfMoEc6E9S/Gwm+zSBtyu7OF6INFTGYNHlpYEFzBNhOTJ2Yf6odk+q/qfsn3yT
yb3zm67DKbKshm142bemm9SYDeRG4Z5U703oA28jOAr16r7wt2V9I9QPpcxzCHZCPZOBfmtAfBzM
p52amOUR8Z52zGc9uK3zqMQOk4S0vw7L1d0TitP1cv8SPLxQ3Jtb95s7GC/Ep3Unvk9ui0g6++Sj
ceQRwgPWY/gPqj1O04bSPGvfGwnI++AxJ/Ry1/RQYVwyAvijbEQuKlk5U9SdcVMBqZSN25lwb7yN
364P9VWD8Qd0GqchUKRmkjpI3NbdiLGT7IdNeH93d7cKnP2b5tCU8e5a+3G2yDbu9U/LThI4xRML
uS44i36FjxyeD2hwjk0I3OSKKuveus0eGf4HALF25x7o3CdPDEWB6G7iJ3wy8cASos2HZHV39yfd
0es8/tqSju86Pvnnff6Gc5NHwBVoSmrJTI9hPb9aBeiPm0BssE6XR6h88mNzI7klU6Dh4Pg3jLhA
T7pqn5KZQsBHsfLLPo/LAiFBz1CmpqWN1uOTMdKGSDY6Y1AeDCqGcODEL/1f61DCDDI6kFt9eZlZ
8XvpEMCqBSoCxn6CTNDqX1fkoscBPaYxNdf+dPQiYIB1Tsg+QDC3ufuzZ4QflsCjbG/vGWsG5Taz
09+f+dcfYEzCPf8c1GB8feWh3FId+F06m8S50x/EzWpP+uJs3fX7Dk8/Bxr9nrFRqYU5HXkmnTCM
GtTXD2+zxop0hRMeL/OrsYx29iZwVs4ifznblCR+vlDXPlPWFIaVYIkie5iSDLWB15wFoj4SxB0L
mtvX3w/Z6eFOcOhtQY2g/cLZuHOrfqss8ZG0Ysaa9IjbUyb3SSy6C3M1rKrYyHQ7/rA4nJqbzWlz
Z7PBiz0TrgvPhnDNGQ589VxD4HucS2gN0IUXRLg7qph93eQwuajVxWT9x92r9gxfxLa0T/nryber
32OKerMHNnqxj1A7BTQkjrq9j8krjozy2LfrzHUP3u3BXTv5iRNZ7+bu3rcwHG5++gbqONOGPNIU
XdblTR/E3fjznqEt3I5G7bAsnYfNSuVUaiRBaK3v5p7caCy/PnJWpaApkkgyvjbtWDQxEpylBOEL
ptQ9LcnWE2ezulk9HR1kmXaPczWCb8ArpoxHLXvDHJUSeOmTqy6LYUvp9CPUgoSECoG1hGfsHgpH
eXeey1pHgzH5OmCbFDKZxGHwbdqLQCC+UiWvxaAsX0tIc5GdwkXQfdhCPLCeA8hdsZgkqHTkP0SR
AQpOzEfdBT7Df151aoTbVjkIF7RSQep4vukO8XumgRjNbyu00gX048VFzD//+WV/LxzTdvz8Cyau
QiqjpO+jXqH5AlCCKZ/XU3/khtO13vxlim61hyjHeUuBvztrBnzm3vh4epMNp73HDC9glPGhTU63
83TzomtsuOtiyPrF6RCw9nL1V3VBADlw+dlroFz/zFzj0XR8W1YnhqXkxSTqFMvWX8rOEhIqkOpK
cQ1oU8JfP2/s98h8NM5jR8+k2qdRieAXfHKGYkF2pRR8GHJi/4p2lmOTHMwTNIrr9T8zG/lRT5l+
Ec5AoYJH/5LG0tf1ysbQwiLEGuygv7B3z+F5US9Ex2Q6Z4mDOP3O7h/Ml7tLA+vBwMDd5g/sxU9H
Zriqy+LXsNhuo+WWJu+RPV8763f39rFc8JpBY+0gXN89N+7uGfDe6F5mturKoxv92H9++mSrciGs
qeaMHFK2IdmGXewv9mmz3Nj79J3YsEyXN4unF8/GnN1S/9SCWTaFa4EEYTOjixTHMDLT+5BrcVTI
4rh7HSMndnBk4rR/XSq7DdWbPV1n0Cpq7RwJnbaLtTvLH/hRYp0eH3J+CNBQILRwOl+PT04rK/a7
0fBQWLBhb3nt9ifFBXzAyOvy8Fy5OKBXdSGBL7yzR6xF79KRB2a4eHlZbEHEZqveBiDLSEE2V7u8
vj06aAEA9GMDZvLrGk9lamJosBK31vrxeQA3tmRqBBHAm/KlccA7ds7LfgsXwvqfuRHWb+iakWbi
Y1SKNjU1ro8e+qeXlOZyPMSo6YCuaRevUJuTODSMbQCjX9t7SnnHcd134QWv685ySX4L4FmdI6GX
SF2cuHb8959Wj424U/wqlXeliY567/aJ8asjqYWi0znHJKMytF/Qi0ZevKz6g9E1K2ZrU39u7u57
rXzyQyaWsgKxEIAFVj+gdM+9c3jNmR0AcOrbqz+L/QJ8ERU/wHQzpvJ7rePrwtNJ5kAKC0uWeZ7D
iRhXXpz07WE5wgY3HMFfUJvabbVY7B2QZOdFD5zzdsa2Xb0BKkgVNOfGMNCYBIJhGlDcG2OOHYMk
r1VA3HHHwyyXTBKcjvnm7disHOanb2Pn9nEOxf8xIzN9mqCdqbMYIIzVqSxYAbBf7is23sIOyqSQ
jXsa3IxbuLQrSj2bJUHp8umJN1ncbcnrP7AxIKH+gZqex8zT3e0IAH85x6e9fNrr9pEQcS6W+N6m
HI+J/p0OgolC8JSTJQRuepZzLMjj81iSOvD7Vnd/AsdbPsX47rWxiR13Lrf+DjsbVx1tJhEoz2T6
OAufUmdcYjjRHVhqjPiQ5Z5WsA0DK1j8EnEWM9fx6ncyyURmCxwfezl5B7XkaUbdY4tcKt6vJ9Ck
kUMDZUGO979AdV714+yoihYWiCRxOoBr1V7l5+243PPz4XBajgaZv3BH2/v7ORTft0oFBXxRBhEE
2I0poo9o7ZOxSazKRxErL091Vy607BaAsGLpq1HGnRAw7lYznvdKhgWan54Q8YnGAU6iv04vxUxQ
+upExi53J9QpxPq3EryliLlVgkujxhSX52Hdxig6bBgDNf27/o+guVDOSOeNJW0Yu0WoBK5ISJ5/
N63Tzr39MQSevD5+IvEMmGn+0ibH3bU5ctahOlr/5TIGPHxx6KfYx8qhV5Y6sw2VK8EIHUFCQ/jK
CN2sSbHIYBajjkIiQ5mZEt2RbATkVxc3WP689R9NqOl3Uach9mUCmKGKiUv1lUENhFhReTjPzxG0
YSe6VPVjgSzJ6YRYBXq3DMYs9kgywkwJVd8KssBjNnIAEgb5SEot5nhurj0tCil4WC4VaNJpO7az
pLo/V2MwDmJ6zCdze7lBA3e1B6YNhUZLkv3zNnzjTca5g0GkIQlaB/jXB9L0043PPbGsqgumXQPp
h3HHvyw3ozTJMAY6K1510Nr31FF+XvfaxUcKmkPWgMIDxv/q1f04LpLC55TLZAEDjU9yZcAsl+bO
rNTiNf9pqgg1g7Cj9kmd6utalXzpI73lEx9bzX7clYktrDU8Q0OBgG+E1R6Qm9Pe/AkCzrtbUK5y
bm9v5/zY1a2mfoMNY4CFnHriRQPGmiwtGr3o8zPR/OtHAfTDgb9QRiHDXc/hv79jSzhduKlRL6dL
CMPL5NN9yyipHLXizgzWkbxCVVLQt77sdtFaQPuhvZGrOUjBNRP6ecnJ+w0MobfavFaJFRA/QozI
X6NapBAvMvZ5c/MC4+MiXdQ39+Nt3s1t8jXr8Xn1Sbk3CIdLO6iFyCjSllEkvUM4bAXQXXDbNcIP
P1/ia2U5+EKISADyjtMrk9XaYpCkNGj51sMhOCKbdArdOxAkvFf/hniQmAjS8bni4+yyk5C4L4Qm
l7VW3v2bYKFd1AlKWEmDQtqArEViZ9mwgcdoXUftqeoQudAhnQnq3fj3JkCcqN6/6OafM8Uj44QY
ReQjalE0i5/3R72S5ZvQK6AXCqgXdO+kvFIKaZxacqjsCCbWBpiHqu7WKuxPKpT2qd8uxEGwz9Wz
ermgOWk5emytovZPCFVyLkJSC6ujDMcqJLZ+sM2SdyVmgs1aJpqwPHuQz6rlcjgD55NkO0/NdV1J
H0J/XXbf2EqP7hT/k67a5OeFXElvYeSq+FlDPkTUDTNYKKV/2qFdy3N8edfiZb6bR0dkBmZ+SngV
1Rk0Ytpl2AmXaqPRBBIawxV80EVi+adA3HQIILYRwXH1zarK+kXHO+yaZGdZw0Eev2ZAkKfh+zHe
B6D2udpuNHMhKt6iDH5r1dKPlrVX2ka/TdHt/fnYrlXFvvz8ST0gEOM+GIJSPLQOHJggklVgwDL1
bWSJCog35zAU0pUc7/OC1uSeVHVieYNZoPi7qNzO9Ziprg/I/7iQ4jp0nN3ZadKrNxNoChhjKsuI
aH71Cbnn+0UhCvJOPqtrvf09RI0dmTLKJEc51BZoaHYRqLTyV02R2wzSt1IVkBH5pZlonMhzO37N
amkICNCzwS0oU5YA04uqIc0acZej85feZt2jhM7doRQOkk9SF82End8nEHALn9ebGJBQaMW2Tit5
14ro1fGhqryqDZCDrb/QrO5eTf8YdYJ29BFBZicPC04eDm/oMXoIJq2kuDUjqqRx5lpq7JaK5JwF
zdEY+zYxPr70GPnWYbDAsVV04Itt6veulh7UC8Ssae1Kmmh3qCpD+BK16UouBUeFECOTkErzh5tE
vBGbp8zs3dAArMSwdpvLtmtmgduX8fKi/mkDTIe8qCOnOWszRuvqWTC6RE8HOC+R79ebcTZaw4gH
RdxF8N0jLRciFutTE5K2vb6yGkT4mCz6+cF9tG+msahuwM5LAklxfxqhmOnZk9QKP8I4z/KQ2w93
EcIJD4fl4+7WcOlP5mt6a8sN0k4CzoVq2NNAYfi4oO3TU5+VBDsGYzlXpL0WpCHoytwPsQPY38lW
lJ3XDedQqk5ZuRipUWAHbldQ5jUQX/68A1cDlU9LTft4WqTqvlE08s4D0KJBvdW8wi/q4dK0/jfE
hI33qBn5XPA7xiLTfQeePiJvsdVkYV/PuknBlXc1lYVHIGriG82GzQq+GUYxj92KePt9rpJyLV03
yZpZkNQZcrpJ1mFUYqH52Vnc1Zc/gv8Gvy7SFYs4W2vq4FR94lKnhfN/0wy/z9l9q7yXcMrGueUM
oedq6mUZlO1MFHPV3EPUJkoj0pkke7wGn1IAWeqULBe0frzxmbpI2XQxO4aIkxTwwCtHZL86FKA6
MLOXQxPNocqvPThSAG4+vUamPiZhsS92Gb0Aqd8NygIIO5ybSvcupsl9QTrbXKpFX5x6DYHV8iCq
68AF2l51W4U5GeWybIVgEehzJJHfpyUwkJ9/0+SY2qgAR1oXIhoUxqleEC076Zpbn2zQDHPnMODX
Qmbmn3ljBEvcwokzSq24CpIo7rgUO+NPGWwrdSUMr56PkMLcbl9705w1vBhjbMK4wNfDNoW8T/U0
End+iyac0DglHLHCL6HeCihpNofKDJZG49lBoSEBhrGHEtu6yQaPGwh5RzvMmNtr306CMlLz8GNM
dVJeyNThUuY5l89H0TF3xqouIxtn+TB0t2fl6WczM7fY5KpJoar5tZmLJLqIli4qNApaeCx+XuQj
qZpaFaJdiWoc5/kNhhFKoShlbS7uNHN1Vlz0ULtDVQlOhRxFtc3q1wB1s0x8/nnZq1kBBRONQ2Vd
qkpfT7YQ5coKL2OhbHk4bZR1cotqJvDXuxuSeG8sl6136l24mqtaXI0mmKKjJojGOyZkcn2lRAhU
oQ3bXULvpu8yN9V/q7G6B4Jvt4ayqdE5rnmmfWqLGBGSUCU07ajHp6AP2hCK47yU2zEWEY3MqcV4
0xaPvgarcqm5GiRF4RGOPUfWGNxNJBfchY2Sl9tUvV1eoLxB260U3AFWeL22c2Qx9Vh4qpv8PopN
V8/eZQtdXhoCVSe7iZItCgjnUOl2IgWSM6Qh+8uL1ugr34AAyLydOZbxQX27DZ92ZxJrJZEatGZD
to30DTQVnSs/KiQFaw/Ae+mOcnzP/b66y5d0kA7Bn2YVzXi5K8YMYjk4YEBygEUCk/T1YvhpXTUy
ZFCH842SL9J19U7x8FAdUBVzLHeuYHjFlX9dbnIPZeTgC0BBw15Mdoa4L9X7EE2BEjZESAphBNpY
1dwXft9jZoYJaGmlj1zdH+2zTx7MD7y8auDDHl0I/xXG6828vGn5rgcgKZzE9LZt5vpB3w3plzWn
uW0tRoVVgMQax65IF+pgR5pZF4tem8FEXF+IHgfPmvl2c3qBkkIVGhPG67P3Rj36nC9gl2eQbZYe
4yPM/HpV+SQCPQsM2chEPfF6jWj6qkj9ZNfoaDSiW6Ft+iRzvUuyEeNk3wzdtjP+AhcnGCYGNOxY
a/eDjgwm0aGsLfz4l44WQshshXV2533F1ZsMPOQD8wVKZBqQtrGShpofk5jikkPyxGzdLIaxNOoj
nT7zcEfP8203gERQraPlRTX267MxoksT9+1ZPESPFTqmudNC4448OFWlB+igHQ/dgsFBnwsp1ewd
gRcnXsv8EPH4X+THRAcqIAYGVxhGmw7FCtGg901NflipxWKs84hlsNQuwM8Lp07vkvB3eY52PbNW
40BHzuQjBa9En5u1vPbM0LaEj5bOz3c6LaGhN5KW4oevRglAGf4mEXVw+U8cb/VyZWFitVacSw1G
9zE9h7EDQZkNahuqbV/PAT0VJegr7eOhcf8Z27VHzidYIOz4d0vJJ8ucvGB+jaCla9dNMNPw+l4q
sOjmAbcaKXVAe03smciIgd9oWbeD/sBHHDvTtwK5cmLNeIordWq4e8YeFwOWY2Fi8tDPZdUb2E0V
TOGpPp7QbtoiBg0D1x2VUx+c7BNT/2BXevt8G5w+Kpr2bHFx+isM1gXxx59wB45E+GPO9MmWxqJX
W+Gg1g/Pj80SpZKH0KXRDz3Q7zvB3jy8uAvPHUfSnjNnfw8B0/19vf755SmTMO3jJ7Ay9OcKbb9v
Dd9+8I220PkJr+EJiCOaiDC35M7vwb6h9/dG3fgY2PszcP7YWRXOLTW9jfPn7Nq/lNDNF3Mg/w8U
66cb+O/fQ+ObmRqmmaYJUh2GQ6dpbQ09pPkqgK0VV0g6DIi2W8e6WCIAh0LNRnQ6C0lffZUcxQFh
rWTR/kKXbN3scsGGGSx7Ermx7/0SNUVb/JMeZQicrYXualtkQ0S7XBK9GCvCEoRVhENjCwsI13aS
4z+gZY0umnZrvKaP0ACgZeZUq/J0bADGnRdzrTFJnOTF3z548uTSiy/pqV5Ux3Cj04WL97sdUu/0
uzynWeZrvtSVXMVt3NpB1G/prU7PgMceHpYE1mPj6vWBf3YARjO4kMKPMmSnAxr2YM45RnprtoUg
TrT6i3C1TeFzWywYd+V+dw4Azj976RZuzr13atH9umwkR7d7l+HurboUmYccJcAI8XbJyT/165ph
ffWYr2dH2CfP/l97QJZHWkJlRpsqgIR9IVrRkMZ7tapW0ZNCDagyVvCkyk3pqPDyD74joaqXGwia
m5vizqr+wJiaRv5MdPMBHJhcv3GEzwQpOOJ/phA9My/1TA9CZOqQkymoqPmVvgrLhJKacchM002r
7n1IkOxRbnrpvj9D6WMVTNk1wdLP1F2avHcqCu6CtzIZBdGYkQnyRYQOsXB5K1BTjzVhIfFVMJOZ
WyNdGl3paEK4i2t0srtmUcArXUXRzDOfxDXjBiNBQc4A2ov50+ngnBRmF6NCmmpX1E6i3hbJoYAK
NvpVKr9+tifTsOHfK1GHHxEEoy//atLUQPUvyTlHkbNyLOVv2jAnv43k9/PSMxaauApip2IWTpdm
ctvpHMB04W/IlcYMmsiPgr1RbVuT2WgGPcVVjPEIq61U3noVomDZNiGhsep3JdW2uv7Xl7OZCHLa
efz4HeOML5UnWlWwunzdAPEMuM+Q6/N+kIt14jeu3EB7WYKX2gX+U3++N8r1KL01bL34xkOzvn6q
Q+S6X4z6LTHWRn8SgvvBL+0Ktu84YIAuQY+0zWYy5yt2n3RZFlU6JyMCY1ILqKLK689Wy5h9tJcY
ZCf1q4V1HpeOjsxm9DBzLSaBxb92RR8nJRhr4xKOF/STp2uZ0atG3eCjlm8i4zk03htrw66kmcu0
YIBUW2gLUesQ2ujlTFAxKXr9e216D1AI8udUfoU+XaJnFdblwnMO0mXFmASVL6F+by26PnK18eY6
s9PE7Nuak+2NOiMuoiaM917mYMeGEo/DFHy9ElGHDv72JUN08szbm06sfVt0UnLxkgjBFSGO99x4
ruZm7Kwo7+nlrW7eLhGi5gLNJRpeRuqq4qpECHZAH52JscvlKVbR7FQMGi4RU2qFY/gjVbsyFDtB
f8zU91o5GBfi8suikrS17+1NGAuDjXgBrU3TM0mq5ZCtKv9DqYnERCYRReumK54SEeLZrPulXTRX
EpM19iBN22Ubay9Gi2icsk27i8PYumu2ElOt6NIjJq7AVBvI0DrW1UFn4T4vnKZjI/9iSM3BcL0s
Xv58Sa89CdyPRHI7aptPsX+5Bj2R13TRftwc5bb334PkLkBsILlN6vef17pqJ2Gi10bMAHdyCrWq
64vsy3oZjdICF2bEQ/h6z/lrUzhez84FC6++rFsO5JzpaxNVkZn1x0h66ug+rz8+2E8P8swQoQ/2
J9oHZW9XxSqukVC7uCaSd9CRW03mhP02qG/DuaroNVcEbxzzHNCnSNYUXouWRBoHdZnt6QiskPvi
i8+ZuZTiRerPJVHXrA5V9lFsZyRInI5w1lVexHWhmscmu61wPNkpuSwS5D2FFRy2CcKFBBOk1CYC
uzP+6EpII39eehLWhVogCLXlRfvYv6Pmm3Srioln3tzP5/iRGX87R7ztyKdG7jSFwg8hxMuZJ1/2
eWfe9wXSjhWwAwXyYV9fKn24TC5P5flBuwh0HkMRNV0mi0tklMDCrRKpdarLewPq3OhphZuWDULO
1dB70bRXsfIdNQ+P8vnNKv6q2W2gB6uwDRwL5UnTaE9a9E7xGPWf0XIsA8icDYY2FM9b6XF1iPiv
fv7YD0v908dONrWVPREbNgT7WHU8XGNgkLSVxyYvtmFkbrSWEnsoHlIxhw12FVkfJgjjJXrRe4fY
Jc2uFvEtk+oCby6r3jKzpUN6MLN3NV1UAaAJNMGrgL+Bt9OifSacEUGmHet5Dk0aPYU0JKccYa6q
CAnrW4P8XAsXmQjre3NoEkcGNd1Kqx5RuAQl67hGex1zMnbxVImI0lpnDS0WaV2gYctgpjQsyov+
6Mn/GMnGNJHrCCJ6tXdwo6pZcuj6V9xUZMCUMfRO3v9tLHlxqW91I6Is6y+iQlyccWte5B+zZKsn
r+eKGcT2OWzf0rdLJz356Ask9dZT/8qNzJS7yjRxPvoeVVnNnM41i6LTy0ExhQx+GlHENbw0wrnw
jp6y7JtfQbbr9FWl34YMNlfe8X/RyBxjyW/X4dOKE38nFrWkXgrTOAbhRkJsXMBjrMPopKknOVwZ
kAYMS79dxf1aaDfCnHWZkpx8uFvqYv/54EkJ7+IpQhAlF+PYqzuiqMpYK/4vEojVGaICP9xYMjCH
hRj+vpSn8HIjDjdefqiG08Vf1OgYR4/o3bUV3SfQUhuz3OT+WG3MvYMnudRZ+u6fIVzV+f3PxzSt
PE5/tjmpsWhyHkaGUgtjLkBNq4rTjVqQ9PFkPR+pCFV2fKlbJ+VJrB9aYWkFT7gjy9+GeYs2aJbu
B1643/SrXqFN6c088quh0xioqRQlRrs28UxcZcMrxxQsK0YNrZA3rikrWXZRhPTvpfCmrsuZutdV
nwQyBUcMa5E4bYwlnZJLgSGe92lxyzMv9FtDuGnj21KdeSNXQwz4SkEmUj+ntvrV65Y6gktVgqAQ
dmYcrGj00eMr2gP33hbjGeegX/V/Fvzd8JgbIyLz63Jmd06HJJcYhi62EdoMQvh2CdcNGtfmQy5A
M/pSCBumAG1Z/HWhgl/8o5QPhCZ2DDg0D0JAKgcx3ImFK15OJurP+jKpTp4FTUa6VeqbKKvttt2W
5qMY7MR+WRmMhrzLgp2kDvqNagrNCFQZO0l+OBu3lemk6Uptbroa/dKbON0Kl3/CN/VQAJ5Dc9aU
oLrPH7363bOezriwc/vg1Y9lC3HHHNfGtBH/r1cAPTDAeiIDTNbXrRm0MFLyyvCOkvErrZ8tjHFr
nE9a6ho9YlPb3HphRMdGy9MQHgf/78+P8OrytGLBMTLhYdEG+Lq8VpaxGEB2f+Q8RPPYsy/iBq5y
WXV7cdlR0wr3cuGqweL8fx1j+Ph0ZlmptcPwDwJmUmyv6jCqG00M92frV9W+CxxAnC3M4NFSt4mw
YtrCTqVbz4jITX0UpQ4xjBYavt9rHiNCeyknajdn4qXxg6e2/POPmqTNjIaGTYNYJGZ0BXUShimJ
Fmf5DWGoItiKc7Jv/58DAB0yypeAyda+HkDgx0bRFgkHgJy0seusNQI9owAddxtWUjSjA0Sp3DQm
NJyzcNfMDXOL/1l74rcav4gJV+AH8pKdIt2oqVu0S3MTB0sa2ZfzTRU6hrY07fi8SbIN0WleHXV5
M3MFr9kiis9QOGsWWICPDOVTBiAFHY31ThYQW7iTpME11N8kWGGwwOhSIQny1DW9d0VZDQE1VNnW
yzUVE6N8hdRk5vDnfspkQ/q0S3QBRrEjwnfisOjEO41CJrlJTJP4Yea7rxnFz989ns6n726NQUrU
KNKPeYFMTzQs9KAbyx+6r7uXYVVYL5WxNM4FaWjtWHrtzlZDrp4/NplpCAOmcnNy16tOs7wibMM9
8WjRjukfQbieHpq5JOSqL6WVA1CByXmajJOnbnaNQVvNL47+5TEWqCGjBOtFC63+W3uRm6FjTKCR
tDPW7epbpqTEuDHWjebV1x0O2+xSBmdZPxa5SyQYp05lvZjeRtJ3nGhpvcyc6KRX9i+DxhQ7QBsI
vL6578yPZFIDSn8X6fb8cX+DNnQwZRgPT9tQACFJmFnz6i36tObkysrQRyVdGgR78+zZXvsrM/9a
xS3C1YHwF+sJvrY/rxqeNtrJ4lybegri/dcXj/BFpml04olJIuRJSuTr58E6apSuND+1L0gZ8XIK
YZcFT+x2Jr0pTCqZg+n4wJwuLbQ//9W2/8+PmGId1DSviiAtISVTlmq5N0l76MLkC/l8FOrAiQf4
ddc/b/tVQ/FpycnLkYtcsM4BSypebJcFAcqwleqlCsYl7d8IaX5e7mqVBsZXGeFmUD7f+pFAPSp1
aJPzvqeFJN/KdCTO21YDMHzZDrpqg3YwjVerBbo6YxKvOyhwixBmM5FLTerrI7KCi5yKIKKPoKBx
iNTjlPBE8bpiRksFNbCEJy1rHbBNiub8/NnX7BNxEaBcaicgWSbv12tkQc+y+iNAMIzbBrH1vDgM
4eOocPvzUlezERwhX0nbhe7Y5ESZto4N+HuCfSRt0r7eSjLqlczZDelhoPViGfdiRFY/XJaDRuLt
v9G1dcXUX8vN4PRB7oxNoDFlj/rfqvxG2PbzD7x24z7/vtEOfPIWnSDEWpSk3rGiKY2tJigmRsSS
tYCYqJn9vNpoNSZREPNZcPswgg3lyPRJ8e8yz6yjy17PH/uLw+Yjdio27//FKgoIB24X/W9tYj2S
pDwL+rlEBROInJC4xmUrpMMindOAubJ3tJX/Z53RT3zaOxUgTaop0JNRAVHlg9zdkuzAu9UbW/n3
z580/q++bRzPkUjeoHM8bXANYtEI1blF8k3eCPW9KB/yeJH5t215awV/wznQ6pUXwpeNk5pUboEq
TGIIMDh+XUtRuBdAawfbtHmEBxo8m9bOlTCv+DaeBogUuCdByU55efI4yUqKd9Ee83MW787BS3MR
lgMqcekh6NRNWz/OhKfTKeDRuQAXZHpPogUP/mRybJVWp73RVMFevDy2rbLPpMdUeJWV1I1LbWN0
UN8J2XltFMG67QpIGntbzru3IQvtCPbBsbdRpNvBVx7RDi7mGE+nzNjTnzfFXo58531oVbS11XrR
eLETZRmB83PrWUtLSYAWXraqEEILCWNiMRwu2iOOQYzjpW6iUpJWc5b6Sikd2hNUL5lksJBNmJiI
qI5yMeJVH40itzsDAxGMjphyWxKHTtsvMRUXhAHn9BevXcLP66pfnxfT6AR8QhrsVWqy45rZoiNU
J+LBVP/fn9fnpSbOSL+Iep3VZrjvRN0mN9tEwl8vhVpWOnhORFno5+Wu+V2F4JFJWQmUNrf/66dJ
QaHD7lnHewB/Z/+XaPVO4nuuITptfRj7E6DlfTFywwTGRX/GPF6LmkdWQQn+jxG6PY1fC0bNumo4
B3s6YEKzzYtfYvhIOCml74gqd37hzL/zq5fo05qTypBZWsgWUZTYCxZ16oAhuldEkgsc7sWiYF+s
Qu+dbn1lzpysNh7d1HJ+/tiJA76oSXaWtCjad/rvsoeV3Dtg0QSZyqDyC6nm8d234d/EuDHjAJj6
BhZr268FeM+b5djlS7SnUnyutHTRp295FDJFEjuBJbi9bjqFPtjQ29udlLqJENJXUFZ10h8ZinKa
xGAWiaIe7Z/M2kI8bzc07lNa9rUvjb2S4gIIxOHjtTPQyOSWeD67PCnZX3Yizbqlr5Ubv88X1Nqc
iCbhzC38f6Sd53Lc1rqmrwhVyOEvgA5sdjeTSIn8g6ItEjlnXP15Fl2zTbZ62DP7VNkuS5YJYMUv
vOGjF/Xd2Jws+zBXwkQupnjfAZevcmnVzfrKXg45dRHOY9Ma3cXArUQrV2nRuiQaiVNulCTzLDnx
1OwGvmCP2wldbbWjk0BHgEsiy1UYVY+mXGBNh36fggPbY6+hzd4vXpAlNDnvIk6OuHqvR2s1FsEh
xA4bIJ7HmBj5q9q/2o29LjvJVbrJt3n0bDdXv/II03hsvuNgFzfztSIxoJmmgXeYQHs/KpS1mFPR
ooj6u4yjGv5bHNABjAAi2L4xeFbWrTrgu2FV+HAXXFnJrvLwdchBThWbqKDql6e+LO3COIdCgyyw
r95SLzCSV3va9Jm66uDwYX0ql5sMl0aJHzuZL0t0NAcMC/iJQQu+brrLQ2M/qKCx2g3bHP9Xxx/y
xFumN5N975ba/ZwOa61c/BrNfV5hpHpoMWLV8qLRsSTkNue/qsT+26J2Tbekr+/meNjRsRX/JmmP
LUM7l9MxqNB3UKq1aQD7VqN1bESekS+elO6sumldFpTFIqTPGy2PShiitFduTPvFSUEkJLHX6xht
5qVvGJFPUfI+Dh8XmQqnYa7CqNp8v+Q+kMx/rDjIIljDoBMASejrwVcMmt73AHv3GoIY4VOUyZ48
Pg20o3R45BxMvhrOLtd/K7PfzNpvdRAivD9fHdjaxxJU34t0ZeWNO5r4CNDST1ZK95I1b2ykpt2V
9W5kSC62Is9fzPQhUQ9CVQJlp5N3J5SMytCJ9pJ9MOdDUD41uTfY26TwMsXTEm+yMH79FUVrS8dt
tz4wibl+oeZ9/vAWGGKwTh8WmV/fIijHOhhsOdt38SsjKEALDBfLfwrvimqz0O9d4v8i+sRXHiQN
xXaaCCcJU1lXYTkGengTafcDAcBIrb3vbyh5BOxHSUWb+VImfMp8+ScMoklCHZFIFMGgr99ZQqi1
x4WiR6DcKSXgbOlZqiSvGoQG+d2DnY1up+Xrka7J92v0bNgBNhrgEGIef1ROM5o2xjDZTPP4oEbY
x2uPWfPQ5fg3XjI7/QBb/7EdWNVkKQKUcUrWldJMXkLJIjushF38G6q+NnVh1ZTuDeUp6mVMQR+1
CCAdEBSSQMN8mwtSNEoxY3E0rTsWPn7YazO4ahEGttTQgwkYNO9m3K+zodkO3eQWRLUajAmpSrx+
fpSsEiFnEKWacYij9m5pM5ju1Uaiayx6+GU4rAc7XOWDs26Tv/pA3Ua1stLQPjfnxMVa4jWvcq+K
FY++mR68CAQz6MXV1GoP2nAIzHD1/YxQEWCy/xwnkNuAtskTTi1xOnWpgOt3VBQT2S0a7a4beJnn
cYq9OnqXp9cpu4P9yK2+aiOa/Pp762gr0rIqlT0wciuR5nPnRtzB4joWaJA8bPEl4fKS3spU2Ump
tbGQxwkj6amnNpyCQK+ZiyLNrvQarTgV1E5jxLuxz7aNDURelV0728ySISFrp1xlZnRtddHfdYkA
SFb6wCfcdsavRB9dow0EWmlEx9okcki4hvpcphWjb4Z8gLMJ9j7CsD6pVgjH+fJY/lCVtRoMt6W0
IGcgrxT5ta+035mCjRZulM5jaNtejCa3Wtxl6nOUooPBhbUE+tZark1vUPiF1XtoHnTTelgiMHqN
J2FiJJs/polNpIFABhS1pCHgo8e5r1amZWzGdvEy6zDVh548zBhYWyOIgm5aKfGtYz6G+q4zoaDh
75VgTPxuWsVbPQFjsp8MLjp56JBTqDy7kH0pGA51iK0MdjFmt25dlqa1/HJuO+hyDhr+/oSq+1Tb
rpbu+Ss0DRTYIq8sX6lyTmCtcnv2+n72usleDcXiiekzgZxKiYkn8VtoURZp7oIGCjiK9szP3L4V
GrD6BcxPxv8rN67BRZFIt1n8Y3yOAweow3g1Q2mAfgyDLgSoGZtvEqFGv+AuDlgstJ6m0PE5VKEi
hMubiNf4802LIvpMtv2kKU9quHei7VLPLv4JKGC8ZvLfeoZYPdVZ/d3Of6lO783ZY8WLSimG6fzP
hnowU3UbtgeqYavaeCu4fZ2+9SJ50yz05QpkazROUmstAGF6e0yS10FjhiYiGeupRlBUDC2hVWNO
PiqjulVdgZlY+mGjyr81+UWsobLfEMTHfIgiv09Su8mBE4evU6S5pnYTdrpnSfgLwKmvCKWCgxzW
t0uJZY15q8Eq1ExpVZj9L7PhoRIAcTC9pv6ozDZ6/P260pKrlP0Us960+GAOm7Cq3Y8YZXauM2L4
8b3tcB5bBt/g+5C09wf1pwpLUW12YsDGAjNN1TfxZij6va3B0xSDAyRH1t96jquA4LPVbvHnBma8
AxKNfc9eoyvOygBYuli3AEpK+3fUTHzK26K/EWRF6gJ85BFyjZrubHttKvVbhetR3h9LDR+LS/yV
czBYBKUAHGO+CD/ztL9qlL1eaJZT7pVe6r0pnnZDyAEd1elV1LutEd5qLFYWUWRVO3PG0px9Zuny
ijD/mNEGTezJaytppUED6ZJyE2rhFoCeX5rmzWzdtdxz35+ip3zxf27U/7yy+nHIfi5XzUk8q1Zc
iLSPDCwJbW8s7psuQ/BLCFM8KU51HY1rC5NVmbb5Gq0Cb7bCtVgD0kD0igF4cZHjd+6+RdYFlC7K
bECKT4KLZlKkuF7if1CdZr6yRy80b4n3ypQ7pR6vNfWQR46fsrElFNvaB6DXPTuUZQmG4ftBOlfS
I7YjKxcYBhjkX6OOsNbmuq2jZB8UTziQQ5Cz+4OkAidTDlq+XJiSs5+ObhXtSVzPIWR9fdoyS/qM
flm8J+OxBpb3ChCt7jzO/7/M0Y+5F8UuyDio0aGV+/VJ2IRbCdYf6R4bX46O53h5rAj6ReZUG7Wr
gthX8KycMv0HSait6x7B9cgRPHG+YdVGMAHjuBxdKbZWC+WK74f9HNbooxj3f97vZNyVRYmHruT9
lOhVtm5nLqep3yHs8ZbF5l0TpQ+5YXtm0btJ/z4VEAgNVBY6jvJsrSg/GsRrOKOJYNd1GW5FjaF2
0E8tkp8zl08VbOsh9sIh38zTW0kbfOaCFuHVxcbZ2QUEIgViG/0FROG+DnSgR/lSh5hp2MUTKTQ5
p2Hd6dFRqd4uzurZGFnFhYz4GGkN85RO1uS9ESkOzQWOc61bTSAVCR/xXhOFaEO6nTlzpvpxKl6/
n66zSQiwAt0C8S76GifTZalzJI+xxsK1PG4KMt4AWZenODQ2EXHTWHaeNN6VqEN9/+CzG+bTc09K
kYtSZVMPCm9vNvjeY4Eh+WFirQiSL8LfTCbqNORUdXId+HOcTacIljKUGz1bmMhRpi5zn4HyU4eN
o1+oRp//ov885jS1quJlImCUJdFkjMN+bdP1Sg+AetZZtP1+8M71EGCgUvKjzyJE3L4uTalWlU6x
EuqpADaDR/hGQEOpVyGJQsRw8Sg1xJnyxwh+et5JkRPofGLa8xzvq2hlTgdKNr6SvlTaq6Tt9eYx
Ldv1IGx+sux6SB1Q0hg+5I5Lt2wtA87p09QfUwsD7n7f95lvgtUX6Naxaz9Cho5yXVg8tlA61F8O
hbpsvGuSaxgBQD+zUvdFUSlR3438vnQ0NzH9OQh8HTvAkcsjkWqC1CeDOtSEdXl3O3fHXpIpTzq+
LF/YL2cn+dNInOSyRVQatNmWZF/nqygAehsKWFzq5H6bX6oPnD2AMKGF+gn8Ai/Tr7O8GObQON2Q
7PVkh+i8VxWjmy7Krs2la0l9VMZ8wdwnWzmAnoilCr1Q8PDCsGo8im8v9QGFsXZVX2ROiY/8YzlA
PRfGeUIU+6R80uWV4hQpVeePbub46vSw0DHpKg4jUaoaWeKOlcuXOTf8sNkUGLxw419clmfbPyoK
STZRG+fXR5nnUxjUB3K3VAPoFDY2hyalwooIMbGsTaBuLOeHNRZrh1Bu1p6Ubh/CasnvSHRLKh3A
1ahvyuGzbF2S7fqg3v85PP++lpjXT68VzmoxpZlaH1O3X+G3prrF1Sxvix/Gry5aWe2qi3wl3JDS
SdJhfm1fi6tY3mol6b0fFesMN+n8x1xfT6qXpN48uhRG2sFroFf2e3lfOavxIVwbt9EGEazm0N0p
yODEbq/6FhnMcdo5B+lOW4HXvUIux7Peq6cE3d/4h/lgvMy/DVJoj+t5M69ntDVKFz+s6mh40fX4
UNzVD/3DMrmocoDXGAs3WRWbS1ReGGbnVhChDKK6iB5BZfk6REObTbSP4Rxoym+pInrFJa61fiRF
dDPAu9IyxYV76S7dA/LGbh35Oa9kap6W/zBJ8GbrGJl7q3F+LTpJnLzqxl+iDt13eHq1+U9bfanV
eoVCuCsKokVBqX/ciXbfVG744avAorQKvYCsQ00BfUsZmY+8SvRHwd5Z7MmHRaSmMdC+t5KcuJz5
1yLyRsJ7BZGYpjqCixVZa0ClvDT1X3k13TczwNUZRQ+RV8EGIv4ap11GCli1wRZ9tMa+dchBoeSt
i+idpQjNSqk3ohQgkuEh3QG0XGdW50eceDA0NZIhi1iNHxPJL2R+a1KrDGh8HdUGc6cQRB9g57hJ
oVBSkr2ou9eyxo+xuGtRrJPQapCitdHd9okPgrvku0dlWsFOpVnCyTXb8c7u/CErVmX8a/on1yF0
pXhNMm22uOAdEo1QPnxhv9RN45E2ZE1vedBgyuaQx08BPFFZTt6z6b7QlpVDiC2qTBW1pDB8JHiI
+DRypTZ+VcNH0TuJ1dfIKjyrw7yFyzhuN/2gv4w9BR7OiUq6D/PBN3vsxtF3kctkPdSDHy/Lxiof
JKPe1v0kUoaQusAcdj5eFchAPWpchMbB4heLqq8H5WUZDqb691xcZ1npNmSfyoiY3fz2/V18PoL6
tJZPjml1kSJl0bkS4EeBuxCwG6EJJW1Aoojb2HwR3NoLDz17N1gWwFjKmyjhn5wxFTZe85DntPVz
iEFwLIixAS78k3dElG/a7D4qyK7qO4Rwlvr3QvTMXNiHcPrIBr5/H0N85B9n3r/v86Ef8OnMk6xk
HtKZbKuXd/QfiBlLP6tuBrbcOOaYMP6UIN4sALbT5t4yobBoj/K8E7F/1qtuB9/beuYW9LRFuYqd
2tWz61jWVrZxtIoG9gglo5xOGz+Ult2M6vZogbE5WvNz69Dh6/ZtGF3LCW6M5riOKTzACNNxu6xQ
FqLE3R3EojEQuZWiox5FnjiJp02ejwIq8P8AKDmHhhD2BEg2OEhz6CdpWt/mhd4oQJdTk/7aGK8T
/SlRbk2cv0otfbStYVN2MPmHwKudw5xQd5t0t+hzHxyrTFsNJSKzOlgj271YG3O/5vcdWIgYbE5c
d9XbaBL25R91L1Gv06neCGuaZHm0zUcOm1DLVk1tAbarVroee+oQrI3ReewLirw02MYbpF8TaDgb
aW/eFMuVjaGm45r9HX6JHFLaplso/UHoI4qApNW5ddduQ/Uw42fa+Vntas9KZ0P/az1J9O5SqFzV
ne70L61zFQYVt1r/KBX3Uixda854oyvt1bRUL98vvbMRGRQ96LqoY8P5+HqVVImiSGWbRftYvWtq
9DrnDmpV5bbmagq23z/rbNz96VknW30OCzlfFsGgQYlhwUPAPHCGis6JiFBJWzlyvn/iWXyBCnpH
huwBBOoUvxMZQ9OEIQqghSpkeX+B26yHZ5UDvHmf1T392ql9iZCHSO/+myeDaqBNxt+kwF8HNlaW
rq7QGDoq4aqUVkN4DZwiRjC521gU2RElrFewldpLYJFTvfN/KhwOajKgvaFCn+IJkQ/qZDtyopuo
rLj5aMvbNd0TByZfeJWi2mVpb4Z1QMYVePBjkpZ+l5fbIX9Q4t+B0a0aA7L2po4NLn7bH1qDCshF
Vz2xrE4PPJIvXUeij+6ddbLsRqWd6zLBfYShgSOuUvmsuauDK6PcAisdG/L1l3yBqjr++H5izi1C
gFZo/EJe05Ef+TovUd7LSTuwCBv7MRedHor4tEg4CsAagLUSQgLfP1E/d5h9fqTYg59Od3vKozFH
sEzwx6T8uQ9uq+IG4F+qbLogdnX7QbFftfLHvGyB9joSKidl9Ro6e607TsZuKG/H8cEwf5TWk4o5
iPWzbV7T8SENN1HfUSfHbl25NeSrkIhlvklbv5YfZutF6m4uLuuPss2fEyc8BBhBTo2TPYzyf5Uk
TksDSqHwrbdXMQiCFlR7fqxME/6f480Daib5Dt64VjSegjmTg5RX5awFCx06bhZiQNwREDbXQxsL
nCBOOGzLxBvC/CNZ7XW2itF6FsROIZA7mZE/2tVVFx+lSdsmWrCLUHVzpgszdQ6Li8+oEOy0SRlZ
H19nikPJHutSp+VZuODHGuVWjb3hJocm5qEqZxqrlhsRM1fr/vs1cvHJJ8uyTBo577sSabVacFP5
aLjaZfMetC8z6Ld0144bFmgI3u0i6Ov/8vAPCDCaTMglf/1s1ASwwFWKRHBySgUy6j68g45q1dfB
epEPOnWGN4VyJxbVFz77XGkECJYAH388+eSzrUkbjLEJkr1jd64yIWeg1f4kH6APIKfS909G8AIU
qpQvCSyemk1+HJOfn3yyKRfswBW5TSTBXejUvWpes/dkPV1B5ttDEZrT655AtAxh/Co/RzArMag/
x259NR9Xo/F6EYF89mRC8RGiiIx/w4fwyadjQkmREDCHhf6frYmGhBCt0HCA5jykhDlIovkVbC5M
wLlUEgeq/zz0ZAJ0yiBT0EGqpc5vqxu1eFeJg8vXllaH6D+2R4uebHbUgxtpOEhXovVhV9L6wmuc
/XacMiCwCPOK03s6m8Js4C3im1QUa1o3zn+35Rud4kGmDCOpCcLYxyysN+A/xTvBqVLbwwTGwx7t
q7ZZKCApCNsaF17sHGydQuG/L3aSKaTjGHW9Fmb7qiRFoGPe6iGW7QX75C4GjuNMyVpGdrsEnQ6o
ibCP2s5TSG3LmJ8DIj/HmDzVyn3yCK19LGnIXhi6c+UkTWBgcDF1BJ73ZPP2URHkMujQsH+N+mYX
p+i2VaYrgGqCGQ/uCRQPtt2PQmq9zq8azNBFwCXD6v3+Xc4Fk5qB6wlek+yt0zRGbeZhaWc92Zfl
EeWQIHgflA0wVZQ8vn/Q2YL/5yedHNT16My5lBUCRSnOShI3m2auQR+Y05IqRQquoTDCY5NdOKjP
pmomsRVoHMSj5D8Qq6Xa9rFRxvupMh/sMt11wUHN4cLsTH8kLa/Hw5S+BvS7nf7nMG5Q16vRKusR
oyheYxUhfqQTBLjR8pX4zjCFOeZLoE++KOkm3Uz1ZlgVAaxyCh+ljawXBEWh2d1ytTqINsTV4GXz
nVU8D7UGcmEnBLKo+oIFi9LlaixuFetWrDxCHSh+iu+MzZa+msTP0otLO/fslBNLoQwotCNPDy0W
mqnPkkQm7RxIos2sXplRAgrxn9rRhWlXWct/RB8Y59Fv4VG0Jr+u9WZKUy2wDeDJbEbKEbSUOA1E
tSex7hhHp3352JT06GSYhf/Lp4u3+3RAI8NYWPkSfChPUSPT4zcHrIxCaxsWAqAEg4/nVAJ9l0kX
zunzw/zvh5/c0Al5WhQMZbG37I0a3/G1rB9VPqpASi585dkb4dMYn2ytJktbE6EeahFD5YOTMdAZ
qeqdDNOr7V/A3MPfFN4vVlVvxRVV5neSnqxCKmIF437hbc6ebp/eRvz3T2NeD05k6CRSR0SJ/br7
y8oHao0kNFwSxmReT+3DlKIapKC4AE8hqmPXEKBDsAZ6duFlLo2M+O+f3sVQA3AKGQVzerNlUCCO
1F2DOoJM+/1Hn7sMhV4kEajQE5dPVnlpjYY1VVSnqAYlwVoZ8ZkRTQv9wMkWzua6X/oL99zZMtzn
Z56s7bpU6GQaIv4MHqR4XY0GiQk7TFEfQf/ocrqLzfxHkvz+/lPPFeJQrKPu4ID+x7Pt65DW9SKH
TYCIGi3isHo1jfFeUA0UsF7UXEbrv+kyIvnKRuJjkQs6Wdz0FvI2hqokVOuIdGU8yj62L2fo9x92
jrlJS5gkyZbR4QPT8PXLYqWp1ExSgmPbrJuJ/CX/qca/Y65EbSGFuEqB/tQizu3CXaMfp9FZff8G
546MTy/wMeOfVmtT60EahTQJUMdrNe6Lw5isBCj64reaYtROj+XPjzo5nfLRdhJ5iqnWJbgfPQRx
shqct15BgLIdr+fxXhwMaVFuiTC70QRSj8tn/rOmhWAMBgXnbusMvxXe0HyJG31TthJ6iY4PCsXX
HXQ6J81t49SftHsDWbeU0hRxDQkjyK5hTrZTNzcuogZSeRsRkymo1jqlfKCNeb+Uv+Olch3zrlVG
imyqO+ivNYAHeTZAoseeaRZXTVSts8zxtOp3B3UhoqLYPyryNoXNY6nWTjMyUKKo+kzqRxvk+4n6
0Bv7Y/gMCOKUqNDN+wh2Ps1U1fBbSjem+75EgYLWUfgQm4ZnKpUbZe1jVyPPhEXE4Bh/L468n3T1
etDGdWTGfuPgnZBbq5aGhYlqKdT2wOwOvT2sNEwtKHGj4kCFp8l9QTFZSvDZEP3nl3L5qUfP6BnR
GOrcNH0uoVYMYe8F6chpQ0luwFQ5Zg+CfclimsNpfyXpEV0h9JDkdNMu/vfDcO7UI+UyQRUDr1ZO
tVmGdjE6q0RWiA4WVSGiOgewbX6VqT+wR7mYbZ07eT4/7uQwL3rOWMTYKGTAjRx2GQAgsLE0HVrU
oci0v/+4s+fr58eJ3fppjiVZbp1mQTp9ie4d1jz6epN9Z+avsgmaSwWrnjxN4Be/f+xZmsHnx56c
QkPUTdVcK6lQILBMUD/GXaEMfpZ118QQahDftorpVenPkAJ1H8l3sIX9qn6wwcSisxXWLxTGTHi6
mlG4H3Vy4wXOxzpVWyLNY5NaPswtwpOVOiCq4BQXFsVZrJ4pCjIWPrmI6ZxcEFIHKX7sihnvev/m
6k29dTMXT9oHP/F+txfO7PNL4t9nnVwOGNfbsqRxYg61wCuBeZvB5MKHgTCrMD7fz8258/nDpR7A
G3i0jwvk04pACLfvjcBOIUTvSBKAoJC6UG25yAI+2+j//KSTpZ5GSpTmQn36+iDMe3MXM6TV/YvQ
oD5qq/uN7D58/2lnGSKipICzMLctsjdfV/uQo9A2hGMmNFoRhxQ9TigaAiJMEjTFDYcwgUwlziIB
dKbRKRI2S1LgUtWXtp74vNPj9fPLnCTIVV84BQYtgE6qJ/gCBlQbE9Ujcz3ij5m7zU+4pDFiale5
UtMcmwUP7WJM98Fg+OMtNLIkYh0Er049QaUA/DblD3RoquqnIz+Z8i6YryxcPQYuGRpAlfrYRdcN
pCwZRDwyFx4B9oy8WX895k9Z3a3iVoeMR3l4KrwiCdxG/1U0t2Pg6fJDUe2U7j7XQ7fAWWYM3KS8
Luxjqj416UMX/KxTPMRQ2LKbzZLBp0LSANh+oPyl2r/D8UkOKLYihEIu1bhaUiBf/N6290tbuIry
06D2x00h2U958tDXN3WwgfPNe15UqxTh/HejdLJw+lnq0YdGyJGKVIZ7kbN1sru4XCNZKyebylhP
xWZwPARz4vSm6W+GS4nW2TOA/BJwKLR80DFfV+6S64mobCDcFclerN9xCIhWHvoe9Nkv6uGc35oU
XA0NOTL2y8n3zgW0XqtGAYeebgiavFhl3bPxIw1IvcwnjlYObIOQRgCTKzN3UxUqJlRB+VbAwAVt
QeAK8u5CpvOxGv+Yh0/vdbJnnHks527Q7GNdsTBuWn0XzyDkd0q+jYptFK/lDNVwym+55G+n9DrJ
/+q17YVTRISN37zE6VxIrV63aqCngp8uyVRDmnfBS6iUEjBXh0TdjHWXam3mAWvuOT2USqa50SUr
r7MlQBODCDoDMkJiH5XkTwe1FlldOKqZfczsvyz5GBcAtHpUxKT7LjyO86YZbpPxzVTjq9y41Q2v
NDxkePN1i6mCFs3bWIZLBA2WPO7CNH3omv4xQtAHdfTFFGrGJ8unKMuoM0Iwbuj8baTWgXKCkUH3
I8rDDeD2aqS3pbsTKBosBHvkgJ1oNbada+E/7FSN2xmJWwbyWiT3Y3ftTPI6z3bUr+Qa79PxPcZc
sESxluxMMK8K8C+wPGdEdzoa25aE1U8SeB2Rp14/5X3mgV+kkat70/hmASxo03KT9Di3q8ggD4cs
DbwsfInayY2sXWegUZR3mIqGft2PooTqsdfaPF614XvBROqZ6UNogYiCGPyyEBITwiTFapj+QiAE
rdLafhRhra29UVsV/BTxlilgHoETAhNpLc9mcAPWY0MYQ1OfYlGaWK5mVbsJ0rI47KNo11JntgBz
JdVynDTzIGIdZXpsonIjot/vV/XZA4bzX/gSUyk9Rf+lxmxGqVIDBo3vg3QlVZuc5AUwE/W7i3zF
s10OTPEMjPho1v2h0GRJVQUIkpAG/GemKC5kDb8LRbl6hSj4miGhLh0D7qLDNumyB/Mdji1pmPjD
jjS58G2+//6zRwuQNa4X3D+oDp5EI4oQY7NCBNlqfY0WHpp8Xf6jUe4RyTS1Y/tcdfdd/aTUxym6
6odjoF9JlL26C8iAsyevYP6D3UZ8R1HF4fNpVw+0gFHZ1fI970L+M6wCfK3UAWTqtu+lY6FMB0R5
3NGIjkU5rEdiF7XXV9Gs7UOt6akwBTvYY3Zse6VeXFsX28bn4kM0+2B8Qv407VNxgmKJwy5V0AXq
kyvy5ja5tZ0b6m7ztP9+Ri496KTclPaaXRsNwgAG5DgQR2oQAcwtVhRiWtm5cGSdC8Y+f9XJsC9a
lxR0JpyjbF4HxhHmrKYe5O72+086l0uSmFN1gQuggS/4OrlF3iyS04UYulS/BOojBQ29la0nKX9n
BBPp7fvHnYWZwOR2hIgEWvsfadinxVQqnRQvOT0YI8JoEgvhbpdYh1FHMBmAC7x62+e5eb2DCf39
o89+6acnn0yeLgVJsViqkFXaURSHzkTfmEQCrBMg3YtKP2cfpysqMlW2gA6L+O3Th2Zqn+oWgPS9
wH2iq189VdGzipFxdEw6nKUvKQudH9l/H3iK1V8sexxlKQqOCI9xVDTlnUwk2kANdLjBniawbsj2
GRjZbr4f2LO7QqCzTSjJ8G1PCqKhag9yYqGdxIUYAexN/rKKDZmB6C98/6SzY/rpSSdj6tTKHLRL
FRwPirmtrPt+3CrR2pndNHgkxP3+YWdvBNpz//muk+O3StVFqwy8SOXsfUgrdFZgQUO9U6bBj0IL
0WljvSyp25TKts97f1h0t4qgchr4OIOnbjLMTlIEgC7soXP3osU9RSBMAQjn968rK8I4Wo8VUPGV
uVKdvcDQOfoBm8zceqkBJF4YBnHOnEZOlilEBHXE+aEHfH1ckChAAeuoOfb5eydNq6Y5WAFWywWK
Jm9m/ChV2CAf7BrTdFwNyguVhrMgrc+PPzmgulydjHZuUDIUEKRxAmPgbI32EI1wzWNEzoOD0wu0
ib1V4/fSMCiAHWylcaX+pc8Xv0mmLQGDqr9hH4urp5Rd7HadnZBPI3QSW2bVrGQDeJO9wHQThQkx
eIOYgTO0m/5C3T90laLe5rHsL8dsfMRWtesRInwUvWUlE6RutbxQDjLOXh/IcTFplvjHySqpraQx
5kZIIYHZlNTfXaY/wZGOHBDehupObX6rhepqMRyv0gK30JeVlQzrvsNUwrZu0vFVBK00qrdLBsSs
2QXa7Ek0uDLDrcajCZ0+Ko/D9PeMcIpZub30NqVUJWLUMw00kFHeyMFdm9RbyyzzR01nurD+IRmr
e4esWUVss1g3abCqnRJMeY1/GhEMYXaMKWferDrwgFW7zvQAbHOxHu3Fhabz/eo+P3X/jtLJJdsk
TmhT7Uv3dpO5I5qzhgSST9+0JPd2nvkgmb9/4PmgDiYVIrtCafb0XiidAqZCBqUKKpHQdykQcilX
itq5cviGsD7kSu5CfUMcPyRvMLRB2ol1AlH6f/kmJxu7KTJDrutcOlrGjDSC7svhL2dS14gqZskv
KzEo6PlJ8ABb0DcqB+7TC8LPNrk16iXV44W3ESXDP46ZT+Nyss97o0J1CYEyRDN3bUoZWzkMqMcZ
L4O8E6Au+UlSYEW6fSVMjMKLd8vZurMwxEGuDDtg5Ga+nnOwIpNynoVmWbqOtWfig4Wm5bBNpntb
/01QUhamd+Gjz52twLmgmDgy4fXpJjWyZsyCzsAZKVyZ80sm7aL8npAIiS165kX7Pt6SZ/TZ6IMh
//7Z51b+50effG7et01QS6i1stOh9qLskcY4q5UbaJGgB79/mJi808n9/LCTenFkBWZmTD3S4mYs
8ElhuWdhgQC4bIHwsYG+e9bJspac0miGRCRyTbZazNKHm1JVCulrug9u9QRgvmfZ/UpAjdKk3YXq
VvNRM6O96Qyvg7F2jMCjw4o+SIfQBjefNwedJ0vwK9PU09iLQs7LwRJvXn5y3AvLcONQm417K5SI
ckQ9IhQZhPJE6RwAbdoUbp1I28EbE9AV0SRQQBTV0XjXZv0KJYkdOGIDsmOHGkMIFScfnuDn9tpd
CtnH0m/UOP4x2x/Ibx0ZhUxrXZBYKwVNliymKaWskmE7OBk46V3WvdTj4JMm+V3V3di0a4aEwrld
rxND3RTB0yw7DxaNPSe6TTxHuiRVd35l0aHDxVwmcT8pDI6mEhtWT1NeqElo7wZEAvgLPj0j7Kx+
Xeypfji0/zHhAMdxWGP3Eit83bhLp1AIbQRCOkWiRXozpeMS/SVGOqUrV0aaa4eI0JAxJ9jjQgFf
xQ1qFDc6zoi+CAqWTdX7xng1dLlnVz9D46Uf3uRLXlRnsaP2p/c8CRPiyBhHRc/to6ZFrh7at7Nh
HLRW8phN3EDqOXar3LnKJhurqIepLPySy/LCRhSD8edg6VTocB0T3cOvg6WTc0lTUKHfRjnqQ1iP
Pne4owpFKqRR3hGCIBk6BjSNyXEZl/4YS62PIne+tLRGh49yiIEoyABFYOqfRMUXL58YHgkVL3rL
lS77YfUcITbZ17nXJM1WVJMIyWz1VkZUyM/b8DoKEagLNd/i6yMu/9F6S8yjVO1D9k2IHzYUJ+E4
KExqYDsExcuM2i2ZmpD5EtsFkRZuZxNLwcparkTZDhGjuf2r1XRXC19pDuHzknS/kRcJ5PghS46p
XK8qlD86AKIxLJbY+m8udzSgkGbAwkrYWH0d3djE6q/HjHyfa+Y+1e/g+VEQVNG5bKQfE1ziInsV
BaRYyNcAkYSnVwA2U8Guck7kbNXvp/tsUxBVKgeLNxNZrFPrPWfq7CWe/oey89qNG2u28BMRYA63
m7nZ7NxSSzeEZFnMOfPpz2LP4IxENUT8F8Z4bENMO9SuWvWtJN9yVHrwsMRRc1wWI3uHNOt8cqBy
MIMlcBBYAPFycJsh0Kv1SoGpLQ3pAXedlA3gZbIfr+RSHso+vt7aYk+g5JDzsSjJO5rJcYD5Qycb
lrGS/iB6p7Q7YlgAKZwktpLs4vgUrybu52Xox0z48moW+0QfUx3T0NgAS3rUkJSlqU8WsTgGMBpP
kNEJYNUGruXKB5nn1/KqCtgvaBoBH/UH7IEuU69MJwGdauxxTvJikKTjBtaTHD2z2SE8zaq/aB/+
/bKP9t+vV10sPc3AyXUusMF2aMwgOlWii6HQp6+rJt7zS/vxeACwixLDQmW7bKkBmqyigZ6nHDwe
ngs5nVax0S35++M8FLUqaMRCplbA0L5b+H5JroRoBE4YdO3sNPDmbb57rZJShVkGVgRQMKWZYFF0
LytHqkf72peL3ptXvl40Zmp+GgEBnoX/8RuyR16nwgkdk1hcO/auXWsRnbVh5rVp01U7nj1msEod
PLj7uaJvorMVcv+V1/kor/L1yRZTURoHWRxYxduhNwXZo6h4mbwjssxM/hqFL7Owv2omooQ2FbBQ
waA/HN6UcrmZI+LY87VARroDnga/39bDQSsh+48wQhLpJcEtjwN2UBLR2+WTCwDkB2JxGMHEfvB3
NdezdqnFui32ScwluRJu6xSNyLt5YcS3BauZQWv270/1cIYAW43KqYyuLm6x7JRpxRUxzxS7vL/G
8WdUoZ8rP66ySB58UmzygDqIyMjxyD9+34ngZ94OynywRVIO7IgKTanYhLGsMcGmQEi7TiZ68GA8
h4MTLwN3iSdbDKJWAbw2LJEug0xn9I9NdKzQsrTGun7wpYD+hqQcSQ0RUKLFxMiBGOQnKNzm9dOr
n9CvPtPLmLlp/PfvxDzYH7BnouUZph1Ijy+5TpCBMChoFsluAASw2MMEy2tdrjKGaju9yZIxxykr
l2R/rp7fLrl4uD5im2lih3TXyVdReBmL9CymAyqHx4Q6BCFEUPBRZnwVeVA74cq1yz8aM6IAeR14
GxIY0/Pff1ngKqxuKBFA/XLLNPuUkWeYwB/+ms+U3aqbnhyfVh730RuGyzpKxbBgxmlhMet6P6bk
ionLXYb+abaUVCUa1bwpCZ4WJ30e/j8t2lkgOvn9wvehuNilYP4CKYGADwtbvsVQDYKcy3PeK3YB
AAwlLOWg/HKUGJmNMRjtrERBr98xdf1Z+pMrc2joz1/n+DaiPd3zc0zdVhuk1KQq0CT+xJINM8RD
z0V60E9uVohaNlZG5AlQrE66HMGEj8nUOp3ZY14p6wBKyfmohmgiL2o01CNeRb/YXIjFrSSzFeME
w2yBVvQynKzfnx2b8INBNm+Z82TFkWnZwtaz0ZDRCZvvEirWlFovWMKdITh99XfKOXxC1oc0Gmv2
r9Qfbgt2ppicRQ+ZsCww/EAgMd8f+jC4SPTBc/vM4XydzqEwUOc0IzS6sMxEoP9af2YeAcwCLRjI
NnbI6CHHZGI17d+GjkRIHhakhPsnZKW0Df9IjsWZWA06MC4IeJJhTaJU5VNtUsyJ1YBnUFiwR9QK
VuuKDh8IEF8KVpcApBHQJawDtUxxFuOgLXYnbxkfWqXkDCwhpVYom5d6epRt7lTfPDt7V9yGpG7z
fireI0aNXV9UZbwIEqrPYNqRF/GD3gu6Z5d/vYLgX0BOG0NOBLDJJjVjs7AE+tq+oPSHwdmBlzii
pG9nQq1znG+PPm2yfPfE+xxoijjIAUtA+oO08eielHRktTLq8rFWj7EpFdccLJIImcfkOJcKaECI
u9j0IzSskKlI9RaMrDZYm+cP553Iw8YA0xyy+cU8lzy2qvscDO/Mg60IyGwIBuFpBvEAkk0F0O5Q
K60X2B9eFR5f6IABjOXHUSSkmZrmOC/YI8KAZhB2AGlKQYTypx0csIC7QFKn1RL6I0YORINobAc7
GrvucrTToR/wctcBQwNWXQYmIMQEKXqDBk6wgIOdiXbQ23mYe1wNufUE/EoEZjTlBBheFSiqyMmB
zXLHiDYKOhtbsC3PLNp15yZeUFedYeTtCFpPnIhnfgHqcIaYnSAoBxgl1r1AIjLUYJgKQVwaUnyZ
AMUFpwN+jiTjoMgYCx02INCd4wACwujM2AT8vK8MKu5IK0N2ym55HJBZJDHq3JiTSTPwlWJ6c+6d
mk0A5hR/BF0UklEZHAMlSH/yEZIaztNnbK1cuF5/lIttIAN1gyEZApLKQw0HmRALVvw8DIChofrp
irh2/mH4P4he554VOnzngYzNY5PH5J1NpObOCuTAQByZo4nwCOIK+onSmcIKdhT6LyvmbW5PBjEA
RcAhSeGG7c6iRa+CGC8AWyN844otHQwGxJZaDyKMpxRwPv+HHBjgXN8HsiokgYpqGqQpIjIUCUQF
CZA1LFVu51I7uj5pcBbBdOWe0NiFLP7cNgjG7ZxBn1MNXjZpcW3SHJJ9bWOA0gJuFo1SbKSAXSQK
BNSZmTWTAAD2PgN7RDjKDmjmBXUGGm5YC1RDBAdQUYvxNrvBlnqdTwRYz1sciKrg2s/24EiU1kUx
e/vqoQL7IVaVT0VG3dfyuYQQcuUJZgwRnikGe6eModavAUIC6Wc26l1Z2h+cLQVMIUZCPQNeJT96
vjIpa5O5YV9kZkZLjBUFDQbEn5mi+C4NuB+U/5fyV7aURzvKt+vOYc23uIGWR6Gi8t0Qp1bj0yeK
baA7E56wbfb5tAH6SmOjCCnIVy9GmgFgpW5KAVNwo/YYYpuTQxGcN7Uf4AU76GU+XHNWwevmjB7R
jhRP6qR0eIoRA/MD4wp9mRo42IZQIzwIBlWuCwi1xj3lD3qSN9uqjzZlcRQDCdv1U+6Vhsz8hQGX
NRVP3SDcePYgDmVAuJB+BRr6HIWZlUbSbY6p4GCgAfhDvEF5/v373A+/i7AD70kUoT9jkX+TFjE5
VqCgClnQ7RCTSxEkXLOeHmMN30np1I4t9JKHA2reH7kILRZKsx1HaGYAYPZsdkK6q8NyDf5/WMsz
KxEgSuRnPExeGRDoUVipvM5389vdLnYJv+FquD2IEThgaL4xkSFXoGRDWSpHKQTNkr+/nAdx/dd3
s0waV3GVVeDKirsA2bHCQQ2qlSwoi0B/+f1CD4JcRE7YE2ahM5Aji8caoWdFehPQj4rdxtQuZG4Q
vKDQ5Rd75IJXBS+P3iJMTWf+P7ZadMN+nxtRUNKpl+c53uIGJ2R0MsAOFiwtpMFXfeR/HlkgfoLp
+YxFxfYuLRtDsJ+iOw0KTBfutGpzAPlWH/TAKg1q5Wv9hFvABwYQHAbKFmT4cRz7/lh03cBpuhKo
S6EQad9UUGHrzWhwf9jPFNpJowtIdPY40h4nCzEk52ZP1aY5Kcd0izLHIBBkY1/yC+Al5WFGyl06
M9Njg7LFHX363z84Q89kGwbfFpnZ77daIRxJoqbLdln2SjPGAIUEPaJPSLaZ4ZhHhZmvzPMHATYO
pqjuzhMd7c+Ld4NONqrKp66AYEKnWrOgrtTwWucr59N7Z8ByfkIGDy4dUm08++O87QeKEkF/sp2j
gFnYDBgGW3LmTEH3y8oWEGiA00kFn6BEoCNytvPAvj1mMQm4ykyz+oovM4OKq/yzkSkrVC6gWzgN
/NR5dLJ2KHlmQwUd3xpV9FENXMALQjMjjaGD09/3T9LVNMT5Y4ZzLlrSOgrJSEkbmGFTiAPhpUhj
xkGPaV8FcQk6VUkdKVmPa9bEuo3MnlKOFuyDD78Pk8c3JUKRBlMxNB8sOzECBK6wbkR6jxETo/BQ
MGxYnYVaY9j68FYKUxhF12pWnYK8N7A2kjrQx+5zamazw1Jc+byPlinMLrReooEb+vp5r/+yp4oe
53FNyReQTbtC8BaOECd7GhOoHHoF8WVCfq0A/3ClQlZFnj2QUbqYV+gvV+SEmsplMSt2XLUJ+L9x
yRh9bMf0puk26CiIBJo0daLKFVhn8IBRbLGDrh4uTP4n19oDZf/+PR69APRj8ciRw5YZid7vtyNm
fCTEskfBIGGDPm6fGlXAUdQcIObA5IIeTQ//24Yno9lknrfoQeXAZcBr/35FSDa8gUkBip6hgyBC
wfxghKki/Jeb92E0f388dl52vkzff682Mzw4HMKgSv9+NfQmxP0YR+hgIK7r7t8NKL339qkhh21B
VJqomYmDI2nJWtZlESX+e2Fkd+DkhV3ifmL68p0pwOdrmR4BTxetNP8QpRRNIsorSn8ZgwCkUcuq
+QymlEjRinfo8jD2z6VxGGOxRWHfEBaDemwrJgi6ct6fen3YMttG44ikAVzXboDu2fa6so8O0Uty
oHi9uPhO/zahSz2Ep5PubaqXwR623XbSOk6T30bOGN1kL15wKtuKZBhROdfA/as+85z4gYakxBCo
EOoicsKBoM8J8E/FG3WEr3prN6fOpDQYGfmadMBhDkbsKFPvObV7peGqYdU6Y1Pb9D2mSeQOL5VL
ffga6MIBwWFK/X0sLKt0P97LIoCmeIpPwU0ULoV2c13D+NvNebftbmdZx9Uk4zywfgy8Lx9hsR82
aDpQGhHDPPnAEhsoYP5t88jEKwIIE/1UogcnEAKzrlUDV3YR5P37nOJc+FKgVF1KbGDvHvUKnQiX
p5TcaNVAtK2+p5uLT04mmhV3u43ytFHPR2tl4C0Dox8XXjxzn8OTwSvY6DKatBld4Jan+8hZGaLD
rYSXwqNnROkLSmqRQUpTWqgRUFuNylJqE5eypBxuLwS1NpCofKtVtGwGUKpI4gIPvBtPwwX7CjiN
OAUrDaE8mI/c4B2gALHN6IPjDwRYAf4avAQfwp/go7wKbq7YgDmGOQksNsYZGW0KKvXp0xrz1w81
dJeIncpLZIALbkygdKyu6XvKWmlAutd4TSArLdbo+2sFSB6IALTvy+K9k+/LUtIgL4j9hEOh6Ew5
7WelkHoDv3KOIUjukPRJatAIhgycFr+Lo5Y/C1rqwAmO3dFmqSNmPAatSp96OHnFZKZ242RDfOwt
qYaEo+zypmgmlxjUV+gHB51WYTsEMPjcITOSIiRdThgDqpiiI1lHxk+FuFDkbhksA9ANaGGvg1rp
ZlbWGuWgbtttMOk87g0KxMpqZKOzEqfQ45xI6E7oVJojmAc48PfEs6RXfyufa6M1wpBI11KjXplC
5fftzWPwzxDRcsDGGYmjXGNBnU59q4sXqLWAXSPjnjHFM5qGUNZlzyFFytv40RAcy9FeTtDBAm8b
EDUJQMLswTMyOMY1WvPOa8NpAEGK2uJoimQG2MsioDa9Sr1Aka/2qdthJQoGotBaK20CAvT2ey8b
cNN5TlrtkzkwEZE+HEUBNQHehYfOnDL05hKrVfujcFGs35ete5p8uZJ8/fyLWTXWTNf4vhS5wbbf
CHvvmF2YbbkRnOIMXo+HtOLGa/XM8rbsSyNu6muPNMpz+wrLqXLDOegMk3bdRt57+zRV++2II77u
3RKcV7IN6xRXGUY7+2SDbqgNOjAr6sQhHCH+fmT0ttmFtaqsaBLuGZKfTyTOWDGsUug5+r4pB5Us
xHkI0b4/KSlI8JnaibSTTrTBwIeHDuCEMfq52aKiBnegQeisNgAkPv0jx5qkZKQdD63RSR1J2q1I
/WEjs8pKNY7gklM1EHOJ8Gl2JuxT6J+K5n8fCIafo7DAKjaDpEMV5Zof8oee9U0fW3CEWpoknND8
SOqRUxMaSWZM7Aw7NcptaiuhMQlWo7SPjCYtTr5aKaE55U1AKjkz03gAsDiMZJMrfK3xaH2G4o39
ZHMB8IE+OjWDWvt9UCyiyH+WBJy1ZpwHYrfleXcqa5EaMqhFenYDBU8+KHqmOGV6FdL3KJTWds5F
Unl5ueVZix2hKmzYgHYiCmZF9Ts7uDkV6DL7xxdr/IEZorWwbFbkjI/HyX9PubQg7hmvlmugOhw/
DA5lG+uj91wFJy/DZIclIxpZgmPLwHUJUOjcq3dexRxhgBdLiKGDzPWC9NYHidXkxyl3Be/NA/qs
zSU91LmG2mbTqWrfPHabewBRdWca5fUGupyR22RUDtZEYoneewLZjJD6RkKHkP2B0w7ah5IFpGcO
Rd4QVss8GeZYxG9kK5hg4cK8xnlmt9Gb37F6NpNFIF4IpmMiySQHvijCstOVBwktIvB7+31YLHOE
/3woAF5YngO0gl/yIpsUNExuUgYngk2ml3/y9TvD7caO0wPa6DxXLI2gH/UK0riiPDIjEMssEfIa
VsZ/u+7GB4mTti6fpIQZOw10KfDkPDuiu4sSiO9jCn8nJX6VPQvVuCx75pInET1nE4NlHRYnLaxG
EfcCRwwoPkwgshr2PE1KBNaphhr0EhvICbQM/5GS0QiRp2bhKsWh0ZFNjQYmbPiktPTJTyfYHcVr
van8wznz5d0sQga2EAMmZdjBUboA51xkPXskboTYTPwR+GPayof0VW48WHI2jA6Wf815H23cwvSr
OQ7CFTZyJuNpUyU8d1NmgFy+FcdbMGm+iCaNTNKL7g866rFC2C3iPYjr4ObH7NoMLKoWYX8Oz4RI
VpHF0tF4hcSS1irNLEgbg9dArgxQgjSwAHa9APKHGF8pGbYcdYPOgo/fR8nDOG1ubYF+ACqCHxVo
ofOYpg6QwIIRmz5oiZaqlIv2fXUt5OZ+nILmuj6cKUWceHH4WuYbo8nvIMIb+csTHn5zu/UIL3AI
i3V7sHL176GwDtsMEWJBdrJxVSn7GKlroTg3f9hv2818ExLq3xCcSzTSDt+3G4oDiwL8Kg5xf0pc
wyexOxDb2E/aHqX3k41jgLklL+rmGhuJblmZ2pMPZ+Wl38v6i7uYNzu8jVnnAFfJ73cx1TJbK4AR
XnL9prnGZF+Ks2GbhKi7XFN1EzcSGTb5s1XV0VYtq7c+PyJ1JUT/eTYAWfvrXcxZtS+xZCAMLKwV
B/5S6k83F6HcnkHlIjIG5/Tnj6kTRt2dz9EmNI6fK5f+56z94w3IgIgp6LVFPXRx/pL6qcliqZ6c
moLqB8ULUAgZ9ASKk8r5ioH0Q8cJOwhPrQS4iyYc9WQKDMicLSakN2l5kpnGQLeL5aGqWXGhO8rD
ZTZypLtW83LZpfnjyEUbuCzsc9bXskImUB4IOQwUUebipx4kV30KkDKEhx5gG2zMgm5focUssgMe
DfGAuMMkiZ9aZygbuC2C+ouMkIc/Gz2wquDEyMQM8WLw+cE6Uvy9kn7m8p4fdrycoxC2z0Fl8REg
hNTnBBvgkqs1TxFQWH+SBBdCG1Kyz6PikXzKdBqOHFQNDHsOmQNIp6Fs9hSzTXhsaHRhBDR8KhrK
oPzIHLNbx0IkPDHXQpFVpmScKA7/4BDk9F5iSVL0zPeSK4bjwQOZFhbi0HqiDamVOHeslA3H9XqS
AByLOmwI9/KqTld2nscDC0sJxM73yb74uDwzUSPbNJPD9jyo/q81TiLips/RC+WfUIKpwlHreoD6
q9ZMxFhjBrC0ESd13BsYDiHIkTU2UVjMlS3YPWjUGqBPEDMJWt5cFeEjUQ5PAFH+vhIua0UyODcw
Af/vrhextRcWkkcrHX/BoWRUU+K4OTH2OC5jgbBJoZtIU90ygvz+xlqJ6+9k6uV0mM2W0XXPCPwP
jTgYX2WIUh7n0CZ6b7YIMn2wqiN3StWBcsMdKozwMG5lDTbGwzbcyYmeBFrFksIWIQwckK+h3rxp
308Y3oTa8+C6QRayyT4gFW99VbZTyojd4JmHfwiRNhUCfj3a0YUbo8yqVTgBwIulVYtR5XoNx7b0
PMDBgNVyrTvBlRbBcc2p0UjAkcDPHZ2oJtwTj52itgJ4tIAaF2tozOzPjQE9Cs2a3rV1cth/wWYA
Yo9abVeWkHsP/M9XhqQhL4swAL4Pwi+rF1uPwANLWL1GU8OXco1UtwODnCR1SwryFpHNMVPX0hpL
C7z7IAEfATUGGeY2wrLzIVaCkafKnr9UhuPS6m3PaHvBSbTSDc7B2Sbmn8NWf8EXMa9trH5i7UzU
j7VH/xG9YKTO3QTwYYQpIZx2vy/cCd0XWeKVrBPEIyAo6G0J3lL2FaagSvGSloLDdM+yArGzLio7
eE2p3Ih+h9lqiK61GJadIoWDfoDDEAbDVMhozInBr4x0qN2eWrFSffjSFOWJm7qVMP5uv/3jq/13
68sgIISJLj91PXfRbjd3L2z3r8jYmMbrOzGISZjNC/CY2m5yN5/WyjFp2Vz876f7/7e27Nbm44ml
czFlHT86180p8ZGryY+zYXA7uiGA8OgLUUKLzl6Eeut1KJhFmwZDXu6hOoGPE7XyGX/mIOfPiJoo
jT5fhHhLyoPns6FfiRXjtptGqwkEXyql0q5kBRqvUS6j1ge4xWu+xu/alSV6Kef+52V8ufZisQvG
ISvoLqQdL99VHqsK/JXKcw05mah/Q1oeW+2RheirBdDo93X2Tt39MQRQkp+rmWD1L8vBQARDs+en
k5NV1ojomi+dMbALeeNNis5RtzC6Cj0Hz6JTTb2kGdTPM1w1MX6/jcfrx3+3cQ+Mv6wfYcTWSS60
CEdvt8J+Rb+YsY80E0kjBKCstpOts7UWcj0I/OYHluaPjYUeaOvvMzdmAZr0ea53IE/heF0sD0Fw
jZtt1jkQzpX+JmRvBVp/Egf1wh4t360ml4eW37TgLyVW7ulwxwgYtcFJIzFk71oPEP9YILPhDFkr
odZ/pJULQJ6APoBoJ1ObyIFcB8q/39/eEqKG8QOaN+YxglfUNABM+f4gXcf0Uw5fVDc6jLvOHrRh
25uU2qk4VW9buzTqc6wVa00IizrvP1dFqne2SIW96fKqbSN3rJBMgMATh9GYbWHsT6YOw67Txlpb
Ze9V6u/jFI/IojIFk1kw1jnu+yM2IU9xkzDQTlDeqiY06bjRgBXXJnTkz1ovr8Sq2gmdxlKQaMGd
Lo2RTspYa4LpmMsPrk/5yAbAgmyAcZ8MWWJVX6IJ5RfAz/0exmd9pk79ExedRaQ06fE2a29lDwwD
NreTTiFcUa8EOUtkxf0NsqjNowo2GyLf0yxfRn1X+y0DU3gMQIBz62uKQDDyrwWmPgdac1/lJOU6
Gyk5E2RGFdHy7+Pmwf7J3WvnQMIj8OeWLzWgPBE9U6K3Dbb+TkALrjspxD9B6Aa2wC62FAMMZ2Qc
j/ERb1XmCGsHn9MGTaEh7mwrbSKLdcoJJggEqaB9vrYm/9xa5/uD29UsJADybDFBFSSvlDhE0sTP
D57UI5KJrTJLnX6K7keLvCqgpELNrJRfcFxHWFsnHmhOjJpOjIGzjMDuKjlYWaweLNe4LXhOAc6n
SEjzLXb8MRHkOu182oWfm8arEOJp9G2L8E9d2xl+FBgwsb9caWkN1MasL/ltPDhsjR50/lrntY5d
ARJEYQTTNkZZbxVHfPcEXE416LPwysFZZqGu+D7VMpQofS/vBlfALijYJfl4cjtyQlQn2KL+6qmM
VhnnJ0b7eEWMSSDkJsUWRjTE1+pNZtQWwhstRoI7MDqy93XksAikhFpuTlap/UXdQhs0asceGPKS
qvp21ERyOrw9jwTn3LNekNQ4f15fABEjWzwgScgzo04qfumcCkItfpVWRFLtD1R2qrASmTxa1b48
/Z0G9WVOSl6oeDFFoeVmM2ixFYeEXTlfLBth/5n2CJTRajCbTS3DVrnuMyWVIw4OQirKNXhQmWBG
dbpsJJbn1Pv+uVh5qiVG5H5NGD/MLC0ke3742IVlGTEgW/qu7DKoVIBcYQsOXHN3Ciytd5Xju5MZ
7SAS2tBOBX80ECle1ryc7t2Wy5EFPit6SdAkOms7vo8syQtqipZBS2k31L7ceU/ZPtpnZ8UYtt4m
OYQnaPHLXd4YoZNvcJLec+/I0kL7m87igPgqneB3Yw9mZMmWaPV72fAc7g0LuIcKDyizKPehbrJB
RjDTBrO6olSNhWK3pl14tCxhyRbxEAj3f0yQaKxLMaRo3CC07B0yjAPKmrsSemi0wqXT6fdV+uFy
I8J4FWMFk1K6V1y/jMjWyyIeILTBQYu3DwM/b2iJ5L+K2I985YlXrmwvoFd0gGLy6fdLLzVW91ED
Rd0M6xAk0M8WqbFISSMW3eVzWOa4Bo+ZHhKbeJoJlQbGq6qr57OifTrHlZX/QTwIl1koQ+BKht+g
wPp9pMQhT1Nyh5xcsL3d9vvL5USm05yR26HuZ/XEWbngo08Kwhy60+m5r2pJJcEWlFGYIbQT53/p
RGc4BAuwlU6dnP9ksj+/v9ZHS8zXi81//+WDJnEG8AiTDI6c78rJrNkdFnR+rRn78ccDT36ObpHn
XR6x0jHNqSnBO9S0wt4bhq+jy9axbUo9pa5PTEnVdZZgvofaXBYjTrm20D3aviRORDs4KGAst9T4
wI8wHZI2pR3UtxUP6KQJhtHwJOGeOpScWwAnQ9ZFdpHndoCbQBfflrQ+12oCDHOFp7EqnoAz//3t
P0gtQSL+5a4WYwtk3V5m0l643BD3u7dOe3UzDRoMavcXCn/1+WX6fFGvqtWuZZofDbKvF1589zDL
k4FNkSKsoAzlvDdIjobxBNGdlrDmqpxrSfS+T14MZuR1AZubIbXfh9nIidkkC/140SD4mcwSPrBk
eD9RamDImnAyia5u6Pez/B7fzpFemZ+KjTJPoa9N5qVYdr4RVkETJnrwUXHAaeH7jVQZHXmRUPWX
yShsZd8idICT5Y7axVAbTEeMx9BiN7zampPjvzbPoclrsTrokcVbLDAdB4hxKHu4BkcKZ5lY+/h9
QDwKw2FJA1jv7JqCcshiQIRMORO+qhEFABB3rBZFiNBEDXvXn1FKXTlxPzrJ4NhJi7wAfczcy/n9
bfThWLXQDrOutEfRhd2UT2j6K9VJgxWzFWnR3tP62JD38PHhcIDzFDKg8HUpb8Op1nwo42ItgCKA
0uDmfGTseg1ntxSCzp8LN4ilEGdKWA3Qi9chR704xRkEUgVaERm4qIwVcJ9KSwB6mYvy8PxufE6F
sSRudNdCh8PIPGnFQeeQGedRmiz9tSPuow0BNyXBsRmkRvxmcVMKjG97AcuZy26yg++MV8gxeT3T
OCc3UxWcWt3fRp/o7v8Lg3RwTmwKHu5nfg3F/iBNhJeDrIEAatEMlVjE/mneTlQ/S9Webq8+UtEH
30Rx5qyeP1qypqX6WQ6cvwSPYyy4LkjO8IuJA/n+kNQNZFuBXe5AkNE5UyTXRF/D2T8KMfDj0TYD
wRZO9EtwcQyXYwZpSfYe9AZqpDVO4VQ79EdilK3MtjlmWASB3661eIPAWKMOxmB4gRuoSclxCgO9
EYDqFa6lnBtjj6LCk5eVDgPUeJe0EIIqHfq95M+VG5mHzPJGOASjggJkHiTki7eb9rVA9zAk2HLD
cw2bLAjBp1M+3ihx4zfgI4n6WKPJhFHbccvAlqSRV/Ek81FqeQvYEVBsQBcB5t1iLZBDX5AjH1zT
udobWz0W6VnNWR6Ad1TXwu/5h/12scV+ILZK0lBtnqI4rkJQKrW7Cc3q7cr2uuSa3JcPcGih2waf
8Wd0DAvmLotKgXXFFA9lGHufYC0l7K35zG34BWkrn/GHBAaTBN9Q5OZoHCncRYwqSGmZZh0myWDE
yPZ4RqklJNMlnFV/v9KDaAaLIogCCrYxTP7FuVisYAbcVvQ8SQDAVCMjswZ1MNdK848mIxpEZ+23
gjY2mMnjO34JD30h5OgcT+T2MBStj5zj68LGI+gQeQ1XJIw/VdjogoZ/FF4cRPYoYSyW1cwXujRv
+OiCRr5KnRuST1WsxlfvkjxjAzJiO2xNQZXezhFp3AH6utmPOnE5tLCtLXd3oMVigEIdMx9xgPWc
w5bvD47ODGGEpbyAEvjNzU+u68iqYykHT31SrNvt9TXfTAQhAjkBQ1YTrPu2YSjklhL26Lxe9qeB
HCT9z1Ywtzz5q6gD8XrU0FFV2aHFeK4WQlDcE4uvyVHNDbzTUdvqf7qUmPrmHLTah6A9OejGIDfX
OpfnT8vTsYuQ/30YQXgO0Tt2M/x3MQ0H1LXR89/OIvAOcVCAQsOgC6qyMi8e7ZhQ8CHwQw1TwtxY
ZExB+fNiQYaZBTZzUpfotWcrcxbZDVDEOp2EHvwTzZ4HvKOkOlcJQ7psVCMsg13lSPmuFj+VooSB
0vAR1KC0MZJRjWtyuSW87L7ofb3LxQoIUU8lFXwgXKC8qMn7JdxcUvNkH6C2mA8nwALYmfl5XMsn
/wzF57Q14hvgelnMtcWiIdcMV8AqE3RQ6HFl6oSkWtOdgHTxxI1Ir3F7H2RfcDkBaBAB14Lz8WJK
J5Ei+hOIT1v0Qetiy5lZkNkRg7ZGZKWDwNA9adKw4UQpQ1J6U9Ki1UKgXXahGXiRNs1ahxAa3BmW
5XnKoahXFoIHcc18h8jM4GjEz0KB73OvDJW477IKdaAWCmHcTSolto/TWeaMMBoBYYU0kAPUSKh4
rGjm8RMUG9Vs9yErFjeLpAbhKUAmhC3WUK4PZEKoxNOQlIMaw4FWsXh7XZi1HHhAw5YPbdSqCBwu
ZI8zi2DH84Rt9jV01xR60Y9oAQ9CiFFaUpYntHyx5U0ZtSC1Q0FHSUaKzCbfZtI5LW6huGmjPYuD
KcU5sKzl0HEtqQXtRvyR41fm4s+dAw+Au593Drze+yT4sqJHPEP1mVTRe+T5RTVn9zL1twY+MXhF
ns1PVwoz97T993VUAAoeR+47UlO5u4h9uRzVt2MQRfF06VXvGF1oCLG3jc1cEiPY+yXxN7XqPYFn
pNJ2uKV9bVDfsCr0RHjprQ5/3yLliTdpUSYN1Onvq9+DCS9w8yYKtRGSLcgGfh9oYzyNkjwU04Uj
ULlVW1qVN9UleNm/50eb1NoWB45dechOBUHRr1CPK9/iwfFGgOwM66EIuz1A4Ra7jNe3ilz0/bCt
oYOfdHhgdFC4e299YwB2IfGj1hboptHTxqx2HZB7kJQChYmk6O9v4h7cLT4TZG8YF7ObCy8t1yAc
dOqBZSkeHVAa+oHcEo1Qk4H6e00utu2TA7a52tiaLy+ljSpoRM5nbF7okiArr2SJDMUiPC9NyLbN
tG9sDIvVcKImPxHibNjzm/xVMqKXzG4MITKHg6AQ9il/5Z/GHsJA5uTZdKulJgIDM//7f5xdV2/z
SJb9RQSYw2sVo7KVbOmFkPzZzDnz1++hF7try1pzsdPo7hn0oEmKrKp7zz1BbZ3WHveKQpKPocM+
hgxsKva0yigjOI1Ee8XMY71mX1puwWOR4sDV4GNMlJHWn21GVaN+0xx1WBX3zIgd/6I5ZaSjtog/
ui2Y8EZnq0apGMOeh6210bxIJm/5FuwEA5Y0NmtD0V/ZUCE4vCFbkkAkEL8Vg2WN7uXvl/VkxIoZ
GYujFJZ1QDAexXEN6C2+zOCr4aMDXKJZKyrOoboImq0PD1EJNhTWAKuWTq9GE19MlEOb8PctfAED
D98LJOLw7cGgF6Dso3oswTvK/aD1TjWGTgVVd4KeYqyCDAEibirMX5oNpr6YvXzmC8aZ6t92whTu
1fnM6JXtWhieUcUoLFBl997CunT4rEqAgmlEg2uPrh1jP1C69H7R28BfKGtmF8kCvU4vr5oV21FD
elDU1nC0XnakpsjSpYURkdzSMBH6+2m/QKG/nvZhmbZJHrsR+MsrHl9QBQkMAeF/y34UJ4Bn3YXB
/Qo0GkwuJkZ7PYGyh0hlzNxnbmO6zK/bmHTyEqA0/le2xlC4EDoLqXRcQpkm02OoIwXN2WE0RQHF
HPRPRX85z439pj3w8aKY56OXgTwRf3k48PI6rOKuQ3wHtiiv13GGTTY8Lc35mV/5SbM2pYHDBgeu
V9D8PkJzYZXEPOez/UrukSaJTY9zNDgzlDXsRtoPCRs0rH4FePu7myZeadKmlmYOhGenFSojkIBh
SSBLAAl/HghNI8d9Irj9ESAT+K4gIeoZGU2GwIxW14wEkKy6BRi4T8l7YMBERB/p1IdU94aWekxf
2D23m+v1nt6VomFEBexaxn+mAvLbGdo3jVuXMKg9LiEKJNdokwX0Ckrucb8HEyRf5jZBFUfyswpm
7kKiC2oz+j8tBHo6N256Alhj/gL8B1Z2CBQDK/LnvXD+oEDNUYw4KN6W5ep6v4MLdNxrdG+soqNR
UtlmMXx+aeyGzOx7s9d+OBqQGo0ewvWm+hyxjYQhJpByx0qXxACxDwrNA3h9L/rcFPbZfov5M3p6
mFV8oTM/nxmeIJzP11G/1UodIUtJrzcgDNfYveBunDq+T1l+BXMXmEGK6bqV9HCuaHtCkUeUJNJ/
Ac+gZAc37OctRGmI9hhnNOy0dEbb5s2Cw/ky5VoZqroK5J3E29yop/BWjuE0I21QgU4VRP4R4ENW
jcxdwhRHHuA/k7ziZIAdoIG/qTDyQiSrePBnx3VPNiv0zmCvYcgL8OCR0FTAClodXFeE1G15XbMG
SqpjRsk+oIRcVjfhRg9YL+e/t8gnmxUuOhm4I+cevfvDSsG8sh1qDScjDsWq1zOUlxqpYWrEzeAv
T5BzvJCpY8bgFfD517f6bU0ykigPYhmPoHvKFv/JmQDPiYaGyOgMlNXwJhP2iLsLDYDU3MZbaWv5
XVr4NhzzTcUJ1+mHh+dnlvF6qiv+/hWeVXN4VAgI0DthUvrFtfx2c36G/FQvySXUtTgqINDkKf8J
idElRCIxto2E7lEhURBS8xuOXcKdwYotAEKwxA7Mz47oMyPNJwAA7gedPxpcILq/nF54Fy1kCAwb
d6QPdA1S3fY4Yu06LbWMQd+cDoyuz+wXT/iEPy76WNSqasK5Y1n2K7YwO0WHax2nLCrvo1agUYWa
UwMxDpkfMJb49MWFrO1m555fEPzD6TnZpWLohfpeALb6c91qrs8o5RgGJwA58BKEvh+TCu+EJPZj
fpb/BfAshJTWAlHa8WKHqZzRadYRtPe5Ue1C8NlNkPVXzVEYdbByXTs5yiZbk+EieZgLaSf0mmVJ
UhtItQBlA/KOCbpieNoN6Joze1gGCMWUqUSZD3/DfXQ1ETES2YGMcAtfIG41xq2CCjG1pF09WJLz
94f4BNIDyICjFHRW7J7cIzspqRCNXIsoHgDrAdE20df0FfTDRBrNujPFYoOSIqwdiDvQPqO2EGUb
2xLKCxknvJBDNIZuGIEmLVV2UjfT9Tz9KoHSYoPCzA1xtg/HvSb5rSYMHHjzDYiR7K4WKJNJThI7
0Cij/x6Ez8yH6f+hVY5aumHEpVwaMdL+1NKGsznsn1AUlQxxYVfXyMHMMn7CS8avByWSDIB3usGH
jyfKoOBsOa1H7yxbcDY0Pt6LVbRuKUzpMSNvSKnbCCOZKYK+dubHb1YD/ApWmQTUTnk4a1TFk9g6
iZhjbZ4582qCM2Xse7snETUukB3x+skGd/3vT+XJ4HOqtwBJADkHUeALFPq2Z/Vs6TfaECerIfMJ
k8D4Cztnm3s0iTdlao/jZC0m0G5E8k0BtSCz//sGnj82jNoU9Jygrj6OGvkmy+Uq8oZjYwy0sJHh
StyFaHhGRNNl/QobRsrAGIk1VdC9NH3c/X39Z1jARClFLCbQL/AvH8AITqzR8DH8cNQODa3Na0YR
r02CtahDe+QoFvIu8cqHmcd+MteDxg+PCwNvUOx+nRU8bG5rLeb7VZLtyuGACgKieTi9BS2YJws/
hudHZ/39qM9wFzwlnH14FtX2L+P1rtDYqmHRyAjoEN9US8EBBVU1AaJOHCANO3KRFoWD6AJqH5Zz
RcLXrvPwgaOVAXcXz4xvTXmoYQMZudKKmvRb1xpiOzVH/CkbwgU7p2BELhEh8GtsEaCeIZ7bQ/Xh
XmJ4E3yAew878714EI9pSaCuga8hYtclBRPf4W28xh/wdgBiwLTrSdOKccwa8B8EW3vRwj/xODLY
f/+S0lTy/noUsNfgbYX5DHqWn+dLFsVFznRlcGItRMuW7wyKwpOiFwaUQdQzlM1Eb3AvFVC3YY85
Ir4pSBqMehmQwZBMJEevKxpvmY13ahvTC3WNJhmK6XAJL2z+7pn+GgdGvIYVCYHiocPHnxrFNrwK
nj03JXgybALZCTXCpNoBwPpo1yEHfuDBQrBfSTyNHem9mOagAMAaOMHEBCruZOYAeIKFfr/go/1O
Xgd9kcrQOoCW7fXrBHAQvCNAgBFgdhfVsJScq4OmLfvxfaFxx4B30ngKj9ANC/H/UNSjuPU6SIAh
7qbDgoGnNZxDXCIBjWJhIKgT5PGOcDx6R2os471osPKEXSQz8/RfmaV/3MwXJfvbltvBJbmufYnd
wtADzoUDjDrwDbmwNzCqdJKLJbAouzGqKWBA0GzEbFXAOy+1hdTmVBMhVUjXC1UTlr8e+Ich9W9w
SWWdOMcOTQCCiCkowTrcu+oe0Vo0nSSOZjfqdagr3HLK9+2tespjpnUzszCmUc1fj/awxAU2zTk+
wqN5BU25VoeDfDuseUjP/16AT/hEU+wfCG1w30OB82ifpsDMLkftE6/8zLswXLBPUd0IGUuGfK+p
CFyNEeHi1ovECBXkrWoNjZG/jFqJQg1iSIWkS27hMBm7KjmYdTQcLFXWagZ+yz0eDF8NdNb3iJy3
eiO+Vh1HgrIgZVu/gplvaWmwlRIBaQCoZlNZ57lgjoHzpKP68XwPJRIbRYOchVm08ksJfpwJTKQX
SI+GiYaSz7lcfkVF/Hpr//NjPk6bs1zrm14L+y2g3r6xOG36Aic81i91+cruWxNqK7vqDe6emuon
sEIksuZEhKtLqLMH7QpPNs2n3Gd9Cy5TSKLZHKUzH+iwhTWa5f/r7Pz28h81E2ISxH4Bs7wpqsAf
Takzc5SEgKmzLQzpy0YPuJnvjZ95H49AgJdk7lApIXM8t/p6XMnn7VGDLZZ+tBwIlHqDGcim2h34
5QFt3Cd4+TMlPaaST5bWVBUiDxcKS5g5/zxyYiVKk7RBVYrwmnMIw55tca5Ndp+/DYt+15rRRjLb
rXhzrWAv42zpAzO6Bi/Dh28y1DVdPTT99w+Irs1G/8ABtJTsCDpJDPHNjnp77Byq0QDIram0Gsk7
t1DgMfSWOfDqDSgDiBgSZwP+52SnvUiYhZjFe/I27Ab4AO3hMg4IrKVomv6NpNtk9B2g8q430iWw
sfN4Fs7cYjRGOJoDxN8BHC9AN5wyQkl0CUCE/BjXsYHgpaVqCMcq02XoVw/yuhkMiKzHLf6nDKFB
8Alb4v6C/n3RAHP6e0t5QskHCwh5XXD0RBWOkvDnD1x2ahw2FRfsuENz1l4xE8dxUIc0eWPfkx26
OcgtYs6cuerEd39Ye+BFoiaaPEGmS/+8asJ7WcJ2/nAcYAMG7p9GWzTm8ISGY9HMpaZ/1V+Xeiha
BLYZNBZSb0BDrS7jC4BZCpgUFkc7F4O2GRjgq4v7dTnURzzUdYBltAdQCIbWAHXxz+HssARw+JZs
1qCzvDFbnprKsgDDbMQ384pZfwuKIaDemkjGa+BcOp1uEhOFkQ4Hktyymd1njInXvzlQdbqBv25w
KlO+ncM5mxcMPoN4BSZUAgMQGfY8MULHrJataFLN1CDPyixMsP/r98Bo7+florhEthjCFbCAOVMA
yJ3hiaf1mBqfM2/6yW6FJGvU+iDzCQrST35eymdq1pUC9FRIJzOBmW4zsvVhNg0yxXIjk9G6fM5V
kc/6OCgoEUrCop3BMGG6p2+/ZsCLXi6NkogpSergenfTUowdmNQg7GNo+aLPcYXwb8W/8vEFTqS9
iVOMZftluPPtkqGqdAiqcJttqVowkEO4Oo+wgBIkZ0u1oLQ3RI9I79Jrr9dv/bY51nr/Lh2SzXCT
L8m138KEnTQ35h876sNLd+s+GU8Xhle4y0QoyoLBTq7BaI2jztQb0CECDOx1sdS9ekow6MaNf+tf
2DfuDPup+Oa+i+/dm3hIb+1Lfu3u3IXddy/9Befo63hJ7tIFvgkDFL0ejtbk1TuP7/02em3u3bbc
p7fwPOzk47jPX/lLf9fA8YD9wj2/w3cfA807f8lf01f5qB6HHRT2u2HXTX+8+TfmOm7wxwt/GLb5
a/+C2zpXb+FZuXY78dDtxhc0TvgjXnor13W0U7fLDf88vDcaafD/a94q1ao/tURH+J6SL1U8KEh6
hdVeUIqn1/jawrM+poAGmsZ004UMC/pwHct2MaACssLZ+vhJsQ7Nx0QDwxwaIO/DusTUxWeKvoKx
st6bHBxwxpV6a0ayZ9fNurxEaJIBEYQmi1mlxhmVrpzTReIkevPqLsFcwBnjv1S2b6QGHNXImbWb
SaeIDu3vZfYMZvt+o48DokSMgxI9YrB7a4jvoHjKjy4G0tpJ8zagsY6KqeLDrA05I/Bqg5KbqG91
RRCcUF/9FxdwaKj/fUvP8PEft/Tw26li6ZYZ/HFXwNSA8WWqS7tA2rVAcNDj5MIU5oGRXj6CuGPK
AuIvDrV2KMPXPD1POCBAta5C3AdRkAEnfaSFKcCSC5ajyV6uqBhOBdYIxwn8rQV0MNM+/HZHneii
//PqH4sct9RUT2iU/njV7GHRGQ0tlhkcMpNrZ0kmd8wW0msId4mlhPEgj+MrP3gGsmUIPmyKEZGu
LtEA3UTy3ttFQaDe3wXWNXSgzsb/QLrGYlyganuHWBXTsksOZz4UN3THmv5eJrsGR9GKoyWNzO4w
IjF71CE5RWCGzpkvkQmDsX+4I2POc+/p0fD9saci4ftGViuFL4hgN2F+MowUYBDr23hT8DyAUR7f
Wv+nmvZJRfnjx+Z/XjXnozD2kf50xOFL1tykfwHYvd/vZf19ZRi3A0AN4xBbnunSf3O79xNG19SP
c0BQJtQP0N/Pq8f96CvBiFW+rc2MpA5Pc6yid3+HRsKuV6hPjN5+F8HPlEHmvcVGbdxkW1u4r1An
Uvi1mgiUgBfDHOvgSXsOB2xQYiendCTLf42Fv72MeChHmUlk9whBIVxnRGt97Q8Y+h8rAoMRGXoh
jUCOaG+JU6FAJAptTGvFfV4MyuvYq8GNsP+Je9vGEOpq23OA7e+CEWFmUIrzkI8I8NR/ONu5oIWP
QRTDXAl46R2KAOquVpHuYqX8vZc8mftOV0IuMxy6cLg+zpyLLmLdUcmmqTwkvdSzkVgC0olvlssA
qGynu0CscmOz+OeZ2NoIzFf32cyOoEyN7s8zHjeBz5THvA+g5Zee9NvbaHNRcaUSXlLRhn9hKaJH
dNHoCRJQqAh4fmK0NDfeaEECjpbN2lt8CAsgSParwdr03XVE3KNorzQjswLjHXSWFQ9Ds9Losd5v
Ampf9CGLcgG5iM5R1Swcnnw2eJGdHa9jmhnpIoW+OLMVx4OVTmvO/cpPgODpATVQ4SAGmgC4n+vA
r0LZlUImXLXMTYRTaSr1ViduSuEl9zNbMCQVuTfwXP775T4Z0v247GOJqHbSINZugnbywFLewJKz
FQP28xh2lcams7nLrJT/d/8B9gIsnSY2MuzVvxqwb6+SkbKWZzMlWCnwEMFcQVKAooCyBA2wBsHx
WwPjw4pZ15uxR5zPnCZh2s0ePyRoODHlAHfrN/id+hXPuYXWrsD2bbJ/A4IJKgcF3SgtvBBClGWN
L+QyO7F+up1gwjIV/gBYpUd6DSKEeVeuevcoX9e9ub4Gy3t33lbE9E0HZlYYziN+mXzA9XzVU9gt
GpsTHZb/ct3WF7fW2ACLL9flYqHPrKwndF+EcXy7sYftH5QOv+LEMFzBXbVLJANWpb4CPboGm9nA
6EKFwFs5qW3xjjpPhXHwxLp1lGHhB/0+CxDlNbPhPF0K3+/oAfTqxy7IYy2aIA6YtmKaD1Nj4uKo
nmtWnoz4ZGjbJBhvcOiO5Ef4kE9Vtko0r8fR1+sV6SyWhilRcdBcEjDiQHQ2boFZvGrHv5fdExwJ
Y2kQrEG2QgALlsPP1Z63COTp2WHYejLRQLffKrvkU9oJJNfznbRqD0iB/oAds7coTk1oMacMrfkW
lXnzb8AoAxkMyFy7/31TX5a+D0sD9i0yvk2wYjH5fEA+Eh72sWNfFyc4TW/gdnSAhWpB1Jd2x/aE
0czgJT8IKfEZ3bsOoS7cORG93QhjaZF4u9KYhLym+AajbiQGgJqVvIMqiN7BrkodgXbGaPBmoqfr
wRLQjbqG997u5SVrywgbXACZRXqPUQZwV8GvgAS8auNb3V3YlWdYgCN1TiSxCJ6ov0wOPJCRYDvZ
1hfLeBHDnoLToz2/kK8ddMR0sLnd37+N+LsZmSKKsXYVsAhklCw/X1jLhJqQisK4bRWU8qsI8Xeu
UYRUZClmdABI2YkLJp6VIoOeF66CjUjqEHhxMuhFtWVGcKmPUwB7iKdVwZVt9U49NVMvGF/5LeLF
uHVwaFInVWE+46a0EB0+RqKMqoHOHhAVYstBz+fM9Z40CtiKIdFCKQFQUfySK3zbjGNJjtqw9QSs
gCXkz9etY2Yn595DTgPHNnj4eqv+5RX+n5ubfWhePRQYPUPAsaLjXEXzZGf+cSsPyz5O3TwKoMhG
v9diKolKw8BhBNdTdsWC5Pf3C31iQDER8AGhChLoStrj8CnMYq7xPLU8CVvVUNfBzV3HK/ear2In
X6EUNfhFuWonlTJ0OZIho8KpTFDA9ci5vct6S14t6POs0pZRelV6i3sNQJOtKW8iZhHGJHDwMHgb
cWMzd/7syAaNR9PgyAKxFtIDfn6KUZhpfBq1oE0g260kypvSWAOTk0hYNzmyWKcvSgKEWyY2fDBq
CzyJv3+732b3QFoUECEh5sbIBffy8w5YrYnrRmVcbNBvlQHD2DW3OhbWUbxtcxNA3jEwjiCZQITl
+BT/wPHWliUSY1U4F5DXu+2CWuAN4k9SrMirtH7dnGAUld1fOpJaL4q+DD5fQmh97MVCWxxsG0mD
hnv7+ykg1cVtPu533x7jcRNuPc7ti7Bht/Ja9qmcU4yRLOAyCCkQGpJ9Tk5PGelhNo55CIIL/qUB
gXNydGsWMCOvGyqUTg2bYhmbIwI/zS6gvUsKAGtIsiRdRViRdGD/hFTKdAbmKsD4OIqtIOYMjHth
rqpoYNUCWe5f1CMLW01RFzJdvPh3jPaaFFF/FA78xRsH3PvgHWWfSNhiOzrAy/6eBMtR01nXDuuN
x9hNDxULmiNRu4DBERzglx3kenxVl/meWURvYDN57+E1PkUqgQOiyoEqylzQUIa+rXmT2ImN1//Y
wuILS6n1MTMjyRrQTgi2iF0dNnhz/J8njOMfn9Ej5i2XHOfDx2yAswesVTEP5/SPfqHR91eBNrtw
Bvf+qrB+vW7EByHZBt/uL4thnw+ruhGLaCd3I4T0vIWcZnJXOH8lltWaTRa9hGRKUDO9ob5xHbK8
Xc+SI1Bh+kSHHcuhkCvHE20PQUAiPycM+2rYHm4P3pHoOcHKEFAnPiyq1o9TtMETcHpew5WHiO7m
Wh5bJ8FMRmcX6223FlZ3jIWv9y3W2kSJhmkovCFXq9IwoFr8ly3/2Z+2YbwKLxcZPgE5YSwwC7PL
YrEyXhNs4qD6gdIxLO3DSTsnFxiofObWJ7RQ3ayj89f07X9/Hojrfm4SfqXEreB6DOjCGljTsIJS
F1f5Y4sw2RH+rdfBWG8xRsosJzWPxw8rABWxB9wgGEg8iOHl+iIbNo0N5XbizdPtYL8UxgtN9AWM
n//eCaZf9vFOEfQM6zNETKEFe6h7GLlWoKX4zw21VO4jIm/CMxR6xXCoXJN1Z+rbr6ry1/WwbQIg
h7QXgWU/fxmp4+Ogd8EmTnskzkh6qv4rANh6FoaYeU5AlGSjZaLRJqCSHMAglGraCYK2BkCwC5pO
t8O/gGr4KmMTGNFYHTD39Bgoarb4a4hkjs4aaivSLAQzx+wJ3U0s2GlrKlDsDRiSkhwwSjZYio/0
YMzEAzZd5XBvDsA9GQmgbS7taMXt7Vqca7/EZ781bMbZKX4ONKCHZ4epqTAofNBD2KuRwHD10n73
1ryDAsMzI5T4MzkWX1KYXz82ZK/QNoC8rakP4xYp02KoaAT3+Lbu9fX1rphXTKHWS/kEsCvaXE0g
OA6W0s7BprAEuHyAydiKNTesLmGYewPYdILbeKDrGD11NmJb/v74vt72Xzf4sO67UAD41kkudsGv
KCDXAk1oBwfDrWIfMVUmJl758R7DdxxFByasLrnUmw16AWPRW82/U20N0ObBdGJmWTzhBGICijUB
KhA8QGBL+PM7bWSP9/LU74/DYjDuE3K67xcgzuCMnoMBn4yNcC1I8FBjg9QNr8Gf11ILPtKQJQ6E
uSEMLCRhSpAcM/EllVZlfJMyGxoyjPZLREck9duA+Bj+RahMJMBhalMpRBMKuDt65O+X8wz7miwF
php5YnR/TeO/lce8lsaSBIQS5fF2JFtdIm9vUK8RmLR8MTILELOwr/Lk0L3i1DVnXsETfguWCcwu
2enXQaTlwyuQfJFPGPSKACFrCANBJIfRSWi6josKlDkjP0L3Dx/vNTFuN8zeFxfsjsxK2EHircuT
WgsfroY/XOPvH+bZlglxATYwdM1gET6gth0n+1lR4NMA+56O6JhfeTjiznFhn8zi8fhoT3AcovcS
Hr9Av48FX5LRn9coxO++Ljuy7q46Hdw/y1/71t8P9cQmCxIfwKYgSwP3BUPs50fIlW0ZKwnYxpAP
kreMxEeebtXzEQ2e+VEuxz22BsPYjNdDu7anHARrZjN4YsP54w6+jJy+fW9jXqZyzuMOllcRHH0k
keCI3LvHyNr1+1fiUcQfyPfP5fmtXK2XyfKcWsMstPwEoINLF3qMKQERP//DeejLdRBJpQ97JpwJ
FYKcR2SSnCX5oxPWanCO2NJoUS0L+Qdi0hr5+vdbAPLy5IyAx5wCwj7G47iHn6/BTSs19qpx2BYI
4TPB208Www19NHsSXDjf8BzpbeUV8fMG94lO2mZY4sd0eAFzEQaKZrYu78UHUpPD6NJIutvR1J3+
umcw5cEqSqkCseSoS8kuBY1bNKBHRVgeK1DksUS1zZtqTDkDgaxjP1HfNav/FE0JBkiG+o4prZV/
eHD8sHjUX7zJ2oWr5/kKxFNkAOz71mEcN6LDXrXYfeggzlkxG/DT9xJ6Sg+WTSGt7gxUK7Xpakb0
qiCsx8iQOGfnH5ojTSp/Gz1InQEPMeYGa89aHgHUW3jMIgH+t+SarTtFaJMQ+dCCclOyS+ERNRX3
SR/Rgrn4vDNi4JTOnMFPr4rXKaHXhrAYa+vnC4V4CiS2IkXIm45okdFuSQR0LaXhzAJ+uny+X2iq
Pr4tn7zNUxdnvXs8i9c3LBGNwM8NHSmcRiPjSOIlEtEDshoppQvQaeEn9vmZbecoL1NJ8XiiT7lZ
En5nWN887lrdiNB25Kiz2xKyBkgoBW8d+RvZxQX7esat4UvB/9fFHgqqrGoE3i/AEKxHQc+0TajE
iIZnraS5yw3onywUKJkIF4SbB0+XQIuRMekaAVK2qnTBiIigc1Xah/bYcHYo5fC6Luyhv7GVAHtZ
DFYQjyXDkdQPBFvhi3PDNtRF0JyGZSnU2XmE2WQ7wqcM0VsFRvAqvxYxe2eZCGuKWzGa50ysytxl
32IPOmEY2ssx2LR9MNPefXWLv38IjMIQ3TKhuQ9HEtsHEde6/BcoASM1oyC9s8WkDrBOsEFKYG1c
oRNhMEVuLNQy+8hyQB0QF0j33L5tTcdBJAZ5ZSTCvyMgM0cKCAZb4xkkWn7Kt934NoSdGAGfY8BD
/5bNMl3PpRg8a1EhvUdpjJxX6LqVh2fIpaosUpiIAgILHQbhNzFyq+VLvVQooASAqKC7idCIdRhX
NXO1zrMzHfQZ3ADCLiad2M/Fg5NRzTIOqM5ZIsHtitmmR7aOv4VeDZlqGrXoBlYQk6PadPqS9hTp
oA+9ZDOlxRN9wPTo8KaFrA8BNY/D/0ROpSYOvGA3vABa4ZEwch5ASDxo+aI7+W/lTiyoeBtBFu9p
sECoqc33lIMHHEiocBteSwjZjo/VVRX1EFwF3d3WFUFerhLYNZIgO2OwXRdWrcSP9PqkAVlGbt1r
fo1bvT2Vp9hF1MKcD8eTI+3HMz3sgLAO6zi/xbRWSUlvFsQ/VJg4QJ0AGgGzTZY8mEpTITVRNMHc
vihURp1fktCGCOtlMEWz0oddgS/yUNl1OPPqn2xYP+7ugREYVWXYj2KgbUvfaEqagfGQAMIu1zLU
bWUw0wP+pmvh/aqIvoWlIKyPv1qBb5u0FClj0El1v8oEIFsIC6ReauY91bLb35XEs+odTH945iHY
XBYQUvfziy65NPbbAZDKpHK5Vptg6QTG/t2yLg3CUgj1cAwgw+n/oNN+spZwZdidItybhbnQw0Ek
VKEqFyLqYxAHaAPJR0ZciiBUszAw5VOdHpna+scU55XTE4SJe6CO4CmFRndv7DnE+BnI/+NuHgq6
oK7EtGZH5Qj+1hnmIts7B6lPspZykGaswOp2yGpELKgC86tEPwEg6pYHCMjFkfxzjZe/38oTmvk0
cIDIH50NIuEfiRVukVaxl+KtIGTrTSHXLbT0oRnqkUicD/y3vSyQnai/G4TWENMzUwPjfHqTMFZh
phua2/meCHZxRzwcheDiDjHi4+DLSxHVOCJ5HF3W1N6tK5Kbk78xHHlAeA7AO6LShsAUGznEcKJ6
GZaJSXE7L/4aFuevy/Pfv9Czj2fiwoDcMc3JH7kOVRQOfD9k4LXXNwhna7ivgWOlGFV4BTwDyPbv
yz0bKIBlN0X1wJ0T+vaHzalK+TZn2wi6dm2NxJpSKBGvdWKUaw7BVYZYGjDHBEytuNSQpAtS3v0c
HkspN3Mfz2ZsuA+MNMC2mSIsHrYhxYPwXqzwYSxrGLmNJvbJbUGcY3hwJuG6ZayQzLwyNlS385Do
GA4YBO33Bcfy37/I040DiAcUXTB+AFb8sGA4FxKSxmfCU7yKbizCVltHPvkU8dslyinA6vnCO7nm
KBEX9cEKueiY9q0ZIPZIHUOLJsxZY3yd/A/VDUYt0CxN9YH4K1VJVjJBhC0XuJ3vPAwPbtlNTqy6
tFtOLzBJDR0FPmEsZa9iRDKUYwqUKsS71QnNRli+0Q5+Ly7hAxv5aW1i5oUOprMSmAkc+FMk6phB
pDeMjYmCoJoa1Mu+nXVOigxW1HvadlActbJcQa8VgjFEDepgasX8whuWUIQO20wj+DEEbtF+5p7p
IavQarh9Lut+qysIRY6WbLTNpG1XLRXYsadUDanijHO6I+7Z2SKBqoRdH9YAytc//3a2DGmvFBEH
eBEuZBQazvfcUPVJ88BsMJyhJ89MKqhL//5cnjiETPRUHGjTcBgoxcNun7djn2dSAVXIW3O+Rst7
QUHchZvf0emdo7V77VW6QvTUITA9fLahQe1/7H5m13gGoSHxBetYw7GK3u5h+aTVgBlC1hcnRL4Y
8tl/F2l4iFFDLjmr0wtzLEjmlFAuQ2JtgoHcLOdGLF+GWY9fKRgVKNwQFqGC5v7zwPXqAvPvOhm3
Aq/XrKl4S082eVWvQEyD0VNCq5cYyN5rxjmSq3P3FtnXrt6DywD/5w6WnW3qqJHZwy4Ulo1qRxLG
Zob9kJledA7jt5C3tWQ5KlCyWalLVXmq6AJGZ3l9cjM88WB6uiQQVwG3SZGUrS5a3kR4e80t5fCo
tQ6XmsVA/QZ+4tlCTLCP6DxndMG2VlZqPVPofKFgv34O4M4Y1U7hKY9+NjBK5tw4x0Q7AY0coEW0
hvQONZ8fGZKjELADFkAu9enEHyii9KSMZPuj5fl6eONNGQqdAIy1nCXtchcBIo92WDhUQfgbaBR0
1j51ahX/ut1pcX1bPMxYtlIz3S7obsh7XZj1UtiLJHFcODzN6WymLfTXxcDnkzUONBjobH5ebKga
11Wlcdy63CINrJxZwQoijYy/l+Yz6AFDhv++zNeZ8+2ZuKBLRqgHO+hq1q6lGTukUE7Iw0z3+WyW
CX91cRototT8RejxowSLAnrWE08TmXpTzEkMGttLbavb4lD21NvCIXHulX05qvz6Fb9d9mHn4buq
r9KRHbewo8md8NJ0uo++FRJQGB92hvfhqudJshDrOcTDIzzdcGtiaFWR4UWbYlhoSMW41AlJ79y+
d40ELJ1P9MBuTH04wPKQHJeAiDTSDSbsSdTwGKurCHtKR7gLgC9gVBEck3UtWCYR7XJb6TAfpVxm
hpaC70i0ivvfb1R6MrWHiojFJAegMNSKD4/slW1S1VxVnAQSLDnMcyTCgkBEETXD0AB7CINyLd5C
LoEkJxrgYCaMMdZEhtnJrd3sQkTRjNS1cUxjgLYY7sgAbj+G+z/ZQpdJO1v5l5kpPRd2N4Puqs9O
p++3/rA9CkwtemXIVKeJQZo6g7FVrQYawVLv3yBBga2DjoBTE/5SpaOY3GtBBA1C8doRMOl7Y60R
w6ryABhcF4lkiUdXj4zRyeh/EHZezYkz0br+RVQpgcStABsbG1AON5QkJHJSRr/+PD3nZp85X+2p
sT0EhVb3Sr3Cu1oz12f1Qp5pP51TkR+Gqpuym2ysRyw8phXGPTvpkGQaFO/iU9qOfMV5zf/wwqL6
IY86kIyPA01ly08C/xs2x+fFCyw4wHL+MQn4E/6D83WJTRmbIyqT/uxW/gdLlqdbc3u+3y+K5kd0
SDRfvQlY4NGZfO1+LoQqP0bPuVpjT2wMY6GHMnXgwOGzgpc1HZu/ayjtE9Vw+gWQzgYFf3Vcalv9
s9lOnNO3TIX8Ebz+t6OFbTxx35MZYCKv50f12a1VUQwgut2cN3TcAPFy8kEG2oH5emclKYAwaa2C
Lgiy8XJiXoPXT/cjrQwUyUz92v0awWT12B4Xj7m0lH5GX+dVs3mv5A2IL568qedT9w18BsUw4BiM
Z/e82Vw2VXr+eq8fMSkD6249dc7dTN9eexpyPm4zmnPPJHdEDD81lmR4SSv9q6XhbjVTYnV//J5+
gnMQTMA0onao+4fI+q8cROChtD9JUNTC/536NRyGo9SUY5lGnR2IF4DapS6YZvWKULwpIqALKlWW
M+tfsJv/gaYFcpPwQIP7MmHL8ZeX6zZRXre6qx/e1DmtabpRefjKP8+/0vKatx/glIby6jaT19dg
HOOyTZ/B4eexrXEs4jeerI6/O/tfdbX/TZSkPeKWANrx/ytbeyJH3+M7JtyheLL5CEVoePMQ2aD5
yHbd5tP9sj8V+ogyMT/q53rWbPSEHPHC+HdNxH8FXsnHkxVN4M8oeBH+X914mdyP0u466vCX48ec
XT5bss/IUz8SEPhXOShhnf/gx/95t7/Ufnu9nY9GSwWGZPlY9zT91JGijUe7q8XIfEw+HrhP8QRb
uumfjjNrebSKffMnX3DVzBrErrlcPi3Cf59Xr1g15vQIfGn9A3Z2G65WonnKHgxQs7g41nIFwunK
+MQd8j18lD+VfwODRBRrL6lv/30KqwaHLHm/T4p1dMV8rOM7ptLrRpXDmHZh2rDcdVT+VCbFjAey
IMhQLSN92arz3X1xI1Q+72hXV5kTEtAM0+1T2z6qX6ShjhaXX1vZDuvqI8ALrlv9LMikL7ru4uCs
CW+35mQ+9U5IU8pQG5A1t/3yq2a/t+mXUxw0J5biuOlFdmtvvvKvfEcSjn3z8nNar5RtXn2MAQca
5Z8zvKSzUVQk56VkLEswvm7bwz5J1mMv0T5IKw4jldKC7+j1s/7+Lg7zV9CZwvEiLb31wtgsmo/X
1AS53pSEI3r0HdH39ws83NpPlPkQv+lcKErHzAnVS7zTqNx9ERYDhbNb7tlhURoeWPPjt3dfgKv1
uRZexJqcZl4uaKtAMW0B8Bnxqv0/hPt/9NGcAJ6DOUeGO7G7v2VKW51GtDRpaWAIpoxsUidirkbz
FYv9dfsmsf4xE5Cd2PWfAPv8Xj6PTnBfPxe0dFvQsKM39e3zc7e+/jLCR21W8Ppj9c8K3P8ieCCd
RGEhu3v5713KY9dOKr1r25/T6Wt6mLeKOcklbd5Sb918AVXRUBlwFF2TlSWJUePyXyEb6T/68QhA
MrCOQJUSbSz/Mn5JVKiJsCryUtJnh4S0wh1lqFrcRodUdupsl1SFFh8SLZbimy9ZZ4Ir636r76X1
1MXYGbZ9qNgc83vym4JvdWfsVM/ZPevDYTNy26wNxw5BxTfuWyKj9iUY4MVRdvNPfhdM97o7bKSi
Sk6J7hwSyeo3V7Ye6c0fotcVXCvl8x5K9rsYnFsiO3xUh6pjeJOxOXX78BQcAsnWYsVuCsJAA1ub
jPObQDzDOJMKKnESffMG9a5KgM9KrvtJQWp0eKSgzausU3IxVr17jmqHuC6I4km77fe927o0cTd8
zR89zJd93jf2KJwU77xNq1jxwHu1yGqdBsDY5uOgAe8veAL4Q4zLr2I54GIxVzmSLFPFHFjlIlpw
nb+9A8aRo6ejtN0cI424kHMMj5mRKH7FM+LUaV1G1n4BbbwG8Dhq7HbLwU5lX9U5Llw6E7mEk/l4
07qSTyfcgyn505M58Y18wM4MT5V53E8fZmWrpIhSxraXSdn2K4u7jX+mASk063o/4Apen5bnyEg0
f3DbLbfAHnGa2PCNqynMhFHAlsFRvDI6ZwoPG2pX0yiO0WTyQa/Y5/50M4+RURijxXFvKJ/V7fsa
Kczvk8k6R6MTD1+68mlxOZjinu2mFE/jKAmBXtmlpfsFlHOmqnUru0veHrMipvhqan5jsSAuJ9Jp
4mIyK00hvjtHpaMTj96Qma+HF//5AMiQcfk8oVJIxXk/KRE3ADvT+xH/WGseKvO8v+5lwGiSe2ue
W5N9LacShDmZPA/zw+vnvrLrfWMdT3NO0wruecsx3XpHK8Sdmd6yXlwSPeMsRqMVb18OdXBHH6ac
TQVRXgLF2oHHellfud8juSQTTiwdjZbn7s4XCDoAhuWXuGG+x5RQyxbwUSDh4W+wJF9KOlCV9q8E
Gp66DVt0/2LALIdkV3B3Rnq+fZAAfCRwm7wLnu+WNIlUyNqs3qJp5Awk4ltyzaq8pdQsPRpERM3u
Zb5iPX3EaoBhe4lv47kRUfVDTnE65bBNE+uB5JUOo+jyLr/Fd1yI3tubPuejALqVvM5j6yhd8JNM
IYfOVjzW0J34naembUrFH/b6Gla5M4VQpgfsva34UN59P/55ryWvxqi2IFJYalvF54zwWe/guYQv
7MbSfMO/PInymHBSfGQp6z1Q+lBgRf9bAD4szdO824L2VznNlQIiQmpr1q4ejjPWnwINoEAEmUDI
ZKATDdyPQkVIgleiZkzMKLxrsyMLMsqqZBQiH6bhNJy8QeMRKEePialnfKiMP97kXyBANioX5kVL
H4zskmoIvRJo1FIAIpHh3oPHE47dqjiRCGZ2NpxQJSA68kZwdGWN0sabpj2T/rIYTHaF9Ggz4z/w
wr1NNUPMwZvwaMQksUmmwxBKPoRQIVexrvcFdxppi2drTh22G4yF+zJW5WrK3AUU4vCWDIIHRiuJ
1hhIS+CaspEyk6yTz+7NGbajPRhm8bC9JIiDLqldwR5c9xhdESpKco9a8OUhTSOHjestU11v2w1J
yGdqE/3jvv1RP3bFu59D8ffbh1gX7JwqqZg2cSFN0GCVnPcE55gDHlHsjP7Mw7icjzLtDZudbt/M
djaJxdxdTRZ2cLWiBrMFuXHf7wpVMZkFPaySacb63dks05RHmT+oBVco+55X0tcNXoJveXQZvcGV
DvqcYw8+86YkrB2c6I6i6dnUAmoVD8krOUZScQu6QLNPTNTJ33lQyrCtw3uoOyyBr//02cF/FCAe
bA5+iYOJ1YnZ9bztV6D8vu2Ru4v5TD+bJNj4U7crapoBXJJbivaJho2coYyyCxN7j7o17HnyOfye
Pxw90uyxy30x4fyJz0KOVq/gzFOKJ1RDHpCB68fFKGNlJQBtLMTHEOqHxSstw2c4hbj6jNnV3bc1
ZJotWYfAiF8p0u4RXPxqAqXBnbCpHqqZ/kXnW0HpzGdpttk9xMHXWWI1sgey5hqxmEwS9f4uhVJl
MKRwm4rm0lz8Eop7pfDBhpik9eBIaz3CG9ulbcYGh7kli3ES7aJXjmCoA/w1anpAB9L4tE3Zjxw8
pAygwzgH0u3h95lOokuuBkZ0yqdwJWwwvZmPXAciCjM2PHhlSnD8kfcp5QRcjW+51CFGExgR5m0Z
8ImcdjkCApn03l7yQ4wglsWtK6uy0SooOl/HbSIU9C3pnSq+pu+Nsjn7vfOybvT+/Ww+z9VcwSOR
DKza1NHD1i0jSjml32fU76dBZ+98lH2DOJPyUsD6Xeat84h7plVPbzG6/J0LhpA8LthYHFvFl7h1
tERnpox5ffzk9i/7vj/um6IWtMkfFlIOx9cZRtSAfTMYX10xeQt+hpkhCFUwbtSH5b7KrxGUcNzX
ral5RtIlaGzNv8Sd0Dst8u0cad4obBLDr53e2WHH1FvETaQUQlNR02H4SF+r/yM0UHxITLt2R8E0
rSyUrTLjGynZuY/86SgvnqF0agdZzrQ+YoRyk3fNXGequ5x3N+GLu8TjdJxy/1M8pNCGEfEhC/9+
mWjELu48vnvMhgACqjAPmJoTZ1F+4jS9iVOEY/lMDS70KMQswsFxil+5/FpwwmgQUR6O6F8Lbvj2
qvi91keza7bzkeCdLeYYjUCw4PKBVlE8vuwdybvvlUQezTjnGmn+LX7xDyGLjQy1DalyWby9RlAQ
l4eWn5xyjVD49RadlTaMo1QXmqegPYRF02PRPGLjMbvE0/SdKMWuqLeTXMbik4pB6AaYmZycsEuM
AtXsnfj/Dliyfcx6pxFzHGJL0OHbnbAkUMFxrwjDrUtKriP0qea/bJYhP6FdXT1QvJandmrsuEas
LnbWI794hw4cSWZZ/QXAF5WMM+zgGWdTcXjfba8BmZYCyuycPIOd01vjmCREIsG5+gvqSzjypjFO
pn3ryz62BKnQ4eRnKA7l/EX+4LZhQDihQH/JHoiSuIY0rWMiZQKXRXOHYrAr8fkbvlE21+REBZFd
ZWcoRv19BoNd+sP6khuObBvZ0Zey3pYBNJGcm2Iek2k88iSAZd6h5JT+wnAGu8E4CbhhJoWDPYqV
rC8UdtbuMVF/u9BwJpF+MM+JbbhXX3E1R8XWBi8/Vhxl+0TFuRNnbJ8DNT6n11RekxPJ41gTnP3p
I59EqtVtDz/vULWZHX6eAX/44qeL7qluyzjOcmTMkI6FCKEg5cvY6x6b5zp45JB9G2gRkNN/zn17
fSBtJ5mK/N1OotFNiLn6Mb/6dxBvjolsN6G8fodGOCRvRxSnlGx8zwcQdZ7JIXogW+BofxLuVmc6
Oq/reOqP+eoV9QJ3p7YP+0t0oerKrbZP+9QsTryv3FfUOc3mngx+64+9xiVr3sh2oSbOmAT0up2k
ZHjebY5yCCURvpWe83EyLti1JyziCa3LjFdhX7TJLeo2lTNJn89Zm9S2/Et53S4FaEQJeq/MB6/b
3OkNmBihxDIXuALB905YEYMfkVRWiU/UwsiG2etHASiI/f3Zr/HFnv1z8t4MNiRXzoYDUlgRIfeD
96zBtTdbCa5fQKh9MLaZPaaFMuUzMvoSv8hXlT9wSiiYmNYpn5wXVag4UvZMykC1e39a0vVMtRQI
omOmL/tdqPq9B1a1nFRhnTzupupf9mPv7RjpNW5QMZHBo4fNptm0h1nrDfkpqu1L1sZ9t2i9GxxP
fXJKDfILqYJcc0evGSuWsEaq3+0Hb4zxjC/Gv9JnOK/zznmzDIdIhyN+S/uhmsdhIaOCMVD2u6y0
6/wYV9urr/7K1rNgQY2sTFilPqn23Ub7abaDXyesnhKewSL1KwrdwmtxTlqfVbonEA8QTD0+k+Sa
qEAfPZO+6IsrG5usxVLDVEp24SHSwkl2TQxHyWDWE5A8IavEWBjIUBh8yWo1xEBu813WIOb9w15/
m/zA8gWnMALtYd5uAhEVXh7oezIBCGd+Uub3RAnvo8XotuA7nkALu5CrHRPEgJGpFo0rWX8tLAuj
WnCp1h/FDNpRrXcmWw9MzCsEfoqeNrN49zkCEcOqITpCnrHhciV78zFseE4GWKX6eXwxGCUbCtKZ
JsgRKSN1444QufvXpBNnKbSKlULuyxdEc3rmpds24V1wIVBTG2RBCHJ5aGRP/8yAhjWvHe4tbdti
5F2L9+aG+V6ahnMBBFKe8yS/WgjQKKkpYZsY2SQ87CFzvxwt6gRZ+Wp52nc510txmpS9EUoUL/5s
J5txSRnjK1S5KCPiYYysCbkXogg6fM92zsjrrbrgmxpHgNNE9+SeXn0NOTXykXQInml8DJRMRwxP
43fGmXUhF4N1TyaO+iseGrPEfSbnQNy1CZGcsoW420+yd/QOD1hXPmN2rwlH8bxK2GVTj8lh5E8f
5fz5Yi5qrggLSxsDYCz19yxQuTA3bAWgw2NxLOriHrBk2TGllWA6cZjoCTJYUIDmQmuSA2PLFqnG
CD9Bn0GF4J44fB4pqIwqnDitD5FCotJGcow9olukUVyPMySrd2SM70gIRrrz0DiAF5hlcAM4jT5y
pEeOZwrcLFvnBMo5CUodxVIobbTsnO4cw9VcxenJKofcaKtcmspGBhKMvG/PAASsFShj2T0Y1iir
iOH8jG1VCPTdHmjTAEnCjyZQ7pVO/PACbYk0SlEoDxLqMTd37on35/SY3iWzHOZ9eqSp2HvLseLH
BqAsYjzhbn/Jby9hqqB7HmwW6CjJJQ8/SH/UgGpzyWu6o8fXfljv9ju3ToWGUMTilsHVl7YH1O/k
x9gLPXENjL3k3NMyFdpLthnWAxtXc5CbJUsBdexV3Zz8SNsSU/iV1+kz6CIpmvxAdWhwaXOHfwz3
Bp2rv6oNcvSaOYZEz3MunR08VnkjbRpeTZ4mL7fgYiBqrXuAJW1h/1g9adLyXHGRAOrvO8IE/zl4
B4+n2APXJoZap3+sC75GRR54DpJ4/0xAG2D4uojunTYHfQ5pLeR42X4wP1eH0mCgHeiFlV5wU4nJ
boVRSGJOWZtPzJthfSbQG+z27whj33CfwYt+gK5GJSiWPQ3UIp7F2E89zT3k0tZwFTYHVfu1Y0NB
wl0uJhFnxXW1i0Yel+q26BLdGwIJk0AolDX2TX4vpGi35wbMcfTewg7rh4oNqrmcixVgVxgBbEWg
TyymIUXli92EW6Zau8AUwIR9io0FGX0E6g69CMmVgbgdqP3NXE53wsrF4O8ZCpeh+XuMzUyHybQ2
zEkkLFiyeDuPwanB1cBK5mDsWLBWD3HJIWBCOnjeeowMspHYJzkNO38Fl56O5PX7vR68LDYYjacK
J2EJvfbpyWNWLzl/bnmNauR5ofa0Jr8iZfr+UCIPLW1lu00NQgdMdARlX/JrOlof56wtj8lf2ZYi
arDFw4s5k2YoZaGbmQF+uf6dHRtL4an2yesijLFtbwkamexV5BsKAeYTGmcX9j7vlKz0K8pJ4OS9
jCoukwttGtxqf0K0YgOVJO7vx0XlnlBhl/0hug/mJewcMI6xRAf/yF7Pb5yxv7vNXvvO1X3JVbF2
LvjWgOLdCWtHUWa1rfsdSUG35SlCH7uXqLQll6/+KPF7zEl+sy3tXVo5h7Bzr3QAsIb4Gbe2xERb
ul/H2Ds0iZ+kpdXnMlDL3st5xg3bi/wUVvs6BqNsZqQGU+ppQend83suBUo62h/IHI9Lj9p0kAWr
u8kLrC3shzqfYD4NUetR9jKNyMTOdbdLzy807ZyzphG7/C7ot0983hyipY/0nrfROcf/9zuNnvmo
XYxc3QVYg4qb/BXc/zT+Jv4jPAncp8y1VAm4FSjwEwLLSNT4Oat/d2nL8C9Z7e2CXfpkTxWX+S7Q
/jxcn2MIqTm5G7FKCzqjNnm/Y6TiFS3RPN7Kec1kYQCVturd6OESqd7gAWm0C0TTujJuNlraMLtO
jwXK9FhPq9oOyW0PTvAlUrEpsAHWbbHDWJs4ZaFl9wQbRS1eLnpxgrhC2j8xcrAgW/s6nYmp2mVG
OC2G6eyyNzAcdwdMD2yHXXja3/b1adYIy3fbJyWG9AXh4dyiE5UXGC8hmwquZ8xLu9q2lupVWNoT
amP2mByn6JBN0sFrfaz0BDQS6Oy1PWTNBmOQ7ztXS3W3J9yWSCEGR5sf2YuGfaKkNF/C5sEokLGb
T5EWjCImWUobZ/httqpvhIz/WbQ+JhUy84nhAdWffS1EMx2i8r4ok9IWVsSd3/f7gx2VasmWGgtg
BDYRkVA4CGiSFkDhVcIdgJe78I7/zjqEGKRRywI87YZu5UnPJgEli1kyvvFWTqYYnVz+FD7jPm8t
HuWwFyYarsSsxIRUQmERIrODMrjFGuwKWwsbaMd1wEVMx2ygHpkU6d4OEZZdiy68KCSQmS0LhlHz
x1jj9fXDyF6uMFnFEsFb+BnEKv5ZwLD2+0IWhiQwkHeSEjNWRC0O+yPgDhi7jKhfnLZTPsEwlsaL
UwRb9/5QSGGZcNCdLQ6X437H5M4a1WyLhOk1FOPiNV7cEy1bTK1uI2agTGqy6qNWWDFsVwtWfRIC
zc1b1YdmaRoY9euG8MOiX1eunLxYpc5Rk8Zhc9M4b2l+ZysU0C4YLoaTmnlJigwYEu/02C2O+VKN
VJApUpx1U3DXP0iiuAUXdkLEJ7wKvnykMt+zbUmlNQiigWDeE1GjiV2Hp7Rko2ZdwEIdth3Bpza8
BaqL/8/TiIPp+37TWWPnHtLvr8+G7IXHoHXVDIdc0ofvQgfsh1hAH95wHhyha4IIpuG9irEjZy/a
wRVq9ipuPn5TNeuFyxSvGm+e0PGvEet4pSucUY8E5yCu2iF8JfiB6dM0DWsOIWiFi3okztTZuI0W
j0QPe2WuYu8reJUHXKccbxR6pmJY84N8xVoXXlHhGj3O+/HCKCTIjtX/475+FzLRNz6pEuqQXgnO
wSmeTFzmvOI+HfccwkdywGVOoqMIqCklAYZdrDp9xDGTeMgang+37bePm/T3HhI0tsjyksMS3sI9
bniK3UeKjSSN/ohC4RFzlF+Z2UcSXnSzjqp0cEjqp5Wa+wp2HsuBsvbFek1iLdajLh22u1izNTyC
2/Ge0xR75+l7lpernfxp1iQ9cfdkF4tQJM56n2fgAfC9biVLWhMljDvrbVcpknq3qq132qTP6wzP
5jWXAEmMxk5TCCesPn93c915FDtOUJ0jE29PvFtx9IaNQv8/YgLK7y2pw8EZu8N2cN6MpCNegKP2
FKAdhojtu2TVoRj6gGtZdy7+NR8i1MawwT3/tv748i/+JXiltWZW6S2ow0MgZ79jlyek7JGaDIQW
nuWDT9zVbr2Ri0972Go2fmGCTAMT1W/edieR7jba6/uSXYEtRzibUzViVkZ7QgA8v6HPWTsXicjO
uHKabUcXHey6nGwstsn6Xt3fxJSgz6pgGlVgXLssS1TmfAKX6Y1gOPjrmeNPvwK4CqcdcO3hP02n
EUo0PcdcU074pOQW6TVvcA0Q0wngQX6AkX1ibqEDwRLmlsdcxCPIwYP1xHPfglfAveQzZ6humXVW
gyI9gFXkSvapGOAuEWewdgntyMMnwi1kmWiQDFEe/DGh585SbLgLhysU9ygk6/KHpWSHAAhsjJZW
cCESa1biR6H+oTx9/7Y1a0UUsCugZpb2bRPlP+eHoCnaUD2bI1ewZL85JLdAsRkdGmscTd3pfgJ5
nvy31Z7npALoT/GQmt0T3oZsPWiU+PN0zyIWncVj32q86dNIwC2rThsKQfIKRm4Z1tkUgWLAM7Ij
7vamUcNvv71hkwzU27AaY1cIHxEll+KDj2AqFBp0QbJHqIlIANQuO51FFAjepM0M66i7bbRjyLfz
jKnCJb695kqAUIxOwdg9510Aq50XvWAgxX4ExxyC4/o2U3QRy1Pn17zM9ejFsgiulNYPEo/k6Ogd
0o4L7afuY0cOGRS1w8VGUgAYBEJgjLJJoaOq8ZbER6JNpAXAtkqq7WbnvM8kq7N0QvUHv0ll3MDm
KGJGtRSyhlyPMWE0THhx2WOMacQHeI0ETTSCPJvTxzjqqZuL0QEwBKbNM+9SSPEo4MdGiJdGMkcd
xNnmjwBabL2n1Ti9V3s1O5YNEZM/Rh2mHbfVf7h6jfXVbPDW5bKyUoQOAZromXN4nd82l7kUQM+1
B3FLbh9jX7R5653CU4apxkRptF0K7jFl6JOgzfv8kJUouclobgSv6IX1yjO2MASvcOmlgz/CCYQn
L7/HpVXaI2NWuZowjVB4uv/msYxAFs4vYZpggw0z1ccAhk9lb4Tx5HROG2uBNJq9nU5cPqkxHfr8
GWPp5i8CN3C0MIDjN+N5OUpqBLugcnADPkUDIvqeP2PGLaXCr3ZZ9DlPdgqxl3tTNhb4znh8LOG4
tl7R4BnpS5mpXimYe4I9Wsa75xyTK+D9hbMupMtsqnrWD6aCY7LaN1sMtita61cLrnEdy3gOhQnQ
uBQY31nCzfgwk39rG7NHI5+S6ZS9zuk2z3jwagvjQ/ZR/dvaoroda8FuGcvDYbBG2uEAfJKNiWku
FoIVvOYgSKWyV8e8gUD4yggap7Vkr8EX2nuTQOwEmJNJoBJ296bNXIw8e3PMJKXtDA5F8SzA3ftM
Z37OW1ZGR3wnJQcMMMGQUySy4ya7lH4115w7KUyt7r8iiEljXuMqFeYHjKCkNEoXRzwCZN8VryGv
tWFeUh7LV4+0SxliteH2cAdiod9y1tRlznuvtf48xiM9fgKEE+suAna5s9/ohWN8CpDvkbQ2YvgE
pscNLNTedE8gk27Ce3jMvg1z2FjEegen30i2Hgmx0lknEYucuqg2dhcR95Kj/z3p+f/2Afsr0Zvy
H7ChREtJQBn+Sh2+GAfKnq+315bGGfxLf/2L6XwXuxkpew/Tp3UWeXTdgg7BtCV9mbFuClzgKUWm
/ZxRz+JO4Gv9iH5U1zn4JZQl9l8keyiLajaZQYLUyzQL8ogAXdBls5yaIzbm9G0xZrvFddaZ7OOp
OTjN3yawdmTM7kzvOaNayLRm31S4CLBMZXkWH/rhSjXpl8G4LPHn4+Nr/vELOMhpfqKW706K9f3X
uy4AQbMRcTOSzM39fbbak3a52pMGsqaN9+xirt78OfPbf7TcZ/SBi5T6zePH9SO+fNNYCDABjfwO
eTWs2gB3xHj5/Dp+DSJh5LCa+NNN+6NhAs7VdETnkpt3/9Bt3Etma7oykCXEvsACrj771eH7YN0d
APzoE6TN8TuNfsfgWsrfxzWlXYt2lhE9Xrzm5FzP5c/bl/r99Hfz06JdTheTeblSRubFGlYAuK5E
OI6rAOO088m5aeIbzcx+75vuc/i5b0u6k48/xh/PDwroFqLMsDKnLIWyUOfjD2khlgd1NyMlYXHj
e1bBrGlgoH+Id6c/HZCvZn6Z3T5vn4/P1ydhFRKe5/KcdmNmTo3X6kSyXftzWAIfIjqi4oB2SR8G
WFv+oKfz+sn/KAWz5n/j8/0tb3bx7hcAtu+39WafjdXmSd/lF5fgUvVGF+4Tcq3a0QwP1c16e8cM
LwwNwvHp8NObn9QISB+Ne10aK9z9xGAOUfMzsvTP4Xu8eK6kr91HS/l6oHwdgAutPp4LqsWupfmk
zHAzYrsxNZ8kf5LeJM+orRuDdImH0TCnpGlrm3KJF3eLwwAZU11mFQfkr/2Ldl1XwDnMXXbCXX+c
AVNA50o21lchHMvXTH7PcDF+l4vTrPtoPi5fxibrv8fx8Fg8l1X0xMJdP/ikX9CUFEiZ4rx4fg/e
cXVdvn8ooYDYiNK4488j78kl93Fs66X5cO/f02i6xdpBbU7Y07wt/eeI4dgERwsL9+WQXfJ5/71t
NLwEuJqck6Nv1S9tzcEfaMDlaH7/pL/dGkbb1KH2+1gev94W5L1qyf0G6bIBXAD1D/L0m+rk14oG
FPPxTKHunzD3zCtnIxeL6LGUPq9kk88PH+K3WSmr0ZejmHcL9bzcO7NcoNtTkjjzN/Gq8EXvlB3s
PJ7vT3PUrsklBbte5oj5RTnrSOadQpU6+X+kQc06KO43lL+mPxfTEjemqZZ5YuwCAsBZRJK59wtr
+V7OvKKgUtehHna5D+fLw5xhc8zbdO6z4joDxND03jA5wwQ3dGm9Gddo/q8q3j/oPP+biPwra/rc
79QTfZNKT6HfcfV7gD1vv/j8POOLEpfvq7/7eM0rZvK92i3ULxrXL6+fr9V0WTL1r2X1j1zYP1na
f49HA1hUUzQNBCn5r7xqZdDKaiKXI1f7Pb++6g+8aUgs8nXIjJ0jG8YrDLINLZUW9u7+Qf3B5wls
kgnegJ8fGq5eFyhw8+dpLmb3BVXQ9989RGItefe9vH8iM9tob52hvH8UEv5ndupYAvaLwiJUjfzX
RGqvd39/S6fuZ/wg+1ieUzg6bUh6xh1NLcX57mrtBaC6r2uDAh8nExo4vY9zyrc03ZIQvm8yE85g
SODa7uvFE1odunbZXr9wTwIuN1Z+j6/9RJ6xzfvf1eR/FE5T9jgxxpokARw0/auQ+aa8ynowRu1P
vfsdqIXB4hrmjJwRPicAeT7/gZug/QdwAv2udeqRqGKg3bOoqPsfpSyDDG7CbrSrvAporoqGBZel
NIObPzHzX4vzl3GckcD/La9IS2ALuSIOonXmsLxYIHjtJ9Hh8/Qjfamf+udUnyvz3uuWGBhVCoew
f9yyC+woNVcXHRWbV4yW/326ZFFo8TeFgumvUKOjgkb9d6ur4TpqDsDXgIX++jqOF1MDjVj1s6M8
uzcfOp1eu3kjm086fv2rnvlPTfn/f2tR5A2qmTGd/MUc+u71klupenjDT/1TfR+/QLf8ANiZbtw7
2LfcTOl7a6nV/+HsPJsbRds2/YuoIoevZFCWJacvKtttkwQSQQL06/fA79bujMbVrt16+plxV/cI
BHe6zusMDuh8sT8t5B53vs7LN3loETbmmEsh0GIJD6gy+gINIF5uxvJMXPBCePnNkkT6QRmpIfD9
P3d7Z41yK6xjmppSv2PJjWrbWFpO6/c+Jg4sam3899fykx2BpuNEIBE9geJbvtPHpOYwqtZBT/cc
e/wINgA8+ZX5hhaDVNGcrb7w4PCQk5oRv7CW7A/q9qjAHYYUw6D+k3pGpHu118bKn1+lzj9w5zUd
J0WdZDo8PO7f20EbcPSoG5lCWrOnVAygAPtVK53X4+45Wa78G6ta6QRVOP8WMPgvLAOje5m3eCfE
euj8ssr+OJD+eUN3r0YZVa26dScTzZp3rJzrxet0lPiaK+iZ05J+eT1uSnlmsLkbsWLEyS3u6rgY
IjpQMhIrefBG4SsrYa2U56DRtdnhCiw41nGujV5rnqOKpHI8sh0FcQpm59VmhK95MF4becav6xAb
guRYwvYoPlvX36boD2rHfz3vO6VA21nnPtdY0pKU6B4Xu0/4Hq1gy6pHE0hBB/jb1Pxe3u+npj5l
XisyygSG/b8XNevY6JZQoz4a/BwDvBspGrTq5zSw7bfKubC/1xwV/j7mpZ+W7v97URIJ/n3R46HP
knOJQQ4sGS6pcQh5HbiyRgIB4ifym8wlT32L38Zv0+2nVVDHXFGcMuKpvO4W8UyWr5LY1BAC3Gd3
IdirFU2m3iG5iWrh8/LyVD8X/Wzd+6PPwXYZh3WICJuS9urmgq22y99OMvokYb1/A6hnRAVFsYUH
xd0+ppwPyTBeLulerf3W6+Zq3HoiB1X6g4814txXa6WoXt/4cozr3ORlp/eIlyDGLIdtn83OT12+
O129c44k19YztwsT6gkkUeVG2Ep4zudBn7s1TIQXfaUUobbpHsfdbXHi3PFogvccT04aJ3hdy17y
0M5GEr+Nx0LaS5fo+HlYyr8p5X/7xnfvQE2TCuPFs7zLvs4Wkwu3y3SX76gMoqmQcXbbK9I7M6Eq
q58xzkbOhfUloh1jWToyfjFl565tlmOOnBOCK4RST3V6dDQKSuGXNUeanv9/3o+E5TNqQYxTjLsD
UpqbgnC0Dv3uUbCVELeHz5sDxWKW+H+fFT/Ju3EJRiKLKSoyef3uQtda68ybwRGSIGsOVJwRiB16
7bevh/gdOYdTxhF6tBcTt43cvYYVeYUIaY2D84HIDRLO9Uu3nxAdGP4cO6kxCh+EF47pN/5fLb6E
P22L9ZubErJEERDeGM3b9PPP7eGXr6H/NMUM1hJjslGVUeP/e3YnTZcbpUTchRUq/iXoViAPF9Yu
lLOYc1yXWhPAKZUvbrKovs4zVBApkeSQIir7avmyOT83gSLMNDrHRdAXoSpebL2SY8uuhEVlBWfV
YYYAqve4Jdsgt41ASuhhX7SOtk6DKtK/RLI0AQNaj7iGfJ8ClQMknByNpIUZ/eZH4i0of0fSH100
A+SnRtWDiNv6UlyIFMxbTCZRx1zmJWlqYfKkPBc6IPgFdzKIivDBsEZhnbwGyjhLktXhGCmU0xL1
UuLK6Yh//Ir0wPNtW8j+Ff284MCmnYy2kvCW+SnFUbu4HuciwuPpDvlwK3XNzMkwcgFXO8eXq1dj
S2n6N4wwFVf47A5OyUu/+LBDOh4VXi4nh1evAZih3O69G8HQutOo0XhxUxbtBnNz79oGxtnNNm2g
zFo63hR1Ez+2+CSEE6JhWjg6zCFr27+cAYY0RyVPHXB9nyyyoI6Nbb+QPeidAYxRKkglLHmQVw+V
/bRMizbrEDTmiz1iB8vybdok0K3MP1d0MSefB3Bkca8DUeVFOAT4qXuZH5U3M58N75oeD9hhgIo8
YOVGDjfxIpchGIeg0hZ81fRdaO0DzratbXze4IwUDsBvukk+jjf4Jl4ueD2pJaYjPiSvJGg0GaY2
S+244KMwyBZ505UDA0z+wIc/QAURJwhJHs4b1a/i85awQ5rm6ZIKRQfgsmwZmIXmToELviud56WA
DZOTD07xgDknjg4at05rNNZXxoI+tvrcxbCxDrAhYTUGBoednFq5Xp1esmcNFZA5FUVAz0S7bmpf
LBysGc+fSjS+d9tqI76XTYBjv77U1sJLjv0HUNDgCJoz8PqGMJG26jmmakpf80/6JLAU8MsgQpDp
32yEbq7dXuV8L3ex1s37xr1giUKW41yJ1UjYJqznDap5Z7x6RyovFKK9c/kQNofn80TRzFFd1r4C
zoC7SBKMl+AsRi1GiZp31Gft0aknSrMAgWV6wwwIzHG3VnxagWdbL/VKezsc7ANIHnRojCMmFq6c
uvCTYQWvk2DYXPzjDGph2C2qbbEDYlMj6GDmnCY/RJhFtTmB7ZhQ2R2mpsbandu5TjCwa3Vu/ilE
/ezsIvzm90JYjnNBCK9jXA5f+RBWt6AiQR1t1CvQd90GVT1vc79nw+59CKu3ND6QF6w5WK+m++yh
gf+xH3q7+kD8qSVu9zJY9nX0tYudjHb5Xu0HBc9M23xNvq74LuMDZjrqwWt8uhnjEzv/ASsoIxyG
h1Lzm+caGOG4EJfJ8rCRNxU78QTwo7mFfyG+iwfHYEkynHq06YO1pI4Kke4Y4/L2bEL57R80qP8X
evAoW/LgXHj0PS5rfAmg5l43cILgCTC8eE3FB70z+i/mrHqrfWxm6VZZAPJ7OuGE34jb44bH1san
x3PpXGqn5ngguRqYa7LK5+IWe/VE9kp9kWLHdFkfk6/U5JvLM1FymGfPBHsvVACvJDL1uEliVXR6
PjUB98MQrg9/2RV+Otpi84j7ijRZ75vTpvGP4lmprYPcaLhh1J62Gr7RTw7bLhAsTSOPZ+h/AobY
nzpI7/BefFrkSrNDOFJre5+5T2axZ4Htkcczx7EEemoejzON4jvf1OSutKOtrfApUdZsd78dWL53
rPsjAKJ5SdLJ3zPIcfr3zffnND+lh1u9NyGOYSGcLDpmXutlRXTcIQo6gIBC2AXleTUZV0kgkyiC
kWgSXKvgtB6AFY8L/Zdj1I8FvTnVjRIBvCYYyL/vqlKyfmgz9TovTec2f7XAMXsvxztAc/Q2ZmXD
P65Kw4ux+/u7lH4qC/9xYenOaZECeVSsvOrnBSAfZHijc5Ta+z+xBOcbG5JttrOMZAJ925oxG/Tf
b+GnAuKfd3B3giwNQcs7gzvAmoxKOHOM984AeJq+8q8JOD+eAL9Twr9djXXtrlxpzqpyBvi7/m+7
eiIbmsqHhcklBW1Wsfur+N/+UqnIdzPGEA2RrAKSw/CyVEXc4P79emUTQ3S1NNVdYT+TXrCQ7BUh
nao7d/Y4dWw2xS/P9B7f+p8L0nUyFF1VZHLB/n3B3mik3sjlcl1AH9fs48UZU6ckYbd2LjpgoIsd
P1rPGt1oayupa8wO0fgCYqEg62MFx7PLrhWnG1l4OA04UJDKuUY9bidYWoBycSxhgVMcSm7e1D5/
tdaXidzR0k0y7NGwE9E+477yy3i9d3qfvhiOmJJsYEApq5Z4N15TfGmSRrj1KBFvuywmfmarRXgo
qY9VVNM4G0L8ydjqjDMeSlIV90cn34qX2CQ9VmAg44pqp7TaAtX45ZnfjePpzjQJq1IV+3MQzG9U
+R+rYlbeLoWh1beZ2r5fmsdeWRQwR67OGdNy6RaP2i/WtPdT938uiFu1id06SQ/y3Tu2zlZdi3ky
zCptewIBkUZSFtiMDQrNnD7Nk3xYAe8akPQK07USQGuVcDY1+Pv8vc/i+74PDe8ItgPsI/6T8Nlb
edYe9HM+17FFPyzNINXD0cCR/eagdI/K6+hqDXRn9kF28FaIz5JXqhDyTotfUyK/l+9/LO/fN6OL
ikQRbolAA3cFS5UVRmvIJ2337L4uFJeEGn+7tQ3HA43noBQCwIc4nfz9EUyr8/1FDXF6BNO45J//
nm2m3l+bUlPxfGs9jWbf7eKqXdz2gW7Ri01/saEg2O+/1yP8Ew8M2fiOO7h78zezGKtabMZdLwYn
JiM+kgTulp6iODoZCwfcp/b4I3wYNj8LJB5XXnEM69afFNwXjCU5WnnJzRvM6CgjU3LOo3+T3J6+
My0lWrh8puqfDp72cFQcE0/jwZNV32jjIllgXznJci8BBDozj8QRrt5lnGTVly8FRl65Vd9wQjg5
yhM+zwY8pc4e+6igGOpQwaxu+mt9cZEd7U+mV5CXMwZ14eF0frmsiC+ux6DQXIoavMkLfPNk73Jy
5DGuak/J/Goqv+x6X2uuITlnwTmTOdcE+F42gpPWsYU91zkkGXkqYQ6A8oUHdV3IfH6dBhtTqVPh
ykDVY4x1ldwv2sTpCqfhuI/TVuEhpVW1pd4vQBv5+3IRCFhc0PudnZg+z6MaH+KOpDkRKbkMxnGN
jv4pKBYrZUW0sFNubmHqs8YuCT+edeHZazw0fNMDcIoT5zqf9ihNWU20j74RliFZeXG+qon4Ojv5
RzKbluU/+Jqcts2f/nF8w7Bde4a/xLGgmZN0yfpmrun79t576TThqkqBW85RF2G6EKo4ir2LDut9
NSFPOAXT53aejdXFe0W2FCL3ODkCzSwMQRYtlIPKZQV1vvmPcqAM/unL4Gu8CxzPLliwTXW2yybM
gfpV8A4kxZF+xgbmSNtscQJwq+at95q6RbAanle32evFWyWvxxWnPvf2LG8wiMK0fXCTR3p63ezk
kI3jHvjvULpDU3NVgqFk3IQgPASDjy9A50Jrdacw24ObBBQ/c4HWzGUxOb8d7Hwm++v0I/vG0DEs
hbd/XKF15YOPK6IcZlOfv+LgOT97ylJdd0839iA4KSpSZj5ithLj6bSanac2XlAEn6T/2WRjrpPZ
6vhQfibB6dk3JupFZrnj4mp/nOZTlCcpQ1Mn43oCqRnej+7/bvf7Q3h0X1syCJ8n77r0CaoKKuqr
20Sn7YCG+voAn4H7/Bg8Kq55QQugJRSVE85rQWhsG1w20rzaXdiB3XHZrNrF1FU0HGwlItEv51mU
7BASYADn6yjcyvktGIk+PjgMrHe5dzi2CFuqw9REymDXgTbDbS0cnhhjjGmzmPVToY4M+Ib+mfqf
wR+TafGWr+l2LW5uvr4sS/gYKlyKZHMKOrfCgFT2jnxdCQ3v9WGYq16JE535R9tSFe6TTfLJ8YBf
+pqR7hK79gbh+dOcH0IMB+kyTw5AcNbn1D4ZctYUwihMJo8vke2gDCibA9SLjJIAmYldroagWx6s
4MAa1XnH5fnxyXKa2ZU8RlQVs7cyQgrFiSM58AyuS3GXrdnCil2RuhWYGg+W5lz0hpvci8yLcpqg
WYhuuYOTLfu1n8fCum5pwaKnctPasXC6pW0OvmgCOpC3k6zEp9w7zOqIEGHnulCcctcsS7cJEgo9
++RmD1aUBxIaJy/x01cDksk+TaPkGfFpG6nP1kYIKtIix/ASwixI99WiW+SzMTrG50W1L32zcKzH
THH51LUZJh+HmTg779XQeBO+1LnYBib3+zK8glmAMjFnmTLoOD+6LWpZM6UngoWWk70cl4VMD7zx
0C7PYfSHx80ISZvlOu5e1Xf4a12gOWgtUX0CE0OOfRwWw+CYIXQsaEGv8rzM3CEQmCxhfrPzbQdL
IntD6qcELWNLfpZ91MoeVe+8nRGKtOn5zI08r5jOb9yGxvNJHNMKhJiu7BIz4Bg1wjWgXt4gOFEh
LcyN1m9030IqSgsHKxEpOlYPl9JvhGWbBs3gmrJtAd9ocwCQFvOMc1Tjm295zS0oJMZDhf9hHlgc
HGGwnOY4Uiok6WJkAzHp01RXKdQYWhknFytLfTsGNzarr+Sp7T+K4vmqEYgGU7mFrnEKATiun8fw
uq3iFB6GAIOh9m6cWP3DpxocQGWXfZyALEIJBlQATk0exndYaVydU+zQO4kLzJqm8bkPwXeGMVZB
1sRJhpLATrk8XW+BlDi94KrAZQAYotuXO4Ed5xxez9vhU0lDrQ/F8ALTJ+Y1rHnoXjm/4jGYxzJY
yNWbGKmKfe3tBqLW5u+nEvUO7Z7OQvRjOC+LMNAw7L/rRpjwAarqVt12F4cmGcDP/BGAZPb8Cp76
HbKRTWmfgbr+ZFFiln9WYTBP1ktSJ9fLfmc+v+z3DyFMtb/f1w+nJayGuTFTxWEXM8l/n5bS7Gpd
y2wAYKTcO0Y0+xNlohcQJjBK3t+vZfx0VJJEie9P5iqRfXeFdW3WxuVUFVOYofF8cyc2G2adi0VJ
RAZAKnv2NQKWnK0W5MTNHmeLxWm54FFF0N9ek4YcDdRvg03KTm5/2lNkGDmoD/LTQ+zNNc1+QdAv
ecvmLR53MVvNzJzM3EB7NuH/x1OjnJNkGQNVUzPvC5/r6VDWGlmHOmag6CjOsxGgp/F0ZX4pfykt
tOnAeneg1XlkOh7233Emd69IEBopwS073Rf4agkP1ovpKB840uDeQOm4E2bECW+7OW1W1EB/RDb5
91p50JZG3B1YfCJk7yDCV9EZfVBCFvmFFh/fCqKDNulE05Q08nVsBWfAmKXq9tpgIPc4sVcX8vba
uWQlmsP/+xldVyCZmLQKRbLc756flbZXyWg0eYUjYXF5G8VF1wQVgaKmEVm/uRdrPw07RbNEoqen
XLz7JK4yE9PcMnRxJSRuljmJGI7kgmzMpdGFIsr3RXl21C+aKeLgKiKeUfQ4giTH9xuCnrQr1Ye2
j2gEmtlaItl1CEXSTyT/xuEDHrDuqLKNt3auxsmz8aJ8tk8dBwl2xCcdFzzxoT/gxr3q9Ceg6UGb
yBmX5Xhd0zaRb+4vM+yHoYLXPkAgEIcs3eNpolQJQ9m0t5mZhUMKwDzGg0h992Wctn+/0g8FNouZ
TP4ruXrMgjvo5lbeSPU798QnE2rYUlSTQUnMDhHPlAG/5WtPH3Y3A7gYixNRZppl3K8bXT0MdZsX
xiq7vF0a54CKgDaM+Hocf8GGjJ+uRLt+KugU01Dv42PFYRgLqyqQTt0cGbhfTRbDdVFJD0VxDtRq
qQ3soMEB/q06GdE1VM6SvjVOq4NuV+DFLXpGHGzygjxi9NLCVpH3w+i29aJJqef8oQrFw6KrZsQm
2zf8hVBTnbTHo/Ks4D+jC4ujhhuMk9Tx1SIOAXgE9KSKLECc59u4NMVYSraJEfdZlBrv10tvl2LQ
g1irFIeBYLqknBaRdHzQgIALrzwspMHVR/+UozSmLKFXo+trmkGWGNfDU6nQr+oA1YtfBuI9+23a
7gy2OYBpZjlZwXdVeHkauqquTHwLnYqKSFtlSz3GlDZq5mqgxpxr/cQjhW6VRWXEWTXCGuAWK95l
ztEvEN2v32IJpakOvx9E/7yjO6B8VK5W3je349ykY1TSfZEKcVUbHFNI6eDekCLX55OfpVw+f1Pb
jdjEh/MvW+A9B2p6LqYhT9E94ERgRXfzRh4ly8g0sqlYkeGR0xvyVAIFuuX+GBycv89R9YevDBal
QAwTCYqRzenP/4GCjeopLatDCrfRhV5EDsgOnqQNLTpGQ0VyTelQZkFfcL2SAs5bxrJNSGtCLtfr
ZDwL93f56JLTQrax9vIbTvPTCzFNSTNU6CIARMrdvqaal4teKgwRINFI9EZPdz4/Unc9ut1WtL/+
/izusebvB//Pq91hUdlFHY7VyZiu9h4Z0KueTPsawMP/5aFLPwFCnAlEiUwebOw17W6g3Yoa6o9s
TametDDkoI8vnhlryI+OkY5JNMoUr1r3rf16OfGd6wAWezC4WDh2Ea6bwUQehjgTWD66l3AIX9Gk
PUsfLTQJgAMo9MCIJB82UQHV/rVxMTvH1fyMDNAMNJSTvhrgCYj3sPfnS54X0IUbqP9EnvrFBm6C
AzTl1wFIAWVfuU5DzJlzV3vK4iLowhyUDjr/clwUmxoL/o3lEHLCQbR/Tp9U+y02V2+5R6uObJJq
eYuF4PZWPJOJbldLxRPoAn8YTvudDmBui6ltAPxG/Vd51Gqba5DO2vnwNbHA43Yt8NuBSqkJRv7d
0fFcoZxe9shCL077BzqeL7i/UwPvs9H+Zyzoign1BOdsUb0befJgiYlacA59XDwPLmzSR7QepBnP
vs6QX/TZF12AZz913o33HYDZZX9ygnXgxIUb75ei/yLSP+v/PDyMnCz/Pky/SUl3q9SUvQcN1tSZ
Esbdyeh8O/VX9dLhZ/KYzMyFHkyAUJDMtRlGDRoUYrpPlo3H9xdF/YVi9KNaJEvaZykRcgpJgTYx
NecVBxc9KnbY10cdQdimmxd+cYVc8TAmNDXt9N3an/Z000Tqvo49IzwvlHW7puLKPkY0/jgz2FRS
5IDkOOKS6ZY4/IA4KXONteaenWOggBmdF82yL385HYKc/net5imQWs+aRRdOuZtCVZsdT1mmCSt6
yiK0cinQzGAcPVHzFSFuu/lgBrc/VJ6wCUHBjnOgOoAV1XDR2yjnKbWHjdWMR8E7U4grnvxEMskr
MT9SBw3XNXQHWBh1Uj0TY0FxKtlFSqv47JD8Xdzz9eBm2kCTVROAisI6FoEwZF+rAx3cyOec3OFF
kD3X9CPxugd91Hzci2TJJUFFliZ7MngMVaABTZI/h8ERqmV8yCU3E2xwIw0+YIzHlWSLkn3UAi31
zTnnhHaiCjeYIUH1gHdEBV09Jus2OnqH5SQjB1lKbRT6duF/xPtZ48w6h3+6nQOP9AGSL+iK7guI
Snqv5tUyE39b36Zn/58RKk85LAQEQV2921Q6dFVCKprC6vSFiHV8BFSG/wKrvcdZDvW3ZnMosgyP
I9Df58a9Lfb3tLVUzn/kJdMsvp+2F6kjq2gqH1E3/U9RuNIdAsej0ikX0SXQnpSnLUmLW+K+50ua
efHxtV6FiQ9/6BUdRbIKf+GwaT9U9VO8GBUMdCyufjdQ6z6tzrkykPa4UOOT/V6EK/3k7BLbNs/2
5w3U97TZAenZSfge5W4U3AJ7R4gqMqP5/A1C+gfaEbwwitURYiKLDy2Ro6Os4f4Ef396P3WGLBnl
BlR0ulTm/YksP5jdNVeJcBfC5wVKqMpP7Mh+eqGbQFjdb0/m+2xxN0xYvySDKo/3pdw/Gak/SP2Y
Ef5VP5pfRQz+xHH5I4NZZOeCUwyA0Vjn9vZpZv1BTDS/LEHWVbaxxBfC8RgNIUqyubou40PUPFDI
rkWBlRC4EcmdEor7UwDymaAjuyLwoVG+kHP34I+QHR9JSnUy6PcLI2Bxw58Mtm3+qS6F9Xmv/UGK
40vrbJVAaMAkw9G9wyvNUuaW6QONXnbiu7Zuf6ksyDv777zhgRBHRzCCqLL78Of/OIzlctqc+0pL
95JkI6BfjrWDCQDrWgrvbV4/dS62ThdPeibu9mynMDYR1tH1cJKtjme/Lz2QFbMsGqLanW6HW8J3
L+JYOmJcVcglDouj7igQ0W40JlK0ezREjj6wjgqr6rwsvSysg+tT5iVxOa9CK1Aj47WFWqRKYMKS
B1fOS6KbVxDbgQOJc4mUr96/baUnFd6BffDLSPXUqPfPQL+3Rzbp5A8Dl/BQ3c0wIttmGGY71z8w
5AijchQYXZkPWyfEdQQqUxrCfEsCiRC1Pw3YpRGwgV1jbVmTeDD6etiyiB2dZomSA8HojMixDzCK
jNCV21exy3H1kG1tT86oW7twr2DSKM55Qi5OyOYqR5n0Wpc/wgaTxhpodvpDc3RvL+Mvle9P51bY
NjJh8mQVIfq4O8JDWRmGUjWghxQxZPIpWPA4yyVb7la54R4UJ90Kt+AkO8DI0m/hzN/z5j/zStco
TVV0Rf+phQWhExrRKIjLMx1hQF7c4k+Lw9NFcUZ+K5UujprtnIOXYNKD+Y3X/i1N+Pf1QfBYgPnm
qjatxv8expoygOokXbsHL3JBh3S3fLQe+q+pusR5GZqRP8za/WGNbYu9nTpOAu01DKGqGUldwXmG
qgnJBbZbMK0ZjaVz9jqP6g/jPSYjYSDaGnzX79wNnTdfiBmbDl2OELXbRve7TbMvHxL+Qmi4f18h
5f8u5pKINJi1ip418Yl3X62X5VPVnixl5/or1fF3TBWKJKjBUWBfov3DhsGmL3/ZQu6DPNnVuKok
AjYADSMGudtCbsownjUzJ+zhsZknSzpe83Yp0U10B1pXtXO1n3D7JsgtwNcm0AIhwC0G/e90yF4e
w80x2qDgFBEjIl/87SQm/vhMaKTL5ABS09yraBJNb8ley1rClqzVcYd1S4eUF9rJ1b48dtHg9rEe
EPbpH4KOhJGbL5e05JIZlsJe652jVkc6eyS9ADrw4UvnwKDE5ZaOt+FbkzXGM/5Bnsigqah+JPck
Ouh2HeAAXIOOb1Be5uaq5aLohlWbuLqtKNsGfSwffq53eKC3VN0cWJqmn60bfCaHx+yPiD1xafes
jGQy7W9fRnytKVfS0PH2OVITW37vPoe9uKOf+8sY+i5a76cH0BH8C8gHLPR35CKz0K6HtDObvbKC
8mh8nJb1sovKQFoaXvU4TA2+WI7hY8x7P1+eXNibZNZ6Z9sR4cGAK8YJKltESavfVg6V+Ov/bEEM
NVVCYQc1Zqq6/z13c60/nJWsrnYNKub28TqHxxhyJnaJr/zQJCTil69kKTwoQNpv0DXxh37WN3TL
R8fcX+LJkFzcqNrMIJ3mYvP3Hi7xFdfw7GsMeODEO6V7jQrSkd9rky7dbcV/u2wg7L1Zz3AHgqM/
pYlNcQfnNUKsGJKXa0IAnmthD5W62JRe/dpDCig8XPpE+7A+rNMVsvIVznKYxJlr84+OreFwcCN4
2hb6fEy7T699YMyanXKwhwOwuOHj9lfGFPlL5FVtmC76+Oor9nkOv0r9uiEBZ4d6SumS89Mm/Tyi
0CevPe7p62MVbx9pxRNwSQd58J8fTcfEkIWjSdTszDcttHwVie/V1VZU3B4fS8o4cCty38eUDxIu
Ub+p5sVSooKsppXv4KburkJx9npz/d3O39VO7tPcj+tl+oCN41pen3g0ZVyEEKwRbUxmBK29w2Io
pI3NEWD05EAj4TDfkzoSmd7JI+lJtsvHw4bo9eXRNdfW8sTUWT13ruDnNExk9G2pb2En/MnayyKc
70SC3b7Lf5gOivv+jv+9T55PQHd4i6+8xedVURNxtBi/CAUSnkl2XB1BIQzeKK4RS2FGLv3iGAkP
xbbb9XTImzBhSc8CCVWd+NitEehHAJss8TAunopFCc5w9DVezm0+RNe1MTv705+fgjMMievTwVUj
cb1GYbxV/HR93GGs5xuio6BdGR1qqfzr8nygnniDDoc74PW9/MQIM0gW4joL1BdrCe48w+Esbr76
D3mF7/K8munzhP9xKGk/hM9ha3JXWCQQaJ47Fu7tA65jDr8wV4YHUtBNTvDUxpQQ6of4qRWOWs+F
U9QifH0q9+cn8UWSw1LyD31ccnhK4pYTKmQTOpt4duECQPlj7jpOsBrbvp/XHpfASWHAJKHDuJH0
XwcspTj7nHwRrzKK14xiGjA3tzpNsoMsQa0lvSvvIuapEEMCbg34NoEDcwq5sRsOxVOA0hAeyDDu
FxfkpZ1zUO1j7t8wDiD66cwVHVO3Vd2nj6IZW2irnBQRYiQ3ImptETMuLLJYjlsXEEGsnaaNBjPU
pQXhVJcyzl80tmzMdnySP86yc9kTEjOXzzPp5mfH6ExzuXXLzNGGmYyyHXY+VY0S37DtfkShezGd
yRuhXRo+2XB+EoJ91TWks42O9e/HofRSKziVLqfR4i2pHZYXc3QkBh0CQkezpr+sby4YfSE3sk8l
I76xSKjaHojTU72DGHSqd0u8dC6Lm0v2dBT8qxVnfPZ83LTfIT1tEUtHZ8oi+iDvKG74bATzo3NN
XBHR+CvN5a/OJ1CH0U+vYpPhFNHNz/Oe7L4m5G4qmYoA6zKkz0CEGboBor2VkB8OBGtv6j0xIxcb
9WCzO23RWbiIe0MrvPpnl+B57wTmkjE0SQt2Uq6C6Gyi0+AB0M0wp40Iw8N+5kYfDk8eZ8RrBEkn
AMKHBhJOvYiXZnRY13BRig1Z7jhcIOSw6XqIHPqr8IrPE+6mGV3SdwMfpKCnSrS2V3iihHLgQnvb
fKh/cBG9HhxcW2ewfx6U90sgza9zPTaDZi6sFCJGYJpuL5tTXD0w7hmptKciw7P2ctSE2pYPxIWW
Vjtt9Cczambiul+P0kQyHS92A48KmPDdwpKzmyWL4ywJtGU1k/HllR+MRQtVyNxlV0+MbkHrZxF+
xdBW1womIObKXOVLspS2TXyLDz6W6QcnK2ZC/wgP7KJju1pzvOe6nc1dwOLp7I+n9gzv2xU7J4E8
imX41cWSJ98WkRZMaoh+nT9lTj6RuiCLOcaSYsSZLm2uzo84Usy1R6gRG/0Jb2c/DfFF9HEp7CAI
qTjjDwGzkJ4M/z1rQ9MELUKcHpsTSD0h/ZsVRKFoKo6Kl2OIfECfJCleFpR7/Fl5Y4c/+VM1K+fC
Iovg/yyUGPU0phccxnPWVmsm9nj4Qs95vz3VC8FpoKBx324dMRJ4tl2oDoF6DVUhZIPr98x9uHqn
DYIYXvAiiaHesep17x2PZAkzY3YLrP3EWigcJuaWu59M51M/9yHLabMM/pqwtZbJK+ETlV09KOEZ
V0F4W2WAA9/iFLCCzLOFyYmEsPgHCYJcwsMSXvFFLuYGrlLzlEbVK+5kk1H37bycLLuP9Ycu+Bou
FxSsuKs9wRoKoF+BR/eB6kx7SuWXzoe+0p+vOrSeU0hU3SzzrxM/JRY2QjlLnyZxE+a6pGGnkpcj
sfIydppnc3X8kh/40WL0YDkyfBmb/JHffFzjwFwfXM4BUsidU2viqbXEGbrGz6H7qjEMxDJox6F4
k81TTsmDc7SX+O5vOkd0R9cCHBifJQeSANwdIjmxeIt1cgUkNuYvyMgtzjBvh7CbYbFLz7SH5giD
rXaxElhos+mhffa+hq9AOddXBYwvPFhmlz0bqwPCTkG9Y3cMTHkOZap0Tw//i7Qz620U69bwL0Iy
Zr5lHjxPSXyDEicxM8YYbPzrz0Odm+5UqUtHR19/rVYNwYbN3mu96x1+UWYg2Fh7bkFQfCP2yRHX
wa3CHpnldDczbc0CncsBxx8qIWsSyKtp5mgLVuDFZyw4BI0QKBuM6B8lb1u866NbxNQmTEkSGrdV
ZVbY2dZYPBjhzLrGbljGfD9egMxkHJjjX7SSFnDA3Nilsx+dcoeTceww6Nb2POD2bXi7v3kD+T0k
RAe8Ng2uEo+ZqI2G06WnsQkJQMmtOflsMfzgTqxViD3kfBrvIt+iRQXxycXQl2iESzJIw3WawzV+
gzbKqdeQnYGLsmi1xxpt0WhN3H7lofHSzY2PSU1J1C9LMILvCcMPjpk1qEVE/U+eBBQQCbFR6Qrq
ZvJ0pocLdLXtlaQvdIG7kmwuxQUPMUY10XA59LS8MKbwRQyvs4It2XDvi+xV3huROCMASDt7+Ya+
o9gRPqWu4/l03TF9eeIOs30yFYFaf7fKOMIsAjEuNoQzKRBHkn7/9ngTscq74M2Z7HGowaEpkJZc
j5/hYTEeyuu7U5Cgk6kQjJ0k11yqpues3KR+dxyoSW8vHPRgWNQrysURQWaPODNTYBBG5SGaF2LI
h+OpQpZfIOJDo9jcAarZD+0DLAGCa9ua5BaJpaW+k0DEkUvvlVMlAD0TVMYvJZRDO/lAjhjVHovf
fsyuMwZAZ7907otHUKyGA7Uhc1ZS18aywTpjs32NmnkyXtu9OcpaQHfDYj/xlDlxxySFacoTc67U
CZvn94UIdiZEydkcZo8DXdT96eoY2yRYwsqvbObjS5gHxhEgu0IazeMKddzuWMnT4IL0YJkc8H6a
eCqayYkH1i0u+E3/V2l2X1VRclslMOfm+RyP6Bdcw1d65bKYH6ht+kC6OOkQ6mcfEjKU4GJZhvf9
hDw6CJO7c5QRYSOcYFLnG9y6IHGS4EC5Dd/lHPLykh02JaAGPw4gmkG3xVnp34gLbhZGRGrccjJP
I/kQk/2m6GaBl9UX7OLYbCtCXwJV9NKnlfP9Reoe5y6GNZmZOJaPbqjKK8XNZXf5LDfkqMFJqDyK
nHSh4Q7kMGCgT8ohthQ4vo5UbEoe7YRjTbrpDvI3D3V47xl4qqEaJrsnE6iJA2h29uXBhM68aw8S
7zl/30nDPkrGDGbix4RlkW7a7MHp6BivmjwTrugplxIaLwpy9q5k1dz3Z7SHCNRaMcTzEXvKx5LV
XpGDwZgj0kskv7vrKZfdsnMfb1cGEg/7SvrWF+bhBv7zVJ1Hyb++QX895goxa60B586ruw1opUjd
xBHGSzGx8jBdp2EDU7XFyOMXrbzeX1/S/SRzkBgwChBwh9dn7QnGaYdAsHCEs9s2wWPNAUKENxw4
wxbemWTw/MmL2Z+PqETku4W2tewdldLUNRb0JnPdZjvc4VaP8W5QRQqlhbipPqaVBavY15lMmRxZ
ReY3JMRkL6j1az4D38/nFFzn6xY/sQaTL9jWxDl3wJjjkh4C3d1evMzBHftN8zhQ2VJOTG7YV6VF
r1miZpWVxedmz1TmJNfMNBpHHOL3BjOGYslAaAwTmo9WasbiEl0zmNjXCCX9vvGwUjMxJKIk0EYL
ohSi68w4jqVEGwBOeyQff1TQY9HaBWBahynqnjGwocUjiyP0vekt1W1WqDMWt4OWWAiwGK0ggeNT
IvgRjtW7se6/RcWcPtz25omq3Z14qR4KgmxTgMDVuM3ZAQi9Ex3Bt3quRa+n/JBNCgnnaRugLqp3
mS3BbL/YvNVVOseXkEZTnt84B4GXuK0zunzxBMGNVY/LFtwSIyRXdts50mu6uAYCqbT1R4moFLNd
WoTZzS5m94s19R6v2F7AKXAxkyXUh9KaRJ15/k63uqEZub93h/bQHPqdkVvTh9Vjg5S6OIS0ottl
C06N4WvsiS4WYQ3DDWap3b5qR9zILglFucX8WDmAdp4RrlCIZWgaIWnNbgvsna0u8zjVOMxQZldb
DTDc4iAGRHocppCTMOXs11lUbruInb1Yi6R5PKEXpyCU8ed4BsI/5T7SRuAEB/QGZebluhhaP162
+2JpfFw/+8+eXAZ5yx86UxINnKEm9mnjldiesS7jtULhzn/TTgTKIkYni58CpQl0csSlksno9Qkl
gGqYUeq2ONGekYT2LDkXFeqO5MDfpABLYGADzGv2M9RHTefI8MvehkW+RrIQ3ciR+644r4mp/76O
93kM8+XfV1BExkhLRgu1XwmmisefSls0TP07HsLs8miohZFen0BR40gjXsFjUAymwre/itb5SmUe
PBlkYpmA5qCz08SnK5geMGNFkg8XV0DBBdEfR8O7PQzW04AADTGT3FfbgBX1+Xx9on3hzFsT1umt
MaEc7VLxxdzWy9w1Zjbq/AkfZtYHY7D4/h5qn7m2NpaaK2Kjy2yEf6pdzJkN1fd2s1U/xQ2OF9Qu
B6uGMkw/9dYeKbLDp2Q+RFNobNq36+vz1Gu+wigWwgSfJ7FulAgTR4r9GDyEbvjhGhoaGP/BTeSP
BeJrfbeZGcs4706cSw6IibHZFQo+Z6boIEaW4WB0tpHZV2020UxcuWE+S6tqho+fyOTOFj/6IH/p
YVtmTsKIFyoxzC3F0tGWs57gt99sCYRslVkyzI4zBvBtlDDdIAad7QpOlOC1/Hg6ontwg5XV2fRh
1BA8q01LwlNmG73Tfdx9MKtRIQNMOngxCvRuzg4Dy+9czRQjemquMg2mxiarbZkt8maXZ7+Sgttt
JWjuSEUDy9Hn+c2DrnepDjdobZKdJVaMl0EW1rlbpguD6dwUNeFMb3xKzOHhqqqfX/3sccwNjBxs
o4wyGbO1CM6rWPpwSyvuAiYKEvfFRmd3jZ2xKv0WL55Q2RST0hOnF/92cS74uE39C/aPnHrcWMT0
5BhhYl36iey1N/sy2DJGGrHVyBj1WCQJ84UEyaPqS9w7fzaf90QKs5IrlwZaqV80VA7XqNBYMC+T
ZDWRVlK7SsmOv2wlzUXM2greFDF6xF/C4UQhBbrea/Aw0wW93/1uFk3IbsOwrZvrjJFYSXBYBDdu
glyyOqCBq3MbW0+XMjz/YjeroVWaShpAGj9Xv445CqkTOwAsWv48m/KQu3xlvgLoTbs5f3Wvwlj8
Pef5Neju0TUPW2PZ0dY+LqeqXtyUSCg8nU6yP+aC98BOiYkX1X4TydKmLt90bRnfdk/o85V/vUbT
SWRQQUhjCd5hRDrdcgeSjtiwqO0jjdOtpK2Cc3htN2L6Ig5+29j9ZRtPrQJCTbbXUzTXrqTaysNp
yVMQaBZmWefeM4f9c0prS5Zdtm/1D3osjiflGZwLF9Pcodjf2Hm0V1Xza2XT0QGhxj7Ps/xFzF46
KgB50xLCi3uWEVb5Vr55enYcnqsp2Z7irjaWkza8yxsBGmWzroF+p2uMElCQ3K9+m83iNmx0L4Me
Z9jT2i3ZonI/m4a9bj2GowAS3exi3bsjmfqujIXK4ZCFBVv5vGATIpAidnIAJSEN+Hnc6UJ2Bx5f
4qaZB9KGnYWuOZO7xTmvONkCYi8uwxf7BgKBU3EWXdb6CyY9DGJyxtAu6XLy2Xmw9V6d7GkpEx9O
RcF0FDbGtLNSxWng8AG2JI6EeyhGS5OVPriYPojUl4Z3nQTZQnn6RRFWCivKnqC+0q17isVljK2e
4TL2R39Rxp5Q2lLtTUvqXzfnAG7ByuYCHeLZa2hlEydljjZYKiozZgScFBBf7jb2WujC8e5g5MGZ
U6iupLNBhJcknKpeaYQQQCusYKECqS50HrEaP35cABg4GqJQxakpKLFTzcOrxh5DUWmVetC0vjIN
qzp66pEIJi6aTefw1XvDwWe4G5MQ/RjvIGLI3cxwGjwhP1NIYGz+DPdSZ3i6STpPVYeEDYkSR8UY
Yqbe+BFBLiwbaZa07nlq961b4WU6weNvc80CQQzvos0zx1dDhHRU2AoWDZjcqnwsktvQ7uIW4lxi
h5qmGsw+92t+IEhCAm3HMqjKcW0G/GL+z7SB2z449Pk16d1nO5cd9pnLt7p8YgVIFYc7rDH6OvX3
GdRcNt1YRfBiCRPgPkfKrTFXCYpRiiQdsihQpgttQdDMivORfsqgsHXO4NsLvDo461keLJU2wIL1
u1yJ8+LY54BVgYi2kyP2OjcmwY36HPe5b6RYPRm1EYXHmWEahD8syTq/1gPcPppX9k7hfURTssVw
anbPIygYQz4U30TbfN3AkhnwuxMTN1hlra3pz+65VeTO5UvZS9SHidUOLoJwpu1yx8O26ODZnbSL
9Vw/v1Oqc9x5v2PARdnlbUO79Z1+Fgv5BMCTvNMC4g8Imz1GaUGSGiFzY+ZFuVOxVD1/3wxOd3hU
18yeMJSVcLi29MKeLjgVlTclEGaMXByJCb++FdZTW5gRvvBGWTD91vx8DhK2YPD3i5ZmiZ2V7RAm
7Ue91ozM6nfthE3Gy9hz49kdieH1ULvJvv6+Up+tOgIys895udBmWYiR61cZnTfZTveQXjKAnlDV
AHlI5pN2SLW+8ZAG+E03R8jT0MGwtyCjGmyIGg8v/Mrin+qU7ECeL7zmhZ0YJkXB9n7kgP0VzQ0c
3b9R6FyABX1EfytY2+wUzUsRDIdsNXgXb92uMtO6zSekA/CdZN1KZpSlcSTS/lm6231IJ2SW0eht
iaHqOxEYTyE850HV2rriMnXpQvIzwYtuQIesYV5myl66nvcLBrcZPf0FhS8wwHf5ji7nhGlvvRJs
WHEHA/yKSRRXhV55IQwDN1sfeFQnoKSxFGbHTyuJsnXhh5qHqQyWhklQj2h9b1dBSvDA6XLqTzqG
vKnFz6DSK+Ge0YEmgbHT3vBl9JiDYPKj807b/Z4b+isU4oHlJjj2/8qbmeU+Iv57As71jbMBtdR5
cM74qvW2IFBF2/UvoP8CBKuYWWcJt7Eo0/EsHiwJoAvwWbFuGgXELjv7ePXUOOHQ6SoYQmugS9a9
JYWUljsVXlSqlrH4cuuBwYaFV0h2C+XSMZif1RygIV8jOwF5as/ZBELL2WUCoSHDnB7U9UM4Xm5e
yyiBAWe1miQvQwtaQTTT47WdvD+SQ5GupOR01l0ZG+4syvW1lkVF7sV1IEqu8vCFh6UTxnJePE8q
KuFmrsVh0jAVG4iDIrGAJA2iFY7doRnTf9FWFycadSmSPkB0GwrDG3WvNUFZxwb5dK8tXb+DlrsW
wxZOv+rTmcvZ+tL7sHk62b9P7C51sNTHUZ7iOXlY9+0N1yaXfz2BzLEYAB5gbJhZ/IWCKuYz3xaz
FOoZLag65sZjJsLcRJddkbo3tTPN4V5X0Bhh6inmGBky2FOwdCy0f5XxiYAIcMxi0c52AsjQ2Jlo
D5plSBSMaA4tULMnD4xe+EbAN0Gbfo0YGQdk1u0Cn3/yOMgnmEbaTJ5jDET8jhA0YASfynZiQ5X0
CLL5paIumEPFDhr27h2YZOpd9iqWdJWFQ3wuWh340XTN7YnbWTG4vJwtcm7dPT/tWz2q0y7Q0lks
7Ma6mZ5Kw8WN7XKGOJzuVOA9gD9Ix9qncUHLyP7FBojbNWsPPqW0uH3Ey3Krie6Ex9ib7p1OrWR4
O2rz+KWRgvXVfFSqlYFPrq6v+jHztFXt6Gv08XPuz6iYfs+ZkHcOjQpfRS69NufgdMvJnOYKC7XE
u2XOrffjMhAmUUGSxd1SRp8v/0ZlxV7hkm5xYWyGw6BoyR/xsYIJPURwmW4Is8Fx+EO1L2QRtf8k
trnHOtZf+eqBQF/hDLRlHAFen/uSdkyxMOLn/pWz7KO21Y97ZSbReSeFRlB5I+igrDC86sgUa8zn
1+ONxpku5Qp1zPhlM3C3Cw17YWvM1uBUIs+GVq8J6t0VYQob6bEZGymX4GFSVfBvHzDpx0YiJvsG
K4HUvLUOAOk9dhKoV69swsU8h6tHH4PNPaEfr8pbZrUR47/gwUTUTFR+rejwgTNeB0KYbQPRBykI
PEGjdhvc4+YFs1IaIqBkHKtgJhMKCmePOp+HLJo54yhYAYzywS3wtcLtkh/ZIxQWUD5XJxLRt0PA
eRQ9TkwnaTfzcSa2lN8NSHFUAp/tF+MvCN6an+ILz4C0sB6QzMhvB/tiK+6sfovisH8RP37R9HAo
hY7dUsdVUXYDI/frqVc2VkEfCXsffsIL25a+wafqduPEdzF5YV319NZIg+bGouVl48R7732FFE3Q
VAseY5gFz61+THbIILPVHSBz7OEtxqusqwZVN2/QTl8ry+GCHJj7nb8AXV9f2W+LVc+IIP4E9IpX
5VFbGPvnOlliTIU7l916DYJl/klRseVQZqm3TrwNHcko5M0QXaQewEjoexg3QyHDVPkRPfz8nRef
F5TdA0WhylyqoZww4ZgDUHLKwj9vwKNmsUc+qT04zBeDJgQ3SIDejle4IS+SC5ECjgJ9ORTmKfmE
gDmwNUlzMY3Z1DLcZk4LTJlTLZsDkUyFxdWq2JT37Zgsfd+3+17D3NAeBwj4y6UM651acB4wRdI1
BHaAlOlbH2UrzkCVw4QYmwlbDHV97oK3jiCrU0ZlhD1AlC44MtAgwVZUxtHmFUEkHnS7Ka8nJbQ1
0WkxMZQ4f5HXKVagMK6qW815Pt6HqYk7IUjpszPp69kwOXKmz4DLpg+7ExyghmYyv99tvM147hd+
IlmSuqvWMAMdmZZWG7MuTmeyXc3x5kOXps8vxkdMpBMyaYWbBK7DBgX6SEgEYCbq8idlmwmXWKQs
ZTT8tIH79caatm7XuhA7h5IaO5AYy+FQrC9vcNMht1t8nV50SzXsILNiKS4jALcbonVZtMDwZSSo
jjrhQImqzJs8ZkU9q1Ue3qGvQPYEr5BtkmumovMkg9LW61DEL6B/E+8WZz/7Euki6BAuc0oFVudz
4jKbzigEO9wXrWI3vds39BwsT7adJFBDEPSpvqjI6L55DQR+Maw6j3U0ee+x7nuYzNNHe4Qv4ZX3
73niNMq/jamFiVBMUc2cvPa1zLly+ScEd4CgjAHwxX1CdK+tDEwXwbZscjhe19DOr2xtjEvf1IUA
+RWqg8lmBAjPvbkRhJUDP/R+wzgXshUzgkBYiq+UrlLuqldL1dwhcfPGM7JIvzgdGDCnF10xwFPM
IMK8dutBXTdS0OPgcFvp8vzebO+3RVLPKm2WAhfXxlv63NSiI+NZoZlTw77c7LPsPkFMaZ/SXVz5
mMHGDWCbm14ZAFmUllfgryivbYK0+DdPJ6NwPPZweZnx1TY4FA9G6nCVCx/8dwzuuwI50d1C8Kve
9zk+kELwPCVsDh9eX7s9R7IcPFCzpW8ayy5zFM2pLyHbbaHPDGG85FPAzGC8y9TaueKVU0fGxGXB
bSvUsYLMvsqXtPQ470u+CbmwbMr4QJPdoTlYCyayiT20zI08Zh2ZzH7HDg7kA6UAM0NlpWSnuFsl
gyfKL73gUyRwkAp2S8dApfp2XqZ47tW2vknWCI6nLzwCyZegKa35jTso9Z1Oz8svITgat4lvq2YW
JyeiDaX3KfAJt+RaEGgsVXRqfDuh0cS2JL/I033abu9oNkhpafh6UddaA3Tw2iIuaWiteBEnrnpx
KJuSbkmFWMxFyOEEUKhW0tk6UTfcktFWkiQngWVNW3gfzbT4ZgXQ2IuMb8TV6xrvcfabboFr9eT6
ckOefXEvl1nBIs4u7xXOhaCC5UdPO/BMP6V8oUJ34hZ+gYVy47gC7gb8Jh/v+sUp+WCgDtECB5zc
rJeka35hKShCCq/Gs47JzYK4n4124GQfcBn5ArZZ3taYYM6w5llcD9qaMVxxKCFxZ/415F6BcXNf
Xem92T2+B4N5J6+nqbLPhLFfPAPdmDeXuWwbiz7SV6vqXQof749FvOkIuYhRH2kjPceegMiZVFBo
gJAeaQG+mE6yynbaEj2nrbydDffBeF1yzqs0YNxm4XMGBZyjH3/55/w6lxdtOF0D66wQDPu0rwss
z50uwkD0bEaInILHvPAhDAWjMcfdH30SKxImrnsjmPiglFZDsFCH/cEYoMEECq0MTD/CdCwJOgVU
K0d7K8aPwKUpca3E60wfNo9LrqSTb+vGA9tVdoSG4TMbiZ/pR0oWqkpKwEuL4S0JxWDaY0LY9ZWS
jnZ1wi2QAqh0c+okaSVvzh9Xlz2athdJzZr7MGNKOmeHKqlIkamNH8ya2sa6DLpZN/4maR5oULBe
XN2ciZuvYhMxEavKq5ch/qY2NQ+M/Nar5+c1PAN9lHAtL3OBXJT2hQglp2O8gq3ubOK13JHiyJrp
91O7DOLlI8RSDRpKAu3CgOxw87oAOv47mSQmdZDdu/o8gxhsLkRL8XBbDd7W94/EeWvt2QM3X3Zy
wRXgLR1xzVGhHD6IA3zyNRv/jlQRHhej+btzXmjm6zGzl1AE4f8BqJP152mfHOrUIdi1HLPjGVeW
yf/RgvEXKRoWrSJrKsp8rDP+zVTVyvswJKM3NFgD2lVUXsj06IOcFRmnnvEX1q44qup+snaxAsS5
nNALdHc/VHf3c1uVRqPdd2yIHvQOe5TDEnHCW/DfHHNplBb+vJIyUVEMoYyBVv2DHyw9c6Wa3jRh
l81eywVpDSoErPD66bow+4Dz2QpR4HpV1LrgAycAhC3qJQR7dz9fWpewCgcTe5vPv7lx/67nF3HM
k0TsuCejruEH991ohevdmCrjHaCy2cv22xawwPvvby/+8dtPiRbRMcRHQfBDFf6oLpJ0aer77DIs
DKLHRKbJWD4y28fksqM4kixJ9Bdn4T1pTyCH8cdfPsBPW/5fCwsbgakhY6GNjOLHk65jTW5gQQs7
yXxVvflRcY9Uupt5Ty6WdkLUBo9i6coOvq/m8jY7zivb/XpwwEqmFwOcm+f512az+9gFzyhgPmcF
O2+jWebb28KSZzyru2+95MEKq0H8/l+eFq+bTIC54y32FilKm9JaeZ6js6vu+6PPEiusT2qy2pfn
h/rDsLfUGZY1hnH4E3PrG7Z/ePzFs+6Py/2fN+GHF011qadK+SCboKd8563iE4oQmM5/TRP69UB/
W+6SpEkTVGAyEoJ/v8fSxZCTrruPkr2DvH4dic3ucpm58M88KEtLtk/rS7NWFTQRz1lY/ifAhEQG
5V+e+7hf/PY5ZI3/oZpBd/9DZJFqvXybtKhmWnoFSB3Ky03cQ7+V9HHxtQBNRIUzFjNcXE6Hbg+u
IIp/UXpM/6SlGINuRnUATiT6j03tcq37UqxIZzgwhXFRyEQl3GsAQAdw0lbmV2cgDKVwBl9bwT1S
dn+5CX/Y5VjzItIEScQT4Je+8h8KtFZOz9dYukzm54hQtAXqJKsKx9NSt/77Sn/YTP55oZ8vWZWT
RHAuxrbIyf0GOdg0IANnmb/892Wmf3iq/7rOj3WcNxf9UdWVvIvs0jyOEXC7jyDwvJVTmQ6RT+E+
XH9Hf3mMfxBSiv+66o9NrIm7boibGI5HnNsx3tZC8iTdexJchruXXo+CyGwWEpskvN6N/UQNdADm
Xm1n7dhkTG522i6M533z3zfjTx9roqhkGqKYRqL105OoftTq85Kyt1LinCt0hHrz2ZJuhxC4hF6I
NRbUEacCdbi7cQeIuEMjtm3yvzz7XyfYz1eN/A/cddngEXH/eOXbLr6rT2GarCppc1F9o4/6KxPi
FTZ+NWRU4K/46947TLqLOLrInnCQQSofYfHYMPJhDlQagUzWQPEqxP4kcZX3/GOSranX/3LD/rBK
J1jKGOOrgM/zTxMi8Va1haRN7uxNxCHbEwhXDCGW6VxaTJetTU1IfVkgyO0i8e3/ee0fK/esFslQ
3h/irgtf50fKKwTB9JueOcP6zvfXl79UOOPx/fOhYNMzHZ238KSQ5X/vw0ZxE/TyORQz6fFigHgx
a9LhamL5mqd/2Wb+dqmfzz+Tku56y/NZK7bzpnlPpKV4WSRYshvN+S9f648FhY7HDLbKIoIr6ceW
qollUqXttd0ryNGkKZoZymrFwWDwPd9dMWwwbDH472f3awH/di/V0b5sNJFGsffve3lLjIfWpHqy
BxobIA6pZo8E9B0JQ/1tkPTcxQtILNB+bUQPGBPA5dTvzgOyoHbS1z0CZWiCoSp5uuY+P/tX0EiA
QKg6pf/8gFibAnVCN6imfvWd7sASYrPZMS6tS+tuT1+lwn4y/oMRoWoHOAa5aLcS2JnVdYEyh5Vp
XjAVoWVrnOtXe4togSG4QmCZvEx1elrBnYTaFhrQPQI4JdlwbnxONvpR+bx/NC/dX2vrcTv87XYZ
miGjlOXc0X48IqNQklsjl9fVjfZZiIETJckVNQZOAFwSvEw5jTGgcIQbHXu17vT1fz8vVf+T7M3A
Y55rU3pKv37/H+deUj3le5H27b6aoTF/oCw46YfHDvZUe7X6JaPDibnkg7VQpCDUe4wVTDmEPOR0
8EcnlmEaYxoHbEyfX5rDLd6nzipebuow9uB1If4KKlc/JFa6HtVUkOgcyW/mOblq8MLszC7X8HVK
ONxc++jB6iWL3jo78arYVtvm62H2lhhuyKM60AvPjIhgVoi5aMqgknKTtgRtvxAgu79ghYnUxYRm
Y8eaeRjjamtTJZplEt4dGghvGqLHIVhq/nThdKO0GujUGaNHJKS4U47i23LqXGdgNSfAXX3+eIV3
NdNsSBBRbV+IqQXtpwMkpoHuF3wpOH48AnyD0jWpKBu0TSia4HoTmjQyABk50YGiAfZQIHuQLJw8
avYM0annGdWjZ1O9m3tzGVAhl6lDQL9hMRyQBSMmH5x8gYDZIcXPTrYD+TBwxEunWI7WtL2bzD7L
pb5pfZaMY7gTEoQZ7yKUus2S3Qg9k6ppX/aY4E6t61ZCvm/jOoGBau4cx0S1s3OED2Ezay5mWAzt
FXuuwh/kwzdfsHIA9huMXZg7ufjgWNWLbIZXbz/DUyV8vEzcEV9IQrwqC/Mtn8OusaE+oF9cIao6
tbjnlHsVYR/JfngW6nBS30JcLjPUupHM37CvX7mbARSVtjgO3vtwEqD9WCQOnIkAIoX5+EjDs/M1
A5YLYaJ+nbeitU+Z6iuhET5A/+cEUaNd9bT3MSMYMqpVupdRN+KMQUm3o4JGf5hlUbvtoQ6+Zz7U
kSPC+K3uV4vsyIWdetc7JadLUL8yt6tM3NdhdO/BtQEKLod9hv0EhRJUE75KbCN8wXdkW7vvI1n0
dEYcOMq4F+PIO8QT1jToTRGiWC8Ia9Z8Fi4JyQ+p/XjpUYvnx/4zUu36tfrOAwoROzxDgGltTGah
eTpocPBuzZi8m50Zcru+cQICKMLrFVHMaA165sHK8/UizDxnWEI1c06qrdKftMH3tpmFheU3M2Dn
nR6bz30WnpdasFDdU3WAzLJkq3TfUFG5N4Z93oiDabKp+lii9nPkelBcI5E1FTsXtFuXYAryNFpt
MG2C4to4JF2jaQesPh3COuD+ksv3qi7PiI2qb918O1tvueddnepbhR5lK2EXPI+5+8k008ky83V9
W/dzIDlwwnm+pa4wyf3yhw2vgK3xdmZv10DpCSqOwG/929nCP4fP9Y7t7LJjwMWdAe1EMx8JwRnF
qryWTszMLwHB0wPvJiCA3X3AruRuYEzLowGqfR1jC2sGq4lziOft4bJLVsRAu9gY+vlltITxKi/W
TUaC/OzxB+tI09QQqhoTVZT1haWZdzxiF9kOigSFeubcR9zPYnZtRoTWIphMzMJTggLo5fDf2/P/
SqJ/HhD/3J5/1Ca5mqh6UeTtXtyCPH0XK/iVqGsILwpw44aAwRzZG7eaci59vGo2G7Q1l2Z1KGF6
XHzUFjxJ0Ky7FTHIdK8BaVWzBKCRgQl5bURlPVw2UvNzeLmxM1ERCPy/xC+bOZYp7oyXB7IX7Bss
ET0sTN0+YjoM84EUtw0yJ4s754oO7te7yb61DKdFxoPN9vWD5nX3ICvs6W+6ANDaR6oGNreR+Umg
0ry7mGRAIoDBDFtHd4RPgzUFW23PaLeL9i9oWivGQR8qWDe4C29IPaMBNCtzm1nPt4K3ioyA1WCT
/BzEgbYA9COPN/V4Eb3r4upo1iNkqrUmv4I3ku+7bAlEgd5vtwQkn21SnHi6r+eIxtshw2s+eN+z
6RbjYreZERbhx05nQdlGgf/JiYKT0Hl8Sb73JT8IkjKb+iiL+VvjJo6P9PdHrmAnoGK0qP60WdTE
7jFJrnm17wY4I2df26g7PF0bvM2YZB/1E9QPher/b9G2v4C83y48xdyBINIJLiw/6u57/NDTMpuO
bGP4uFgk0n5PqB0tLcC7HhPuNCqPHGgmKkQHxiRb1rjL9g4kE7NYPBaX/ed/r3/pj/fiHx/pRzvZ
x5NL2inxdY9QdHRU4kSM4Cvt6nWHADAP0UajN+sWTfgwXzRPXd7Czr4tms6UZ/KsJTE8njA1YQmt
/tY1yH+snP7x2cbf/0flNI2zolOmeFNkgeHD8bBlS1iiwAIN7meC+YG5x1jJEAqALoWTiXhP0rvY
1szBhQVk1XYzo84dTwjyzanK/f1AM2XMEk/a/fd9/IO/jjiaCJLBK1Pk/ebe8WyrbMgTnBe674Fh
g3qsZnDv/Owt2yW9aWwZ/70kM/FU7FKEdLIzJgWMOfGC08whR3pnJPg5aescR27MWVhFDAaIqtc8
3LFBZO4RbjL8KYR1W8g6+E0oGOmcd+TnhvESN7wwOZKnO+O8DoTgb12HNK7M31auDHwjythGAon/
+1FonSC1dTJ57ohzI20F3bc/ZRPvHAREkEnfReTCiDA9iiCLXLHxyIrNy1GCkIh8IPGNA5ThYPgL
6jD9FYb02+fClNXANYX28mfOqTaUTTVJNdz9ZprbwY90sxk+hDAt9LD0Me73pcUT5/APMar8eJvY
zQKOBQ1Pc4DEt29eqoC9imD39Ds/NF5nqYsq4C+ghIKIQ0jOZvrOHIrKO2OnC5gIrzFJWxlEOmTb
no2fwQ2BhzJRd+jI5BOSY6zORwM1ZaEHPXt0OL456Gj9atPaMIoFW1hTSt6WzT5f44GKu4SwSdf8
fW1TLXQGLRfM1J9MC78mL/BJwX3jLfs0LgJ+yiEEFYls+ngp+uQDYJ51Y2CMnTAUgyNZVZj+J8vp
W3GY2NnhhrDotqaKUJdoi3eM8wzSjaw7lY7kkCBlP19I4HQhlyGuM1UogtMB66dvwgnt21xHAk0W
SME+LWB5w0yHMhD6HmMAySNNyDrhiV8xoxgJjBZzQKQ4CODbreTkS575jAjEJ1IyavrXGq27ODV1
zgPManGiLxlHheS6NdtknZN88ReM+Q/gCnFeskxrrolTRir/Xq5S3jWpIueT6E7eAlGj2PZiaGBk
rylMWh5B2v0F4lVGXOHHQvzXFX/gDtM0ibs8Od+jpmmZ6JFkUZD16E1QWvJRnOTxfUMfhC9mryCX
yfDHuFIGq56UkkECFeM4EHYieCqKumT4UORnOBH/h7Qz224cSbbsF2EtzMMrQHAmJWoOvXBJCgVA
zPP09XdD1V0pIXjJ7qrKVZFVGZFyDA53c7Nj+zzrxz8Fqo5Ib1/g52KLUVIr52hT3hU53L8wmuXF
otXWJTMxaMWFJD2JoYqTO/ilBksGKIpC8E62HXFZsVRqDEd4Q75yZ1ls/EdAIPgTyPjWd4eCvsVi
ILLQymsZiytPZnICL6xQO0mnAsg2DBLwLEtxRlLLubz+nisqfE+LTms7WRYkWpp2lG4pnQE/NBD0
SPegvbu8Glvp2txcncprFaVrOe1xd/22QwlKEwsC/ju7YjammhFk76K7fkPDrn35/v7Gt/3I+n4V
9r4NRDo/b02L5HnPWVRwaG9dA+q4klse38Rfc/hbhn7ypmrVS42wVJDTyutj6Cq0HObYPjB9Lt/M
mRzd93c1TQcGXSEluiENm1BGg7Jpa1dLMNdxmcmXB5LG6OXCHX2hWL89tj7s4nLQxlKAQ3xFjxSE
2co2P4bd7yt5nmtDaZMdMs+arC/TbNhk7XN3fEva+cl6UrInf9gW6V4hYkdF9P+w8lyZGdo0piz9
RqxkGSxKO0ODXHdrnucQuRHal2uz8PxXZoBwwmIMcO004akEsSLm43xvZmMV5+QCVKPwWCyuTcVz
lVI4Uf+MNM6hb2/Oi1LBi05Jv5ETxY1RQQwKcKN87QseUNUTa1vg6Mre8m4KBF6g9nzrVk0zNyV1
Uef3l+eRfCZK/n4105JSKwVeWXmNQrL+Rbt5Se3dTemsoAveFi4+EO5+v1xbs8OV7/Hsd/LPM1An
r7YwG01SLZ42eGZWTpl0S/x8+c7ObpQGhHRJllTZ1CcLmF9pWsrvdRsVLStH8sQFOqPnq9wfda3s
zJeH+/uOCOehBwLSx9lSniodTClE6CCU3aagL6SNRocAk4Nu9icJrxzs/17Lfo40mT+xoWdW3agD
nmKuGK+T4c6jHqBfccf4++P7Ocr4eL/N0k6JlKKVmKV5dUeMAchdUXAwQomNYvBKsHvljqZzUMhP
kVhStdmwveFZVqmLRlqUSnRlcb42zOTBpYlZx0ZcdRuhdAt9x+th1UKkeXkinDFv/PHkpqYKRmCe
9LiX+od+8bR73c3Dzc2IhO2WK3lFHQrJ0n5MOIr20lq19u8rX5Y8BoA/N4afw09enBLHemn4fr8z
bkqXUOpPDZiheagAvnJseCT1uFO7OdzxlbTDlkm2x5aXdHn5Ifz98f24iOmWoRxrKcmamkeNr3VA
7D2A/Ue3598lPhpjDxBp8Oe/G3KypOhqq+gnOUBoXS2iYhkpT8SdQrFPUEP+uhofXfk8tHF7/vZ5
+MPRyitBl3f6IzJqr5llzxH5pc5F0f+f3JepgB2kxILK4udIR+0Y9EJuihvpuOtTN/G1pULcUsfI
C7x+1rdPQWvML4+pfelH/ppFOk6fljYyDcVJ0H80MHvE2AFIDvTu0o2fR3clxPvUY04uHAYbqBjp
1mHrbU5L2mnnEnZ4L6NGLnYU++noHEm4jjhpEf7GMCtt2aWWMyrnEeYlcwy852yynLSp6MzKOx3u
T/ILiDE/s4NyJuKQ15BLbNd4pkHl0/Ay0zjPHoEKazOE4gt10a+tpXYjr5OV8qIxDlq72YvvPMSO
vfpcLaINes93EMCULyykOJjgOQ3kq5H6Y84wSnXVmU5eHar0gwxerbunnhhyJwNAE4sbAdPoYL5N
QaZ36Tt2KBx8/RU7uMSV9stoSZgB6vSWVP9X6kJf5C55ZZskPLnvP4B84GKhZyT7TJBuP8X2u2RD
Qn9/5SHZLyLJ4QpeBPVDh5YlSMCkSZ3X3kE+RTbIfn+nJ4x80M3D+8neIZqCWmiLq+f9L2Hx9va4
v+2cT5p6nJh0C4f/r0QRym1SLFAAySR9fowugTg5Jfbz7bayB0idpt3P3t6ex39Mw84X1ulD5285
O32L8LOetWDU0MaujUNDUbSdFSTs6IrCq+DEeRoqlGPbt7fUWHjPMaeCnOt+h7o9/pO7ahlzGZ/H
2QMJgb1Pzea+ct5GrejpYRSTqmQUTs7H8/OHhTLq5Dwbo0bJ+Txi6Rg7YBlV+5mtGebVaFk1suSg
yTHQcUWzFS/wA+4DFT0ShlCTx6oJyUSe0cjXWECpWikQN4cZSAAgj+lifOUfQGLs7ePH4pbm3hmH
GAqF46UjTd8AXgGCVPIr3cgsz7FDO4YtAvH40gzcjjeICBTwWTgy/+F80SbBv8uNevbi85mFxf4F
1ppqTD5/RCd+oNGP+lGHCG180B2tmuLMWItzuuTn1poQ57exVp7krcij9pxHyVm/IWe1o2W76skt
REtxK5N6pCNyaZHrOxyfs8Ow0zfdrrwpb7ChR6Wob6Bw7VRk0oEbz1C5ocVB/ua69849WHwqI1QY
KfONGJJhLr2MjRU2nB0mMxRO9MXDvH0y18pchUnib2v+WY9kmHN05Oq8qOEuaFetugS4SqdZtuhR
DZPBdkD2L4RZT86j3NT20+/RYczCvf3ywiONq9mldWfcw7+tq5I29K136jnsjjU6GnowngtKiHyu
fAQc8NIGd0GwRlZ/edwzYTAb1rf1bhIbDJXSC7VRSRzlB05TgWlbVHXpRcMfNKP2drQ7MlM1pQB8
Gnhi3jxC4WVd2TbP5Kx/XMbX4/l2+8gixEyKiR02L7sXBJTv5lP0MQ9mtn0X2eR+t916+6udraHr
+Pa9uEFJc3MwrsoLzxh5/LyOyfZW6FU4lBLXobJYvQxoODHyyObvrPsUpOMFKRvh7pNE2ULZLTgk
0EvDmpJvt1sD1fRNPXNdR3HX9639B8W7U9FjsR9u6eFJ3csv7sub4MKE+aqIfHtiQZcbVaB2PecX
ClU70QG9HnVQj0ODpYm86SDwtZePebhQfZKdnn2HHnKPFPRepODnU8Skdaq9oXg8op4jaytu7mnJ
OWwOl69U+juP9vOZTrbUKENBJKhevzt+mge2txX4oY1C091BePVupTdhRq72+cqgf6dxfg46+Z7y
XMVmzAylTQ0xTX7lVFLK+2YYOyQeFdxm+nVUNlciFunaoJOPqexSkaCiH8ZAWzuu6miTtCScj3eS
fJC9xwERTT28///fqSxKCoBxSeEMb0zuNNRVL8sSsd0AVQY1ltVrr3zsNMM20ucjveE6SuT8yuyT
xzuZzL4fg06D7baStTJT5V38NLyQlzRutPti20KGmOuzDAzGiCZtnIcxCHn29zQA9V9N30AvZ/7i
P7CikL9fzlSqaIRqovoRlyPdHA/RLVS09TBTXYYfd3DxpdzGDxV2Qu2VdetMiujnwJMgNe2CUhf6
WtrVLv2Q+EhsyLcSboGR6ez2/to6eW6b+HGjk29JDq2T2YSttMPi+Y+xQVqCDmRUO8BXuLYlnTnL
/BhrMrGUWpY99MUyuYrjOty8o2Z0xV3ujEZPYzdO56rzDuNaFxLGtS/pzNjft6Uv5fO31a0q9bRJ
1azfBM19RcN/T/ti0ALSPMVj5n/IntsKYIcfzCWwRP5GzuimzO59yMGaO6CqV2Oa6XCrvfyxnZn2
Py5rPIN+u6zYE7TUOJJbCcyFnrisKrn5hCC3Su4uD3Tt/iffV913/dHvSQ6PUgOfR45+YE0b8ZXk
jXTlhqbZG0NWAknI4Ibk5r7TKR1R8FGIK7NFkaPrtJzGV90mQBYRvLR0g+pYGscHOa0PZSU4JOcu
37Z09hD/TzjyVbT89oCtQpG6ZGB+03FEDNJwqDmhYmjHGY7N7rXs5xlt8Y9tYirjt4w46ZSigguC
C4GhPJlZ65SN4ub1q0mToyT2cEGLuToMdlTls2FTIOzC11yCv9b1NIfj4mQFUKT+pKgNwo+slqFP
78Xh+QRFQ0hL19LrmZyjIu36Kw9r/NYnazCTUZMlzDmxgJlmwsWSAs8pI62jnVxTWOCWUlZXamD/
y/z49xjTfIZfRZ6P9Jb1ba0evLdZvE/34TLaoELEHFxyzI/x+JQsLk+DM40N42v5Z9jpsprqfPwJ
Sw+9hYth9i7Y85yTNzGMxdKjc2YrbJkjAGmka0vP1bHln99427eWp7WBxKcn3NCVDZOJ2k+3rW6b
GeYLd7jcJYsgdwb3eGO+UAF14iupLHUc4sKb1SbLTMDosSGd2o1C960F+6/yOM9R68MlZqx61jVw
J+9Gkd9Mw3ROzWuj3gn9Z0gTeKziJaf0865eV5DpJCAFp57eIb6o7j2mN0znkG84irxrsCgHISAT
k7TyKqR3taVZ1MsAFInBOtc5N9WgBbpubnSwq2j1R0DUXVuBxk3k0q1OstVZ3EqU80gfq8AbzQOB
Eimr6+vKtWEm+2Yb12EsBQQI6mKU36ocsyX74Q7OhDtweKXB1DGu7J9XPk9tsn16ZuE1kS4Om2O6
b4U/VkQH/ZXQ+vzq/c9nMv7+t9VSrRRLrNSo28TygofX9XeM0vW0w79f/iCv3cuYFfw2UKxWQ5eX
LDX5sPhX+rgX3ctDnE8fG+hBaKkaHYcn1bYsSUtZO2nyrngpaF9CbnkTwxWatwBTv0w0GvvWf9Pv
s022HIjmSW/a6YO0DlfifOhtCRlseS28G2ffX7Pz2zVN1qFEiSgG99K4/KHiXJN1cwDZU/BuaHeG
q7Q8XZk05xfcbyNOVh/MYnWtDeVhI2U9CKMSlNcfMIv3QiM5nYGhLTodjBs7Hz5agTWhZkLX1Gj2
jw/HzrNph7wWIpxdjOgtlRWUdaIiTkKRQUr1MA0IcQuUrK0rfcnAT4/HJR1+I8j68jQ4+6H+M9rX
EevbTFNMhHyiaQ2bCp/69C7zdwMOUNf8n8/0NrHBGKalEcNgjGlMbsqsdanXm3EVREgb7knmYiYl
7EHO07lYYKAjuSbY9QCy0OX7uzby9KjiZ5XiNcYg717ed+/K7OHh7m7xDK4rn98n5Kr+y9EmK0Qt
qH0saoy2ean3NCSR/Bux9yfnl+J4TuJGbjiPFr8vj/r1qf712dCUOGp18CfWJ5NYaOREO3pFu6mO
umsENd6ZdwXNGnWO+tFAheUv5AIL6dXp7oiGTtqL/WEoNxYsP421XxGgJfhgbjqyw8Fe7YjknzrU
Nz0GZKcSUM8Ygp0OuqgvzOJT0Wk+bGj6EsCLqHbew3kcPtMYV7AsAnGUzVKIx7KEQt/AZhW4Sw2/
oDr4SJTr5LUFEQ60SM+v7OLjmnjpIUw28VZTmszzGmkHqYBVgzQyK0b9Xw4yWZh5BYkYDLK4MUDW
AdLtF6KCygObXJwnFpdf69dh4NIdTT4aWW96TzmRK0wAP2xrF4XMU4uYjYhoWaIxJ/8ArBzk/ibE
fcmf0269pFsAQ6M3aTR/yOc0BF+b4eNj/Pui8Mwce4EUzKl/bk15k54qXzuJnMBjrLEskoajzwfg
+fjXmLK8dmQ4f0TB+FJUxvY33K9+DpgYYmFkR0p8abwhymoa3T7KC6sFdnyokzspWg7EXMmukV7L
YriyPKrq2QXy2/CT+436QdU8EVUapX3kfXR+2uG+X2O4NR/NXQZ+NWzylXefnyCJqI+ArGH6AVX/
yoa3lJUK/mwCtx6mM1J2WmEoWIFlm49/J+JzxjKNgQqXSYsFzdjGES/iT39eUsIawXPRnMIBTTH+
LP3kJ1O4yGmSI/FB90lJEYJcMtUkMqbUMebR7F1m9LEpebzijioPSjrSFeGiU23PHPEkxz1MFi1x
qnmLp0l6oHCVLuO9V9jae4+VEmOMllcC14Jqc5YuPu5oeZrpDpaW+2EW3Y7FKxXARL4/LsZSiOg2
W+uDZnTHuC/dEaEvct+IsmkEeEEWzYWoi9Oe33JOTyVVLnqUFtFqfKBjDQU26VdZasx14KPLwKNH
i8lEt2C+A1XhkQr8l0Y5QskeGXPtNnPxgJQE9iV3C5qSP/DA5f6fnwVkzS55FZxg3MXdWKj6/LiD
wedKSO9vyY7N4a8QwYj2Y0p7y1hiGWg4zlfK+vRgLLT1WJPKAS4e7TfaVNzEpSVRtz84tNI9QqoN
y8OxPETdx9s+f+Tk4OjJHGX+ZOE6RJ9UuyjPyHOFn9Q5+2L99gsl4UFEVT0iTnz7DeMLktkdaM7A
/pPO+e3MBjeC98j4Szgbf2WHYo5Eq4rT+TCvMeRDQ0rVDnks7SgamWiDguVILykW8SymbSCcxTMg
JuuMS+znydv4a02fCxAoqnQfq4cVzoj/eoZjQZBFhAgDB6zV+8Od+0zVC4tH/gbxANcUyRnTANjw
ehSYei4c9CYtVVFlUE06cioEDsP1g7WeaYt29kzzDkWqdOb8GlNkjxGeLfFMffbtbT17HhNYmFHT
5EKV8plCz7WV6ewG8O1LnRwAgkoxGqknxvjCn/BdxMv3hwXlS8mh/OVx8ZDILy/RVxenyX7fKEMc
G8eWTszCLQ1YRWyllkn7G1XzECCpfmoIq6hfjyxE/9UfqrkSXFP5n8tS0hGB7JBlWYcCMtn/01HY
qDUlIeMcTOkoolzcaoeCAvnl2x3v5q+1/9s4k7Vw6DnVqQH6GTFYjiEGSVF5r1qPVfR+eaAvdfGl
kdSfi37W+oacWH6LA+DwAskSVJn00gNkXZa78M57az7CfTZXNunaW2arYBvVDieknF44f9VFG/hM
0m2T/5IAOBKHNEvU30U7lzGY3HXrbhnNMXCbLY44Ooc42KI1bxwsCpTPsdIIUJFiTfFa3khP1qJb
qzSxjSwk6aCB6lXnoCuXRHFLc4l0/HC69fdj55arLJo3fT58msvyVnqSnqq39AGkc/o7gIR0LWty
fq5b6CkIOUxLnLzxPGnNPKwVcXwTnHcJRRCdcVLMT3fJcCUOGcOMv9/FP2NN3npmNYVUBcGoPm5W
I2zEOERr7+pGr4zXfGmcyTvvdLFpVMM4but1tDV3ydY8hHsQjkF+k3d2qdrhTsIoov1yp4EdjacT
+y/mVNE+GGm75rxCCJK71u1xP/KNPpXV5Vl57juTRY5ko9RPwYd7cmSmQUU9aX709STI0YNYopWT
rQR/8mvtItKZp/5jrEnYM3IiwlSKezq/KK1b5OQD/S5G8Ef6iYOaSqds8Zo1H0drrfr01coHX94p
3a4mPsqhxA/0MF6+/WtXNJlzdZAXah2Eys7KZyY+sOqsBab81j8Ej11wZayvxPNkMvy4/clksMra
zPJjIzAZ9J1wT17Q3GFnsu0Xys0Yd+alfXwylnI4S27SRwH/lmrdrYO9QReatRbW5W99qW6iR/+K
XPHqe5lktpq8iCJTTRUq5737urqhv5aGYhf0zf1heW3BPZee+PEYJnua5QVW0kmRtJEjxRXfWJsd
xl4llu4UJpRRAoDmKbLyBYo3RXxFwau18NWE4E9YmW4oJfPLc+CrzP3Xe/lW/ZwsBlGulbKpNt1G
uh/uaTelGZ36BZ3ljeEAc0d/swH9CEz1yrhnJ9+3cSfzQVMjrRIMrd2Ixt4s8O5Unkrz2UwHfDGp
V/BZgI02dnJ8Z8pjmnwUxJqdI5YH6BOkYw0nCbPtlYs6t/1/L9l9qdu+ZU9qxTPkLiTN2aHSEtc9
QFUIVKMzfPxmvh4Pwe84WoaD66H3+SMTwkf38Trdq2uTbul99VsF44wDkJPjUeYYG3z4ngJa+0u7
IO0kOOFilJU9r+JVRTcS/fFOskCQcaehiOmX8EkJqHDF+URydUjobUxvi4WJzAAUuavfYM8uAHNe
SAsc94RDQ2McRjf0Iy2a9agT8jC0eY0OpxltyQAlhI2/yG8SOkszt3h6w90IH0XarcQ5bYH0jvvL
/J4O5NF/5vJj/Cr6XJhT5iSIGhLpFEZjUVc/YDK7PW1aF2X6XqehcpjD3/Duipl14zstRwLYsl+G
dgXxeTkzesp0+Irt8Y62M4Qy19Ll5z9ARbEUjNJNWf9qsPz2hvW+1goqU94Opgcsh/2wrXfh49cm
1GCJmW+jPSZPO/aba0A36UxnHsXub2NPPv7ck3rxmKgyMOB2W8mI98i8mAWVIPE2Ih97Wor0l/BB
NOwOTa3NUpSFFhgGCzS9LEBn6I8z0shwNPdVTYInqyUQy1jMSjf0P0GfLsjdRCq2KZ1h++l4jqJ7
0W4SUODV6BnhO/rpUWoWrU5PgHXfCMI8bziQGK+1cgiwftEyeT5Umi20OD5lg3sKIJuiiPEBEmfC
Juu3ZJMGGdhBYHz0Wrqw8jU603lhYdwc7fuiQbIbynaipnQeHnNArwxEr0KiAG4f1pFOmf/kmUu1
EFZCWczkLFm0AxDpE7JCmbIM/m1qgmSuSxeF/KLLvIjk2e+QVIbPEVZh5JFj2LgPRVzcnIYHI1Xm
iYFguRBAadM8P/q/RXCLgReFJHQKeIXHrVFi1HRS5MWAY0MdKWtvxJ5Yjzp+HYKWX/kAvib4Xx/A
txc9ySp1kRQPUnNsNkIxS8y5KC2yaikgVsVcBMc70ZE+jq/C/fGgr4Pf1kfAu8cEl6jAJ/+Acgx7
0NAVXX817pDhe/ou/Ib3W9MCe2gBcx7BibPezDFvI1qxcKL+JeQ7LIF9bWtZN5Az8RkWis7O2v1A
+fm91Lf4usn1UsUy+rihqnqiLgbQW1kGHCjbpxMKw9E2VZ4bM7ACa2FRLPxN8VS/RI0+a6sXbFZS
4dDna025thOMYcaFh6VNVgvB6I6qcOSwM9YIwEfP/1WyHjir1qvsygHvXFD6/RvUJq8msk51n/Yi
QrnNzby9ez+5KxPFZnB/t9BKyBdb4BvO8gSA5Ob+z/Hu91K++/1UXNt1zxy8uAqD7C4yaREA1M/j
kKqf4mMXos0e1YqDxereJiD8dzU0sFNIJ2Qa23QczaQ0dGoLMIuHsRgNkFGBM7opb/oGWtC11jD5
vCrp22VNFyixO51in4cj4RMvsLbMQMz7q5eX3a605/O7eJHSvDpbzV/U1818TsPtw4308PBwstPd
HcAE7eiAFelvyQvPCeifP1ZoISHNv+1IUiCtPYDiYRlyHjim1ahltcp+SObSBsw6Xtr0g22Qgmw6
3CI9+yHcqG4MDBFb3LnPpKie6YRgKAk9x1dmbYdX+22+eAjduTWfh3TmP/j31Tt88mec44bFc+uR
2cHX+ZaeYxDMNvaWlf38rCzI3EAdJD+T3O1/DQ7UkyeEzJJD1eLefCaHJM5cZ+HehevtorL1h8U4
K9x74I8QHSA9zeBcY6EYzJw/LSUssMewHWAA8xdFCESAHrgHfMeAVB9nkNSVZQuoZqEpe9bnwPm9
9G0iTBrXt2RdXHxTgtfTjFTe/b36fA8PBBs7Gx4JMnbbN7eHw0j+ubxHnxMV/piBk6+uP56COlX5
6jpSnB6HQA9MvbxCJYSp28ipEB6uHYGuTfrJp+dljdU3nfwviW7VLjJ0biYa9pSo7oruQj6/qPz7
A5s25wueXJ9oTuMDA59NPMdCjPDLFmh89rJ2rg23JjKoqgE+zE6oK/fHWXt8FEeHB3z1klJyWwTE
SvIR9GRanxTr6crzH+Pqv1Y9VYRYBsSVaGS8gW9xiBcUNXQueLr4Ks1lN5uPWvV2BhygWoxp9yvD
jafLv4YzJLCfuiVy6B7D8W/D+WKaSaKMyDFO915LtjYtiMRm4Q52sUjT+ki5h9OkXMtrnKt5yOI/
A5uT+0zN6BTGsaQis2UVodsDPTB0qIfXleeu8PF0n9NVZu8jd505/RKU7uxw+dbPzrpvFzA54JT5
ybeyKO42nDAQ+uiQh4Tofmh+Xa3vnP+mvg01WdUTTdJroQuOWzx3vAEhuIRZrACs4gMzOu0NK5Bk
Z7rW72vyTfmMvODHQ56s20ndx8qp9aWNcqJG6Zu/ZAMeAYwrVYMWNYZiJDkc0V8F+ZJcgyl/VB4m
ydS+BQUyhXhbB9my6uItmeBlF/Q3sf4obzRAR36Fg2hY2ZffCYXMy/PRmmRetGiofalErp8SfkoU
5Utzj4JFSg5FAbtPJ3SJZ53xmaunTXeyZvQr+kSIYaCOi8WQvfnNa52RKil3R0uYezpm1XhGvXan
fuNr8lwfHs1xD8WMLbKWYTUvy8jJE2o5yeNX0sXCLb1e01pmYWkodngVbBA/RmBuyH+qR6LEVBwv
oBWpHLBJC0lmiwvZlG7L+q3MwVIzkaosHAU+eEbTgpJvqxuUMTi3dQM2SoT2DYK/JEBlQRifytSa
FKDxTfBrXHnUhRfBlqpIOuIvXr1lPIehNTdin4MUQ5yUbrOgWooKCamRwEl0HOCPBf2HRY84bhe2
b8S4jQ8L4/ScihpKQ45ZMo7QajEfaQqmEDijjBlhkyZW9170JODL2iR7ipwDCx3dERY/Tkt2pUfF
D6paQCOxP3wKveqyPJtxscjMT1pWHbnbxXFkS4YdWOYsDZ9QhFscy60UKi/+HTqNejnrqHh0YiSl
xnBLLDDWvjr0/Sol5IcCOVTWf2ZKAd2ndluczhS+DLGnRkMmUCUHxgDjnyqwNm1PpAVua/znzOCl
UTF8bx5UoI1mfdND5Ro7PBWldYfqtRidaXEN9Shqe97s1IEiUWDgycrixKGpHAC9VnfyEX8LvkEk
uRvdoqiSi0st0We9Qpfa6bcRfmrBPlVTV+wXOhaW4hGklYLZrMdi0SvrPldXfvheCbtRE3bSZ8cK
YoW0DUOsHKyDl4jsHk+W8BgxmVKohahuMZPIwn3YUt3MXFnfydjWpG9VeFshDMMkTNCeQlz2cO1R
mjmwIbUAbq7NFXLPAlC3J9pnOail8XEeVLprCRiXKi5OXmGxl6p6O2jEEwQemoiV3vHJV2aat6nQ
tUlHrBqMV4HooTffyvRwzLN7FT+itITGpQ9rSAZhxak7faNr9hTp20zsnYikip7DJUmqZaqjNPiq
8NMcfDqWThhRutv7wXF8X844IU7j02cOedjQdC3eXjyofEhXPv8fydwiOAJj0Ihfkc9V1SNei2lL
zGYu6uhdaGApE+2WL2Z62xXPYf7Id2blOzlcJkwohR6aY9UhOEjvCMx/VWa+Kg2EjBgFgofqC38h
cWIq6OIS5KU8NAezKue+CCqxhNIufnq4GibFp9J4bm8os3SlcuUcld1ExHUghbkmHRQDgT2SvXH5
+bp4mQ4seB/VyVp5XjIbZ0yJB0ZGnayhk6d+HU7JnM8yMfmOOUDVpwEd4Ov459p01/o48cWjsWW3
lGsclVj+WWKxx0AtgpG2T5Q7KgmJBY11cbxJvXpUBWaVaY+rq0TJFANnhDMZry3LQNHUp23YwAuK
zSfBP2R+f1MYnVPyfZ/42CIxuZeD8LUNPcc0Xos2nmvH5jbhZzX6rzQUnQCQ3KnEOxEOQMzhsQ0w
bYk+KszywvAI5WSNEuHKsn5tA7QmOe44rLOkEAVri6v0PrWc5F7CAqiysTo9/pbI7XiOT7ZBm2m/
scW5vKecz2T+s/tak0ij1rsh44s4boNtuC9+KdZDO/pS6LKNpfdGuMW+8AitZ3ll2CvxxZScJkQd
LgbHqn0I/wRbmWRgNudw8JhtTltsPBdbeHH3WJxeu1vxckQHOuBnRJcpHVXCXJA3cZEvk0C49TE8
D8mWa7xeyCmkN4SNDl1SOZps9W5wypgqZBoxB23ZgdCINwHJ3ra0E13Bzfx+lKuiINwUuK818tHW
4wpkdL6JOvoCG3zN8nYRxvvYpZcGV4B6WUb5VjMw5OjyG5/MVY95QJDsI7WxRVlwpJKOKlGcSUl1
m4uVI2Py05rFXSDdaXKKOTQ9kCyg/umhlcIbj+8q0J2jeBfh6nHUkCz4C08C1zk645UwksQCD/C9
KBw0C2YZIbrpw+70f3k55uM4m0U5NVkQjjI12xTZrWi9tojI/eTmKD9YOP7iGGe54OZw6hEcXcf2
LNHdvsrniZ9g/4cFoHfITn+i+GMoxZmvsq75eCLpD0PVOzysmXaK10NZrwzTv3IeuzyLzK+3/S0+
bzs56RIj/RLF1NKiPq0hHxGQlMXi8nw9m3f/91diTguN1sCK32tM16dmi0p0Bd4wJWF8eZCvLva/
jxvEu/xHxWpgshCkQRoOpil0m5NCdtyo3aAnp8jhq/DDTZ3iTdQ80hRBCJI9n2LkHLhYF35zp9CA
r6Cg9nN9bRUBFtf5Vk2bdSLjaQ/ipKrYB5FSF6U+t+JhLgqscnFWznrdmB35+axrsShhSnhyDM7e
YVW4OVPZ09u1HkSB3WAkewyw2wlJ8fT4WmWtvJUCzY0D40XFBMQy1kHkO32J+xViYHZAy/u4/HTO
p1kgjPzfpzM5kphqMViFcJI2Oa2+QmIX7BJBCIhSO9mahIkO/sE9JRBYGnaSra1mrau/IgXdSvvb
N1698rch3wTYRXGq45PABEiP2Y7Zagt11gvBssWeUm/7K8v7+Tn6z2VPjjd+rJh6IPvibixoZBt8
ZK+q0f6Xk4ypi7KujLT6yaoWeUHbdqJEM545K/floQluqoqM7UKUbryU3K8RO2Sfc1Rzbfzm0ajp
33mnReJVjnm8MfR73XqgloYplBLMrtaLxwzF39P6n6ubTOsulNpMa3gCx4O1HLEBIbo97xCOq/0u
2yiIUOVn4I/XYVfnz0v/jDzZ3CLf58iU0zgFy4uvBn93Kbry0Z4TkKMeJytkwjS0/soRWFINL0KJ
FZIlqyyeS6h/gKnST66vpWjX0MCruRUSIzyL/0Dig0yCU/VoBtlD5zSc8X97M8hHrw2eTDjdYU8X
/Ed5jH+ucZpOKCXit9JoQWM/dYoTxrNG6e15k62D7E+eHuRkdby78rWOX+NfL/3bkJNpbw21FUlt
rTzE9tMLFG8SGEAVRlcLcobqy951nKt14nMqxe/vYurZUGulyYmspRaPLIFqy0v2QhnWJPxdY0tJ
vVyZASSv7k906W/qR7Kk90dUKZ/BvQKtAHvcLQhbb+e/R3/oHfUAEuQPZDj/mHaDnZgPTv25SLH1
zRbGL0zqovbKWnH2S/n20Cb5JlHIBaXVRXGEKDXCejx1BxvELGIxLqmX35A0LgoX3tB00TB9efCq
hM+ymyOrY3GCvrgxPxpY0pdHOtft//21TAPcFjRsaNSi+vC021U3kDXs1a3l2AuTLG44W2NNcVhC
Obgy6rmHqcoaXlhgcnVt2kFg6F5iRN2gPoiL2W5HL1dMftyf2yvDXbhfqI792nHIPR/M/bXu83NY
oNGjghyepQNynXIjO0McZJA8/s66F26K38qm3KWQ5tM76JvPxUa8QbZz491maxlT0aUcO8Uu2tGw
f/kZnI3uVUXWxNG3AP+iydLbBC0WSZ4xSnVCaC8UNjfHWbaRWHJzevDN/VUp4LkA+/uIk+++N3vL
yBpGpDV5mf3KNiXc+PBlJL9fHUs+M4O/jzX5XJSGjp68TMRNqGQ3mYjYuMPvFAtmupJIFeVmsezw
1CaPuipj3VUp5V95vudWuW9XMJVCdSezkLKUNGk9hHMz+SzIqQT3fdQuEuuQFcDtMJ2lrwRQPIdV
DBB97/nKJZzb475fwuQVR9WxJRAP5U2nYI8KJVQOnhsM/rrAVUhhVNSjAiynM9iIGPNyLHCG7pCk
td2Ro7t8LV9WM9MlBXAScw1usWR8sY2/xeO1XmO+Ru5v0+L9pH76xX11AuhsvGZa4cgZeKLT76a4
z5rGzZWPk/GqnnoHeb2txfLMCNmc8NftFlImXPkQ5DGXe+HKph9CYSrHUubMOfLVyuqxS2ij7mQa
i0kfVe99FLvdMV4YR2yKPUSWKn4Uhr+U/SOCSlwkMnltaL8yzjeCPD9m4UIcuAXC5Sj2ZkcNrG+q
2TzX/+55GmNs+e15elnVVoYvCVupto0b//Z/ODuv3saRNQ3/IgLM4ZZJorIsy+mGsNs2JYo5i79+
H/ossB6N0cZZdI8x3XaLZFWx6gtv6GD6n/cYLWIVOxeDcJ6vrqvyWV5G2xDJ5t+4JD8eEd/m05i2
2G/Xz2VVgepbSUuqLpTxYvWoolOcR39q6p6XaAPpT667X1bRTwHz94vevNValZ/MphKkZdU/JqBQ
ywnRqVN0+0109ceMgqWqGGBHJVG8PSH65tTBDULMBPkXDogtPh82AQA2JjaFLdv2wHwD4HA+PxMM
4LXYe//lUX9claglShqCicSPN3F724/quemyYakQr2SLQVuY1T7J735ZRtOe+6/F/+0yN1tEekVa
tkgz5Z7ORKBBsvCffD9AsuoRCwjg+xt7Md8//P2i0yz97ZrTo39bOsLZUOOmhbtJ62w8kaumcOvW
GUlkRI1f1T8owP39ir8M5teR/O2KhpmXoRCxF9Oh0OFvnZZqtlasXwbzl+f6inW+XUXjma7xiZID
bebkcyqCXoUPqXrr+0MrrKdi6H//VPQYsUNTIdyLX8isb9eLLeUc52Mkrjm/UfM6LX+Lzr6kVm9n
6vsVbl7ypKyU8+WKUE7jhnvhz7gadU8609+2sI/oPGNRU0/2qQLEOwwYargdrRtugbbE8w59AojN
D1/iTMgzTZ4jyJKvcLSZ/30Yvp7zL3f5xZ//Ng5ydxmRW1HGZVZ7SbSJ2W8T0Eni5e0K/iceafY8
DGiDWMfU2pvUg5XL5swG3ZyXulb98t7+uHN8G7MvvMy3uxGuTV4goqzeu5Pk3vol23WY985nhrdb
rbxNf/96shcX/3BAy3X/G9GBKOaHl+v75W9KIVIkCG2rqF91Lz2NHgusp0654U8tMyXDoqjp38WE
Qo8BqD/2rO7EmI0UPbDIrWnQVKJ3PcuLwcBky6TKTQlTSaAcpZjUdvDrzpgMZ+trsRGqw3k8yn29
huigC8msaQo0EdFctZ6NdKsb9A1lea7V3S6u7nvc1AG6ZdlcQLq+UV7VPJvTU5Tp4PXniyNQYU9E
ZZ+WtEv6ZJcZVCIwxY7UaBGXdCI11AIpQ1YR8nUJXjrIHScUvxGeFzPJ5WlUTV9favDtr52J1V0r
2IkyHvl5OmD6uhITQkD6Rng0F8VeRj4D3Jxc7arhATnjMH7Lo8gOhcpWEf29hjAHVcNOMn0l0w8a
NfBvp2KdDMliNLK7tpjc0kN3uHS7geDSit+6Zn2ij1B0ixInGQkuEgez1GAETpcc+PlY0fZddcIV
pPrJq+RHFJkmDRl2PpNCk0kln7i0wnKlYXGCsaNaUOX7SWchv/Jyj5i60CA0KCWrtJmB9tYpSni1
RyMXpdbRvDPNpUzrMMpyT/8QcD0U49CH7m/3EoXqs+7XF3BweexMPbU4flXGj5ZUFmm3rAQhv7ww
zHALtCpy6BoPZB+C9FrPEu0VK4PLqNin4eRLnXXsSxkwMWYYYh7oFXkMrS4CbmcoaU5a6+K0P48F
sru9V+gGZHA6WlpwTpaNdnFVoBIKjcOGgdDC1zYlB6cZTIvcORn1QpEB4goX79rVq0vMcPafvdj4
gpIhsa9sy1CciZ8ZLk9aPRuBbJ0ZWRyW7cyCnnLZVyJ1tPOdhnYYNZ04ku0yNbxWQJljgityz5GW
e6FwXdDzLmjpMsqfOsCqMEGlDL9yHdGe+E7PKBMiYj81h/PZuWxt1EwDVspYuMplO4ns8G8HGJ1x
Lzwl2VNyDQFA4bx+lkEQv7Wdacf826nrjTqpM3bvtIiZ3qmDHg3rqYlcYZMgcNeVfByu80atvYyu
cz7MqzLyh443AIF9Vc7dCx1e1raTq5+l9Qqd6Ir/RAZqS97X59c+fRkYv6IsArpaLaOaaVBxzvTY
h5NXS4Y7FXEY8Jq6BzJj/Xjozs7Yn/EFyGxZil8k8oIpRJ06vIlouhMRayrYdlCdB7zzwtBRhdqX
zp+GagUhmjP6WfQ76vhYrQp2RueDfvpVQwNFKNB7/RjbcX0NUxfM5mo8rzu6hoO8j4ZD07sWnzYM
Z1rIlRMCD5wQE1KuLWV6rK0UwQC7M06hZzSFa1SppxUAlmXQX7kQxHLudalrqLltJhOq6LW70qdh
1MUegUS6IjW6nCjeSW9EI7YevUyPXWFn0PWJ0/CpxbVwp0/kILjEr2aKyyBL7FSfaUxS4OC7Ub3W
NbyCmbcOmNN0V+MnA51mL8KUO15oPg7pvM3JJWmfF68qhWa5RdCr3hed+tUI7KR4Qbg/jUAIyGD6
bjNVjDBnMKBvWt00c6mkbLurF5UeC1GkWNQxI5ep50v0bKRvqBp1QkGfmFI0tWu96PzUkGdpJy6b
k+5T611qY7mVi618SrZdVWzKUpuZZ3Vb1e1dKMdecda2MXT0szTO8AF16alOiSbSUPDVHckc5tpZ
mLEJq7wJquyLGQEfbFt6BXGrzNpo8DVW63nM5xqYjxLj7lhm05RbNkvJFqV00WmsdOGjMkY3LAzn
erZ2wjWbKWwTvCJaX/kVafWZTrkYngI90u6+9lhmTNE+hUhzRM2ftsYsNe/SATN6WdheTSTLhMSR
rtW81sqn6fzRwmwVn/R5WAyfSTcf1QaEYBMfT8mm0gwfsMFoyKtcoUlVXzeYxLpK3W2KMnNjdi2C
yXMXOeQjfw87for2vh+0U2T97Zzvwv4kXjqirx6O6GUegtEEmDw//VJE/ukyCqI5qiijPKzqN8Fy
aowpUYwhr5XtKbbr9SjaamvrmAzOeTH+/kg/Ysu+X+wmqRwIKJO07bX78dCjMsw8kBCsCx9JiLto
9qHa9kr6fDYPq6k856A45bz/khvoP8Uv32/hJuRMez3JesTGSEiUbUMMtS4fDKyYchsoh6/D6AEH
Jt+hUhHsDO/PStk/PoeK8/yoxfOZCco4xJR89/gs7D3Scdi0QglNWJzs3WJ4tZct2FDdeVdD8KYj
A7q88tLNUWLQfisA/ZhaiRogQLSw8N+9eZJoyJL2HJbSUrAWnPJKfAcxDWAUW3hhdnOL/Z3KLe2H
+vIINTMkMP37dH4R/28DY1XCCFsmhVX4759L1CjGemwFqBnCPF6FyJBHm3aNQv06PtADyl8u+3Qh
nP3LWgzEp0rHYLG8N7ecgdaeJMl/Lf1udt7G63RJlNYuemSe47W41Degtf5+qz/yhL7f6m0emp/T
i9UzWCJu01kg5PfZeaVqWIB6pL7SGd8tQ6QZkq0JAv9+7R+LCt9GSf7nKFlpjvRK3F6X0EUmCb2L
J6XzGLLU9Rc9eunHarcqYeVrioaKrcJNcG5qpyo0iwsTQviyMxFkvDpsfOJeRSfSmo/grcAOb/h1
d3lNX+PQ1mS72DWhncLz317uEHtrzsgr1A/nTXKP80z+ah3GJ2F7WkWv+rp5ClHeee2exqdoI+9z
sOarSnLDNZa8hmWHi37Wr6N9z+zipLqzNkKyjrGGireZ4LRHZdleOFdcYVMBtshXl125K33lIQoD
0AMlsswEUq9NtnwMW160dS4sSqTQn04PyQPkGRX9w+VUegL2KC+IYWX8gbfVQ6cvtb1wDNnp58KL
0vDJ+bu6ssARI22NCekyvzd96t1L5TlfKoFSLWLr8++T/GMf9PvQ32zXaMOk5jUtoCkdshUYoxit
+GX2bvnFtlw3sifcNbh3RStp367MmBI4wSrNx+VlGx+l3d9vRvppk/t+M1Ph9tvZEctCkakDxhF9
9SBfwRZZbGqcqlSz5G42ZhQOAf+p6jH+reCj/rjaUQmhpiVLJl3Jf14608Oh6dRYWfNKV7Krmq4c
OUoaiIjIF37aeRKyGiqUI4fICbHB5glxpzOiCReXqEIQ2a2W5tUPM78U8DnGVWpeYZ3bO2LnXSZ1
No9J1ZtlHC2s86ZDpQHXXgMBowaLsHWNreNTJZPS2KVpnxRfeP/70P6Yfqvfnu9m1zVOmhCFIa2d
5fJlvSaYcP37IJ3Zd/ZqBQt1ocFdL5xDP9/vf7nyzX5vyhzOQPCQF5qgw/9yga7oJQxp35fH3mtf
t6qHTefm/ILuYmnze9yE27HE8Zb35PGQeQTq6xINzd9bHz/dhyQbMv0tzcAD5WaGlVaz5Kg65cci
yD9p3s3yD4rC5rN+by2qI3AxPHy15//Hw3+76G3HUM8K9NMuvXL/oHFis4vq1Enp7Cr+NoDxUbvI
UW9OKHqiubOYfxruL6P/RWr6dtZ9jT7+1yruiOpUtb2Z97yujS6WTulR3AMtcilAoygTzUUnfxC2
pd3eveAJLtlXByQdFspeusoMCILUzbS700F/BudFPvSkPFR8bZ+j+xrV/g2edCD+VtJOeNcpaBFH
4HkHGUV7Dx3k2Cf1kb8P5G0xi+cwFAhHliJzfJimdrM1NEMoZJ2U493tVoHkxr6A39dlrQfFvPKe
uTZUGwXD0vi3cOUrkvznCP7zyjfrpig1rT6n5nmXD9v26lwNd3yqBL8LX1CrxgDS3OQE97hAvOYK
KrN499CymoHqeTJaZ9TJonCSBmhpcTSgMw4c2pO0Ow1ZL/pb4k6hEFU3d+Wkdu1T+OhW1XvfknHk
n6fU740ldCbqHPVaSlZh7RvqKhzcFiOKyqsAheMQkKzq1xJap8KlLNHORp+fk73UANMqNd5VwPwB
Nf2zk7+kx3J9pU6D8Aom59HCgIgT2Tonm1VRqETORny2MAZgPgtbwdUJnmy26ezyj6y/mRL6qK6A
xTNJeXNnGE4zpRS78epmb+nx+q7N9CdEBNRwrR6u4auRehjXG4v87NassCBW9wL3Z8G5l9eklOd6
n5695hWl4AkwXoPRx5I2mxk9ePpxJ8g4MOAzgVd0Qy+pAkb7PmCuZzxiYtJrQSM8NOZqlH2125i1
Y+K2DhN0l8xqIOeaKz/SO0zz4IpQvgA21LWEOQx3miQiwkmKLRUA3N2/r9JbZMv/rlLLFFURR0LN
uImZ5PJqjnFnhrTt/a9lGiMrdA9f7G5Wuo+T/vwGJljqAtQU3H75H5WeX+5hCpb+vV7/7x5ugqnK
7BulN7UQIoyb2/4YbBM/+MAH1fHQwdem/v1lu9//lwfM16ObxNK6ImnsN/pNUB2dorJoz3K/tf4o
h9Nzv89fdA/nkSMsChw0e7hPLDQcLeH6AXBEbX2X+tazOIs+kyBH8Nu4//tA3EYTX3dkUXwxLUvk
xm6jyngw1KLqNTRe8FBRFkglR2SJFGdjfKLpZIIXj4z1KX37+3Vv04v/va4JkAKFTEbiJmYXk+wc
JZ1gfO356qK018mfdRXI3paFkM46+0MMhCOlTwf9F8fazReerR9WnbeobLZOYffZQTG2f5OEuO1a
/Oe+GAt1ajSDwL3ZQsNRyCtLKMWtVc8GaQXS8TzO2bsqULjo+MGDXSHQI/tmvOyi567ZhW1QC+AB
1kq/arG07ykTOcU4j7FSx3JxK/R2cpqf5GV38Ybc13bNMNF2TYBd9S9v1k26/697v0n3reqiVVoU
9asUSd+ObQ/x5/nYu+cOXgho9fnf5/CntaOKFoHgpNmi6l9j+S0SpaMt5GGR9Kvo5FTxqkbb+kQg
7+fhXLgGCCTEnVsbvxzWNzHo9JCahqORKpMLwaC7mSBSPVXOmjilZrOILjhyY1SbHjOyyk79hbd4
m1j+51qEZpIqiZKKRN4/412h6dtabLWJFiguKjaKe5iZMznQ7Vdx/isrcHr5b/YkDWFSLjUl3ZJ4
M32FEUb5tedqip3bwWUNnmghuFrw91m7TWb+81DfLnMT7GSJFvZWjp88I9bZ2F6FC07d+cRd2HVw
rmuqJYspd8vdZHFdinOggw/N6mEx/oYU+2G9/uOBp+9/Wz9hY3QJHKT6OEn9XZ2KuGQpw1Mq3T/p
GoLTAkyhOxVe/lvdidsx+FrZ365cy+1J6HK5W9XxYzgoPtpX9KaK0W1a/88Ix344pNgRwwAZ+e2p
vd+m69r4JV7T1J9m3MQYmmhb/3eVR1RPXaZ02jQVAjA51DfeGrdEh655TpEaC0H6+9c7wBCza+pB
yPcfwn36OtJD7ebhKnmjyuGWbgoUZnOlPIVuw720vz5xngchKLDBg/viW8ER3TinWJ8W8Qx5kd+d
MKdX7l8L1+QIMXQRfPltL9mCUn9tc6lbXUNPoJ82M8Urzb7etobNYHWuJQr+aG3rwYVOaKfQhqx6
KY1u0UAwiGfoTWrhs4YmQ7UW0EWs99ce+gDQ1g9LhCq07EioAWOr+ZKPUOS3gnKyCoMhWkztwHiL
WlNnLhL6F6npXGGQR7MLQglK+WR2D+LomkaLmcysjg+n851QB2pN+W58jAjbz5XdG+5ZfSrgUfGv
NQvbMr3fhuOsMdc5MV4Z0mCUvPx8sulWNGec0cfFCLY9Qg8smV2NR+RVlmav0UN6zWH5MQLcZg4V
MEqWGpbXeEyri9NQ+6K50sghJHkW0/c42+l9lblG8iiVO7VyxXNLtCmizu+318drHZTNyVd0tzsx
ix1aFSBDLwqpUUVCaDgDx1FbIzPzEueLUHHZ5xElTbot1o6Filv2lR47wmzWaZ6mV9a2rYDukX2A
wSn9LLNeXi5bufRg0CeljQKo3ZUk2MLusdCm+HNXIrs42loUiEWg106SJI5SsWckuXNuEUCkzv9+
qV2tLL3GehJ6V9c/9YnetZUIN0+2RQf2as1V5fj3DUz5IXYDfQnHRpL5Kt86BZzF0WqFKFKp8qb2
crIK2tBQc7cv9/QC+fWh45OGx7vyYm9Wm8ahrE5NxMNgKV/+Kq/zRWS6Xfzf7ka7Cenqqy6Q2afq
feO7gDeuDrRqO0BXf3d9v7sbbQrPb9Zy+zL54HV/Hsh77tfxKqU0fkFf797Hbm0S4vRWORjmu7vL
Hhzp6RGHOGlPzWEVznf2XXoMdlVkS3uZNjLaB+XOoVVrH+L9p+DuMaWzMv+hLGblUtMcLTjNwtdf
IldKmj+85By3BiE7FCrJmPayb1sm9LxCUOu0PmqUEOn4Ocls0s4kp8N77al+yHVEmKytQvlQexp8
fHRWbOvupEep2bjmDStaZm+4uc2jo4Db2/H6fI9Ma2DcK0HvvEiFJ+4yLN8L++Ie0JiBBo8i3iKa
mQFNsHlj2IWHE41/PPukW5Rh+GXLW4zZ7Bakr34PyYJjeemJAT1KR3YTRClz17Rfh/XFZ7TihTmf
6oQ95mc9RmjCXMMOC+bT3IA5OYnHPrWgSeNF4+Q+Ff/2V+jwLe7t69j5PoY3WTIy3X2pXTh2JKr6
imPRCh8CPFfCbMspI/YPvx4xP572VDXASWvi5Dd/k+hYcZXlonKhYnFNPLD6nkmwpqaNm7Wj2xav
7cUrcuHtdE3X46je9dG8b81VroPsoC4nyN1TKn0gdKUn7T5J6o2uzkukjOT0wuhnmZOnp1+i2FtR
mP+MkjpZVqqIo5Ml/nOlaXHXSZewzI7mkfp2s7KW7ZpGS7s47TBw3JxQLwnXsRvuzCBdEZzUAY3I
A/RCYxMF3QPsAw9XZmBE+i8B7y0O9V93dhM6mWHRCIpCdczy+w8Lrp9dvuJDLgA0XbWv6Yd5X3w2
NPSeDRNgDMLeNmn2+ZfU6dfxuQmbqrCUrViL66M8M/fJfXrXYIE7zso9ii7eeZ/Ods+PDWl0CSod
0VhxNaI9dHe9pyqcFU53vPxpXsR5O/8N8fWVuN9uhcb/TdztVhhfzq1S5twY5/M9hCdle3lgLwi6
LWZLiwRRmHRt+MQ5/ht4IoqL3TLz72XnTVuO84/Wv1BDWWHxaLqz2chL6KTv+X2ygXD/jsXbLJ6V
j+EdQm0btICxbPIopy1BIbkgjbwe2eKC4MKOZ5lTExbMfsk7fkwGvj/dbcZa61ddCXl5tXqRERpm
mu51GG4UM7xwrvGxG7cFBabXRppzDP5y5v24++qapMiyblmg7m/eiUjg1hJFu3+oXNSKzxvx8+Vl
TJHzyS8B4m33gx2owW6HYDLZSQ7+yR2uyC7Hm9eN8XpArFanpDGf//KufsHj/jXl3+7rJmfBIo7I
zyT0I5Aq8R45j/apWvfjlvBoVlhvozWHtkRgHY9bIVMdq1MAap5tZShcs13k9aGAJJfsiU3+PmI/
7rVQXiTRMBk2Ktr/HLFEjeW61pRuRcwXY1ha7VQVBQpHlNwsPWjnp+bXpu30kbeDYZKeQgthw9W/
xC2/HZFRXsVip1yyYztrK1vfDW8iTWLftLMjKrVH7f3vj/hTJmxqhiUqExnFuO3GGP1wrRIry44I
TL/JwWn/e2FX+e0aNzue1WSWPAxdfZzeMcG+h1jmWI9V0ATpHSi7IRgBaBwJCpbIJD5WpdOu0ufr
IXf74CLZ/TwGCfAuIPqLoiD1cPHu70Og/JRCor7MOyEbmmHeliCGoTCVUyiL95ir4MYb6fbLi3Rf
0zp4KYL1W+3Yd0Ho/3k8o3VFGGGnrbN6bmWbsPCrlRP5e+v9vfJBp/z9zr4w7LeLAeVgzZBkWaGz
cLP+wnLIzbHRx/uldhj8onLxMmkLgv7aH31LQWeoCMxPxcep60V1Yup+pfNSIECC07LsdDvekeW9
n85mxbL17dXpDqWMwq5Rs0E5/fQqvHTOCVHw0yu90gnEUGUziOW+jteEV9Zz6TOzF8kmQs3nEHtz
ovxTTsjUzwEt6c4nOglLtLAQp/tNTe3HiOP7g98UaKRBiQH2Wcq9MEddFyl59yWwPMPT+LV7vATe
Zn7Y73le7zcavvmlF/nvQYfJBj/KgCZ1c205bM9Wn4/i/fKEa29HChhAXyeNrlDDp/ltimvrT0G5
3ws/lRZXRf0BiVB8NC/eZZhPVsKR3Q6OAsDBIcoJglTHpgtspwuTanSv8TKdxX6FOVHoxtvYTUnF
aL46fDHxCDgd4oPcB+fBDvUdXgMC3yApueRw/T0NlphrSB4SKb1ToZht+mjvf1hYTvf2mLuAU/Vd
hdK9EqgYeNAvdZTWF9JAAkuKO40TZ0EVOhaiMG4YnIX52Gzot2b0lsDOaZbbpXihXBv3Q0RNh64A
Cd2sDj+SgpYVf6WhrBPbSFGOw6pbjnBIlTmfexXeISXozypV+MLTAz1eJnhsOndBlc8LEYQdLj38
1J3ezS+EFOPdOUdMYIkaiNrNhY3p3gPPWkhZkKTc9jMJPVBZmpaYqgHBLe0U24EPK8cbhsaK04Su
yREfPgdnDJh7LKPbjxz0MMNsBhFJ43SrwiYiYijtyAt3BbjQ2L4724FVePeM5hVkWfc4lHiGAY3m
aAldXZh/8G8lr8Q626W4cHf2NDp41FT4QFT5q+nza34mjDcSQikXm0fB98C0z16HFAr42TPPLH2J
2l2Yc6Rkx7PPFwQLWAst4jnELNJE5EAOz7u8aG8VtcABn4jhkXXwoSHpMi2G9iMA2Bh5Fs3TD1TD
kwOto3wFUcEJlHxerjEqDynYIHaCFzNmEd164DZZSBKUBqcscPywpKkUdFnwgSe34DJ2KvvlBxW6
Jp9HlJNtiGGlXXOk47iNmqhPOCW+TWPE3Zaz/HhvxpNNNmIoE8+Fl7z0vpZqjjWu2zIOOMv49/fd
48kNKJ4eqHMY2ozRQ0/Huw93wb0P42DyAzd7HnG6QLqeBp+xkXP/7oIyj+SjSxzcd0s55iaXfbyk
2tzTNOsdGUEZMqnQ0frVKXbUiy+W7s5aA/2qXlFucs3G0444yNpovFCVcFqwjLY0/XFcU+5IRLT/
InzAdVtrVyFeEgZyRHDwI4COVpDf45iw6t9zNz8QcHneOaArvUDuwo7j9WsbXJG8mK7ROO1u/Iie
eBSnfhdXxsN8kTlTA1kITp5zNEObNIYixqsU+bicPhuz00bYPy88Af5o5GzqznZejwd2z3iPE3KV
zvkoCX8JK/JfM5whkD5iLbUAvG0TrYTlqzCbXMAP6eGgzzcecLfJkv359XDIEZcB5AsO1P2UR1fG
Q4OO/uxoIoblgmotQGYij4GLeGeHZ9simeVpZ+Bxn2cAd9BhZCN79D8KWKZfvGFkjFFqG9zN5CJx
Pbs0EdVoRpN8caZRIR2QX21mHb4QQDTwFnmDb4T+vspZ3Df2aZ8fzu5BXmYwkYCPd+xKpMg2fCw4
hdQNBd0+Vi98hOaekESM/Ba9r9CFQ271QDocg7zRaT5IcZIZOowGjUubUyX5EN/QFuKU0XL/fLhi
kJvNPoWA2DM79vig+adjMjtdZxxAaDUiY4r5NX9hh3cS4iMXDx2FQvJb+1N8xA5xhLjucV4he8vP
U8hh9tS7JdBczFNbzwjnVD4ifWE6keTFjWuOR0X8vFZOKh7LGG2CZT2vhxUAtBQQ/ZZeZsMHIYfl
tkQm5Wzy/7gYfNnXb11v7+MP9IiQiHvLoc/OGDFUJXubXmjicBfvRsDbgFQtdt2fVOEoKjj7eQ8O
8N2afi5xZBwJMB5X3RbAqcePfvJIycxQNtF0F9a7EXswArIV16bS+NzDEgZROz/Mk6MBWT5yGYWO
Esk0yonT9mc7OlTcVIRb4iRpGfnMIDP3SRWu1Rdy7JTxPVq+9jt4kKGbS8/IzVif5mWd6wsRDxac
b8RJFaCLEVtyB1TlgY2UaFD3dM/oQ3UZViHDtvmjIXrkShJmqQchDJLT0aAjnT+q8SGN52o6T/pF
m6buw1VFTEmYXZSX68wyKJS+RgB9DCrUSyVdlRqiwqsw90bpgAAOhNFUnV0kD2i88EtO9BPaATSK
rssKNQJF+krYvoXbQOTqONbGkR4uTXe4RXjYVIf7XS678ab3G09x5mFtj7u/R3bqbZiPRqQq6jLF
bsTdJONW2mhMrC7Oh1hdSpQhBv3RCjHvyi1Ynur63KjzvkiXppS4uLF6okZV+owviZS/1Mq+Lpl9
8PVN0c6QlBkUk5SE2kHSOdFZdOszxXCO+nLRckaYA7bbQAlpyKvqiDbKXZisTuCpCybfUlhYoLib
DCcCeKXbgdqsUQ/bpC0+a/O3cPZfvb7bh76pI2nVWIxSpGubBgk9NXo0E7IONjRi0XBTsBU0RyXz
LzBl/j7aUwL5PaLTCe4Vc0Iwo8tpwAbh+98m2VD7URguTQ4E6DgUC0KMSlqL8i815ds05+YqtyUn
CwuqKhz7fIVGoNEsoFkQUkXy7lfBH+VfPR/dotEjYRIPspeu6Vdj/NsD9WehiTuJLp8MG+W8TAg7
0tnZu26yoE9nwuEq7w0YVtmsBbUpuV00g2uQeqfE0WcIGdrXx8otgivBDEt78r46rQzARzOF/19l
fN9wdfA10s4StpHpmtJMaLzy7roGxo/6w+hqCPjTgm59/dk4+8OcuLN5rFWCqD8fpls9tuwUbMWh
00eLoZiJAvqHdvf2FeAi+FMgrsuGDVzzkBMFCHct2rhnt5JmY/JoLabGD2QEF7yKzC5mEa8SPt6x
77tN/WhyuGWciBEBsJNBgXKQl1sREybbEplAJxYfrqWNHp4Ze/QmH9Fh3mnpFIMZGB+skvgumm/9
N6OYQ3YpPzITFUKvI6wVi5V58ZT03uzB3CyI4EbHNx8uC5pEDYgi5KkC9VlUN3zUOQoydYa8+mkL
rqdG35AIHRMl2S0DiseYfsk72CdeSMsfIDmSDq+Nd94Ns2QWLyAkXZ6j4KN6o/ZoJ561SwXOQUnF
pKZ9M4LyXcXo+QggGIqHU+8AqkKxOQEDAihKB2gxMLrOadH1QZLMwCMDMRd2GTcToQrnx7gI9B7v
VXyaXx/rx35uKlStx8/K9q6Ke3qpeeTHi3bkgIWe4F/pJ6Aa7lYJFCOvW0f6rPSLjax6imfS4XH2
yVFDNHQAOFjjLcN19hpSRXfVU8apQp7DudnNjXctMFoEzlHz4YSkXzadzjmhd+aWy8LVL3MsTMEc
aySND1aQrM3G1hAxx0FhU0p2vRuYzfXh2BMaIeb7ToiRzSJQooCK/BjV59qTVxdstdx4fTBytjE3
xzqtXMnGQrG865u5ydbpAYbK0fowzzbkq+1n+nh1ZZ+PRJSfTpkCPPjpcFLt+T41KdnDYhB6B88O
IyACOYNdwsUad03X2lnz+nM5RAvzDlLw3zekW5CoqYN4oJ5kmKgFQ6q4tYPSjUzUzW4c7rMn/QX2
kD5D6eSyMXz4Y6npvly8TnLOa95J8s3EP82fTylaFYsNnsN7WDK/3M4PGwp4UTYU1QL9J4NF/ucO
KQs12veDMtxXCLXR/ByWBe/e2Sn3Cu5zDluCDAXvEvSf4xNAlhJlhBd9D0LQT3QHX4xDERiE2Cxf
r2x8PkRMXPal7fXYndyuYer8THYhOCrL1EFiNdsCqSMriQffv/dJRq5eU7ntZjAW570aFJe5gSWI
rW4j/Jt3ZUCp1CSHUpEJcwo1sAz6BoMzGx43jYraezaPN9fVZARQBtcGFz1fF3HUW1bzXbHM/1wV
RwDqrq8seKQr1d4MDt7kHdlmNqVxb2M5y4ZVdOQddj7SIwB8gFQ5FWD/3M/V53G5697CnXGls7E4
abPVyZ+6FxSJS8TOYtw5cw/bI2UPdnNWAPW0sz4QFiNuHviGrKRjO6eXfVgru8WTmaz1EEUOWkRP
+2FwlhUxuXvlzy9Q96rLJg/9/u34JA5UvObO8SE7ivqatwQnT4LlZXzUyIbdclsdlYuLbpO8fEo+
UCJYCI27iWf7o075OncSfE0xCkTvPX2Lj1ninQbIMuXjJrUxpFPRnA3UcPm0UDcXe6l7+pp2brrM
mezcJRNJbe9pIayU3DeET4BLKHiQoKpzXEHTB3HB228Elzdrd9q/PrVvpF+XrWn60i/FSelf4dn0
nhgKtcmpXzhhHP65LrtT3YjRIHT3LLRVHEQTOaFYGdssqD/VGQpK97qHhu9Mn1VB4UvzYf4/nJ1X
c6NYtLZ/EVXkcEtGWbLldEPZnm5EkEAEAfr134PPxelWu6w6X03NVHk6IMFm77Xe9YaMCUET4GjI
aqoj9bcZwMswPvXgBC8MZcVzGZwD9J25HQdmUC9wE/an3x0HIv894k1vRm1ofGFNFWgTyeCYJWr8
bHhtqC8uIdRQr/r6edhZe8zbotEvIysQfQF9nCMtC+/oF+QRak7ymrxqjBEx2/XF59wXoj6sCGJI
/To4P5jz/mFKm1WfxVCIrKgLs6AJh1fd+/n1vnsXbwD2+lxW5+wgDo9QY0E3c57+nBUcJ/Q1NhLd
zmHn7Q4gXXbsWQvpP+tODM+/BRgeZJD0TNFSISWZN2OPqtTwY6FkW2nVlilTygkgbDAV/fl7/luA
yRN1xFJ0LF50U7m5iqZ3eltBQFjF16WRvGkawAV9igXucr5T6ynTwvu7pPz7WlN9/0cFJh+6/Hw2
unZv2EYoQfm8zo/7y4fppnvV/QWT2BFff2le57+r4Riaq8NS8HHhAZw4BNBywhridhOe5+L/lW5G
jc1NgIEuK1T9cNz+/mD1WeyQ7KnFSko8oYMkAsZzml3qQML2KNvVVC4r5YLjoJOb/s/3/5unTImt
WvhZ8V9m1H9fOtfx5x8G87BIsd02lmnPfBo3n/efryLdwvVfXcSUbKsDzxKydrOapbFKRrHSKVB4
gc8rjLrJqXZiv3FPT9byvMjC3w899VAW3DN6uB2gfV2ZibI2uaLounEzQKsLycoNtdFXV9RsSBuG
XaFBJ5pb2qrM7xDbvr+WZpq8NSgXbgkqwpUIs27M9JWgemdASG3y8NmN15WRIkhV7/Sj32wR0IlF
tAt0E5QAt8smN5NCOp/z+HEpemtibXa27HrARyBBLprzOwXHP/SbqYGBHAshkoJDV27vJGo3q8x0
Lgcf8ukrnhah58vyEQ43SbP2o23b8KcZfbvvsl9jV2HDqJiFd1aSOD2wv9/ivz/GzfEiZDWW9SmR
DVfZbeTX1q0WmCvZ0sThPyC6R/jsvJkECh1c6yU2XFmZMXXJNkP0QoG/17QoL1ZF7Ffg9sCkF8EF
11YKj3A/DbNPL3XqOWIPWJgb6tEMJDnAynNNC/p4/iQdq1znmftsql7yyK87DKyPBRmsF4QONCUh
HUtgwUfgA4ARztKL/d5kPoevsNia/oW9bVMFQE3kbVDIn+fx++wFJE11VZEO1OWsKZ3/LvncoBp3
hcruPlC1U7Pdu43f3MUp98IyJBU21dcL+8deKMaKnjblpVi3+ZsJD68MjUtjj6If4zo/LsfmIUuf
7lzzuyf3xzW/WBZ/XDOfqmpsZLP1eA2vbKREyIqrbGQelz+qOOdrFTb4XlvYTbepEYS1xT1Q4atG
v108nGaaAmyky6zmv7c7I1GJXFH5CKfrxpLcHG52D73+9F5Lr2kSg0c/guhK/eNFv3PQ/bsD8vX+
uPLN4XM+D/KlkacrV5h4PopXypl5au0GVBs9d7u884S/aQ/+vuBNe5C0VqUn3bVY54UaJgr3UmpO
0TAUnpF8VL3ipvop5FTwT+b+cHDHmXHNlk1fBkpKFkEsoSGVBeKENHeQr5GW0MmTkATihArltEwE
egJY35lcO2lthqnBuCwZnnOJBo95xyk3wgJZvhFcZc27GIR6VtpKVlhjbRrgK9BgbXfmL++u2sIA
pZXrc1SWj9mRpvncvqYY9XfNsWI2VWCAGq+lnrmnXt/Z1KZz52Y9qISXYehoibqB9O3v9XA690rb
GUW21s4RC4EJmaQz11jfWfn/HgxTsKhpUOLA8Ta+2BR/rPwqLnqx0aVh0RwIl6SUr22MNi7QXgfm
Zch6EZZnC11ZTIuv/jzHISkBSrc7nZ7q/o6g+MsK/Z/v/MeHuVmJg1xoyTiq5ULfV5COe+dCBDby
w6eRsLOr2yOIukCtUdBYxODfmJ06pInzL7GwxJPDxCX6SXWueHyeMXLKfCWcCEiCZ7q6azjmo+BN
Y1/Lu4SX8LhEtA6xmzQRd/QvxCA2rmo/4xPCUOdx9FkfRxiwthCovgR2oS4wyA+gbU4R3PwLAh8k
fuyZnkGGsL7sHDFA4O0kD9NMgBfW+flRadMO8NPduXltykNanq+XgiLosDM1Ag1o5xeZtG8Ev389
ZY8CfespkpSQHQtXJNJ7+nhXMWgwFnpFv7o/zcdy0apveRKa3WsOkP+iYyWUeAQ1CPgSwWwWIxmo
mp4vB+tddPrWOr2rEo4vnone8PSaSLO+84fTfjQej8XLtQNuDgb5Ttn5lTZ0+1UNa4LRYSmo+Hn+
vfjP+fGc1iIQqzbF2hcRJAV5pn3Wi+MqJ0xT5p9qUS3qBQM4s7ZJsp/3Afj1rFzm29M6nV3COqxp
2A3SEpiPqTZq6Ba/W2KGHKh57lRLXzzEvXRZnJW6f/SroApGKunWUf2rB/KEDfzCDMeInLsVP85B
22b/88BNnOidA91V7JED4rg/P+h/SlLqUEsGZNa5BQrF2rQ1/PFONoMu5+Ol7vZuTjUqI+xuttfQ
2ClLLYDTnTi0hPZlMa9mw6p5+PnisjK9ZH/e+9ur32w8+fXSZe1Fq/fSy2GjhcQDLuDNvmDbt5t6
ZQN1/vhUvh82x1n1kG/ZTB/iUF/DEgjNoJp+7/z0cFlrUIyNj9P6TOaJLT0ft9U6fwPqVObXeb6E
gq9tc5h0o/uOfY79K+UNzjaK71+Zz6yOs+nNPS4nTsK8JSQphkoG2TYc/Qwu5dktF5OO1NjF9mV1
CK0ZVlzL81zfHRfDzNiPm2RxwaptWGJ8wxVh+tnZvI/kebo+z1NfihiTLJrw6lWrPCLn3jvY8rzw
FLvxYO/xWpu4TgI965vLXFmZVI+w6z0iMaDvVkHraxEoBgRu4L4IC7lIiiiUIsvVV6S5rg8Bf7HX
+Cg9PdqIVQzZ++wTGQ80kHBDQVMdLrfUd+P2tEBF7nRBs1IDIWRCHYxzLZCYE6tz0aXHDyov9jVv
cK5PPaPLK3+jHIFcMRA1bSBebNatyPS+ur8wWes7ZdNhacGsbinvjtySUMPnvLmzVf9DPbxdJdO5
8sca1btcbYVcyDdWjmla7MrpTMIPj3ETVtNidMIlSpUdfkig8Z+P9T0Q4h/i6+0HuJnC4PZaKpV6
6qCBcSpEh5fyrbL8w7r9uD4z2Hq7RiIwMlOIk3NZis/ZvgMV7AN+aSstFN+AwdvvM193jlvDhwfO
spRnCuHSnYqVxNHZMf96HDzilw9uQkDAoxSoSJECwWM9tjZm2hq2EvUzNjkMtZk2eXuLcrgKjq6n
blJ+c2a3y+RB29Csv47P6N8c4xUoTOttQBubmZrLEJuj5KnYM80XP46+4h3X+JTJz6mPM4W9ypBX
NiFs8PXxqXMSv6kA9u4pj27LP3BjKImWxSxLn7Dam72WKLs6SRWt2lzL7VXF0/2S+DioXUvPOv7u
Cgb9kCR/3mRua5vbS950vkJzNq1zea02dbvNs1WRUnMFnRr8fJV/BoRfl5FgmoMeEKXwBZv/sUYv
x+p0YVpbboxkV1b/ncrSlps9kplTMSO8qYAgKg17zLDuXPe2m7i97s27UabnXrgiQ9zUEtN688sg
ruKOKsA05pMmd16t7Mfz8jAsRbPEDUtwRuWeBc239xicTJxcBBTl1iynSuJzX1VJsbFMrO7iyo3H
X/WBBErxHoJyW0LydSlSdebO+AJhVXF7XFWDotSJyYGxFnxsCqjLqNyowEgCC45BBcxpLHuwyuzO
A6Ye+Oes4oiEZYmKgDJBv0UC+7NwYenq9R5pWoYavvzVBQRdhR2mQMm2/NUsCW/eptsaCa82rx4q
n0AGCgjRS+Y4bfnZBvI3LjInH+SFPynNNR8h/8LytYkXtZz+D1HrHrYBLgg+rBfEgLuL37rXheGf
XNWDuwZ/SQI0gq/Hiy3av0ubMFRcYUBsZR8qDO84f8Uy3Z2iEzvPBCifGHJCmrTVoPfiIItikkAP
syYs+B2nCN/ExfQ5YoaGfF5+LV5d2Kmu4XQc5zNSU/hT1SILxKCI9GU2RduBq2QRDGYP2AEeZxzo
syTktJnVGEfUC5LGPTM4LdTlVDidqailcEKwoWY5hB46ANfRwSFjlTpb/11FEmcVooaongsrsiSo
pes5JJBlT21EsBjoMl43m2csCDwMYgNzE0fEUjtsl37iEF/uHSjCr35jJ7AT84D6EcYien5fWLXT
rrnXo9xRVsSwTpx5/j36WOwBZvb45MOfB8w8h8JinFjjM2IIo84d19Z+5NBN3cERnBQhZuLC0uGQ
tjholZnoS4445xh+FaIGYk4Dax+kBZI5LF/qAKbaDgYJc3ZiG2UfNwDyXKhgk+iQoxW8Ch7JtYyF
mTXNMp8akmO/wjCq8PCUcvGRm5VMltz0jWwg+FZyKIZEZ1F0UtAExPD6g2eua4/ZtSOGuVsHsYe/
nzvuDkHpTU/GCiYv/gCCPjNptAQK09Hj+oTf5ka2VUiDOHDC0xM8gwtc+az8cZRTwmMTvl9Af6ag
dmoSImFVaIbcAGqQ0Sk5ksgqo2Lo3XiRBwMBvHQ5sCDxTphuundyU6+aM7t3jJ3lIZLhpnJLmeUY
1C0iE9HXY0QunttjBoKhDHVQ7EwmYzp1UY7cF1WBby0En59ZrK0/0a+s8LA4hzwjNyZiPuNuMzqL
4kXsK6v4kfSXSFs2fhvGPkk73jBLg8Y/L7zeHQKdUovCm3HWOD+6J88xwzpQ57isRGUA+2AGnceu
vRwXr25hzIxZR/M2sko4mLil+OL5FEpOFlAAMY1ltOmX0yfzYhC+aYxFPTcjuMJNaRbf3kynDk7B
JB3WgzgYfMNW36ZS4BgavknLxjKqCLNmYu/q89LVgdTI12MxTHKO2mupvaRpCay3xRKFGWvpMIu9
gVazjVB+zY/r45o8Gh+yVgtjlbWX+j2PX6FOVxndlMiW0f9Q3FmRvkt90Tecq9cGELJWsJlWRBOE
1Ajzbk4xubtnhPLF3vi7nmePJMmec4D2HhOBvyu1+pQWaZFn2GHZ1rpycWtjWazPk/ildGLyDaGg
Lj6JJFxPL1Xr4R+Zb8zPScOGQyVt9cHB+eTBeGSoRCV5gHPAYBYTiORO3/Ptbj7JWTB3M2h7bpnz
mXQpEy05FZvz9Q1D19wcnNxAiXh58pnvpixVuXBh3MT6U9kFVv2rxnes7Vw5bJV523/gKA58g3m6
lMh3PhtoyDdHjYH3KpMQcrFxGPj7NsZG36nl0aj3sle4l2hJIWdnEZ4trwcnnrGJb6pHJAjewBaP
FosMDGWusDFcwnKJcXR0WJ49ne0eWV948C17Wnk5+xy8S3LcIX8EOrS8eHmKQJ6cS7QGy9jwGgaF
p3vwZsIuIELIU+0PKLnBtNvGj8kyWSo7CHSuMTtGmSuFmTsy2B+4puCJfrUcw5jWN0avCCEyGLwT
FFLBOy7TrUTefBpc+evPfjwvZsW22hPsvG5pPk5YYZ8XqHc59AA7p/dnmT+I4SWoWdMlT77hPYRK
xo4FERdIhVOOHYO8J9Z+G2RLg30asaK6EtzPgdbp6GdBN/+5zpoW7u3CNsnIkizkNIZxi5iqnaoK
564oNoMEe7gKpFPpXs+jjdnoIPz++Vr/UCymIge9Ijon8DiJKcPfj7876OXQimW3JxnH6XblrNvp
7yK4Aql0Dr6opZM7z02kynars28nD8QrwkKpA0g3mNLN6mD7//OJmOcYGpNsBRO+vz+ReNXyuicq
bA8eErQLadHBshaIIoGuBOuSR8JWumwWRTgs22XlMDPGOXIMc58J4p2CnqHrdw/jj09z00UcTrFB
Bm3S7NOnelFFp9fRcjrRUwmuNmc0XO5aWyRH3NKOq8tC9U4P2VqPphKonw1UCThDP/zS3dyhukF8
XH3kQfPW75PZkeOydw8hQVMvyu4yo4YnvHOlfqJaIBT64r1PzVQZ9Z+t1zOs612I2CGOQvhfvSNB
CYSNuYqdsyc8UFmgJsc0UkMEjPwMQ03QLH9wcHNbqs9d+B/gzxbK9xhWzmvsv3Omnm2IjTn5spFw
Z/V+g7OY4qTC0SyTmllVb7qEvDhovXYu242RwSgaZPcom7Z7Up6McXT6WvLqypgXR3GWprjLnaR5
W80OBorXdl/XCOkGWMBRcmS0hMn0WFp7S459ZlD2iFbjBLehLwq3Gpgg4aCt4R5b16Lfm1lktGL4
81rU/63DTVEDPiaQjXHtP7YrF623zMKEcHn28jxUKyg+zvl3KhAc4jDMKABhkiAevY4EVwy/C/uA
oXaoIo14iZ/wk095zth8LDCXpkBwdDf5lewN70qgjE2mLpnAD8eX7CleH3ZpjKFZ9dvYiv5xc8X2
zyWh1fRh8ekXdLcqvw3mDl7WB87xyy/BLe9AD/K/DbMJ54AUC5plUzZvJ8Zn+VAe25KtwESw4V2f
m19iR6FpuhA8AiS/zjsT8r0O7Oi62mJOnYWyVHVeLrR6mDfMT3dmu18Y/d8bIQZOUFIRm2mqppg3
UMhFHAXpEFvN5lBBshpU0CBpazSk4uBRVshaWOM3PsaZO8VQV3L1aJZ9ZLIKKuldKRrcwumCLvVH
N4wTafYS80JJ97rEf2FFU5bw1rLU/8EbbjaItugs6cL6eZyL3tGzdnJU42D7gADgXpaLccumMIAx
WI0q3oW4MVD6/L0zyr2haufrud0D/tLqtJiFrqtIdc7Ly0e5P61hitLybchKGBY5dFeUQaYGsx21
NnTCuTZP3mL3NJe2PTBM/at1ko38WTwlkbQboQKIIMiNT9nhSp40w152zP2jc93qa5AgJ33ocLio
bCq5IF41H9dX82gTJJz9GjBUIcp3U3rH35rL/43HybI3uZuyO32/m/Xw1/e/WQ8HPR1rokfafesP
cJASO3u4zKm/X7Fnx32lw2/g/Czdmfn/I3T7uusA1mxmSEDV2yF81yaDZly56qWzhYmz7GhTlM/5
ndf9TX6SHru30zp50181hnuJfcWYAvHga/M5GVuxlU1TGCpw+C3xDqlBFcju9Xe/uGzbQHw+Edm4
xy93B3v+570LbP2b2wU4hKkSK0ZmF/t7uRRHtWvPh0P8iKDUkR5wj/BKe6CzOqR8fuPh5WN3ClkY
ZIQUc8HxdPczolx+Bhmz82DzPDkUaQjaorX/siZrJvj83GChYXm7AVhgygHEtMd+X73aO2RYYWNH
n0H0Ef064ewceFB26XkgrdrB58HdPAe/HlM7CLzXDQyzKOjcwkb6NHrR86Zw7VUAn+FD8A7+ZrM4
+3AaFr+ix7c4eFs/Ws7nQqQ9x3fP3iT2uvfk2RsyKcjAdJMMtRiV/ZqoLdAcneeTuzO8N83mI1te
AYyJpyW9tpNHB7rtApGL5RbLeDV1LaFAm6NFJF1Nhc0chdOkFEl8Bl/2C1fw/c55yoISjU3r2atp
dVPxdo6+2r4so8x/e1Gi7WH2++TMewfrDd3TIsEXd83kd+HxY/JbsefmNNDbluH0Wyp369jpAtsl
NIPOYvHw80OXrO/2iD8f+s3p2wxqgjI6th4VBPrIdN/eUvvtibZ9i2aBf/Bw+RC98xR5AvRjf0Al
iYLXBKRAtxfMKy62/4HSnT9qTE9koJJZU4UCMQSLSfW1et6gyrPXAyGgqoNQ7+2FepgXglnlQPkP
soQ0LwMHwmndwyFm91xNf/HCe0j86e6P9mzxOZXX099peL8OYAPB54K0lRQHkwnToN/8PXOCX5w5
wSOsXncXvD7D7bYRXz2gSpphC/n86xd/bAE3GwuT2SyIoDzyKbne5nXGbyqwjkXVs/29x3wRUOME
mbACATj6dLb8gvUKFmM/8cz+S9x7FdC3z0CDJ8wWDdlDnH79D3xWKuM+z/S22cdvKQkHgyfMKyES
KVJnpY1yY0v69Ifssd+iHDT/EyAznxx5nUSVGDBAumq2yebrtw6OUhtzZ7x2UOHu5Xd/Ddpvd1Mm
5BI+uJJq0kD//SmzRqqsQ1mxr/myQ6IMbII3Yi2eVawRkY1OcB6uphDkbGmlP3YEA2Vuk6B08lXF
7jfjJ9ZzzqPkEzjjtKH4n8mNnm6vFiV+AsEGSHYB5LXRXstyZnRLM1+ans5rW6EvtJvR7WjQkY/d
ufvSd6eEQUMjTvUn+PjN99Kl+Ji0FXG4tasHeFkpbt+wIAWHOOQZsKX+Yvq/n+68d//2bCYqJVOS
8T+g8r0FIxoOj0tKlOGmvK4V/f10farrmdbOC/G96We1GOR01JfVadjKzVw2t9fzviujNrvz5b8r
mWSDFAKZQSuBaPJN85SdpWMNmYySieoA1ze7yRXNJtTZO0vLuFqkcsISe5JOtWs0zcOQ5g8US4bY
eLq1x9YrSE6CW/SkHBI50eXddijuwSHfNQgTpR/6nDxZN9yylTHu0k/DmYoJZJfg9dmL5nc7MFqb
juWJ9yWaVLqCrX0mc5jwyxoUkCkVhmHLBGz0ITQEW97dpWd999LCIAQDwZKS+MObOwcZ5tAlgmQ9
XkBBHlEWzDf4gzLkoP/PMAe8u06ndXj7/gHy48xKujGezDeFY3OKm1o6ahbHs4wYeFIAPz/jkUYT
9/PiVL7pYgzIrhJVIyiUcbsf9c217UZRPW+EZma2O+k61w8zs3o/EufYGm8KXPj6cHa70/5c7tAD
tPpsPPnlwSuNnS4+aIeZaG6N6l0zNgLyqN7LD36VzcV+QwpVCp+l+S2fHxoWtv7480f/ZhqKZ+kf
H/2m5BWKrKnzIy2A1MECPgZHEnWqkpoPl6KLfPFaREJNMhKt7h97xAXDgnvtTLE1SnnYmh0ftHtT
aLmHp0N2h83xRS69eYJMaKAYGXxGKKE39Wh7NeWzotb1xpRm3Vl8qLSrKwrx6tzktp6e/Famc6q0
RSqOfndRPCTktdR5cma60rXHkUWaJYipsn6hZohH8xEw4wBPkdkZaODlel31hfjUEWoVJ+8JKTlH
4004iq5Fvk3cljO1GOZtWhN4A8OpZGvtHsWDsikPQkiQXY6IoipSJxOG/5RuqRWG16i0BJ3+lurs
+Ga3+/lhfXeiGJCu2Hunt1r84pH+ce6p5zZvTimbT3qRnbiYocqMOsnalqTOxA2sektn3qCjvNpd
e2lZ0b0lpmqTBTfBAfjse2Q3idyFWj3urtqSAe5c1nB+3RrD4EoicAHfvjpWnEDAi4QyEGzpNdjw
H9yTpXjnFMWAAcw3tKyKvNlOBMtjUhC89evYkUaWpkzSlWZRHQzgdqFj6AB/ZngVjE1zpZlvUbv1
rKoibYODBeLAC6Be011vyLg93JsWf3Nm4MfLhsN/p2Gm+vcB3JtGrJyvdYv08WPy0+b7Kd07Dqud
uf35yfzjKEcPA5wG6dQQMTyFEv73pVSz0nWsvs6bQd0RVGmRKmbMBIb2x3hX50jPsRLnqJTySV3P
5Qs2gWHWXuZIm7vx3jr5pjGZHGTwIsYNGfu7m622OupV2/VxsznKo2+aNCGmjuaWORlImqYOgJ6G
05/S/6RT/KCLxe/pjYgNc97pnAAmEWhp+lDDc9NjT9EHYBYRDF3Pd6f6vCcnxG1IKDMFIhCGBynL
5uYVT4NOQ04Rv8hTTFjfQ4Y7/DaqiytlB4dErnO9NFmcBcFyV0twmWC3w5dtN9tHrzBP9/SXmDyz
HDsQM97wkLTLJcDK0bXOY6jR8cX4lxBeRELYR9mn96CQ77bwP2/ZzWGRNk2dqG3bbCow2YNc4wVQ
KvMpB69Wa0dSCWORDbvNaUAHupsMhK+2u6Gyh3cFWK19RMbXDkj3L8jyk8eDlj0rjbS/qMMdyOwf
vu+01HQOUFzwJAUO5o28oR8b0tMEo9nUFhEk2j4v+pdjPC61qvA7DDePkv6gXIVAOz9dj+bDeDr/
nwXUfARz0vtakCNgmN5WtmN6SntI9eUmjx+qQ0DIH84z2vgJs1BRYIsrc470yv/5HTOmVXtzGqB3
kKm8plwDXbqp+i9qcm6bbDxvUu3lov5nMcOE2aLOk8EbfxkCTVLtnGm3caVXyO+yC+u5VzZ6H8iX
R+xgunFrvoqR/oLIyAjaLLImt4fQYi5ZuEnpxyA5+bxN+CL2+b8McXgUN2HFcfE7+9C2KCC1/eFt
pH0Qwjx7xE1hKzBBwe0Dq10BSMzX90clJMpMlxydyV3mdmp0MDw1C8W38USCeSidHJSdEq2jZv98
d9RvyqsJVpQ4LDFqosb6ewcqh2uZF3Fz3lxxEs8WGg194mr9/AB35RSePtXaxuSqFbG9+LKAIdjZ
cKXHghIaMfJhA2PQYCRb+qdxQayckUr2sdqTfxfTJF321cnTNfw8HPz+q3hVlPPjAWAZP1uCC8J+
2MldA1UUbEqAavTzd/tCgG6f/P9+N9xS//5uJorQQ9Jk541uik6TzhI0iiS2e0lx9joDZZF6epiG
OHK6vRrmDg1eP9iiLnhXvECmCia+Di05qJdZzPEvtbpzzp8k4zVBOWFeREdJLbu4qlGSpGFalKSg
62EnVW+XXg+k44ycP6dM9yXQNAxntsjp1C/yXwS529ee7JixhkSON4zVYis7ugchR6dohaV89QoD
dEI14HyTgsqF5bpB6EwEEBVU3yBiJj17wGa8R9pnNGtIsSV3XgDbM/hgQg3dR3AKdpM2nR2S2L1Y
0DJ6egxcOjqFsYR2uYPHTQDGzc2mOke6hi8ELd5tXFfTni29yM/l5gp5tOGMRraf5B/1ZSCjyBXb
Mfr56f6TocBuYqlTlY51tAlf/ea9LmRmFJKa9MwA0qf0afiMA3ibi/hRgZJwDdX/xEgKxkWN11jr
WLNZAjKPN7IL3MGo/ucP8w098e8Pc1MPa5maDFJZTt/ek4/kXzg4NOe5S/2rgmpA8YAS8RVYptfO
z9fWp3rknzv/x424wRPNvtHzKi16RmHK5+il4QU+UbxVwDSiEZJRFV0WE6396EhuO6/m4saaIB7n
giOlviAdZUE5DIaD0NMRgjS4zIhCfKQ8pEcP9HUCIxTDUbfx86heynN1dfwoucYpkDBQeT7t1ZWM
JRUmcsadR0yz9e1Xw+fe1FREeV9tyB+Va6ugtDL6Q7831kVUYKwcpk/U8MvLJ251h4X5ZjxgRvmp
rOM9koUNUmB1Vfti0Dm+20LSoJtejzO8AfwSAjNSWmLBnqQ1nsnqsl5IruT3T4qfLtFkw1bKV0xV
GBShYbKcFMOgDaY1kbVrZ8pKW2neuNGCdKE55qqg+21h6iqr7BktxyOc/QcFAka2sl6TBykw/0uC
cXPd0gMUqPrhYKxVmC61rS2rmUg4mLJV18hH5qe5tSzmyszExdfYQtjxzdW4M3cj/I56OVF9f14s
5jf7PW/N/97RGxTmWGdxWTd5v1eXHS7r+Gboy+tad04P+uzyMu7UQNwqa3V5wZjn8knkjCetlUh4
7D2iSA07RW7uAlRCB4o4ISMM0ZbC02keY4bBYF72rkHO8FWZj5saTyopwGyMhVZ//Tw4DKw6QFs5
soCFrx6ROK64ltcZILzwCEXnCYb1gxWU6+NzHjukqm/0O0XuV/t++7aQuIIhNXR3eKg3QCxy7BPl
bNbvx2Bef2rr5KlY+Jw/8NTGGXGJNXPtKlTmJs6yJwybk8BYpXtcMvJAXOsum8pKe0uWMt8tJQlB
jB7hU+G4nGzq8DTHKCA0F0dw8XFTrIS9+jBgJLU9bekCZbZyekGwk0cU7PpOgLpNwM1vKar94fW6
uceZVr7bkr++pYIdIHycm/NPTWO1k2Ljsh9ehIfjbyh8sN7X1edEq4fg66kzPBs+DT8NNpqH4G+L
Udm4NtdYTmyklbUV3oRtszgtEaTN1BdxYe76e6xR6Ru0BR8YDVRQkRij3QJ0qVrFZtEkzUYVgyHe
4xFkVZJjdb8HzK2mk4oe0SS28orrx8+vwhfgeLsSvnKiYCuhHNVvVoKgXONSaBFBD2tUX8PnYSFA
oiTXjbp00+h2SxrSxdX3+RM+enPc9Y8Ojp8wN0+wAAXb3CgYdC8HcNg3Y2+JnvB0DbQto/Lqydhm
iMxwTqk43UlZ9pJNRa7SRibN5rqUn3E3aZ6Pz+Ibq4G8bCu8fFphjdLoHk4zlW9/f0fUXCRhUXOr
Bjynm14WdZNYaoJYbg61m+EISIp2vaaL70nnwy5QW1vqXMlIk0JteIzkfnkpXQmFvZi8W23hwIVa
WmBumXcdN6158q5qY5vqsvkoaHXuHmXSv0cZH9eC7mKIyJRhvvB1/tzvr5oQd11Tbkw9I9lxFrcY
mjDP07S3Q3+15cN7l67ASY3r0kzeplKnOSfhz+vi37fm78/wzw4pXmPpSiFDyu71KzF5VjHyT9X9
kD3dJY3/D5xw84jImmOwL1GuIPu/eURZJVzMouOM66Df4uiylQNrja8Zlg9SNDCJG57HGSw/zwrH
Wf6sB/oWr68ZQo5VN8euZpasymXrYpXDT8VGJ58NMO4cHHcYu0PAsx41lxVMaFhgzSVfc4VI/eif
scd4aBfKi7HW3+AOesrmuqlcYXHyij12FbNkLSwQqHv5GmvY3cQJjVHmkA0X9Mw8TuySUOLgal78
HpZjteSkiIP2RVuPsImv/hBl60uEGg7u4YI0DwjZ7V6eM9LbkG0M3dkIm2XjdbgfBuK8nMsOtDWY
o2agemOg+VTV03nTPXUzaS16BwdnSX+ctRG+kpC+FahGeF242lpCuHfys6W2vs5rdu2TX0QmttqW
j4Xnh4Ybf7VQA3Z4g+lZtjhE04dPPXODBVAUR/kbvlGb8jn/OCz6mbmkcVlUvshD+Ei9OswX5gMx
RXa6oxGKocEJ+2QhP/AyLIR1PddWh8cxUBFirC3+8ksobq54qMKwc3PslmSsXai2dtIUsiEgrIAe
4GTPIOm+tYKWYGv4ZqiBDCVJ3DKrXaawog04tHDY/4ujbMGfIFTea2eVz3PHRRT+Id8RJqyjE804
zCXXjOA8Mw1uZ3Wob7NInE33KYH1PN0FJVj8SoPDB8J7GNB1ZPj6jAfzLG/aZyZL6RJi8qr/LYQX
H845XruZT9pjhwPnKTq/H1cTPZxNsAsSj13R/X+UnemSotq2tq/ICHrhLyCNCGKXpvnHyFYQEZBG
5Oq/hzoR59TKqqiML2LvtWrvqiwFJnOO8Y63mazzzxt81A0/q8KOQte9qnwjzDGVmc5QNXrrdCU7
VL8LNOUjp5UmAAAdbQvk65OPvAwWvGjnYbYrEZ7EGg4mwpyiY1b67DMQ3bG6d7E5CZu9GBS7o6eu
qS5INyDD1Z64VjRBa3f8UNfHLWfuAo4ETEQYpLPPdxXPmm6medzqGVFzu8bVrdIvw8oBmXL0JVKq
FZE+Pvaf6NJLpwqn0OSYiu/FaOJKC1i1e82pmAdnsBKn8GqnfmqzciEITPhzjcnsnGGrBDmM7+VO
d5k9gZuIzybSq+NiZJrjsDITRi3gjAFnvyPKJEjmBaZOp4yBNyGpHgol9zRv3eOihS859clAiHCf
wmYFaxO+V4UFF840sB6nLjzmoEfd1geXqECJdg8UJ/mUnQQTY949LCnB5lbEmNgqnGVe+VU2Esxc
BrEK3AYSSviAm69bX9dZAam/JkkOKvAocWtxZTo5ePWQQ0/5q87ecS9jzF+wwDjnWALXqLUhV8+v
SN3OEMhn9AGiC98VZh/R6vzIxQbGdW8eKSuw/bPwhr5Vi09hCQl7VKN16GUzT/akpeQlK5FqSfQ4
MKF75pC76WDtyw6Tnz6mrJDWUnRf6WTenaMpX0k6DBHspll0ZvafEF9xDu/z6cY+EyYJvPI00v61
aLqYbshtC8lXXRgzxZ88Sf4d9ZqxAlPzM1d0R8I/9oPjxuaOBP8qmI7OAtSkVK+jZpNg5JH/5d6d
xOnmDSzWwZq6dD7j+hXGx+sYoTi/oMbLrFEkNSryKu8Km68MBtiCtc/igUxewY/INr2LBxQ0WWBc
3l7Sn30wP1eEHi7HWJf4j33j4vuGuwJve5j75S6HqT9dSG5Nd3rdHdfQpOCpQyl7RlqwVX3Fk9zi
SV1qURniVWy3KPAkD7Wdq4eUjhYaCJix3jW8wWApFtjk+uKs26d8hZqNhLo0Qlo8E4JRyWqwjyAl
jDSPBYLWKw9G8ck5pipfoDf9AR6Vx7b3j7MNSTmlHTkWfzCjOqF/HInw7nby5hiyV9lJZ4r88ka+
8tgvDG/4fHuM8+zPFjG07gsHNTxuBm6XhHG/5lxdzIhcIx6pOvUPQ9m/YF8GsOD/fbtvBWBzkqvL
ZGjb3cPKIzKKUqAoTHYl87rN12MTw05pNwsM65C3YJLhsf3DaykHRCfHQArmqUUbgMMzzhenUfbh
sFj5C+b97javt9fcxP/r60f3kT8BTaBMAbczuLjKVPo+NjRUuR7SXuh2xJJv1HXv9Mt0n2AgBRGc
ma1BQYdIQ6OELxaYbtBy2QNxMFhKMDJVvOnhPG/3VSAe/l03/aWU/+/3+oaBXK9jKnOn32LsI8tu
LlWVe79jU4uZe71qTr4uvtVn0X5o6ezfn/wXIv9/P/kbAvLItHN1P+ndblimuNDJaO1HcU0Z3GYk
qIZJpC2YWs0usJSFqI8purF7/enypb8gUnwN2IaCANOAlmZ8cL9Vr8ebWNBbAsTUnGaSJdNbQgR8
vixQaBXYeG1U1pMwT3xeXLq9wYHULy5rPKqB7BC4yJJVvp+3D2CCJRnl8IZl++UYalCEEvf0et7e
toTHzrRAXFZfiLX4GyabclcEG9VWwskWRGNZBLgT0k0ukQuHk81kiSBtx/m6vjyPeMllkW8mTh0g
Ijc+HuvumXRzV9zI8eMLzv+m2zGhoSOERpdA3T5BGzEOgAEL8Y3g2r2ynjjeY21slFW6f7j3URYP
uFTCSHsflq1vrE4fD/M52SKZDo7ED1wXPR97S3mjGkeLpKidXePs9RRQmSyK9RGhEsqp+WPUve+V
oN5UwWkt8hCzV6Z7iOk6lK8H3Pn8sULrlx2ny+VtilHo6bWkilKXwjyDLQSh6rhKYn11Dq+LJFZW
BPvMu0UGIHFeHt3Bb0NjjaM04rvGw+wkItuZgmZk75yiiVP6CMDtK7V0Ep/4ZtIcBxpOV9TRZHAv
06AIH2GLwk13jxgBpBHWpAHzJFCkjrev9JncA0/RVUd5JHqyi6jLNHvOHfe271cYbC2nDl33c4bj
CMS+x1LySw7mwScqfl9TNiGgA3k4Y3pqpXCTrwt12SOBTzbyqMNfp+FloYyWhb4RyR4BU0E1agf3
aGrWZ9KX4d+bSxUVRjZPLOaF3kgxPeCXTj4kNxA3/mxV7SqM7lajT5zsUSXbyuExqwOvtXiSs3KP
cCrMqb3x2qF0ZJlFAgJ8bFm8ep4H5+1pnu6SWH7W5qRdOQ3AIQ4XfhHBmQ+v+26Rh5ULiToaz2Bl
y+nJW6hvjwsNjVIkodQCUogyd/KKej9W/C5gReB0hyWpL67WNNpES3OtUeFStHkDsItiX57IXlyf
P2X+jhhjQnenoEW/cwLrCyOaoua/862x3g8QBuIQPkrpGLlzPSwDagL6IDOfY+lKUV56OsF2JfZ4
D0tzO5qEwlUsKZSs/HPqHBHE3N10ZeB4nyOvuXN+M7CzOBhXiZ/4k+U1ln/d4JMnL1BJjnr89YTl
I3o52BinuX8cF9bitCaFGDJkZ9sov1blouCSxO2ZFVcu8Kd10tVkjfybE6XnTjQsrh4Qkf3RV9dj
gcSAlLJcsZTZZD0l+CxzWbPe7U3xyQdyb2+U7OseceQZdmsRQmT3yo2I2BQ7cvRvKSmd5P3B3tte
lsX44I8x9ePm4pyXBch4GZRe9Tx5EaxTpLnUkiBVNWS+pxAPJgDTDE8CBxKh6C0HFkkfKAd5PbFQ
nEbiPAl6akQo8JA8RVdyOFsAvAT/sVRDxU59GW+SwhvplsQKWLdZ6Uk+VR/FFVaNY7UhvFxcKi4s
BhosC45OsbiACFbBhZJKmacRnpW2Sj3DbC7g5x+EeUznvXXYwYPeTl2qzpiqvHZwgyLOY1WaKS/2
6WXwsh05EME7Uo7NNLrH1wgFhX2Hhaj4A5We5Ez9EWMTNxB7F41zIQrSiAUPK4No5IHSnKEl+sA4
eI1yf19hUBKfVxUFMHDYkjsGQFyER1700bAzI2BIo9hFdRhPXWpHH9vZJWUt3QNw8ga594FA32i6
VNzp4ubm8d05R0IACCgeoGsXToc5asUSP+30j9vXWByfn6Ttw883CbmFOVIeUgtMQBCU+rQO6cY4
nD8zZzFKVnRCyaZm/om5BbuJEGcLVFWm8aID3WWx9qzQdJyJtyoD1tKqCbXnBgXocTmhX9F3og8H
HBwydRRbDgviM++LR6AxIzntU+x25YP6IUXnT0p+ivh+Rj/ktT5JPh7GFIvqndSVJ6SnQTdHuHfa
TsNiK7zzKCmGhCWRm5t+zva2hemRbon8iW6vk9UFIxtUMa/c/w+5wWtdjatZ/2wsxkrYnEHJ5uYb
XruoUnSYzEVR6mhLuq0GCxRp9Hs2i0W7p7zFO1d2z3tSJSnS083onSKth1jz0FGyBrsng4p8LzCq
wAF3oUfZckLm3ShqY7JBrGBhy+71qR3Xw5otZjWJX0Ea/OOmWmjcwsfzJZrOL6/N0xk3izLU+IvO
tGJdWDi3J3WmfRQ+C68LKySulauGk3C00GBe4jBpWYIZR4/gurrO0yV3lvt2Xl13ZaDEWqyu9U1O
X/d4Bu1eaM58EmcOY1NX/sj24kdNlzSs5Bdx7hLUsMeaih1B2vbzwld4GhkqtxMwLPsF+lTBTpes
pdo+hWyqbo9552XOiWSPVc4RwSdpAyvM6q2CS1etdHF5ojmeHVnGFcfaNcLbfxqf5/1c2LDhvnfz
aXiN0hjLiSBZ3XmN07FDSW2RSUBpHZfplqbWUg+cCbh9KkH7ph5SH3Z6dH1LF9ddsT96wCQv94XA
2t2rh6P3WE6eyi+V6RJXza52Cs8RCT70KP28cy8rg7ap3J1D/jqvDFM2iW7POn67BF3YOhJ7xXFd
L4uNxgDmseQIjKVA87Ll423Cr5g7fCqxIJvD2giPi3op7CeHM0j82P5F/Qyj2ViOgdnVA7C7FJ0Q
iq+zL3VZvU22P0le/9rmyNB4xmDI0Rl/RGF/K/yk+10RtZQ2R1id0BotsJgdVYoc26qT0eZpbIIE
q0fr99TV7dOokFyAfCxbxHJIiPZGjD7CV7dGXO9Biv5dHf9lNklZynyQsc/o3Kx9G5QOD62uRSkr
4vQ6qw0dc6XCqxOo8/3UF04zmEXyoMxVpsSjX4MiGkRh/GDfoogjcvu9ExytogkzJDQA44b/3qK8
PrX4p4ByNg6vvsMJx6tc+pxwUWVeF9iouzaZmYzgsA7Q7elsLIKo4EI1yl2DEGCCs7SQGAyqDAza
nBovA2UFmLUhjSccfBnYRnCVUHjRd+Qd6avjTkN5SjpGlNAkJZa8UUJxA8K0yGc1ZgaUTquCsqry
sqjHwoE3FA1+OqcoYNzJxnoLjFXiZCw1A2AnjTXnFiH3HuESSqfSQ+6DAIfFxs7XLQADMbe2NPyZ
M/f8VD6xM8zHDpYsFLrG3DvOdb52PhtzGu7u6SWbX5cNTkHsDmxAl8iYV77mEPS3YBroGLgL9LPC
xXs8Sg75ul80W+kXRtavTotjDAqKgYweP/hcIb6Do52wWZDt00rzJyvJaf3MV5zK1lHYHtdjDqhi
KvEo19fiNiTU5w0gT0TR3wTTSFyRfuTlCHU4Y5Ga3DzpIK/uC3WMgkHSy46ImmMhLYVnWAhx+3xi
8838HLsg9D0ojjNf97rwvFJjEOM17vgAXvfgvOihy889AJ/oPC+tdCvRy582oMkLJUqZu0036RPb
/pxZ7WM10HXQIqyb5+ZZH3Gr3SKipsKCSbG7Ub8fpoupW9mD2y5ONiNfBM43S4omIELSinn0ctir
zh0/76NlPQ3IMIu3MzL3sRlzyBy26rAPjnOUmT6JlBsjnrJfS5xNnZtk5rijTbbFG0fuDQ1y73X7
G9gtbk1LdcWdZOPEUImfTdD6K+GRoWlDZwcqnADL3RwdNMrwcU2i2HhwW8ixQbKcI72XbbwsKBbi
2kawjIIXO2YXGug46eWm3zFPwktgN4UKFTNOB227ByBH+OLFP42D/hz+shNMVVFQmDhIuvptJxDv
ZX/h1bzFQv3J7KR5jCONH3abv0ycJHggKg0wGk1UFv990bOh0qe1qN7ihmyYjuiPUyvPRP2lhcM5
tLWjpmcnIctDna4aUpHu+YusduEtnU/xyL+pkwOad+sBsVCZ/sC2/LXHfN+DYIywT8MdYSf6NtkZ
ZKlNjvrkuCWkGL1N50toEZ+UGUIa111c6dBXGeAP4yZO9MurmkbPwcSR/X/fob/Ml/DgVUQmjsio
8V377w3CFbGHFHpUg3vzll57E792Iw9KiNPS8Flcnv/9aX9hh3Ai/fZx30Cu4VjJ+dk4HvEgD8Nm
OzFfKrPcnrzerqNqLT2NruH5qgczpyYER8fIxsyodLVYswmrmmNJYs/n1jGxdzh+mODOD1MMOf0P
KIbnLFpaDNvyvuwPNFnsAE/tT+fX3/CuUbeM8c5orDT9hu4Ut2lxbG5cgbzR3GmBY3XvPQ4lciGv
oBz4+PcN++v6/e3Tvt0vKe27013V1UB7EPKN94uSmUOyFKhbFe3T6GbyT3z1vx7Qv13gd97toz/V
p35aNbGovz6Iyqj0eFBrf9o9ZdLXTWrN0iD5ztUUvKOwE2yEH+7wL2XHHy8GknDZQM8ryMZ3Fqtw
nubTjBejYTRjghID3DNDTKMwdJwlQXjYzQgGuaq9tZgNX1ms/lAf4KL+l/qAQbWoj7mhAqy9/74V
WZUQrvPgK4zquMGRLOF1lLsxKGOK9LBAvwBYaNtTs7ORdB9djKZMBw4/i1bej6q1Ykf0L/lHAByO
8ATjn7jOUwTgDOZmGaYwcxzH9M29Rt1svKToP4lWYxBg7U+Li8nl9dY+dk3fYWhPzlk0l2ebxPxa
fenrlTeLXYVQbcIXXjWPYenscrM09rcI2xK81MzCnsyxXzJ3CQmzP+xbf94bLHolxGCSANorEvX0
33uTdml2MaSrFkzL1eAbikewHzmMd4C8SZhQytx+YE6ON/s/6+HbB37bos73U1bcjo9fpIxmEnb6
SjkL5hhx1M+hGv77hdP/4FDzabxwsqSRkICc91v1fOpk5dgKaR/nVGaM7EguLm1Fn0m9lZIFqHh4
XhgTiyNBxiOnJFTwRvTG3bmRRDC4dwwf8NfEuWRCxIedJp6cOkRiiPUYINmeZ5JqXXB3zeyOHmCr
VXYJ4UKwyH1sRFMWmTsPgqkXzgXHHsIKBbMuzONzdrjNrytwTLiLRwsxze3uQdodEq/tIr1zkt7T
C39C61j4sr5QmaAyuzx6N5EQFKt/eeAVhJry7lflXL6vjm1cTYLb2SWujOAzEn//fRN/Hd3fHxkn
LgoPnPVE6NX/XSPZ+daV06uGhcVTj5WXSEVbYyiWbDIXr0vDkffqutwjGrztgVADyS924lsCDqmu
+rk4l1dYSlH7GtHnZ+YXvom1FRBHg3dSvpECDCrP1ugsMp1Jx4W0JgkOBkFceT9cxd+Xwv9dxbel
IEtVK93TvI9FvFehA2VYHiAwIGXSYymIBDIR5VKahuLUuDJhtgnQ+pV1vkI8ehuyMdaFdVdMASVa
Y/Nnhy/mMQTZP2orl2ZS4U06BHdWhhQBnst0ppWzvrDwwUjvjoZ/bTlv6zE0p5I9mkl+BJ6t2NgQ
cYnZkfba7t/X+ydD69fS/9/r1b8VS2h/2nqiNf1OFE0hn00eDuTRcuqRjzYtt7k0b05u01kDDlz6
LGWZne9mP6zPAOZKLKXQ0ec93EacWAbnTloRGSySk06C7LKa9O6psfTEnqhOns4IUxR7E4o5cgS0
Tj9cx7i6/lh9OjFlsoErnvydtzPN8/NxUgzdOPoh9ZePVeNL9YjqvEd1j73WHelq/yVeVwa6tisB
l/MB4nU7jsiSLkweoHXixUSegBq09W6GLQxMPZtTVCtfUm9gT/+w1OwRPGRt/9AITu+Ps8sdwLmv
TfXS+pUmO6fp6qYlP7xYv7rjf13at6LxcR6up/w26XZHjoWFGkwD3rHoHCYv2lrDpqsEvzwziL3M
xYO6rL8Mj/QygOLrxnCuGxBDt9nc4nr16Q4exr8kv6uz8muITp90FvN0oS2T131jBTsgO8gcqms8
VTGtoycscAaD8oOd1w+Dz//ZUr9d1HigID0UMa7QvlPfzh0irTY9asFQEwXUq3NRnckZeq/qbCvF
3alkdXau3QtBpkLP4diKXlulFuy87sTkO13lHWfx4wt+2SyXXs7XLibw/NL1r1JDJuXkuq6n9IyS
SMkg3fdlJmMJ0By/2itMPiQvQl+S+IfYTVSc29UrmmpzzkXc79n+G6znbq/H++OpOaLHyAP1tk94
4/srsdFdF19yjmqCw8os9dv86QFD/l7VZskaTxIHPdtKEu6kq38ZU+yS76krpF+PAiDmdLP1Bye7
QLyajl9R54z6pUf1NR2kxDoda+wVSlzJcGZoLs/XRkKRkpnJ4+6P1z+tYBrza7xN1tc+sTSVMcHt
sU7510WxyCC2Cla+USyr+2sL/HnR7taxRGnAIXF9XK3zSXfl4RMWvjntdatqoBnNpg/yllvi7FQY
x6frMitACBrN6aQsqIXBHCrFuWsFLksdcboPXXZxFL0d4dWWF3t8SuPfmELdvVaOoBRrJJFmp1wQ
l8wuJ96788SuS8p88uuOra/kr1JB2qvRWhiXFelaIPYqb8dAOpZmrlrVdRK33PUBm4CewaCSzVoN
1DebkM6KT6tepXOtWVUXwWmzSVwTUoDZm9XV08X1kVpqoW/uKQnAJcnI94qUPGXZiTAORlMj5TVT
zrObTqgdO/Mtb526RbmwrtRydpNTr6mSk3ltQZUVYfBOJ9LUHrDCmrCu74f2cpw3eMqpR5mk3tqS
b/gXMonKzvur2rjHCzSGAuMRclwzcvV0BIWCkNuFQB+eQ6bWkU5IVbZoc/3FOBG0jDvVtX1RxPv7
MWeeZGTOSe1dxKlu3qj4ctey6FxUsipy4H+piPt8CjmA+LtcM9Nzt7jX2P1ibqUidUhFZVYKzN/v
U/N0vgaKwS3oa1cjHKCpWBbJTLz80Gf/qcBVVaxmVMQWmNyoyveCORfuN+FRnI3gBE+/vp/9tPDk
B/DCRd1eWyaeD3bZ/UkF0UozMlshrabkHubyV5Mb1hTR0w1JyqPUZmcFbfO1++Es/6OPGr+fPJL2
MYUdBeX/LUgqnj9gg6YHRbNu7m5WrLW8R4UTKGBfvML37Pnfh9CfNubfPvFb8UDbdjb0o3RCEBK0
M/H5PhO+MuKqWfqMYxdQSJzR/7tZf/3wwfIfMgXm/SO2KmPpQu+ifrvW/jhtO6lokx3bBXovs38e
yYb0KmiEnH4bYnB0hSbOLtXj7ZHklu729jXu8DokCvopFZZTlLJ+i3ENdm9zqo2WvHb+H9Vsr2QP
PnXUxE73jp3qij9Ej6ZuFLezQyIjt/UDqpLeLpn0GkT7WGR+M+hoDJtkdG37iSgbdhbOqqQ8xamP
UhL5LC4WySvpcTnzF/RJB+39akbacp8bNLvW5WkgNcw5VH4eA0NFO68CCECAGqup9Tq8ns37sr3C
c8FfODEvqwfZbOeVgNfUmM97a20GYIJ5/0jM+ejm8sHAaTVs/n3Ttb/ccyyWBWwBVDKNqHr/u76o
QdoL3g79ViBA7cKtxpxWwCpdAttlTE+imuzc/Abmzs1PPZpCGsEtvlhwTAlWn9/eUmaXlH/0dIBS
DCNlWFrqfAJVavyviCQGwCMn6uyO6fo4QUIo5hiMWhhz8qNJJDgS/L/RpfTfl/ZLufSf0xl3YxJL
WEmo2AE9RkDkt3FCl3NuJr362I2BZzipSF5mqvACsQkylsUI4KRBbW5BqzEhXuMPQjJ5DWRIjKY1
xbJRdD77gK69Cz47ep1ZJgbYhAzrMvcvD0sQ9ziOMz3N/Rirm9bGD9XZbCb2FwU+z3Jz1izDXhE3
EHQnr+v8fLBpWdBwY8UJGI5+XrXuU+dHp4exjf3tsqd0txDVx3AqQABd+z4iON+L9DiU0nnLaVwu
Xro45nqE5Rg8mn1k9k9SmF/Sgn993tgF/3abs1p4XOuiEYN60lnpkRahP82w2dCITk6Dk7FWof01
cP2NUFGZdw/DqFJEqJlJFzrTHxb0d/rUr8tXRWJ+R2EbN+Jb090qx7TuJzVUUakYSWgk26bD6qpN
zZ4pbDJriBxv1v3/J939fz4WNJgQZ/Tn0vfS/dYdL+PmJQaTeqZ2Fk7s12EtJK+5sRLK/Q8r+y9P
GFr//37Wt4V9nZKDo9YGVMQHIThRef/Su1HlfXn8gCd935H/56pklWwXVhMOcN+ebd8+Th2ZT49t
mliQgwbneWBFpey/L1v1bcsIrkHntSY2Ny49c4GvSmodos0QXleErQLirFY6GXf/vvy/P+LxyMYe
XeSs+AbkAHTnyr0RhOAhzbXH0da7WanNjdSbiKuJGN7OX9wJdfIDwCKOt/X7Qld/+9hvK+vYivUx
u5TDoq98qXE4ghVTUmyRWfDgiKAs2DZaevnDNvatAPifR/Dbp347FOtLU2u5XgyLc0OS3nitlOXU
4BjY9ZXz44jx23nwx8eNv//b23xs7jzuhuhXsXNzhBLM+2HTP+b3n7DKv21Tv91N9VvPrlSCkMqF
hMXHJCw5Ni4/Pa6xo/z2uBBsgeSMYUwUUd/Wbno/l49pmgiBXjIaOL9eu4+keuvzIPmStA/2nzPP
Lv730gTr/YbAjjdQ1pBgYacn60yHvh2oCSY1k7Q8E6KLYhRq3UbAHV1dFp64SULxMFqKo1lzpJUw
11YTnNTIHE1Gz73qq33gvjmaUzbQVqgzTaSaVoH7GGwAY4H9KZkoEwQYNyThlvZCwhrhuNHtYtVz
YfWAsKT60lpwO6d6QrWKbSHhwYaZxH1rMcsdNpyDkBctHKo64LUXOUZ5qkItte9fAw77xOm6Fwr4
r85BEIS5Z/N2rRFLjD7zSWxs9PC4uz4r0RfNpjXsxlQdsjEIMaG7tVAX9bjPS/PunTRmHEvEKKNJ
h2HHEL9+veHrzvDzVXs5Nk5mMoIYTeMyTGcT/2rg7I3cf9e8D+9TILflGQFZg0f40UpCKZwkJoc2
AxNPwMddcT7OCxmVmfCwq6OFGSMsHJjvAvY4H1dC3c+mttPDV9xGzOOL5p68t1E+MQHUVr5I8ZOx
66dO2eZeGYNcNpsWlhth5MspXLEBsLyCQCfMGmQ36Zr/Lb4brXl6QmEIdTJvzBUOkMkcU5FpjF0k
nJN4jGmpvs5Wg9Mh/7QJOzJ1q2dEvh2Cl8szkiMTq1yXrIjey10X3763BPGECKXttkhfsy/MrPgQ
uHtu9apDLjcckDfYdRjfQgKLVca0RCqb9ai/4bmboqnbQjzlkiSrRbY9LFkhDwo4+GY2jNl3EZEJ
tqVXUptH4fJgI1E+lPsrdCP4m9laGg2oWEe/2JsY2jHh99OZYt2fyNC1uwP+fma3f9FmjNNU+HdX
B+frWfr2wId9XFcSpbf4TlgEl1VD/8MSwpkiCmA1UfDMVYZbWHdQ/+iz4w6jgwPp33pt1gg/YeBS
aq4UFwtcdK7wA9Y8m9m4dO5IgrXoAYW/MsVgG+Kh/6HPIAju+vcBR9kNq/qOUTQEAB4VJvCkiK2J
OAZyzedTjwI14jZS04fKGnxOf9iTK2LEEcczG/IyIfPiyOAOH/lbwlvSkwCR2HfI5pEGVfI0A0Pg
7pxmxLwTW/SmYtEtjWbHfM/Sh60La1WwUD4lFq9RbQJRuTLmLCbUT+5IhsoEFjvmuM4RF0pjMyAS
0qz2ZbKXrGdlDXq940dCrmUprKHTTMiiwZX/4oOOsiG4KksKjTDfWAnH7UGZX2NyzKI3JKarsuCB
EYNAj5AR7UxMc8Wl9IejNR9NtaY2HvaJb7B5YMqJFqifOMhut9OlLBLFVZtVyBO1O0feVuiV7/An
sORhzMNw57WH42yMBuX3s61hVylZ1wUbhuK+iB7A1KvkUmg8VrfnGxUVLhZQ+QnVq19hRWNExJdD
Whb1B97A8WmxKl6PKxQA2SsPDfFziaaNhWI5EE1I1ABOoaoWzTMq+i19nSNukFtZSIQ/MScDb14J
btmSgWnqmdnBgubzUKKP4/0XvHBDA7vw4C2FsN9aSD3CFgdKjAU3+N4ESQgTmoeF/80yhwGnshxJ
gwRlTz5ZTQEbLHfIWJ+XU/NlYInDAOwwwlkSgVy4EuzIKF0dfTLHYK6caQvZu55UXiaahNWgs4Bx
uu6Wjd8RxnDfHcG76PPAJZ4L4goYolVWz4NimVrje19ECktbXWPf62AyH6k0ImuAnYaAo69bYjeF
eYEQDs2hs3P+udJW8rPyVbyKz/yW8JjpCAWfT5A7lHX7xuygqINaP3SHkj4EZ3iUhuQivMO9hudF
LMTBKMgXLmz9WbAbpB+YLg9PGHOZ11CnpzWxEJtuT2/GVickvJ6jlETp1pNxz0HDNg2zBnc2zC4r
e7qRnx/z+qunMQoBvAnpu6JafND21awnaT55TziaRO7jhP1jpBvzbx4mI3ieoWS95VaBFqpavEMe
C9oXAR4R5i0fEv02t2K0xV+BWB3jiwPoyfh8PG5OrJMBjwGFHfNEfknKQ7kFY7rBnSRAzHodbTwF
K1Yudt/I/S7xLSYIZpeuMAi2ZUeZ50+IExeay6zlQprsJb5HkrXS58rsHvZ+u1KDMdfENeYXL0Jk
aEDCZiT3diEoAp1Yg+MFqe9XRFY70DVV8jNsJ0JUUOFlD/g4IIMg0X2XLYR3EstgRhW4x2Vu25uX
if24xM1G6/FnG20rJCi6HwXe5O0se+Du7qS8wIN5OZu9bD+A5TD6P9xKU3+tZLcsKZ1dBNr8FFjS
lewf2RRey49Hb2sX79L4j5b3nn3yFNyOpBAI2DBDPyjm59IcEcpb2NS+LMSaEGqDl0MqyrxGmY3n
/nI4IM32wXhvuBRcnjkskXwd9AjZJHT4em4r0cCujpwhvFqHOwl7AsFnKTfwCXaL30NmBoQYZruP
xq6fVhcLaMbGf3Gmmk3OATTxCHW0b5/TQwJ9Eu2B4rQAMC8J+eyjjhb8AGztC0m4semQtp7WJ3Sr
YMFv42vR28ILVunXBQqEjYRSwLjgNYLJSDhdsiny4fDbo86W3JGMOdmMp/MjHGx6u5rff775GrEf
Oqyx9Q0YBeMcchCfhU91xMrNjEAvHEC7LZOsUdBj1ZFQOytGUTLBJEQkxhOya6QbpO3Ky98ETIw8
zD0DDnj+ky7bxoQiKqAmFSwVGVn7luzYu0F+E6udy/BjS2YYUI0WFGFQ6k7D8pTb7dfwfC3GDUwP
L0g70qBa4+jM+uK4kXFRhgNsoC5TJqZy0OIczZbKd6uoxfpD41TkkCyOMNJ5JW+bSwJLGUC6YtNs
EOH2Ja469gNm3zPRcyYbJ85eV5MTdj5GBvFzztXRLKzNeDLH106FsylEaWNOgo5wigEjuJgSYP6w
xq2zgyxYRO2axA4V1jUP4PVqTbCqwFdopQymBi/45qAPxD14k/gNRk/zUWShI/UYAy0uKFE7JIrs
68YMFT97J5soCRU5AUUw9NBk1DNhfWedEF6E0NHAAARJoSnnDIL48ij4hjVhQZsSa5UKpO+mjrh7
tyX1DefVARsygnN403ZdADCLKfb+suyw+LGkM4dI8i6WdoodOMDdxOpXg0t/xAAZ6xxEquLcFxcD
agG4iGspvsdHR4r7Y3BrTJ0lv1OAwAEIJwh4egS2yCDMgoQeEptI7eDKoPO4jdlTAE1myvjjEHrx
MIrUW9BzgvPEUEQn5u29Q95LTpJXuNN19kLk0u4EhRp5oqUFE+w7equc3Q+X/bE0J2so5/Drgwb1
Csfcfbb9VRxirY1k1IQoM1rWXmyQtwfvzvlwtqeklm6uSFXTtUoFyI6yvsQdcR4KBFDCqEtYjZV7
tgGIV1VlNt4V7eh5XzzfgksgkGSVmMauA+GixJsBfd6fsvX0XXZqK33pAvJI3OTp9qXRSbTWns1t
01BQH/JzdCalGleTDGsvlof+mc3Sl2rert+GUSJwOVDd76+Osvu47WD82WjUXquxZQjbw+SVag8z
XGhGGRFbS+YK149LjITevz0biOaZSqyqVb9pPo68xhylWHT3q09KX9bxuFaGgFjYmeyNp+5Lb7Y8
nDoiNWHcPR6f5A+Uh2HRLAx+gBe4f5/a+dsoAyM/wdbXWDRNtvAJX6gwaNahy20wyv1gF3Uz9NO9
31H2NIup+YT+1xnbIB0ibGKdGR9qtrZAH4LnMoptOBML3U8RBZfLq43F4nvvX+Kpl83PcH4DzP0m
jZm+FAx5whpTacPEEyZZ/D/OzqvXUS39099lrgeJHC7mhuCAc7b3DdoRAzbBGLD59PNQrZk+5WNt
S3+d6uqj6uptvFjrXW/4hXB3zr10b0GHZ2sd1GWONtAkA6eI2SQCQ+fB2YfLOTUDJ+2nPsIDu/MH
JlhjHfJV9N6FOQq4TTDnlJecne65cgTNgVXQuoTh4suwwPD/G7Pv5prNi7zZdFG78gDS3s4cI5VB
HRfSuxe8uQn1IhnffvT9cXAcmKym4HT7ge1erysYLSlVAi5l7SAj7euE9OW1ulLRLQo3Aa4c7Nfb
kMwmHSL0zU0YE05kurnY3JD1h3hollSgJAA6ZSu2v2NoI7FvkE7Ifue1BnTIz6bC/jbUf8xtuciW
lChglqk1t9ZXTtrICHrUfnxA2aPR3sGDOwcxGeV7ElyX95By9gYptPlZib4ATmcUv13pWVIs8MqG
xxnefE5n4oMdV1/YigfVTYbGIhpGY3AO8iwZQ2meAhfcEHRG56lJTxti9YibiIw0AcMk7pP1/Exw
atDyIAApg07yKFtIHwHzAKTP6OvjHNdZIZxWkIbI8AofUPEQQMF1RYo4knak/JjZo6VARdmZGCNo
2JsH9ub7BGGMFSaeaIsEOw0mCeeJhMKCMmiHeACZwAYFgsR1dPuAasYb9tiBEvEUJ4LaA2CBqaXD
tBHOntahXAmpsK78RrXvBDJzAWyrJyxjHu+KVoRAx+COVRzl+9AcGxtYzBRlcFGWoOghcolINV3d
7ULos/r6Ipnq7Ligj+YVzDTLg2oGncmgLwCBF6JKOalXtwE7HvoaZT2hDwR+FgIy75QYcDr1o3U6
rZc3r0b74X7o5gLnjokSUAgiYgdb4dwrhxcfaUCsUjG4Wcp4e53RLwI30y8/sUBBWoFanS/a2Exg
zHWOpiz/f4TARvxUcX7cElDQ1EIBDOlidiC0ozx2VwwlZ+e9PkOwH3dn/5BjQXInIejcVkNnbDnp
rrNejaedRbBOEbPEywwXXhnv6JDWvYQ90mXC5OXkJ5/1VOXmRk0VA9E5UnMqBfNarC1bYvHJqY8u
k0KVWFr1ucyQIwBwzn5TV828JjECVF7bWIyXaJXZ9xlJ6wiVhN2dIcENp7OLM77ZVBtdLiCzMY9T
XMrdaK5+agumCRqA/C+Qu+GEIdQAiXXY9/wYBheUuV2Oi81f/417dx5umCVzPELYO8UQWPqQ6i1Y
35bCRkNCi1YJpwZa/SE0uGHlrxRJDiyhOtWoq3+zMVF0E8B4wSAaJ8NqzADHZZOxISkfa5dcDOYk
PZ8FiZePqM86WZYOoNY3Mo1y0p2XeceFBkKIiCGktnpUf4TfguUGw2rDDQT2vPJ0BDc4NLjxiJiV
FZ+6XeOvqxNNGefa0RarA0yxyH4sxkbZMJnX04svg3kX3Gn+I0KmilyMVL9+0B8dp4N2YUyUiT6O
hiI76afYTXfKBHkHeHERknzc4OcllcWEmsCRBpM7kaEjcK/3xQgFMxuc1gU0Oqw3DwDbWJneD3jV
TJVJOKxJJCAKj5Rds8RycXoim/tPrRjaH/o8YlVaVwIiCQg9prpB5mMgHZBa6r111mBwVXEm14fc
mhLjr2JYrc/r1g8xq98sLj3F9sI1vaKe5iPbDyPHOdqHgt5ChRRH7OX91DsO6u2RbYQXDmQ5THfm
5415dY1pRmBBPBmmQtqr14ZsC1DRa3pt3d0gDU6QH8ONUnKmmp7JsZDR7SPoOSiivV08duh35yCB
ceX6drTLDaFEwiyyy0WhdHtY4047p4Yws8uTc+awIoftIM+P3FKA3EPo+gqp+bb1GvwU8cZKejKu
TWzv5rPlyu1I1HjtGnBYmxRYoCk70luFNUi5z8a3hTjPqAqnGkCB7odBouhC+ac+v7CXNqZrQrfA
kKWnoX5CM2Quw60HaTFqu8bajz6I8GHUR3cE9RrJ/p7dls0cGK8u2eVnNL6Oku98V8Vcdp3X5wlP
R3V+GgW9zp8ESmW9zXGz8A+aF46V/v+7SSp6ZvvdvHuNST/oVYwi42V94kCz9JyKFltJ1Eo7d0QK
nBO8hnzZGU7BBWG82amPgJ+B3/be0AjZIrvNApj7e+/m001GdUTxpY75sA1YTjYdrK9B2I8mJjvN
7LH60Vvkt8MSNy0YlJBuKQaOq3QmjU5QzEE6XjnI5pDclP9paQ4T7JQMT4z5rUX8zJO/isb5Difm
sLW1AWjMeHZekHRQx0aLeJYg+HHaNbgZ4eoGq+Mrv7vWJoJRLmE9tdeJyIqD+xJCWoqnfR8HkhPB
s8iGR0xNIlRHIIobp8kNbN+3zikq6RmV5Dg1WiyMv/u0QUjFQ1tQ0PzJPyQ0/QzUNxQqHvezyybI
Wfp4gJFIghrE9MqWP9FHdK6TYJ8Bd044aegnckbjFV7LK5mcbybvOSpzoV9xyN46PzsUZ3gfxIz7
jaXjxQ6k0XnCIhBz3+HSkp2sRafTE6vHN1dY/acvXnmoFPW6gAMi0zF9RFUWwaHc6HP8geD20p0z
7PgDUKO2DLkVEw+h3BnNunlO+mbvC5gDDLypalAiH9CloTYPuWdHWcL5aYf5jIbxqtrkEBdHaIdm
NvRlJ6Axgd0q6TbfCyv0bv9UND7UublGG3IQ+sG6PORoESw+ow1UbPsdaqPjp3hjcUFY79EwXCdj
YVvQ2Z+aEPOJc30CJB1rcxyXzml3YWGHUImmV2bUkzUKST3qKLKVADMRlzGb7+tcgfh/QJpyFSRw
8j6KMPQKuSxn3d2Gseruxs//oltOX8Sz/BZFuJnMcwKJhwJ/nuB9jYeXyY2FTAt26cipkCJeEWHB
TheuP1pnmHDHMwumPT1feoW0agYagHGqPpyTlhaRXfzkIscBpCEMlnt2AZJNd+SIbjOd2+ADrO/X
fX5bRBimQFIZoO1HDPGPTAoSrFO7g0PHeOmHX9BHHMNtV8FGsQfgTbbVvrsmExfCxAVGbjsteekw
p1MkfAYpl5C8ulLD0zo6dIR6dVax/6AHlePupwpz7BM7uzjTnrPEfRVO+3HbXSXWhC+NoXynS4O8
KRofgKBRdDNsTh7rPpfxYGwxBFbtdKCvhEk1hj4LPmNnHPKMyC76X+AwJzoPgYK9dIe5BFjLe4/f
ytV1ojhzTO8tG6QiyqA43/Iybn+qQnUUEEiLYb69A3Xp32cphCsuRi79CTYlEKj60eZKg2wM3ZQg
CVsV69cSGHGzK3bWWvjSSOfAynf25JELAGNMd4/5hOBuKnKoDpoAPKjTz/ODT8BVJOjJrvSbhY4u
GQK3oUuHnnieb4z5+SPaGdB808l5VSYo4RgLnCEWKkVAq4Pyr/Ytip1NDxdd9k/jWguopatkGMDO
wlr1I+0jRKzhgCnN5IUwMtY0SyD0ji59a0hbUoC9fV9Kc4nRzFTFx1ugBrsPMoAf2k/tNT2q6j/3
SetcbIYoAcbNOQMHcrkczSRrCDKNtKjFz/Xap0c7llbmhkYmSJlduEpW6dvlLdm325sHGK53YiHT
XnXIYkjQRPdByBfiSkvfJR8BZcOGqs13yFx18I5bbYYNBmMu5JY8+fPCmYuohSoQ33IMjNuE5UbP
oLMnPM8yE2Ad0Hj70scojFZ0UtgGtygqnC49SP9MYI6AAvHB/ebDgkOnuagE0YhA5tTGWRn34gK7
rBw+I8zcHtqH3XFPxsFKWYQc+oDcv6KY8jqqG2Q3RCHyjmO4uQ52xZBhkMtOgSLRnQjRzQ4CVz1v
nKqhO333XjPGXpHAcJ8HgxbPI/ScehgDT8VPRLbVmTCRe6KtxWyGdwQpQd0qTTdbTD7g0HH8xL2M
9A5qu7tgumLjTKseieTgtDlOFG7kD6vLtKvKPn18Ni4seLDd1S6nJQOfdF58SOSfS5g9fECWoK1s
m0u09XbR6r4D6E6HMUTsqx4KX9b6DncfxO9Ik1ct7Wf9TWFnNAORLyP1QtljxhZ0jHBjjt4Bx3CJ
ij58R6p0YX6c3GKGmXvKR7TirIFWeRTYNMXkCR834K9QeOKnrNoF2rAamrCXHwX/Fc44k4hB9KEv
LfSe0PainQbP5dPqo2czSCf0+Vh7B+8E9qGX4xqCs3E1tvyLD0wLciPcBQphW6fqB790dy+4CpOc
dLOufIG9Iz3p3YZXAT2A4tUhq7CAHeNt/X3CRguK+hxkFRM66yOf39zGOfYjN+XHbsyP+q2aZ18a
l/CXwAVTitOWfsmRmltZK2gaYpGLgirwVbysg3vPzA7mCRgesMjw6qmnHsAWpK2vwTSVQJQJXo2q
W8Bw19XQl4gpQgxXzGYVCHfBV4OJms2OJ1/IpnUyiGC+Z6NC8BVcaRF9o62b+LLqBdbMyqYBl1rZ
E47OhVYJuibome9JEenJlftgUB1EptOzSxUCHQ/smJ8SDqMSI8Ntks7kpFcYm8Do17T56LZ1N1xw
0BgnstcEW2dUilRfOmcW4CdoJaP8mdNrwVZOAoxMxXZZydmYmlv5KBf3SdYnMqMOx/1IClh9xmg6
LhFa5pgszm+0xxN/qMeutqum+dfxUA/vExJzkObIxTDbvlHtdHZ1EjwNHM+XVS9cN5/8DrMDzbXb
gnY+g0BxqL2dK8K46TJV6Ii9SKBdf07bnPZU+E1v/S3en2ieXInqDdkUzIgegFAUw85dbDh6OmdO
2177CVdCbKskF3TfDhjsvpkf+SJ+s2K7oAcwh6iOFiyiBCiH0WFchPtqXS86M57YgW87QL6Ovtlb
tTrSPaHYI7UgPQFTmAyxW7rTmIH0/ikBu9V6V/BtOODtVfRbyu+if9vdgAOPDO/QkXSJblRm1wGo
AehZyO7Z51nXmrz0wSIjm1rZK0QiUFGnNFq+RQwEGYsMqECo65PhbYHJOJgfD92EmaVRoXREfO4F
+NxYCE9O2+9oQN+sh9kINW3b7zoN3cXQjNAX6SWRfR5afYZwgBiyn9OQfonLRfVz7l374kc4YxDh
Xj8pjGRbrpzLD/coAxF29hyggU8EolSc5/TuRsWMQxSTmcs26Xc5PKQMzdaq/R6RNgguyTa3XXeJ
cNogADMoxAYcT3JeAWpA0SbvhCjJi7BKn4PDHHbNJRr4juBzqZsIDZazEDlIyqJ2eeKpqVWxhtzc
/sR0gWLkbH9VzFBj4JgIIs649S5vyEaM0V8eWQeR63opEg10zj9Sxx0/KNywtbiA1MFlgmW8ceDm
cyzkZAp7qxxOG3aCvCTE1QdQ9ja9BiJMn3CZidjLVwOT7Om0vtNaVadkcPrZTjfNbhR4TDO72JHM
GLqgDzZOdhXqjn+iCfEPDP5xEn0AdqV6t+hZnfvsMBpDmU571I5lN+I2eSPlLTiN1L6ZC4DvbvZK
RCcq7a1BONVcl/Q67ukww0VemwtUIKEvp8MYpc5q/gOTJ1EH95q960DkMpqBVLlXRDdMO4t78LZk
wbE0N9ZdSdnf2kWNsCAttgRjCMDufuchwKwe2vvpEyrY6U1JgHzYNWjjS78UIIlOwKfnTDa01Tkl
kg1q1b6Fw4vKfGdRWj21dK7NpNQnaGwYsRt/N7nHjANUCNQ6VXRujX9pGAf1TjwoA3ZEs4CrYVsc
DHLBzqreJRqdA4ecuOtlnhAXJ62zDsah2CHavTiNE1tcdrrebxApP5HCQroHMQFSagqL+1KWBxck
CbPNCZ4Fc/4cCEll2m3tYTts0ri62vyKwdFjUbG7Tm795KvDvp6mXBZkB1w2JHDxBCGWYYdIzYdi
X1sDZam7x3XBi56+w5n8UXCA+bbiR4oyWeocR10ayG25AL/kNCNeePqtzUvLlSfYk87A5rV7Y2UN
zju+VYDtjMMbLo1ughWBlCOu7o5evSAzayB3cZ1qw/ar8WkYsi2G9HKpWe0bNL4JN81xgZTGIN23
K+bPkqea62Z330EEE8fnnjz6iVY0r7VDMWAIgTer5DYeU9kZxChljthxEa8bs4eKweA+5KDhLtnO
MoA8woGeLjczhxdM8HGicZNrbFWm9RNrLswvaI2S8M26nJmpKgehHIQ7MMLuNXG7Z1LhO6HOk6IT
k27KkTSU8QvBZqJTBY8+1CkySERkhn8f9Nx/R3g9wuP/g+8CKM2/dFIlj5DILDPUGjg1nlwVeR2X
3rHYtznqMKkHL+ue0VoNGBhezo4Ijhv4ayVjLl6/N8FGaxdtyPg8f42m+4/M9r/gbjDURZ0nM3Bn
/Bu416hye4506zYaAQ6xaX65YMomhr2v3f1eQzmPwcGIsubPgL0ztJxJHaAT5BGzdHjCjLLARPMm
un9mE4R4Z3hfdo6qAI66X/wsrfsrH7iWHp2P2XA9e5v1ht/9/jeaDP15f57ac6alVFCdUu1OXc9r
u390v/lDdH6cT91FOwzlDwRgD9ONv9mIrn84TI+k4fZURMSoQI8qdDRnSpEs2zTJ2CEX2z+AmY/c
H34/2ovF4meB5vp+C1GeInFFRbJYrV6w1f6Y2Twspgb7Ez6IJBmoPDyAE2PtEqXAb6NxfkPQiX6w
lk4KOoxawSSsGpQm3Cn4V1XDNz2u05acWH6r23gTgUD7fcNZHcDzX8+CEKKlQoyQkZ34+8XGWK0d
s6Omrcl59wXEavBKqJJ99Pb3H4Rx3gA5MMRCiAForugAvtiWTCbHI30DEuOz8ICrHV2l4HSBe7d7
qmcvayrcaEB9XnyaeMrumEbAbuiTtwLmpU6xT70lfYzd6WfuvXurO8XiIsSsG12gwcbxKEfH5RhX
1fuwWcc2JcLg6/cvrT5BhyoGHigW7p0or2sPEOeiha0QF0U1u6LLKW3DeBjuRArAeNP8yAneT/kU
nz+N9jiWLfq4DUap9lZl7ydlY93G9+vEzBeyNTPjuVXs7qVfKzPjPomLsdTu62KsWoMGDFfzc8P/
Kt031Tzlz4UFbloXYxYwg5aGVwRojBdg3mdg+b++V8fc/XxfRmlY/p//Jf1vNayTuEg1GdGVim+B
ZHNvNlvfbNoETe90t9815wWtRulgyQ/7558fqT98ZJE1eWicmvsaUI9mC5fBsSIFAf+wf4PMD4b7
2Pv+5rB22me7DBcrsjfFjxhZvVdf6FY4g//B6UIcQYSRoSk6nm0PoarIpFLHcUaeIC7JQAPn+ff7
tOkLTqcMUNNPluu+HL4K3B3e93EdLMXo8OIgc1Wx23L/WHorTE+pfqpu4xLUm+HemNKs67Mjk5EA
btkd1beKqr70rXtnMQOUm2QLFsUlGPy+t6VnCGEMxCwRcX5MVR8fpJCSREs0HcFlcQo7VND9E5he
ojW0iOoySkQAAPELrqr0DA1tafgJwSLD58d8+Pap2ITnUDCR7smmR6B/2Rvo7jpOHf3qx7Gvg981
svdr9OJznx1kVcIzQTOxRDVhpPy96qZ5zOriTPQCpLE1UNJ/k9zeMt31aWAP9wHKGLNguDS/IgyY
W2eM9oOPXOF4GjrO6vh29DA7XiyyF8fwCcgdK1Ts0zDsEiVJeYguetLotW4R3kU0f0+7E0ROyn2N
0TVkyBdv+8m200QNVDh6trqFwdLfC1Bmx+xyFzUEt6OxcJlYVkqXUPtUY6qp8twLA4wIGeiEZ3yn
rh07G406St6ommp4dV92Vam6x7h+6RjSLfzDcdCIrB3zS8ap0Hy4VkrLSOpQON5GYAyPEnpccrcp
mmArn5eneF/J26DqI9UC5dLIOAmkwv+DlZFknSuWa1b51zkozZMoB7GK30CzU4J3qYSls1FQPc97
F2BcgvTOc0QKMuGAPW+kU37CLlUa0TYBpEQQIH5/oD+3+sOS8DRILpmKYVqi8XDrt+0lOOryJRjH
aNNqvZNpnynw0FH8uOxy5E0YOY+uG9L6ExL8h+5+ffEAXSj+1wMgfYd7n0VoeNwrVXzJbs1djSHj
qegSgwz2QZTRUql64KnAAoG1HhaMcAA2IZ5yRqDwlXbEo/pyl9/qyA9gFWWQRkKg+Hu/tlZzvAlH
C0hFfR9J59itNR32ct2710wWLUbjd9wmmSOr4FOPNDiEwj9VxtBgLpaFn0fNRLzbr4uLe6HXep4b
CCo0Ml1BA3zz7SAxNkiSRVKgUglF/fcFVJ5s6n8+/J8o+I8YnxZGezKJR+vRZAIWJAJmNaz63HHZ
BnGqyLG9g9Wfkm9uBgtj/TWQdzycPXgR9ORXj/EQX4QsaZWz1ULQsuYJDR1IO9D1nc7VtxLKjyAR
+nc6dGexcm+3r7S9ucoN9798GjGFQFGDqeSp+hD0ZBM19bLQdSYbC61Npol5Hv6+ZFL3LI97ThUl
kdctczE+8uVUGYGa1EzEiUUVR0cNPyrAP0CEZBcl1lc7/EkyArf3v5/2yGaK9bOkJbygnHyU0mTS
k70Z72eJIp09zigM3v0fjO23v3/LJwFfJ8hY+MCbloL+1d+bWiyLRCwu7W0UI1cMw16/9dM7sOVT
H0/T3z/q0RrszwFSFaTCSDX4SKPbHP/Yg5quKfdSi8FcLKJpPrfwSXbgPSqjcJQtz6D+1gFK+OVU
GZ8HQOmYTozOC4A0KZKtw5BuPD6wdj2+b7WBDHQObJA4iWDNAyLbqfN4B5mYDsTc8BkLIQqaoXIh
oLcyjKfndRi5lyU3iTWn3eGbC3OCBuL2D6piDMRsaBS2CL4BT60E4O6wQnAQdZYY+9llNEvfchwD
/GxGj33z+6I8Sz94Af9dlG5f/GNRrPwWCa0VS6P0PEuZv8oTQ+tLGnV8ofoCdm2lk+lHGksv074n
2dZfn/yw47L0qOaaeZEmb8ro2LvalduNONCjeXGQzO4H/esgkdGR1HKfcp7+/orI7dRCcg9A4QkL
kPKg3VHM2sJNB7fVKYGdqb9uLnTUQkyp0NFK5A+3BQ2+BuRwPEZDcXzC7EKZNX6NpncH7vr47jw1
tOlVnBp1NMpBQbV+vEWEeKHyTWqmPchCIpsVM+tt3NRnKrOgrUYHGWjy4GxvUwf2tXtk9IHZCIPh
7i9WjJEA1zB4e/GWn+Q6WOJaXByyKCE09xj3LPlSyKdrMEa+1TqBQA4gcQAALxhpWl4+un8mY8ad
p2WzqjuGzu8f/zTsdvoBGmcQcVTxIaWR5FwQ6jiSRxaJ1FW89avwNq51sePkYqOwD1Q3U8E7kN6f
pAY/zW1i9mvGNG30U6jR/ppMpXIjFuawEnJgxAg8HtURFw4yWfWLMPE07mpyJ19oirhEGw9FkCE2
p1xKjsqk6aCg+L+CbQZN9lmg+UF7e8Zk7VXwfVID6JD8kY3F7dPSHm2yqzq7xvI9DMYWzJ+5BJoH
qMYECkwxEabnMXztcTzQR+Iohtk+rd/Oq2D66ph0p+DxlGgKmSevSMVN/aEaTYP4ptzFUEQmvUNO
KVPZtV58T/VZGoUCn0Kdg/mZoT0EG0HJRPVWimQB7j7oF8jkuFUJh+VDsrFbKzaZk6f2enZchfb8
27MBCV5she440wBqjtWlL4KDsPGq8WtEGwb/g7tIU03yXc3iQpIfViA7pbKO3Ee8pqvsFxMZbIV7
m/9+FJ4dRORM/thDY7+uPWyus8INrKqN1FV74Sn0jhdMOmtKMCClpjzVXmkvPko3/7n0ICnzvVSM
YMgl/g5+WiXGWaNelTVytah26He4Idbq7mTbCQXfbLZcq4L93S+RXt9XmNc4h/ZH8QObOg/8huMu
fv/+z3aZrvNApLAUemq3Pv+4bm7Ha3ZNToYI6qTGJFPeM0x2fv+IZ5mMTn9KZ5tRzD8epkCP28tV
LnEMiJawz+Vg8nJV/+Rej4fFsNCiU7tMXH+0qLmVYVvcw1szspRPCwyBkTq3iwIcn7m4LG/MBhiL
OMeX8NhPNNE+12ePp7lYnRzTaRBoMDPioxsEy1R+v8LBKQyT0bowuGu01xmWUF+pcBFuZPWqimtW
EDi6AuntJrzxrgexDtyvckILXJd0GZ8E2vPV9ZCVgidKAIjNNyq3qgGaCDaC9sqLeC4928WmqHel
OnK73Ct/v8WKYH4P0qgdUQQ6wQ3Cu7ItcH6rL7Yc+Ri8OxkaRBo5A212nKN7Vx0beGVxLZjJSihz
xwz+6uDFY8nPNtd/H8sQH8pE7VSbSl3mIX4u58Ft3GCCkR86ykiHvzMmQCeF7r9mR7w/ge2MrLl2
dQOYrTrR1Br/vg2fBjuTZhrnmV/Ifvy9SFFVqXFVCcI4nEJKTJbp2TlWfjzHSWBBujU7+4VfTumD
Imco4h6+RgOymnQqz9LoOMtHN/80RfitXcVT2WR2wVi0XCvv4ug8K1a5wm3QPfrvDy09y5VMulHs
UhVXq8c6TTkWURLpsTTp+n8F1m3mV4d8XKcAEoEAIEYdwuUQxRdn9unHGpKBfT39P7o/f6/VRQ7k
RunEDdp713lDsC2XXh/bp30Ek2abgqiOocjWQ4QXkeao9dyURmqxPcaifznC9AExURuMpNIQnDUu
kJJuX7KvCxMtkz3d5IqrHRMPea+A6ZaafkqxYXfToiPGpr+v/rP9a4k8HzW+jA7ww/7NBEHNTsZV
HLWKJ8p+1kyaipHsJE283z9I6kqdx/iFiiZXMb5lCpfa3+tdmNkpVu9IMBgQFm9nLE8XCMrp2Tsf
WEbvSrzjX47FNgccwDCyUC8vUoFnEYROM1XYn6xQfHiALEuCq6jrqLJYvt5BhStlEGmFU+gTmRF8
fXwVG55VG//8wIdXf27b3FBP+XlcBV6qe0IEF034viuQ7VuA1JCX4sxvSS4Vp14cj1+aMS7NdV0d
FMa2Z5LAciUFy99fg/L0hf9jFR7yIVNQ71Je3ioclqp3YY9pETzJwD59Xa8Ox4AuRN665tXlDTUK
ZFgJuAJmQCBk2p9qFdOMRFKx7qWUiaGtHKqPTnoQ8ThmiRuwLQaIjPtYfPXUz5fS6JqmCKHrjw7T
Sl4lx8JkbrH/M5SE+ODoqHL5QJRvpBK25x3g/9mpD0ng0qdpYNHKWbxo5TzdQKqhoB9FFsEu/nsH
V9zAqh7pMvMkpCZsWvPQM2CXh4gsvtg71rP0nJv+/3/WQ3Sq0rzVAqu+rzNPSG0osY2fUBvAnO36
5lbHGi/sWTO5Cs4aPaXTTAdSZ1sXRznOElzWoYY5zL/htasZ9ME1b3lZfyxRV/hGy0zABMcGKQ71
xA8n31z+o77nTP0BlSH4NNGWwM5/8GPpRDgbQIs4tHcTV1rwzW41SFz/2kHoilnHp1+l30xBR1/R
B3tAfFFG/mm//yts/GMh5L8X3Yy19B6WN42FmIzuXk/46DyYnO+gh+dRYu9oxG78wWIgLr8GHcz5
7IJg0r5+PzVP7ygL3RhJIXwZ0mNjzDzdGqm60sRLY4qGqunhqdy/ltoYjY7i/HYsLgupiQ8msoSi
Vfaa+63XBvUEWcA+s36xPL1YlmeXF8Licpdgo1WoPuT01UVrAl1txFEdXPqt6GnFNtCGSvxKQOxp
B7hrP5tk8xS3j40MZq9B1eR3db119xZkxo7Mj9RIC0cmtO2+MvHs6WX6Lo9RnLBXobt9EbQfddT/
FBP/fIDH7N2KzaQ2pNvIYgp4NVtbhB0kRqCWryCbplaZus3Nu9zAi6i1S8aLJq6l5F6cToLy1tdK
Ii0eTHLhVCdhIJaLE+DvqwWEm3RRSj5+3yjy0xejGxbjedFgYN3dgv8oNtS6OF7FrKXc3E4m+xng
/PV5I3jD/q7vTTXmWB2TvpPoeBGbnlUg1j8+9yE9zmO90M93FJTqYEMFQipTmYsX3+3p1cHmJ4kx
JVwDHu4zs6J9Ft2770aq1usZEI7WIASGfWDPc6/1HMcJvB9wioPRi/P3NPKaGh9KEddJdP69qrJ0
VpW8LG5j5DHOHWOa8DS7YPf0+zf803D4V7BhMCkyjeY/6kPUDcS2DXU51daKvZ3sy+3N3eOk8vb2
tk48SC5wp3bf7XS+Q6Xem/qOM9rmwADv/sgacN+sVrHtTXV7XMKMtR2vi5goFvz+jE8rDusfz/gQ
EJPqasSJdVbW1mBb97Zol0xKe7Y+O9+Jg1ew+3myDyrQbf8HwbXtiw/vXvFvC/TwIqIG4Walaa+z
EzwGWJBXdBgCUvTQlUELzyR8viNugT4Ehqayr/JMv8+1coy6P/BwGE0FXK7fH+kZBot84L/v7GHn
S2l+NMKiqWYN+iX5MBzAf+V099D2PR7BXtJToc2YfAmtc/Tjb4gC8qtSoou2/1oVS6aJQwlDcvCw
baS7fpO1gsSg0RACd66CKyBo6Iqf2ntevHj/T8daiJipeNtbNHMesV1Rdgr0VhakUVLj2I68ndUi
RQNU6tx451QfJ8k3Kp62+l5eGHXhkarI720F0+E4Isd1qY6FO6uyv4GENdrSD6Jkkp1h1NxKJPt3
1hlybYlCBJ6MguIat7pv6s3EknBsS3JXspa/v79nZ65rkCsyVl+MOR/FEhXLku+tENYzQ96q1TLH
LjpygpZVXATNocg3prBElhcJFZnWq0x/UjpNLkVfPS1v8uYMNkNFPEnGFjjBn+y8umgjodmgExxE
Pa31FXmEqUCle1blWngFwL5ikK5k76axyJRNcP+8N9+XbvbmnHD0ywZB6+KsVB+qQaTOAmxbrhDh
MDjwfv/eT/YMOor0MSRLR5vycc8g4S0znwT3Ak8exQ5kbQBw4xedvyjwnt3gLCxCdLT5FJkQ+nfs
zOVKOsXIBq8rf7s/v3djNoRO1/2lsN2VsBsOpg0Az/kZBM6rhPlZX9vAVFlFdk+WeZMP4eKS32+6
eaobdKbuzgc5aNZPJvBFQMLCa3gVCf58lYdz+NfHPYSC6pbdTOWc3Ne19AW04g5bMKeH7umTzno3
8IpLj42EoWhmXz+DohfDkvFRnLMg8cJxFftZOdY1gLr9Fp+/1jP9BMLANkhQ4e1LIM9Nt8insuDF
NexfCR2XC7ozdyY5e449Xrky4vluO4xXyJu9H1FMx8HCvm/Z2x/lpEE5L3c7aZJ1wAzYVsMBebgJ
zQRXSgTZzihT4OM3gGp2wlONNiKY4lEDf8Aa5ZIXxiNYhJ4Jue+n+RS7TqYvL5QVgjv4ruY9DcWH
WPdJffpckFlB36CnJXZm9pt9jDDGopBdoexdtuDk7171Aytrr3rSFFbYKfWsYjuWV7BgGOZrZ8SH
NpXqedezWwteDl30U8FKYBEbLnHtcvLJvFuoE62j/AgIX+7bY8cqCRQHxwFR3YYmKWLroHAupF77
Vr8Bjj8lHmB7SEdmr5A3OWqHMbwcV1cG/J5LSD/arbEtylftpS7j+m1TPKTKRpkoKRWvzJChQgWs
+IZ4awJDRROgH3YcNhNy2e9n+xlk1GCyrLP1ZeyozIeNeCuNpK1up/NYzJ2zaPaNKnYjRXdjAo5A
wzSG/Ca5edFr9cvkeEY9y0TlET4NWdyLZ3k2CPvrWR4S6OOJIVkURh3oajQC+YuQGWWfbRuex5TQ
cXxn8LpU/pMpPa66KnLsdQlMFTXT31HnqKSRlqpISSMjXbsqWj6IBNrhAr5wa+/hZjEGPbnICt5c
ZHtcw9nBrkCrRl3dHHK8VYBlJfQ4d4ObLMpueNzNLKDuL95Tlys9PiVDMJ2mI+/qX6MBndlAKFk5
GpK3HertcTVVUgjbxSo54hwiTcL79lhS8J1oyinti09/dgOgCcrdB+YJ9dqH4GhcyiYIswrko4eO
jJuMGya3ARIqv39JFQH4f39NZksgOsB40UNRHq6ALLu2yaXU76S1RwgGSAsZLijhxr0qyIYc22m2
PeOF1emIlZceFIeeZje8BZuuI70pxYmHajwoCAOTbdEJ6hhuBL2FiR3/oICo1Ai9mcVoC9I47iPk
jMKDgxspfVtaCw5mu2Xg/mAH/HNVaRjoHyJiwKv/y9mZLSeObWv3iYgQQgJxqx6Jvsc3BGCjvkEC
NTz9P5T/xcl0ZpRPnKiqvZ1ObIS01lyzHV/trvzdXv7sT5pFlrh7uoksWsof87H62gfzo8RFaO7z
FKnkzTQAbtuz5pbOnhUFrcp4JHyG0qCLnVljSuzlnXmYCahTTLfakiaBKsnSS8EJ+r/IqetF0dOv
78niA8cVaocze8w/FvU61msw7+5zs1AusgQMkxLh2RG1kqQsBUmVPrPWOI+o4IuUEZj07m7e7LGn
XR7pQ3Iz2vWxBl7DxI52fnQ/r3lruhmPdN6/zY+PHmNy2keEePC0TzkMZpPEfEPVEVuOxdkBrgRe
YuTp4545C1C8AD6UoOegHvcvnse9ZecMw0nNGLmskquutYRskOYJK1pDO8yOyFw6zwp3/AH+kz/E
HYKS4WOTNCKY1RSqYGI9ADoMHnbazDkZIVX6JnizBuIOQhg0HHKvGLuisMIv8Sdk+c7G2I7o2eKE
AkgZZiYqOX1zBMTzxUCaW932zWLP/K5CzDdaxjwfPGvQJILJN5serLY6tT9HA3U16k2Sw8oz5WVT
bR9XxUiun3eJ5yaoI3SkNF6zb5Y8ZU3e8MBz/VMvDysUknwHM7DZtPbdHizhxdnu7HVncEHXtY3i
dvm+S7pmJmCVap/+LISF2Va623rqpzwZnWKtGRk1E65MKYeWbynGr6v1e7wR7gCWmYHtSi/apSJs
uTPgGMr1uF0SUcl9dFO70YdkrzPpwDNnbqJAa5nhu2DusRG8McJdU1TdBveBSFsDBIeChnpRC2yg
pEhx0Hrf8F8ni95qvVvHSQTTaF47jEJHc635r+okwc23PnDhUDB0EU/SKcvr8lDovYrmyXnOEmym
uBSK05/6DLXym7h8mJYvA8e+0VFiKzq+JJ7/vDZGyDM8pwOW9v2dYbTUYoqWTG+sAiaaMxkAbKs2
6j0te0+oXAwRwvxg9J/527eRXSQ2/KXyjYyaH2xgZAy21TT39RgeyhlxDx1S3xwtgFkJn1VxmBwb
Mcnv3aXVeZZOnvBryUmWpKGYR4I0OPaBGI8Xrws3UkSAZaDVUDHppSx+AYjHdge/6k/6aI6OF/wQ
V/VGMCV2IBqmqKQnHTxTwQQwZIk16MXA4FBuBcfAIrObCfvT2BcNdDpG47BTm/SIJUro1xan7K0c
/lGh54iIcKjiAeL/sY55QgX68cG9zrs90bVZwwXxDAldQo6ZoV4Cu+XrfZ9tX5hh0d1hse1uNmsi
VCZxa4663lytR9dE4+bTJ62N/Nt1QmqQZdmEPvXTof5I5+RtYyrtALgYskd3S3ZJ4z5P4oioTSvw
Rgr0MTUgy2JiD3j+9GShr8ckdKsjE4dAjSTahB0hgimMYn0+Mp0hMw+XkiWAje5Z4pqXMoFWpBoj
2WMdJMKgUQdGhCTs+9TTfedzBMVE5BUExsoK8ur+cUFUByv1nEhfV/BvTmnf04/UGukeQF8E42E9
H0Z6b8JYtVFRHNnWi+arZUJhEdo1Xdm9XTI5H5HtndYAS+dPh+lGBLXzOYLtVrLwHR7UpoS4yUzc
CPLQmZws04wcIaNFrrfoDpfzErzUeXV2agMezidAQTWvyB7Ex/eiI/Fyx3j3A5fHHWUpPe61gxad
Fc44gRj8op8JYmwn/HrIv8bLFaBZU5opBsLX6MAvmLJmsk4S0Tr3XaeP1LidI7zgWw/jPGsWUIiZ
HJ6SrUZPg56El4Mr6tFnqSYFtAo9cQcnZY3UrqcFzNUZuKtmoDMvF9CbIZr+OtPhOwP92Tz2oxuw
1Bkgyr7KDGVx866Mo48mpBigxNCMZRAepEyNQrSZN+iuM9rbQ/CbUTRGv5fhbjTJdZ9Gr+QCm/dY
XqrJkxpt44oMJe7QQrebLbO0mxjdEaguerEcOmxTEOGcgfykJVGjByRdq8K6v3nCDZ69l0wltqtO
lputxuDt5BlrkgWKR68p6mlsBWe8kBcKWOwh3344xALcv54rcHIReSDhJ6ge9KRVtfDcEqTKi/Zq
+NW5qCalWXUHrOqhtYTZMPzZSO+QiQiFudU02+MqcPAo/W2J7CBj9jGz4Tvu6fOGpfWQtmJaUqV6
8u7rcWkUngEuMRNt8aM4Njc2mSdM6IDC9eDMQvVFz7BJtMzNYsQ5xm7CmT5jhzULoBHE5Emfo4TJ
xiEE8s9xaVUUKfgLaqu30fT92TLXf1M0ZoSTa3XypwHA2qlwRyjbGSzlE6Bl5m17n8mVWzjK1eDN
WC2Dk7AObkSJ8WSwoTXqvGIUUa+Zm841B3XK2Ak2iCsYc4BXhtLVyV9an5TC8r1XqLjjA7jFLqUf
D2eWjEnYjaE+eEQLgfuijQGtPtwXGi4rb1lchoGq2MMDVYUIBeQOOUIc5c9lxzulkKBQnwc5V+GC
YPgw+97FmwPQVJOPt4495JlCh6BU99A+whkfJwNpvHg91OwjcgemfMQB6j6HYgV2hx6OC+t51jtO
0vCUMZ9JVyEU0yoEzeAtJNnqSBvRHUevt+nSaKDrPK2WdZni3qHj+/Y2BMndSt+DJ047jZb+iYVj
o434a1FEiK+BtLtgZX1RH9xGL5WGk9Fn3WnYMECa7vxdfQ3Yn5KZJVo+RGFHq6eP5UA7L6ADPQtE
hYTAgkLG04fjfDsvMphiiLkxzgWEaXRpIBB9JnDprCFUqdQGw2T1tTET27nFE9oRZjK67S0yQDdf
GVMTlS31DYaCz3OGvGcKflVk5DMGiIUDk/fEnqMljz6FUXPKMh3XAftX3LLCFN+qSw6T11HcjIca
fgtce09tab7F17oNDUzGzDdGeMMhrPuA+xXASgzs8TFACPi8eoMtvgT7NJjicBV4T08dX+Slvj+R
uS5sThjBYdB3L+yfIic1RwhP6/8veGyJ8hHcmwhCt2Kk6OQkSKXn2r7Q310VBrWAjxII0VS+RfMd
A+vmU4HdCJsr2rbATBS76U/yQCtJUwCCAC9RMaUrTHNygrAoQAWhCHaGD87dBeF66/hnTN3sWB6U
t5IvZQJkSFhUMATOmx6CSb4+vNUFVrVjASeLt/E6vvS7b2X2HfsOSKoCkt7YT7c0pU2f3n5gyBA2
NQ9ULhBfdINQ+QsXw1N6EBG8bajOYADUcE6fUHV/3+VCzab5XZ4Jy9SO3SGuDgzHxvY7AyV1rOjj
s7ud3U6gJRKUHbFybTarBF4diR7u3VYAh+agnTbDZNs9Z/SgxRXrQuIpatU9p3oxdgbMuuL9fp4L
ognE9Wo1oguDcyA3xp+Z/V4MFmmhZ6POp06P9BIxgA3JvDcNcW/vHPvCvIaadMVNCEI7uCd3zIV8
Gy0yarP39Mb3+aHxNiq1Eg5Zog627WqwQGU3snlusa+XdwwnVYz3or8kG46jOo2he8d6r5PFlrXk
4D/1tOMFj+iZXWFEsd9PHhIQFDoCiGhOTaqVvlmzFi0o+BJmoSxgfBk4G21rnxP3xVXQxAh07KHN
vHXvFtHkXhO0YPBXzeIMl8smMJPmWEhGVwxAxk4GuIRaRXUULPyezpvX/a+Xum8tH74krjmWMEM+
GOIkSEsBbxUa8eQ1l/bVVp4+F8RkX+NDyaHxWsGGFLXUfFhg6YZacaU5CjruzbNiV1I7zlwwyaZv
pzDqI5OoH+CHdmjKSssWx9yzhXA+wMkRKE4D8OjRllGUGokyudiQK3tLi2ioSZnJEQVqiu/AJ8Nd
INUvM6pAgprZ/Vm0k8kzXJMM6NbYg8OoD0mzReh86g9SvSR/EOCT2BxaQ5I4gLFsJJEug1eItHao
ldBbfTsXjaqwKhQYAHwBjoDl1TqwRQDcgPuAkHwtHgbtEYNryjAQMW5tn/kEitFUyPDpyUt/oE8W
GRk6YlQeAMSQR0RTGVuPQZrkuf5+ujSfPiEJbaKPJ3LifFaWZ9fKhs0dHHqlVkcWPi/X13+qJBDD
zQA0P/BTLjRqOO4QsSbJr52X1ZUPT/dG/VD9p1auSgKqMa6O1hKmUyqvVP9UAoCl3XkLuTWYixYU
ZwDbYPnN/DaeQhjZDeeyD66xdph7nXlzZUUetFNVGzpbSGk8ZHme233wRFC7yCIeMSPNvT4ON2c7
PHTY1WgnSLpCaJaqEZ/BDRGgoF8k0iOa3JHHW5Lb7x2Lbb+cDFs1nw4A7WL2V/6kZ7JzfKs/6Xyi
nunpownwY2EdWvVhPME8uw/7ZZ/Xg2Vmx1OsJ4yC8QK/ni/5Ffn0vComBSyxoUrwU0xiyEdz+HCu
8jlYd5gwafJmrM/of+SQRHKtn9jw80K9XY53/l68IT+pgHolNeBgOdPL8EimlBjLKdivAWKpajSR
Num9aQGKeaIqHLGKIxyaSf8+HHe8kvHKeMDFkq3DL84J6KfLcJPAc8ovmKo13OAtwG9Ypuuz2XH4
fEhNRPS4OAFvWlwu8foNOsYnvUB7/hR8Ivi0nLjt8HTRIVuOZ9EUmlqzeo0sUrJnCHlahJkucTnX
6eEtaByIL7WA74Xk6XkTTEIGe+EgnFChPG/767avVk4PhM20b4GQnVaOuOCjgexIKdk1q+GU1qN5
ape3jvE1sIIJJXazPoUd7V75TM9aG6rC2RYBYIPlKdxfX2u9t3qurRrPa6Q2UPX6RpzaJKxBgZK8
5jsFeK0l8+SDsd6CI+nRm2oAJBy3egJVDEoAjEbEJoBhC1oSWhVITM7cUpOeenGA/DdC8YYWPUhe
pElU7wsgGn/jjjPnPB2tB7QFXNnuMitsJsI376lnGpewDWCqdgCG+JKXBrMhAHE5WIiZGXxxVh2C
r8wC7oyvTUYYbhA6j/BxoGAqJi1Qz0Oyw3RUV/4Sg1EdRunkHFpfyvJ8avChebcd/KErVTT+5fkM
Twr4TjiFEJhHapWRDSe/YLzP9KpM8bk+BdJYDGb0ulfwYQvFRBQVEHjIZxFP79RuM5MLFU/YKgEW
POO4BHbcNix9Y2HugkXeR5ZjXtLcej1/DjJ95JsUD3Lu1lvnrZlkYtCBSwNxBMbs/NRBTeIgYkcF
EtAvHewkZ/z4jMBl97d8Xj85AkzS+AFM7BM2WtgZLgh+o66E8DxgXfmLYej6hcXXvqL2csMXjQCJ
K3JFoonx4ZsBIh7QXxbdl5grQMMw0h7EEVqWm1Biu9fusK/0HIUPIx+bca8Dib8wltcSOFduYpp5
Ed4rRhPLywu7f5XuCy83UdpEXHWXdvz7ASIrvC8ag/z7BfYSc40aeQ64coNFf+Nw796H9rEbvXUs
5QsNmS9MbyOo2M6vEtw8jwzJc2/C2BGdy9Ec85oWFq9F7JxL4YvncJaBm9nwMXmXzvRHBjYda82H
kLtK1oDMJjWsTp3WxvJzHvDBuXy+/3yg/sKH6S6KncUJAYommqfZpGThtbXtfTwAQPOzsjRBwJPf
4G+yL25M1CGlQGuyZAseJ6nE0CAz7LQzz32tFcC+vMHY7EOvhR0KD8hlMVJU6xnvNbxOwPcoPuzP
JaDmjn1ZUmbRemc948buSgBwK9JPjN+8UY6BB8Fqd77ooVPUwSFy6CIbXH8dSp31Dj440ThjeY6Z
gi/HLmDvjdegQGG7oqx0aA6SrA1PrA4uVZr0LmKqxdeu3K/So8NRpKb3aNIezwtl8ZqGawpIwekM
h2z3wHJ9vBZyYCcoCDmMnZlyozIGBGsLalqMvnWptQfhrMe7gAZlnKmrt4hnJc8TPcYluJzzmha/
JS/LEX0R3XTXxVB6ybrcRAQAwHsmQU6zO3+bcoCgwhh+9ZYAakZEfq9DPBtNBj21i9MOvKjFQtTI
9Knxl3CA/EMYAbkI9tCIJtxNFYGchjDkExQv+Fv/QwKbI7r5Kp9lC0k0pIOQ63GkgsQlzIlQ6vQd
DzTtIVkkC8Ft4Bis6RB878SxOYQDtJJs3znPCVn0jeASoMBCJG2+I79x1kJQeh8BKQM4BJ722NC/
303J6fmXiBZJA00QKzPjMpJI66g8HxTAkWcGDDrpLZEzzD+kK4LDRDyp9VDUqEdlW319SnbQw9Rp
2WY8kXvAfCrfFmzvmGviVXCLjxQonXBoXXo5qBLAa9YiYihLsKvd8CrDP7ie3dfnq2NgD4yLBEnz
vEjn/Uu4hlOnmFQqrWqebUU9JN/yJu8Bcet6J4DUx3DLDIbTKAyaErkIXV6n1wXhDo7M037IUHR5
Ylox71wf+vdmIMJU9NGmjcnWX6GihBzG036qJ9+tp9kEJIQCdJf9Boutx1qhtz7QIGwNmdRSJVxB
M4e+jl1kQ8IhAgnM6tw3QMDpWNyEDnEuX4G9t5/7yuDRs+H8BeeF7n006g3Ipr6uVLrj90O1NXfU
Kzx1c0F4xn3o0K0hy2Uz3iZdPD62Ga2WdBGvPCdCUsnur+mumD+s19o/9aePVQWQX7gUy8QYTCVK
vonVwdI7N5gqriroL/MxJQNrKjo+qxPBHAR3dgAd2SXS1QRFl4Hdh9L4S70ECuhwOYQnSfeCztGE
F8mWTGDziicweSSo0D6ZNS6u8HkSXoOpOOmTJ3ThRXfcMefpQPvGc72yXyHv0bQV7x86KHABCqow
kSZP3p8RbgN3+rwEyzdGnENYwmWG+s/ngl4cTPAkDd61IfH0+TqNdsPFy4SBGID/rAz8lv7qdRzq
7yvPo3Cx0Z3cmrjFB7I5+GRjvGtaVNfUZBq75bH3VTIMSTx79LbjGb4ZWiHSJL7jt/R2pZkemvVD
h2+pCpNw/17Jqd7bVzao5qlwQl3kec1gfV3jg3jiz6EWfMkdJZkYAwQb4KG3LgJOdZLZ+xp1GPkO
wYajkNviSdk2Tu7yQYRJB9dHewxVAjQs9PBWdiT3NWeW9AW6bNb90dvhhVQHTPQG2Rges/36eGhM
Lnmq2SmsJNh7+HoaWZsnQ5Vfkr6OED1oNpHjrYpr7sJtX42uwccCh373djkzX9ZrFrExZ30dyLAW
YMIhQK96UD75Ub0iPSvM+mS6RU5Ep9MJmiKPtamWskmCf3QkpEQk4wJszHqbHuzd0S2Z07lPRgW8
8IbkGAjfy3ubrAUSk9tg/ZiXl+eW+Vq12DDXvZcon5nChbdHdKD6Je+LUMGCbBvySEzZuIqTrUU0
IMZmgNwKvhchWbzpAg3OPS8y6GF4WB7dEvqTnkbYydx1vCfu8/n0+Mpm3FymCXkaTxcyD04ByDYC
qVB7XxEOkOlAblRlQgDTPSYinO4Pc6JxlGIyrTkQj0WrYDVkTHOWfHCCtehcMDk9Nl9Q3xyZ04nK
zJI7k57MxQMVofricUId4WJ+SnvoejQoPshwDo4RgG0EkMgZg5QiKUgmNHDPUPkxFQOKobM3ohEy
91AhGUqkxVbtu90TLdzKBSxkB26BJhY5S/21ey7qrwGVnSG1PdaxJkzYeCt6znbSvkloeVDfW3bx
c+kHegXD/EYcXx1Rb5knxmsPh/KDW7dkabsZqjgjrSZTHGyjz/dFOcqK1poD6z0v3PwaQmibCguC
g5baCRk2kgYOs6wR/SqUVKmVAxTkfO0Q0QOrNcEg6wUJoGQqz/zDkyrW+ryFe5u6PQNXDI9kJ89l
uI0dP/hBhCAtagQUh+p4NrayLZ5ql0VQZbBAqxDh6oA60qL39bqRl5PoC2GcDP0bZQI7Easezx/w
lrGM6azGluEqWq8FAZ7qfeYA6D31sc3nry1Jvp6TCzCT30YgaaJILcjso64W6LTiluT0KLsclaNI
PsrXK4xsBmiJvi2tRxntPvi1n2hmw3JycO4bmnnnHDgJ48wMu1NHvbSV+r6Qd/Vd/ic7ZaZiS5Wa
LSPS4JPio9+o4jRGBAoPYKwXXLUPKkPUh0cFGeoM9yO0YT/qj41i53PfjefZ8jlPlo9TvIZTeXnO
HwzIgz8oIbyThFyIOledjrWcHB+kvjmhzMfjllHoIdJKzewIbLjGxnQBCPrQwgbrDoLdCKYJy+pN
tCUgJfHU0g/FHB6pMSDRRoizJOc0Z6qta5cwx9NwVzr5sTBf6AOAWERLqgfZDrwyPuqm2r183KWR
M6A8UUN3ZEwfXFC7TUl6gAsYUvHS/KxLsr3OpCu1MdJ4io4DRs7tfKz2UG15GNnkua9JmtU6U88k
WtNLNulR6SbRhsSvQU7upZN6dbAf95yxWIM89/gjtRmr44AZazhPUxJxC+CRnJM4ulS5THld2RxA
/gbHERUEfQC/LZwD4EP04z3rwLeJPnaazmfr6J098on1hIR3B70BVq4cOkpvBGwzVufAb7TiIh7j
eb5OEfOgOsHQwWvaTlod4RADt8d+z+rJr/Qnp7v93rOOMhjq3pYouDCcEho1t9eML0RN1KjIbVuy
A9qYf7gRXfsSZNz4Ek0K1rYI3nuwUjYZlQ5KmRRlFxlqAR7CUdwHK55za+AnvyBiD7g5Zu4G0/bz
oftzljkB2hMjiKKLO+6oyxTH1OlctHlCE++T1w8XSG2sUvdF6EchQx+QDqP/zsjX8TpZsudYXuUt
3seXJ90mCDsAQTfiub8OS7VHdnzt292uPdtClyzvr6IpOYemy8LEpC/eDtTwWEUUZfO6oXgF1L/S
KAruqxnx7lLWRvvY4VZMkbtaC9Nm3+KisfdX5BICjd90Xpw3XvSRQbvt+PTZNLyg3wzrt7pDhMPF
8qwxyRbKeMjqtBooYKir0k04Pkd6LMzw7NI9KWgBPUl+Ra1jsVgvIcfkHfxL5FmkS0pfr2MzfGtC
ManuxZ6XtTQ7iKrRjPQw0bu7SrkPKcdFOC+63f7qYLOPaSCqnmfl8NCP8f3R10c7OouxSQYvGRIz
mACx7b72OioLpezKlsjPID2VGi/Y51wpVpUMM79BYM3zaILleCVm9JvpVaLn+z6Jd994cpMv0dOg
NpFsE3o5Xvi4MpsM1xYqtFphoTFg3B0QLNtq3U6xOILuC5aAV9Sog51k505MVNPTi12wkE8kl+VT
uGNoKp61XaHnQHXCJ4pbS6RzaQSgQdfNWt3ufQidK4uaGN0IPs4PLpU3aRxuH2Y/Wzb73grsvIiC
Y70tlz1LQaUqdyrc77K7WnJNa8WUbBGxlMjsroU6Oeqt1pA/6++vlESePj5FMFcJcj6qr3z3uEpr
eTnuLq8rtY2nw/VZw5hQD+efvuWvaeYzurs/8Zbnm6hHJ1ofkQbhyJuO78GJecFpOve2/pr9xLY7
AQsgscoA93MGimiTO+cDKL01qwwVHXwWDrdJyIiGRtfHrjHGq9AVbN89u8qBPDyFKmgYNp0aLNMW
QwtL+TWlVsQWZsyFgI34BZ94IYqGeMjZ1t5S0HOH3D7FZcPvDGH8IVzpoLXKQ65dJBVj/1gUOwCy
no/8VLySrqLdn7UUDERt9NUA6n8SszMudVDIKSwwn1Jg8DCHfGvKn7qgCKSukX8wpKeGXcSAiJ/r
0d/xVt8wWKz6SdexzQkY5EjBqqkh2YmvtlcecjwTbMx1jK/PnXhwe+xkkys0yxBAT32MGSmkGz8q
XUNH1t57SsRENF1lMFqK0zbRYvtBTsxJ5+m+w5KL5ImBOT5AtvTvDziisOYDhFPICiKXRluED1Pz
dYtR8WQm+lbsg88zZWJ8IjLuejzjBnWajkMzCAkIm4El75rdq6dV2CxyHMRH4gJLt04vJAXJLuJ5
wP8ewHhmK2vlFskjlgNaJmx8tpNyQyIOi4iK8p2V2d9nn3M0gGiOXQ993U95iNn2raV0GPuXwyjW
p2AlyxNgP4dYYm3Vy5FGSqA0WPBrSyDmsKenk0HL0+fl0n9oDnIQFt7aaoOo4iq1GFwnF7OAMTsZ
LKmF8ObGiqk00jq7S71tp/NwyPhFpjsbXEdY+343vEZ03Kot6hfWnSTAy17FaArQAqB9Kruub2q4
ym/h5Cj0LUSKqOoc9jkNDYB9IWG3Fh3EEiX1fXJd1e7rGmw4e1meFYW/XkjNsSBD7Y4n40ltBzgW
6F5y0G0em839PGdzoy5t1Xbr2v7HnaXLwlCpOt5ZFfdIt6v1U2OUzr57G3n5Xorrx+GeyfzAJrdy
7Y6eB8lieicQkpbUVQ0i5lmrd8ZMSJx/MHi3A6XLUruLNupVc053mD4O36qvbMFd6wbmnUg/pGHL
5TdCYxaAqErTQtC4JRkD3ZuYDgv9XrvUenajnvpZIS6o17bU9VaMT7hLVLD5tv/1TteloN5T6z5u
wIRvXhXMZ71sp/bq8VQRAaX6/DmmU3lCiRSpBP1B8kBriM40JO9KF6Q08tzwh599E4s4Cz17pWBv
BpXBCgtV/UFkMAHeu/xMxjqFV7k3odW4vY6nQbSKoytXRln/qX9+gnnNtd3osrmv0BaIrRVjZ7HD
/Qro0vCBCHN7aDT0WTyCbhSAYvEZtZX+Ofph2P4f7ZtKHxZBXxwIXW/9tw7XZzbyg+gdN9vBjXKV
+nRakyZts/fDpN/gHz2qf7zPt/7dwdN7D7y2abd7NJhn6ekdEDH6nt5s2tnWtNaGdRrc5ykAKzo3
aDlpuSHRwrbd1U/MmK4h9c9uWfB8Q0i4A2kwhELx7RO/YqF4y30m5p+92fM5b2jml63/blYVu1bU
b+8hK3SwQg0RByNh8K1V9RF4o2f/3UHb9NkHXGFoYD0NmdCloQIvohTOlqG/7r/ftf/3ePFAZoKI
wTYGMqDFdFN9v03tie1QUR6D4Zu014sIsAY/SvIEdPyq/AEB+Y97+Ps7Db81/SpBvwbx8Wxc+en0
ahxnkagru/z35/l7CLH7OANmIYaj/mA0/DaoDPKnks5l0aWCOOuiudys/zcDgX/vgD/f5tvYUzsq
zq9IgjI9Eu/n8WZMSiaPxlpc6z1yTrVZlz8MOYrdb/xrdfCZoLkwa8VH+/M5PXuvelgGVX9W093a
3+BrWug4G+RmdSqQZA9GeOkdYV/Ejzlrrx966f99X//n7b+PEmTVKO9JYxI4SIyR7ZYt6Ibe44eG
bYzIvz4mjdpCn7UALfXb84vO7zYahgIB3XGf98wARq1G/wNgfRpRZyQQ1mBSyYjQY6quJ6ju4qUJ
Bk7cYYuf1UfFiSo3IH+kC6iiK42TdKI0wXJJ4IGHlxsZxboue0UlKgyQJeSXMSW+KL+611POSigS
UAMrDooeK+ZXc2AbmhNmWQOHDJV6GxnqFHSpNp/vGsu+d01/zLRuW0+1V61qN5ajEWNCt78kNyJM
UtiMPpi7x6lQ+29tB0zJ3vT0zxVti7Xqf9WINzI2GujnESOTnlnN6l8H5ecnTRKWh9YTW36wDTX0
RWjh0cRMl5f9E5WHdPpZurH1Wdp0Q0P2p1FixNn9k+X7t1n67Yl8W+qlWHYcXcySftQ/ZrW17R8m
FgGeohrOzgn0aKGvfrJKf3fts71+e89vprDKWiVqnuLbFfJ5XuO8BK6cEgRZcGlr+Qe71P/7mPnz
3b5trerdlkksvPqzwYJlNfW1TtSEWQzU/fCmxvZ/W6h/4Hz+fLtvp1qYCEnjB5DzlcCOsnmTEKVS
MhoW9NUxtSQzNIW/Ppgzrqg085rkXdpp4MiMCg1owm73tTz770sS/7m7R5IAXggKLtP+fxqXoK5f
SvF6dS07+lGhl5gyCNuthLKO6hMPW7opi+FimqsGnKofTFv/n6btt3f/tsKq+i2VfqUIs5JBK6Td
0KUk+u00QuMf8YS/Tuq/7Ohvb/ZtaSlCnPWbcMQpNFiP3sunngHAHLankFL7uVaHOMB5dZNEEjmP
PRClOpu9SCu9yQO2/uKH+/7vlTeC8SDjXIj9b4ev36bpS0i57y6jDYx20G7PlFKpmgwpjTVQ5KlK
5xrD8/ZP5vyfdlaR4JzKjOBwWP75xMVBDN5Wwc5G6G2o3j5Rj+lkRnsUpZeSPPHoOvFWa4DU2Edg
GtR+/Ntsxon9sbgiO2utSV/T2nQhmfNBM0VkGqdom6tkLwckrtJokqvdzL/tmTjuvpW+Jnts1E/T
Zv9ct799im9bSR7LD9nzz2+3QV+JmjKZQsrlbf5/shCdyAXcVEXEU/rzbsVJmgzeIbmeAcWIaoJo
LWj4nAZv2oj0n47a/j+fzRgcFORUUYD78ue7+XJatX4T9ztcUMCwht/zzLa1ihIeLiVbX5z16tlQ
Rma8vXK52phS+/9lYf52Cd+WR9wL/GfvXfah4cqL0aLWlN3L6WYIO3+DTpb0Wt76WkWwhtgNZrLr
E//vS/jnEcBgWudxMxn9HfNRyZ74SOpQwN+JELpkLmSKutEP2+AfEQa2eAwOvgPRQwjsHsVv3m8c
eXUsPtiAutunC17VZ7VxbLXmxvjQ7EodVZ2Q0F4eRM84kFfs9Dp+4iBK3b38yyL9dg3fuBmDZFg1
j3zQm55n6Lgt/G0yT+aMgjCqEKGNPnAfiCBLOSKM5yUYiH24FO6PoRp+vqeBi/QPGn10/6ChLDG5
8Z4HSxL2IZ07VkPnB5lLWzEz+nHcAN3ZcFbUP6yVf9Ct/ryH3/z6p+C3/cc4aDsCYL+ycA3D8WF0
Zsxo16Ch3EdWzUIOr5aony+lZv3f62TwzwDmt9v3bbfUtVwGXot/kuszfSZRSzxPqKFp4/U6FFTr
qXJmzUN185wFOhkCd8XQRINF/e/L+Pep/ttlfDMR5yIsW78PTUxK3eK5qotUr1KSxWSmJUbLaqp8
lbj1h2ZBr1gUXmJa+lMmndppUa2UiI5Q4ScvSvzXrQHsL3co3oE8+oVo/m11B4EQJrgVIqOvH8WJ
UhS6tJE7WY41klOq0bOemkiDdhcu/LAopH/ZsDHqFjDcQdgwZ/vnxgrietjgZzRuKzoPWiFjctVS
M6toUYFS01LDf9YM//uMPmWLQlhCeitlBOoGI5uQrRFmbTMypXR0GEZUVqTduYxmqMJoYi6pEcJ7
j7SvK4N70a7eVWK+RGKvB10YBchY+t7aSpoCtfZrXIiCeRNaeNJi12sE7S0ONDnMgDw0P8Qu8r8s
FjRZmdFfwKV/yXk8/aQuAcUwG/9cw2RYZUJrKzh1fWXoFEXmlEKgy+lNHh5HQbNSUIjqOck73g7O
PbNoSLC+z3cB3a54EB4LKZkl9Wj+kt6zcxOe4vGqE6l4y3RLx28qoNF5WsTITUk9ixFfTSaz6+XI
JoSBLSbICKYoZPUPQU27kzxcv/uje++8ebbFhmXmvM7+pAklOxx59KGJTlwQSJbJvEpfajSgrwhQ
e9g6wYgx0HQ9fLxM/9zYP27dfxx0zEkDwRUI9cDOfLfxQVNIgdS0jO5MY11kEhU5QVgU83xeLlPH
06vTf2/S8d8D8X+84Xc/V5T7iAj1z8gA2tldWfWPr320pj5O0/0OAly/Nh+O5z7m/rJ2hPlgMmBy
a7x4biP0Ezs8ecLfDm79BTVY4gREN2uHznwOSG8drJupaFyLjSBRUk8X8QJBZfeRb7Npb9Y4501/
Jc9yfMypMDKkAf8vz6jj9FbUoHJw49FCoclpl8/omyJ1jtEuUiPEmgfbkTN26kl0fNGXsGkj7S2p
+UxZ+7PetPeDL/4vhwpuNbkuRYDk9FeeqxmGYjEkz+WH6w4qqlRa0e5wQH6yD/98o7FA5qnLdP3l
Ub3fz6AR3rCJI/WISIHi/D/Ozms5cS1a10+kKlDWLaCAyBjHG8rddisgUCTp6fc3YK2zu1mcpmoX
bRoDVphzjjBH+H9qVNXd4Eda0+/TqXv0B9AeuloNh/4YOkPZT7vZ57v7+dkZtDSq9EiYa30i/EIy
C/jW1wP3Q/3vUtFMUG1szRRakP/gie6PzSaNqlM7KtrpJqaQqtz3iqT7IyflvqXAsU0ne7ILtrXx
TtZ357RwolksOD9o1OjYpfzH+ZEcIzBUCOt36RonLxXnqmc6r6eT/WAjcdko3PgQf1ztjb+Wmvm2
raIOVwsKWEoeWJ0pOlUTVI50LIjuaGPd68v9OaWS8LWAqD3+yEjR5ZYxt5zdA014b0P3x9XcuOV6
XTlWvjteYlWDuL+bwZctlJsf0cx6ME/39nNAAoOCZMMWYti6+qehyZNTuj12o/OkeNu7yozu4aD8
VuE3tWfU6cLeZHsbQvuP6A3ueT1/nFfWz2+2tdza24N6xkOm+3CQh92RbAqakLAmUAYqeYVHvuod
82IS1TRNgsOCgHRzo4WSgDZxKE+jzfFz5ywKTF1Kq1zR71htD27pv6vKuytKV9HOli7QrRdghd/u
L985thptVNzG/dKK0FuCO7yGFHnzGluClBodaY0CDWZNtkfXlvAnUYiRE6zJi0frSTzI29X9+7Xc
OBNRfqjqs7lpx21BBUH3tabrQT+SqaIgV6GYoFfRKwT6TDY/08a1GaV1p19jLv8+JHf8dDCaVJCL
ukBdgWl7M+PpJqrK9bYzArHhoISMQpw+6fVk/eh+74Vj/jjTjfzksdbJ1jvQ5gTycwJZHbVpOw+i
qGXT8/1p1/3UXNJ/T4PRI8SMe24sQWaCQILQxNTfeNN6vVaS/MS2y/Ydb3MKjB/KVKHSi+rPPmk0
6HqzCQXBIEpFsL7/fYCvhFO3E20jw10NVjCsw812rGm0RD9WG4RqVnb9czTp/oyW6q8zzSiQXK/S
eav2derSF+cPoIbW3nq+/iqPfZVteSrIn69r8m6DVKVqexfoK3VocfG7oAmpMZgq053WKwkHawQi
5qdlhRGZqPDO/jjW/c5I6LoDSDlpdYZwdCRI6dR4GfNosHljV0OLKUhvFCTQFTDpDClYgcOCgTlR
ESbpWrymUKcEGp56WnKIwrfUEoA59q3CVUJjCfqohk8GhDFgXkAQDclsxpRDR6R1nS9lZU7taTOp
yfAlsz0cGaNkcILbVlsJWIC9hFScC6R2whmvoUd4FOAQCfrbwN9I2ObkVNn2XHbZga6BRBvEq3i+
W7GPHCSA1ZPzIl1NKcxyhyGmgfCREr9zetabqgLrRuSfLNuforUHMEgpY8C7QW44jGno8KhjgbfZ
L1xOzG5FcLNyD9qwuTX8+6JTRW/e3Drnxm/H1kPJcwHZ+03RpUWVwZWUa6tqIGxJRLuW/jcJ+rGE
Ohdfj/Ac7zg+ZFGARpJoEpD5N7eaFGphbxpR44QZ9iHJRDRndn40oXeUlSRrHEGMhyPyNrK43ar5
wTiq6QpUAfpFp2AbhGf4mt3uohzbb2E/XSSz+pWV9vfhvDuTuEvYDVLD/4krVlGm7ABvRVaHej/p
rRw3WlHd9GDSHp3lRkFmrW1pesrGAZMva7RPCJIKh0e5j3vJUaKyloGLampQqdxMVr07b3aHna1O
ziBzUyX91WmJeR5A3KHqo+7p3t8HT7vjdApaHeZFFVfmAmj321o8dZVOmpzM84i4VN9cE2xLtn27
E9F+te5taS21znQYWx8OUIHdDQUkaXymvO4Ymmc8vTRtnkvbpH6vscfmzp7AK0dTlr4BbHtpWVXY
llpImnn0sjtVwaEmQ6ocKnebbr7s/Zo6MfjHNdstneJlD8f93+/tnlEjK+vgwRDtFvi/P2U8627X
iZIJnO6xPxnMjGA1dNI+CTir7/d7fWoXzq/VhNqPhxCqd09NpYLeUUFQlUv489T7Hfa0Y4IbOnrz
JufpaoaMD+cFmfX3bt/tV9jSX/uAMouHodw7ERjokfGgKBrQkPkbn0F3lMxOO/BTHOyZA6+8E9FZ
EAUVhWxZ20+OmduyhznF5gONek/8ddD9DdYu++rL7ua3hdSk3bJOj0Sj0DKw/tRJKAjzoEk8wra/
g7EIwhmrFRx9C4pg+yZ5k8RHfb1vt+dVAa8jHbSRq+oesIF1Td031DKC2RSmNK5QGbzuR10QE+iL
aCyvHhSfEOemXmGAL7KJxkR26tH29e/L7p4IowyA14Trx2CLcLPsIn3tdNstNSTkOKanYbGqF5m3
+UogHa8f6L7/z7nQuWyh0e/GzWwr2alOO9GeOkUi5fQokMORMtfEW/f/fleXyMiN0XIgQobUxQDT
TLtFBT4q5zbd5qfuSOgEKtoeHWPYicFhSDrD6DSRnOKh0p8N8xsKp/CYQmimHJ5V2itpJOjAvZBm
e6q0M7SndhjmgJ1LNClW96/a9jt9IT8eN9N9ufEORzwVYFY3dLZTFljrBgXSH3twwgDixemPoYr1
L1uA2q+y0/O2KX8kLUw+hDocSx06SuxG68Rlk9BJHZRR5wHIoflfg0pMh+GG20CVBX+jo7Nc1bWz
uoeT5cmZHcYQkdQ9wMnDPLQ/k1E7BufJ+mku7IUxA/HmJaK/g7qqGd3v5W7ZHe0nKXdJ/eKsnGQz
QFjGMXBYq814t9RHjEu22P7E2R+hVrNlZQJ3UnoUXeGOzCDWGtIGfR5LIx8FsBPHGid0vRUTa759
EJi5E4/gNm0T6jgYuYU06U8dZjVavTa6qE+qg6BKXh5ev+cbnJRdbxqGwa8vZUx84oEWuRug0zqA
OELQRD3GbXGQ3WVwz1r3PFLTJ0Edd1LAtUBiaI5+ZU6E2B3qnM1hDUrbp1nT4/D593V+xzkjKW1w
ek3XCUddJO43PaaWat3JjuRnNJIz6w9g5dgQrbzeHK80GVKDMJ32B8HfT3pHjGFFgTmetBO2+D+U
RseNae6dEzDDBHIL/ddGX6DCwBCGT6e/A/zrfHx5iAX8X4XNOQGbh42X2yTq9Of05ueqk+3NGMt/
/IxLenIp4+lOGNBYeyAwj8504zudqpNz3JUGqPLayyZfQoDOiSACech5fClY+1NJ6eDukgIgWoF3
bd2cKS9Tqy3q7XFknzYuMCIdbXYipticfBX2IjryjZna+k6HUlXn02IFkTRqTrHfKT6TPZ3ox18W
QbPkSOkP8f3t/q0Amo+LzSmbBPVfqZ4zMIlUJJCay7R9rtN1v6W7+u/L4b++JndB5R/+ugELgCk+
2+9LcBtXa0PZd0eV7uaFf9B3YWHSsIh+2+w9eDOrjfHAD1TvzdHv57wR9uN2v+koRz2anBcZNJmS
5Ism1Ygd7NM6xJ7vVqfhlo657jIZN8BKzaqX43g/zOKhlbJdfBTsupNI0oV/SqRCNTuafTOTsZbH
naqxhEesGZ8OgDzuXSD42N9awDUozzFtLvmXCkQUNEnLR0Q9pIwY45uV1EX5kaNFJLXubVVYXUe5
06QYccDmpVZh8qbM0jl5tOnb27Y3Ap3GNgaE3BOAVQtPPfWMYjAcJh/j/jRzqz49xfRpQ+nXLEui
kTUbE2OMlQio+wKW/aPby5RB21udfmD3nihu75lfB5Alvn9a/Z5fZL1XOlUbUhPpi/T7uPESqLDp
54lK/MLqP2+IMBb+ufeLLu1ftHDv+lDEnIkrnJ6fRnvBXDfdgKYfKEYC4T/YA83z9zV6J1oH0PRv
A3TjhcXH1M7ztQYMe//sSl9l5kEUQh0iZTSlR1KM0rFHzu29VSGEW6qqisoik/OnZDTnxrDW1p42
QaX1Tdq36s2ryiUo6+ezBUnv9ocO9sIm+VL1juukbwccCCtaNRUIGsopWAM7laZEqQ2yVB3l4Zhc
XLubVQOhtq6yfeuydh3Z+f8muYwJmk5Xge8D/H196gyI1dcGPC80QEaqb2zh55x0KdJu3drwDs6s
mz6rm+F6M6oPP7qlW8XvMZ0A0f4DRvA9yqm7WxiA9hyBjzF6mR0mSdRbpfpzfjzS4ENleZrQ3wOa
ZfLuUOC6K+3n4ozmSumPo4hRtengoNxQ+yZQVKZgkgK3A5jm1s1O595p/7I7UHR4/D6wNdgdn08p
4CRK/GvvDOvskx032LXnXlQ/n4pwD9bfaaRsJgbY3FDfAEXQBWVN8bLac7aDnGSr0q8A/ILite3Z
ILUZx/d4tyzAlDl4IAsU+x2gOr6zW0aAZdtKbwPczTY80CduLdrmHZA1gqgqON0NxIzF2Dl5jj3b
AlSzzQm6Em6ramQKfK/jSQebxALtIgo2Z0p722l2/tYpjk+gLCkiJzjE+qBsW7dTDNeP+AfuGWvh
DoXBvQPpIpGVPyc5Mk47VYvrdrTJXg1GNCWlrDsvDlVdW/q1yu0ztu1hePzOlpJNnd4BtV93KCC5
3c0m0S7CL4qFLmPwRnr9o+5vw+GQvSzVoa5LCqAXPh17/cWjcpF7LpGGS2RceB906Ej+vOHC2m+O
ZzU3VkZv9NbpT2YKVXpSkdkTX5AWy+CRQ3T3ZjU2UA7VOKTzOzen3CtsddSmbFdvkFV3vckPMPXo
36YC13e44Xr8Hkq3yq+APNzX3zXbnf2lFKnhBIrqp0DxpjTR1HNzXbTc7mh0lm4tzG5v4nV77OGH
S2Pqz099quT2Yxg0n/q/Rou/n/6OIf7j7Dd3bpzOtam0ZzpYz0GG1O7K8GCuTirQSA/OdKfOlhu1
IAzoEn+3CQb8Oa+dSoqh1LVkRCeTGeRk1Fp5w4TxtSFUabg7elC+Xv5+f3fSWHJWixSn6Wjsk2/E
p2sV7b7b5i3ruPWYW6UHykN/LT2tLq2//QfTqYnncquTfz/fjc1oodwgm8dSGmDFbX9i//rQn1dt
0PN7ADMdB0Wv//wc0Aj0BI0LsODTz07vIS3qnVKNP+/6ZqwJFaQbONWOo41puRoITHb901jjUZXa
wtrTw77L9qPYtl0qaPwaNw8q928AQWs7mR0NcAnOGkQZdIKZZ713tCnEB7y/SNOV4cw64MmVOyC+
alBtgZFu4nKw376oyi5Q9zZFMHDVqGdw/Gy1C/xKt9fU6dhQ5k72VLHBqBXFazcAJjrUwFtOoBwO
ANDlyXO1bQZacp4dt1nIgfqxY7/qJu1rpzbxtubGN3Ntsd6ATlcextVW7Ve69SCqrHZkOfxn+gBU
Z4OCS4xL+OciLROz6rTpKR2Xa1htiqPnNDFplOPTOgGX+xh53Sb67hiH0c7rno+faVcZExUDAg3g
5915uCurwNhXgd6hk3qdTg7KZ26/no/K6Lg7e+mJjnj812LC6iOpl9e9jfOlg09Paf/mO9M6vlmv
lCxQKSjNz17U2fcScGEaJSQHZ0NlrQHwq5wG1FcD62SDGUhR/W7XX1edgc6X6+a567RhVqRepNuL
PI3DJpsRPSAW9Ga3S2e36Vn7U78EqbOxxt3cnLeHzdAgja9H+aSw1oCGmQKztD1O1vF4U01oC3W2
wwZ21b1qQxELCG3eed1F63lk4Fqe6uAAgMMGqOKynjktQEaLooHmPjzZK11R3jfFBxnMKopmJ+BI
u47zmVH+sT/VfrKhDbJK6DsGX40oj9XqAyUCBsICvjuHzeLwSwWB1HTcTkzSSN8N1QQYtzQNoy3o
qAevSmhWJx+rHCJPp9lRP5j9TAV/GxSBgkRaTDKFGgAjL5ZNTBcDhc4JyEXlt0Fzcj5Tk7Z3PL7p
h6e18lzZW7Cr7Xgkf6HsTu6Wc6CWX7fU7Nj0G1fFLO686RHZLnDuth0v+tntUleWfCpG1+t5cPL2
twl4EOVTveakixwY+2a1FQw/9lbFuR3FwG3ie8PFQwO9Nqnyn3myrCNYfNbTI8XDbRvym1sCvFEc
gIja5ggMvrTh9Jv27B52ChEtPQsiJe3JG+vog7a/LGGLAvAz0xvn9Quw/O27Wp/G2bnQeoeKqrKo
mVh0l66d9eDvyvVOaSJqxuka/LMdYlQ3ama7brqH1E5bCPysp9PbDkBtm57T5+3yMN+42wkob/pw
7e3fdl2f5tL2V7KmKaWv2P090A4vISCdypicXxmYH87qwcXJyW9FGVo/in2ocmFXd3Nx52S320U1
HsxIouKdydal44zmmqU58Htjl0rXJ3o4n4T+e/D0tfg/WR4qE2HxIzqrM1B/qpLErjTc6KwdpbaP
BJ+oLScR18NGAfX1kle/qvIVSpWka0yPShvQ+aGAXv33QWD7em8UYJ5XobC2bchB/7wKVbHMuqNV
7epFCRrv7QgchIDZuzMwiTYDwCjBc+u1QwUA+nbQ0osfzJp5SilE0y/eYXvpBsDf0Zqy7vE+XcPU
cLH7MrCj5RRQ99N4VoYzUNVWyvT7CAKg5+OkTQEf/Yaga+y+52C4boZjevCBl6t67yHRx2cnoQPY
CV2Ww3bIBt9V0IhUH1vhZ3jwnzK6hr6kTVW6jyZPu/ApGQTPz5/lcBraI8DIFyqdn5QgAWwKohyt
wNZRUsfW6oH3cImt3q4hEz/YNAlKarZ+M4dFbRbFMc8E5hVoiGHltYACGQMF39TobYIT3dJAaC+V
Md3ufu6aL/F4t2LH58yS5d43+xat7+k8hjva8tjwjMx3GBYX1nmAVRztGS786Kf8TVnGs+3QDACN
PrOT+3l6AcqFznytD2lRABkew7AHIEIDI+M4EoCy6EmDmOFRgYKEOf5zuzrVndyrQYLzxlmy96qZ
7vMWEMmDb7JhAmJmXbud3ULfTx82h1y6aG/PZpmcjEA/DZq3AqonhXloi7YdWdrLuVMGWhoHFrub
LYvUMbfP8cEYnPBBHKC0ndOwjdjdNtvxudFoc7dX6RbOgkgP49372hxUdCevbXAbHfbdT0ZSDo81
qMg7YBD3C4sYeVtk/VJ9BdWLRGfO+2r0fLQc/3A4zyoLcre87R8w8tnahijt/K5v1uEJL+hgAFtj
wJxhMBJryz+X6lCta1/NLU9JnDkdi2ghEP8WQkVOMW5tPRBiCY3+Z5zsDkUjmtNlmyKf/7bN77RU
3ebb5jw6gdbhgBhFUoIo4W7zYLXf3WoS5rBVRyWlByfjnyfaRHuixbaWrqKpQjEEGEX2rOuCJPBI
N99J73B8m7or9LK0G9+cKe7UR1Pfdk7jhHKLGgh2KkyUL56zaqhwl4X+1e2Cv0ACtWopj64CNXpz
AOiAtAVnBt5iM3BAty963TOw2wKmC3paovUjqPmcSVUDwXD4pgdyeHZmZeMWYDrQ65bB7QCRHnh9
FF9U5JGd3gk+vW3z1n6qgxj/De/HKUBTfRC/urvL+/2GbyRLydv8lGc124K3zq+GG1ydBh7bTCDK
vgG1HLATsJ1e+0tADhrStbvJArhX7+/W4J54U3dE8l2YDMm0/Dm/1tEx87NuJGML/ChAL41zv0CJ
sb7zZQ483P/hbDCKXhrpKYG+2Qk1nfakHE7703jTDg+mWxWhXQZlDekAZBf+38911xMhCwzhE2sK
ebsJKCcNzTTKgV30AG7W+KsaH93B2/bXaPKR9Cgq+2l9jClpyKZuP+31g8Xg76e/M7Ako2Vf2zEk
VnKTg1V2iVKWFMOOsfNbQMV3KiC2ySxTfeuIxVd2D2733l6aE1JlIJUb5PxlW/+bSjANO2ud7ika
G7Zfl1OqmwYAmdqblxqHMSPlQeJjszc+OrApNN0P9hA7Kjwkr6DX29fMd+gfTo0zeFLzKIr6EfCA
0Fb8fVDutJ3qf1zkTVDdbk/NOonieGye6ZWZsuKSzbzeghEL//g+bMFJSWhK7D4uvr6zCceEqRQm
QNMLA+PN0tPNTbOJD2z6N/BM0JrSF+oHNv/1pwd4XEBPdQs+HKSqPzX/9V3/6frzZfSxZKH03PfP
5D0EFrR0n9im03r8YFQuHteNOufioBQFCYHEy22xhhaVZbsrytPs5NCXmA3ZfwDd9azmc+ze8bNe
xj8LPThlC8alW7gnOt6BLQm65VO7nzuQY75nONVgKQftQouhqtgbIM2xhaS39oL4ZIH3nFNeA4yq
r/+soh4bLaA5iU33nQ/oQZVeDTLnIWiyiVKPAOFE9Ov5MTDdPTZ4IDAfJUXnwI1lNBINiPXDIuN2
XbBgPM01X9dQxJMQ7Wc5W/ABNYQOz2D/NQNYOiKAXJO50vHS73K00YZmstj8SFJYP+E9iEBKIZu1
RBt8n5cPBvZOKEtcia5NPpxU7u1mJLY6nUypN6dZtBsk3ZVaLzemB0L5fvNTsd9NINhK+upzYHfM
eaqTMEieasNP9nPyvX+/lEtN9u0UUyNGHRicbNp/PJttpa3tc9fRSecQUATYf/Ch939oo24Q9X7E
P38sTyMS9FTizc9zsPrM3rvjE99rJ7RxgfzyKrAm2TNOcB1YgweJ9ntFqLpEwywLE29S/n+jK3dF
pqRZ2dVnVBBncz0netOD7aB1ncZFTrakwTWIFQZNg6/Ub4G7k7jk2hT0+iONHVof/l0qpbPYTWqA
Kztmz1DdBqh5ECYBCITzbtU9e4dw+61+g0Gf0OFp92oaX0y/NAZksoBbTs5hTMVt3u9QkPWhz3c/
KPBq5jloSWDNgbb7BvQgXSKxn50nRK6MODxl7gYqNTDhwSLbUKVqv0ZPnbx3mnSheJlln7spdr6Z
NT8AftsBUk14YAEorzMmUpGP1h/nT4DrnRHrltWYvxLmOi7PvzSnZxYDNsgW5SVoT+ItUlhffDrf
gMFtwT9uniDOSmcV2DWwLZRuDi5f2XNQn5Ps+wRdx4AcZfQOzSwdiRS1RZTblg9U/j0TQ8BM8j0o
D/ywPzV+miaqVRnbDkhWrt0Jm+0EcM2j3u11ykkO8MLfV7BG0y8H/H0NG9Thcyb29pQaknm4MTG6
tk5Pbdx051ArPadD1e+Eu7EaglY4u75Kh+mwE0I1MIymcJyMDzziudCAyYNmK36Lv5zZaXWcFN7e
14LaLydR2IDyClPEAMLUwxwo6xM4toDhe/JTTjaTQwDQ6yRZAFQaZrN2tJ6DEjqJFidwO+3hISCE
wv+AVfLd04hqaKBYu5Rvj6wfBYeA3BEiYYj+2OTqruWp//zo7tYtJwq4Xr9MrrkaZ6ucwMqwBrd3
72fNkEKgjt03QT1NBruv47MdNsNq2AyzrySIIH+JgmaYgCQqryyvGabv8jsLn280Q4N3IJUYJ4Ed
qi/y2/U9+b58FxRX3gP+kmc5SvqecEw5VgSDz/Xb19+hm+HM8tcW6K/ynhxDEEwbqHvkr6Fu9uRH
aDrkRziA5BOu4EU+l/Nx1MtrOeP1GuS7Zhgt8Xuvh1TdyyfXa5K/t0N5lu8dxhFXYYfbKWcdX9+R
3+XKVJKLQd77tV4Wh2JWbYkswY+40U793RrWq2xswfSVwnd3pm16qnldmG08cPlGhPwCqt3dwmPC
gr1PMYgqZyC+Otw+J+DpykwU3LTNIltTX7aMlvzHBUfLZryZys960Yy3U4F9tUMDkNvDXBvoTHQU
7KAaQPzH0TKey/e2U2LUlJmsFwnfT1cKrFnRsuBzZ6bMYArm1fW3aCnfl7PJ+/KJ/Aa3zZgsPA0g
C55kTcsRCt47k/sO4WtiqRdjDsEHDo9O+HbixkUm5OccdkKRkYb3VF9+bzzdNz/kdePlbuPJI3dz
uJlifx84806g0hZnhCYIgNHMdNNx7JqHfgs65FMcglGeTXZUiANmrgaNv/XSMMW1C7QnaDP6gIKB
ow4knfQvjJwvZgJgPaL8vjWU2MTmtfEKBrCCzU+msoE3Lp4LodNcVi7NEKH+TAITlp1ish/JStgN
y8Dh+gFlRHY34d7fslIrVrHzqgVakCKdqQ38bLTIJ1QTTboB1OVh7cuCjpgikTmgcZnTvb/jBKIC
osUaMhF9YLl7Tx5HzxxWQfFDBH87Uaa05s3A2Ua0y0nLkddDsB1dzQeTE5TawgVuFaTaE+2KcjkK
EAWurH+RDWgKL3MKdd/g2M/dOqCHLQBcfpS7IK/O0qHpXocj9qHGWeGGeMVA9XdjmTWU6phM8RA8
8gDfihvZ+6I8omDL3BdjeK6ZT/leMt2NCfJc/0wmO3ePi/NSJjb+Z/rli+nwMGbNhymdkvFM7idi
jcfU4cVPRINnDB3jx6+0vUODM5W7Mi+nb1CBciHybA/zScLIQRVTQOnpGk9ws0msiQXEGaGMYyme
vDN3FPug0k1iCAJNVlXjQeLDMOru9bK4CzQHEJYs1/ZN9WX5bpBvke4ouC7gDvJohtfvJcFVwx0/
RaOIJhLd1XlGeHFkslm0EJGVSeeHd9qRFmTe+RtUbUR8zyKQ/w9zcqmclzXWL0SfIr0HfmR9XbXb
aZVYPZ1Vors7tLcIM4troLzuPC3YhPIMoravDWQ6ksCCdgrtgFDr4QYI4plYpR0LW1aBrNJoAesF
Q9bpWyqL4BwWGCJUwUWWRUp1JrzgEq7qTG5fzl5O5PhydrEZp5Wo64jrKDi/Fsh1NUOGhtbZiOtJ
FvAZD47UWJuDJLSCCmgQ/kC+smUVYvl4iDaRS0V9iJ4Qswn5twcJEzJZjyzoLR3ajZDZaLYfXR81
bngdqD5s35dTdwMZCN2N5wcPEnOm/biQ6a8DaAyJXcMZEO4mhAc5XB3UhCFN5hsyIyywwd+V2M7t
JJ9oWCqYTMN43YtYzn8qoeNCrurfQ8v6opqtZAXFw+gF4lKi1Nz3YSxGScxVwYFrpLqWeYHjKQRj
H+EVm0wg87K8RdRlFTAfWHwRWstVpkmYhOthcrH/dE748N8gbfKpDOfeo1puIfpP8euxPqjfrY/c
z+brheh+xvViE0XfA52PdyB+gQhI4leBBXh9FSTAyZlcxQF0b3mWo9ZePs7HktkiOp2wbVrPRUvJ
nHaeZVavxpW5BfOb1c9iwUrK/ImVEQ/ADsWeihTAGn/RBTKZiDjzYAwqT2Zk82oyNzL6MjslrRoN
8yX6X+RM9AcFOUMD6iODedoHZSASis5h2B0CYGBX7Ol2yyEryyawwUyOIwOzIctabliWFZStOEmi
Z2WQt1BPXO5SVKHcTjtiS/fPWIpKvuoWMbXM/bMcxMKPEHk8PIk3dpXbdAb5CjtzGLmAaZ9vJ7hg
CHgSoq0QI3G1ZAEdgDTP+7U9EEqxYpC764XY38I7Lqv38hPbyT3a2Lac1Sc+IWtGpsyZibEzXW4t
hqhXxihH66ZQVccXq6j6FbpIVJk1jkbGRW+IT3WQVEQzlMuW1SYiIFIq1kRsiUilaAagz/3Ezyfp
TH7nXYRGPuOKAxaFe/Rk+h1Qz0GqDmvvONcHOj1fRLYjpXda6qvshz6QRXhdvHLneCGedhx0waqG
FIWRFb/TcTcMg2hrGf78ssZrXyTeHrIF96BwplawxqB1POtirKAB8xT83MLt+pDRjJWFFVohK3vY
dU1vJwyig3rY+Cpk9fun6qPx4QVJw8pv/J2ruUZIczzeSznYDLs+KXZOIfZSxARReiYmsLRcaBcQ
IxEgsYqJ33mXV/KAy4F3K5xtsTYlCkB0qVy+2NV//0dxjxJjIFMcM4Si5sS7LeD7ycX8whITXqw3
2DSX+YZZYir3IM9yiZqfTsuhQmpCc/dzjbuSIMH5qXW7IcNIGXM5oNNxbrjmSi5KftZfcEHATSnq
4kmurPMsc3yAS0NmTwxGRV+XOE4gnQ+VmTgoMvdyD2IJdPfq9orkWjy0wZGMo6g78TXECLApmqRP
ogRinJT2cu+y/MVhv3oj1+/JWiEv7GO7RCJEr4gTwysWQhfrnIo+m8mlXg1yg44RbQUUOCqwfBb9
KnLYBOuvBgkUB8amGdNykUYWZ+FuhuXYCMnkdMNoLgsAfAqv+sFWBh+gO9IGzACKEAonSjUurk7k
A9vL8jVZmCbrC5eIYWKPAzwnb1BsNkiGm6EWxoEMOvRGLkSrPKpJQvKMTfEHrnWQD6BMFJR9ilaV
+W7SAZM5DeU3+Mr5rZhENoqnE8hKbPxikgXgtqz1F6sTOG1f9wC5csuBxdzKsuxwSIhksDrUcqDD
RJ73HESF42fngpy70AgSyaWA6wBNDvYJq3TkG8WEsu/ZbqLMoyfeBVQATGd8aK5Q1roJTD4c5DMO
guMLARbY/dyLz+f8D6I/P/LucXZYxAFx+uAqQLmX8Re5Rw31Tn03ksMAsPAYyuISZHcZ9c0QtrZh
G2o+TAy8o/nyvsyI/J8MlQ8RKXmN5QmJofF8JiR4dUyvzyK94qRevynCJ45oZ+ZM/hVJwPP5hvIs
AlqhCeDJHBw9A1f1KqzitBJ1e9IHznOJNRKN8L8/0JwyxsbluwVUT+LgAp/MN64/yA2f/r/3dmgv
dBcRVJFvEanrQxaLGEB7BdXK8qoR5ADXT/VB9hr58g1ZPaIxxFBctcb1G/JdWdpyjM3lOWERnt/l
e02QvW7QJPYQxjEUocGO78sewuxxVYuQAw42E8ulQgcNdBGOfzxXsR7ys/txCLBW7Pwna94wcWlF
Rtb8HKAFQYDk5ZYPoQnB+UaQeIjQ8UcUPVxeyFtXq34YwcjTMEq4ixJC+NfXrD8OTxIAEJPBvhCe
rL0vMi1qY+uD/AbliUg1qe/L/1ddLs8i8aLp+Z57/pa/3KEs5LiyvxSldJiLLyN+jugBtjEMiwyM
DJpc1QZqZ5FfkWDDhebrBzYYRE2u9TIs5sBk+C5mxqchjlgGMTFtRMUKJL6ihVC2HEh0NN7nSCY9
fRIXyvC2PjQiwwi7pF1cXBz6iw4rARIUBUutDUNbAXekezY0gMe5zIH4COIcXWf68orhW7PXagLm
8LKX2sKOsX0S/i3ZK0azClGHVHsoCwh/Sr5k+PmYlqBhPTSFWgNRNV6oE5Rf4kD3BIr/Zf9eoM7E
19J850MYCiE6wXpeJQ5pDM+QDtpjMcjwP4zlaDU2o4Ydgv5PQtdXqYSR4aoMUFw2Yk+8jxqnESxg
gWirOIS3anvwxM0VJ1ke6QSIp5/UNM+0MINdWQ4pB76eYM+p4sDA7NZDAOcRDcXdzDugLmJQzx53
4xEJH9d86Xo9umehVPmhnGnbBzF9aiDbIt8yt+I6iOyiD7BnLYwriKLlvoqVP85F2kXWcTI8EZar
SyGW9Wo7rr6ZjJHopni6H8u5csY0Q2ty529tHxApUS+yiEQpXYdTBlJe48x00W3xFDa8aTkuMShk
x0umh8Qzljg8Dtq+aL2cT7bovav+kyu23ItcEqdHQsVFJsTGsvzfZ6RTHIjrs1w7synyjTSyrDFB
S52KPrE6Ynfk5ALgrwa/wEcfraf02okhEGeGxrwF1DMe7fRdP/us0cXXcStcUhHqHgVz1W3iwIjC
MVcydvs3vP3Llcp1bCdNgI7D+HCt4tY2wrPkn5ainClYYwhhpgca5+LxV9heWfL/+hei2kQIDLwN
KgNk1fnwmnKuq/8hV3QNKcgNHb2LMeU90dGyX5D5SaeyaEz4rMXcxIE8wJsHiPcjGqqrDvx4/wyf
jJU9/Ge05OV1+P7VX0z+kWKPnDuSjy6eFti+JTtUcWbkWTRU4q7EKRffVv6X7ZP44elM3M4E4lcC
COZQeZY7KNyUxowjyv2y/mQ4r5O3nkPTODN8OIHEvSHc2f8WfS4uBP48kW3GKIKE6OoIX1ekqOzr
DIkl0nE34/A8AoyA0ZIgTXHRWg2E3GiDMPc6Wl/0snibV/siNybnFwWwGaYs7JLN21U1Ig5vewZ4
76lZP6kQHVGRYiRlHa1n4hKXQ3ne4yRZoe7VDH7O6/24RujUp6vRPi0dFsf5fT3czRyoLtDuaw4q
D6wjHHJoVxhToQmQvxSHJQ4hhIBRRsMDujgoOCnN8qrEyAuhLTVcVZPpRW/mQlGTOX3tNCgPfk2n
oYkmUHwrvPq44oJXiKSsFJFBWRuKX33IQVj0OCgaPhQ6C2mWg5rcxkXtICZGOBUFIrMk4ySDKtxn
YvIhmOU6qImbVpWnR3yDTYn4DTJAVE1eNPBVr1xlxnCvHsYZlXfVrugAdC1Uc9P17JLhjuA04oV4
PeKba3hm4v6J6ydqtIJ3QWGHLTcuVypre1sP4mVVe8DO4cxzwQqb8OtWRTYrIgbdsr/f9kVRkgdE
XZnQshihDEU6zSmQFxOxH0MRGDbQWQidzVWVQ5IT4meynxUn8N/n3WQzA8lG3patbofrujqn5g9x
/MRFlS9HM9EtEtOSQKZEOIjlBfuR8549N6R00DQl3arlXB8zZQ0bJ3xZ/oqsGf7p5rVmjy2mwiTC
arBzlThrMTDYVIjvKp/I/xIvKwNrZQwphb78leIp8/8h7Dx34za7dn1EBNiG5S/LcHqRRvUPIckS
e+88+u+ijI39RjFiOAkcWxKH5NPWve6i2BrhltqGlQ1NR0/sAvaZ8iZA4k3WxmBD9CFcXL9l78Zd
7t+p40GIPuKVE1MSa69iSqqFZt7y9KOvEPvtDQ7pvQMraaKMorssYtG9yeqn4axzHJ4/4L1iTmeb
2pJz5SxPuCDIcEm2spYdYjkgxy6RjtzhcoQXtmprrc2tIJCG2b2D0nbiYrT9Gax/P6puY9CXXZ4X
/a9t+kl/6szBe8kQt3ie/HbYlJX1yN7v8VH7/lh/J2ksuyz0ZI9cG6rR34NGfpffa8oDqNho3I/g
0FxesqVukeGYj6Vo+0+tF60bgitJpoVK8EqyZeFk6+Z8H1MPLEf4ZD0/QFyjSJkYgwhrv5b3Hu9Q
Kf+K73xiRCcH3u4yjZY6IF2+zdHerwStnMl/YOQsAVnr1MsfOgYH0RvvxH5zcuG+POI3VqSgLBAK
/cIHiNCMkuwdvAFfGYLYi3fDVV7Q7G8W8IWcFqd4/z5GLEcIfWvY1bvp/B41OqNAvwi35f9IcF/S
M5zYi4+Y08Sv32NQJ8aaEfRJ4Ci/W34R8Hn8DenxHjY6wieuafIXwD10Rrhs8/2dDRnXJp+z2/Pv
pnsnq/IIc1HY8lIKa/nTZdymn9dlsNOc3zZPqf37y4Wt8LJcBmD+3G0IAeUG2Xb3XPZl+WHLBVKv
eoJSyCP4vimXHuVRejF/McQ/leVD8Kt0NPSEK2624v+IHu3dTv2eBNX3c5ED6zws4NQ7+OTS21+e
5YJXCWsG1O+foQOjCy/L1CJdnjJQ+JV6XJ8HxpXf+WQbPg7DcKO/8PlICOFvNJewHa6zfA2vhc+w
vKKlgDTIDbQ4f/LoKBiF7epFYNjGvExGonEg10jcM+SmDQlEAeOAd79PcJJ3lsWEdsg2rSz790AQ
tgsrgYdIIM5mJXw/UR7lJmT4//5jfvSnfvn+anJ/ecY8Tex9nwSHmcTzbq2HYR9xIsZr5fP1u2I9
C9vyk8L3d/0sbJeU2KsOuge89Q1GwaUtCwvBpmZnJ+msXOJrf43yJcG1/1yKYeVxfqSyPS9L21LV
LnXtd/Pme2VcPtjvp6Jvl3cSAxPq34cqRgCctrMARLysfcuDW6ru3+N0+S8P70QlvgwCMtaX1ymS
ob32XdPRL/Eu+66kqaadZRWe+BGDNVJ6W/emQ1bNUp0brnYKPcM1AMoZDHRNKvA7zfO9+rZALEvn
QzgvXbIFgFyQbfqH/PvdSds2RBGDa/9u+Jo01ZbfiwvSXh86Cm56ljDMyN3ISVWwxOvS61pWY4gm
3+v7ssJH/Pp/GwRpuZxZm+2y+g/77zH0PRG6Pcu6cJkY+8tNL12w73nA75ZUAWL32Cwy+AL8hXAh
R54ZSBiSC/vEVW7/3RlHkfDvxriq6JAXkeQtDrA/GuNY2NRTMmbzpQ5crfyoJzSXa13fmB0MF/FV
vmMpziDtkNx9lJnYvp1JrgrhgD6n4EE+FZvFSCR4VydnvAhIIAlCxX7nO+5evvadpdyGHTmBmJJv
eaFyTNqONb70CFAQ3cQ2cxYphWHa+XPcuK2/Q0AhAJo10BqtxdIq9Z3sM5qOyiuaSS1y5pPcQf6B
81JvOuIUHfkhXOs2hyXiDMl9Lzc1Sk1H3KZPemN9Zsf8Ptjh2smEswJWS93qekzi3YldorW6mFBj
OxuuuWFJ0PgPFWQq2h/kh1ly7uLcPNfb9FajnDzNGCiI1riFKK26NdoOJznh8NMe4tiCKKRYaWLr
DDuSOR3KYNQdhi2+BLvU0Xuo1Wh8Kzw6Xzi0vo65lQv2JDmQPsnE3teiRVxFubJggEDsHO0OFbBs
Namd5evm12I7ZUmV9TIZFlNWEwiRtkrqPJTNeG8iXQkcwrIwAcHlncQr/1hNT0Z1JCmRVMvy1Cab
+rHkCUWuMi8bsW9sZtIxb/Nb1NsYawTXdLbU2ulP9GP/e4z9S3gM9+IfQ+wHc65Pm0QZFG26hP5O
Nhq7lUIy5R8zJMgw/9Zp8ChktlbMVoQEJjSHi9zsVmQoRqbqRaQVKV+6XjlxsHLF5i/uCtAp/zD+
cWk0VR1VNAZfP+jIaWCkbZtFjH/JEVfofDfTnXCGSyHOjqlv2+daZ5RtFcmpjW0VbxsyO7a6sE7e
aOSvFDt6m2t3/jB0m7Gv1vbYu9F8MN7711azV6QQgN5+6TCAWqtX7lfMKvz7Vx5q3C5aCwcEP1Xq
KLd2sDrJhVkWe4ijwgeMhcNtZdhjahvXiDqgsHBhaGWoQgy1Dl4T/G4Qd14pZLZ0XWhWeJuxz6yt
ZHAI1LsEdwOMArI5pV+NG70VuWdaUmeHxAeGdHmUwBu3q9BFGGaQYqu45nJms/L7sPbQFy8JhNb4
Lu2RT/PHzUm06+fB5UhNuyTGQh7XckV01fuJAiy0DaoAUrho30akvUnmXp2WVlq2u+UScYY2RORU
shPi3UA3z3likzgvF7Yu2M1o6Zk9HQlVBKJ4ShU3IWsV/rLg0S+AaHXpcRqGQo/7tfjk70n5JAxy
N8IzQH545xMUTp4mQ7vliIoYcjsT3HlQt8TMPjIZ/HP4pXtzbQkJzi+reGfo3uhKK6uQHDIL1XZH
Zd8+jpObb3Lfvo2wFO+I/PXzg3KnvxoWXpV+4PgAvZVtXvN6CZsjdCZyggUuEdwuWRDECcoWrAq7
8ILsNNf3+Fq+15OtvLaT09c2YcP3bXPwQfrJgCTy/Ew6ORWI8pbFy5299ksFMJESSJRfiHdwLhJp
2HSLQi65PJGKSrxl26ylZIMVHfXQAze5jzlhIzTBXtRqWTJIzjzQeuboxwD6XChdIAoFznHtSJKO
3W17OoKGZUDotStermBlqLR+/WWyf1O3fjCt1MWLBTIoHiJMKSbc/5B5s7mf/MCUxweMH0gIgRxr
j07t5IdjaHq6RegNdhAQPOyELxiIWrSzxyVHA07hLXbWZxiuqfUa2u/bzF6zC2NdSh6oRbIsggYL
l+HzlpXCxZhkv2RvmMRHWqItavs4szm4IItFzXJOLHl0taNDqjEMKCskKBWNi5+6zw0xlekyc4M3
f7Il1OA4dpLYbN2glnqfOk8+trcECySp5Zwla7vlSHXxDurz6c21wK+VOzVyhMYSz5cDiZFuEzov
ZK6Es52ZHlmq0lW1XGXnPuxEK1oTwudiXiVuntpvmwrqUs1Rlyjj61PHeRhtXUIT0Klzj3n7jGHj
qeqtjiTzG0RKom0L03t5W7ICc0429+TGOff3KLevj/LxavPljIzSyi5EHZ7s+/2emzU5Og1uZoWH
/ebBdhsUyYfdw2YJ2Nz82vz3+/7Wff143WhrVNxwoOKj+v5BTtZHX8aHyhgvUQ98/ayP4bpLPOmG
qgM29IJmGCAsmf0ihktCKomndbMk1oL1lYZNAmvQWzGRwrdLE2A97+Wjo/rrcGUZeKHjDBJsxvgv
ypA/kQEXgxsdF2Ls5dSfIvU2CoZMV/PpgYEnKPb5uLxlfy1jLIJfSO+6u+UB60vk09+49d901H89
L7ThmriIuPFn+ef0aMO58Fc11+aIah11omedV319XlfeFinfE96Z7IrAFaf8+1P8hS777Tv18/J4
dq4Q8UEqxvD/x+UV/BcyZTU+7FEee8HmdVEW9C+xvb//Ku17x1nk7MfzrSQheLbu6v1n9lnY1uxZ
jEZxHb34Vn/dhe71r2Ktnyx3Tgl46OCQJss6Smbzx0G0r0RdEuo5fFBfl3QdGebCkTUMESa0Xnyk
iCnubHI+oHwcF72aeEqs68TcpP/2Kz7wKuuD+SwgvrGT/ZkuAnl82Bxg18oq6TSCdck3HyiNobVO
9kXK9pNwvdSuep4n6+n77HggkZnH/oBHs2jtyuv9V/jaHr+AANAk2+AjLFbRTfnF2uL/JaJR+cMx
nPVSwexQwnARP7p/vpek0dVqXGkhuS37gkVydDRMbCg+rHfNvt22guuBWX88pdYHJ0YUny8neX3a
aZv4VSVJM/1kKbH/Mlj+tJSvIH5r6Od4J+RC/PNDFZHcCoacTQ+O6FVfrNinylIYq9iZbUjquLTu
00dkH6xdt33oYXvbf9FcqMs7/zladfSuGBsj44O+++MDJE2UIuMOH9A9vHJqDHRL1Nb9lki7UXDY
iHe3wN0CQnpPxn0O73yB/HLcjU7dBSOC0puBmhFukjZkBfbbZN1HiU3xu2gt2SBX27+sLMoye//1
gREBopNVmOQ/9almPSzvcZwfFmsfYloRNRJ4+9guJzbDe8UGGSMMEHT/JTkSJIt1A9jyRVkRoBWf
ENGHhnMigc7ic5PA+jJYf/mA0r+0ass0w+BLkpH3mHhs/nik5iBm+P/o48OzMyGb3Zzhgju30F4r
69fnRzRrj+GW0xGb4ivs9wxKQnY6v58Lb03O1REWmvU8cMaEX/X6eDWd6165LVWtvT+yf/eb6IiR
kyUveX7KO7du50/yzWqcw0t3cF36F/Ll87I6Pr2AVtuH1vq8GzcA794Bz5slos5Ynyzo5564Pp20
te0Szm1Y4np0X4z1A7U+KNl6swv31DrHxAEHXF+v4fbRYP26B4OyNzHNvM3Gt69/mQz/2uiwEUfi
QvyWiHUS8sUflPWiDVa1njTQJNHbfOB8rH4VoisPLiLiOrQaZR1K1vw+vmPv2OHbQ/fgc76rfqnv
hMMabvBRYEn1qr3DLKZea+6NdyBJ1q/4c/5bxs9vG/2f45A/FVeEm2D4+T2x/ucQNsnNrPazOl5U
4rXfosiuJeEoTPmtIiVRyPE7ghkzOCnebkelcYVxXZtemDQEtZBHWzmZaRccwxDOjsZnJFrBU0lV
Pp/igSVZoBPXvZcZtfb4OMxrjYJ0/jDDyUu9eramxjFHdPMWwcML1+49wVtbdDQ2HDx4452fZVsF
e7kKxUG5lYOnbORYSPfR2JcyJKXAU+mAkoheM8Hbzk4bjNy2lXzy/Qihj9cQFx9txsQxKH41O+83
poZ/7s7QnEHZFqYDTNPUa4NaDVooJrz0lxGDz04CCjzjQo94yE2ppL69Tk19J+NkAoOSTBp2/MQJ
n1HaxK0bsAbjP3bfTxbf3MZ2kaxBGAh9F6n0SycEbUD9n9kJmU04L4VrjBAyyG39NSjWOVxKcZ9n
2KdG13gy1yX2Rl3KpQIuNK5RZ8THqT6Nq22aHUvNE0oHlVQ8EoX9EZmPcr+RlHPZXpRqvco2OHPE
gluAigluD+XZPHfxQ5khnlhr/loVrpr+gDuMJZf47I9Pon8emmuWHsY3Bb48VY55LvIXVfk0Syqw
8qPwz4chfpjLX7N5IswqMigjLmKzI5U+Cd3O3/XGfT+ejciNk2tSrKmtyhwfD0eN3VHnqHsssdnw
j2QcSpoTAHgMHuFm+K6tWD5kR4q3c/8w0GaInVa01cA1WjteEtxtDSNkPBOQhtdL66/6UF7V0BlW
YPBrflBPsPsreEltk/+JLAShiop6FItx2RoJF6fnTMnXr0mukgNk/wzkTTRsdBbW4lCp9x3IfRvn
2zCnwSE8xiPWdw1evj144a9ZRbLTrMvI7RN7VfASPQPfLW07Ds/tHFpK8dxMt9S4Yv6RjddWwA1x
26zuDfG5SR4HInxMu6Y5ACU1+FLG0DLC3eILhh/9ugfu75BOr1G0SYTKG6wOtlLuKvFZMq56+FLq
u5g6jjoUZhaqAgN5zmNvXttiwz3ggOL3rpo7uHswpOaVp61OQXUXzo/1jHnJQ0SqTLwP+KtpeZ4d
/uDRGrApqvYxzjPGVcTuXznP+o2jdEdnTvGM6HGIDj3tuHG9mpyM5jPcjO4y9G6bHKfOUaQ3qX80
pHWBOr21oWVrsRtJ9Ls3bXfqxl0qevV0lo3jjAkHuVc+wVg9t7oZlFMircWcTlIsT5aaKutBMc8l
NjmpFC34IHue+a7RQiVL50Q9oBLPKpEL/6iccmR1Vnqf7pujEVu5hIFI8yJuRdoH9MkLm8Cp7MH4
VfPVD9RA/RfRhefomSR7UC4kWxpSZ2AuBudst4KbXbB6banNi/OcqLafJJtJNVyct45p5TJcjEUJ
DyVIobzngF0TZiUye/zhWsOfptPDfnsBu9ABaNStQomMEzfz+5f0OtHLiCzt7JP5qbqrr2zaN8Nw
jhCaxlhOlBrgiaqCgLyGIGqBrRee5luK6eoDzVQfeEYwDICGfTxIu7yvt+Kseqr6MCaL+9yOUJCo
AHdSHjrMFxDdJkFhhcG6xZButlbNY1P066TdrfRr4B9HAERp3lTmYxG8oZovw6tcxnaLoUWT6UyJ
xlXLBtG+xBkWtHQjpa6w0xElzRbuKmO2mbONEm0mTGoI5Tjon5Ayams4a6ITrPA34snbycfqcfSG
m/Smv+FlQBNdf9AO8gHsdCtvkPXtlbf5zcf4o7cmH38ZdwRK7G2TjJ+vUt3ZPIXtYgeUbxg/J/8j
uWjPPEMevA/Q10KCWXQMwX28OIduxUJlh8duiboHNsiBBjZs8AYHxvSoudV+dalYCOYHFi7/rp/Y
Rs6C7jTzWgddBVVuSieT8i0AUoUUncMVeIwEyAs0LHLQmi7mCdYVACtSUaO0eLMEzWkslQqGOZZg
B1dpv+TxsYZumktzacH+bsEH4jnlM5Cs+jM9kvXwoO6195ToXppzF9UrjHkXjyVJXgScaZ+ysZ3f
Sx7zNaWEPCtH7VDD8QjvyWKAfPMCmonML3uBSfpofuL7ntjRs4B6941nmPzyP6pbUlrdWau8WpDd
AFwnCyEeMkNHurMwqjFR8odqlzT3dbn2I9YYayLbQrAUhinRQLhkcrfsvhneAKx/jkh6GngYGXrs
wQHJYLg5W6vWSsEkO4dZx2qH15FESMi78O5/sZbVhlXxYwubycryODwgMR1UcD7M7PGSphi7mHQg
8+itV78aE13gLHgA4CIGiPPqlk0YQcFzyVNewAgfQmZvrNL1qt8oNHxJic03g3qUhecurt2J2Rsq
d1nyVMhXUbj3oWmKklNKqDGV2pHBoZXmFd+nsG8xYicrzSOlrU5Uh4KMFmPAM+jdkSkGCKPlLhFY
XSp5IR0igJT4XjBxbRxAXlfqO3JIYLtwtpozgGoV2k13qvSXgCddOVqxyVdOK62lfsOMjjDJcuZy
zenCaHDYx+vq6BccSzbKeIuR0sCp0TxjdiL1rAjbkaVW3bbF3cw/w1ZEXVrbdWC3fP1wi+CgGVC1
vKrdI7XUmr2RXFf6AZFl2LPneH3TA8qt/xuU+RPAgUOQIS8dHVXU9R+19CCtRikSqSZxbXvtD/pm
CaP5nE+Wq3su2OrDVXC+Hv/q7b04Lvw4dWKAgVpZQaZOvJ/6z3ItqIVVM9TT/PAYfSkUsf7VtIbH
1xuNEEfCgwf29W0IbGkZSx0+I5YPawoP2IhPKTk3QGfvgINOgFuhaT0xYDugrWrrk9zwwCET8xML
tavoO7pASX79WoqBwBF13FIhMKz+Un3iyPqn+9HBaAh3XR7lD/s0fWirYkUN+lDSTKzcxvWP6rVy
B5stz05oPFvtmv9xOxefbeudTc8m1vx2N1ofXmR7n5+YHr4vZdPzYwVdA7KGsye5lyLWxrSIfEe+
5RY6ghtCrTcITY3sy9PhoIMEGkDskv1C94myqHNI47KfPpD4X3rbu7sDaybUFdNaTqsusM0DVkTM
QUuyd8x36+/JvdIf0Bmy3/7/o/hhtiGLnaxkK226qdlFkL+i5GmApmDAhUdCy0pqdB257Q96cKya
q2qQXfEQ52//Pay1P/RqgM00oGVJJOftp9Q7FJTVlBvSzLAW7ayyeyc9pOguFJIgonyDmHv8hnkx
nRz2vUPJUm5fZVewBu82fbLSlST+uBifJ9Y5pehdY5EQbGnbPI+C+0JoDpnZ6rSeHNoJxsfhKV/e
Qyq4uwcpsUDNyZf57zv6l58V1TiAD10nwMDFpO/HjNF7rc/TvAsfzE3lkq1XPRLYvPWk05N5HO2X
t7d7e/MXCOBPCADW+xrIDigAoU0LhvE/tWGZT6lW1eYMAnncpzdAtmTzanjP5v1z7+CEdburN9Zd
4UVW/AFakTygdxiBJrPDbLvgYxs6wiyUTMYA3ssmv1KFO7Sp/iLa/gP2o4tYbmCBIGJeKP9Yw+YO
23NzCKKDMj7hzZgje5xPUrbDGe6/X8IfoLd/XOgHyiWlWlYlDRcSx7MenCqca3Jzz5UoLuFr9MHf
bMz+sKzo2GXg4LmI0uWf0XC4rK8Sv5WTQ7R6LvudnzzKmptAQ8YyL+j+0uFc3uaPNVknCmcJTNLR
2f9EAqRxKs0oTuMDz7Ck5Tbp7zWuKgPa/v9+jH98X/9zoR+PMY+qEHBhIJFqcg3OHAK6s37TrUYr
iP+Wn/iHheAfN/UDi+mlVZs3dRYfMuGpgwGopjZ9ys5/FOX7OiHlO5yoNUlEpZjIN/99n9K/IPxv
JEijeaBgJYxfzQ8ITSLtBwuuuDo4nDLdeS2tzQ/fU3fowrHBxDcAw5oNnBMEs+klviSo79QJlsB4
wHX00vFvdifR2/z2IJjwIFjUZotqe1HjVY/NY3pLL9VdfRlOygHnG75/4a20aMT9XXeqLxUW8986
RJjfKxzqSnaJ1gVfGEhz/5o+2i8aniQZ80//pX1oz/qXDCv9l/ClU5Itv+fcrHwZH+qz/Cw+p4/a
WTunj8ktveOUv8/OyX12bo/9MQdgXgih0NbWWKZv6CGz4aDCsQlJcX9Ff9txf86Mn0/2x5wX/DFQ
C30uDmEFutIW8cYYcLCc33PpofdTgITEHbCSIWsVGxJWe1lu7jHGTJLUCUaySFeoC6K/pazicvJj
Ev38XD/GW1y0ia5nZX4As5oLawLQKkBRLPFh9S7dWCACw5Fra7pWjDv6wJjT9Lh+Lr/xv6q3NYQR
hgbi0w9IAuO5wRs8tNXX4HG6Gg+QaYBdjQf5q8Yw7wvPkg4y9PLl0x2sgSXVLrexAPPpSwwOeRMf
iXBf52S8zx8t9AncA7+kD74NXLbH9rO3RD7K14i7Gil8UPrfbx2fU3zoqDfeO3ldseJ/0t4vn4ii
NB/E0lJmS4PMIlNyulRp6kf5hrElLbr4jbqNDGaKYHdkfzStOnOMj/yN31GXI0IV2S8xLZkWpHZo
XLlxlXqdf4VvPWSA+/jLzy0Y2ga1Jw7JsFmgt/CFpjWfiHdWdGt4EV+4tvgi34YBtBiLEsqzGaLQ
vfRI/fkw3XyDysnIbApY/x0eGlyk6b1P3CsFEAQ4QnGGbdfYFBjDO/tSkNjxZxgstVEM4+b9v6e/
rv3hlPu/i89PU900bhS21jo8zCCoakJmdUZuehGvleYYjxJUWNpN6rSpYGCLRDjjZl/Mrw1WQYnJ
gYLj6wgqawhlQ7F6X3S2Fn9IE1UifI0iJzrSkD2DZeu1gukwYxabVu1zO4jwDbIjXmedAvnJT9am
BgM+UHbYajlJ2Nh9ph7MCCp2Lh0IlAOUgj8EEj+FiLyx1Q0GCAQD5kkdCqB2XhtwCiu5t1v8b1bU
7kWU77AM3IZ0LRKGYGzgkzD0lJbnFahwrSi4ai1Vd2P1orqOsMQPC9OtEvhZZZBgWQkhgkNWx3go
y3gzqtDYAAOHKneW7F01CA7BWIPNps+FDoqlhbtmUNakEiAEWuWAHd78lEIIieRfoZk6qQh9HGP4
rgHJaLJ1Of7qpexOSPDPSSAeghg2Kj5Dq2Q39fFB0etDJoHKpKYVr7ZBBGojYhNGqrhSoQ2Ja5YL
kMuyABESqYx3QrTNWkB7SF6S1HBbGi+z2qnhjo8WKfV+8R+rQTFUkiBX5TrVjbWiFHavDZ4wdi9d
jcnDVOkW1kTvCvTGjqZ1M5runIxeHtH+fqoEfV8t1lLQazpIB7KfHmoRqx4l9tqJuTRFbtFLmxzS
ht7hMj3Id8a0k3IWcGzXCHStZWwdWEsaDP5VXGaMCsuPbD8A15gRYojs7Ed3Jt2sMNK8jDGhii1t
TNmArRt7YvHqdy3SyPIUGxUA0Hzf6vpu0D9XQ+JO6qNZn3o4Z7Ganbuu2wTquDd0llfsvJY3vgKp
UOfupCm4owqyo1LWzneNUh+zUnNM8PBaJW9crB7FoCFJObOHXIODM2BcKHiLe5w0NI5fgeT5WeGZ
heaOcAMNAVbyKnUNyGoiKaAKH4ndakozJw/D9fS91ojbpsNTFc9kuGJQ14Bq+9YpjXdNKh0i1mlx
WAKEmmWwJ/A/1V0Ma25JFMg0xZZ4x3Mm3kURBJF8ED0xZRPOjedWR7ssSF7h5/Ygm7s4vU+AT2Js
X9JxvuHJ7cx9e2ImqASIxDrjsnU7itI+vE19yrxAK8HcUrJfMUEGWZjdR5EPEFs89WRklPnzgG2y
mk6eGPukX8/nQB9tc1pt/TJ9mtXHjNwIvRPsRH41gtaem9yrBw+PcofEionly58QTzS7bPVUJI+z
9JT1H3ojvflxSwJ9tl7iLRiYs6G4Yw9i3MpHAR5ZnGPrejSiz2JUNn2E0CUWIC4tT6WuYfyg+WD6
1pBFgupTyEtPNZFBxK3F4umfJv/XEmTRTjjPmkZ7KkX1JMcfen7EfRFLxe7Q5ZFt9OqmkDipKAJE
yox1H25PnGziDisqKXRyAvM09TokpxGIR6wrnPpsszVcVeWsMYyXLgitdkXtO6ZeoRVb6GcRS2gD
rhnp8S4pujNs1LOw2kYZiW9BZMBsgpSn3zUqMEKPFMUwPqK22I9isYkbfU+b0xPkyJtOGeO9aROH
Ab5ZqQ22ooK8H5QeGl6B21zzJbFS6PQpykbcjLVIpAyax0k6zlNzr6+yfa777qSBpvVVDxqEbSvM
qfGxzmZwbrQJ4rsM/DhgVm3WrQ1QdzZ9yW1z2rd6AoB35xPBxuY0SpDaInbOsH7yiRFsAxhAqCnE
2fCSKD8rBhVrpWzjiWa2jPVYKnx0qUwNi4lbme2K6c2QjX1PGp2vuX1VOFOheFKnXSMRylbtX3rm
YVugFsUWwfgVSz3dKhMMm+gUK+93y6ztlKMkaPcdbSwTvUsr6r86iWNE2/TrgZWojbHFU9P9EndS
E3syNC9qle+FsXJnjS2ZrR3fh7HZBZxF5B4qnd4g75C8yIh2sXJeRRJMQDoLrGgGAimFqZwOl1Id
NhzOC9swf5m9BNErGl5aQmHRtQQILHJkf1P23I7w5FlP7424X8vB+N7l+WX8miJhsyw9qyRz8PNk
5SQWhEKiBBT3MxC9Rk7sRDKdstUOWINuI2b7BKttbvBBX71WGnvh1HhpqT6t+rs50y2yqPeaSd9v
wnpVhlyuKmuubg39aIm9hM0q7wkKolkEvMZPJb3oregoJfrrlrmoEC+wxGQLkPCKZdxkxK6gz/Gj
ylPT5FyqwZbVVGzDbR1qXioWF8gtlkbrUFFE4MRa9HTMh9skWo+ptL03isoKxt6p4Y02ifARdNW7
Ah0w0suXLFtuXXyWZTeWK1wwJ90N1W4vStlJjgRHL3S7REjD7llGCmDt6Ao4tScmQNnA7quN8rMi
ajeTw9bMDEtjcpU1/KjC1A37V1nNlg0hWEkOh+YmNXlWOcsMviv5u1RUrq5q7Lrq1QxK09JzrHpE
abtcxdjIrfzZxeFeS0JHxfFuKPGRFzTRYtGvbHlgXgcKwkD8FnkcjBFnDiu7rN6kcnJEhi5pRwaz
Jkv9+zaMd7NJqT0399KKA6dIAk9H/EyUtntR9Dc+D87PJd7A7MjpdClL7dCsWJmEcGpoqdEOo4lS
1aIPPAMVcpY4IhoDlqzSvYA1aDkTdtODGZsiLEqBUyn9EFOxCKzy5Plz6A2XrMC8nLYBBx/RuFOi
Z9NvfglVcR2q2jXnjoX7czCrQy4tZ7b3qlw5HD1zOptzSltooE8wQ9icEsxZSwdH+fPQB9ZGhM9V
F3hxmN293+YHMYYpHqqXnm/kx5DCY+sr/6HmTNTTf03a3jUKU7VlgX7KIA8bfBhpmCdOjftk1xNg
2Mf7cnjRx2bDPqxDa2TeSam4NdLqEYx8asIH8ABugscnU5gk5U6Jg1unTNvOz4Gjp5QFD+mXX4Oa
RgXxj9DN89KZuGk9qJ22oROAz988sNaquRk5rardChmZS3abNXWvBpEXc+bl7E+StraKrPuWlpbO
QxrFJfQ23g5dItF9SD9LDrFZt09EnSipQqDNsVLZLfd98gh9IIEkacjJOtWMjTqWOB0q93pn0PAn
MS4sDjkSLJ4UBzdG9GAOm84UORCvQBSC5pD71b1JNkSfF5f/PtT/rDuB4fDUJ8yFzFHD+O0x+T+Q
WLOqhGAe5vhQ6St8ZXe6vx3UU6msXAV32d7976v9AUuFT0UqB+iWRuDAD6RkqCM10GMpOWQjDm/a
V0DDOoUA8d9X+QMe84+r/KxZ1UIIZ1WND0vuxnI+oAvfCW91tOvVv2BMf3p8GNQC/UMqIjf3xw2N
cq6Eghomh0TrLbWrWVagVW+kcKQqPJJx9993Jv3BzBH0jOV9iSIgW+kHGJ2EVST7fZwcDPFmkL8B
tBWIqZMpe0qpMaWJyVo+g6v0p6QuHJOD3t8+wc+nCyKAUTEEZyicuN+qP25ZDKK41VUwoHAbYhJY
U/IcxMlSnhUw3A4Ep7wld+klveCc/zhVmP+Ft3oxZvPwA30zN9m+2/nH9DB55kG/QU2oXHGn4TXE
ZnqN7iqMR3btM6kfJBpg8O5FbuM12D80x9UGpMurPN+BrcxRxe4cE7pUgxK/dkfkrdW2QEu8eFKu
PJ1fE0pn5O6bcu8fpFO+gZOLpYD+2Dm9rdtPMspMJJxoFRu+sdhy1uWbF18FjFtQNQuegfy3QKU+
79RzcqDveQrvokt4V9x6OM+XYWusqzVcc0/+P8LOazlxrlnDV0SVcjhVQOQMtjlR2R4bRZCEElz9
fpan/toz+KtxMWNjG1Ba6tWr+w1TeyyPL6MfTvbjgluca8vSAavKukbh/6EqRAOmtfSOLDeZpSjZ
JN7AjYFxkuLPB7t/b+uxFsymLElFwR00s2JhNPF3bbw836/F5c6mVEdd9h4JqC+NDSf8YQRr/1FQ
whQWNz4JH1w8xB9q8Fc8X7rajJE3WEAWQoWMdA59thNlQ3loBbA9wuCMpKGo+LXjlHqi4V7dni7Q
3e19gILxKl0pEcCHenFZVYvBzYGn7E/r+b/PxzcR/a8T8seOPpz7hhVtVhsnrNsnjZ8ta0fbsZIf
Ze7lh1Pyn2f+/zf0yMORjMupv1VGPsvqCYsOuWTc2incJXfQwqP892F91Wj+rIr/PiwMsCEECVzp
w2GFphWHdt6dZ/W7/N7zvw7nKIFKr3TBzTf9rThT43DyDyBj7epKeuBcN8YBpB9IAjAkzUvydhfZ
yLB4yoGn8eerf7LGmcRixYGaVX9ACi1QhRXgPkix8JsVgR4A8hciLnGskTvDieQnqebHQPx4WA9R
STUudVyK4XsLGt8cxR/XcRv8WKV9vB8Ju5jkIN9roagrnBz+vkmEi0hfxqW+sQS4sMHYtJ7Y82wB
vmh5Gv77Sn0bgGJj4GjR9zdwi8Cb9u+NyaqUy3EVl4sjsuKEPM2znMlpqfw00B/H3+N2RMvhjxSg
qm7WpSI3X6hAHCUwGDkF1GRwGbXdYH1qBJwpMka5wULEbr2yJGesoWrnsHHv9SS761SBHD1kpd3c
onGu339or/xH81NVLfqEFnBo0oavSfGPHczS4tpFXdHMsN6S9GejqkdnSv7aBT7Quq8AXZKgDQDK
V7TYpfZ4w1j2BFTsrb+93dWRfkEPeKbDzdBl19aDAeLPCKe3mFaCLgvLmZUKZLnWTauWRqpEHany
knp4wrHlRjHReL/SzPdiaVUqqEiVKO0foA7KFSos0ORB1AxI2RKMcYxjJc+a5DlqljhPQKPLm86N
tC1mlu1FlO0/JBRA/j1MHqdjlL//OjkPfdTbWa2zSmmimRxD8nq9Jp8VK5CzrUPO+qEA/L2h9vem
Hro/vZrWinqL8xlWXlW9Js+x9A2OMv8+IPImBtyfIerrkCBSmehWMzitx6mozps8Ds/d7gDNa2Ts
q2eN9ADVzTH+3S4l5qAf9czSvzWuhOqs0Lj6sF0qOkIEBQYRwHhtB5zWOwVM+szpp6B7kelWILMk
pDuQPEHCQyi+pHOh0dbyOKFFBXLp9MHTD6GFIiSf+MMbclVsjzrqRz9KYYXc+SkP4FmgyHLnjTni
LyDTyEzkN/kJuRaylWSIrGUQH/u3/uvDW/YWtTgSEDsQhoUsZZH8BMIAkzxFhr8IsDjBpwCgaQDK
54QmBNIIPMQvig/xxyxAQolW1G00eAHHHw/jiC/8jIgCcgqIPQx4D6tR8aMtxAzgbqAfAXYNsvmU
VkoCbNQxx3fg9283oQIQBfqOUkfnfKno3gE7C1lHIa/xm959Gem77Pkn+xL5MYxCloLwgXMMCAAs
LqyHHEAJ++is9eV9do2wGDzo3RDYaW0KGxftshxcgqLxmssPnoDfc+eHrT7MfL2Rlmats4K2r0En
7To0IdDo6lGimscRCLt+cUMOcWIYc8Vc/3tMf2uccsTCtgtfExZZYrHwd4w9X3rJaC46YWiZAtqa
WRAeVvBhexyl5CnuUXY5PI1tqHXjFKkZDRHpDkbj1BpWgJbn98EPUePxVgZJopr4aWAHSUC1H5P4
6iQX50QVbT1cyru1arKw9sMi+Pdhq493stgMivQKqwTFMr8xm3Bu03qplC6zVgGHLg+GfaoMbXIK
o7gLk+IBnN4c4m55SfZar8/16/1QZoeruSrb3pUNCPH5JaUOfkykoE5ab1BItluiSmLV0/sdBHiC
zPsgnMZX8GRYsGv7sLkMU7n1It1yw+4nPf3HaPv7gGBNS8z+0JYe0oy4L7Q+ti9IFSvrspu3WhCm
+3P686n7ho/52pItRouiq7L2dWr/mPTqPDLL06WP56Qa4Txa9TMG7jBHytXc2AyNwjnNjCUOHZNy
WNEOg52wUlfmD+ysL5DEn7H4cTcephfDPOmXHHjvHG3qWYibPGbkqHrv2YX4KGQvbUqLwGhiOLnI
zkrjE4oRXrjCoOG8bOat7Oqb2yoc4nCzbmYSI/te0mxwOWfJ3qJ0InQj4qUlRISSuTy+/nTXP8Ya
DkA3MHLFN08Fx6U+XDFcwOyu0DvE71KaxLkbamvLWJm2l1drHTkFZXa2Z8ZPN/y3dPTvrX6tgv64
etfrRe/0sEfArQ0u1V5uP9XMz+J5SMSL0x+ii/6YwWFZxP2l0GtjDUcx4uEiKREFI/0EB4C6Mbw5
AWtSeFZCZgoD8fW0OcKUnlEPd2hmgfxlHQlP6WNF+dg1HHiO74VDP8p50fAohp/q0Dji+yvsI1Iq
Z+Ch4zIUsDvJeRWmJr/+HSisx8LQ7yPA3pE6FIzax3jUlXZqhXmqrk/x+OZ6FMm34VEvRx3CpYWb
3LThaTCLYuSXnNPNoymaj1rVteA9psNIcQzUqQEKYh5+W4Tl++XmxldInoZ7U4bA6nERB3EZDgfp
Vrv6bQ7vDP3AARqh5rz47PADjMBTH88adPzzMuUlhtdguGQNlQS+pEOZuMdfS3KBsq6MmSm8bZfI
zYVLBd3pu3uKN4pXIFI0mOr9sDOFhU6OoAEnXlkz7KBpRppD6RyAVfj+71OnKQ/Z0u9Th1kWGEXT
gtv699TS5Hc1Te7hddbgJApII3Tuxjh7KWIPnW+aCIvbK65S2MBcj2gBn11ExGkLI5aLkVCUuDA3
tsYJvdGsclRtCGj5vOjNhWJRjl9Zb3nlo7rBqrQWt+w59VRY/z/NRt/nCQaw4MwzH9mKDUDs72Oo
LMNs7umtXIR7bR2/5q80Lsu739zdYlduLpNkyC3rMjoY0EBFaz+k0c3yn3IPamXNDJUEAy4o0NSX
snZ+GJzqt6Avyxi1ME1S9ZKYyx7AsElaGFZtdPFcRwO+o4Uu6KnRLpphSLMCez6YXSfRDoDSHBWU
weakOcUbAw4kfvWkBlQsANg3Y2vELo4tayyCYLykJv9jucjQv83rooqDOff/VvcPqTPQuoFeR/p5
djDhMYLMzX3gFUSA1ksgN9bARimYc/NfXLAZiDaI76gHBAKLSwz2EZ3xKK2D88Vjb/xL5426c1jr
/Kr2rj4lfk/DS2v7GjmwBByhNCRe0aFvFvIQv4Xy6cNxwaPCAacM1cAdAFDlFWukGPjYxIXZ5p68
aG57oatt0OUCQll4DZpFwGgCY003F3CZgJfRb0R7o+UTO94X8j546zwg0nNQB9BEDqtjqBD89AxF
Aeg1jYKv4NY7b8yJ7Lf8Tlj0KWsxPsTedC5dS4Gi8rSJ+aXqJSDNEkdFb1LQqzlB/YyaCEI8YYA5
4eEOYfTmgxUZau59HFGalPFfEL/tkRvofDTjLrwNXfeV5uY+ZirLK9+tgzQ/Izp79i7rZg/xx0NZ
avRmwyS+ewNHczVf9rqF5kp8eo9uTuefx/dhz5FnYyPoeQapJSjxvFCXpX86SIE4R/iueT1lAIhk
rjIHFuHeV9BsFoNZSIavr4RsFOuH1cC7jVhWAOtPUW/7/UBPkEopbSnv4lXoh1QAp6mrudqy8W78
LvEvy8TP+VsF0O20RdHJE9dZXOnaa5/F8GnYJ3vZ+Qr7jXIM5+XmS68orlDOE1fsxm+Ng6jZpS5l
I8dioOXMOCefrthSFHWB64Ect9aDrRVYaFR1B3gUIIkQ6b8dRB1QfIxKbRAYqh/zNsIzw8xE/6Xk
PGsBBA9PHeYbA0R9zPgWl0xcoMtGVI1pzLglpxWkc54Cshdj+uriSbEW10D1TIxQ4pHY8XRz8+MN
GLXua7xR55tVHpRaPGEXAtzeMCAr8O/iNhCff16JAzbcctMsZD5TXGXq0+DZvz5DjNqGF/8SKPnf
g02Myd4T1WzDZVQESCuJfWULWA3wqfBhXfE7MWYvnKKITzWnYp/zeTY8+fA1v8aNxvEx0Ib6ksvg
3T1OsauPknehsg5gUBTGxUPZF0N7WKJHqvkd/4X+sViY0mhko7UHXN1Fc8p2JF/lE7Jh4pXosWsI
lYhdv7kie0CGgYuper9lloU9gzAhEEYq+hSFY86APuxnDWcGwb0nxcT2GZd3auDI3vuxF3vIlnFn
F265FIBJMZoENh9JXE6LdITuTBz4JWSm4EO4pft2QNUckDlWbi7QAG5GEW7EQ1wBwsu7CAHiP6w7
xgHXwk1fw7WgZNdeuP4lPh2VIE4iOB/8SdrZMPl195JV73HG+DRx22eYyQBh4BNFCFAdCoUueAAR
jkhoxNbFM9rVvIpeNPp7DPyxkM2zVydCFCIsjMBfmfsVWiUfhNYQii17ep6JT2zc+1ZZ2DN5rC1q
pBk4yvwJDQbPWsBTcuB0HsutMtKecFsbKnxFOn0kIiBuZAyEnsGF1pCfbzSiSzq9e+I72mMMBXGa
zl43FwOOhikDSMQPfstRi9PIa5CsMJHUkJx3iGCevji/If7gs1TwB/5gQ7YTROhPW0R4JLejYQtD
XdwW4pOrJZMEl4Fmi4sCNqR4gFku2kDwAXMxPQT5Hsmf/Z2iRjbktWtusfWVexlpW/8shsnXIxmW
e+BchDt7Km40JM7FIKIrvrCHImxmnj4tXTHKLzyXHXMqDi8b0iNi3Au7sEjMQEvosV79lovXoV/p
hmjtcgDskUMB/osWglIy7ZcbygG9TzPkIHkK4evu666E6ypM3WHnqbRJQsIbHUYeaA3k7rv4kJws
Lt3jxuMSWebi5MqMefEQ6bHwz1a4C8TpT3Cl9ZqFuHW7jT47exm3W4084HWt7EVowqhiWa4xROL4
M24n/AqnGkPsawbxMM1gCuLuRrCcO45JC301t16KG69ZdwSvm2CDctY/miHtLBJzmdfBz2RUocUZ
aHjcxcSXuzM/wPTjb2LfJGIbdyvUobtzFNMOJUqeiuuZcPry+d3hokKynhIFXZJ8RsRH67xD7MA3
VZwTdGqZqBOHeUDk/IxMzFRPLphXR2U2eKIbkM4qN3Jm6OfwYqT6AZf5zAksDMR80fqXGXMGss49
q4fCEafeDiwHa4Svv9YYtOg+CnNe44ViwYAD4nZhsKjoJ+ISMjRfqcFif6DOw2HLJxX+bOYueO1r
h35ogScFFw41i9OKvNaLFqcVHXfyPqFR0/vprvdPq3CJSLp/d+9Igff8tqMb2PvQzL3f+tmtb68p
GA+rAzp7X++Md/GuuTg6CkPWUhwCbcB5y1fqhoilQOUc0hrkIzu+imdgIdzF/nM9Wgig+W9mkjh/
QE+xVbjNTi8qr4WA6/eTqycOjZPdc3+JpCr0OOuWg6gKh392PyNnP9MDOGivkrO3nNeJCIhMFiI6
kCg1oy3D1/m8Ods93ppU8TquEokm7UXxMwmT3wa8EbU+LqJQWOJ9iGrxCpjvPPbbhiSY1zts4bNw
60BystHJbRfQgUi4QCTx15O7h+Hr7F/EjfEkln2UAz2EVNhNwrIWrK9LXs/nib8pvENs/ZWDZ8S5
4qxh/TvnaJfiGcsamqklMtw1lxZRGd7HJyJOyRFMWSqiJxuxfsyXscd+up6bIsaU+MLxAS3aQEOR
Vihp5kNtmpPFDdFdOJqYMZY8S9/vx/i5D6Dk/spGyAGeaCkd0gRa6QDVN6pj2Sgbqa/nEz1chJ4P
qg+WRD5oqCEjD/WpAOsG2/p698Uj23wRxUjIWUFCMfvdUQQe5KdDzoiH6yQj7sbouTGSog0QEIKL
RK5ELd9Thi8v6Hj4vuP6zuJ1Ik5b7TK7DVMOBIU23sXdwyuvY22oKQ7Ir/RX+wr9nlGJJi6vRWid
T6tf61eDsI3wtALv+vM6Tq6OOVE/aW4KlemzhHA9b8ogANJ8vkEO5tsEbhyvDoRAs2hW///jOpOG
lzFKIZ8t5eVyJsa69v57zMuVuD7+1csONZLTagBcbpWPv06A3+1+7zAn59D7Euwv49l45js3mfYO
PwLxERErCA88GMIQiZ37XOGrGPbiPFHK/jo+aWiuZXePXBzT3i2wXHlFUu8njLoz4QUkN/NjMxHz
ZPqVBoi5dpI4+x9KId9Ky199QOEbjcAVFZGvv/9ReOluoW3nRaTMy8nJh/7MzYoGn4fdqCeP/73y
hknEsvSv4hirLZAmOKDblg76Q5Q//9xYY+mmcT+Vs/nh9/II4bQWCcJsXDNwJiJ1B54G9xEx4CAJ
BkP7a8loLIyNtlgjbYfbWzfJZuT1E9Bm02iOisfIHkWYLmqTjK/tELe6TYT7VIVAqxHch9oEbkM9
7sfx1J4WjSPNzZHih5NycZrGUxy6l/WWGX3dYMeDbpAuNNZ1XDHk6WV92/O3mslHn9nTFAe7ZFvu
87U6bYKvfNpHVGJ93bNWWdJCHRUr8ahWNf/bVbusth1/ue4TbHQq/ARERijUPPmYaJvv7YWyUjfK
ytyYC3NhrexN/WZuTvNiqvOzzW+sFa4hI0RAnHB2CfJg4CI9NrYXEYubIw/6qfYiXOHgNq+WBrPC
sHoBz1IXTobhNZPsHRCEylYtaOHr5uNGx4Zwx1EiESoJBrcKtwPWKAJHX8ztDg4A000NgNUZSOIJ
LU5RUIZxBi8DUCXg/RLgusNH8SFmLb7ueLMpic+SoZeTGZASU4U/OyoTG3p50HL+9y87OzTKM0jj
T+KA0320xW1rf+FxOl73/VO4Ej0lLAl2JvL7aEv6ljOY6K7uCsu3dKlMy6E9KRbpqj1UPO6fZeT3
nzAyAdHeP8P3+ydPKky4yGHetffkNTtIz9J7cjDn0lJD2nywxmLtSwBexAlfD2yXtpXzoXmEahwm
RmBTVuYKseVlO6+Fsq438LpRyCA8bav5ZXtZWtPrst9rT8k63FgbEzM7axNRjB3MSnpLcomblYQr
JSSJeb1PjgZ6lttknW5vTwj58upiD69/Wy7Tpd05AEP35/3tKTletvm23FqjPginFy/3mmWzyl8o
0fxKX+KX6+66kw/5L/UQv8S/1M/qNf2lcpBwh36dfhHroruPTYMCxYaITaLzbmy1LbDZbaeyXpXX
9jGnHPEpIAgQNl+jVzlyB4gLmutogYLLBO8OhD2canqehiO69IfB8facbRIOttibK4MFM/ypZb2v
T252zNanrTjmZqIurXk0kxbaokEed2rM1W39nB7iV/n9/nw6dOueMjt6A8pGfkFv/AVF8ebtxgN+
C32k4iM6Sm/JUXmT3oqP21Oxz47GWzdwyy02w2uEj12xqjeX3UQFFcztLo/FqgH6IBzrE05ryS5c
h7pjrA1WyOlrQcn23dob+/jpvrJ3qNjnb/mb/Wvwi6vlDlDRRbSX8guakuQxlG0xjSDHpxtyFv9o
CArNAAbqwKVtmG7FxQk34eaEInXswcH6d1hUvym6iRhsqZpiACwVFb2Hknt5vYX3m1WdOaBoF2/m
7fg+Jtef359OawRWMfRK3es+n5STfiwiTLkRj/gMwcOtdtKhec00t0YjFGmcQ7E777pD+dphnSd9
njaS5V4PBoDrZlIrHg2eYpcANrsu9NYxDjZyL8I5emtPywlUVsAsW3NqjnhiTqtlvWyXCYgzFrLC
WCydV9NiVKBB8kxRkezNCdC1rPwnniOZgrHRWei3DjbxxR1cvMGmf8v3OR3g/umyD1c5KaLsRsv2
6XS87Pu3ZIvA61Kf5hOJaDJql/2YLeFFBLGEZrIIt9ePeC1C7PVDfku6oQBcGK5muJcj3yH3PCFW
0RCAL2vzyX4DD78+L7NlthXOZbjeBNB2ZoN5tIh3peJkZz9cDuYhUhvRgjEPRM1+RWji2V6fVohC
x6tkc16ItLib5eCFN9H0NqPqPSsW5a6bpat4JdDXq3RnvUO44h9vi13jWUCs0tVll6/ylTQrV9G0
2kizalEtpBnO3NG0XmiUysfW1Jqyxl/nX9GgHLg57Mlsfafew2+So/AJs1cJvq3WwgSDnLgGcUW4
ReTLC1/1lTyOZhVd3/l9aTI3aovyzdjYaH5vDO6/E+uYRflkbS4yv9EWJprg2d7AumEZ4nb/FG8H
nVtga7+3V/Gy0pzoeN5DOSrmFXdavs2OoDNK+JwQgHn0ATnixL3hyBFjTmJOjJExvSzho6A+ta72
LZdgW+3TLXcN3u1PdueGmxJHV2iuRDl7xUZRbwk34I5/wIAp36v4ii3TipU1DXNw9Cn/TiXS3Gqv
WR5eZqhIMKMhAeZGmellZYPGuDbMIjMoqtw3Y9nPw3EZvVVZ5aEvfv3U9Y0c76UY/zmD6j4KrfLt
5g/y6w+dtO9V8L/2UH2ogtuRfE6vko1JSO7r1zndz6YL7th5M4H+O4Igy/c9sfrzbKgP7XLZji56
E5en/X0bEZFrciqEVWRnMLwvRTF5MCxzlPhEadlhIY98+BPrLUxlUrKKeJ673N1AMyKv3FOxANBT
skJmKU65jgouMI8TKhwwVTbGGAeXkOQfWeEWPjGUbaqWqFBgVc0y9RTM9kKP/gPFh5Rpk1haMYN+
Ggtlgz+A+wkF037h9x7uCd5EcfwFdC32B2LgfuAnLGDn4QzV2xcD/4+PPIAWxVoFCp6fbZFRojjn
5riFnSbmJlsiRo2sMgaEXoopkb1B3cx7R6PBAyywuO1IoudUAVJW06Mt5SNHWE824+uqOlLcxUI2
9spx7K0hBwULsVq9TyjtTtKZuRdr3Gwq7MQ4und7Uz0Zq2oaA4JFBMm1xhy0f5vjSUpVoXTHm9VK
LDKDDbadMoWQ3diZsax+eZoFi0nkbG/TPQYHnWOPxYISwgEfu2QOBL8SkmyHC3vFXetWw+tE3Upr
ddmikedEY0H+pMghfEenSHUlrumVuF2wFnDTp5/S82/6/kxDAuIoI6OAMMs3fd7zXTXapozOlHQ7
dw62tMOD8oyq4jw/WGtl8szz+uTLS3kpraW1wex7+7y+FrvmUB7Md/v9+pr9KjfJao4Sz8wedbim
pyTdpMFzuOhMVGLiyVbyTB+dtyjZTa/4DiJWtRusafjQUVl39KbCZbhF85gwLfxL412ySJFzB6x2
GCBD5oTbeIdOcLJoJ8pSX58XLGtZ1Caj88ZGE9IaFZMaM4ToB9Tf98b+w9l5mKTjLjv3WZ6AAKGh
IOxtxXIjzH0Y+LsC/n7I5CzqyCFuXia1jAETJD2CIYlZdRArxAqTKbG2FItb1b0ARBBrRR/EBq1Q
gVaycKL4ITAo37r5Yq9BKMuqAA/T9P47TN7yuE6iNMwx4W2HJ8zgy0NCgoBxreVBzIDxZT43h8sr
fWKvPFwOg629RWSCi3tbX/FiIGYoC3klk/0ZC/Ml3sbMWPmSoE9y3K7bBXfTphGT0z4jyN/W8pIP
WFyw/b2yUMMG+jlbFbNsdh4L82Jhg0yuTyIxWOA+Orexjj7jr9wqzgW8BGS8abFU9t1Cxqw9WtlL
kQ+dV/XuNM1HzSJH4QBf6TnJJau3+zifZEtrpS/C2fnNYLVUkWjv4z336hNBfiFRqJ526F5twlk2
BWepsuI6T62ZVDgCYSEQ6qpwzRKVg8FanugBq4EjaQYznr6Ocb36nUEYS3MdbpX3pnFvzzlZVuNq
77DYped4VxzOr9Z7jiBC/yrN2kCbKtOGUtFEm54n/RwtsCnaalQLKGQEMRZNuhf6HQ4+W2Ztk6rV
OYgwGdWeKhKpHvejClhaw6vqYegiVwjWLaYS5W1FM+CH4SEJoMPDgvzP4aGJWfbPBbma3uy6v5aL
6LJT0CvL7Sc7PirpVkKIDyGHxIuq0cAYxfWsLucZq5980pyG6QXdMbfPERLz8QO4ZlNTG0W4XFTb
WJ7qdIpuaHkjize+3ILUnvXtcHC4Vp5ZDcuTV4V+qK5kmopYKQ58+N9puz1LQhkIgYQPWEA5QvBk
rIUf6yvYWzUpkvpqp7u7vky4/Y4xlfpiFEZjtUaQ0W/JuaTJFTlEc9nY2H3gNAKmCXTUSNXcVlqg
vHmGQnf2evhX9I10R6GJaoz0aDGoXxQqL1Mk9lHuydBP0oK7NW8S/uhVA1j7Ai2r60Ac/EheaKUr
5XT4fWwfcnN6rub1fYF+XUwblOYJkbPAbAGqFcBgX8ff5Da+JGsNecXCv7zAMQ2fjM/LHhwBYIlW
Dwp9dKftfXNP0PegCcK/yUcoM7ahC5E+QoOuWufKy6ndx2d0yNaatqyLV7Odm31QFTMzmuTvzZO8
vd5HqJXW5LiwfUP0TqeltlW7zzOiCvKJrtKbkDa0Py4mNO7ZPRlH0ryxaRydp3HCNE7NT4mnaUuB
oHrPUW2L1qGyyqPVxQZ8Zr1fQCHl8lMYXoXthmMqx1C9Qbfn6h5Dc143xwsAydagNlulyF5SOhWn
oSFLBshbDDZNutbqVXQZ/nsIfzGgvo1gNHJAQciwJY2HktLJLovTraiKBWSAK/Wa9uZ25Udfrk24
hog/58W+UVjgZXhp4C5RdPsuo5YQz4tqD47bBRP67z3SxBb/3iMMQhQNEJoO+gEd4L/vqUy9X+63
8t7vsHC2giuF4shTOk/HPuCuzaxzoEKQWNB2Q3cCUakJeJse9xIalOHIoJO0o+0w0UYGASNqWEbo
bgnqqlzbYFWOxKhPA3Tf/hf01F95NKySH/Zf/kJ4/XkAJtMFwC8UxinV2QgD/30AaXluLpFxjmeN
iqCB0jsqCCDl/HljAXa5+S1lg+wktAPRvk12Ft288vMev1DsOV0/tU53K3UtXZFe2VNWxNIiVbNZ
E7HUPj1bcuGk8B6vtxYBEnQ9+03RQZqJj1qxbrN1fN3LuIMUOZizgaeg1XK9Ts6XtZRgEgLh7paj
rgZIx7okrnIZ9tEik1pcLBBRtvTxIAIegVhecg7HVqQPq8snHNbydnIVCVGLkz1UtcGqD4m0N/Rm
FwOEK81Ddj1WCD8kOoWvfnm+CfSk2uyLXkUqWHfVq+GYFxpDWJ9d7n5xjWcmd22vo2fQopasHc2C
tQfvlqXXiqpTWc1b46VcKiL2NKpXRehSUNyUwNuYFPmLyQlqFmhLCeQwF7WIPo1wrLNj0nqAFrKk
XJEV9S1iQdO+3k6fSov2HaHARKEApId8rCRMPE+1U14RCAnHtfl502hxJofqemhafOQaNAqOwNmR
xXL1vBrWre0hhqPh95Kfjnf1BSVAr7/0P8wnX4Yd/xo5Dzfj7Z6lqPJU1vQMlOuu9HO0A9wwu447
RD0ik45ah3+znXrnM7msoQSn9ng2urkEWzXV1nJI8R8JYwQq22MWodimBzfUQi/ookjyE1IiKErk
QQ+Bwr5kfj7AHOc80algSMWrBvu6LSbn+Ol2C+QeafRroOoYi0hIM0KfqaJyPC4G+Iaj4NZrXZBR
Ck0Zx1LZkHlaBrQ3PZsPsigw6AIMzqHflxSbVbwq7spOM1JPjgavPev5NH09GRiUWqhg9woekl0x
Mk7X51tY/wAnlcUE/K8zKibwPyboNFT7sInCZBaf/WLgXbsrWhDgPmQ/O6JfYMDJKHM68bfJ/fZT
bP0WyUgYgYHq4MuIrxpw5L83nrXx3VZy7hK0ino0GibdZ5bNFPnYrCPF7QYjJLBrbakBmqAgDWUJ
pBDgQWbG3P2YdMDpy10/QQY53PZB4sPH1jHIJClTh+du1KL4uk+HPY43C8SL6g9bdxPcTX4MaPpj
RH44jseVeHw26w7iab8zayJXcJtUqlgMy0uMxV41FJCuQ8Bokm99tt458cP1acS0X7fgBCIdZdYM
nVG6OrQwVx8Dddgzc09DzbmwOqStPlYX13mr+D3mvMgMeo3uqbPuszijsLiG7Dmm5N+2q7vi2ok7
UMDoUP4GqALLAsmmZonFPQhfgr7X3CYmpXd0ugALAIdZ25MBDZIcZMGrHuA3hKPMuhuWyDbRP7sP
05UINzP55vqZk2STvB/epqXiZ/vbqJqo63yoq059vGJ+ePoEWBHXLiNWvgWxTSs0H5ofymzaas6k
e2Khjl/ifEAtKLC4GWE9sIbyJafeX5YnDycLOOk0KHXRm5xMu26Y2O4eTYqPhGlM+Dhq2L2p41pz
ajPQ8h9aR9+meXEJVcDxIDYlIUT4cB9c2ro2z4nU71Ac6mF+DxFKoxJQfHUd9JsHGBOm0BMM34KY
7GplcDF/mhgfk+WvfTBhLesIhUiWKQo+f9yLdS3FUS0l2SxUiokh68uMZCMnincgwGpgWGRsV633
aguxJxV/CerMIQJsxQ+FJeWxsiR2BKsLmAKC80OK8feOaHYm3TpI27tlRrw8ORt1sXEcKrHvhf8i
gILYGtbgeABmxd5n+EOU/+rS/RWTqFaD7MQqwJRVDabd35tvjVTLr+QIM4sxcEXh9nT+zLDQHZyP
Is0a6HagtfnwfgeQGh2yCtkEjOave0nZnwqUt8tJrCwSRXEvVTKqkBBOfakM/p2Fyf9xsWwT/ogK
50DDFUQE1j8u1vkeKgjCJTg3psdrdA+M4sM0Pk72R5r3boiegHlDVUnF+QqPlkEP/jloq+MPO/Et
8MBI1BAJsPUvAx3rYcQMpE69NvfBbYZqG0vtG8smCVOyk6NpzoDCZB2kp6lVcqsD01G3/97692Hy
sPWH8H29J/eilvoen0K/AD3bia+yOeFr0pKx+Amo0t475WNmQPZI7z77wQsGCDyvzV0hzSuDygtI
vRuWr9Jzccs8pCfP7Q+lle/Xih0lV+YGtzRurK/+yB/Xqow7qhTnWz8rIu+5oX8KmIJEyGJp3w4b
tPiVoELuyTitzr1b/QSm/tIA+Gs8i81bMswbE4VGRvbfQ6Vv00aRTFnbWIV7BhgHsHeN2BBrSLPw
wxWtzC5QqfO9CiRdM1Eyj7x04A+lXng7EMQHGw2kYO/nYyte1KUrS+OC/hLsXbqSmBEhmPYeAxdU
RyJbGWafLP8qY1jBuUudKvGbpzCbR0jnARtI/H+Pgv9kxf5BwZUfjg7RfTmNpA6nZtDEe6idW5bW
4qGN+pd/bwt0N6fqr1P5sHR4iEx9rmrXVu/KhYCeNq/VDl24xR2ID5BnfG9dI6hnxO3JZSMhQugf
zoH8cRvn3i+B0eVczsIAEBkg4s8zZbXGX5crjH2FH5siar+ABQYj2Cc+pcVAfxctfnkLrnJmBVHj
ViApM+ADBnLyz1uMSIHUcHMHv4BYAw0+LaiHA6ylewLFBAYfBRXkDLRN+QTUAAve2FNfDSA4yTx9
UkN8vQAijUcY2y6joPC0oH0/vWYzgI3TcrRVsKW2nkHROSinUVuTPm+AAhFW8Y9KYG+hqmUhtG40
Fl24a/KMxtZThKAVGSM4J+AzCdUQjD28fi1qUsYWfNcwgEww3AA4hG6wF4AvO6j9e+FGB/zpx1St
0Hp7l0fW6rJPj+Vc9VCN7BWnHSPeYj4ly3Z0nrY0QrfRq/rZoMggUFZXoGlIT81ncsDb5TUgNKcd
KWMB6+kQfNghgkhzfLDv19auGKnBqoQvqrwMANlNY0ibMZrc2ur/ODuz5caRZE0/EcywL7ckwJ0U
KYlKiTcwpVLCvhAAsT39fKGymZNJyUSb09ll1VldKSACEeEe7v9iAQzs3H6FrwNZj4qKL76p+WWG
/qL8Es4QFUQTGaAaoDPtcH7e626LVn4FAQR/GwxUKmC1rRf/VnYo3z+JxrRB2WTl3GOt+JTP/GVw
VP/U4MkyBKdAhJnkNa5ANtYzfLiopld8M169OIABn2NoIYCRR38j3w138kNDFveG8+5UX9KJpNbq
TC3PfDAfUcpeZXO0gu5MCKwEbFQj/c14iF37KX/RFv06OPbcDhY5RmAW2Mt8Os5R5kd9UtoaQLTa
Rek520H33pYRFkfGIpwaeIdlXrfNaJlIU8P7hZ4VhY5Jv8DYBbDGC/Yl62yP+UT6SuG69Fp+Pv15
16FZEf+S7yyAcz5oKB+wEW5UT2A9AVZEqz2XG+42vCFQMpkEU2AtoXz+DlbBNl9fQKSiULQsnoWQ
hzbv3vqJ49lMBVdovube35cM81EBsR2sBsi8Wwl1E/ojFzRAITkbWEZOtRb9j2JZi6YJMLQBaBJn
1A63jHKFbhEpYEX5Ad9k3A+8CrCsR6ESMCVu0BI6mWeR6SHdZA6ufX8eXdvDI94Gfunl8103O15+
G/vEpWvPpu08YLPV+vEEhsmaSI8Snailvh7AsIUrewevlrvpG3oI9yTOpJHZ7GM4SAvr7umje6Tx
ChHog/LoxJjSuun5GxYVrvS4oE+Pe9umX8Hgmr2JmY2mxrx9DVGbKKfK9D113zfa9EPFyTDnHFBn
8rO2QgLKRHTwLml4lEWPAwzSxj+AEH9LhikyqR06Kxzgm2HbAllU3WZjQVR/7R/L2bhQOHxqTql6
ETxQKG6f/MnD2cs3/bM20e8rdwY8FqgkzabQC7BrBQI9MT6Yvwac4LD6eF3NwC1XKlL30X03nSX0
092lK+8ETCycD3R1yKOnyv7MeaYiymDSECAo1B908J+gknHUrJTV1HjBv9ddnyx+KDxkukrIGgJA
N1dQOUBtxUfqmZdf5bwAJ4NQFJk84l0uB4IMrjy4q9fKXt+BYgiXteXKvidAFckMV1q4KZMd/9Jc
2n9i2OA0X5iit8XIVUSbv3xYnL4mNs5TbUZBq+MAoaMIrQGOwEwQfay3cE/5DcpELircD9oewBYQ
8xYU8+kCGD9dVs/EVnqTzhL7mLkxWWBFuhLQTF1gP9YSnZEQBWETEE4041ZIlaPw0qWBwzYB5WNY
gZR70Zb9XQhen1Y1tnd/UiRYBAsFphHAdJ1vbsH+9j3RK9dPTzYMbePOPhKin/15ucwmtC00wET5
uwCZ0RJ9ODT39hqtKYAmFJcY1dMgeI6U5YXajnrIl+aqdw8Ei1+XyRPzvBi8DOjnGklRMJQhr1JS
1Xfcn+MpzLQb8fSK5wUZ3PdNJz/vIFVM8iXXHhBu9paImH20b9lrRY9VEAeiGe6YLv7pjyHu78O0
yLzxOdn5QOppyE+CUQRb5xFfT1rA9RMImafzh/OQEyKZUWT8nsc36+05cZ+yp4t3FyELQFcPV23C
dPaq3dX0vMKNvaWGlYKqU6f0Z1h1AXbu9a/gof5NTmstcWdex1POTIFxBj1GbHUenY20iJfSnQYp
AWAUGPhnaz/8Sk/DAl0/inys6/MvGtSePRfODLi6c+Bc6LD+LoBLJXcRBu/Bb2zR7nQLvwKd7tmf
enDVrT+dNk8PFLL2l4W1N/6wfpFCgnzyYB+CV+1PNbMeRAl+Wj7gRk5FZ1I+FwtMYmEYaC/9SwPI
cWFM7rAhIQdzXOMRtn8I1eGhfbmsWAV1Oqk/nu1xWbkHe4a/BI1ltquN08wHbnKte7pTYCZl92DS
JyXjk+5+F/O7eC9796i4vL3hpDMN92emgzNZW2TA+Bn/Vp0rz9VSB8tfLRLyhQMoRdFrF7j3ekWH
6MUREEd21vB+EgSW36J3xl338kJ0hxMPJXPSrPr7iOKEvg9EXCfqTn8FW4Qm1iH7ifa9RL+RJv+j
vH//nbN8hFVfAmECFaGJtgZBewcjCBB8MheSDmgk3iXLDgichW30gb7KJJm9qMtHXITm1kFbjR4A
mck94lGri5u/gsRVnjCEmc9/C7pRDfkAT1TSYvRvJ+FdaOOQK+/jX+c343SP4NuSVUgkHFfGCgdN
aD3np5KASrF2r3/AiK4e4odiFbqJJ+0yoKjVoj+kvwQwIJi3aMbEyBbd05PbaHM409t6RtPio/Lo
5rnBO7GSkslIlw3EsAD1M5krf+mTfowAmhAM3YIR8MZf9Ce0AOduV39sVwVb/TndhYtiJnDpPhBo
DUbEBmXL9+7NfvQXrZf9MddIT+BEQixPYe28lr4nPxjM0T0qiuMhAU2H5fBDvxpmxlxB+aoOPL6H
vATABlJAw5lpJ9Ro1EdlV3nlh7EtCGc+gAXeexFRPBdi18PbGUf1ZlOrdMVA6cMz7GEU5zsTPPrF
pdPtlZ5gGKdg1AVSQX8u7yuoQh1Aa3/yJhLbF9LLebsDEL1L0Pp6hKdwhK2AT20BdDogiq8BI8+c
w2vCSQ8Xbq6vgNMT30mDY/KH5FEDbX6hMHagK738j7EYuG64koj10gyl5Fkwo64QzIAJ/RH/fzuj
982p8gcIkL8r2LnGSzmtQDyDdJiHm7piy3KCT0FcbB922pywX9LaRGCTP31eIKPcl7cKNddomOsG
xtWVR5WLc1BmVrqzkpkE4H+LKtaT9VzPm98jtaGXdoWAMDoAj/FCASZ3S4/lS+lBXILglaPbx8US
VMW/90krMM52k/TnnbOAlvgOQs1/MV36jxtQ9ivzt+SONy5eypdCw+cjuaNqiolKhSpe6a8btGm1
gZnWjBiXmQ/AyQ3YMc+X2NUQTVB/7nD787SbRrxfrnsILgEqUKizUCNWPm/Wfz3WKUez17QeiF0b
z2Q/+tOBiVM1ThiVlBO4Lrf4SnEmiTanPpbC0JEXw7hIrOBQ+Vs5MidahD98r856/yiEv6MRnpOx
1WkOKzLZVr2JB+hRdrYcZfOuvnCFjbT5JUpml7DwooCUckTSW4FCqR7HLN0KiVoUdimi6hP0tidZ
chyHkw03Hl8SveHul6CxSzVGf48irzTod1ocjTWGlPWJLo0aGmRDqkcLb1KY6GKGJD1d5yZWQZq8
5Q94NawudY0s6+BbU5pc56REJsZyjZEmn9//Mp2XwLyTud0lXFkiv/Bu8ZbF+v3nli2mnRYj/7Wx
Zr4uREayfvYB32ebgLsTyP1kDrIMXzFH6m9sJe3Wo67wI7nfxElslSD2yXom9RPJschiweGLjOvu
twg0gnQJkncmEOommbiwI1IIR4iqQin7jx+ikg/cUuD72hyBww/6DylWlr2MuuK/q14u1KCLNKnY
ZOPWalYdMaIYkseynF+MdyskgFNZbyP69fZMd8ob2Rm25V++w7/Pv9p1bawYdZloJToRyT3Wkftq
me3kafwoyJeCpys4lsm9MrOeBT1XmflCrk/w1QQJrVkKSnML/RKI727wmo0gNQqi8DjLl4K96pNi
wKG8Q/V0BQudvwQXHcgOzDaNaoj4GYLfpjzTxBCJuCC8yVA9HXKGYCfol8KdF5bnbuRHCypo/Ci+
n2B0P4uqCs5UJLTb5+dD7f35I/hVgksqfnHxoaAiGPDDNF2S28PHg5EHdU6bCWkMwf+7AweHED8g
QISF+YX27HS4qxZv+InwS7Cuqsmv/funvVXPSlEW9De03zB0oRob68QrVhA08ZrAavk5fguBGzpg
6n6f/DnrjYZ552FGypMskl/8BMRFZ1J7z1uClIsbkcP4WiB+jfu83T6L38vkmHenrbve8qdP58kz
wxQm2Z13el4LfqyYkALKaEAGpJCSCEa/IHZiQEu0prwwjXDpFNDHYnX3jFU49MHJ6XctmIkkOuAc
AXatQRtS7wAa+B8MWlC/lOmrMX19edW88wxJTiGyuJDm4p9TtiFkC76fmJV0Mi9JkRJwhG/D/lcN
HUj8cW7hS9mFxkfi9Sp4gzJhXQhfNZ97iHIdupmCTyRciwUdgh3mdXftfXvA4tQrDw0dNpX7YDPV
N3C/XhCm5snFkmQB7UdzVvwRPC+wNi/izS7L5GV4NOFXXfY27C8N3WZ0yifhghLRtMO/CTOO+8d9
67GXp9JBUJsuBJP2STwb1vIMjz3u1h/D5EHzXl9lVwxBPDPbE3JWgjDlfCR/sB7vPSE6Ok6TR7rP
j9Vr/8QPnAdTQRN8+vnC9LXkzYngIJCGkQXHAbH33xOhvBjI7UkKMjIygeiM349xrzm4wuU7rX9O
zk+ytRfaMmU1cSgEpUDOZIwcBiiRZ39qtIWngndIOUd7C6lqjMNSiHMJwAR848aTnB6d7nDjnUVN
9N/TnHcGuQIeQCh8mVc106RWu8Eq5GyDZIgucayi+9BN9Qo0Enu4Chc6AdUfrWkTWTM7n1oBzvTl
qm22VrGKRpI3YxOld722PtOlzGHuJNY9TKuXupr//KrKl+uomF6CPe0v1VCNz0brX/Fey7PM0nN0
c/z6/iKfUN/vH0cNEjrVMHkfQKpwggAHhRtTZH/zXFvGeUt4KKF8olxNkZ7FpQ3sBKTJqqRiEz5K
d+VydIPyQxyECjnzKzrfSJ+ijboBdLpIYEahRreiPoqI8draBZDy0a5D8baGD6BthWwYqP/HhGwf
EhIFpWO+kLbRI5yinb0uHlDmrO8uD8pW34zby0PxgFL10/icY22qLtJVwZ5hN3gh6XaHCFr2UB67
X5df5k7+/04ngXv/PfirGoAitU2untEEsxVsqp5rXJ17IkExFUGfZS7SHUvak52g8e20L8lwy6/r
C0HF+nwFCwMrDdFrQxff56/vbtTJoBSNk4EMviBagU4OaE7lEawGgE0BwlTgtvlLc2l5cx3OJZoZ
kFSF8h7Y70X2gNPKpAcvXszEWRXNbO/nhfmpKHO1h1AYBbFkk3jriny1QIooaOS2K4Lj9hkTjgnK
/sS4alYsksl2O7u3Obbvl7+5y77fv1UYrG50F96IC+OXimE8RzeROtqN/OArGoZZQ61PLFvHUjEL
+HfWTKnN5UBl1W7lFQDpZ5oe7Ok75VcM0PIo3YcP5V2wrh79zB2eBDw6hHeJ/cZ99ae+H3bjsnzQ
fim/6QRs1X2pUIW2gEP7b/049Z81wpE+vTQLlEn+hGt9E/OX/FhDJ6lYifUvdaeyFvsX5/ECT00x
p817ekoetOWfn+f+CxNDLI6/h3mVBckXOziXvXHZBRRyUKogvXgC4UC+ldfbeosh+KX10t8YhuOL
3L7Kj47hjsP87LvyLww0tFt3IV088MtiMGm8GjanhSJfrVbLlHK9sEkL20qGXm2Th6btXtHOL3lv
ucP52FrZsmjO89TEOnjdGyEQRzXZquqp19yuA7FthMmy8rkCQ3nsbPpGuDvQq1OtaNn0+UojMGiW
kI2QXxw9XSSgny8Z9xR5GtiLXEcxCijbPJZJ+8wzMEn8f7Zm9eJnh0AhqBN+moqCZXzIL5DgjQ57
Zzcz/lSVghBGl7rswbs4MFd107lFQQo91q6iKfOSb5/hlacM4dyWpZk9oq4Sj5sYPJOTZrs8Kud1
+mo1tpuyYpJxN1yUiYqdNllWgBhdLL079Unrt7TkG5nGQXrKq/ewaTYdFIxxm2iI7uhzjHbEMZ5d
jLvByWbaWVsEAYXCaouuoMqHTjQa/flTqyPz729NNXP56fsghvocr8Jcm48XmH2XU2+GOElB67hE
ODwspdFcAzmC691uNBl9O2FSrNM9widNC/4UqvksyYiZUDXxR+Ot6C4zE2Z8hSdD+phXHVA/BGts
GwDhOJXWrVPdpSryM/CIk6TfWUa1a3pllRWw4f1hbjb9QiqHia7iRCovfl74n9Huep1ZcJBYagaX
MfNq4V9SvdZLH2x9NaNzcELaEJJECdK987aPCsRjFCvnwX0jWoeUvpOdvQJM66Pgg/PZBCcET2hi
YPY0A0O0iu/Rg4AgQBFpRRZA3zh/ojdTUaN/Th6Tvb/GA+vGENQvNxjR+v4ffeZrfwEnVVvJLGJt
PaiwdVkqndS5ZXzGFRl7j5TOSoVIClhnZUDDBAynAc+qFtxIZVeqa99gDwAKx0PRsOEKa7cEpG++
4BWGQdK6OL6UqXOvoQ8LTXfd/0oO0aH85SO7Vq6SO3sHiXYfPYWbaGYtf/7CX1BHnB4OGBcEpQEm
YL9wFXolBT3iItRixK08S/1gfzTRLjJOWrVqZWSelVMBdiUZaYlZrtU8lcohT1d2chzCE9vs57e5
vop/vowKCk+20PsjyF2FkyzQzUyRkk0P5RYHMXLASl5a8LXH+Faid+tZV0doMsZKoEd6tgHM1Xep
h3dc7M9D0N+cGWo6b7vdEK4opsUX+vgYbzQo+J07Gl0FWDk8x34e+hcQw+fYgVXLBBqLc/1qq4UX
PY997cKHUA9SLpD1nuW4I1z+hkjf4O+yVYHv33jqddopnmpjI2DhKcAev4ZO4EpXgyLHF0Oxjkp8
bOWZ0b8nl0MaAgmWsJqZSsEqDKPpz89Vv1RdPh9sMFDLMmRTs68+dZ1dqnJstWwTyfMMRQ4721nB
yVG4tQD9BYyspDnH93sIjBcEbG+tdHtTltEy7gEw5Ds/XVnW8MyZtw0TRMqwg1AglxCaUxsd8BZn
bKl90PUXQLbCALlHUyia+uPjZXixgDkSk87rOl1cBhb86wiwAlGN2AvMrdJNFfy5rTkczwwRJWUl
V4Al7+O0XZU63LcKmEZe7mojnVsKJgW+7F2K1lUJg0bRvZj2MOWNYzC7fgtyLDqYl0N0ke4UdAsy
dILOi0QNPMPRxfhaOfdSyB869RJuosVJUjc0uEJiGd7a4CjQ/6m9FOSBudbshVy/18PB7w4R71sV
hx69GyoSUepqsmcVLgj1tKciPDciL88OTTfPWD78xuyRQUjouWtHI16V4YGrk1ytUBYA2hfrR2l4
F7sNZQXJq9HKBrigupXtqupUN5YGWiEmKh4xElb4U1awH4MVkN0+23XAtjEKqp4C877SCIFkfgpm
GeZ9Kpj/zrE/r3zZ8dIzl6j8w0kWCsDleFXTBH4384NCxQ0ekLzBt06x9lm8qs7YPXRT9F/516Ax
ZCwKdVhrIz4XZTCpqj3wcckCbg2voKpUb3RoTCJiBsBA4UKsp7MoWPvgSvFcipx5DqSBgfTr5Lzg
lLML94x4ZHCyrGDaZSfDGDw1vB96rpkp1Vf7j25A36kFkwK6SwN1IXcrVT40ie1KZ0QzpWRp68kK
xRqoFUD+ziDI7rLsgIb1NL3QMpG3vn+v9RtG7wPbEP+sbJVDlhlcuOENqR+N/tJh5FbGVD30o8K8
97qywFZq1tTG/uYN/NvThb32/7bb1WkXx7XpB0MTb8LGSxz3nO4ycw9xQfe3gbrv7MOl+fh5i393
viLmrTp4Iekgq682eFoESmDmSbwhqSzUedFtGWSoLPPhBlb0C7bu8yj560lXY7O0cqhLw0/Ek8x8
zpqPByp69TyrT/yG9U3EktkiVU7agaYXBKafx/oJtfw7TxKvgB6orfEfFbndqxqyPzLQ3i6HRxzt
gyfk6SjmIcQ1u1sipTd/j+b7ZuJRdaKItKJW9LJaPQhtuZ/f4kux+L+3wETd0QD5mfLVbayEjiBX
tgTvFsEUTZrLCtJlAPScFnO/3I2rdGr6IC5CJI3qh0w53ni++PlfZkGgUQ1uJvjFXHWFssbBFXHI
E0EHz9m0DZd4PbjMVBPHR/H7ag7FJAroGAut76p8Omu33uE63fucA8tWFBO5CUf9LJ/9dY+X/MAZ
83PyyVttLnM5A8a81vJlbR8NZTmej7V+I5P4utBVUNuaTKtCMQUj6t+kJfIDJR91IhkWdhkLvZza
lAb0d87vn+dXpGL/Tu+/D7paZJoV+udCixEFOV5Qzoke+xso1W+WMU8QTk42a9lQtKtkMMO2qrYt
Kd/kjebW9oND2da4U/3QVc6/wxHiQwu7J/4jRdwX8ycLMl6L7AqYC7tfpPDwwkGHTbTLLtOi/4MZ
4NR0jvSPAnqgsbLpTER0yPqBmU+LAPm0mu76GN1IaUUh5Ms0WZaFyjd2xezKf79HGxlGPjg5HbvL
nPKhf5lDw/j5S3yz05goFpljyjCP+fb/PiML9SFxagvTso/mrdU2Q4okzpywAbYHdiZgLZwV3m88
9NuB/c9Dr7PjxgjUPpfO2eZcTrX+wfLvtOpQl+sB4TRaI0AQIahI6ilQn3S68ulciuobA//uFejA
yrpGlVR2PusSf+2uNi5y+RJga29L+9SfRc4RqPvPwxSr+Prz/f0I8Qp/PaK2St2ECZFsyuZZ8ieS
tqiTk029wvH8Zvbzs779joqhaYawuGLBXAWpLtDT7FIb2CWjwZxBTVmVJFvg6cKV2k2J47aNDGK3
Ot+qM3+y0r8M07RkxwA6T4fz6smDEpwbayBi1AAUam8rI0eQecvHe3v5/j68IK7gNfcL4G/pfHF4
+t8M+6+HX0XM3Ff9YSSF2QzDyUQOtF3q1nOnbTXEN2P4Dgbek6fosjRu4Ra+Hbagc5AZmPTVrzdn
2ZS63WcDZ5i0z8iHzUNnGNMwP7Zp6nWAUm1zKVuvEdrqlQb0U6VhxvUP77A5mACvpBajkuX1RyVB
Zpd0jfQrpbUtGtWZ+BHnldx+5GZ166IkdvT19/r7xa9ia6yrTdpLgbbRkW/HHzPRMSVBr4uLoJSB
ARCZtkHrX333q3yewos5+9pETav7sC3WctajqNg/xYnu9jfx7+JE+/JuBDsSD+SVWMj/bpnSCprB
D2vuUsUaWIJMrwyoORJG1bK3cVB3K+Kv7hald2MdfXcciCj7fx98FfrSi984dc/tUTey1WiNs7Zy
U9XrAlDq2ZmuxbGhkthb0zNZcJ+CmeUyIuXcP0jDbrzLt5OAEaJj4TdvIDH17yT4ShcNiiRHm9LZ
av52KOYWg+cVHH1VQVciIpP/cespnZsgxu/mHwdGTTPZzngw/vvoERtf86yV6QYGITe/yKFu4ixN
oBE3xvjtfP/1oKsx5nJfjecsSzYqdU651jw5wsACXw09erebYI8d00q2NmFWzbXUml7y80zihmE6
KGKeTz+/zHfntObQzXNM01Gsaw54Gypywi6PNqZfTi1Kw/RqxGkpECGW8ZLpN5KTb9J8VdaJ6WRZ
JHcQ1P6d5YgGiJ1lVKqoGKCGJLWrjJv2BXJlTEDk8lqHKBi8RNy7Ry1AugCBrlttuu9yPYjDmK9h
IEL/9erU7g298DuZaxQkQTNHUekgt1u4zg6W7D9P77dPIi4hayIavdd72mh1bUzkjlJY5Q0UmrnM
R8lvtT70jO3nR31Ti2Fm/3rW1fqN20w/o+I0PCJ0/lwCf3nS7tbPzmR7dxd5y+VyruzeLm/ohM5/
Gd58+rpaLMDIvRwWP7/Hl0qoovAehmEJ41QbT4WrEphuFG1w1nmPJ9c9LWfFdPJuTSeeN51+/Plz
q/T1bSjSaUbrMo1pOI9XQTCg3iuZnVhPl1eKNHlvzkzjJaZZLuJQVGIUjYKMleVepFizVl61oT3t
+pVsUynSuFmB6wqdvfA2Zlzw+y6urKKBnsJ949Ij16+0F8wLffb4Rvz+Yu7yOVF/vbo4C//KkSQr
MC9+F8WbWplrzrw6AyBBfU3TwU9EVCrtaNtlkCoQWEs7ahIchOlgexmrtM5B8iZPNQdw2p9i7UWj
+JZSibFpscbIW/WHHOR8n6oLdEJL5CNMOg8954wN1gyVjb5fZvlJZvAJyp0gy2Ljxcy3AphFlwnm
qtcpcNnusVqfaNirSRL8AB9NkfbDxKVNRl8K0nxpzCSkja2pDAK5hWdExU+/ae8lPuF1YPz7E18F
bYXGXYoNFSI4cNpCiojBTJMSykKeCrs4k7zR2keWPZPl15+X8udh9NOTr5ayObTOGc9EFhfqGAX9
BXWWIk2g5DL228ciWEWZPrlU0l0ivVcJYt0XZcH9lGLrZwurW2JxDUH61qnyBd5wvXKuUoU+y9pB
Tc7JxhhmivEqR1tp/EC7hjp3rTqT0Xk2rRXdsZ+nQ/zUn2bj6oBpU7k6G5ch2ujyHIboEItqdpnc
eIohJvWnx1xfkBsnyQzNRr2Cxby9jMohdNQFBpLuGPTbJBOVOOhLBVy4NtgaI9S88DWOasDMh6aB
VyGL6i+Qsf6CWu8x6jCHhpgVsoPGbU0xo22PnPdmTZpsgpY3to01bjrICKIVqIaxK3aAFB5UY5sG
9zlbYlAp/WXpotOniYI2mAxV7YxJpDSupPGy7Op87gBxtGPsC/SIQq4DhXaJvc7PH+D77w6vm3qc
gpfSdVmkV9O8aro+2lT20addmEvHVOG0iJ8oApLsI2aiYxF/u/AojqLrb4INEQ5OUF9N27naCE1V
Sb2UJ8mmxThUPZyDidofeusdrUByw3OLbg0Zilr3E/Pm9v/u2SahE09bnXByXc4YekOrHUeKNzmu
tDyFxh4FAeRGROEzpuprz/ILBRtPgiH984R/lx0hKCFblAX5++f3+OuEHvy0ase6BntzmeckR9Q+
KUKG6bwzT9GtgYrtcz3HhDAusbYjih5XV2YnbNXzYHFlJivh8B3rAxUoYhHeuzcy/m+fRLkDY3jc
bhVLzPhfw+rbqnXyWs03AyyU5Km/PGGZFpPvIv/08wRqX4uJ4svh/QXH3SC1vhqUpHSjVVfGZ4No
IEYlyUo5n5okno6IOmWAxfxzMxmCgxkQuOnpC1dAmwiXK0em2uDWSKOjym0vTUIsWueK9pK06kzU
+BtEJboR7dt0pUKz60MQNULFiD9Ny6HsbqWu3y7Ev8Zydeo2gVmakdZToaZp454NIT7JYgz6aYZ+
ez7voQFiSHaL9v3NnRWUPqkN/TXsn67zqTGrAj2zqYTRUqzocv6hlduW+xcn2jrBjbLNN0f8P8+6
+lydGvuNnHepuH4RatlhTC79q59Xxa0RXU0k2JEiPGdNuBGVGv+zscUy5GEjCYoaHG/j8r5urX+G
JTbEXwt+kALFrv0gvcutJYxqFTPpZN2qS6d6S6KXnwf3zeb651lX4QuhpKEM7DbbaOGr1MKC6ucD
/UwQmTf38XfzCG/DRIMJRWbduppHJZJ8xVDP8YbjoinvfKGFzMnIxkJzpQvW6a2D47vbG7BGi7Ih
5pW6fQ1f44Ko2QjxxRtZ3lJpUyV0RdhuNGdgLoxw8P7rNldQwQlCbZa7Tfj08/zqn753Xw7Kv/bh
1ddUL5o6qvYl2dhgPvTOvM/JZFtjFmkAibi3chOw2jCbnCW4TRbCTqjdZRWtirCdXA6m9F7PbCmm
xnI8X06dmnnwEpBI4pwVZ226qMwDQBH8P51FiUi8Nr6PiPEkwa+Y9La0qk3EM2NTWyW+vBfvkMVk
7/ExzGaNjSD1QdsNSHl1kD0kHUB/8BRXwczMXgXSX7a3fvEKJlZF0YJ+N/ftrEbsW6Y7OZ5049QX
cydDgM7Zq23vUv9VY1HMg9iaZHPOCdqeHxy1Lm0xdEw0xKfMzBVFrF4zXEnf0p0FU+wml3nKj6Ky
NW2UeaHTCK/pqBuumj7FLZs6hlzPSjnbeBOk+iTFd7trOXflfZhCkpNPMn1XubPdfLRc0dsvB0oC
zaoo5yWySUY7HZSZqrmFkbm+9m7Ic86lHNB3TpcQxqxxz92e9mudelhlDlTT8N5GygOVDNPNFEbr
KQzGuC+4mdgXmFbGsGzpRegwcmnR5vBHLXudGfXOkPwHJYWQIJ1MYBz0wdsc0DOaapjEKv5zlajc
nPBZi+Ql3MSxU/EEuI8yqIUacqJN5mbdq4EyxoiId2zNCsjl58REVzTb1OY+BiSnINMW+VOcCqdN
CPuNa+TgY5ZlOy7MjWWsTOQKTH+CLq9y8utTBMvbYa3Z6mlMjInlL0FrMyd5YTz1MLQjFSXJvKR6
BajLAahuASdogMXr70mISSropTAoaGRvxkKbVNsEIUbLj1Z5jf8DKZyoe2gaeK3FxRonFYPzc/XU
DPwxiW47ZdNzdrSdZCklytTKRrbbkariRGS17MHQQo3CeM9t5RQECB0/j/hHj+vc33U4qdv11q62
iM5dznByUJcYkOIp1fss3gxmihqdRGnP2JuAEEMAesBWxgFWY4w4g3Z0TFTMQtst25WVyV5sQmBJ
J2oHjanEbyR60Yv7S/xe1CejqSd6uDurT5FsuEW7SqqXMtxW6Uqoz4ko1p3gUFF+OZuPNd5I9HsN
kzQ6mhuOvNR9rEo9TWaut8CUUJ+Tkb46n1van6e8O0ok5EjtzXrEmCs/dTu0G+r+KTWBTZuQo5Cw
CzKAJP1Jb9BU5H86GRyM6tA5l1ln9mhSzGstQd0OqoV6Il/wleNgrMIC3lv8NDanID/GATG+N7lS
oXzJTKLkPrxkwa6CmtWAVHjVU2xV1DMAm1ZsYMyWhxTx0Y+2TaZU59ehqrh2ac/MFpUxmOgtbvQp
mNjOZz1SFWJYbHUlDqeVvc+6cJIeA4zs1HmeQk+oTwMg6aDZiYt5WPnrEQyu75SPYnGWwetFlmc5
khjSUWdjyBzAjROyKwuUg9Ar3agGMiIKH0zB40pIyPXHOncAZBceHLIu44s69xHabFa4Dh3mal4U
bt9uK2c6GIDJTjVlErUKpkkJP9/uAIWQ4iegyrDMMyrq9vosBDHDbUmU8TvqDQm1ksJ+h+Wl5N26
BSA55u84UYf1lqoEZe+J2XDVsoeFWLJA0sZinanxVr/kc8BkgrxmZO0qaIOFxg6OqJH2A5CY8DW0
1EnQ3vfGUTQVNCbYCWC/pKan5BcYn5FdLy1ysgTI+VC8S2fRCUqjJ7yjCyKEorixAtHJT5bw69w0
D2adcex1ZEiM3k3HaMGH6MqVg6Akle/UYXVBl8+6RQl83to0CI7jYUFAS+pqyvTV3AhqGWMJ+4+T
+p6aYno09hsbtx8NVa2LL4cTappR3btVrW7lJpzaRjk1h2kI7Efj2Gv685IGfowIi10d7KLaR2r9
OAJb/Tlmft6RvoZMBJ4U5DJl51o5SL/UtdNfKBj4fENDdQlYOWj8i3pnWQ4nxZaE/Ex1XZvrEMKw
eyq2egbrKXwPzbs01dyLf7pQTyNaFXG4Nv1tjBS0+rvlxwEEpkMgIX4xzgN/juJbjbBBeTSrdRPv
fx6IyD+/jIMbEkg3GXzEdY3+kih624lytdoftfOc++7N/vwXiqoorpBT4TAkqHq4AP2bLFZVF3bO
gFooQo8Zve/y1cRscqxhrjEDAfHjgu9AwjUfbz1w4YKB+fMov8nreAOk00i0kFq4Nv5tWl9Vsrog
OIU4hBUeXyIuVpXBESntgWantwri395zabjYIEgd8MFXBfG8OHeDLCAfbBhSE1IL0n7ZBFW+par3
vxjcX8+6KtiWTU73Z8jhpwjowaoJ0snYvxfFKydzQonzNpjk20Xz1xP/D2dnttO41q7rK7Lkvjm1
nZ4QAgQKTiyqCtz3va9+P2btvSakIiJt6devqVlTNWJ7NN/43u7suquMYl9LVpHejEcqwIYIBnqZ
aN2guJGmEjjFU0CWGGrFwS4IAer/f76mqeFRq+LyhtHu9/lUxH2elD4UKnrQHBJlvCh2Rbyx3rkP
dFeh2YsXbsZCaopWCxTt+2hBVFqNWoBi+WxOMPhpXo1bBFspV7lmMWJrkOKPdphIZH6oJEcpFgiw
w84R9Dsfh4iNRRbPfW60V17CRYwexff//q6zJm7gy7HYSmD01cCowVtL47gCT2xb0WkjZRXHp2g6
6nTQUkK+qYN/nnXypSaygcYFZ3kLau6nBubLFbCs0Ax1A2tKUilldXltSdmiFkQ3CfCJYGEPyn6u
z+ceofce0YkwtQ9IcftajRYNf15Ve45rLcrWjQfdUrymUb90t4KMMnO+8CuU4SB9/3JKYQqQVHhD
M4cbkTAK9YrsrfZDn5sgxlFowmUl7WcaYg16PtHuyDTt2ne69J5IVQCAptlmqeccOFFJ9KCRpeQm
lbYMnwcfEoQ8Y02ze6qXRftb0R4tbNV//jyXdryvo85//uXriHEzhoMofj47/cUEmlmNUzeggwWF
GcQhlSbn5yEvNveh+unonYC+Te1spXRTJkttM0Of8jHXt3JxF9WwmTCUILvS7ZR1iVWE6K901SGG
EP93bM8LTLz8m+sQx8XnV0X4+7LO3Vo/u8nXk4CWQao+3zp55NxPEfpW2NNbmz48oi1wLe2gmosx
E924tjifJ6flFtc4NOTtEVcoBe2lqF1peV1qxWNJCYxH8xNB5dmilXOmQ+vD5PcpdX0sDzJBufIZ
/lFlzcetqfE/0jws9R9VaVU1mpTIWoz7TiV9xMWH0awlPL+osWS8bzP9pGmvleY5Q7aW1buIVjuF
iYr/a2lzRJXdtrF+VZTplG5XZsh87J1XGyYI8SzWwx3zH92MFfmpmXjJIZw2lkxp2pquOOE3tgw8
wjclb0m5n6OV+3nci6+Epcf70OAjcm58Xw2pZdYVLwo6PyRr7DIoOri696x5PvQ46esgJpcD7K8O
aXmivmLvgqQ89YiDJ8rqnos2V9FjK77PTFmL4KSmHI5XfuWlnYKmkzirinR0tmfnWi8m+YiVxvT4
hKZ9uZwjfm0TuXmxJmnKPqG3Tn8bbrX8edgL7TWQXsSTcyyjjKTp+7uBmt8JowYa0FnFChw3lT9o
CevG/urnv1A2YLVJg5xic+6xndWBZqlE/iCmnBj1kQYXFHaiDH5+mHlZn00wcBxFptYjzwaJ0/eH
KRJFKZqS0qCxNtBqM20VyXutOP08ysUH+TLK2UZnUOlrhcgoHZFi/ZFkp+maM+qlKUtXCUyKQgd8
6ryCtILYFHsZItyTvv+F3dTy4NurzXh3hwPQy+gu1sfp4eenunReUhtDrdDmCCDuBN9fntQUfSF6
cXKQ9R2Ciml88MVVHd3h5l4JO9Ky8NJ2kL5IYLCxgNnytcvIpa8nwZ7kPmIwvnr29Uw1EnStpGni
jeRmreCu8GpN6/Hn57zEcOA5UfYYHA+WqZ/NwykMh5aeJ8HNBPlO28ysVp5ENqCKBJSTSlkY1k4c
t6q+abuSW/ljBjLIbM2EjxyJQ+KSK9iQ7RO5snQbHVMynRRs1NDIWajRqiuT7cL6ZEOXFEwN2Nfx
Ffr+VQJ5EkfPL/KbyXwjioGLf5vVhEZArbtW615QvcmMxS0JyRsnx/mbGQgE8Y2SbrTQP1cGfRPs
bM1THu4xPk8UkhWeNNo0qnFKsSsVFpV0bKU7Lz/Ew7K8Bo5ffu7/fsv5bohGNdQlFpk+xzMu6OxS
snXBHqTw5/lw6X767anPaqUUK/2ctjZJRf5bKcFbOskaUHD3lJLFoijET7gNVqKB5abth0G46c/j
f5rQn29afFqupagNoZefjZ9YnSYYYprcmEO8BJNS6f9EaGG4yDV4MnfCi18cDVrlWkYfEkkWqkx1
wD3JfCfwoImbRdsESz/St57gavzh/+WteCBBbVQ9Qgwrx1Nhza0bmOFX6o1Lm+GXX3++UXn1UI6C
waLV8FC16B+P8ZvATf7nl3ThQs03+t93dL41lMqoT2OB4lY0C5u5YJK+iMU4hG7AYzW+RuG8PPn+
G+5shx+F0Co89qNDVBwJzoTFGnsfsvW7ag8/P5d8ac/7+mDK9+U9dYM+6B3RIlP5aMCB9YeDpd0H
pNigNVMx7K9uA4OLNckW0y614GQ886FNkZSju6C8Ua01mT0Z8SR1SpDAQJRSSNBG48rXwkovfgGJ
whKzBRjhxjwPvtwoVKnQstKYU9Ck/QxRGajNoIJo2QrpkqAbVxpTl/cihYrE4CpBG+Vsl7YGdcwC
dB03dYkBlXWKaOLP1xiJBmpOI7vRn2lIysapm7sP1i13dJsZAXKSFOJbCiZgth8/f6yLrwCKo6kA
v0uWeLYV+4JRxUCPyU1FNM2nDDdOcextV9BntfTt58H+EZlTx0uyIXJthLxLg+5sW9BG6EFmA0xd
p6sKRGtUj1oHvNQxGfrlaLlDi9eOKDvRCCKX4r2XLn2RwBjjvqSlNoKu+Pgo64mdiNauLKItiR0g
OWom2h6GLUIjgKAcPJHidjhpyFhG7+9MIS8Nx2B5sZn02qLq0H2Kx1zr34wQt+CCbAxLOaThUmBo
Qwdb6kEGlcxmxtUTDhxwALUIa7bmsa+ubQMXBHvfXsq5Plb01ZgucRPOlii0LClTMnIWokVPSx2O
QjUer5atnx4z/+zP/30I8+yzFxH6Ts8PuD3gtU23ckS0ZwKP4l3VKezRrbqqQ3FtSu4gjktvfJc7
5UOZSX9DcgXov3THRoNE10KcJyCk3++rMCIBwprm3Rbpq1k6VkGW162RH4DwItNWym2HgKj2tqmP
e8S6A+niohnAqRBdWH5Jt/h5kl5+N19+z9lGWYVqw/0B8RWtnNnpwTBSVxVfoXtXpESWr2CKIHQI
YU2wrwmfuPR4tQF6+QCn4qe5TM1CT/D7Swmn1DLEOEwPvvI46CtJvC2b39ilsR8+8QOkEkuL8S0j
zuXaTeASgQzu2CxORy5OlMBZlWJZVI+o3ChZe66LGIj1ezbFVvrABwSGgkxQbg/Ud532PX/ofybl
l4HPdgdRMOerIl3f1EidAR5lillJBeAH791WevxydWHGMK0KLfW1QvHSRkg/S8XpUuF6ci6Pb5Iu
98NmCm8i6wRsGceoClDPVvs08R0D+vnPs+zSafx1uLOXLERColodtAz8DyKC5bBAuW54yEF24ZWS
gWpw78LdTznfcGvBar1IZy4nirGfhodRnJy6+xMiWjGLfvspq7Zw/ZeeCmgoINTeFO9T/34EyqzS
ZDMDl/wjTI64/YCKrwriSizkrSaBTuqvviUcQm347H1m/n09YN/u853CdtmqKhqQrQlFq10JiYXT
pAiJWXc1oV7CGIiwpm8WdYkdy8IM1l04rzG9fIKfnWLYX93W9TIV91GLW8eyCe9/JbJtrv1u1xO2
G2y83l8M1S+RfF6xmzaxD8vBBMKXbBW+RDLalvDgK5Jj1ajV8QT3s7We3tLLXRa/ktk4057MhefZ
fbcqzGTndw95/6Sbt5YULUu07fkU3ALfifFjq5swR0byjjCyKzDfsyLALJI1mpcZ0xVRgRYqmPyT
ONvZyLirTyWmgrg+A9RWNTbLevAmD60djtVSCrtlL2O4JxKd6hGDCOV/8DdxfITEUeYhRs1bEf9B
YRsny8aoj6mmQx9V3QrOSawT0ST/VTk4EaI6He09XYIPdTvhMAokwvmhKFgaitG9QexYMz4k0mvl
/xI0QtQix+qeEw2KO8e8GvwafA2/nFvNJ4uWRlmf3mFgSt6aPYYvrbfTql+DtUm6h0j96/kvaLjo
vjXVSxD8rrp9CZKeBouxezJ7fB8JomRDGBscGv3HEqK40Zj4BN15NVAgCQ8DcZyrnk+NnbHl/9XG
jLLnw1cPQOgJWH0KX7fXHsIoWgGEwO4K7VZUtzOVJmDp58YAv4AcBrx7xJtIPBZDtIG5aPuEkcAs
hHP9WhrCou+Os+J4ZA+xoeuUiVXa40S+7fiQYhIOddX1KQRC3wQiF2+wtbVHs36i3TEKr0bcr7Tp
Hnql3RsEAJT1XRw8JvM5o76pmC3EI7mcqxZnY524XH+hvKTybQw6IdSvrQQbf8mlRNX2LWm50QIX
WBMveG2v73PlMQQVJQeuWhlkOALb/xXkWSONjCBLV74hu/5OIAPB25NIKEk3Af+cb5qw4PdFR1+H
zFDdegUyH7HdTSEeGDDZSzS3mTKtqry96/RXKLYIRvEkMpxoUmxcB2aOF1poyEQ63AZr2kvaUU8y
Nyu2ff4Gc49UJqfBNNvEV5Qj1bI6OByvsqY7g6ms/MbH/+kDGsChlKKF4Imrqc/plGB/IW6rqt5V
QrOsG0AHqiWDjBh/qN0C0kpak54Fs6L3ymNtRut2KPGTeIoZB2JVCdW9QEzb81F9yEdxbffq+GpZ
D4zWVDiPzrs9hoFwikB94Ff3v4E0oi5wwPbr4Jeq5HezQVUoPXVQOvCgcglQXwUpxj6E3ngtliEN
DpjK7B+oLbPwV1WHc26NL9iVhyEQZ4s73I+fGakFRAQfIyZwsL/6+BdaA1+xrpZZ4NZbusey6Kra
Yqjfun4zzrsGuDsGTNyf8Y6ayWwdDuX4AutHbZqcrlhZ3GcoUb1dHLx3tfgYlskzTVC00hwjUMDa
wAlB9Q2hOZjwySBG6QaxGyqxrVqxCiyiE/Qe74bGrTTrTyKCLXvbRljDgJ31Jmk83illvomwh7Ww
9yz4+LAT6qRfUCiq8dEImGh4SuXatEAxKfe+KwgAeCUWTdUyqhAsa69A/csKG5G5DSzAqklEHO+b
Ld1aWtVbvdgNA4u4XfHHargZ6YkQQKBvABSsesNqg6wU+ssuuWfKpoRMeuOatlIYbYjWNceD+koq
aWkty2prkhxXidus2MHZUFX4jbtBWpr6S4Em5Lm4JShbDos1x1/WN8vK2uZV44zPGLXQ1Iey2Evx
VoE6Hgnh6ucT+NPv6Lzc+AxLYr5qEofk9xIrk9PK02otxO8Z+k2j3IBLOnL5u+/eZoIx20IXwO0w
cNpPPybl1WvTJxyYS167d7Wff7H8kBEzztYdgI9nRXDu631Dizm6gT3WRHwVcsX67TxDIJxkRLJc
efhr453Vl1Me5lWd6+GNhzFXUzlmox0F/03On5CrrGkOtCHFPib0uf82mcJu8I+jEbtdi8FstIVf
wEr5+SddrIhACTAOlWejqrPqT82LRtU6rgHUC4xPp9Rs5u7PVf7y/Bf9893/G+hc2ddqVdoWkMEO
eeJ25SPsbFrBReIO01rsWKBX2iGX3jRPJGMsqMLOPqfDBpo+KvCpUMRAuUVmXnMko9fdg1BdJU1f
qt2xkKbPzK1Bx9/h7O5iqLVVqhm6GJDZcnpVkLigEYZGBzeEE2A2yGNqp9eU/JeQe8aFeg7So1Bo
nvXZNd9q0kRhOglkYMhbfYIptPAp6wwkm1ScW92zT8U1qvGFV/tt1LMVXKGEMMawjW5mKT/RsSSc
RAt8joRpdfXKfGHWyDiOmBr3Iig3xhn9RZYLtWmVNLtBSCRoG4rVfjjhPmNXEjbV+etV3OfyO/0y
4tmWAKDbyw29jhvq0FHclyRYCX+gyQ7JsbF2yDMcHhVjRoqon1fipY4Ez0rKH2e9pOJA/H1nrOjQ
ROEwd4+Vv9pB8cil6baz0CQq1mnjTO/ltebkhbcrgQthT6fDsTDOr7s1HkJZ0SghhhdkN0BWhZKI
c2UfnQxI2TNP/MojXhwQhigCcg2PgnNgSB9FnwDuID1kAyFMNQVbjKM1cZhctjHxokTlw94v9fY3
6J7NysYu89Tg1yjIWwh+rY6jARl/V37VpesaUPL//qqzCW02U+Qrmgd1LVlMyocurub2IL1hdkOk
D/wEKiEckgPx9Tqn7QKQzyGIikpCNGbo593QSe3rqG+k5BDPNngp162SMCKPXls93uDbUMSPXrvR
xwgDrWEflHweMVhefQmXzgG2L7pBs9+AcS4jy/08gitPj7CrXS9ezHIeqKD9IdDXV972vBmeHwRf
Rzpr/+p13wKsAscoMnfRlR70RA1hn7SZLDeI1qL1xjY9JYurcrVLj8hdHY0cdDpVP688Ii0sKjyI
CV2OtoZ1gE0XzTaMVIOE6v38kJ+xAecP+XWseQ/90uNuPamOpxxim9YQYuA/x42+1uOnMdkM44fF
FYPwakvERMEeS/QI/Z0uvWCBqNIpTffcRpUsXJhRbQ/1e1uCpJ9+/n0XXwX40OxMyf/pZ9tqS59F
CIokv0nynsCMI1xvA83SyM37Wsvl0pKfoaj/N9TZflqZVlmFnZncxHr02XZnUWUJXrhjuYBXCLd7
8Brn58e7RCkjSeS/Qc8O5LZrtK41MJumUqbSCDU4IZXidpCzkAVkxqvQfiQBkULpS6+QI8PSk/Hl
m7n5SU7GQEcSkLmXpGdVDFbxcP/zz7uISGAFCa9AkqhNrLOfJ4xFIRQi8d9Cgdm92dqJfi8V+zA4
BrAfPTRrgnlooschPBgm6nG8TQYUI6JnrEJyAOvGzsIriMTFfvDX33R2+tRYm+mNIsBO1EWnCt9K
mTiJGj13RqWW1MvaJ2kQ1ZCgZWtkB3Vtrro1P8oLlwHwQdSMC08nxmMqrhwaFycQwBZEFsiB1Orf
lxLalinTIzTmmJ5F0VvQHht9j80ZIgpUAFeP4QvVDWfwf8OdfRvPHKqwHHOy4nrJrc07qX/SakS1
AajF/qq33sWFCMEElyvO/P8JQ/2yT3SWZnQwYP/H0U3EfJg4XQEt3O1VjeTl5/pvpLPXKKrNJNYS
7aRcOhr+LSJhbjqUMjCmcSe8MsGvPdbZS8Q4u5ZHr8Vco4GLjingxoxuw+kEnVjnYCepd6NjmQnH
OHrvfcttTZ077mvNVdvrrtVV84Hyz16s8nZVqJOQt8/24qGuhEqP62TGG8ME4ABaswboG97e0qhI
tQ3O8q1/hzCGSMZAvga0zC/2p+Hn+f3lE2dFHwtTj1KZFgfpgckD6rxEPQU6MR3SXoE7Vlqtk13Z
4S9+bnW2DsLOBu+ts1GFPqdD5UX5TSut2AFlkL0Cb398zCZtq8XhlevWxUX633Dn1mlqHShTp3GN
jJot5HzuBBROxsDtfb4TeNe8ai4PByceehY2hOfqb3pn8VREPrwpY8WFC5CIE4w9ARQfPcnVW8jl
DVv9b7yz+YwzXJOZo4xWmpMCIqTSWIB3n34fvrxvC0ytcWpjYpVNvca0rbGIMKAdH4JVYYo0657T
a/Na/1Ron88sXeccgZCId/j5HbfRs7LpiS+6907B4yNFMjXrhsDFLrR9wvFsY1xWM0q7Eh31yL/X
ezd8S98Q0nWBS/fx7lf3q3PJFQZt4/Y/7uLbVljsaU3LM9mWJNKH9Hainf4iia7E9m9PtnGrgAvY
4ltzU7QrfbtMaUNmE+7skCGHqnTHtFjW9BLpTEnVoSLlrhAg8ou7rjiN4x9f+j3Vh1LbZfXRwnVO
iN80HbWIHSpL43ed/FGEF8vYlsmdatxp1lHJfhWCI5XEXLvhsLfkhZYe21MfL4z2Nu/XmUlzjni2
sHIehfts3S6VNTD+sCmdacKTFp9EO6TCiu6Gtde99PWrqbpwYSTP9RD+TTslhPAS2enrI1YU7Tut
yqVJO3Jhkvk5OJNtSstI2xBGIPtrAgJjrChwOtZcbHgnsjRJLo2dcA8wlp7qkwRy+qwA5VaxU5P7
u1MfwQ7d5GXcVw8EFSvr/qW8kTe0n+EguAXRTsjrP0bhCaZO/d7vpY5/3f1WnvGq4BM6hYmZitu/
V8Q4JIJTaZuqXCRYFt9CfS1vogPKumiZbuPX+hUv3q11C6ZBW5V4hE29gnumv+QYxJMa1a/4rYlp
59typQOsEzf9DlU2P5IkAd+Gl5V57vAcknDYNLQlERS98HKxckb2F6zTbXeIljAHxQeSGJbxLt3N
U0fatXiH2+m2ou84bo3pHvA4fMd7BX1MIfG6SIy+jx7kjXp4Z049Kjelg3SH7vowuUp7O+1ikITf
3bp6TvRtC6EfAxFhk3x0jvYKSlLAmq2WxXQYUncQFgAcjxImOzfd0XgiUdF3QloftnUk5ZqZRoam
8gdPnsFWibApXGJ2g/VD/zxEiDuc4Gjeg670Dt6RxK3C1JPvsZi+k+6a0vbu/7rTErvnwHGDzV8L
H2w72td3a2kDaWFn3me6U8Qu+caPpo11evpg3surObjbPxiPyf4jRzwRrTLV9n6VywibGScnwHKp
2u9/cAh7FncVesXYqd7bORgmAoX4nRzVBm/nDS7Hk78O9rho2Bn+KU6w7FvX39b2r2AflTa++Cbe
oGvFdoaYqFgFccxroKCWtbPt6cFay79bmD3kJ8V3b+EyIRNgSWD3np4pTdxhVb2Vy8COAzs/jM+m
eNOQpMTVRNpo5q7zlwP5a+3CmJwqX3T0H6EL0fJPbpjHunSXe3YMTGitrGzBP7/Vf/V26wertltZ
wR7rUpUCerDr2q2eKGXTx+QoPkb7aBs+9ht5bWzEtbZFSducEt7sCfdWWzkWO2H1htu2a+6sFdZm
N9tiFS5JhLzh7xm1RfiHy88p2KvrCnroUUAEchqXb93plP+d3pF+5XYE8z9z/WzZAK4kOL6chuYp
XzbEN4DGgUqUt/m0s4RF/he/UKEkfMnWwE/rfXJvSZuQyt81tt0HH+lPGdjDKxAZ+6CLdcpjfecr
i7RfVqv6oBFMvAsVOxbdcS11ZMhqc1pPTyQjt4RTmdkfva3eewNyO3FHeOgSy/AP/062W8EZY8f/
o6XPMek/pKo44yNz07SWaLgCmxmmjVtCTLJ4njfNXuAvulG6tWDcZCe/2BYncWcax2g/3UnEXi+l
bg28gqtK6Llk9n6065Yo+59rt0+L0Z9OlbOmoqLnJGz4OfJnY+Wpy6JeA5ajZy9BPuX0Tzs4Iguc
jCa/No8jCKdZ5xudzT2+7cu3OiWyWkDVuW0xqVXgWhID268M/4atjA0hIeIhcTrcTbjpWG1xR6QJ
HuEzVUjwMJUeMA8hmVf0iqUuN7ZuyFtj8FeV0i3l4ErR8sku+OlR5zL2S2mmmUUlZI1Pd7EnlS24
9QA2QaAbhSDymNOjXyWWtfKmAHiLONjqqMAXQmusAqarZJmEgrL4+e1fKpy/HulntaqRJI0piT7O
ARQasy2dJnOYzOJltrT4SpkuX6qM4c+jH7HgMONK/P35G3/qipwu4M3YKlj797UjdPLC5GgTev9Q
+oWbxsSfRjpR9iq5Hq8pdIWebWFuFlRkwGEGADoVe+oCZoWLUMhpWvLHsaOOBu2+VIx1EhnXLveX
3xHWhxpWF3icnt1UPb30DehCn5LISuvXfUZAryWRXCt7fyQ6maKCGyee+N7Wp3064PwPlw8NtwUX
zaoIkRQmxyiRkXW0IGpi9oLY7maxW84ClarV3JAwG2NT58E13cqlwpU5C/KFaQzAxNmMM7smliWj
pOM6krmmsvnftoj9SbD13BzfzFgVF/Gwqq1tYMyOmrKEw2S80o1jQqYNRnc9xc3PU+5Sx1ui78jt
E8o+7qZnN8NalItC9zClnoJ77iZVgQNEpmybw/Qk0vgEy4cKSrBBzWlj+ldGv/xCaMkp8J6wYjz7
mGqZakle4S3fkBbJudgqRxqvHVt4H73J4k2V+VcuZJduRroJCd4C9CNU6+xx/SiXSK6QohmIyokB
8W9DeYdwCP4Gpu0/v9tLYxnzUGBDFOn/yJQwO7HKBNMekNX5EjysuHSPJVcVZyCm6+fBLq0LMsKg
UrGiYbrOr/rLbqbmgZSErUjCnbRK1WIWJnrVke3qao9EvfTVDIhUwIbYb0Ef/D4UfBrs7xMAr0p4
M3rLFYsnXmWSLq3s1ZChvPd3QuQ02jIwfnmZMygeFhQkhgq7Sk7t6dbLlgJBP3GzRTbNvc2n/E3b
Q6o+wJbQaEBF6VMx2axXUbsPaYZ7grkYxNoxJYP07TcdTxYU8rXn4vk2yTvJD6ltGWh4qUqidMiA
8BFLx1fA0ovCFgSqkHZlUSGR7axvWnA4Wm00kg05ye9V3a7VhnsE4IXfN3dKdpx3a3iCAuwKqa8r
Oun1Iz2yWrlyu7+4Zr/+kLNJbI3xVJae/2nGq+rZOocFZMFUhl/C6zQTZC/NU5WSkIIrBFPg55l2
6fObaIqQpKPEJ5ru++fXGyOTYg0aHbB5PZ706eh/kivuiuBT7FfqV06qq9jYjKJ8mdtB0OB8rwyf
zNlZJoz1PCjFABDI48bJnEbWJ1cGVeaXeFYefAPk5uPzy6CWnklNlaf0ULjgJ43g5hhvxsU6y3GQ
UbIFIJcbhg9FUy1yaBRWelR7FTOgbCOgiTUi9Mq5vAD7cehVphqZrvxYw/Ldoqgh/21CrDzF7C4t
4FtmDYFmIiVFXD2a3dU9/sIXAwxn5YjYcSJcPJu4mpR2ojpNwPwyjqE6PWVtn1Z0u6c/NSmH2OsQ
xNbsumdvncmwtsdjUryV3i05A+JxCK5si5f6KfwcCzAGRgBN3fMJJDTw7+qOHIQ4XGGcuFFzf9GQ
85ZTA+IvJ8lcRiRzmY/e3SQJu0jRnDYu2EDeNbhUw58oD1ez1PrneX2JhPz1d53jIlHVadGkIZHq
o22ehGtPOkpV9TsJ2hlG4Izu1FWSxU9tFd0a07j263UMVPj/Y4P87XecLW+T9mlfNjNPBAO9YIvr
E9Qn0oS8YnXliedq/p85/t+X0M87W36t+Z2JvDlD44N7F66t21qTnZyij0euxncsJ1oUaXHabruw
sllpORGE4mi3ZrH5+ddc/DGcllAa4AT/E0Efah49S1kFKyK/rl2pmMzgCNpR3/08DiD3POHPnhtd
IvGz0LwBvj/dEb+sbQHTe1kp6MrGcrct54cVtxqXxCAUcXOvFl4J59VbRErvpJG5lT08qANEVS3Z
8NJq1EYXJZGbhaJTJNgNcmSlI+494jsMnUFrdnLYrMHrE3gf5CWqZXnwYx1CrIHLjbKaGblYVcmT
4gy9ujQxBJ5AQCMociCjvxOgQC/3l5mpE7cYiQjlwGRGgdLQ2qjYnaWddUiqo4ybV5DhFqS/YpG+
Toxlo2MIVDEjfZIA5cwdiVYy04cQ3/g5JEb2i2MyjDO3oSn4U2iaHh4pquFQ9EUwDkpSn2YDLQxb
+W8MTVggVVA85YDQcxvNDS8Jy6jXqD1WmrLtcpBKMqKCvtwLhEHKupPbMe7HszzcwG2IEqRSlQWs
RWPersGKzB6jNR81HJzeiRaqbH5MnboRqgKWU41fG4RBI1jE6YAkgr7ExLN4UAVn16lh35KkbEUF
Rk7CTkgi8KcXIXrLMyh2Yky9cd9VqYM2eJfAX1fEYFOMjUIrD+ehWNjNWK+hbhQaHORrijhsEVGZ
c6XBO0ue4vUoJq6hTAutzV47KhAiSQ/ZwQiyTSgVa4n+G3T82a020OtbHXanJ7b7ZEwXep89ZbPt
EvbsQps/CrjyAGVYzI66JuVLvifyeCOZ62rcqfWphzqIVVLacAvuBqdgjfnjuh+x2kgwJ+ITFsIp
ReMw0pmBr9xi6up192UOIbkgXepkYjU1qY+3KoRsKOXcGfhRSqosR8JfWK+NQryrAcwh7gccrOHZ
iviB+alTyu/+sAkijNyxdPT3QpCso8nR6r8pfyUUsyHpXGzeJxH7Po700Xgb4g8tmdx8UNa5ELl9
9pbuYyyvWmvC/U2APEiDEbgs794+9fBJ47Bp9RKB70QbYnBnMYeTF+4WExTuFHQ1wixLZv8wSevK
x/dw5uGLR4kezpxQPcbZOsj2QVVilDXeK5F1M9sbzAUOdwNshlXaKQR6Rtk+aba+l58SDYcuEXsY
ogimt6b53LiK3iK34khcZipuw5JOs4fKJT8JLU5VnrGLM4z4wqd58XIos8diDun4pCYFRBsM7z1T
dVq21HKNKiwziCgMnkye7dt9axvGQ3LQJndGA+C0uJMsr9BrMPookoTEypqJuOWYLfR626sz2RQj
QJ6PV2vCI0/lbCcX3gecEtzcsNibNk1zwjfaTcJfRR5+Mo3zhG42ckHMuwivdAIsz+HlJT3mZUi0
5n/lxyxk/QFFiR3wWuEfz0ZWmkSfvttb9EN9RCMIuVYe7E7LP+jq75GpJ6jpYzqstKq/JZcOBraL
KRx1N9TLMjWeZQyy6pb2dM7EVtWlLCQv8JWBdAwRPvfUwQFO36TCX6r5nkRXOAqh0wvlbWQcyzFx
Y4tDIvuI4J158YkV09K7mdf3/OStVd0IFWZ4vNEqpgLaDma0zWgHj6AEUXM/yjdsCTCQBOGhR4BY
Sfkq4L+IhUcdP8cETzbuCtGwaqzB5YBih8HWscFIkG/IxAMQmq1XQJy4A8gYOTJJ4ueKZMnyobYM
u1NfBs2kr5ktCFEAZQ1jePXVohUKV8qHZdwWrhdVr/po8teX6xrxEST4+bdHTeT4+EsKiAQpCDOc
arA3H9NXNRLXggZ7WYlZOSNpGOx+QnoX9Ex9NaHhXd17FeCQ+jp7psR9sSDpxOk0uqUWnmV56yo9
bK8mxDgXTxXc9UTKoXRB42fQk02q4h8+vlYcGmFP67dcCAOahXFV4y/pjdvOi9bEFxSVboedhmDh
faJ7ain9TS0+JVazBCE8gFpJ5ishRn6rua1OXRoRh4cJJLNVL4ga3qtFtE6x1MlCAk0QK+QbhLJO
HytuwL/xVDyd8U+zFIrH8GkuvqLplFGvzd7cKEHm1z4AI3SDeagmD9AXeUR6CiNjIXMHlHwZA8pH
ndlhtnsNCMdM3WTQMLdz4ukB0MwAlhEIW68KJ2hPYbPC2IYsxpLwlznrUVGJ5Ii3U5rbvhjcAfvl
gmhHQbQUBEJfcpzlOstt8mo95RtLOvVUtfO6w5hsC7aGPMbYeZjzZ1qNO/2w0k2o8HqKp8xfJf07
Cdaae9+zWW51TCL7FPc8K9sLmbW2oKpbQbA3R2PtJd1h4JgrWQlj1UPSiPDBC3777SpC/lI1b6Jg
w9NWinU33OHOVmBdKXlvRXzKC51uNS3NF/FPXh/rZpPIm2BaYPamvjB5NTECkkDSoW7nxS1q6KDG
xzwndyfUyZwRiaBGLpJGrpeMr1JQuZWCHZwCCbPwDmNrPIhCvk4nFO4lnVhaWPhH4pI0aS9i+TIB
6kjQiFsIPwRrgkScvOoFxuG2wQZUjTDSLjUSPA3XT4ebrBrWVlyjCjTteWtNkpduupXyl4z41qkx
HVVmEqqSPdaABTFShyeMo+1i+F2yKkRvlRoHgfOjTaCyj38z9r7M6GxVmJYjDouWhpN7PC7ju4RG
vpSGO8+aEJhmsNKxupv+D2fvtdtIlnXdPlEA4c0tg06kRCvK3QRkqPDex9P/I/QBB0oWIR40utCV
XZ1ZFMPsvfZac45JALXsT3C5TzCz0wZDzG5m7AoeFOdwkY0EqEGapJZwD0+h9WoOVNRVhgXqdsRQ
g56vQFgF0zozZ5nboq5Hc8ToWy/DFa5HJPPPg7P/KNOG1JxaZg4fzYTSYHGlFzTMiyZfKUN7V8qA
TQPNLiXHtrxoGvfORCU1s0sdu8+OHoMHBOzgG7Buxs0krNtdJxc2SA+7tWvk+bRG4RalPcaaQeLI
CC4mKxhv7IuimgmTuj8ZSjTXe3+tGOQaGmshf3TkhdHs+s66Tz14ZN3ctJIxHmIuWeew83Zpr8wl
frekJ7ajuqydS5OlMM3lueh005xLHGgMUDrUZLm2MFPeEWPnxQSditNkDEtPtXlJoKfkCoeBuUaF
pLBIsALVL1oUvRgpUyUzBMnvPTWBsOgL5jJ6etcM6dIo6fZL0bLvjUnRcZAsdGJ09y2n/swTl5VE
Kkda3BkEFSUBUqExVdV5boqVWm780lt6zGwQw1B8pCvaCo9R+GF1cG9bZWaNsreDoH0k0bbP52km
PpTKojKrWeBgfDgi22rVTQloXgE84PkyVLDXVnuWvK0sHju4Dm5MdqmGms4z9DEflol8qJN/kccz
srxnjsQzZ/p20tDQdwks8LGgidvGdGZdgj+IET2I3jHrx2jnSc/4G7aXqb94FvhXbYM2pOWqq9BK
1LKy5dI7hZ02CRxh1rXgM5lPUlym+IdiNmbaW/Ujg38nkaZG6a8KQWW49mAF7xRrOHUQZ1PYM9yR
lPvx/QoYKJTVyQwXkkkfuw6mlX6v8re4/2rbL7N5qfpFBKQ2lx8FaetUC6X20Y04/N5kKYofjfSi
1UujBoCLCSWpdlK3aHmyBQ4dhUQ0VTtnL2rdiXQsV8Qd71Fd+s/dTjqmH8XZeg++u0NMQMOjeJSP
4lE4QVndd3v1mLBt+ROpn/jOpHsv3pVvlrjH4aQ/V/vmffhud/2W59v4lp6Mp+JgPTX77lTveHOa
9+rgfrbH9LV9bB9juFFf3btKzlw0AehLGgG/Q5rJeE7f3df26Hz4L8NZ/TCfU64A1dypPmrnetc+
9o/SyX9RTvkr1j7zgzSYU3X2X1mzT9k5ORdn4dUjBOZcHdpH/7V6rx+1p/LoPAdvyZkncwgm+Qf/
VbxIR+/cftAAyb+7x/QNxzdlJNPv5+Kl/FAPqOysr/yDiBpm8R+4/8aZ65f1ZWUT5VV6bffSp/fF
q3lST/Kp3ovfwUxd8sN2Zzrj8kdwHgAof7bfHSRSf0INIHz23/33kPKL7tN5ad6bd9TV0jcXii+K
c/C5O5vPbEHGo/+cffaH6jV7cZ8qVh3mwM2EP/spg1uDyAtB9kP/MF7r9+SL0Vv7Jp7Es/XcbIUP
mZ8n+zK5jUDREi5ImPA9hC8ard2Oe7wNv/PvglvEjxawBhcUvONPZ30iCen8SfjOCUYb/4f63X7z
Ydiroi+DP0Cxx+r8Gb7DZhVenG+JhUImcm3CL6LHZbGQl3Z1znA2EIvwwdVih46f82+qYuMz2DmL
+p3fyV/lu+BPglfnOyqn0Vfw6lMWPfXj/wl2lx3+I3tjmm9N/M/h5HBR9GcjmDgn5bOaCmtvMf4H
l9JL8aLh8ywQKLc+5R7xApq5ETCQJLAEckM70mfl1Ir/qpcbapy3tn5SdYdmcrAbj/g5zDajZltl
kRartenUKBpn4cg56dgVgfG4vLxJiWnDN2eqsSeAx9JQsFCcK71DPj2bDpqEOqzpRnFmxqAUP5sc
RmAeD+K+jV8dzHiGR2ZY9e1SR4MUyEZ6dzAbq2pSM1my88+21ZYRm1ui1xT8D5m0zyAK55RS1A9C
yOydC5m2NG45i1Cwx2m9HM+uRf3mNsbUilYQkEdNkZflUwdqvpSXM4GKsgBCrZYPVI50S3E257Ok
MSn4kgW1ORQAij1/FQFyBKUo5uaDwPEsAUHGmGA8fLf5ftDViU7MN7nQo54i/la0R5FxqBdkUzVC
BO9RHhVg+vcJE0GMw9THY5vZG9rp6KT2k53G6Jz5RoTGV8oWOlTGLlyNzHRzFUVfutSwVwW2Yhoz
J6tHMHOb1bbmsIHngFi6acxSVzZvCdhthCIDd9Joz358wMID7z01SMiuH8xcPIR18dnPsUWDWsME
8xgpLGzBbHDjKeUl50PRUY+uTlXq7kc7OTacohNhLuVzLjkyZLdPf9Z9iKqAgiUzXqUYSGM/n2np
d8uhTOEkLU4SJaEp2s98NDkR/YmEfbyMHlzHmRb9KVJ4p1QwxJwdzbhcjBO83GL2cFJQHXtsYmYa
PxS5/iR6z3JwJ3VHuj/eJENj0VF+icShAzIQlPMIUhwPXl2/wNXtQGAwtfmIlh0j5rhj7LYkzfUT
0sMjLvWYYyQqt4ZIV1pw//TFLhrtpklurFoUyET7GTx5GJeo8ceO0t8duGuzqt/tt4vWutQrgujV
DOHE/o1TXFXvvGHLVzal2d8fhOj7RqfvQs+g9Z7YBorBqATtwpQmkmdwDAMFJe0FZ872n8sMybCV
cIi5g34xNiHwlS1KHmu//Ewey+wpRtwWu7g834mp0E+JMk/K91ZdyoGNVVCYy8NyoPkUvVXaWaBk
7cJXYtNp21SEhsm2U21KSo/AY1BjPUtyYis6+isWHmSFEy5zYDyM0EAmCRNRkKelG64skosa8m85
CvguuZvyqfFgbS41oZ0bwV7zCHbQujuto/Po3pvNE6Zl2yzKeS2hM0unmlzNBtoChfU2Ttec3ljR
POlQ6mSBTFMmnFYjqptxJLq30djbK+YCH78Y3SWcKzKCz+jJex0LtECkOb9faE9ZAOjSC18kXOtj
V2iMFqLFaAvU4YKi7oaGgpHuxMg5G4PZWT1QTeSZSrF+cD1E5bmdUxK39PHaQH0zi/aRBYtFO8yc
F4x5jRt8QlW4MwTvIfeVFznlCFXvXb+bmbytPoqCqqP8omlZUQ51LY5Xdzqm8bqcnc0b3fFbL8PF
mFMTIFKFLbRHUweA8DOrxEBwK93yqgzl98twIcMwBbPk6EbaHP6jMH/KjRGdTvzPgmmD6YAmBwbH
y86iRZCUhBKPwqN+N+NNgk/+79fl1styMZhxWoQ9uQiL1wpKO/Bn7fAIGr6tZx2rKv1B/ZYGRb+x
Evw06n814mUyCRMz0sN7NhO1DKd1g/wtH8+Km856FNpyItKFGGr2rdoWvddM/Q4ZcI9x5/TXJW8V
FNK8pKLumoyf+IsMb/py7wLjjLmRKuvxN5caclHE5tY3GuxMzEdN6hZvPNY3MoiNSS7CV5aNxdi6
Gjs0lV+uZZcjazat83TcHHygCOPzH/u7sS3tmCVyR/Rwo4K1eKJh2CGEiiyA6/V3G66cyp0PKjcw
h83PRq1o5VM+59xNSyezy6Ge/33brukMCAGDCayPUceX83idcFaDd4PBSTLLBLgT3165+T/ttVCY
/8va/evDLh7X1Kj62NNxSBI2x3pJxBkdVN9n/H8rTe9n3vafKQ2qfRkUz0gsvJhOuekgxGSpk+uU
P2k+pzYCVyz0Bjm9JTEVOH43oC7SQyZWq/qBVVdpOXIahh0h7xm/eRfWdwAKJ3XFguFvxn88+B8I
2oaGFYxDGANYujnCl19GC67ZUBCwuoudiWVSYS6hqRxC6AvavkYBSRk+b9N5OryIgAud705/45tr
ZWrTFxvyYqTkkNRYhDn5wMmrl0NAaaKF1tDHle6MJD8G2nBjZHYVWaSDUmNaRpIXFsJ/h9R6mWWN
kqsoimBAwAkGKr7AWzGu9T/uxbEPrCYj7NBPuWj5jSXyqiRCl0Rgj4SxwfG5mCz7uBGlNqBgwCwL
ugyfLh4LPhp7RRPi9KoeMsJzmJ4RmIHrwkJI9/ezf20BQQRPLJuiaZhYL/b3oAH5loqUEuFQjwE0
5DzIwRstr6i5IQi4qrrQZcLuTB5J5vYXVUujJDGvn4DsxVqp1HvAEkRU6qPoA6BX8jORZvPSadLC
efz7a157xX9/9sXXLNw40OOkQIyAL1kep8LsDhix+nrVZjc+6+YXvXiomqZ2iyEGYKR0R9JRRBxp
kPI0wD0jRuTJd7Y5A46SNg9unr+/51Wo6u8verG8dF4ti209Ys7F5kExt2kyrBrAO1qc3/mKujZF
ZPHvQkDmh7CguvCakdFBQgr9V9dEC95YM41X3ysy5rJ0Y4utm5poidD+SnRg0f12dIKyiVTe+tmv
3yNjDIND1EAr59930ZUFTyoqI7i39JPW2AAABEHakR8y9sIRYN5Y9a+yNHTcL+S8Q25Q1Itnog3L
3jdcCxtMqm2cfeBsYWh5xbMrzwWO/6YDR2YRFtbUrNMpbqv/U8lomnBjEfp5yS/XaZ3QMcSDEkaU
SxNzosqFoRc0kcPh1Lt3Fsf3Hjdzt4ymL071HvpLaEClv/GkFePWUjm78n031LTRZwIlXKRs/n6I
rpUx6FohIox+ZgKt/70RDAVKfxigoxOWl3FkosQ2hfEQyQot+Xupu7EyXP88FJSQGKBM/pgrfxUx
VUnaSKMj64xM5Cx7stG59wAnOFFn3v5mupw8nsL+c71Hxeb/fd7lolu1rZxCDEzR3xnbiANM6b2H
wazIMlBJ1lRFa1iF27DZjtrYqInvMhTXssREsOQeSPY4xwMwpgaoBRi/Vq6AIQW7IyuZlxz+vhfm
eLEvf1hTVQB+jmJdEjv/vRlCJOthWhbBPaPVQacbYiYPIechTgzngmI+beOJr7tzuQUgWa3wXI4w
xM7AlsGQaVQj6AgzACrliXZn1aeuPMT1A/NWpenmWUWOFKNbJxY2hbVwBWBRyTDD3E2XQGJPZqE0
mnjZKHDCHens5NJEKS0Oeup9q+KYUhnJOI77EWE0oGIKe4PQNdKCmIAxHOUMpjOTIZJKKs9hcxzn
b2KyJ0dsKhAE7dCkIbbZlmLCySqMUNGKPzVyapwc/bDmzmPHBP2zjWMLtHM01Yb9OCcbLEw1DhOT
RDNGffVpnC0mFkelDuF8aMecncBBQEt7KPpsVsnZ8u+b8qNy/eOmmBdLVeTkWSX28FGscpHG6xF4
gMa/NGi8Nt9RcmdsuMBFuuc51rX7mDSntryzOPeGmKrQUNCg8b6N+obA8tp7xHMCgFEDHY3I8t9H
JRfzrtBzglapY4FfIGVgk6MBwW7KJucbN17ba+v174+7kFkpKdWT2McEHOC8ISereUvbUTMrlSdK
+r+v+NW34NdXuyhlFZDMzJZZIiF/l82rm84LUoul6sb2qd76Tsq/l1AUPDGKu4hIHXEPGa4JZ6Kp
zMY0JL3FAFPn07hBd26Gzxz1tyXACd1B3GIcdWiT+R70ydwE6+eni67252GXQ087y0oBnVVkRCXP
PV4U1pfe6EdQBGVeVir33KY+P2k9WpoKMf4rAVtLY1CPKXPICgtA7WczJWQs1bY0RLRFrUMYZGAv
vQ+3UoxuXeiLDpbRtLnoZl54LxknxDMEEYwaWLg/f9/Pq7BtE34Cuz2tU4zF/17o0o91RCYwfP38
Cdlzp6e2RgtjQ7soGp4Ddx2KHQPoilFYaQOQ8Xn9u0ElojGlA93Psubk35Wqx6RXrRGvSGtm4Fke
rYUwWwl3OYmIEkEyMvqSMW3t75/+GrKItFDibFTCiEz1EoYxxPlgRkUZ3BsK/XEUQAuVdiVCQzRD
sUb371z1K7aHGx87vsD/WXZ+fez49P7aKOVIj7W2phlnYpdK125gN7DhmH3CPcFOimfuVqLt1cfh
1yde7D5NUieGM5I4stqauEoAOxYA22nc9v7+bvL4Bv/nu41ZJKjiRST4Fw+E7kV6J3hwrTVgcAIU
NjJK4H3irKv8JbCPoGEHEfHP4EKvlklXrUji8+t9FhazsVvuOfQ5qrfCc+Z1d9ay99Brbjmexrf/
r5/x4vp3kDEbJxlPa/q0shYiAz+onvI6eMYBpar3Bd4f7ZS99bdq1Wsru4VTmcuCX1u8dF1InV8l
ve7GWyOcj+9mNbOkWavf19ULUoJaWf59M64qjEV0+mNXRNIplf590KRK9hIpI/VCm7w8bLd3OFc/
719Xtr3f39hErpw/qcJEBR8EBTCEgX8/qZBZ15MAnk0IuFW2q2gbdJ86DambVa027kcXd++fj7o4
lkVFrJPJS64GBBuaJeiwvkY9t8rjhP3CAFvX9MxLRfduVI+GZFu6Vj+tY9wIXmYL6ozf5YZwZN2N
mc6ZWNXGslRs09qmyrlxduOv5W8my/yizh/b/DFwjmjg0P5VOdqp+MgkTILv7egIAxEnpoy327ey
g+SqkPDpTaVIW0XCjt/ZO9QOj3/f1SsPEd+f5FDZoh/0nxyu1HJSUfbccOtlWzPkq9Da8OHdGpNe
X/AMFagh//7EK6uHDNCNhHkg7dp/CGuRKkdiaPiYIb0DtfRsIGco8fbpLZTb1Yfo1+dc3FmXgFkh
FvpgW6HZ8UHR6o9e+DDEqh3pN85G106N/3yni1cjJfs0lFo+K/YeLPUroR8fGeAfSyyXyToRcCIw
oeiYBOe1s/DD+yD2iCh2kXrSlm1v+E3BXF15qn/T8y6Kvlb21BzqvH/fGuleDEhW9mlx5PeJps/y
8Oj4d54BRnhk86t4C99HpfQ4h9PTahLDKXMU5tndE2W5FG4kD578tqvVQ+3OBVIEjfYrFF+i7Dl4
JiFLsU4yDup4rqfrLn5TVJyCWIXmljytES+JZ6VdGmA/RfItPlW6Co6gLg39gKxwJFTTVE6G5xYp
UyQjRFy60qTsrKmfEZzrgdelFVizAWQuHo9CXfeNtg5EYypUj5JWLt1wOChVMnE9bZI1y0qwVoWK
aZgabDBTW1STpRlFO3r/xjijdbKFRJyrkK0jS7wXTGJU2SFCk2BlEj6ag5GghTURhsZLH89GQQAw
fciE0Qh2qAWa54HBLa1LCe6zTo6qz9vPuHVEv45j3nFMLfXDsne/G3E1KNlK4uaaigSz6iny9VUR
LCvxdXQgJqwmrKWHvlgaKRzmXLSVdNSXhi3iROdovXXNqTeVrdoNTxYuedKvIOU6M5ggXGkNyxZn
TmZXVrPOGhDDDMYJJc6jUVF4a+W/UmL8A2O8KOoFyek9TfPS8QxRtAvHFOEdnAcFOYS7lzP0kwJY
aUO+UQ9ee4PHyamsyqoBceWiN5i7gp6GOb0fjAuoj+iAYm1jonkz0Olac25EdRqEKykjrO3iC5od
tDqZA+N9JTHPIEVauuPMTJ3rqf20AnmB3ptDTBTEs5thjePacLkDgaoj3AnTn6JoF2uHpyK60wYo
9bwNhG+RcIMAlyQLVB7fN/3J1y7p7w+7KN0swVOsRsJlqAEvwGnmr7D4oSm+DfC80k9hugAfiBhK
mYCMi5vHlEFJqsKNtgBMGvZEqM4FE3aVMOVPrKGNYcyyfKOOqeD4XsjxJnXy743mmu2eH8FUDMmg
dyjpF+e2ttTyTFIojcrB2oZCY3txuk41clsMmpmqlKLBoBtRw/3w5BlWBduVlVkwRKgDEQ4UQzMV
3a9aRN7T0E8h69eRACmn6TwmpoO9vgviZ6et7yqT9GpLti3HnPcqqfAAuqtcmrvldIiyjcw8dyIr
zcnRkbEo5s7IomXt7Fy33zqQaUvWF8EI0QTc8iJdvd0gsCyMagSviRf7gOIVpQCf3x/TMXiu6TzU
0H2k3c329tUdR/71SRdvkGy6pUvsKDnCQOg87x3qAJTtDu5CvXQLYfKYcEXRMs/I/FqQ7T2N8Q4o
bT5zA2GWZP4Md61ew0eDmy37xrOTC9Mu1ydBhvRFHOGFKQ0ca6f27C9Iji3+OFODFKhxjIOnTn2w
0c3cpd1GKDhlMPXbAAlF7L5b0afpfctl/dMJ/s97++sbj3vw73OXnDWm2Mucu3IZioNll+Y6r7M7
g8XZESoUd1WwtLCNNnm5CML2xNVPih4kOPopHDAzYTRKNN/M6lALVUj/3SlLeIm2znvSoqk3LN0W
6x60dDmvpz7Y8DxtTlG/UvA8dP4pwmbgNcLWTb6ZQRF5t3fN6q7WlGkhxjOk+EGKgB5dMA06272V
MXttxC4rhq7KBDIoonS5OmuRXBaS7Eb3VJD3QZLcKeInPUIxfeIlV2iMQsXCmjyzGKJFyzgXgRJ/
BxhL6FCLkntrj7pW8igQAEQMFJgxf3oLv25HO8iaozgCvvBPpSCpfFmVUxadEonyV/QdSA9ZiTTx
Zsvi2hv2+2MvngKz8lTPa5v83ipmcnlATFr0z0nxYJjQjWy5nQnGm1pvdfdoWXg+6FORRQNSfWzV
nogCUr2lrk6Tb6dZaBZomTP5nkN70PwHpAFlSyLCi++85uKHbz2aKOnaSXirv3WtIP/9FS6WybB1
MrrWWrB1FMzln1Vz5n2cyMGNg/JP6PDlC/P7cy66SE6uh5lVQsmpDGdSaGi1nBMK3RqwFglambYQ
pbkuYFdZC0BNZFuVGqocNLpTOm6ZRx0YY6ecJoU1CdClyf5e9ZlDgIRm6KzfB85EUovZyDOuq2la
unvLayA2T6UKf084VfVNHX9SpGjLNpun6Dyw6VaYa2K7JI8hW9fWd4uWh6mGXiDhOdcmgJlaIFkD
J0z6lINIpMZrMzBYBbG42EpQMbQMvU0ZCIGEPFpDfOetau3Glbt68lZFxRqnL1CFf6hlv57t0Kuh
CrsEBussrnxBDDgEMuQ4ab13V1yg6SP4juDYUQPkuKjbYkITO1wFb4K3v7nWXytYYP+R6DPmCLOz
/Lvw6a6amlkKmG6kRzIWDxduB7CEMhkszY3u9bWmGt2GcfRH50HULnNXB0RtMTeAsVO2d/ux+vT0
B1IBbaexGwRV0QKE+2id/bt2uDZ+++dzLwqlXOqqNKR8uR81gRhDhO4Yl3OF2Nd4gjm/PWvo7r2N
6qzogQ3BnaKvSYxu3tUBI96EEIS/f56rqy1l8BipPs7D1IuXNE6Guhrk9CdmJ0Fa1qbscWurfGGx
xXLmcQVK81To7TgwiTHBJk264ERiohSQjRtX5/oDqTCzNxmUwhm5+Gk0owdOmmP1bZHsmgvSFXRt
LmgcbmxDfDBOjrYLAFN8KPuaRuiwUMasvEWb3Fj0f0Yql0uK+uvnuFhS5CFIdEGpGG7EGLw4j1h+
MNqt2z5cyo2wHoj0YeTts+vQo3QIP0qacuJVqh3I74OCPH4ixOQBTAVzYain9By50n3RDmt0KKr8
IFroU30xnePJWdJZRHBBLSJH5YyLrCMM1IZTxL8UqoGd92eVwZkf17OwXMiJMB9bogDjjJMf2T3K
1h4bFo4W3APik5tgSyYlDbEpnyOBCK6VB+jdU9H35kVsvPYFslfzSQ+elWEXYN8tIuYF2b7QB6yd
u9lSQ5tVc8Y2gk1JhRobbxrCAR94hgDwKUnf/34ANe3aTsfIUTbGXqNo/Bj9fy1CmgvdN68jlHsO
FmN7eOH80MW2adriDGcfFtuUvw4oluKNFNvgQxrY54DMFPJiIFFtEaanmB6ANBwYjWz8bR5uAyZi
PUYiW9/ID/K+Du+qx2pXPFq7mL4mRt43sZp4J0WfyQdLsxWFAzK5DWtL2Y0RrwHOZDse7P6JAeYm
20H/I9mlOJKX1D8Y8H8W4Rkb3Ye6i+bSJFy7H9IXuC+pJfRoUj77R2fjTiuq4v6pkedY8EQMjgSg
T7Wj9ZFwFtAX0r16qk+4kMNwRhhQHK6j6FGRZ+Gbe8A28m2ZEycdkYhluGN+Iy3Lg+eDvYP4M9VP
wlQXZ6T0dQnT1jnQae9x2DkHcw9+7JUoImmtVNNesjvywAlz2rT7F6PGSmCnm74bv4seLJxdp279
eppsYxNT5QGHjoM/dqvvvKM5PjGb+CHRV95R20QMql/JG+NQkYW2sFEOPJLCE37MU5AuK+9Vfa1U
yGETwbI15c7hEr62kJD3zcE8qrTV1YUAUftQfSBOd76GQ7yLH8saq5bdbAp5rhj31qMzfAgP1rj7
LupuhQTeexa3WAg9jd7oIntPDujmNQiFJGQyrwm9laBuA3/OnKrdxSdtnZ+anaijMJzn2N427rbt
74Rt9KoE8/o0lHZmzdVgEzzrzrzkQcLg5k/d3QBadiUd8opDGXpNu3ZX/j4y99amH/F3zhYknzLZ
kdIgb0X0sw9ILMWt+6gZtrIX9sEyW0V7gH3GXbdT1YV/DHHM3JcfnU0sTrwwFvKn8WDRDaI06ybB
c/Y8rIMjdgMX1bHtksUwLYQp9q14peOD0zZmNs/aeYcDSJEw4q8xOIh4HNSN+AqO57HpeTftIn/u
g4lCCOQhSlcYzJDbYU4odwa1Il8Xs4wOh25TnoRDetK4AvU0bJfVc+czsrCdV+0wHMQtC5ga8Wyi
5VwHT1a/5QJg6nTuk2ZubOSv7LkQsQAfs02+y/ZNt6pHz49TTWgctzb1+RNahPg+3/XHdMz8iXcm
DELV7jYFM/+7UJrEW3DpnzwJEIH8afShBXa/63ob8pfyoD8WzzXuCoKNHxHrzZrHcp9sg9BmxpI8
B7gYzJnhbx3Z7iF5WsAj4V4Zd1Exj+C7EBRUTTkPRum04CeC+lFN8JZaKTxG15qhgyY6TT5lnH8o
KKYx8usZgmz295kvLNuG6JalQ3JiRwjWwntp0FA3kDSIt7IrC28FThoUAnjkyF2dVyZWhFlTzwcF
iuxE03HogUWYRPEkehEwqdnth6TZ5ob1hVStbJqBluyXhWjnc5xTHuLYYqlWdoBBEW/Jh7Pm+U+P
/lbcGitBIcZ0Lh2t43DMPwwQmMELa5KqvzHETyUiN5GowCGcYyGssCCK87zaWBxuA5urI878YTrA
gWO88ALhTcPT6e3lvn3g8HYXZWwk7CmRu+TPifsCFNIeqXLWz61iiSkSU2Z1YmJcHpMDdw88ZYfy
HEWscCjTKecP9LKDMGED+Xvp/1nZ/7PLWmCe6cVx1Lscx/RylYrE0MeAj99G4zSRPoEGqLRZjLtp
47TTvAJYVYoTfDQp7wDcoJx9SuepuPGj/EBE/vpZxl3q1y4UlWpUy20JahMN1si/78ADeK4wdfBf
MaS3pQSjl8eyET3p3b4S0nuV40GePxdEiAeBbOsC7F7aBAaX0qSxagTsGMGuHZJ5nTFC9Qm/Y5Se
+Z+6pkxSGvWdD2ijBk+cIztGOUu64rpy8Fhn342n2ZXfgfTVV5naYL5C/+Jbq7LYBGZ3zHkgUw+L
YpstWxWtH9GfzWg7InmjFIPpiE5IpbuMsyr0cBlB/8JnxVayrwrch9PKsyFDK8h+JVQdxuRuQnwh
3iolOKgBbTPP4PuHE4nuuYZZkopD6SN7rHPGgGoARTY8MGJZpwPvQcXzrrOQVKE/S1L0xfQbxfda
sKZC/O278nQkN3hRO7dCi9MpzFeaK4W6cHH+ea+uPGsRm1LxuEqx8BmM5bIwV/WTWz7IVJ9iuQ9r
tolwJofRzMg7HIcRXpAKk4/Cu6siFNsr5O3pFerfEA8VZ7heYRoviFi2nkaSYGywKgBIQdsqJnTk
uvOYYIjUafr3Y3StlCEQxtJH1hZ/uyhfldgyqyJGqVN5s9Ge4q4QxDAzvSnl/WH9XD6uzEvREJOP
TXjlxTHCDEKxxcgl7wgG9DfmCkIbMieWWO25PEfYpE1IvwrhXOEe+WQldHYSgWRZysLhnM1cW3kP
t+1E4aV+LcKN9cWSR8X4Yk60d5fAuBWz7Xk+s57Snbh2p8od5JtOWQv0haby3jjmcwCbd857U9s9
jGL1Ttce0H7qz5hOMEn6t6xB146Gv76udNlvdIPekGouLNFXNF8MbrGWrthvkrAHX336H24jEUaS
Imqapl6eDfW+ascUev++Tza59MCdpGM/QmRw0P39SVePoTpdJXMsfMdYr3+XnR4RVSo2AHyJDjXl
xZh60bfYICn8aXhOwP0jA8yZJ4HR+J8+mpMWC7Al02/796OrwlKsAXPR6A2Q8R7j7cJ66Iyvi/PN
Wze+OGENX+hWb+vqVBPZ8P/3yRevSWTFjERMAmwQ5UtnSD5Kfw73TfISkIVXJ2iWCpknWZ5wCtcp
xGtiB0QWW4zQf1+D8epevkW6TKylrDOhFpWLS1C3Tdj7AoOgcf6eGdVkZPtQ4zA7FEYeOSX9/9Tl
+P2ZF18+rnPT1EdsrOEe8L1jAeETnZ4edMR55cbpimixi6+INg/GpEJkHixEFXbsv3fZaSRhYPqg
b1w6ptUiHFjk70VNnBTFQ2SRZrvk8aY8jHNQBQeJXAt3bUmMSZ88A/ZS/VIZSx6QJl+qwr1n3PGv
0ZRNC4GF0HH5qKaEPS2HAaoiDZM5/1yDIW4uMvc90z4N/2SpB63fFBWR4SxEwrBD2sAdp5LkX9O5
X466liG2W9IZPWnhrMRhRtic139k9ZxfuC222nwymkgyOmzGgzisVOdg0QZX5C2aCEmbR8lCMI7e
h5whfHtorDnOkapmIrHUoD6oOz8Fm7303TX/xCoPxbAtq2TG8BnGOyV/BlJLCI5l9N6ku77foHcW
061kbqJ0E5dLhfx1Uh/5imAm5OGer6tiQ1LnafqUhTC0HIzCd8mwgPjDRYBJYZ09bYpNCT0vrbVB
flQVTNjJQoPRlz/W1kJQVlE+78L1gG3FeHA/i7f/H2bKGzf+YmUxrKwg6U6S16KxadQDo864ocqE
1RJRfnBOS0d6MprnfKKynNKF/Pvd+lm6fr9cF0+edbFmW0ESmJkgW4/J/ZSB7rRc+KvS7u6FyZ0A
bN6wk6dyR82CmefG0vaf3fHno+ln6czmRMm4HLuKRtJEKmCbdaN9tBwNBqWYaW0+rYQIWSWk/G5T
6uG85MynyLgRQNXTSaCY52/doEyTu7zul5kF+V749sxFSpaZqc8benBKPyutfKqAK4mzYEasquwe
ahXdvuFNU/m7Cp7jTrJ3RC5jOnj0zRNWpU6cKWAwIpPJP5x8KoKokwEUMaehhSEzjeHh6f1gPnTL
qiEbViumSv7iDw85fL9h58Hakfq98yG2T3/fJfnq+vDrUl0sgZYYI6sV6I2jaAZ0preUYmVi+8ZG
8k8VpLGiamw/wPeL0NsTHr00etCJOJsottph+DTfXH8lSMZ9jVIj2XixPxV7aR7UOPwkEPpJ8DCi
Sf7+qf+zg/zcYB5eNJGGMk5i/13VLEnpRYcsyY2nHNCOGg16QSKPEwei1FaUntV+VMizTP0E00ks
d7V2Gtyzf1PEy8j32oumSyYTfomt/P9Rdl5NbmpZG/5FVJHDLVlCOXS6UXUEITIIhH79PPjiK5+2
y13fzJTH5ePTErDZe613vUH7dgfFy+nS4SfcrCxGc+/SuzzPDqOHYZHTuCBY+Mtos9ITwtG5uReP
1tAZ7NTJCf247UvyMYiWWkFLDxP/NDvbb4a9jj2s1y9H0uwBWULNHj0jiueZK7nYHoTYx0WsJ/c8
zwPA4jw4mAFMCZ8SP7gEKX/r7ssOTlYBuGUflct7ZM5uIfMhemXvtMAFJbweT8+sKeQnS7zVFnj3
PlchWnnsWSqHYDnv5mnLwRXdq6t5UnBZJCttjtuiM77R3aDIJgHVIT4Xzwnn/nA9yK6ShKc30xeC
qTQkNHBeOVlQBJf9YJ+c27r17j4Apq17mDM5qG4Su/dL72p/xQ62TL6xMWZYjnmNa4X3Z3M32PIj
zcni7PPaeNSdWzVMvORYl676o5XoX5+gxQFJriAM4e+VUHzTxfqU6NXq/IomZPMmgCfRW2geszY3
m+PcPzwabvlDz/n3V++3j/1WCVhMQjqrznGA8jD7yA7F4U7v62TPFxKznE266ltf93VsWEyH7DGX
SoGKyEbc5YygTZb78e+3SvlDzzW9VgYpPbi1w6ygKvjvayVWN+mqiqkSKeno6feb044yEKPptNle
VwNlc8GOp2QOkVZXW8SIg/0qMTZ5SpT2KktXIsItjQSAWnFOqYzXJcELHTCXwckvuF2brrSksJOY
NRbl9ylPg3KE0sAi6gLjkvutJ22EDjqDDX//mjo2vPCdk7wuGfsq1leMU2NM4LScS1sy0DGyREDL
4VoRTNKR+EJEsF20zwUStFt389HiW82+K+KgXzQSDMRWIDaiR6Qii5KjnjCqbT6k4oRWfafd6jC9
PMbsW8lNJU3svSoiXXk4MeDP4uV43gnG40XV8Q1t7Nv4ZpxWBIp3/aLFjfMhsVY93ReZoG7ZYDXE
LnoaHlvYEdXwcM4ecAWDaXrFi0nVH/UyyPSlUtUhtsV23X7qyrOm7WCLMbU9LSWR0B/8hFpJnMV1
GuiNPhNNlFqitlC0r7h/SQymi7jcDXghXQwyWGS7lzdTenjHPNIi0KZnk+7a2Ukw8FrKA4Fw2ZRy
JC+YMeaPpYBJDLdOI1u76LaFtRbbBeZg6vaMMOZCfkFTPfW4mOUCM8wTcCd+pPez5hQIccZ8PfZ6
IBQirAMwG/NwvjMqFYLsfbyfHCSXdtYwLhSf7lyEejI8XUznTXaaN7d3c9S90aqJah/WukjeTjKE
k2szpvKnp+r+qtUPouTWMGDVYtcPr3myKa7EUFBHFhF2JFU1S1XcQyWch+nurcytz0GJU5GI31ly
s2XcLy/4cVxJ91bQpk9euJgXqeZjUX2QGK9cjvDzYn6kXi7Mc+am6qEVQqnxm8bRzYMCf+ZaMwtg
TXRhq4Zk2ksXdnCUxSLoSz0Tr/Nz6w7Vs5pYJBLAF4x9UTmOnacIFcZR+O40mztYtLy4lj1eW9uS
/JhmTAMVaAPivAQAIwL/Y5+CFy4mDitRHJ02AUaUCQ+YX4vDyCwwgS0JmxXB1Oto4HA0IbTxstal
VQyNqMFXs3azrybft12YoGW+BmW97oF/BmN3aZ+F8iNJPrXmtbnG3q0GU8IMh3SAkXB3AVewKjhZ
UdLvBuNNn5IKE8xskYvCGs3Eq01gl62pftysdSWg65aUHs3sVwGxydwIZ0xbhPCChjj+kq03rXfv
PTJuRgP98SYfDBMfuX1RvAvXZXsPm5OtMb6r2pnQLYk9Vu/MsRamGtzPHykuPciB7a7/aYD3lzPZ
ABixNDSXdPLfit9aOAtorTuwdG0/EqiuhJX8TDfZslrPh39vm3+Q/H7tmjRtuqGZFkGR33bNc5/L
pt7HZoQ0Kca3T4WYf5JB9ZiQJPlMy732l/upU99+qt6+Eyi/f/S3OuhyVgcru+GRetcus8E8ja4p
WMsxQaJRPurtaSZedDeLcRy9rrobZnGKZMcMCyrtTCpPS4K5aegRqtfYIPntB3rBH5jqr2+H65IC
BRyM6pc08jdMtb7V5F8KsKKNxrNOL+fuE/tf3g+MFsgJkOTUzlI/a2ZYHdt402fmsuAdOZ8WMg+u
x1TvPW9Wt8Z06/zdhFln3WLCq8pI7/d1zjhDpWChAsqmSC6MaQ2oWngRm0BfPzzh6Ql+b2Wo1qfp
JNgebPb/nouE843NoCXW4o4RZdWfIqP1pKYNzGTCam9F4lmYThToeAtbrVr3rJihhOOlXibrWvhh
vX3Hwqa7+vuXUf/7ZZIiNvGySLXVvVwmKb4FJH5CfIyrdR/HZK9t/33xf/04OLKSRtI2tMvv5a05
kHOj8xC1k48krv0VBs/nnbHWjJWXf3+YMX35b3caZQb6DMPSqey/L5luUMz7JVOMVXL1eHElZO3K
7mI/XMZd3fiKX9cb8IrYWozxk85AkJ6D9ywpnkwdEjonXH618T2GYJ2YiBCjSvtAgABWKJ1n2hie
h6iCccPMZsjXECzFgdHaIp487kDREzCmu4I/mSw48URgv0Ej1ChPjRARKd7g4tUfzAOohQQyVHeI
Ks6Pw+1qy/nMJICnPTT9i6iFQkvheFujCE1jg3TaBa1+3eqUKWzPN8LmLbuXoqIQ7Np6ToQf9r7v
oBbrwxRVkgMs5ggYKnxjTErpeeyT8pZPABMGmzbjlHwyu/VyzDVIuPgR0fqFvv7x0DT2Pz4N4qL2
rdMnovIi1/gZLzA7yG4bQ35VE9iEWgHc8HoDvtFUAX8O+Qf07o/50a8rpWDXUfZZ8Ji+XWlfDUVp
3UBqQGPubVjd/TNNehsA7cgWVUhkSEjs0Rv798HrhPAq/fANfi3H71cuiaYsKfDJocJ+O2euonVP
Tz0MsEIB70GdYcRv+kN7fgKmUs7PFgF2mvoiYi4umjMEhQTy6psbFdGmGrzcQnt83RA3LZihyowk
py779/v0BzduukWShNCNlphk0e9vbzlex6GR6OaxGXYLQCmxUmyc1rkpUVLSHt+8kwj5TINBIgVn
mHBTId6Uh7Z5K+ASFOtEsrmfFxFTSFmyi9v02qAE452QSLpXs51Y+CNBDwozBi2VINAemLr2cZSS
j1Z7lISCuKzkbX96jG+P8mmpGMxiphBQFbtWUATCZW+RjIgbkK4nP14XtrysYCT9LeDXsdmKfSCY
i+a0OyXrQttIdK5ZA5n+GQVO+VNwzF/2O6w8uV06mmayeb4tqgy30dyqRX0FuRw8gcAh+mJJjyqq
u3Tz78cj/br/fywgsGf6mF+c128H+C0bCws7W30ljsRFusSnsZCV01xfmVgAQqm4+Gn1XNYfWs1d
vzoxs0BDYtB72fMXwY8tAMvmrdW3Ruak8BtQhxLKkYlbYXhgCyyqNVTHWMdPfnzhdhVXCYMd3Bxi
8mYISxQ84RQV9x0fjFAN1DZtFMz5PV4kRkpiNq8a5Nw7gFem82ymGSzpZNfJC0WnnWreBtMxJmCL
kvkNqBVjAxXI4BYBJyeiC66s5LNrta3MlVpVVBzQK7PUGZSHmgDHeyjHXkXuZr4HKGVHFo0HdaCF
LD5KhFVMDy/yl4aaKAGDDUBn1fhq132NHbnMXLK1Tzdms2QrYBsBqtvVD0270NrFOPrJKtY8ZPAg
txM+nQaGvmAHKDK/l79q2gt6pFtgMUeXXk/Qu6XNNcbeekNexj2e6/WeX/tsc76sCdv64aFPK+iP
Z24w7haZfCtwL/97gNe1ehXUkVzfvj5YAlmtxbzBl5UzdUCdUYyvkwNjur4WP1jF/K0eoyZGh0KQ
HDFX35e2Vufy+S6YcnRp34xrN7vRJ5fYDReT9T6ya4itb2LxJgt7TV+fzo19zd9y+qfWeq/jzBVz
3uUbDaK2ky5EB7MKCcDRwjxfqleEF0F93TAkHJFTYxLc+lXq/nDnJgboH3cOciAm6GQaYSL03ztX
XFFtiaYuRO3duScc3fGqb6I4SNVtXs+HxxSqeyaTAWAjyIqMH2HHv33+r01BV5iqyMa3vaGv+3Ms
CIW54m1U72sqEfiKAbmrbbph7WrX45ge9XcY1pPBZouptKr9ZPv2h4vUtKX//iW+FWRdXozYTw40
0cvBi0OMlHdZpK4Hd0U4d2T8/6tN5kbIXThkaW++27NkXWEqViOaEc4TOLtJOVTEdCXJ5A8cSxgn
/37Cv4qT7094irhBNKXjTvPrPPutZUirTI0tDoOVuDWXZgAuBt8PzPzGa3IJ89fqIHp39zYz6kBY
aTvoyegGi0fN09ew9VwgCmWu3cPOk31+P++WKPfdYX9fNgEEvxNIovbDHv638wKnFBUgDyNULGz+
uyZ1lAP9XSRvmqFCgyi/sCYPvgtHvlZ4iCr+fYO0vy3B3z/u2yswltd0uFsDx5P2puHRm6dbBPMX
eVbIlafemIYj1G4n7vpaVF7M20tZR22hbYUKEgnkn1vuNwWvCE4o2BaQQqLgPSTjInvFILu2S0X0
yrMYwbUgX3H0RKFzLbr7tJxBgg+yO36qmK211RQv03oD/JMe3pTe3PzTCb1BqzlAKob5pPeSn1kM
EoDmjBbuiJY5ddv7ukbwTPeUiARLw0HCS+XfN+ivRSHIpsQ43ZSmked/n8egxrqckwy1KroUGsSH
gIHrZTzk0jrLXuJ7IMgGVwwfpHlIMbYumi+hfs2yk//D9/hbGf7b9/heFFulpp2SPDuvNQmTCd1h
3h3oyumJsRQKFuTJmEUIJ2tmNpbfEy97IxpEPx9hOhBEMD9BkMz2xmnenn4K5fzpi33bP3poV8a1
V/NFnD5qHdRBTxoeDJXcpMlNB8bBDzfiLxiF+fuN+HbcxRQ+QlMgz4C7oVv4b9xdNcFFHzAPn8Zt
qTKlwMf+35+q/u094aBTQYFITJW+mwqkt/aap9a5XuU2vtwX06kfLivRg9Q0wB15xMu1e9Ow5l+J
68uMwBvYi6N3/4LTuarA/bE5d2X/eA1Nz9xJeyR5zFRI+V7WtuXC7VRdBcNuskqU2b+/+N/QJBN+
AEccsyQdoeN/169yE9pzcs3vmMdhY++ego4I8ZMLzVYm8G0gEN1TVHvsf9p6/+C8T+fKbx/8fcEK
d2rDUiDlNJulh9YTA3U+erBcbbbTyPJKp11evDzoI8r0/eEe5l62l8I81B4TnxbvMdnrz3EANurq
T2iN17krRlCrv9qZtDRLW1xoDqS4WRKcd7oje90hDo2npyEiNo1izu1WhTeEaUBr/iC5o/MBg21T
uhBuQ4jVHj+Isfv1h93i13Du+3mDDydys185o79mNL+dN7LVX61TV5ar4tAfssPwAN+f+nJN75o+
v12X5dwQbXKL9koEn2vThQyF3PMnerrsUXi4rwxEdO8J2iKXoO5x0X1am+KIwvwFq/WOKCvBad8U
6lbb+MgjdVVHGBCvTE/6YdX87Z3+/TKmQ+q3y9DVc4L+U5Oj20mlpNtK5ctIaQBP9yRL0L2X6o+D
z79BNZYKBY1fdHw5tW/vtZz3zVBpClpbiLJYZvkXvGHCy0pY9zM9sGxC4cYABruTMCyWbVzkW7vc
nSPk88IbvKLh89AeW7gdn6cZvoDxZ/N2g5vr9F79Iczvr0PvyK4ejXt58cjI/kE6yhE8yoQ6b4ys
AWOjDc2HqziiT/q1fd1rD3eHDApbIqDUNW1cA7FM8ymKflg0SGO4nd9WDdNCoFH8/EDFlG9dWycj
kjBLwVyRn8MRK8WvWJrR8uSkw+fJ7K7f4d7Hs3uz7dVFUc3O6Mn6KVuLUlGjZslKongyQM+MvZdJ
FsPFC/lMz7l0hCHTsFwyYyc+XK/vTeFDg71Z66dbG3bmnGwmcQhPw/aSPg3DWpE22QjDw7Us1B8Y
gtXzPIvMG2uWQe4NJ7Nc2yCebK4wlrNFa2xqDP1RtA2nDcAr0NBFmgkG+xkI2PYCGyO/Q9/x5DKk
2T3VPj0iklIbHK7McI1dyLfD5QXnA0LOlvcaW/9klVx2Ft75+nwQAs6QON4U8UGPVwkcfPwT5jHj
nYq4g/6BtOSs71w524EhANh1OZFOQXLdEHQmtp9xcjDjPa7GVCFBmxHXGJxTZK+zTAcIWKXNRMPr
1Oc23sjCHFbPGH+M49P0h/nSIs++1DbtaZf33PUAOQLog6XSNftW5TLkGzkHhEsItqAKqC5St0y+
oD9hb0PfPJnDMpIvfdV6qMVIyCPY5sSc0ULSMeddxO9h91ziQBNn2RiSbkBfiakLBlD8JrfC0QqF
7CEWDu2d6fXlsgUvtOKPamCo9JbEFCEV8UROpUeycaxPcxp5OAlqYvMnDHwcTdzGs4mh9MkvPWpj
VC3NHDISGcQlFHzCN8qVgc+5uGBolpQ+GLozBnW6768zxYDVszszhI13UCIK5KGkQkt3uz1jK+ED
sBgy/CWPtrLDNeNCflYEg5dJ1p1sMKazw0yoN0W5B17hG0Pj4qql2jFOEziToke5HPFA457wDMfk
5VR62CeyRFL1ceIxDZ5mRjCs+mQZk4/Ch5Gr0swRKBk6E23SNwe4jRNDbIwDwksEdWYKD6QPIrrD
FsacRpVHSTCxy/Bwo2nKNDBzOaim9An0JUIIlNvfH7HbgII2RVrxwLVVdSbvdFYPyEe86vzS1qAL
8pprmcIKhqVOlOHth/r7j40WrTsTAEsxJoRV/L7pWW2eXs1Laq7G/kj7V10O+nULq4taBgudH8Go
P6uBb5/3rbs4x3HRX7XiuiJdqLyHdRmYMQJWvxeD5uQpdxLEPEPyG+2HPQ6i1PSj/7PJ8dGGOmHx
1NIoBL/ViTWRBhg7pu1Kk+yhsYtFXTuXV2UtRFPjieYgGpetg9N7q9oJE68PsGZCQGfdQlsr7+VX
tSAlJBpWp/l5F4fa4hwlyKOADzx84w/NuvJviT3sRg/McdW2jvbMDucOHjOV7ZvxVMxQZW4wfA4E
b1Ik9TBiPy/k76zLLQ6O+27GUX0hRel1/GpfJdkmhconLglkgHH4ASL+9UFAYbHKw25TfLSvERYm
j2JUovOaYkpmSeJe4VE8GT72TLKHd/hSsPlZpLcOLpaoMYCXbF/unjzXl8aanJh41figtHdHeTL2
tKa4xyyM9f1J1nzlSVtr9lfp9tuLnzn9+2mZgeVd6YacYtHxRxc3X+OKvdFseX7Z3RfdRqSY7Fx9
fg6LD2aEuzvCiw9SJN/aZe4JCTafdhw1+9MD2i/Zr9aqZ87xpvXaSFjc1+JWsXssIbwOupqwV+fD
w3UlHrmnlg+BIyIw5x6dj9rKWuXH/NhFybqPpJXg3N+mCD9CW1wOX8FJIObJDgEKzRrewaOxy5fS
G+7+tvCCgbC+vjnqzNpJb32Inkh1jRW8o6M562xY7rCO9E25NGfS6lMKiUBycDR5Iuks7FDiLEmA
OwyB8mZ5mBnsz4fi4ROKvg19idSelzKog/rlFt4fifbMObl3lS8tjKgOEnfXO7VLhqpD47pVcMnJ
7N7bxHZL/rHdbRDrvluiLcGKUp/N5/wTXR7aqZgBO7NFwxahDyFg68Ob3T8iOOqiQ22LnuQTg7Af
4CFW+9S1dimnMSooXKBn6qF+UvFz2uIwYY/r5uojKiJ/LaOpdvW9PMP9dolbfaDsLC9bM4I/v/yi
XyX7/KioQR6cmTxurN3EzzGCu3N2yNLr3MS/ao+3EO8OXpH48x7yb/Kx5qHxCntw74685z7O5Rle
PYOvBcZ8gCxgQx9xYcXyVMpA32RvaJtOi0vAXT3P07214j3jaQHakbi4T/kyXgujS77NOcRiaq4l
FUAjOc1tgQ2LqTmJj4qj/ry81FAwoZkFeKfQAHHD9M056OZkBrpxTaF7OUL6XsC21V39uUJUFdtY
klixfWudSyBuLARo/GCqf+Rr1DzLyxHucEAadOy8nXdvSrhDurftHYgjy1vI96IY26ZrcwbxzDnP
xyX2Gh5xNOv6bGN8udF26kf7hM5vocyVeQ0xRXfzq6PvO9tYMSlA04K9KyYHznU64B3xjPr45kHM
XyR3Z3BLd3SRs/nKUiME61GZJyt9bXYOGr8rfk2zHtOMsDIgc6nrHjuU88zY3r6yVwKFareJYPr4
6AfVPizeCNCNykmReT7mTrZGb3Sj18m3ddBF8Ozm7bIOtF3iCjuFl+l9B2/dtZ5E77QVbIkuicfR
PDbRfYVIDF+X8um04DeO/HwzbDBKH3rKBiilfVcyeHXVa7q7PKeRHA32A3Calx3LN3oDSrDHvLP3
pPnZcOiWTDi39ePwVpA54lyeS7dyJlIcI8vjFzRC1yDy0a69o/SgObGbLgt2mhE2jfYFzWMm22lA
B/aIos5uubnL/ouYsHdENPZ5NgLtkivl3FfqXr34GtlGNuvyS3hRtkiwN3BFjNYmVElbgeaG7BUJ
G8bgj775pM319Xs+J3vQYcx3eLYc4eXuHM1d53Ng+2S/zWS/3AjBaf1MLtba9IdFvcCJnLOSPuD5
xBLovMqG1PW8CNTONVgV+UxFUOLmbunXB9J8gsSuoVbbmO86aKNn7St2UKHpZKvNY7u4PVxnbGPQ
KXUfC46lvhrs3KdJWBLuIIbFXIykTwJanXEHcO3KIdJoNwsal9eVmDBhlm2RG9jG+goH+bLPHBSz
88rdS564yDxqVW+g4dTWRFA48MUhbRruBwTFPTbuduNUDqRfp3lSuMWJvdLtZ/GxO2JhPIsx8VlP
H5nOlU8kkMWW6w9J0Z2Ij1e7WiSHfJeHrXN+OW3qmreXoCoHbu2nQVuDjPe8Lvn3KUn3wr4lPCMk
6JBEWhsdjvOSv6CBcdIPy34w3CZguOmJMCjNnRyNb1kg+GNEJMYONrqfBPKSmY+T+19iUHP9SLsf
MxipGMY9JMvb+weMzplofzCn89Xgg6tm2ML1cI/mN5+AAmi+8kIPmUJ5X3gcP0nv1aJ+0Dj0aPTe
zaD3Ox9bQ20W+92RdisJjjCVSpiKtxUWSMHAcw6hAjuU43YK31NffiQ2g9LOyZynnuO+YQXnfkJL
PNjoE9yTJ9KhHFlE7vW1d7eQandmWD/Xm+HQ7oUZIQXT7efWD+FqWhjKhicH1RTKkqP7lQMf0e5p
PvnAsJ6V7tdD744PgE7zHDAoOruMFcNuS5LPkuSbRyyUbstppjRPQ+pQrGhtFeYpvUs5mxALqIx2
tyJI16WY3bM4shDnJVt/DC/ubdWvLs8ytyllnXyILD9AjJnMCr7hSeWyEOL1zfC+Kvux8pRV7yCw
cq4+umJWuxJIg/vJzuKdvUugLOMZtDkbetQGt+FDtyXedYlbl0+euHtawjVpvW37cVup0Yk3nTAk
L3W+MvCRs1+5H12wlYMo8abHy47QfjWSqweK6hE3aE/lh/Zw4e/xVNcCqJYFf1SgLJnej2zRu7eF
tijW7UsctkG/Llftw/ZLjXgHHYF1fdmnARLj+cUfotH+yqMrxGRIaoH27Fz2Df+MnvUakfDiUKd6
ykaxTy/60gpv79RNkl/QfvpPfFJgPPesEALauKExONEX769DfxdUiwk8qFwS+T7kmjoSkoQvhHrw
pPAuDKHKC3RyzKN2YMfzqm3hmTnbX8qgk4UlLgbSRHwGLxvkolwUh3Dtq1H/yeqy043qVIBUrPlr
RCuWOdUCQclSmH2MTr4aeLHn+UcWThADcWretK9YrrH4tY18Vsd+K7NuRnu+avgQr7Hnx/trygKI
6eXZcSeOc8KLM98fCZhzPrhQJ+Sfnf0VQ4eZuclhXbDRnmcEsDh4987zdUKUE+egYV9E2zgwVpGX
1rpZoDbNZuaSfWdDWBLa8nw/RObO2Fy4JqLLdsnrdUHW2mf6ojjHIkBtx1bGnkjMXjRtSmrY8u2Z
pT52nxe3st/Py3eQhj02oS72N2y54jvYptsFRAHyDWSXwsTVXLwEoIQtigUwMNcw7Z6Nk0S5+5UG
Y3jy+PnAcOMCP5AI3aVHYjALD+14ID01M+p0VNTLJ6Rrn9kynQtuG1Wu/vKAeNSdMgdFe3wjk7w2
bcFlrTDh5HliOWQd9NU4vcW8/uJjsbVc7crK1tb909U+r7dw6Of6nKg5Mgq4NcAUL6y9hTC7hhTj
7Ccv6hZeqA+C4BEkyGIanPIx/bQIe10WQfl25+igePNZ8i4GKj6vJPxhUpvJdYfc6ozsFs/K7IvY
WUw8+GiG7FzW6cYK75/Ss/2AwQhWEVaId9+8TJztcbpsxZYDZf0w2nYKPpk5lCwv06nQOcxU3zro
QdNu269Ezha2AejLHz8AxebfelFj0n7ijwZv2/w2CoKsJVvtYMIfd8ygw95CXHYfQ2D5lx2MhTCn
Bm2fept8P1qH2158vc2atREOy8sL7COX7i1Al+6qHrGwK2pvV7JvtmrvECEMqn3eorLO0ROcZqdn
qjn/snxGHWwTFegOxAyvL85lnq77R53Srp/rrgCV207fJiWBuMcSYLHrHy8Ua/lsD/GQ0jle9GF8
lFbwkalGGq8J30kCtIkCduX1Qggws71sxkXun9cWu5IaJAdxLkTKmi5q+aU5ecrjo0p8nQwXsto+
wuHmcWZUTPtiPszmiRfTYvG3kRJkSzmSKMnf+s87BVHt6W/Z55TxvSNfVHN7n2XD+bbr3GwzOtH2
sr6GyQLjJoIunf6Zh/t+f1K3WKGBH7HhGOhi4dqF+rYD300jk60FVeYPoin9r023AflNnQxRAKX/
C+QOnWWNPdFtK5gKVjtTTkvMs+pswj86YoprQs/B3tCPmUtwwRw3giQEgkJRZ1iTgxGYV0OMyWkv
6tGJJF/SAbqlBSx/XY/3+b3d180RRA3w7Ur/jjBPDLBXgiuRUon0EZSHSctXrQGHWnWHZ159WvJ3
4HVA9oFMAWwGzNdLc5C06rblkVRlBPcNEEjolwBTxA+jaP9hqf/BmJigCMuchv4MRqCZ/feuaGUs
G4KoayvuAUQZgEGYOX3rVpeJTQQ5R+xwzvF++NQJwP4DAPntUydW6G+gOs50dVvfeRaIH1EmjvG2
o3dMENzbQISwsk+Si46PKxbiH2CmPxQpXLApmvwHooZl/kEpFrO+0Lvqurrk7n0h1EHK4IU6WIp+
uMY/ptffPugbki3ch/58Smp9hcdPVzwVXcRbLw8z4F0xod8/uxDokHQOSshjvWmrS7u/kgBJtNZP
wWh/Cgan7yLLOvFYsKGw5frv/T5bJV7VaNqj5IYXBujjKR6YENduPSS7jHNKLt1cyScBAZ68mGYZ
0JYLpIUXOTppH3mH5r5PbHHyt1aDf98o5Y8p5vTlNB23TQIv9D+IdJ2Vatb9Lqsr9LBXkmiLmZ6v
EMbChjJHW65WCFcn6mF7qK8hXpJVt0MBoguzHDEV1sDDe3Pf1tZsMg5uZ+DIV1c23mIhyrqAwda/
v+2fvMTp25KzpegMKET1l+z8t6VLTqQ6NrpSrZJZ7yp+6lu7KjoHoKZMY0h54GgY3BN1UuwcKdVB
JzhDvPIRG8B/fxPlrwsMayfib8jigin534eqMKDNrmOCsoly+OaKun3OwkIhz88B0tTz4FJFbRY1
6VrXHOnuosAUugCyIqGcaGcKkPr6QWoPo1LZ9PJl4snJ6/0+U5MjzhJXqrLZaQBvx+KqB/Tq8FC/
P5wkRMQ/XMlfoVhiGP7vSr7hoWmeiZUpKNqkpIbhhjko9Lb7HbcEHy1pWkUXK8yrsEh/WHrGX5ce
uQ+/iNGK+d0UDYoro78egaG5FL8YjE5FeRpcndOSSHe7XIEfbvIQkkz+mnzULYRwv8I179Bsyjmz
Np61ui4XvUOE6UL0YntCkpQQZyKn+CphxXln2bX4QVPet2ttiwecikY/3iie8lm8SGc6wDPlnLIp
w2TWvAshi7bEO2IMc/cnsoD8t02XukViqEhqG/P7/64Xsbeuo3k2qpW6RPqVbE5b42qrL6gic4aJ
JHDQrSTAul9YspyO5HE/ZbLNhC28u5Kfk1CdzgQ7tt9GR9tTvNUeFiTkZM/jUPJPWwBfgWByOnch
osy0ifZ5xk9m/lY6nU2WNn0fHiZ+vjJCZt1UKc/9w2O+zY/GTgUt6ubDc/tM1vx6NYRnd8Xxu73B
0+T9+WKvgjMj6a6CM1DjC2MIdtUivkmIHPLMfWnZnTf6sk/u85oinHKeyoWJ20mcJsVDS8mir1CC
fVzD8q0XZpDRS1xM8NT64Tj9dVx+O9jYFJARwG/F80+cnsFvuwOe4DejEK+QgtH6k7VpzOihCKmV
z2GWLVIQCxi/av1wrY+jhhqqe+kJGufMwyaQudqt3ZzTp+s5gDRTqcQmTUZ0E3Ey+bqBF7aX52sC
lVV+EtTH2oqKeC78yO/QpnXwxzVoyDVlCI1MKb6VBOktsW7GCW17DllUOdTWamh3xBkK1215fhII
NVTmOXtDM68uc2jXyNemA66y3jUIJ626j+VI6zAmWF3GjZG/Sfj5lCHzNeaDerc0CpeygqEfoz+K
C0ZbWTaTBVs1PGqnJD3U+Zo0URXKWdzYWvWuKisBoUv+dpVjv0fFdweWOpodeMp1mdy2qjGNQA//
3l0xcvjhNnx7XQj4FBNyq9RVNDhbQKKb6ws2Zom2BY2BudAinV3BDbCS9Eend3HQYk4i2W8vrH17
zf9E5yna77/cD6CRl+UDPnW8YoatB80TOZh2MSvtaI6cwQdNZqTe2Pswmn46k2X++0FzzTsaiI6J
ojm3K3c7gIZMPX3nmkH0qxPOnC964unPBXf7UGHGNcwZ0Lr89IUIXtC7vQuRxtb4L7ua8wGcwl/e
ez1EnOmDrxxVJ1u0gegG+s0eUgwCZ1t2QDbS4CHavz4f+WdsBjZABhf5wv9hXzMpsKeOkG4A/CN2
UO+BXd686VKesd+360W6EgKoJRjl/PqbeqAHHFKeihSZFnd99fJXna8KOvs/0s5rOW4kW9dPVBHw
5hamvCNZtDcI0cEWvH/680FzYrZYZLDi7BM9PeqW1ILJRObKf/2GP6Oz+H38SBa9u1zn1h8AWAAw
p3nAhmwurEWy5l1tF1s9Wmf8YUFuJuCumwS7DpR3m8RlIH9Mai3JWvNupqGBX3eHNG9uLAB4GBz8
aRcZT6IzjNgl8e/ZJBnndzYM4/TzGUP3+vrysorXx7cjzXl721qB84aY0Hp23x7BlTgY+TZtBuvt
GLH/97SIUiqBeD/ytqU17muI0ROHoyF/45Tm6OwSiF7chFph5oK9o/oe3nzaPLGNbnxJxNRytp/p
Vv3YLs90fDx+srCjeeCcF/4a7TqeiDBknI/QjeYEzM4Dfim26Ve7fP/8GdMVYKK7SFFYn/mw8IAQ
jo+4c9P48I+Coy80HoVYA/492z4WzuIIWO50oGUdeDm+6fwyv2GeuwD+TAifw3bvDmAZf0a32zZb
5Sndowy1Hh9Tpmr096/Scl3XXOz3IM7VanCMd3/Ha3o8atb2eEvYlK1ZtAx5Vam1Xwv8d9M2YFiP
E8xtLoC5rZbfYvAfIzJhSvYgKFxqLrqS9YdLCPx1v1/vn3MAIMCRZQM28J+/VI79if3++ftH/53h
iLcU1DBJp8KjXr6sB0zsssZzO2kGCKmTttQiUPXP43rQcB7OLaLAOb31/rzqFvTCqVRpil+5hR9X
X2QL5AQSbfBN2YfAsNTUAQ7yhN3p84oebYIvgAcy7zG39RV25J0FTnu+yu/88dKs+aqh4v5AMf51
8zr7iab16VmfFBMkcun1QoSEjgxrcc7vYYBIMswgq6P5Si6e5IYi5a5z9Q3oPxzURerr/97GxeGw
yoKwGfHyneqUG8UOreVfhEm+82lOA7zjdJ3BoSN4A0+BeBMu1WXxYTzTbnHoiK3FJTqMBUYh9abf
SO/Gc74pIYnhxnC+L1+p0CBCyYuA2uxIi2Zw4OcA2X1gYd1ZePEB9S/3C4g56A2Xs84uDsglwEEX
E/JouFjkXiUm/lTJf3nii61GltqyKaTa2Msmit38gP4kko74l2SA+OItkrskfAZngE2TNbu8Pygz
4JM79HaBTpqazf/H2Z+zbCeTNcrHjGeBti84vfhUiKQwWVW1V+LKKn2AzllsF+J67BER7E3j438x
fQFYJtUYTH7of1/nEPa2Wpoj1d1LQIY6iyHZMPj3sLjVOs72NCY9q5jXu3RnoGy/cpAwpoPCZeny
z9W1qd7/p/xS+86E1cGRsX0r2LY1FziVRZ3CtCtt+W62MV7yp2CFLP1d2fUIdh+gKgg35sG8K7cQ
vfRDuC9XsOHXmHfa/bLaBXPlnaUM+h37D7uG/6fcAtHRmK0++kca0SuW6EPUzlHLpvEueJV1q+ts
dEQezRgODtj8SdhLOtJT5NLhoKnRHQZsQPR1th3uKFKL2G5qQrPt4vH3sTB/ehu4TyuKLABiAvB8
fRt9UQSzXqsyTjfiUw+JwxpX/ap7KfD7ejbn6TzF+xzSCMSQuzSc09imxz96DiLr6qNaiJt2g/bd
NlZQC16zXYhPiunS+sWRga/rdbz1HGnVHdVFCx+Cxu1TuDbd2Z/6QcA34nbY4nKmr2n08C3tzNUg
WO1Lv/dYxbCniOk7DK/xfJID2Zgm0v545ESPD4qw5PiXozmeDs/qSdlTVBZAEUcZIZHF4VO6FgU1
vYfLWaMq5PWSv0SQzKX2RD4XXiLiAbFP8udS2MgEOuPQHj60A3r/Qz/sutlbWFPeMbZ+I1k1+6l8
0LtNWbz8PmQ/Fp2oPTnNIwvGEOfi/HAezkUchZwf2IDQn+FbB8MOJh/kf6NeQBJrWQFL24c4dzXu
+rtChN0PBpYhqIaIRZ9+sfD2SA+0lBCYDYYdXlRaAT6dsoFNTozjLHW3FNBrUW6CvHXryJ/nqnES
UIUP3ue5NrdywE1l4lrrI1hnhBgqhfzedSe8dqGnRkZxGnVE8YiBFSl4nw3hDj3BKlLzlR/PNj3m
x9HMVkP8RWT/0yiThdGJ90q/Q5exGtPZ9ozNrip3GPMQ3jmQU8HOzOVGNUCk1JDD0KKZEOw20DZF
+B7mW7SIZPtSFHPuCIZXpUCHMfHjx+6hVe+7sH8Qx4/pIrFQ7gsdV8YY7zWJMpRkh4bQrzr7RC/W
jhE+UrTNotoSjJehNuy+oMcfm2txNJik9UJlT2wT6Hs84ABtrF60qW6JDbp6CEG+hIYu0J+7JmAh
6CxxtgrLbOmJ3Hi27bvqNen3GQtRivtVoYAmUXSoeuHE5o3P70845RhoUT4kXX0Lc9EOAKZsTe7W
cRqsehaO3jyGfBvTT1VtDasM1w6dyOMmd6sm3OUG3Wc6Tzo+SVAUFLM/ir5wNDKC6mD9IjoZo+RJ
jajElLOdQcA025kb+OD1AhZ1vuz8PsulnxamfyfaxcI0pmECNipJmwqbKcCG7DaHud7f9+pnLoKd
jZITA0qF3odOYMGAy0d062F5FfV8gKWAia5Aps+auLZIep9h8f37/Yk/VSD/3t9FqyBLxZJ0DZxn
0nxHVEusCrA6p2pdzxdEDmVY3KRtudAhYUTUoZqJG12zuHIT09d2uSrpgjRFGhimqlyu3tLgD7GX
RMq+mm2L+pX5UMIXqSgH6TmSogqpqNUIP5zXJgSyAPUCebaW4tlX7uOnlwGJX4CZKRoaXgVfd5Hm
jLNETpDzXkB33899GCEdj75qoIM0c8TKirEaquWgLkVp7ofz3y8v/QDRsRL9z+WnufTPlh5lvKAZ
lfLJuFfWyg09mr61XpobFpmjFsHSMrbtpwHMhu0F7W/99Pv1fzoSAOPgtEFqxgRQXhTFaikNWt5U
E6SxjlAAh4rrC0/SOLgdjcwCBIyly5JbjLuGFF0WcRP5jDzXW6m5lq36F1u+mBJf7uVige7qeBb5
2YCBXLRFRjxpqDuU1HaFaBhF3F9BbnstSfhbjoWuCSwomOEqOtNQVC/2JLESlTCrhgLEG5LqU3qs
T9iBvKabcS1+muvsZMxBu+fS7ZU3/8MHgARAN6kkJZkfLlYJzdNLU8jTcRvHd329qGlTdItUoVtd
zwsMtGZWLuzCcqfJ/I5bQce09jo2/dP8k1lYTb5CNJOCMH0e/8w/Xx9xJili6IfNolxBsq2zdW9R
CSTlOvvIH+OZhc7XBMFZ5wuf/aBbNji+sPyHV1YE6YcvcToVcSZUcNFS/y6r/9xKosziodNCeaNl
lZVGE1AOLVM+RbODrNbW0JznRYlAt9adydUTUzZLog2f4n1QTaecDL6UQIQ5sC+O5aoCW4IQwPhM
c9qDwO/FV5YO+Yd1XsYogzkDxq6i1/z67ogJ1KqqkIubcF8ZhCsgf6AtjCZprs8csXDr+g4z+Qjt
xbgVoFHO3NYC9OUgUxEJPJkr7yXoz5us4vY0O58Bou7z+7vh9prw5NuST8ElUfMw1WmC6vzb11st
EnzR5UpW9rg3IGmjmcLZS/Nuh36OmfxsB58/7SFA6aRCXG3PTTP53+/678VR0+GTa06prhdLbNkl
YsI3qOzbeg3mQGKOn9+NEPlpJHP9fhIUYJNybtd54tIUxSC2Q5x9rRP300sgVlYXRHBfHY3nxVrb
6mFddIPo7VEghPmGnCLkIgJ+S60r5i52ecLsULe3EWneyBLCKx1T6ZJ1QQi9gNZ3si/G9gNDoK9j
oGd9UyfqoO3ps8sx3KxplpzP+GM160aCKmfAsJXXTYFjviLbpUhna8yXuVpacgh5tEj2UlKsJjt2
f1cPt7n8gnM7PnNvEbY0UkeQRGNS13wU/a1aPf++XH1z+DOpmJlDos5WTXzfpTFWaLap0WVVTV4t
liyEJYgGewHp3prjtVO+0GccP8QETEfYeRAHoQyYTw6OBrc/9t8TXI6IkLfE8yqfzSyVOJYxnMq4
lASFhlhCLMTOt0mXLAjX+v3Ov21xf+8cSgs9IYypUUZ+fe/4ZKhaExBxK0tIAzJy6mnmmHLk+gg3
ZymUDgAG03/JOqKSk2c0b5mohliZVetivKa3+9YMnO5GxoB06j9MXeuLu8EztS01kfxYKXFl8ODe
kVX3PBAhsuzw3Fu1/hOWrpG/+v0tXH6D/7ksqjtWAMLgL23fq1rsz0Wmk/MburJ037DVJOsW+2Dl
CgHh5wfE9ImjJlYR5t+kpn+WcbMT1bRnH9vCzLDlHKUCJvxEhEXqSyjKaw2zCJ12WRk7M1Q8eMf9
/qCX2+r0oLBfFDZybLeUS4RGTkOtKmdqtMUQsSLiU7zvzi+ohX+/yjfKwd/L4ORgkHzFP5sXVcNQ
F1qUNJhxt0p8YPJocX2r0ZDzNN8RzMGe5pWvEW8AkT3ObU6MtnLu3Hh2ajMkCWnB+a0DGektSCtX
XoF6uZOa+CDIk9BIEAR+uCzqlHyWc89hzHrhZt19ifKJDAq/yHESeu28bam8yW+B/EmPPFI1K5XQ
wITDQUOPX+DTr4ze/ExHtxtp1JIATDCmlQnjoVH8XRYhzdMIMvQGOyq0Y62QCFS8jI3hFtAiyU0y
/cDOQkrokdoNtevsqIeoKTDQHJKeIQmcJHvshsiNSxpNeGs2SeDGDckLNbVlYcmYYCDAngta5lyl
x3xDIEyCRwVs/bCloMbARuXrYhBX3SgrVaDe+XtvgfrG8XfJH8JN5vt8cTO7suR/q2gvr3ZR40WB
cTY4xap3NajasMs3dAZuhDlQ/8ZcXpmRl9XIdC1JZeDx25iwyYsZGYyR5FGt6Hfevf4WLiOIrCQE
Wfi7IWy1IxeF6e9X/PalYXUEDsqnTgwcoMrFMVJtGWIhlMr9GURtVuPLehwDrKCPv1/mW4HOg8kq
Tza5iUCqutw3m76KulyXU6TlJVRfFEAISgjhsNaG+4n32h5jWLiiv18V79qLqmW6LGQYvMkMHlCT
L8dOaY2QWVQi3YLNSbcxsNWn84N+h88R/xtFRxbxvlz2TwPcXujWb7sWqQH8hhUFqqvBcJfB7AOb
PNQ9CbSLeu7tADagx0v0d9jwnso3Zafs8MZcaW4Dfxin4nVHMO8mWkrLZMdlcUhCAL+QgMvuotIh
QqWkRWA+V7QET7gLrOW3pHQSwvWepkmFcSfZWQRE3pho/+tJY3BXP5kH+SDddGv86x6q/dktkOPT
Bt3r83xerzAtn7erEmSEfhpxMrKt3dBOpVUIF9zG2mBeb/GBxDQpgddAziu9yjXxgwfjs4LRYhkf
6pKu5w2RsvN2CbHFUefmnNAlG7z4Tt2Uh3DTlA/neAWLZ8THjlGUFsOinJsHfU4gbmYXH1XsxL2l
Lqt9TaNRdUmV8F4GJAk0etfBsUbA0bl0Wl34qQ5WTHfNfXpoFqBq6qOEmm/EL9VtCrt/KqFUoPWj
0QclAsfHPfkDe2lfvA6P4at6l6y8F0JzVNMSp9Z2chK35QE52EscL7r7/uR9Sgix1mRYHYwF+r01
bhOMoXFsN8iqMDzjQffJs7jtbrs/VAkpeA7NVxBA5PN/ZocKzsxn9B5ENGmKGxZODF1R/yDegiu7
4Faj1uYti2/mW/QuO+Kmg3orOgrzgrAlu1rkB+0hRhOh2COGXdWy2MsOoo1D/SgRzzxJJrHCono8
uxnCLZRDBF6VKML26V3gjOv0YbajmkZQeVvC2zJ34o05WvGufB1f+8fmY7jvbiU7OFFwtVuGbdHt
+HoDGskhTeAji3NqVTu8v2hCMzBQf8RFdvKPMHuMxh4xy4TlHFr1eRJ4DffiRnguHwAn0B1rq3pT
EyoDEo+akUYq57EjeIpMk/pU3Z5fhPvmNjnph36lbqAIps9JBNSDD7niiHvqRKxuxXBuvjb35xdg
MCC+Gf4xXDLjcIfwIbl5vledapnulE3+kd/IkMrPR/mhvK1O9V7YDhjVnO2pjt/mt8ifT9L8+WNi
MX30NpRfwXrGnoN+rU9DeLCeIdIZNINVWt4SjXWo7/NJEdYvJtGOvvhD1g0yAezGrcVg5bt3flzY
d5+f93eTigJaulOcyj/eE4fjZusdmm2xIiwrEJbqgMcnsxA93DAXkJnFq8Rale6kMYmPJTGEt1in
6TYLs/k5W4zqvK5eHyP1Kaf9eDT/VM8Ehb0VT7OdvI4eVBfrmV2ymeGVZRVvNS3wR969cTL38b1/
o9+q9JWJez2Qqyy0lgc1unpiuOhGfyaBjTOCTPeb1rfoYiaLjkCDHg+nv4D4a2uaC9jKn6m8e6HT
zFCWkwtXwEfPnNrjDDLV8MyexwghWH/rZltE4QjMzZfWPR/Vz9ku35cQqxua6pWD3Xj+R75JNv6J
7uORn8TImKGLKivHwn6cB6OFeh0u8rz+6A5+h4rMKfl2K2u2QDrraEvtNZTs5thCM+RkhJ5LQd85
ICJCc7M8z+MD2WjLxIo21Z25blNHfygO4z0xacUZ72o8vqFYZQ6iB2wceqt5HGqrvY/pBlG2GCgJ
1JlVeU54p2yAh++jl6omcovEWFt4BdbeqR8YkBxna4Qp+eT9qNVWfR8fsPKe0n43Z2Kr7wS0wPV9
uVAejUdxhwToHpRUWkqP50N+YzxqsPqHeeMIb5NEzv3s59HJ3wvraCXcqCsdtcJgJS/r5+do3SHI
6xCr+H+wUHhQFpOEwNsP/EEIzG7Kl/a+Xvh2bh21O2+ZrUaXMOtluSgX4665u3mSYeALcFXyN/+T
ZQ8KZnczSCsFIt/yvJFX2cbker4Tz4VNfDfpdn7fI78B3dMWaYLYgJrKGPUYF1vk2KlF2esRhmIE
iCvSc0nwTvzSBwaG7Eex2Qy0s0rC9lTi50Bl+vaDyMAGz79ZOK474TE874rwAFAfCu+92V+pT36q
9ZA3GBNjTZImvujXWq/P01bBUR6DFjgyotOuRutNJFaxWCVuio7o97fxU7GHwxzAOs02cpH+dm//
OfgY7bmpCiHKToRzOOx6awg1trYMD++/X+gSR+CtYxkN0Rl8SVZBzL4+VtHH56YtTIIVB94p2Oj5
CeJM8CYFBFWW95mYXQG6fnwyZCKaQdYTJOvLw6Ogx2ej7cPs1DoV+5r/coQsgoJwUm39/mw/X8ow
QEWnAZP/cgn+eYmaWoxFF3Gpzh5glLVbkdl/OCNM6q4VzD8UeAZNMgHQdzLxuTwp1rFQZGHIpUon
OEJtcqnl0E+TD3ryn3P7yqj9NBsnVj7QJoChpF3Cm0IXxrOuM9PTRlukW38vOr1VOfoNVReMzmvF
+fdjOLMEBQBwBxglgzYdF/55kekACuGlXA4vEyuwXyGrOgWqLjivcICvjNr0of+L8HHaEHiiiaZN
P0e/9NOV5SDPvT47nx50azc/3SJNtBe9vb3/vLn5X0wRmhUg9jgp0krWtIsn02K1jGRtTE84f1IP
ZvYkSqdjb5PC8/++hHy9lvL1LQZKUOi5yLXoRFLZKvCIpzlSu95BQBNsXJn+8je1AG9SFmlEiIDx
oG1/QfJ/hm1WJqaQmk2x1+4zFw3uejzgjkyxLOB5tqzWsDmWJAOtEEu7WOu4wk21rpHSzuakA4iH
kp+u1uYSuAWnh/wNZsGwEO+CFcG3+/5gLrMlOnFxZS79x9lmxilU2rFU3/WH+pmqft4+V2vow/wi
h5fY0rfY0yzku2rdH4ikCDiL3PgPhJwZL+UTnoBP3s68G+hbze4Qkm1lpGAKNhzFoic9BvHijhaW
sTJW7abEH0KAz7jXb/2dd8IR4DlcSEd1r+ApUC7lPagE9Wry6J28k5HOpefQPkK4WymrgcTZ4ait
/IW3lFbynjp4oe67Ixr8VfQorJjVaMlzeIft2tgWzkjPjM0kX3rLI5EgCNDypeLQwrZTTLjSZb4E
vpjX63SJydXy//4qf0rlKI639Lfmi3A3LvCimaRr23HBf+EGj+nSqynoJtBypTniAmov4rXpbxIo
lvIi3JKJ+9LfYIpgNfPKQaDoWpP9GfQa7CjaP3+e6U07FH/W28fibZKxHbGsQk5vYGaweDPtN2kV
U6wSmjRFXG1Cu1yq+4n6OC5MlPbaVmqQxMVYL7dAMiCuNt0OCVbL0nwuVbtYEpDj+pBGDXu2FRbq
icDv7XT2mc5RSJAdqP8bqFd4mMSvpGksZISYUAJWJM465VzfBovZJsNURXPLubiapl37PP0+ZLkn
fYtokt/LbLqCTP6wME5TfloadZ0myiVxv2uKrqzkDDuwYdfnJ7HYSc0WRnkL251WiLdux8PkGVur
d2FyDcebPuCLlevLxafN9p/vbcjO9TDmSsFLQlWiki7QGHctqu7EQKGG7O8cnBLxpONKZJKo29S5
VVTO78vnt87Afz76/76BSwO9qo7M1Kw8YoRKorJKRrCA2RXYAciCnJCsEVe2GCpWS8huq35gnXU2
HgwD3ytKKWZANKbogVdppUMqoDgGaG9xcQm8u3EkuxtOkz9bBMOxFu9G8e73m/8BnmH42D3pLAED
AYh+fYPp2ObmAGtl71PmE1+KvKs7u2P3KBWLSuNI5n96eImkwr0gHJVStXTT8cPbTHZaUiSu3MyP
wzm1VGnlmxhxX6DrWZ5BMepnyl1jC+tiH95MtiZuvunh/7b3wya5r66VET/sfYCtbEeTj/tEMPr6
/MmIW1YlsWJn0knAaMnfsVJ2xt40d4HyUZwxL783YLHoS0zlVY/g7uRFE0qYaNd2RvU7Ised8NRw
vXQJAeBU8fwzmcNybIWwKo19yMqfbUoOLD2uMN1xMLe1d2OEHy3GRsW5ZIRg5gUnEQOddoDYhI2e
Ia3N7FnOn0Xw8hzqOLm9Q4ZBibBuSkT33minKQSBXWm1C80L7VCKUVWZTqqcxuI21HcxaEQgsiAl
6rIb0kU5ghJ0f5Kz2yj7PFsJJd4lKNwK7w3n7LG/SbI/OYfgLuJzk0FkvLffp8P3phW76b8v5ALt
hQzmtUGl09vPZXxUfUvS8FHIYcgWeA7F+GARqt31sRtEt3pDWBaAfgE1DMXmLFqH4W2Jx3WA26yH
y1RCoDbxPq2k8jwgHDkGJpXoFiPsRwKBZM6sv9/+NHMu1yZZpclAv0g1SLr+Opyz+CwXxXDGMkx9
EoGOOur9oMUNpIIets458v1+vW8N7Wkd+veCF1M5pPSI9OmCovQgnsNVnctH8ZysFEO2w/wPCdBu
VJydrq7sUbhX2sJW5N5BjGVVBNJLau4OwzHxWyfDlWus3lpvq+L4B+kajRieh2M7TyPFicrGagRx
1Qz0H0DIBjKCrup8vtEJ/j6MJph8BgaCpcvuvEf7KWiCtNiPFA/yE4Eqs/qk4CgQNrc17nkGKyT9
TOhYh2h0pNkqRtLBbaMeVNdx+ZTHd4ZozRrgTvkT/iTzvbgywMpPH6yiCpMTJiJH9VK46nuDXGRp
d97LlbSg954ScJbrPZyB+3KIV/osXgM1Nyrh4UgE/hrHDdGqIy9cN8YHkjnHsnTJ23aq5oQW14Iq
504eheehmBsJOJepbkaj9Cwx/UgSRBsjCoVCmo86zk7Y9SwEACBJwc+eNk+ngyGAneaQKwTIqUN4
QgiedjejLmwimEC/zzZpWosvp7cC9Ykzs0A3/m+7/p/VShiioPRBFvbNmfuAUELjjKjuBcwX4lc9
mVxuW4j2IFJKvkpTZyR4gKQ2vFIw4yKZ1VvG16gKPyAasvzvPV18ck2jZ90QpMpd/yRBygCOWchP
rBc60pk9rlRwgYli8SnAMHV7R952EwFpbXENvcLa/XuK+e3tXHyL0izOmvMwZPuyTAD96JPL8CM8
Wm/R5MCdPpg1RPM4oPVeRKuQILJ29hyrz4W/zrv7MUzQ3aPlYT8u1obyXkdEtJmul2EeYjp1fT8j
vLZXofrAG6gTMms/k/iuLhdCgd+cls3NWf5QztAuFoE9DvLD2OEqYrROmuKn6K8jcdgEkbqp8pew
SUhfXxUeqm9+UNlT0KIeMqWe4hbsIMHhAWsxhdD3im6hnt9rAEXUDfMGN8gyrNz/v4l16eCsV/k5
his/7vHzi1FBPs6gWO+qF4Du0pXvdYxFre4t2cNsxep9h3eLk+zCa8zCHxegf+bSpR/zMBOSM/pl
HIIJhpsVNxCH8TOcebYY/ZHV82IuQnfBgBTmZ38e+DbnoGKAS9iLpjeGdtsaioVgZ2NosdNGmZ1q
R8/rryxB4o9L0P98hZe1p+Cl6ZArvKyYSFSnXgkABZhgRnaB9A1DIsj70sYvXEO0w8M1Qek3+tm0
SE9rH7IknCLZ6r5ucWIKJ2msi3SfN6KlQkMOOxinOPNLCt5qPs6Bbhec3a4lj9FblSlMAmNVGses
J2fUV+dee/SgFyQKIm5JvLJCsYf+tERNdB0D2hTmnRfLQVXJDZhNK+3BZklmLVZ8DGQLenfN4Ax8
F1idYmwarUpaapjASZYgnWROiJ8465uYlLVW1boROqrmUKwbcq+FW0xgewzdEKkLwdSkVdt59GQi
VZx8/2bGvFQOhrhKBlvHf0R/6dVFzoH1vKd1RZ+TEsVLrRqJgVjf+CyUtBmtUVmQiJNFDuRp0kdN
CvDOFp6TDXwSbqlyJdnNdSuC75TPiZkb4YCfHQ2w3MF+lqpMzHF/xFd2fub4GNsmNxohFpfrg0qy
IFWdKR6EBuK2JQ+LEJPCZBUf8pBvRxbAHe7Qi6nIk88nfyR7jehtK4a9Xrs4FZUNpgc7LyNCCfOu
te67Xm4LuN20bli4O/VdxPMycgt4fB9XloFrg3dxtKtlOBid0Yx7xgdZCAYnKnGw3rzDORjH/FP5
yfBIRIha2TzfcVCST/4BDlZDb3TOtC+x2out8fn32/oB4WTK/3dOmcLFESWuZnD/2qDcN9FaBQs3
Vfw2qber+tAi0GohQJkG/Wb/LlCGK1+7Pn1P33YVA89tBQqcAWT/9XsTQs7ZgZfn+yYO6OONiyah
8xVhpRpKNP5MDH3lzyh5GfEAUm7KmsC/Yp2g0otovGV2hK9YBbQyO0n+AJcRm6gZsa4+oZoY5MU3
4sw8FuW9mN7U5lwcCSpmh5H6e4xC6At+DGefjpPsJNG66JXNGeI+wtGh32qUj+NMXmYpmoam/OiD
GK9levt4J2rBKpep0PN8XuE6FVaNE1bxopxtIYp0UbREkUVYlqhasheuM114z4Wnc4jLF0eNGqW8
GmV7svRikTIjJoTEDJcTr700/CsePH9Lyt/e7sWMG8dcr88xM05aK5+BYrP58PHKyxlGUGRJdp9i
bZGoNkjzMrnB9rMD2Bu2GXAVkNsHJv209XBCAtzKlm23qvGRREXFyZWjEh5bJVvFEY6R5G+vnWL1
6ST0y62b08f0TzGmRsWgeHk97JPj7BDINm1qYtcZvAj3FJsGeeziC14v/RvJTU7qfMhJIJ8bK9qD
LdozvMTKjaRyLHDLeJ1huPnep3D5iGu20WXogiuhqzYW1VPjO6yJbfOJhkybo44KgbLAnEzHCA9Q
zlVzN/puNByjFS39iSaByixd4BNfaRbGvcJgjSgVMahe9tEiQaIGwZAwF1ohjaPPrHS2lNBKI69N
dtdaPD8d9cG4BVNQYH58M65PgoEgF70o976scBc3Xbeo5RfFexVJpf59mfhb+v87IEC/ik6itA6l
R5J0Sf46INU5jD2plsF40weqOUca6m3an5cJi6pUqNQK9yPOnufyI4TlXHdPJfbwOdCs7q3GblyG
BpWeIawnEnWLjzvZFPVgN21O+C4neA3alkY7svuYRcW8In65IRAJthq0wC7mM2UP9uCwaQoBI0ph
jaWHiO/GizykwaiqhXWS9K5c3dNj+3tqyHRKLMF0TA0vPqIYrbzbjbOXhE54L33IxqdOlDHMXGcc
iHvS5r+/rsuj8n/eFp5m9AU0xKYXG7U2S8csNdANnMV1LeAsp+54lmY2fUELNprfrzZ9x9/GRjFw
vp50h/Qhvo5N5KdeH6ZDtC1yW4bgJ+5w9J5Bd8k/akSC1zydvtVoPB2nfxk+EtML6u1FlZSVrRF0
ZpWdHhqcnMet5Ep/IFHDTGic4LZ9CZ+15VX/ncvj2XRRXiWGRei0KYAuKOPiWSqldiAUOdkCKy6b
fK4i7HxVH5thYUREAr5qijODpEGlpq1ujffZR4hO7ZP8LgoAAYtA355xeCNJGkbSeWDFxSRfWgbe
8vfR+LajIl3BWYluFwQ4mZbXxbLrJZLOUUQoyAgnGxbXU7P5M+ofuQk95kNp4o1mYicnHQEkf7/y
93mgymROTYMj0fH9i6f8s2jKJQhX6iXpqVlj2GDRwLCfsYu4Ag//MPzTZWRGAQY23jYX081XGiST
WiKjKDQJo6IBhWPEiK7wGPr4HkH1SruHMn8Ytcod68zlvM4nT+fFVJZjXl/51L6d23ndtJ1Be5mL
0Ji1CYP956mHIVSVRPLHG3SUJvVceoRtW5cnEy6NuogOvmLh/zv4TpvtfSrm4yg9a4Rfv8kcAkW3
D68clf8eEr5+jtyQbuJbNcmYvil4wizVmqQJpZ2SHtEW1tjQmMTEtE9xfgxxPFfdWnxTKFhS/SMr
94M/2uQpwbXPFqkczaOMalAo7wpq5NozTnEUz0WfxBk12LWqYAdNSlD3bKW0Ef/8Hhq4xcTbvsTO
YmSPPxcbrdAXeoHRyABtii5J9YK3opg9txGJGiBNWc0hPbDbLJ4bDQzG8JWodSvQ7UEtuYxwZXn6
huP9HSGDr0Imfhel7cV6kSa6mg+aMJD1saRu8JOllO17hupGH+fRu2RL2oaQBDOkme+l06atFE8Q
0gl3dGVc330cAJdyCJUXf1zpkR1HX900S/kKs/Nbxuh0n/Snp7mEERW9468zKRLk2B+CqtsJxI/3
sxclje4awV8BNUey0wu4mEToJN1hRDngaVZ9iGrN9UrTrrA0FpslHnRuFpBrJHxm1FbBubRJbNQg
DWUafk9J41RJsVW7Yatr7zQpVmqMsK32nbzaa16zFWb+sm62lfSG3ojki+ekzUgMTa1xUN4LxW10
3WnHXd68nit5WQb4UZvLPF60PezMMwF+aWwN2kdjZi9hIMxVBOZtkYIP4Q3E0S5yxBhT8Aq/I4mR
b+2okpzu/BQED78vRN8CGv++SWRkRDNylqYb//VNpmHXCG0rYzTOmJVi8jYIqKBgTuHn5c/KuzGr
KMJSux7Py7PoPwbgRiIeamG7S8qJ0fdAeMUpCPNVn8tz1kvLpID2m7szr11Td43wLB7GbBuq3TIT
h5vOXCY9xlfki7TDtT7GjysMkn4NXBC9DDGBX59GGM5qWwSRclOIuyDk6z3OsFVulx3LiTSX5VWM
bBiH6c5R8V+Jbd+D5DyX2n3xnEm2cV7Rgbnygr/vhmT04kMHXMnhiU7X11sCr9E7IdClncGU06fy
snuOWzdT37Lu1IvB/+HsvHYb17I0/EQEmMOtSCpLlmzLZfuGcGTOmU8/H6uBmSq5YGO6D04D1eU2
JXJz77X+9QfHREfdKQ9+NWvX7vugsHX5LqfhsUQ4ZDQC5F0I1uj4lnhU8mX/e1/AVeplJj5Bnsdq
mR8GNw+t+wF44fvP/1tjdbVHQoIizBdqzVy+XpWTmdJk5RSjcuxQIxj6R1FTeYcdFvA9PfGiNGSc
3au+WUwpRAMlqBddED8OshOl6sKyLhJ/PyowBxtePgOL67TbKOqH6jW4Kb5b/UfIRmJSriv0h1qL
MxOZKoWMXE+PV1OYbqxyWmvZZ5Zny7qUW1uePjTU9UIiH+gRewN0w/C9tZYPZy8QV4pJ/kY/+//e
qPJbJ4srH39RHMG+vy//qh0QgM4ANIZmFjvR38+1anqp8vU5kElNlgY+gV6yHVJxDbMdAuqT14qu
FXcOMWNJbv5wkkrXTZfEEWrShgP9s0+TAvn3xaU4MXxf7pM9hQvMat7XlrdOXsnDKodXms44eK65
3fhSyDdg30n8w0nxmwL397Lg8nhTWsBv1Hvq1UkhlYU4jZWK+Z3v4po3hzGSU89BntpjOAe1bYp4
KZCShfPK6AZPzXCX6O/MmFm+UbvzkD1uzFVPGDCkfDRoToN/N5M//JoBpNtVuDNu5MyNlEUfO+XR
isGS9x6vLozMwmnw9kdyjcZbX/aYjoSOWqwhfYpvGpCyv2qStf5GCekjmyge+sAVukvaIfu0VnF9
0B5QZJvtksTWkljq2g4kW8lWdbcqCR1+quBwKLAdflgwvxWxX26ZicqIDQHi2PVUTtamtu0TMdmD
LNz0GIUBPtw0+JCNMNamE/Ntclpm3j9GcLhwwQFd8AYs/EWJZ1biZL9JROla4s8+2XjzvxCd+Yfo
L/cGOjQJGLH9NntywezGjFnf4Jm1ujXct9OvX9hexSdzgWfU8QWICt4YFieQlJOtuZz/jH00bOYL
7GQ8OpnNfoDo7Rgq2S8vx9llKlh8fr5/f0u+VsGwsFQDaaeODPZL7xWSg2fWsZnuQ3ElktgtOLrw
gcCsEjdxjb7y8v3lvuDqaOeYmKFixZ0UJ57rNWtVZtCkReXtg8pwZqdXoQerNG869aH1RCckOhDV
lhPozGQTC5nlcrCeTKNbJuG9Amopi2y45BZ090XMRIB46iqj4Gif5Uz44diQ5nP378VC5LCkiip9
CUy163NZnLpGJrdTOuG5jPFK6PZvIDrJUtzrv+iKvr8zLMF/XA59739Uvtymq4MTHqAgR8WQ7L0M
b8/qsdLC85jtLL8mMvrcCKvYItS2fRD5wpytWbeVMtEdRqqcQnAVbHK7bFgPuLVZPW8tp5E5HRDS
+T4B3n22GpmF+xl8IO8+yJXbUlM2QiC68Dg3KkfjKCEpHBy//kzrZ8X47b+RMLnop3JJz2+LuWnD
ooD4vgqxvkz818LCIo/jROkAqvNbSUD9i6xV7NhuSxvkcOoYCCpnGXPhQv3w6bSbaR2g0Qi9fZLK
a0vHS3vEoVEk7KXh7GXAVUSvkXURyurUKrClhJOVWIeymRZhpm3zKHWrwG1ApQT9obGqfR+QQDiR
LzPgp4kZbwihv8mIw0Ov7TN1Z3qN0s0uUmGJCHzRUHsONVYv5mhXzUeWfpplviF91R3ibVicK+lF
MzDyvCTyM9JDnCQANzWQgXQlyRcPa0cchxBpZFsTVzsqCUXp2SCpsRF9GojnfDm0tZn6LnKChrCn
M6zpZWVbNrhifSQqtnPoXYK0swdZXkzdoWgU10CyA+4BBltBz9cyZaVo9y0PtRLJKjVFWCAGfmag
PdRzxbnNsD+Nh9uG1IBQgcehfBRi6oqVSEODJq9TBXhOkL9CKPCb3Bw+SiXGsqeAwo93nIFSI/sk
OVufiNIJh+0I3lpL+DfGP2Cq+tcVrcx4NSxujRbh2rRHDAJBrWtjJoqjsuLJmPVK91fGWP8XrypE
gVk6ikmzwlT678PYkPJMrXEIQmamrzw8FT+wa32DnfLDW/qfl/5qU+C0RUPNV8K8Sr+aAEz5gEGM
0E6HsjjhWkzRVE4LC/G3aasVuPRN+WDt2gsDQZLA8mzX5+jJhr1EEvVOLt67/AmQPgP+Ju8XZ3da
jkNksN7XlfUiZiuM1QbkRuDHxNVcCFDUCkchVTFd6sR3DS9KSrW8jWikgkOSP+WfZrpGk+oDqZbE
gF6KcQfTgQjyMSA+5H1ACRVs8mSTPcn4CR0wyo6CUzA9lMoOUCjXfrG1sunjdNNXJwn/5bss36TP
ZnWkSGCn8IanOL9PoZKoT9RRw5YMR8QdeUsWU8aRCWlIw2foLso/cOQqzt50ivV1qp9k69i+xJoT
5B9MKcboIV/F3kJ4Gvs7obod9X1NhGe/LtB74KhzAQmjb3Uj0q8qmDpuKS8CZgWkb4Fl88IlO/T9
kYl0dRnhalY5HYljh5BdbME7JSh2I9+p2lYtXPl1EJ8ngqahcRYvXX/GnygnO0lkDgLuu4AWWD3m
mVtCR9CxZmFUdEYBodd259sebNH6Eufn0Tx0yUZDySJc/Ppe5WMYlZ1ekPEoboOmDNXWDSYW3Z3J
D4fHITtaoDrjabAD6wRDpanfxvLeIPokX+tPuCyTnC6Jz1m90DnMVqV6CLL9YO5z4yCF61J3zelX
UO4Cmjfh3YpcbK2DDIN9N++WIbZCbyTPBZvUc6SbmhCcAMdUXHWq8P1HLeo/jj2ECQScihzSWB1c
taNiE6uVPkjZfW+j+KupaUpHW3HQwtH+4cz7ukHwDs0E0lmXQJb61aUKRuJ6ShAvqgt1m93PRggE
9rwypHLHx9mebjs8yIvPH646t0t/v8JcC4SFFFu0A+hD/94s8ilG6mwGsGJ1vK2tC+MS3uSp1zGT
OMt1sOzke11+mGOxo3sG/99f/h/tPi4a6G3YPOhJ9d8ek39AcJMnaxgeiDUmvepADo2xjDbBKRwc
lQp8051Ik5/ERcvMZNNy/zf4Qyhbw1WoF6Eqt8t5qr4s96zUdbRlNkeLGv76/jP+A7W0TIQ3GMvR
wDNqvNrlRC808PJBfcMJj+iTjB7XnPPyHDgYaPHGXbz0l/oPDc0/VgNLwDI4KUCvuT1/P5e2b4TB
l/LiUIPVqBpmfsVHROxP85OT3W8bg79WAJRPkVIU6x59XnxXX08pmiDLjEjZY2B3a0EIKiB9nuKE
TJSxd/P6ImoOvA9NsJX1mDzwP6jdTZPBmASkFt/KZNcy81TXur+pA+Sa3REX1g77n5GxZuS1CzgD
CZE8GrMX9SbFNTxeReZZzvdBsbWYr9TE1Sh3KSyJ91J4ZxfNzPtceJdJrRE2HXld+YKUeuUiXdrs
oL8q+jHOHzkDsLJO3nRaFraq7HEc3zVCn+CGDZDHifMhIZygmwJYDJs7m42mr++aj/TOIy8ovIlY
P/neeGf+Jki72NhmwbZocc53BGy78g0yO/5fzbgNm52nbrQeDauw0BlhjluFWMpWdlVCJwUM8/aN
v8WBryP8Q11IhLiRlpcvBXwBIDtHC1lhsPvTpODLvoQnBOOamXMmzhkpV8vDG3WjiIaGYDIQBvUj
L1aKRPHjbxkWldKJfNqY4dj3L8IXThkSo5lWiUieeQpGS1cXNYpRlrPW7PYN8omInmipfiaV2+ir
NloRzbitDMiIkG0sw5GtjVAcR7q6bTauyE/C4Dr7odIho/x697r6RFegR573Yll7WndohtxJ/Hxp
dt1G1Ek32g2wkcYEwKOKXIq5qoqXcVbSWkdAIt4q56fCyOMhvtfeXRLdT+K+rp9FM1hrcGVbSsc6
e8P2onroQIzaATA31O0pph4VPyfcMcU2W3hG7Y5G71g4inFaBXlkm8l94X1oA0codl/B1BAgiIE8
fmhKw2jzuZFR+EikkMYjGMM+a1QXRmKcYzadfibTXWMNWMXeWQ1Y683QK47RSYuCWGYMjzTgTKVF
9TcPP7UPq+32WURPHDhGeQaCQcMeczSmnN+1gEBYTHZ6EK9GbZtKBmPnR3GE7Vxe6HKdGBZEB52k
HBcSvvZNuFOQLIiSExXTp6FDimhFOyvJ50pXg/YxJp9R1W8MVHrobvpocnFc20iT4kTRA+ejmaGW
no6tZcdV6Kpm75SqvpEDdSXwO1WoyKlXEmyMsieyXFo/JyWuMER+P9/KdF0pzUI2L8Ow79lBMAPB
U9eD4X0bqaITtMMZytQiVd48lARyZm5Ei7xtXEi6dWcxS8/Hm7jfVyJC8Oiz07FRYIIRgUY1fNoq
1GyNNnCS2mNti/ode66bj3A0JcnJYWd0w7P22SjnlCcVtjw5Y1sIzBAyKO6D3WmEuEEiS6RVFQw4
b8dtu1ZB2UQ9s8NYW2avckMiJ+ao9SVkZB/sevmuLlh3UHIUod0o+C3IdyVCDG+6xZbIVtCxtI9B
fPQE/Y7CUCc+7TRhUiBQPuOi7wwhzO6FR6YalJ58KeG2SUwTniRZs26QV/CtvGA+HVPyX8uNZ77m
5tpv8Y8PznImOSWS1NKe2gYK5MdshemxSaTCpnzq0VyM7313ypls6nVGxOXkjk279bBajnHHtdS7
ovzIqh7vRJRGcON9Qjbx51RbCLSAOsRC1cqSC/V5hmL/LTXxvR+GlTIi2qLSrPcFQ6FG1pZp2rpT
XK1Q9tnxyNB+uhMDdMvEtcoFXp/Togn9X5ZSEWRMvtQzcz+7npStOU5wB7GAEmpH6F1F+GVOd4J5
Z+UyAUCEbeqvNWVlolEL6ocwuK9CHsal6YT3sTNRuhAyQZCxT6qWQgYBbHOtW4jFXpXLhembcz7O
etL7QyB6bPSsGWVpEYGgVnurrlcD2g+D76M32OfpETG4ijOvrFTEMtggJlF/lvlFcrEXfSLVgOvo
8jOR/jd9z6elEqxz7ohnbZKStwTUoO6znSa2tsnbHGfmyivrvand9SMRiPqjEuwQkmj6IwHVeEYe
S2yyNKN2pP5Vn42Hj5FfLWWJwFcfQ1mTz1BD+w+NPekWT5J040dPEryz8ldFLzL4ynJWLuht6oxz
mnIkOxqsy+Koy/1t1SoL0dtG5ZvUvbbDnSBlW8xWoKpgqZ/vW9NJ9GQdoavvOBd9Gev54iQnby3J
ZGBNIXT5MHpTCSY0Di068qzplrX/qZsYK++7KHQymgt4zVICg7a908LQCRmeiwP7KOxcOXsO2d3S
+hDjK5xJht2RXtMXNe8VkgS1dBhX3STNm+Q9hHysqSbzVzJW2ei7dbPVre0oombDSDtVtYtMNTEF
7TppznjTLH1w2myeRfQSdIlVahHi1Dxq7FGa4po1+5E5LCZxwnhWJVbnrUruhvIYC0SmWJhepPWm
57lL5Yc+hacuxkDIOBu1to7891CEn4NNdBrg6y7fSWKH1cHRKjon5X3prXjvazeBl7lCdJR5TgkJ
Qw94Os8bGgzrqfiwcJpg3YXZ5OgFVDR9WUdPOBHZev9hQPfhqLSUkVzG8VjDw6zWXLHD0aQrF+q4
6Io5bi5FniH49QY3JENjxtA9FIisLKoZtrx52VstAwsvdg26uoRqoCWdCU6LoRxkJeANeI4I4x6p
SPLyRlIhu0hnUwx2aHBWoPqbHolMprx0emQLI6A0K131dLfIrXXL7Gw0zwH1FeeEDy+CVOFmu2zE
kQN1PwgPoY5zBsekQUwOtyCdGhaVsJnniIYYLj2ShLvpsZqLwKaTV1Ek3vr8zBjHdiobruW/REbl
guwjquLFrsXtKA+n1ABLCICddW0rlr86JqJ8L0VB4GjozE1NOxiyV5Xz2mDUDWOAVLfsh6pHmjug
q/pYAffkjkgQ/DHj+rsSD0vJSr2JKc5QuaoBhuFG0kJGUqiutWiLWURS7IJwq49v35dbX1z+5nIL
ZBiZtQhDhwnz3xdOpSDVYkOZ9rOfbN9dgp67neO8MQORzGtLYR31lzqYnmNOXOigxfZHU9Hf5Jgv
396kK+U1QY91rW2I42Rs9FgiGk9wDY/93Z4cw5uD2ZslGiLvPNvOlCt4f/3R9FyffE9CMtmhNExP
k10MGqgd4Mm1TwxlcNWo3tIOtwwCQHj9gxReu+52t6TNLvVy6T8kF//1+9v4mzTz3TeYoeY/WkzF
CORS8SnvCDKU+pUOehqBbdh19pERlGhuSNSUhT2qYwqeakltG5xYzVRAXup6n7xqJsMNhobD1tyE
wpoE7li5VcCjIXZrzKhdqrG0Q+KKh3QaYwGxHWKbcsY/69LSl5yCiJaj9Ul43aCdG+WxlykjV2Z6
MGBYYCRGNAjZuQxYXgvthwr5a+86r6E/Ht91yS4ndZ1EpYiRtKsCTkEPfks2xpvsP0bCizk4mjsb
oclT7mBNTC1p/tDHSr/b4y/331KYq+DwwDt01V/mkSd6iW/JexBhoJqEuM14zVYbDpeYISH5Drgp
KQ8NMZ0V0qtjIb8G0i0cQKU7hRrGVKtQxnoox8bY2Jat0+36j/zQTU4vL5m14oOfH3jzs1fFYUcp
vYdmcjCcvO/w5FzEJBR7DhwZAZeUNZO6EN73yjPgqrr5gRFeUWwbjaP+RlePUXqQ2ajhVLcFxE95
J6OcdZs13S+/szPPvXBbdMuhDxcV4GFW78bGieltTrSozZqzoCMzFkkYvsuEbIMIhhu5mQOxkqNv
kdy6VjRHFZ7wtZCsPTXSmNzHwyf7f9WvVc/xohsY6/2uXLP4kDOthxeimSWM/7VVsyrxJsNyhYwJ
eadKdqEues8pG2o4LCzqbgHLu2ERPeVL2JTDk7jD+wdgFZuh5rb7wLhvh0YMmkh2EBpiuXnWYbFV
6524prQ0szVU/IkCs1800i6lvV+24mKdqzdj4VrSLjm0+VqG0k/qqBG8c+pMeGRtdXMmAi1EGmrQ
uclJX/HtolqtmyNh3emPzqdfmTbzgv5jNc279R9vcxEqtdqFvrzPgDp9XtoM90GppLCp4nIH9I8+
c/wsJ3OpaEjPx9BRcOgkA9obtZ1YDdUC3qWTV+bSSrq94FWgl6QwjZgHisN6GoONESjbwoif4hZr
AqVYa7LwwlmGyhR/IuOsaNJj2+abqLN2UZY7VqA+JFHhhln2pAvBTjOKt3yI1/1E2naX3ildQuzZ
IJ8tQT2miuU2IQVyJ92bnXAsxo84Dm+asl5m1r0aMXEN+DQdKHmx9VFSQMccknPrIVAUy0WeVDsT
uZGVj/CZX9HqrrSYZZJgPMM0Y+QNT0k2lPDEMjFjrJNbRYbcFjuT1LticimNcueVW24XZcVAWwz7
JPHPncUawL1MiIKtrwxb7AYP3OO1yTjKH61jAwbdRdBn6RSkbZo9DxNbRjHj9YtA7exqPOO2eJHF
nueO3AbUqPEPgiBuBG1ZqsaN3hA1XTOMUD5KxKkpQEvJ1xHJHtGrJxBPjNsjLJ7iik5Z5BGU+XEW
78XcV1XL7WoCk5rLC7JG+zJzvWjp+bxh5snz9VNcMy0e06UmlXdqRNs7E4tJk65p943qJu+QEabB
L6PyT0Ut0gkijLjMI97uU5zkm06s0Oy1BzELfmnDxOmVmedB2oF/FAtfqxUXYBCxsUEgNQkFatfi
tlDcBdLy+4OKUFPW7nc75dWB37dKZXpKIO8RTe6tZX8rkftE1Je/lDobn7FBXOJ01xwS5RR2b359
UtMj2PcAa30pXhLi7onyNo5hDiiPJ7NtvbaEXRPKRJtqntBYSrcQ5bobgYCuYRE1d0N3NCSbp8tW
yj4a57eCRcSuv+0KRD7HLl9D748DuPKmNu/F7JfqsDXKapG38APnedwyj1b+2R/OLRr4PDoN8kWj
HBj2pXLXWw/mxspABtchOoVOwxXBldg9fcZfiXwxwCvCeMF+PGw7qvZ8n+TrKFwG2rM/+xbcK7hE
RCvL9TsE3vSgTiRdNPXAz06MhobbHg6BCnWKX+P43doIz62xYiAR9r/EeFlNa/80KnvtgduzY2mB
6XU965KMu1XgMzd+ndUcr2B+uOxhQaHgrp3ltxoGthJ1761onpOkQlCumA8zrggGOEUP4HlTfx/K
roYWXD/56SFND/P+N++vqnjbtTd+vumiB6Fzq2KZkLMH/QF3vAiamYbIfCEMW/4O63FTe864FfQg
fUtRfzKoF+J7eMaMe7L0teT9xIiY09mheSjztR9i2oBs9LVARuLfGeTe3xT92kwOdXyfa8RHLxWi
2M1l/Vq/sgt/v0DVf6Ftf+69V9Sxro0jWWpFbT/FjGyDl4ohUZEEa0P/7KV1y4i1KlLGfhtNuNdD
ohKnTT8JtG71ezTjf+pq5bWj7aOfFJHoGhw3MfScKloy+xnku6C4V8/+Mp9u5fOYkMyDSoPTzRse
wKPsVjpLcL3KadPER1F/KeZupGINGg8daN333/WLYG4uvjVJ1BFdz67y6tV3jZUcn+9UkvZZuwo0
VKsTIqDZPzahy2qb53QsbM/rsPdv74pYeB2rcK8/IVV2OP1l9cPLnifjhETnoKccoGP9VimdnSjx
bVPkx76abgt6oe8/tDkfftcbyJ8f+rrUHSezx/xKZpri32LlaJr2XMaKa0nYiiLLxw7waanX838j
RjkS5pwP7hhsJWMb6AdQANP/EGA2sz8S+iGsKWDrVWM9NfF54Jg3+AHvtg3fpPkP3XsgX8xioZLR
vcsk2iLQgVXRMH19VrFjQIseuZOKKU65x7NeLtaT5gDWy90JjiEASbsoBuqW/qlktsDTjO9EyuY8
PdDgxKVbK5eywE2TGWWAFmGt9g8AHVN3jl+Zbg6GOw2PEr43EtvXD/j6jBt/vZEqmnuFlke5dibT
zawALwkZTVuXsp8VGKhJpODn/gp66w+XumK6tHIRNdGo88zYF9cYFgoPen0TfqTb3F+SOeqtQAoo
ZJsl2Krw2u2j1jZ8x0Qltu4MAp38IzXdq7+VmdUs5XGTQN1tsVigpQoIhWWn7/TzsNNm4yUvYnSl
PYtPzH4B4cKPCAtBXsoFQ755yBNuMLkb+HXinfnubcKNtWLYth7WcF2SERIuP5Gs4puJTUvdBtFa
iuzslzAAEaJiXfhbiy2QotSt5WOC66KGHaJx38o31KPqinBtW5RfDIUdcJXpttdSAK30kTx1Bw7c
p+S5uLus5GJVHBQ08oKN7EV7GO9QRiWQjRYk6fyyGD4Lq9pYmsD8xj1//P4l+q1m/ubZ61f9PiR5
cajSrt77DxIYnd09prfji/7A60tbmIVO/DK96c/G23hElPGEg+X0Wj4bvzy8Jl9Lxh/IZt/ax+wl
ePn9t/1je1d9mL+8X+UTMG22SD5QinEcma8KppvTi/kr/BG0+EJl+719/e8CvmZm9EI9qHVu4O4q
rTBKb6MPhr8LI4IWqhLHZB2q8VLqB0+4fCYhFbtV2ixvpbR7/Tn2NgNQ4w+39d970/99ovnv/yjc
tdbq27ryMTelzfPiYuOVcC6sZqk32V0qJPTNmGBSnyfNsBKtY84Ar2rOGuWfIUirRPdQ2A8HX2Ty
px3zQ9zFR22sOvBqDkHII9WE9edIOhMZTWR6MrRJG8ie6bOmPklZv26okFts8D192k450ah+s2l9
ZVurgJVNvm7yy/df+Stn7uohXNVzQhF3E3xkbY/p0mLMPhV2VrR80llfyCJ2rhzvnvxDLuU/ARu8
+SxSjSFJA979fZ+tdMyUVKdBUrNkbQjDRwgrLcgarIQp50EplwUAnQqpJS6ZLJWxYeMKbwtxPXve
QBoDpwNBXFZyQ0M6LrsgPUNsu+FYq2RozkxyFExbqhTuoQEwEnYXK1RgxTEN1BunUHBLsWDMiPWF
iIKV3wMRafVrFuL5a2niupUnF9HdT7d6vpdf3to/vvYV0FFZ5tQkY67uVeNRhyzXaQ9DLbtj2SA4
xMnHk0CkxxtYPUGtXZRyPI4T8yg0DoYIRRw/qrQ6hZwptOUgrAUwaWcp2142V1gRLVs8SYUW259h
Ljaf8/YeZMUtshiGC19axJ0CCm/4LEkvNdBkB4du2A9MS4BdtQpqGQyb1H82RyaOeeXCM1by0UaE
sDAr36kMvE/VuwS+cif2buYRfobeNyzXtUifupnYcysXQLYx7FhbQ4nEokdzqzVKkdguyMsd7MjH
B8iZ/+gB0Nlx7MJThCfF2MyYbDTRYA8e3uYaNdUK9VKqbfQKCaQ7NMt55IhPWnCecOQ193082krd
3oZWwFDy3E3tRsj33z+x39KH7x7Y9ei27+OqFit1n8HoGY1u7WfjbVAsemmTZzB7Ovh80Lkk49Lw
+T3aU3UkmYYJvEWiaj88VwYUsxGjVmnbTlu/Ohv9njzqjlsTNsK697JNUj2o8V6st+n0KOUY5kTU
4Oivd6mfQRAokHcRW5DJtjE9lvDEvv+Kv1+1777iFRFvGFQ/zAh12z8Wm1c2qA3qCibPx5thcUs0
cIAvNVlgv/+VFvmW859/iBlefNBro4nkx5oFzsvkAT+9SK64b+8xpCWPEtL05UL0h4MJ7VrAvpE0
xkWyej8/14vDjg7OTVY4PdsZLCX6gcVP1fF1o4oXJ2WxSuoHVEYCg65qlqyvI78hOnBfVm/hdA7a
owwJL7yVkgdMFL6/i1+sr+DRKtJMvoLZT7bVtftIYPqK4elauNeqDZSoEp3wqDGi/ZCTByXX8ZZ7
kMMzALqTD4RgMucvJssOs9qu1EfYp8OI8JokElmY8/JS2wpPPRlRMWGnFWZEuokx9llof6ggrw/g
358aUpVlyUSpQvr8extWQ8usa70O9z0lVjf+0tPXQX9KmVpWyhkhlaZ0P7xR1zXr9RWvcVa/Uupa
KyLSYew633F3InktSAdRvP3hicy9z5/rer4SYmEiUbBeRUl0tddCLbBCWcuVk0BSa++2F19zqldV
oGFzoO904KBEUOfLcUebK+l2vzNt/0FZPJh0De/ff5gvmby/G7WZlYWE2fzqWlePdT9EwDb78Ggi
WZ5FvSQhMZxVJkzpI9GDAnC2QC2L5Jx0y9HfhhDtXf8QHacXAz8sd/hQ+k3d7KRxSycv1FgQaqvS
3/vl1ujZNknxdAvM1MOTjP3OD+vky3hpvpmGymuE8JZawLzaB4OwCjpNyRT0FhYqRmMNA2P5lm+8
3Z34+v29+mLP+PtaEIZ0/iORVnh1Lb/XkroXuRb0gWk5bdItkeZ2Ey4rqE7rZBeB0DvCNlxGiz0D
m9VFIBJeNRbjrbUpIrLj0lfjh1X7VeJJkWTCZhJVOMtM2a72kr5XxiGu5eweAZ4TnRhm3zc3Jann
oX0z7Dv8TlQbGewv38WO1LFWxXZM7WCn7tR1t8pwAO4XiGZC5/tb9eWx4AOOTI6IVeiJEv9e9f9e
nZteSgm1r4uH/4CwQnqWulmPn8lPTWUX8YM/ffyc6/K1H2ToN3tv48AA2era+DGQ+75OU7W40YRl
hHlJidp2ob0Zj8o6eTXvs5HjfAP33cDTtVl8/63/gXqgP2ZfR6MtkY51XTyyeQbjEJbRvraOhZ84
AjqyIKtv9djVekjcxYZ4tY1lCUupveskA2FPEp1LRgRG/KHSvBsZdhrNq4KGOPA/ZxoaGJFQXUz1
/0un5978+Umv9iDVL2rK+wSXw9Fl+9cI+/PPUvHy/Q253lNZBTo51VBjZVLe0eb/vYunaSQmRcEq
AJDm4ZfmSVAPKU4QEyLs7y91fWDMlwLntuBhqlxQvCoWokI1YlXr4llCZ/yOsBx7hpSBmxWrUL0w
3P3+ev/oThSdqS49AsTb+ftdfbcc5keOemUPTYqRwVmdLmJ3KAN36BkF9BfWuPiTz8A/XitOcpzK
ZeRO1hzy8/dF+0KyqjCCMQHtLKyXzDV4uSqTvgSSvoN6zgBLQAPn/3B3vyoUeatmQI+FTYCacR3m
leuT4o+GGu1hN6Ne0Qr4zAw/mp1QrFg5aojH04GJACG+XvuphDsRn4fv7/jXxTR/BAN3B8IG2Ouu
SgIzmSqmLTEWA0wSQkTJa/k993HTOX9/nX/eZCLirNlJQhexN/j7JlfqFBOgraSzh0iLrthwyA+z
WLWQQ6DGydD0NNzTg7M0/HTp68oQDbykY2FBcABBQ2AKf1860wwIiD2rWJbP+nSJi89WOVgREVvt
WSpXs6+Icgn77TwRUhNGkOqlzs8DK33OUuuy6Yd7/vWt4vPwSeA348uIZf3fnyccxqj2SyLzNHNj
4PLlPakpyOihor1Kxm1euD/c+/kX/lkbUaDyGuNvoqOJVSXzaoE3lS41MbOQPZ6WsHLLWY+Svubi
ziiXY7+ckNK3w0M0rP6b60Ll51jnGWjK1TMXAiscBWiix8a8hCY6NIgyGcOjsbzo4aUbD1OBh1lI
WEX8w1FpyP/4ymRRIl4QZ1KyfnVpU5A0Lp0O9464epjZE3RSoj0gO16M9uNhOT5A34d3JTuIzWa3
lw3ocE5WjmtdrDPOqYtyziXJ3KcoWymrvbhcbG3789N0nfV2WF3svfz45OIRctq7i1Wa2Hv3xb4T
nE8m7QsYt9/fya+afZ7gn1/naiMuatiLaSemeyN66WsQDx0r87yxraqaQRBd/tQmvK2M8cY0YvaS
uZoviLqt1coWBFgvGtM17U5JcazXnwohWn7/AX8Tjv5cYpwSKjR9i02bI1q/JlRgZxznula3l8rR
V73bnKobHPwe05dqcwPpdRnjsi5tzRsy1z9zEAgb8pej3EQ2YTUrhYydn4Rg/9F3f/eR5iXyB7hn
iQKHvyI0p6YDckz656kvD80kHRP1Ni0Vd/LrFw3UR+zKdYcmCzhl3VefBpQcdpJFLYmLysgeozoC
iq5OzCyzjLgfg2AY+ZnIxdwvEXAWl0j/6KHPyMgmE04NxCpBdsmss5Q/BxPgYJg6E745PLl4GDak
TQX5/1B2Zk2Nqm3b/kVUAWHcZQ4JiXGImh1KbQXCmBDC8Ou/A79nozu9qq23XD0sbQVu7uEazsES
KrYZNPPQLaE77B3l4Vls78Ga22Z8fb1cKBItOjdp0d8f62jsW8x46T1dAVdAVewOWvxVSLj6UBId
kTNQUCBvza/BjO0L7LSLsKDxMS5BeWYNYFUsvHDe0hU77ncsmCgZolR2kxlL0ICA6r+6s+iVVQ5k
5eyIYw+oMgRYK3T44rSIxaaNl9flqju1lqgd/RqLLYP60TCO6+6IOqsUnhpBAyCa27Ece6Yk2MX5
RdU+5ezLNEt4MzRaj/THuRoKIORiC6nZtAjw5XbXjkgkcKf0DdRJslv15eohqaVpONwAn74I6t31
GsNuMgGCXPfIfANPLhpItFC1BNAnYBtKHE2wGMCN6XLCCvC4P/YTf4h2fN51GqYFUog+nYE52NEV
TmGaAWERZIr/xZtmnmhXfg3qEyRLaLaxEj82jb7E3K+r3ubHX8QNhLf9vGteEM0EiGBJiMyJSCnE
n2WO31kqndbj6OtcNO584bxROw3YIWEqf1YLExNa/AFQ90PBfDFmYSJH5Sl2GyO1RUifvYBpyOLk
abpwEIuBmp5fg9IlnPucrjMy4QKbbtLP/qk9fiQlQAqtZ/lD7k/rrUiTS6Gh3MiSbYC80WeSXBIm
inNNGt9oDwLvs5nozGQus3xdoj9qolopptOd2OIJIZ5cMIbWZCDI2IOFfZIXgg0WMkoRDz5JORif
FrTzadtOAC9xfGpn7dmrCsSMZrshwLSt7lFNsWNN3vQa715PFPx+R/YhuoxJ1YTpBRURSYLVEvfB
OYe2l48PLA8Ce7jBu3LYNJNtSoOtQtY4X89bJY4u197vTWldLyb/KOmNnUJSFnDL1jyxx1wVFPlJ
lWy5bSyU4zG2vB4QPG9TyUoSzc0updM2kycN58gweq9XnzSgRFjH5fQb8z1JgGy8wfgbag1IvgK7
IarHjZE/obReEEfPuivaGQM3OXZTNQ5z4lFAJhUz+Iqbsto8SdfSKwqOk+O4a3JplVUXF2WUq9Lc
T/oElnB47y8+FzZTegvjB/j1s1H4cvpGH88pTydgficoO5hrNMC4Yfsm032qQR1ElHTyT4unfkIz
WCycdqyDBfqhmZz6DdpLI+2oRRHCE15eoS0u0u1iMh71K6vTwAwxpctGzfJ6pAvUEbRWCccB2qOn
48rEtur4TmqLn5ibGvVqoTPNdbcvK2QxQfgTf15ETrMxG70YelKnoaivJnY5YBSvZ75aRWjv2I14
Wk/TCM8I97t6sqpTqHYA7jtfpJc0VJdNUep+t8AI24yqMwyuva6EEhIcSiU6XSOt6msO58q61rin
qZEi7TNJsgoeIb9AViiwf0S0l4BUO1VOUmb2UVACGtU4vgLQPe4XGDleTsjCAcY91e36TJmWhsG8
R+j8q/EKRlcaUSH6Wgw1BScA1old8yI6+ObC5Y2c0uK6qr7TIOhM4Cla1JfbBKhvia9rt4mRMh2F
L1b1KUOgrc+35aladUd9l6v3197pE/zXFipGfOKyzqelIIPtkIy7yTxRm496HBKKJ7FUnxXliSAf
NgmC8gligPSaTzCQroruXRbjWyl2ewypOksoqg9l+ErHFiWkz9bofUFTWN27FhA/8sCdQMFBkKCd
GJZ0bMMiUd2hWqfXx1HP5sS/xteYV6H3+nOeK54ovRvJyTnqMjL8utWUojPPnal6U8TkK40xZs7u
jkfls+Sdi9MiigkpCgGwSaat9QzgCj+s6Q45pZZ4/LyC7b2mF7/ulFctORz11MkyeAbYyVX34jnM
xv25N6C6UbXChiwvQX/p0QDEq01PyyMvVc32HYTkuAA+RbzP25rXBhc0QAVdO6cAms10xStas2fS
/mKISk6uU9x7kpauKKOi97B86DGwMQ2StPDCyZGwJFBcXKbXw1DB7jMfjzClr2mMvlUewYL2L8zg
6XLopEuI/BtnlAlcEpzyNX1ShD5sQSgJp9HJUK1WzTToO+mXAKE/nnTHlguUmzi6VdM9XVfmMflS
myk8QUIdxQnNnTE4JxcHwZ2gO7PYamBvV0F4nXqgs9PCRp9AVV+7xewZQlNr8WR+jpJkY4Et9XMt
fF7/bT48mCw0dUJuiRGfb9csc4+Wi6NX46NWXSLzUZd6lmnpqk7dTI5o5J+pJrxWbefOoTNQaMc8
xTSQYlsBYKF4KbQETc+DKT2+ZccpmK7JqzQXOtXUOY0YpEvynYYwUS0VVkuVFE4DBTGwruUXSKKc
tTsU2ecPIeJcnfozHsNwDJt2kL/okZnf2fBv8VjdZEOPXkf/1Cw1/3iXbMqN4Zvb1MueaNnRc4CC
ZbWhELwbywod1rspBMG4FD347st2Ka6a3fjcv1efi+W/7+w7yb25M84IAJwcU6Ih3xYAdAgmsiZw
Z/IuPhi70x7j4p2MM88YNOuLd143y9qfVtfn1BlwuLRs9+rmS8OtcOuIPUJa/+y2L/quXjebeg1Y
jx7uDzmjYc5J2u1N0uNAEhM3H1DLNxlN02VVjXXO8NQ4UQmM0lIqHzqTaR0OinsYXRRs17ppIcyG
IYH3siLKvMLP8/PJrpvNi7Y7g7PbV6hSWxcHzExq8zkQsw/CWngs7MZBjyKEMPey0txfsXu09y+n
/cV5WeXWznT2hJ+gF91qjX2Bf7QD52lcPj04zh5jVR8P0sTfthYegF6kWlG0PXreQXopN6blLZz3
5VKwvffJyVZb2RY+TtZWjN41KcrAUNydNltz9Xiy62ip2V51t90+muA9Bqvwloj7UHtBxMc7vxbO
0Xl8r163gOUt1pPl5ZsIVW2Lq3sRCGBPQBkbKgBUIMrWNRILAHPmv1n6x6HfHHiL1guSrxa82JeL
04W/emu32kexjxbUR3Rdv/C56EW241B9OT96Sy/1lo/5apm4U7D0TlzSrK0IyT/ONXAx4Kv5YVs1
2HovLy8ndxUZ/ssCkLSzAgPj9UxnGg8vpbVip4LAsv5FX+yrt+g8rF4mptULSvk2plCrXWUHyAuJ
zkOgLn8JTlC5YUwb7QHZKveropz8JK8eegthkCWEB0i1UBetdrRqEDQ299Ba209gL6X/uIWRvu9d
yE32geggOkjW472yvL/Hb9b3vKh8k7x3xc6sx8TNGEjT27bRtt+88zSoxOAKmL5icey/17yQ+/Ua
KSTLv7sfrEcPTDeWy9DNr050iP3DYR5aRGFRIrOKR+4iD7zoUCwhBS5jX0LewlcE7qREf4M6erQf
feZSUPi7+r1bQdN7CoIVUxHJKTty9qvE2TEcV8yPD/QMmTMuvxjn923hPYr2i97N2fuXaNNzXh6g
D22jiHHdmct2tb92FmCliMtEqU18Yz3CbCT3xIb30Lsmw0W60TFiJ4TiqAFcPngxpz2uVNATrRfN
PxjhVrPfl8U2sTweTbnct5UPpXg0bP1lftRt5WzvlbslOdxWcFPnsXDurc+ac72zP8R6JxUOdDHA
+jCg3sTGKo72MxgLp7Jcf41hmvPZ8QSbgesuWDDWBdaQf8ex5bq2kz711tdoBYntPkv+Xb5cf/Aj
Gvf5uLGUB9fd5Y7rnl13+sIP5gWW7/YZt7TWISamr5Us6ccmd8c3clDKD9bz62UPioDKBR5WPmTV
+7UQUZ8fXeUFBDKqJX7xRiBhby52GASGvQuebPf7K/SyQze/WgYmEi6/8aRvdJ8+kjv3bL1dd2Hu
fWG1uiPHtVfqMgjWleUvJqtYXXFwe602b9f78CHgxexfkk20b5zdl/20YQVos6rWfegWmuXG1jHg
SLLbzlcuoTvgm2tvTAOX2ZA205ZijWmtlYXdWG/WuHyrH+3awRv2KzQCLbM2YGWt4YlfxHqC84QC
w9OmXTYW15ATnln70NmXrMVodesN3wqiyO7I3+3VryB4OFoh8bkVhD0rzFrYsRXKDj/tYQwCkd39
rv4gb7Padfq21n3Jxlt4c95z14vDmXb4kvT3YZ09Gp31Sr9/fOGB4EfCikDDyetf3Hp5RkL6joQM
Ft7rEfip1UDEdGJSFcsVPePBDQvX2e3FEDy55Tw8bVz5pX+RPya75fiwz2/tMg1w7K2sUOFxdWgF
prU5W7IHjT15DXkiik27X/8+CJEQ+fuQQTMPMr0BM0aS1JuaSVKqcn0eiuFpL+9eomj5yA649SIA
cZO1j6D9vSg79QEan4YwW7IHW+/KYcT285hY/idCjMXXR44bHuqH1jq583X7k+zA8ZbLT79YSQd/
3kgK59Hgp3YbtpI39qftcsAE+u7uXtj4H/46vb+78z1pdf9hrdXQXZc4wrvPG7cI6JsPoAfIbyiT
Y7m3400+VBGkVruDlx0cMfL5ofImibeVRAqnsy4loYtO/dq49TsZpjQZTtWYPvHUiJXS080xE+f8
fannYwAKzdVWiPe8w2HK+MTLy7z7HgDwvLfw9X2wFO/Lx6XxWtqL++u8OKEqCt7ZPZf4Er7l9mfq
lBQgTz4OJlbq4GFx5wLyceKO2R8DyViE9WOIHl1qcX5kHg/NlmMLIYJSDjNvRw5CjJTdvaGPssRs
eyfOQnT96pfmrgbvRY5WRe390swfyspz2fyPgASnVR0S5uxRrKKXclNV1pPFebh0eHqpZW11yrNZ
E2AeV/+ekn9NSC4yT0jiMg0dGvmm5Vkgzn2WdZp/HWblyYbLID9rikt0gMCv/ftat3V5oivavTJX
pE9BI++myCp3C72P2xJwTig2mMZWT/HVrcxZ9kjBkU384XJzn+5m/EwMXcGqIKy9QO6Zr/8WDw/C
Ke1jjKjWjfEuFjMNyjOprOGp9sOF5O8+3Z+XQidL1nFko9UEfHh+lb9digRHzjKQ+4/Sg+yLvnEY
Q54xnI2zT1+4r3zJ/vyZYimH1bIiPNd8w0fwZ1lTvyVcDw1//tXwd/NDw4sUtFbIWZtvlFDm2+aP
Mbx+zF6p80ePH7fiF8sjP6xZLrz547xMgiT4/38zfIJRxZd9gmsPYsn/vo2zNqQoxzeULgF3EGNu
OgQkX0QBYH5n29BsKXGodd73+fWBc/Hbwu899C/43PyRLRf8q8ZtPUjZ4IqH4P76jP5H/Et3kbnq
+NLCFw5UhF4Q6uFbQRcTy7drfsiuxo2Mf6C6OjA29X9/4qRwDnBO9bCG6bycfET2BJ8E2xF8eQ3A
BwdwGdYZ+b8vBtWh8Qsf7eQAErhP5BY0vhzg8uNwCAdgQLyR72Nn5/sxXPfEQHwG48pGGqQ+Efj9
T5o99ND+nGfs5CjpaKxTydBFnR7+ny8/Fq4nRBIL8UkGfPXYeIt3gKnmeVddqfPOCGYJwuubEp6w
YY9px4U4cqGU0/zKw1whSbWkJpiFWp9VwMZwvjjMCq8QthLOFc3W2MPrOV+gsvjktqmKlAX1AsoZ
6NxCuUa/zkbMAt8LuvJ9b8kw9qtQQHY18eWdsYGepzeWtDVhmAfIFoCBGzfAwwf10LAjdnd0JNFE
qAhG4V2NvBhKNQjkouVw18m+BE1rmY+PRyPsQYqnQSnsxz6g/ANlJ8FYDSEwNDr1IEMesqIcSDUM
/5nRkRO3ckFapQpIjdWIT6ESQf8Y36ud+nSsnMtBR/prKz7CpUYldYGyonPOAwCAMCcNM9JkBM2g
IgDgtNttnWOQTEman2s1hjv7tRsIJ/oCNFFwnOiJuBXygUWoGMinPk1TRN0jiz2gk0O+Oqk+/BzY
iyouTY75Sgltlkegi2Jra9ShL7gfuDLufomNf1BiWNfPAQbK81mxWnSodxAQ0jE8hleA9TlOYEFP
7dAEIhnmpkf9E1VBu3gqrsGuxzvzeaqozh/0n3bPb/TJb5vM/+YZ/dWFATSF/v2f8wz8lZ5kuZhF
cVRuqq1BFoFMXCStTk/SaniWVl00/x9vL4ViSspvuHowLc+tM0Z1WD8dt8KmejbWJbE2sUMDvX8t
r6HcNDTcjOdLRM1PXlVhgmU57sT4FyfrYm/u+vWIIJ+nBQtmwANTanVcU0xsVxCoFkvxfthqrZVG
ydYMxfXpwbzTNsIqG61ydSEcXw9biqIr5P7aH8EMc0r+54iwGnXa3bS9FVUxbrZdU8+oYFd5Ei22
kmnFu0ZAQSDs9gptHagbL/UbInytGCFmEMZRika8Y0QGN2uSVsURSJsTjjHTelrqkI2B0YIpCfRA
eUMuw1z2+/TuhGvLRs2sMmij9IHqdSTdg9OANUzM0OwREdpna+NhCs/7bn3eNOx4cDpsbZt+xWvz
voPauMujJDqvYpyb40DbYimDDGC/zu7gw2tGUNwnd8joxQ/SbvLTfc9fGbXdccOwr0Hpn8G42M1g
KSsI0dR2t0zy959cjG8ZtswtyVSw7OacnEMB+WYPW6jyqcmLEyVBIqzWQjqLHE+zqYVvYFi/8OmI
FHiy7h89VEOsd4TQkl8fn+vK3dgfaztxCJomG38g+9nXSG2Q5SZGgqVGYB4UtumQYYcR8pzWSnDA
pxJhfS1+OIa/UVK30+G3h7jtkSq1jJNC3A4ROTTmYjhJr7al+y5QDSEvCTtrf7TD9earsskFV0q4
V8lTU5uvt9bn3foZJ2yKIUScs+U81XKv8Gb9YwTQ3coisrSL79LIbHNdWM9wTnk4yOIELoPv8tgD
CZyMcHEGRPdFt/ZPT9Qdvhr7K7Z/alh/SzDcPqshIhShoaEn/TX1peys4RDVTeuD1NnD1ZafFmog
QWqEFhuzwXvnTxkzMGSnfhpm/abO+D1XYD+a6PSi+k1f+mYfaqHw9mMyzvbujr4Vrr72lpyt/nAq
3OLDeMNzBxs+9IOu28QVNomrrkwPYhoNyiSKnWalPIoPZmRsZT3o1tXm5A1+ueWsQPhohxjBRloa
uyu6dGcn3RUh+jHOCXAicpt4KLwVwbChvp1vFfpfUeZc/eQu3RgfNd4l8T1UZ5sNiMMhEn4ALUoz
VOevIZ9BTDz8DKW52X+Pkza116GbVovFPU3ouXmi3qVbqQxQJm53x/L9/xQuM86YKGGZQw4AowO9
tz/HGXHzASWiU7VuJAf5KIAlYJjKyj6dad4exuD/fjWyDECIui6L+u3TneGEjCcFgb6pCy/DEJSE
AHodCg1qVo3kIXh/FD7/fcn/mMSoyokG5H48FP8WWazAhNXx4ggF+BKqWRVhggJaiR7ygPCJqgUY
jFgi8mdtGVVYqPbFTu1+AC+pN1nWPMpYRZkLEHGQZ8RbT7kKCe5OEaUaQZsdMBqhwGb0uIjmxn2+
M/L6M+nFL4r3NFbCi4TSKrLw14Nc6HZcl+4owJ5KwlOcW8MiOueNj3GJO8Fxh8E/TaXboLHcP6kY
VusoUw1Newdw2Wqz/D6RFW/IBzfla7H0NAI2GQ64BKSaY6LynFzRC1JhA/bJWmjdq3ZYdJ/59ITa
S1r4KjU/Od/RvpLb0kmn7oe0UPr7aMULHdVimKOoYOr6zYHQSZpUNaPCgo2OIIcDFO+36VZZautk
mTxyOi21IJMspuL9vyfFTdY2v48/LnyzuxyRwkZhQRRXnOR0By9gDBjx7gfXHUn+azFzGcxyUfdh
yoMr/XNx9VOhy7hATBjUhV37ISS+iA/giE5VSJWMlxGvpEV4/EkZ5Tsk+X0TQfwduwaoDawyAwnO
m0V9KabBSESjeyRPDNUPKrikdwp/r5bd28KTHNmtnMqTUXGek775d3znyNVKX58TJZjvruJoywxF
k/njHGSfObmbjmSJ6oqvkHwt1U30pbztvctXuayXAtmCXztHt/Qqn1ourgKV320nV3QU7+g2fu71
wbgCd/KePxMaaYc+hKHnTq+pf1rBNfH+/YZvYZlY0M1jwJmF1juRrHYzt4aLIndpi1LVSYSCn5GW
ow4IvwBtCm4Vq4Wi/0yTJ3YfCQvLvDioHYae2M2Wcm3/X+8FkCAoQYgN7H0afi1/zoNhVKpEpbG3
GsrUE5SvHEWKITfgeyEmkr4t1AOs1nN6XOcILcLZRavjLSllT/0RzHe7EWGq+ced3I6K3OrGMUkh
QRZoRtNUNQQvpv97ot9UFAeU4av+c0RzySwBOykdyisEq6OOJNQPi/8WDcdtgOrTKHOg+r9gndy0
wq5Idi26zJRXJqnrkWoxlTJmX2xIVnpE4SF1+mMHgfdkD4Js15fXshCtHCKpkPmJWNuXFhOIeLKO
wseZcj3UQOvfr+1WA/R7CkH80+E1cIL8pS80SYM2zXh2uoc9uh0OCJ4sD4xpqZmbQrbADI3aaixd
msuVEDZrFAggv8u6LSdoBZ/cgtx8cHrcQlrHYNLFeCrM4j+AFE0KK5dVus07qOwW1rw8k+xdVsUz
chQFgjrIP1UBRdgEzW3DPmEys4DtjAJinR9O6xOVlFBWbEQjdQR0TbgwltTdLzAkEO3ugVq5lIQD
Fjo41aKJtToWs6GsTuaeQLn49zD9VZqYV9rvw3Qzp7CZmAR2cmndrIUtKRkQq7ryB/MJpeUSeFdZ
r1QKpZ3NeCgnSIXf+tP7Kl9ThSipURyd6YEvp6Yv4yGTumDwjuB8YWQZjEUA1PRLvj7V8A2pdFAX
oh2kO2daM5Q43H7435DmPbA+ikcLokRk4Tw8kdfl6CXYh+mz0u/5awFCi0Mme0ZDXAMFwUaXUEhC
PGz8SJDgzRx1xJiKlr8ticvsVQ/VeCNg9piik+TGRqACJJ61h2x1X192lYuiTtK5qoR/iwX99ieq
yE0p8//PP5n9QlxAFDHFm4FVc2EhSGZf4v7uxv2TNiqz6cIRpDPwjf5zOLr/fpO3VtN/XfAm+MQs
4pKOOk7KZzlFGodKBcXvmv2yljrnyJpb4FxEP8LNaVuPeu3lp8NJ+zXhctjHWTAhlgHqjrYBruqI
+OjN079vEO+SmxP1e64ZxMUq2wbFsJuD+9xdy0nQUzhYVmeX1l5/mG1lYG/awFWQ0Ja8y3Ju2+rf
Pc65NXreznkm+rqO5Ahzx9nHT9dprZn7c3TgI9ADTFxI6mAXEre0jxjQkJfatQ2l0tE3upvZyh3Z
tjW50G/DAQJR65wc1MydwZVI0rKIrzqK03lIWnmgipz51Kso/Cz4gCVms7+535RKu7dBe7gyKObe
/noIaWjtwRrbLY3ixMu+P9IwECeHstAYpLuELI++iP3vcdRu4595GDXKyJyPqC6Ti/95IIkJiLhL
a8aP+xWALxqyOk1j/eWyRnzUFt0XclndOtCOP0BwjCaveZwbvJOzZTDfD3MPffs480gv1vOFNkdD
zaxeGtbzSEn3tL665d2wb5dvT91StakufLd7Vjvn30+BXuF/zAZwyhRnpLmg8P313yriVY548vVo
Xh9Fn+jGRlRnmW2S+2qphAi/uoWHXnZwpA6NJOyydhFmOpw9wUN8yJur1rJvRM1S8ipvjnyuq5Nf
uqVb8f8nP17mfh4BvIjyqPIgKXnoCviqp3pXPMPZDbzMvwbgheZ/On+i845vUKqpFrIzOwiDBvob
4sBsFUdXitBKpXqs2oVbe4tPfmd+1B6pLPHS+XBEkY2eUOr/MEC38fX8mn8fn5u4Q9G7QhnNY7VR
h9XQhcdLdBFWSozy8SGLA73yjwiTARGgfXv0rsozNlEANifxp6N+vs5tPAqNUmVrUAhAbikEiX6Z
xFQ1ro8EFcpwAADXvUmPLf0yNCPwX1nRc6wvPjt0auNj5SsgJnSqyDiL/8SK/I65/7oXiulYBuNJ
SvLx59RvkwWU33xEouY8LSU9tmQc/bSMU2Q4XAfRH6XXCZeYqj555wzMJCJ51+tnejZWKZuf3FNM
z3eF/FjGSwniQ16IXpcf2JfnPfIsPB5b3xA+R2Fw27i3iw6Z9vn7ps/TUK1GPXfG4vhDVv1fu6JO
f5PGEL1NWbx9pkzK+cFmLa1ln3hX8xrOxszBbVF8ykMcmzI/X3br6735pXhSiQCUJVbYF7ndHdR1
/Qcg1i0XdD5F/ribm1NEA1EsCp3SIbz0eRGiUtEcMXfN2CHc/rYsykuroKkgTG+CelrX4GezTXaB
tkP1v2OOEtLIJ+yPmB7lEqhok0H+xlcSex2OZoiRIuo1GpYtPyyX/zhvdWXurmDZyjy93RUnvDq0
XE8vT8lXAjIrdo3GnrwtKnGrDl9I06Htew3RCH697JrIBGv17xv4j+VKv3KGr+kwnWT9hsZVJ1lh
tIZebDRg3jGF8LiJKiokQoIg8k9cru+m681CmANbnIsVrgqT6c+FgJNyGxt1K60xtSMmmz4WqJWG
yl4FH/QA1juGdb1k8rBCsUMMwacClu1Ku1vWiSMG3Ur8IZD8r2n8+x0pN5Sq3phO5z5Ny01WfU11
7anmU9ohCsL6STgP9UrB+6DAvUb3r6RIY1CVnxq7CHZXc7hRTvdC9jGXNTrhVSUobp6qof5hdn+n
JX8MGyS7mcLKXraA+LW4DcrGs7wYO3ncUPr1hdoaXbBHyzOAvJ4q9ghcrFi2xBLD6rjN3cU6XxF3
bEe328tEJ1CwHUjGDh04+3inenAN+IziSg4KceiX840ZifbczQSZ7F4O4xII6joGQ7Np7qnpl69J
Y4nrJsycXzOv+eL8+tIC9W2kxgk42D5GPy6Lv07Z+YmN2fwRqhvCAzfT0kjls3iR+vg+22d7HYM2
AqPgGlIiWJUP/14Bt6qyc26qcZSDj4QTi53zTXyHMOKx6cpS25zgCqTIrtJiXMnwNBJE+UPak7EZ
kvDjoLGk5yaOS2g//fmH8+oWQPN9F1CAZrI0Thh/lSnbuqt1NVHNx3Q5ee2GVEP+HJDB3ny42WuK
CdQdi3MAkrQyf9jKv6fPzfRiiKmG4Yhnwnq7WZWaml6qbhCmdTxdH5SMF15nTqOlb2LZrITqoGjI
7RQ06UXk1y7i7pQD4tFkT4IDkJhg09iy1N45o1wdY0xwheU9G6Tp01O5EMNsKFwlP1Sgs6E4cPqC
oe4umLX1ppvJRZDkZVQDS/z3W/17YUuSzk4z99FgEEJ3/nOrubSLOrmc6xF5jNSqmzv9vNNo6max
SIv5UGSkULMi5akP4DaU3TIpsMZydCB7p690eG8BAaoaEolpJCFZI/+kbvd3rWi+PzKKhc7kY9LN
B8NvcWSmyODnq+t4N5TbUYJa6Quqvzg9J8kyxyRI6amaWoPkG6fXqX6fuq3MIvxhjOaZffviKQ4j
6MHMR63hZubLiiBUgniNIy26ONVjHrAXRNX2gquMXR8oldtJhAT2BuHJlNcamHeJI6yT5+nXv29E
mQOg2xuBPg3WYNaN4Hb+HIy2M0ttvEriGrGHp0veviV47DRalPZICeEpUsas+6SNJqw703R7LRFA
6aQVbJlAGdAQr6+hruCpk11elaT/yIbzWlpQHJHRkMuSX4uz+iJVlCYz/CfIv4cxwPIZ0odyF2fT
i1iM0RG4QapiKbEY7o519a6rWJVfChRA8HpNpqesvGJ4nC1bsdhVavamS8//HgPqpP8xCBpQ8lln
RZ2hUX8OQjZU4JmUK0LNQn13bYawaA497GpozsVHJiG5o36eezRHR31FygxRo7DruF1de8C3C3I3
+rx4Zcy0VHQVcI4tzMnu8OodRYApcYGH7OWVqNMR289qvCynJA/SNhrQaysJAFCrqJoAbNHqrAMc
EHGhOslULkEQnunrGoUza3ZuEXSVaSofIwO+oDoCCVWPnorxnUayhl7nFdzHRc9AqF7cCSmFc4ut
lIzDGWWgCYc4cByFNrgCVbShOGIHkkNxeTXrUKatJxjSGgrC3sCwRKExo0tWJn+gllNjXzR+k2WA
8JHgmGcQJU5LUC+Tyxq8IlQz2tzzmlhzFpdhnZp1dJKz5zEDcJ0C8D1xuJttHFXxydEuR2cQpFBE
+e86Hi7Yx0+GnSfWoCE+nY3BUOJ3ZOSO0VKyFO4y/CdOF1CqeCBNzZd2oliDfFMFmxN75aNs52gO
L6brSoKb1VGePk3RFZCfbJliifwy5Epd8jMJM2xxo3VnNHgXoV7d9er7CNK0qnIHJp4tKKDq688T
VAxBBYVSotJFzQ8lXwFlExlJ7fM5lBCNFXHraiBGgVMq7xcLhPOPfiftIW7ZZj7b6y28ViRguSB8
hvcMbGbEgTpsBq6BUhYbCbCxpsOYOk53iSLYPcI2FYLcQJO05RHjlo4GyEI9/wRr+K9VboqA5ZCE
oB932yJIByk+Jnl8WXclc+FCkFEgfKsG9fQmQVLMa0RrmbHSyVPFbW0irKhQPawdo/7pTubN/3a/
Ac+GdoKk0vG87UBOcnWuqTMR9eKnk6KOq1AUZDqEF0xg0MdEQ2FE2rYVXo2j+sOu+1fEz8ZPaw5c
nYhbMQiPP5e5dO6Rkj02dOL2x7s8hNyKutBjAzTJ/feOoij/sb+Tmummjm4T9e5bXGImTelgCCqh
G74GpLZJtWoggF1ADSGFjbv4w0BHRvdacuGsChK8kfTllV1lJhdHCxxhqaZqK0Su+a8Cq4+lyIv0
kmDLmx9yPJ1xtWw/YtBNnd8YOFSCNAKmhLvfsJKohghrDS8ZBdoWGAJ9KXZeGz+KpqdkXtfH1jje
N+ZeWlAtXuAq5pw4b6Vpc9SDgfPW7KJrHFTVtlFIa91F4gwvuFH9KgGyQFfOn5S79GifXswnIFXp
M+oTinN5x2qxc6HsX5DGEkKoHLNxUIwZGkxKtIHuj2xtrasbPgvLQBC8xt3oUTe3ybQ1cGgV87AH
pSvtlBKOGjceaZMNV/pcPWZZMIBnO72l7JK4Cypv57N/Pft99V5ovqn6eb5KBrwV7NM3+G1sD43p
XU1PPVNcAEdGl9uVghbmZ3W90453lfiegkasg1haXSW71OykeauhOkAdFD4x9UFsuiiinr0KlNn1
EWcRmfNLeq9TtGd99QQoQ1oJ8SpD5rYKxsFXeY8SVDI5YP8CfohVuYSJAOipxfn/EXZWS46rWRZ+
IkWI4VYWmCmdeKOoJDGznn4+1cRc9OmJ7qisrEqwLYv+vdde8CSvJs1uhyK80/dJsYvjs4VEW3F6
Mq57r8CSGmVFe9RDnPVQ3TrWn+hXbOlxULEU+1oDoN6gprafixPRGJ5EmPir8h6Fe1RrMVFH+h4z
crz/xOSCxzMfuvUoTNeUXAkql7QJhU3avnLsJdVRUJQd48aLeG751SKRR/XT7iyRQLA4ynBKNISu
rqruejgo76tbZmmbz3KyPn+oPMsE88ReW7zJskvuBKaUWenGTPZMR3xIz5l21skUw97RkWbfJD8Y
e8cRC21bhlX3MsCkR9vcHKxzoe5ATGD96eUxxlKCFXT0houF8zQIwTbUmF5sBEoBQkFXze0hXYX2
cPr2RKKtfonmHgl6Rixag/mwLUGgVnfoaSCOmvFLW3pG5BnxIxzcqHJRxTfJRiw2MpzGIn102CZT
1EU6dsV7M8VseX4b57eWlQ2QO5jeou7K8eED/9ZSIVdw0wZoP1q4bafQxIAPuuVmtAZXQH6ly9Ap
+ZG5SXBIXF7pnLF8zJl/0sblDgX6yNobqkeI10XxRE2gCK7FMIkpCBK65Clo3Fl15eCikCP/Uk1O
P8IjEs9Beam4RgK3zXDtxWkk20eY4QNM5A0d0b5KtyrUInJBIsAn+WGOT6PyPTe82V20XAIJdbAz
RndIA3xk+kFWNgg4ismJ30dkl8Qucz9xknGrGzYfcgqMHx/i9mCG773pVYiXzJcAqBv2i3YmGaLo
nXZBoaGdFqI+lfkHtrSfxr0fNIcQZhBhX+RGYMM+bBth29KmtNpJnI6l9NwYLmpX8r4AlzEm7s4N
oc3C8l+6uf+nlIMITt/BDFiDg/6PUi6KIL0YY6EgIccz08t+p1+qrEz+LwPnf38ZGY8S/I4wQcNg
659E+jYP1bII0/ZUqUiX4NQF/U1nv5vXMv9vDcsKz//rkslKwlgSwA+cSDP+0U8Z8yJKTdN0x3af
ZB9yRHLCBhtprAgJ7vjPC9e/r5DgYNgaaQxAdYk57b+ukCHEFCnsSuUkkFbzgq893hjQ2y9SuJH+
G+lL/Sf5iek0sAoDL0hJwMTSP7AVBmFmF+ObcTB14upRdI0RklnIzcVAeHJBj5oOjlnh+z9CpZhU
9jGJW9VGASREkIvvUK3rtipfs/FPGX6RqzJbyFOSl1SAzIKuJSbMT5s/GuqqevnI9duM1UAiEhZT
xY7ZfzfJlxX9xtljMQG6SirlfvD/8w5VtL/eXv84fCAquCcxuFAV1fwHoDJjJrvgzb0ci0GBdUzx
Z5r7vL4aOhcfvc5UCLegGQ5EOz4aQX0WLuX4J5G7pzwbWZpSPGMjf7FIJ4l7OxZYqBlgDT+F9rUm
II5aygKS7sopuipiciJCG8n7bx9hNhLRqvUbZaw3+Yx4tGf2D8Rgrv0WCexRjfXGXGLJANbH7urE
fhu241kwt+Vw0TBPUIQ/Yy18MOFNZOulmJSLUOIuOKsie5lJXPOQzadev1ll7cOloIfAKFIo7hkc
dKGD9lUK20DBKUoYIbQxZCyZYA8NMXolCDzOvwd5TAljiEdX76XtQIrl0p/H0HqSzauiCacK3f2u
wp6C3dNYUNsVO6yBOtLqWk0Vi+x7/oqz/02pxAP3x20Gv6bP8BuuYyRn07USx+8wCU6aepco12FA
RPW8kYSBYLv9AOU9DOa9yanBTbwAc+TtTIqyj1lnpAKr84EoKRwgM/1qFJOP4aeuHlpFBEANn5YJ
jXwSnnStd/M/WccWTOah6d/k7o+4irPj1xgPYFUenhoRkZzyW07BH0XQD1kr4z9Ax51of6IJYSPD
XpJdFyv19fRHM/9wmkjPjO+Xoya9kJtFq8SWqOBCGL8QqSNxbAQi2OTHUmu2bhKgw+LQGbwaioEJ
YbCIGZl8SvNv1AJy8xLEtzY8tdU9ZMIbqm+K9ZVzECuB5gpVlDmGrlgzUDXf9C50CShRWCoH4zsq
EN7KzT3SU38Jh2OqD2/a+NqRR2601zhp7RElgV49CaaA30rlq1j3EboGdL5VQPKC4xgclokhyAOe
o611AQG/X72ENmTZwQXFx4vgW9z3LVohjRVcil+LgVOMmAFB8bO4wOEFJoOOTWJ+VGcB8aBqE6fg
Q2ODlzpTNgiuuFCR5pYvxeJ2CJI38iUOjUpEYuiNBs7+J4PwSzHtrkv8J2/irbB6ApVSfKgXeVPk
Xk6CaRvQ6bH4dfxdL7Xl2jW7JhG3mk5a27TNrF1PpUZ3PZbdFgDtLIhX1Ypwpy92efcloM2ecavG
0qauPplZY/W0U/qnZtIcgctAmwo310VHThcXq4O9FFtukVPIMNYnjy+vCTCoMwXhQPPWLQuGMuE1
5rZGSxDLlJsGy2pWIZLEdSUxug2BeBtLr3dhc8wgyehYU8jLH8UexVM9M6zleo4GDEXwXuQm6wxf
c/Fd42rUBKRU5mel1bAzRTCJry2DCJz974ZOzhPVWkMaImlGYvVSY3En6rcwSp/S2HCqHpsQcdjk
AW40Qr5N8VyX59HvBD9BkpGW5bYIPtaAWgF+t1k7HQmqZvCykhRHvPoHrH6Mhcg0hPZLUbqhaXrj
6MGZ240a+a2zb6WHoWfijq40wZxyHtWN0Q80IhCS+nOnjQ9IRLsQZkhUUpRG+8i8x8otMmN/yaWX
XMbbpsJyQ/6huYkDVJml7GRCZEvWvo9gn1gkcb029XNEbMEy7sb0aT1/xXBwuGhRSHhaWTux9bQM
EWkjNKjFn5FwmaR8NotgF0nqCYLfm1wzNbVUD//5QtJvg9z+5lJ8lK0aQxbO51Tb53Hr5tVDy38a
UmXi/MomFjNWKGT+NtZXFeys+deUTw3IMhZMTqpmhwkJu5n6OS5NKXqbSsydEPRkJnmzWS8VZnfG
WgXPm0qAIISJkvENM32jdqLT5uZTnMTbSh130jhtU4Gov2WwB6E+lFZMHwm1oJDsDgp1QRknd+gA
cuJqtN2Edr6tXSv5oNBH/Z7IIKDG8yD1WyJU32OlxJGIdKvZTRPjWCnKwSy1QxH8kcx0pytbwj1l
05vFR6ULJ4skJ/iHI95aBV5H5cDFKx6F6HkiM9bgvI+Joi1FA5zMHzHYFhfNTY2KREzIg9BxCnXZ
piX/IqwigauFKx9gooPxCGtfVmLkIyoUtwtQVeyXenaS2prQ6N1kfFncGRKCIkRx1w0pIZxfYvEU
W6mnGM19mJXD1Lw1Y+y3oeTV2WtWE8EUIPnFvGnIH9qYHPR2Pk25ZA+4m88uVxm3VPRLyuxiVdMu
ONJ1qR8FrHEjHIkUrbZ8b0G++uKIKf1OrJ6tgQubq+itmM8FjYhEiFmMxHIyoGaibhryZ7nptgr2
Um0iHVQtvC/NgjV+/Ymy5jIuflChg1doC41sQyc+CQ1KDcV6laDjCK3xIhUqyywHUfIFBSIKlKdO
Vo9UukryNKfXRWo/tPK1kRcWqa1ddZPTEDlsUIjDgQU7uwyBYdgC62/NuhJKmiNyaHDVP8reBEIf
TJAcnnI5hb126vYwkN97XMqaV534gS4+N3p0m6r6WYl6ArMQ8RHuVMym2/CsmoZerfNNOXbRmkUh
4ioJKyAgyLE8J5NF/JSySWrgVH45G5ENduNhyPBKNupjm16DDGQ4ePSRtZsmzKDSfL8AfNTVcZD3
UkFq54AZUeDpTQrS2LkyOEmRG47aQNMaYkdCva9GRAPGZNpxgwN34YX1Scek+yxR8mRTtjer6him
fkhewRiML0acbA1mTyYO/plVnVqmr3PH0a+hCJBA2547FbMjfNhIC5JTqCDlZ5UdqwueUWPVXUa8
9bu3SdpmZujHyr3Lajxo0P+IHYI4zIuihyzQd84Ms4KA6kT3426+5NMuK84qriPM5pPBlfszaz2h
aRvyQTExrdVLNr5j4iYWL6xEyfRadsRJlni795Unr0gRdkh1zs1NexWTc9QQ4AUSiy2Mk1esUmJu
k/u+bStvUrdz8qVnnzJETx0nKHO+jdEpYXln3JoKLXFqV7OntxPJRI0x2pCXfRsinW4t16xrAOUJ
HsOK+TJZikNAjxCZAmuJdQD5IkKsOZb0I5U1PwQ8UDNPjRDgta9wTeZu8dXKERPyb1sRCbpO7pHo
GFq1NbrLtDq1lU/VxLqlboaRPOvqV8gmytYnIzvEurRZWvmePuaB5Ufz5tpy0gbI3YLOhZVwEIlu
FGFUKOhuo1F1CF95DPg+cveMQZVxTouUHZ3TRsQObCoURwdrVfSLgaNEvtoASTP7XN5MtOeLTEwM
TAXuTykFVxwd4dowj0MKM2J+h7E14sia3RILnC16i6ISGDqFiAmsEzauLv+I1UcqTAcRNzkyHuw+
2oXMk0R5tLUCUeRXKL7JeBxYvNn5XY7Vn0RPt7yvTgHDw4HQl5d0s2Ag0A2KXVPaxQ1yurF0luWD
lG7Os2E5mfK30JE0YuisMG9iNHn1WJxzdP6ZDv6v7CQ4qsryZ0DrqT6Ri6UtPgBH5+A3GHUJlTvF
uVo+l2p+qkT1VSq2fSb+RpZ41MZ6v2CIpEblet7OcXziBuGudkbsu3FxFfFlWc7iSCFALVpw28y1
E16KNPJS+yYqs2Pm2bYOSCIcr6l5KebjhNcDRWiun5aSgDOdpftiXMLxc8D7mevIhD5KCzNMyDF1
gA/jlfApPJ8PifyShdeymH2Fe2CZ+nLxPKm78qNIItzz4LiXgJxY2FUvSU3gYk/k2VkSRsyuEUtS
rCWddRgw0GTWvZlqkcCz1KVj57J4XnUf6Iiq8ZCGhFrNu1p7ra2fTA6PU8OqiemEHFpMpVS/Uj5K
Eo46CxneEBzMCi6qRpHLIgpn2zG1p3IhsE5+WxrCL8q3BfppTCUed29Khf4I7moU/abGdxK+1ehR
jiWjrTR7AQVnQU82C0k/DS433GuUuqDF+R5CtL1JQJiOMOLxeiVMHgBvcAzjIFjH3sIlsSD1FHWi
xnGSheeZRsk4yA32XavpmAXQRg0xGLIDEcRdFp0Wb3gu8t8usFjOikcvShsjhX5FqrIZYwRWjU48
vcrSb0o2XpAeM8q0ZsCM7M/UDo41XdKYKjb3M5bsSTJsdcAKk06iep6qCuLUSFzCKSu/J86vkjjM
lvS8MD4YQuLS+9h66I/NqYwzJ0eva7Q5ib6FnTLrGtPoUBBsbyneeibM2aUm02gKzjNac8DeuHEU
jZRmrC9zSzsrWeENC4eRqC7hvW43KVjUuLwWPQkYEIkhAFIPNeTXwc0Yrb3G3c5amz3KT4WqTSeE
xjaV8TVb58vSfLDkG4cGDzsGk5I/WEczGu5EOnYkjI2qtZ3hYGjtvozznWXuTYHMo35BlK58G3rg
6zF1hj6eJCF4Lm4TdmAGFy6eo6l1ZTD0ThnkjeK013T1SZYZdoj6dvnR5HabaySMawOjeNguFd5y
RpV4JhrqHEX3oFEeqiWuYJmIbx91bKY19pSrXlNITkvl01qo5tNkk7SjNy+Z2894ZC7LN/ZhJmml
gYodW9XfVTL1yJ1kBUBVSy9aN+pV1lbBdXgaxcw3q+dGOM7r+1WeYdR/T4JgV/hx5LKt5W7SPw9x
f9QTcaeX5RVfSVZ/whvXbczr6hq3s92Bx8AidvQgPghzeOonjYsBKrGsQdjuOIoQd5RZOilqsp0I
dh/fBtJ9rLZi0qd6JMG/WFpywUf6GGAoR7SfMSLzRWet5I1bY0QZju/cdHUEn7BCBLQJXfgGp+vU
lD/tBHo6SVxl0mubt24ofIMNuT2nZs3az8uD8gDhjkTSgQho5ZdgCMw+zivFIGDLK5ZHhQvadOv2
ySC7ar0NldNXURoIDcj7VDHOr8a14b6KiHwhbR+lGaTbyJ+htMS0n81HRY2TcSUnFWWHtWyLJST+
/UMgwdTE5EOL9mXCJBSkpcdfs9K4GSrkOi7gJfikD/FDlnAPN2FxBPox6gBgEslTFuIwh+5JL/k+
2vSYYqoKYSAPnW+1nb9EG70VnCo03xsyPpvyYBKSh+rKb/LrQmxH2Bf777wyfGkc7HQBHsAB0aSN
U3IWjwHylDS/J5p5gPX0ZCXdzeo++8D8aPX8WUhNqO4aRBi65KM1I2Bo0KzWmL+ZmVvnxqUsM18v
5VfVCA6RiCRB2prmcB2t+WxxAwVPo7Wk2uC1pEzezn3tN4Z6FuYIiX2yTQQ/YDqcUdfDvCKP6z0G
IpES8in1xtZFvDtlBJkFByYA5xmns4KEJ6ozD33Gllu0q3G3DQ35a8wp4VtjTwC8sZlTkRDPdtf0
xl0xmG/gemWFVJ/keVQdTgTEGGo4bobxXrYC39QETBJkIpVVfwyqjPLkWZ30fWA026nXfYPYpZx7
fzr2W111YyPZAmXSm1CaLt8651ADSJOS5Iyl80YF9Raj4WbGxyY2tpElv4jzdGImNSl7YQ8RxU4Z
BKWgCx0BS/ijFChBMifEonWUlIslnjRopcGJEKW0p8VFyqFl2n7RRwdSgRjk26n0i/aDzyOjtOJl
LntmG9lGmRc7V4TT3Iy7ZlaItYze3LxPvKxvz3K0gFdlrU2Hs6kJma9ZpvTcu4s6WqiJmiAY3WER
j7m5+IusbQQD1AZhC7omdui81hvWABWzvvVGc1QgSbaWcWnF4jftNFAe2sWnUOqhZnQYKbQqU3lu
C+Ls9+K3Vm2GWN2YVr9NMsYJxujIM1iUNflQrpxOcq3IK9gawZLfK1nEC+pNki5Thm0irvKd/qG2
D6HhShk+YRB4RmI6EmkVTHHsdCj3WncvAvOaisgA5LdSMWxyWYFWLolpeFLxFYwj9Q7JW3q4i7/G
6Uoea7F4GY723Uszx77SvenTscitbUfOqqkSWzftJiguCGqQKzsznph0rXq9cLnFDsdAA8VQZcwO
D6oQuq2ubfL4TRJO8oD1YEGC4giMxYgjiTCuYOygl5knzepBjMWHSvRwe0mU9Nz3KUEoOoUAmc7D
U7CCbwKAN4CdzN1riBIft2Zf58Y17lJz2axIxlxgr1yYdqwOzpCN1xgDX+t7NrC1gDAxRV9j8a2S
v9WTC15aOmVXiPzFdOX0brSlmyyhoxg8nODjUMmAzaTTnOLKZRBFbqRvI/X6MGNlOeKeqUoPNbkp
WfJnHsdt0YE6y72jcVtbJ42Ir7Im34frbULW0PlEeBUz0B/HiTHnbaVAd1m8kfHVMKVXlEsaAATC
zkWdGX19m8tNj5gJh8q5mAfuDouTFhpgMnAjQOvbXGKqOch2oGj2wpirCC3HWNZrWroNzPpEI3Nj
6z6LqyLFRGSpgev3JlU72yFkhl9ItL/5LQWnIxoU/z3mhSY2Lig/+woudKzblsmVKbbbdMBHGRO1
Jp68RDgoI0tWa3HdK15ZK4SuQtTMyb6GmgjEkQK0B8l1qbSLoVYvwzZrw23O1DmrViTdnGwLY8+w
KS85ZXYkn5ZI3/Rh7FfG4Gul5o6Ub0lsHOmXsgGqsUoWuOUI2nqXeddiXENNu4GKsfZvupiei1g4
1cOgbhpxeI2JjoyMHgfW1UE1uQ36l2UI3ph1XJszWi9sEmqLgapwb8ybHniDTFC9ST+1sDaIxOO2
pV9SzlT4R/QqcxYKDsbMVkKS3PxsFMMl0iAI1aIvCKbXRwpCCO9Tci7ep4ddhX35hKZme+uXn/yL
eeNphDLS3VqR08mPbRiuMEbXADLswx67x2O3/svfEPXN4+4h18ck8LG7AwFifsBX/Gyx+Vxv+FUe
ziMSh38xcOQHoc1vYd9m73hY5GCLuLpt8T2ItPaw3dmTfednk7272/d8s+PX+Pyzs+/rJw/viN3d
4yG73a7215/yh9cOnIf94CX4z49H64ddJRvx4NVje4dBw7pZj8e6jfcdPz6s279+d+et7+nB5q2P
4Ye87Lpd/NjmF/nw1u/9fb1103ip9Ul44CNxiHC+LNvkEt/YSX/FSOwQYFoS3P4+eH2p++6+492x
6Xc+r/tq/cSzQ9myH6vlGG+ADfvfb627Zn320IWosL4em4SyYcMTrRuHpsnb3TFlWjeUAnkbwuUt
kTw92LNswy5edzFvhrfLc/KseFE87MJb5VPTTjyVt+YCdnjnUPMRHhAI4cx4wk3zZHEeMPukTTwV
O+xHDquKpjwJ5wADxNefH/bLYK+xc3xmk21h4+9svsvhsn9wFr3zpcD75O3+3H941z/5Zj2APz8c
uJ8fzxbcO8eX3eOwO71py27lqHv3B7t5x9Z6bHr9PB0E1+ah69vNNzaP3e0841XfnC4XTzs8LusB
k/7upMffXfmz++JM4TS6301n/e31sewvTg6e+O85dP+5rxt4Z9PWA8K56rJ969HhVVCP2bvEuf/4
64O5FC73h7+eLXffto8+52TkDDb2cH83c32Qz1+ekXP+7zP8PUvgga/H9b4eVd4Nz+yuX/K9O9KY
zXoMeWkugv97DN/mG2zRLlgvH6xB2ZL7/YcTaT1w6xv6e3Jzgvjl5v53Z463XEhucWJsou4pLiZm
BwNaM4IaoS5MySXBbz0ojkZNF+RO1UUfbi3GloVYO0XX+sKSO0TZ+32AVCM8mTkMAdaxLu+xS8X6
LC+6e64rpCKybKj30UiODd3dCAi9YKpn5MWujklmlYyNo+Cr6Wo64nN1gXNAGJoEoI1NU5GLexbP
RHrpxInlw7DhJDsKxs5DBfjGjXC2rG2mI+UTF9adzQp96GTAlzO3cpJGQ3gfyvQT1QxlGuoO3doF
cecVsXKqGHeIk0G4L3xi5ny5VuzSIaNzvOjkllUBExc6+QREtRD3SU61396yPnaa4kmp7n95ChEi
iQbSIDWuDvlfRKUcj46yfCx6vmkmEpQzCzJrcF6yX2OEONhMfgINZPrTQNlp6CeexwqAjflZhwYm
b1sHg/hezbyU7EC7H8XtnSrYb7qfUf3KVixwgSozCcyOGkdNBy9K2sMYai+FUmzjHqS2rLygX7uw
h5Rqjh7Jm5FSSoxQHkVPzfCThnAeQYvTZvJMYfo0FnSsgfIULPOJ3zwtQX5YGkgyQvk60q01icDc
7Uspm3M8pF6GXVgsBo6+15cPYdHhfmbsJ09aJneU+01H5y6qAeHqJGCaWxhdYx7b+JXZQ70ic8TP
74r0LtOOEc5NxfkjpqAqzLjWWdPc3qnid/JkbWpB+Uzn+4L2GXoDEyWgIZwTDfXe1rBGGmW3LC+6
eVAg0EUUTBF5Tsc2/xJI7cw71bFi3HYX1R6kbpfWppeDLoiUQpZ+lZetnEq+JlD1KquD9q7KCDSh
0qun7Tgzrx1QnWnzyQDFqem6k9nyZqm0K/EV/innbLYLB2baOGL2JwzXPTHXnZCLI1KIINcl7GLz
U62bO5mR1QiFXZ96R9EdI3n0AwHVq0W/Ti6gSLkJxWhonyowyYYmtkyuZi67A02kTKxs393SkrJ3
vhXWUR32jML3Zp+4BsNb0TxPwpH063xI7gD4x1CG7TCAiij6ttagL4kF7J8YAhC0hzKleMmG76mJ
sRcoOfTbAfC/WPG56rw040Eetl17SCkc5bi9Yg/jh5J1lBft1MQKvQyWMIxQ+mI5QqJ91pBgpZJ2
tybsRLhawzrFIhe4YEW/VuRr0Zkvz3h+dzJXexFesgkOEg1mXQoHkTNmxUlxouEZP+HKEMc+M5Nu
nKwz3TLBoEQ1pMau112svrLBaWXekibaBR3CTFDUBBN8vuyV7k88KE+WUp3U6GBY14woRo1bmBQG
1winknhSD5RVmxmHAKPXOLjMoLBU0SjY5VC1l5bGXdf2cnVTyhfkgL7UVadsKZxFsE4zv00hbc9q
4gY1PVPTOVI0HEpt8jAEOAU5Uz3ZONMiPSW1vLFm5RGmXlIbm3Yu/Eyg0TChLU/SdaiUlyVc6Qmb
TKVrnWUoVxjiKS3mOujj+VqLda/E0W0aqmPptU36lKjykVYck1KDay9ytZmM9vRNZbwij4Gb1q0n
WvNFILMveoeFlwTaszVCy5nxQ9AUu5EruxdhmMvkYXzM5r4HV+xywRa4O+oVflu5fE0b/MZ6Q3ku
xW+LaAhZ7j1dPdUI47nfKfFLCeYHotoI1ILuytoakC7nEBSVz04/YKI3z6/yXGwUi1vjj0lrb8DL
YxJsd9FP2DxpwVeXKPY8vWqQVSvzUGctwPN7LeQ20hZv/Av+f5qdm2G3vlDGBq9WlVF9W2c0lfbI
7FGT95HlcgbZhsj7524149kqBTbBeva8RHaDXKQWCDcBnGuKgvYWfAdNL+ChNrtmLzj68qREpXvL
gHwr7t1tkfqjUbgj8xj6stnCgAyrTqE6Fh2KRChFSfzUIJhZKeOG+RZbHx2qdrC7TY9trd7hrpb5
0tJA/6R1g3Yfa5Axc2r05Sv9GUkn1OFnJuMhCr8TSSET4daae8gaJuSSJro1YX5fwdggEnrb+glW
WJNTdvqLRAACLPO+wQFjCuetqKnnSVW84SP4FBdPmKDjUXKZX2SZqWQNgBLzKp6kvEPfG9CSQRXM
9w1VUL/PAzvNvelPf13w2f5YI5+deUtKAvZVv+1n+xl6hmPeAxcw+jk5QTDGuLrdBhuue9NNfOtB
uwHcFSNxuErXyjE38knj5rGB5OcwY2IIcmFIs4l+fn/xAlfc4N7+WRK7/4wv64vQrrrGw9yYrnrn
f456h1DP8LOMvdVRU3lvfvbc5tzYE67iluT1z6df0CtsYuRP3NULf/8MrLrt4DXbz6JdOjJ/ggOt
tI1D5yi7AuttqTgTZ11PPlYynZo1fQEq6LBILxFpDMRSS6vb5SS7VrzsJXOww1gh1ZfXnRRX7GkF
dc8MkdqkbGg2uyEFiGr8xiyANLl20XFPQUIQBKcs7aBGgXGX/TEZbiF2KTOXVVpe4UMI7DzA9m0C
TRaaqxI1MGfzkxQ+5aN67NT51MJcFuvIqeTlM1KJxZDHM0kGLB/JSeX2mU3MTdPsUFnJLWMuUDXm
l9hCSGctFJhYZatxGbdj/iJqYPBAXn2ZqGAippOVcKCM/h2HGXtepyIJsy9EQ0mFKB+ugUEZB9ht
+HL90gQTU9/pXRqlfRozkxtArsLEG1fO6opRBZBO58GtFOJ9VO2OIKEVsq2Y9VuJ9jBZ3jSBUK02
IjRnwKpD92IGeEU8EjqV3Uy4QVLuSs3iGgalXJnC7UygI8nbWG19cEW7YoHXDKbhMayRL3XOiG2B
gEa3aObiRkOXhjuYie6XGZHwXBhPQv2jGpcqT/ZZ/Cs01nff1tdh7h4j/agIVzpVx62WdxhxknRS
hhS1g/qoQwP0wsnVhcwt2O2ZAt8ny34aTEHq1jrkqiYxhADKhlUscYE3jJmyIHH7nsCXmSEKlvy8
FQvLkhIOfa2ULN+S1zPA6U0s+SbGCbq0NyoTpXjkrfkmpnzp5N8ohEDe6BBf2juTKiQw76Kgvw05
w2XV2qjl2zTpDJhqX9jlLfP3KncFSBERDrPTD5w04r9gW5WXMRQpMSd4WC1xM98GABxWXzCOBdEx
xx9xgJzU6uZLszQ7hqPk/6wZM4X2JMzDWYB/r+ElJirjW/5aFEj6lDy917zbNM1PbXIzongTgsoY
UfYWOrEWQqYCqkmsbSovbgsOa2r5oamm90oSvUzEO4kiu4fOG+L2SpwXxqjysrgWXPS52EbjLcPn
JReAfYtym1cMSnvuDsC8c6rBOmK/J/p3TKr2FPyG/TXLZyeFOAeK8ZzU3AcYasgxGHpOOrmGVXkZ
HcZSOQQ9cMuUvZWA/4rpRqS+zFAZulp/qWFSl+JAp4LrBmdDioGrApiTl9GuWOJdnN5CqhGpIUyj
s8X2PgXfszpC6VGgxbihjjFEXHABZGC2wy/3dexs2wSL7oR5qJtQxZg0RamTm8JZNpBsaG/adKvF
bKuNMNHrN4oyWXkzoI/UL0a/m3WMSFLakfzBjNMImutkotqqyu16Sr1o0W9FczztankgFRptmJqf
9ZnoGekpltNPKTnMM4kC2GRyDx64yaYKwyP9uQiZTzgZmgLUZXmGOFhE6jB9CtG+nX7ERYBhqL/1
IXZOyXWuF9iaXBfgaQuyzlb9kKnMhQLeP6QqblXGaDCQh07e4Tse6nDx0I/NwMs/MSSoijxHZRMz
TKfQ+5zi5ViLN7P9Sy6DEpqx9qTFRh1zH4aPZa2XDruPEZEhsmoi3VqPrGy2EKsWbGyJcqqeU4Kt
8M6Pzmmyhx9jJxwladZ8eVDPVq3uJ9QHUCLqnJGvql6SoNwrAfm0MRbNPSNJrYgq2GtEX1qqwgXJ
9DV4JvcTSqo9Ks+L+CHKHOH/Iey8lhtFF3Z9RVSRwykglCVLlpNOKEdyzlz9fuj176pZvbqmJ7Tb
kq2A4AtvnD/whMk8fkKoKSLTSGEgCvUnIotXpqC7ZViczGI85QhbBP+5EqyXWdOOYTzt0SA4Vshe
naeEUutlp6cT3ndFM1wnXR0jM8SSR5iDzqg/iQP5bYS9II7vUsl225Ah2H/ic0/BhZcWIBZkH23K
noT4qhpKml0jlKqQuyQzmKgdrKs5y/cKrNBMg30iyn9xVWn/a9qW/0tj/JuXvi0NoWhKa34ocfC8
FslGIVOjW5XdqsVum3l08cVvKslS8wp9NT1mZYZ7kMWY3fs2s2U6b4fPMrOt40PMpPtBl49Iui6k
Bygs1WIQuCx9vwk+khM8havgvDIo3tVoigIXpSvKIxmpscBjGVNPefzw7ypqWfuD3l6iEFVGJi4r
OkLq/xamj7le1m2XUvQ1sD9EkhK8a8ZXJKApSTpvZNkDS64SPxXVgFL876NWlFlmZQK113w2di/s
VNZJEnucPsLCOYSvxUTaByW25ReljKzXj0pLYJzhaQPLh++5Sl1yNUThZM6GYyosZdpkK+ekSSqX
pn2aZcs2c8spZgVdJB6NDqX0jjDlTSlcmpIM7ahfpzWId1t4WQxNSewq4yTqtrbcVAY9LEiWKhRm
4UT/GrkCm05t6H/Kb40AWF1wCivfFSVaDT8giCoLYIGuwNCpqnTfPhoie7qBhgaz26hduq760QlF
IOB8jb2ATRtjZwTEORW2klQeSW9A6bWueCSa+EGJpOKpFrdmLG8FJdjlDTYhrXKNooXSYoTWdUxb
DnYVkAkJo2SMiYwEGyidrCbRBre5MEbnDv02gSmzeGzbpwJKTBhYl3xR95ZaLiRlqQWXGNoHp+x2
hqs0itMwCw9Wnuzm7kejHmbOG4+KLmqUn3zj3tUgDoq+WGu2gxKvYiF5HwYD7mM6ktrXtQTCwbI2
VHgaRGRPYbQljKUjKKQprllzr4JdB6k2Iqkaq28p/27FyC1M/XFmig/F9agCe2/ieNcy0AT92pwf
tFRHK/fWTk95z5IFRbIkeb7GZRB8acW0oQXZhY21iOZciI0lokPLcg8HQm5KZ6pcVJ1+CJoep4Qi
mf4aGuFGzY/c3wfAP9ORcVYqj4ZG+g5gXImqKq+fwp66iYkrrrlLJQYe/LBGSEZLEi7ykU2RisfJ
fLOwr03humjZUSilZ0XHPh9ZRUDnVlia9tyHCkItV5h3Ktl6EIR5mygDQng8w0FvLDVwZofCEaBE
Eo8ULooD2+/8LlqXNuFTp1lyDH6KBL+3Zpda7kz9U2g8daaCrFFHBHI0hnPApqcOF42FgQylYk4R
za0aegHc1lKA3FQhXT6tN22m9i+hmuSQ/6/75Vf9ga7rRPhIv4a+f7j1rSqO4iCvxYcY1+rEdpb1
KeWgdkQYsDd3GPXRwu5RGiDtYSrnjOfK0kti3eglROWL6hxQyG4AqX+mCySVCviNpIA9hGNexXjT
vnJJxjfCnl5S9tWWx1kcPnbf5Tno7tNTXLpt+yu8PrexpqkrwE0cjCTZqffkQ3sQDv4TgxGAOJkg
L8aNxH4ESmCPCHXBMl876FtUvKxrzvggfeICJ1v9GTFJstC8ax/V1Xpd0DFr21pbq4P52VQnY1+j
CQEBvSmegn/BYoeMihlnpp2jQDgNJErSz/QqanbxrP7AvjxpL0Xn6u8Wc8/PfOMkjXb+Vng2nswv
X7HlbYiLY1qx7Vlc4ZJbw9CjPkqRZm+Fd+Gb1WSDNTDeAcr0ID3YqckN6u3sNhCxz4SH4JqiP9YR
mMoYLC0uox4zKRndHGtSWwtXAOu59+ea6AwDLBdZrY0vnuKCRS9yMU4UBaJfrPfJkWuvfESGaLH2
f9af28fxIz3XZ/ldrRz/x9gXl+guv6UvwpNwrw6HjqUZDrmzdmmztXSBFaTGZ740SKTuDcf2sXiR
0Dmt4tEtboHqiC3ed7s+Vb1N3QpkZY6TtF8czsOZnZ3YPC5w5ej0d2Gn7AB2wV1RviBjVmMnlL2K
xRneRyg002lll7U4dqigtaV+k0kMT5sl0p8zkHhdhDZwaJ9sOsrL5LvttSmQojrWs4ipG9DLm6hn
KOxVAO5iC3dED0NnN2/iF8OkjBfybF0SWtw5K1lIDkhmvAjaBviV6AlXJpPH1SWUbPuANQ3wmunl
H9Ur2zzlNEQPuKJKe56QWrsz00ftDGiPENi3zoKs3UBhNuzrI3SiD0wC44+xGw7c6Jkv2S18Fo7G
zqQC1S7O5itVSa/lSSZi0eR7Doaxnd8UxP0gPLnTNKf5a7qG3+FT7RV7YqQUVojItqgjp3Wb8xQS
EX/WvrqRWpl8BufiQ0d2MCAgWc3kxVFxxQnfoZl0cBAl9ND2q6ZxiPEJKxIh/+LzVv7gmGPMIHfC
pBKGgpjfHHOEURS67mfiA3rj4BrBHDyyClB307O/G64tkaOfMpeonb6J72QPJLt+g3vabectwzAb
975yOPU5h6absrJIJ3Lqa3+KXpU3wjU5BP++utEXo9vvDjGNnGhSSbCH/U+5/DDPcdJlsXgIxR9F
wS7DnNJcJ8IVepFpIUld5N9u2vDqmKybwOmDgW5icZX34tGvv4dc3okqXHmO6JSt55jd9XpEaa0j
rKAWTIA9IhJ36Bfn2+AGmEIndqV4gmQycCewis6V+nhbp5SzRPAwxVFOVfhfxjjiD0n3KOKdiigy
MNtNJ+wFUh8p4kRInIK1HC3x9UfElpUPuwmayddBVZEjZ2yYRW0zYTNJhu/Uv2Mr//cD94fkHlnS
FYWiBpLmdIKa/ntVqLGNlNUOl/2oT4SIqYRquA0yYhYymJM/CWdbwjt6FIFhsSWCZDeHPkuYNzYp
IRXsS4T2QDzEv78qAj7+9IHqBBNhGVm6gqTfggbiKpWyTBmGQ5j76z7EP99bk60t0sZKZ6bKFj2W
lT2UkfKaH5jVMkG8d8Er6Lm1CUTFRjHz1eUP9fBdjC4V4pQ46ys5GrxZ/EYhiTvjWS5ABuLEk4qa
ge+0+CdHybwWGfLd55CgQ0bpHlKNLWszWY4mFmslIN4ioGx76oGtbnh5huxVjGmjmNMtyjg/AyYO
MzTuo0p98HX5z2/PIoGkswamUDPdDoJyqPLUQZ08zJMXmv2TEYt46aPnPsU9lcAxGI3sZQXaK0TY
WHVXev6dTU+B+VLmN1lOVjVSfArJj9XiFcqEF8uAX2vU8KqhoixfcaS0CSQWc2ZsftZGvWqN4hwQ
++F5nvtxXP4E30Z/4Hpn/rtzCzfc+ap41BLejxQqetPKO/IDR+/ITUePO5dvXI+MS27z+An+c73i
tNyo75p3c7Ibejd1m4ZC7/h//ywlAyO6Bh6BnNpye18egfvOqXoIv3ig4sQtPHy7XR4VUvzOP7zQ
491aWHJ+j39/Pffd4+Xd+Xb5cb6eOdjpF18VmbdyRExx9yyqE3mQiYSwI1y77Nz9HSIL1TnOLk97
XnokeAbuX56KLRlPwBtl9KU/VPH4fYlnhqdfQju553wU7OXFLOUVH6Fz5tB98GQfNH1CXXuh43kS
7DXPzT0etZL2h/ex5W/IMLzb8vXssaxyzvezd7+x8/glAVl+/EzFxfIkDFU0K9rn0Ll/3LmFV8t3
8grIdvly//WbH8uPV/bHWeLj4ha+u8vLy+Z35NUH9zT2XeEzPPJ31fm/x7e8+9KkMW7P8PnZ5qa4
SwumR8SazQuNeDjdkfgzdD5uDa/oQ0Gokqwah+8iewkv9UrEHLwFnUoO3gc/RDUetyxvjTe4/B22
kwOAsOPm/bp9u6hA0K0s+ohFwbK9oR7gaMC0//oTzn8RU3gLf8+voQThxxbBBzw8nae/1CALQ78w
+NwGh8+fC8vPLYsShpQzCHsqAPiTm5Bw7BZRwYofgbm/cXvs2ovQ4z+/deUXl99G/PDr8bLlC4IB
ZBTID7j3is4C0QlqgHHRyjCRIXpBK7I8J8/Aa+cbHoQH4Jv//IWiTZuOVm6y17aDQIM3Z9tyV7wL
8bKaYDH4EaKij8EIJ/xd30i2XREQYPLL1zJEPpbU3jzSQvCtaBeBxHW82Nkime7jTTWLTPn+1r+l
zU+oiAe5LbZd/JAVwVWfJoxmOHOmAS9wsS5lCJR2cYO+jVO6G43Yg4oekOOJI+KukhJSwoVrfClC
ckTj3KffqRFc5oGzgtWxWN1l46HsfpoCAfYARDr25glXrdnWhEyoeB5CVGp1dMijZYMqP2WjeJ4N
0emltd8SEaIuVKXvTNpLzGYLeiUNK2R7SwRH+zNrHerfZjWT7WNme5HVUWuYnjF8DjIECSp8u5ct
bMGs21ThtY8o21Xz56pfoqsDOJvaQ3FNz9O1VukZCQiXiBV1Qz7qW6QBT5Rtu/cBlsYSY4oYOcbI
agWPmWP44QtMfZ0+DrKIhA9EjI0HbFUCdk1wWrgpEACY5B1PmhPI8aEF/qKJD8dlZ5NyBaatrIGa
MclAEqn+Vo2+84qljxH3dpxRwCnJVOY0RNHo4iYCToAiwSIuyeekOps4jGuEStEMQEwGY0b92sBO
1R+0a9DV+zpCM23+BCoZngPJB/GonoqONaARIatkTOiyTV+CkAc0IeiyGxV02zCzaVl9NqzSpYHw
FALTqrhcszDyLPOji147vF80Nu5IBXsM0uHig6UOGWVcau+VTEcGFmD1PjcHaSYGER+u2SRsmmpC
HswTsUxvTdJgCse+60tgvuLGD8g1mei6l4JtPSiOLFmrudjOSntqZeJa8898et6yyWWNikTd0le9
kT2jofVo+l4lUfDUN7RQCbCA0I/6BdzQHQrYyMxVByifOthNzKUG0FIYCw+lhB8A9K0qBtxm5PIM
aK0AqorWi8MP8BYvGavHAPlNPA7nwlS+ZIElMS75BOcnvVkwWyUEh1xMXsOnMhSEAhK/kFYcSc7A
XAeD8p8TDUMdOTHx9J2CruvjcR5YEXwFirUqpMW6Uq6y+yQ/6nzUE6ByP7cYyoSPHP58wkNakyaS
iGHt1Xg+I1jqgksuW/uYgDP/kORsn3uW7STPKKK/bcAR9KpbdnC9DJkUnsao+hw6MgfOmPbwMETZ
swAhP8GwxOpyRQFyFx9TJdhiildXTredAR3WFNNetrpXTbxGVMQGmCN1dvApMT+qNLzgqLTbgdQ5
Q9x20ZzbGKunyZNI86qMJ7WrXDQnDzGCfpE4fd06i63pYAaFBTz2u85q0V6yGzQeiwiz8fwKm/4r
lUVh6SIoredHOV7qApbkhfYhFycqHQQdHythPgRbUNmwaUPBm3FWktq13FRz6vTlJ55gOX3osnc9
3OlJR6UbfRjddNOSx3HChRsPII3Ssexw+uHDFhWJ8zp8mlu0SIVst5Rbj7m1iTSOURlnh0gR976f
rJuQgCBzQg1ExEVByxpeN1Hj0o8w6Q+6hynW62ZjJWGaYgctJuTyFMd61dWWFzdAEqSi6mTZWErK
Mrx6HJN05YNEi43F1Rv36zlGJJDiMGBgQFI/7/RY9qJxelVxjxcm0RPg3YZcnZVEcJTqpFXfWTVc
DUJi7TaqrrWi37P6JnDd9q1tCNaGa/1i0m+mg1YoyxBXGKe5h7hc+gOfoP7NUltPSrJWZPybmO9j
/6GYSjsCVYs0ZxhDV0Q8PDVsExPTzvCvlKYI4dmdMbfpCjDghCUz3A2YovuNJJCmd5cWXcPSsSAD
+UbHoiYlMvlRJUQP6KtHguvquDp0KKT99C7pxbqXjk1xDzRiFIkWmy1jVRrVSuFAUi1M6QSOnueI
LtrAvyj5Y8MlP4jAyRJ9lkmzHcaXgGAeXbDY10e4muuDnzXvEMsofdnhSPdpwDHB9FNWmAFlelRJ
mcOmWVkD/YJPQsCATKJCbC3NQ4Ktqq/p/DpLbqpQoqhmu6o5BYRdCQn1OyzWml1ZPIVMsVBKSlfa
taiu6r7dtmPsaka0BiDlmnyYYPIMuAV5IpW+LNd1+YTDfa7aM/5Mx69fmLHOZmPtdECAdBckXKNU
HaYm+EPcn40A9s9XNloUuKH03JnQkYvhkMtKC8NzRwCYtUjbEuOgdKHnh5LXTJyHIK3ShFajeC9i
Y+0LnDBYP2W1PZml6uHCRI1QnUdExr2VnUVC8wYYa2IOTtTVrEQrWHWDegpDAA4epiiSnVq8BC+G
/zmJE54ZbD1oAVsSrIII7wqzfEyHMqrSwYAk14xdrbmpCEwAvWwGFe4+pFoDJF8ueG1LPBXonhlg
jwyPdNq6NAjcRHCnClqjUKkqtT7jhM5G4rkk8V6hOuBOnawlXzloevem7MvSQkADKZBW2ywixT2K
AP/VW4k+ruf2Upw3YojmOXtOlVWPYQlpNTFTxC3ZZgFkoFuuGSIDiKTH3ILzzYC4iAXLQt4aivcK
5ssMn/URXzWuCEDsrWGFTgQaO2fyGg+YjnqgSnVXyKqLGH/p8VdNBwjOK2303U6ElJmYIWcZ9dl0
aBMLooo9uUXHSIoTWCb5bIa2FJjDBHIsBtC52BNCaT3ULFZ0WJH5e4AImCsGVCJN9Y4dZon4DnDP
gH6omUpEkH4FtaEWsmMDWa5RyPgEH0Q9si70Kv10wGbnKInq6BOXPusQGe8Kobleqbyq6VO5GCvR
xPgIPpowWOflj+lHbpcobqv3TskWXLRkB4CuMrZ1eYWrwraoeIP/MWcZuNbnoIrE2UacJheTCyXj
ck1TktSh31nPCPuGlIZsyFaouMr0QVWyfVUl27jpdxn6IKWOzlNwkIxVgDiuunKi/hg4Pnoyw026
tzRLfewqAMyG1BGrSicudyA8oOO4QAwmgrqH6qqTSy9szUMFgJsm9Y59s+JXXg/BgWitq+zUR0jf
otsjGMIIHmQT+C2+JcrEmQ+7W+XyRvERzTH+RuGxFqBxMfSIcvpYQb8EMNohvEoIrx4okZv1/nZU
hqdFrqWThFEY0XVo8J/QPJ6/T7SOjMZIrwsglf5lStFmwI+6vGa4Zk1W9pLQ2nrlGbh8e1y1AVhn
zVpG12GUQZaHCVVRLV0MzMCZRNkbaHdfgoeLt3lxE7AGayPJRusS4YcTmnuQ3Eb/nqJda2WqKn3/
aY6JiMSsbRrHLDUotjn82q8zqJVYJgJlNc4YSwxsjY36o4kInIjcXUOkTlznCYq0yd808LAV6yep
RmE398e5Js8YlNIEmppQo1iYr5Uo452zySfLIGQ5PCeEkLpWArAIgMiybmOKj0V6LfFgo4D1zCHc
dXp0rCWDz8FYB5AqldQ73VRs00xzA+pzhox62spAi1vzO6hq9eQLxQ1+02Q1t9lD06EWlTm+rfgK
Jtv7yn9O9hmWLZ9XOSupSsVDwrSe1bTKpwjjNNHTuZ5npUY4OR1zWT1lTbIR0SZOzbZo7lS+ZbDF
ymOEgHV5RRroc5psk+SeZhIwFMwk66IYKjsP8tUcENhXu4NEGzGiNzFSDi0hN3Wz6nrjRYxY8Bo1
zJPApoSsSHqktIUH1OnhLeNHrb+rKH1olC3bS9agST63lnTuYCeK+dOE+9cGAJ3WyVlmSbO+szTO
ewbMKQ23KS+uTGSnzBEhdcTs9hJJfPK+4awRUoS4HANROI4jqzKIsB7LmayyJbW4wMXJKTILtRwk
8tgfBtKCjHLkbPV3WYmaoikxzDPgVGujved1AC5XbiJLh7AHLUB/09M4airIW+hlRIFFvlfDmN5o
4mpAdKTXZAIQBtg2BAKiXF62igH1aVYrHpeVo88iIUkX7UnoylXujqVwUJbpUZk56UVoaezgOJLq
+JCTWKihmR2CcG2oX6OJRoRD7k97LS0dXSB9py68aDlO7OdikYxlXXCzlAcNFTfALKQy5xJl6mBW
Q/4CrzFHu44S1pBAeqfN7/UYPYGQXeuqX6Sn6KQZ+NV0OPYMOyLJImpWc7Skc9NoBF8b7ohCgncI
UvdegifN2658r2jOlQ6TV2knEN90fNZAVbvnuT9l3VFtUTVKxAwohK9kIq5wrYgfx5bqa6JrM1le
RxarcbEmdc4Ky30xeyTqN9m9MreoHnFe+9hEhaTFQ51fhKlEJcpGImYnNXiF+dTF2IHFcEXduSsi
k1Fb0oyhmMiwGRUFh3Pn1NlBRC8R5iprcqoJmLXU6NmySG1hZ1DXzYkxR5r8T4H9cldLTMmElNMr
G8JTCB3Fbxnr3YQybsLLTUVctb3g9CGup7Dyiug7bcxTO3131QB2q+77mEeANAvrl3BC5JnhJZ85
/xOIHh0/c1RtewCBVovZ+jIq66zamFCyNmQmybcBOR7fWg5H2T+3+YOK+kOwYIcDZE/tfFH4QBr0
pBbljMXK1zedRu6wqJ3E4MQeZoutXdz15Iv0abYzKuKuYnI28uyEiPvC0gCbKyzZfJfwHyRB6xXx
QesO4PrrbtFM9OhODRiQkDZqXzRszYz2DJe4xM1DmSzHz8YyYUn3sLou5vRBae2u7N78AmUsJ1uC
gEtJEOF+Vkh0I2KNh2mTgcj2pHRaFj//rJKvkx3h0HuQiqDIPMt6Kcv5uAxdgfWMB3JBCZqCkuBk
H4MlixZLBTJP/O8MPsuCIzAAVSbIyAgVjnQ1yscxhV+Ut+nSe4WKOshlt4v2g8xn84jGbjkRBmqF
WcKUbHi0BqJPb1ctyxhz8mrjEiFqbKXlAgTeYlgTEOIvuwCfLq10jBC45d4SVpGzm0CFMmKLD9bj
uK3D53zYKhlONVGh6YElkrVooJontdHWjUSX4BW/KZf0t/EFLvCufFqP6Nz1pxFOwzTuhhw/cRHD
Yg02OnAGZCcUCCZFvNIWEPmdtJMQ1hm+7FFrh0g6Q03arzZzLe0W5wEpNm4JtcrMxb6N132aCTkp
mTCtYd1r8tZUSy4G1IwZ857UrfKA4BZkhQPzKOrKC2SD2ELHlYgmVpKA+YQs0BwSsA03TROsWs3k
cG40+dmEDmxSkj/E6JyS1B3rGCmptxUVNMe522gwdaX4OaciUuiJWARyn5K23/NZzXA0jYX4lCnI
INM/It1rmKiLI27A1ZXoMbDmk9qgXNAl3kwsH1pBvgwzhpulmq22cNpOP91obWqcI4PcXulfWU00
mUvttJrGdG/19KZH6mZsLGJfSleL690cCSvN7Djt7HwiTQ1LBuARYa3zGWwhYSWUz1i796lSb0SL
1TUeeIsVu64IhOrWt3o8Jbp8TFXpkMiYDisMNxTkEO0AuaC9lsb7BIbXZV/JRCAgCrSpNt06KhHh
QvMXz12vbGOa1ivyHPdKt4smRkHy8FCeIOA15BrzNrxtSAJtT7NyS1ZGhEqivU79p2Vh7MGPUs/5
c95vyyq5pZZysUJUxWaOx0nAnH+ZkwI9ELkByYtB33GA7l00b7N19KeNL291gx1B/gWrdhxFRGQx
vea9SQ/xCDssPw76a96c85EOenOpq2m24gDEV+T6Ra2RWsZLnmoJ6SJeujz1wC58o3JH0Q1+/JHX
ZAgvRs/qFNH/hFEEW8soL2bOApd5e+j9ctXzzAqQqYltoma+08kUqlSAQkHYjuF47s2fsqO3HiSj
ru+zXL4qLRviicmc6JolCalmRYzcUEDboYwb2LmJlHhmr7YdOFuRCWPkJa+ZOEkZKWCo9RddBkhJ
pOFRY6L1i/6W1MyZVnj7d5JM+pOsgzhMoloNHU2X+lttUCgKvg9YpRy7n+A6bynXOpmH4lY/ixvV
+AsfLP1JPaZrhm7RtGOq6O3+myfspRhAoB7wqbIYeCytG4odpKTk8uGeMdam196FYMslm1J69zAv
7T/hX16D9b8R7LJEv4KCWURiJ/rr/n/oWII07jOl1IlOPFXv0hbxfNUiIUkfzB+ydOZX/6e8KWy3
2Pf8MEw0OhsxdOY2ATPPNPPCThEINxIx3zs0RevzGUDDJzRBZr0HDuuI78YmXsYep3zB0qSoW813
k9FpfVdB6IE82UG7FdxqJIrv7BQ6wB2UKDS+cQgu9Uf5mHHp7edNi/cDYHN4E2B52bpXCO9R2Tno
ZmHAaZId6VJGG+jgBiONUOVVEhuXYAJ0q9mNSlJnbCoMAtOWBooQcMXbzMmYnbFwkeTjO385k/43
ap0Da0mGSHO4Kf1Pqrua+uZg9rp4aOnVi8I7wU6bovYSn3fLDlhsz8R9SxrxEMK8qSLhEQuNM6t/
S+mVljP2dxbfogpLNGQNreLvfVJJoP5f5DtlNkHFMqOnXY7zLF5DNYc4KHPHotPAOpUGzoLmL6yz
9gfOWRZF6msozuP0Un4LPlatbAI7J20v9dWtEmoE1nTeICpbZKFO81PKSzarjJklORu/0l8Betgc
qh32vaj+JoxHRexWTjOKWOLVysX+9U3ojjvNE5np1aPMLGV0TzPcdWw1JtHN0bkf5KdwzDB0Palk
77WlfvcDCsdotbmpjXBuWXqLKIZQYeKqwkG4APTEwwhzc8UnhptKXJfi9JD7EhuFybgnWen1VbjS
dWmjCtlfcvmNP0QOI6+QdFG2dEXXjd/yjecmzowwN+aH2bLVS/ZDNuiZJNhDdq1O7XZ6tl7lHwJA
APAetM/xM3qvt/mD8YosY6F/e/bV7+Eb5IP4PLzPMnSTXZ1mtzspGzt061XjGhdlPRFgYBPf75/1
c4YECfPONrmFXHIoMWu7/YEWkCabaCFQTdq1+jsYwPw04jQ/ynvG+Owvmdh/SHWW0c6ZuiYS7Wz9
3v5QxhjMJiK8jujgBsygzzp6rpv20zrz918uxj+Mcv/1VL+NtBYEWZ8t8duosI7R3fqVhF9iLnLi
q7Btn8LvZjMYdvDy78/7h84hdiiqpBKlhNzC+qUi/MfoSmJlVVSEvBwH6jaZ5LylKJRyAq+3TYo9
/QcME5R16tRV+46wjdz3/C8XoPSr1v23AUBWDFLBRVQp2n+UjP94DZI+jfRz8xrms/4DoMAuhTih
G3F9q+7a3HOSEUyMOtjRb8m+e6IcKbkP3/ljsi+u8afxQgQUGsvqzv5Q/JYZLy/jbXrnAwOX28Qq
1h87INXatNsXBPrlgsba7cY6YSJI1uONbOwXtpI872u8GV4SV1gT5bYB4TqRloqQG/3e5Fpb0cu2
+hm0VXWTAyG1a4Xukz2yaOEUPJUrbRc9pCcqTFbCERbDWiMi8ogAWVkX6ZLuG1t6yTcQGTftPl6b
N+nSbYcPobT1a7XPd5Bj+/ppeCk22oN6Lb/Hb2IqvpU35VG9KGflIf3uj+Y+voZXdEnU8+bP8SZ7
FN6sNxxlL+FROMgn9TL8pLi3rv7FOGMgwvXlWl/5a/Dev8qXHrcpUZyHcI09Jn0aKAzcNTfCpY45
u8EjRCQqaflF3T+N6+4RomoduMN+2qOTxQF3/ct5J/7p2vrnh/6b1GxSZjCpvpUfqvfy4Z6tql2k
49jdmspLDJZXEG1NumN0yrufKHoI+x+5v4wwxVyCYgdtT+ruNG60Q/UhrgnsRoWL+Su+4GpP1uIa
PSjBgwRvbuQflMEKWsHkJ/0yn7UbgUmEu1GMncJB7sWXwFXXy75Avahr6REERrA4HBh815w2NdnH
K/SD35QWkH/COkHcj7RNzKuoYseEQQJcwdNc887hVaY9LiRrD/JTIvZKAOEW0LLLWAI8j8GburiO
iWEsRoqXKbsdO+KGQT1ZXkyfekgYypI4Oh+lyWG1asOYv4kXeT1Mdv8pZvuC1rwDOPkL0sGmfunV
RzqB/HV9ljY6wPBOs30W+m9Yz0nMsWNh1Z0ZGgOsNeIqxW8j9cdpw6HVbmSBYWZ7bnbhU9TB42p3
7LbYGAe8JCuRJzyQRxedLN+udoa6gbNK8fAyz723YNzZdzPt2CpDOjMuu9hMyujTiN2Etj0ir4YF
k93R20M0mL+i6DobDj1tsT3tFA5+sJMirAcIx3zrky2zyV5KJk0Hj9lHiDZSJPx6b0h7jIndXvpi
XmPmh8PZ6lelP2aCk77++5n4t/PwN4OEL+ZKFGQMvJi/WDiKJC/0dn6Kr/5e+IsbQ//D2l1mFU2Z
pEprnqL89lxKaorQ0wntZD+soNENQBCD49/LQ/iADLF4JpqQtIRn+T25EuQo2c2xOFoOmgu7ddDA
OeYtf9FWupvvVdp0lWP12ROxedTgcqVTtD3UTvuUrvBKuePOfJyRZ18XWtKhGspFYZA/+ddZsCOM
opt/P4rmHxaTsoZFUVlWcTJL9f/eKRRk8qVm2Q37omTR27/n2jY15X29GM5M3lo/O6nmY8fCzqWR
pVT26BowoUJoKso1M4EF0dWSn69yXBQ2lExL6woGrMIBbfivihmt4gytQQvEBPDVSeQZd6cMMd+g
EcGK0F8K3+l46EnqHzWDDIx2pxmfdGcdIhBbNhgO3V4HIVFgJudLFKIMsZ7aSto1VcXyAvSG1xVM
H/V00dtdyWI8CD8l+SIkz0LffJFzRn/M3o9irykuwQiqXLslYU1S8uGX3bpRxFPjk2xlGAc5QFVD
KqPB7oJtQ0HKpKknoMUPdRhcGhw3U0AJBe/STxgSwuwv+k7tj5+GZaGhVCmn08xlX/fPGXWQOlmK
6u5IysQqjlbzgaq0B8GGb6Icwg7PzbFxso2/S9GmwWa4ZGQc/LO1i97Sk3XJWKE5I4Sx3bjRAyz4
Jno0T0h3bIn/Yaic2iV6YqRe3Pryr4krtg7Tpvu39Zfxp1URa/L//z6s3yogxAwzcU6G57EdacUD
jjiiSbbig1rsR6g9bH5EZ2guyb64DQBF4vw4W15a0QOPodWRkTac9LNySgrHj4m0s6t1sosuSQUA
6BTEmY7b3Asu7abdNZ6xMt2Sxk6sJivhXqfITZ34BCZwwpfG+InyQFgQQbu8UlTTPgcMwxHOTkIT
cDlSFLwNx40VbkTazokVY8WiO2lAW5gzhEhT3H+/4v6klZVNiyqQX+tG89cV+Y/POMqUJhwrJBD4
IoAi8hvpGsq523WQ/hdW43gRzpyi/4+w89pxXbu27RcRYA6vYlSOJZXqhajInMSsrz9N+74c2xfH
gGHAey+vkkrUnCP03rq1kz66lbWNLpLPSREt1Iu2LQNjxU4Cf0DrvfTyZG7v2GoOKkkXHMqYExfV
Xd5B2Mi+ynfxg4vm/3710ut6//ea7xUhSbQaY3iUyP/6hBqiXJHBYJUnMtUE9U9gDVlsGbFaz2VR
bwfZr5G6qp/afys8EDn/x09WFEW0RFO1FEvU5X87qcxQe9axbGBCXEaBFmBc85Jt90URdyx+831B
dqhNp5Xoi8ETbYkiFLUkXXpmyzzok91HNj1wd4bt4A6b5tpen+8kqPz1V3U1bQDqQWhGiKgejJ20
E/fdqlvhFtvUa/EQXkzqvbt8qLn6kCe2W7itDQFimFsXUPk2aOpD6PJwbTbdhn+KHPMZxOgQkCSx
PlxAzZswqYKHqZAOLuY3TFJBv6O65cNnXZicFM9CtQng9Tjd2NlNwKXY3JFCdC622LucyYP0/hKK
tnbuQahHSsnN7T7OUiCtibDYKTsCJFKUBb/CqfW1dXNkh1zuqy3h73a9Rkf/G27Cn4ko+JCHqwtK
zHSL6Sv5UG7Zqj/2u2aneOWP/Gd8M+4UGU274WpYSokTzXbhAqv6JhfpPK2iTaXYil9eTYt6H90c
21Xn5UREo/LDNptVu+ArpGw8HEBCBJs5bNgsOu/v6e8JluFbOKIUanoUkQ5mcKxs0HG4IgRkleMW
+QOOyjSySxALo8svciEtsOA4GlAG5NVL9jD/hHMtaooll/7Ra+lE3bcxOIYMWyKn3MZoTxAQLPqA
vTSgAw4V0e7uJagPhs6osFCi7K1zsuvdxv1pyH+y20A6QJCpF9KyXUkHYlDvzRrTFOd9Gdnm7UlM
Q7yQ1/GK+hpjFIaR0q4Hdz5Bo/gjfN7Ot/lWXFM4qrf0WNrha7tNjR/MDO5dazkHj238wf8VhAJ/
U+HIm3EjrGYUeYvGY3i+zOk5pMkeb+m2/xLu7NXZxPDf+W/EfNoxMNAwYeUb/l9qgP+spBRVVkVZ
+X8Z6/8Env+vA0kwKiTwCmGNBRs2yPBhHEiN/+RRNeJtSDHY/xf/x+sW+9czhB+oQWM3DBW3ivhv
32SL0J3noPED8QriIC0j6FJHlFm4FP/v00oW//O4wqxgqBxUJqnn2C/+9biK5bmoe9WSDmxpB3MZ
he4kovg7M+PXm2s3r01EFszOhIMw8TSrPwhgWs0DnorIw27zGx4eC5lRuSOjkqjBXFiRoVAuy4ue
LZNwh31fTFcZkgf1ncG1zGYEdS9E/iULf8QkuC0JJnvnn/OFMluvuCrniWeEkSs6W9nhLr/Ov0p7
1n/Lg6L+xPcPzUMih01/diHL8ECa02YoPufpA0sgQytiGSpXB+r6sBmWDhsVKPFjvpWdCzd6IBAU
k6CyRMwn05oiX+cUuTH/U7ttfMtlt+n3mNFSQg86yswxRrFdbhmiNzRH6rdA6Cr95RcqNgDQ0xuD
mwYtF7qo4XEuXusjVC20TinGx+2ofY+baSt3u6d2jOdj92FVdAE+C8p+mXHcjskn5jTJltheEEYS
+WhcqInZ6SC8zDFXehbr60AUKMt8fcOcf9siBmBHsdI55BBZotfyn+oqlfYNrrBd8/QeR0yOmD/n
C0MzV+LlLBreDBprld/byw1GYxZ5ioRmbN30/qS/Z5jDnuUu7C4CYUGwXg8CqIvH3ow2wzEDUEYk
Mql6CDUeGypsQvVguf6XeY30uqr+P4/9/34W/20DMHejDMVKS0/RH7Mall6LB1ieIAESR82CZvil
YlmkS9RziniQs1VLBTcCbpvfrfgKTW74nk079Bm1FtrZqIMu3xRPV43wqJ7pM3NWg9JGgGaHUKs/
1SphxGjEUFE/90Ky0Yu1Qtd34dNHf/I4CfJVYymJ0nhhfoBIDteRAgoWiIyXvHStDs1f/R7HJ0wr
6go6Kaz+zP82e9fUbFNFhn6I0p9QQ9OCh/Dl+STIUnrvjO+puhuULkiBaTZLV7WjNbCyJ/wmNjQS
CTXtlmxM7l1frFwciHgM23SPrGExHnVi+8CkIxUACJJ9GL1f4fVqN2hsHsJWyBGME6wN7pW/xR1Z
5sl7zewAde3zHr41egYBIt0TrjDaV0+svp/vfEcn00dO/IgPEjci0Rr83QpfMBS+yj4ynHzJBLRB
CkzgvX/hn1o0yNbWCKg8gbgPmm99CfJJ/H0ieHf6LfHAtN9JHqwzicgNY11cZfC/PkSgHal/qKiM
mDXuAscVyRb26IdvlLkTkooXUkcl+PNkXuAOmIdkbb7xhZIUl0FP63bZW4SkIz5VPRZcylqsTqh1
vP6P0K75SaYYWuw3oqbVawnSPlxgQU0sh9PTN4bbI61t4bvZ1Yk7oCredoqDhvMh24+luuXaEeUg
NJhteFagaowlwFdBlvfllYC8rYY/3alXxiP4F8fVIyRvzmXlEj1dKX1DFo5qePIg5Dwck0hHZo7Z
ImT8AsUFbMlCJVagdfm98RLNPwlZTfpRQ2a7MoSIz5pnlmsaRBQnjJqXNamKFfodxF6duYQ+HX4M
FAKyrwELO+U9yz5nwDYaoMxX19EeI528FTF9MqVjxL9URyf5o8h9nktziRHvaQa9+5x2qo+g9opG
BCsy8n7ojdZGC4FuETiEerIAu74FclBveKT7B7oT+yFwKL3yZgH1GuZSM74wv/bzUv7j0WLQZASg
kDr2Pt+ifizLE17qLFvJIn7ObRkti/VgLPs1WmbYhivC253ux9iHH1l21nN3Yupses2NI6VhiPmO
2oVLpkIIFYxHgHGzYVeBotl9R9LkUiE+KIcyGbF9PhPxw+5bCH9bRP2iP1u3qtyBC5I3fUzi5qLl
ueI9wmLZhR+1RiPTkeBMVIW1a6VVaRAXWm+Lq6Gd+O2W7/2XKJ5Cy9FItVC99i8NP/OX5QMTA4d6
5+T+2O5QORTjFQB0xR7lyP/gb3djZFCDNZLS8S2K5FuqcE7cHp1Uj7SmrXetuOf5x/RHphYyNLhK
yWJyEqSNRAyorqJ84wyPgXxLTLRWvA8TuSMAC2Exkhf7QD7EnZzkK7Xm6+kQvhvpC2pxstM2FCAV
r6Gxe/zZasvHVHxkjCQAoESr5w2++KMJKnmbMOjOYdb9KPJvp52IOqmtpfl0Ub48aNmRHBha0BQk
9GIB10/TgBWEInIqqoWsAZEq/fQieaMb5cHrBCs2PM7hMafy5e51GnrBjTwdZ67cK7A7TyXRXbND
0UZFzA1M3fvJopLFF9MFIQCVyjGCrj3eQH3inJ7ma6EkLtQY5XHJ2TV3Gy19q/kCc860EdF0CL3d
R4TwbaHuMDWGx1d7E60ixPAQ5aU1ps1iNQUoTFXE9/GvOsHz2TBsH994afO0kuRPk3MbR4PAO3xy
i4OaTfn1Jr8a5qVO2wN6ZkUqD5eneazSHX9sCvjuImPT2Nx3xbZ7fodw18TwKpXvU7xGVYshrMl2
A+PlaonFnZ9QkMY1cibY/ACEUTLk8I4F6NM3JWIDmNQ3zgwUDKVQVH4VR4KqVJpBqBWCeZrYBcxv
KqyiBSUXv8xYDoMQEEXHgqi7vOggmOORpE5E96I0X1jSjnhlnqaYX14wUOXPb4p0sDIe2FZY4tKx
KVG9kODxp/Gd1Gtz/LTMZWqcTGZxGTVUEh+t9JPALYUpj+CmGUcy619dXwsoWZnhmcocRPJkCyyt
sGvLpa93X0/1t0OPkXex95A7UvpmJ1Ywvg+aY+wZRuXVXaep6xXQkYPp9PKxlglnWtEz1fw9D4Xw
xnTDy3wlA5FBc3ufxW3evtOcd6sp+0iNr5RmQ9rk0CItqIXjAnOzES+QZpPNktV/T77KnbXne1xx
KUSn6g+uwKWFJ+LUS1IlUh6LZ7qpQld9gE37TThJePxmfOZkXsyMuePqbkmblKX/KN3DrS4gFn18
0RbD1a8fQaZzp7UkIzDr6Fsm7IyvZWEzPpgPfb9ZCNQ3XPviSg1vJkBO0CnECdkxEpMxvRG5vlC1
GvoGzoitkkzE3xyyNPIm8Tp9t+lSOWvZiBCHi2ln8RMe4l+7euILU7u/1vBAnpNR9awhoBFQzFLU
6a3DqK0f0xqDBKNFWLDc5BwZzP+boFGCBmK0vpkatM3EVLFhX0RXtfyRWD+aXjgyPdHsugCB74tY
/eubyAASwdYLZkOeJFY4tJtvwgSzEYzuc09RFGHolxwhv4AeKJbynUKUSedbUh9idTNxEbZP9zpe
LdnBYae77XxUdXiy7qAxNmKOFKMb3+MtJujp2Lx4m3h7lpwdU7gN/YwTI3tjdap5sDMEO1mjDfNy
PsAt+vX83tULfC+DsikSsNP1oWXUawtcTIMbTavcuhSvNAzMCQuMUsv6ThkwPu34wb8NmsYTr/US
p9pT3EHdMLneAV3YrGYH9YempoEtMMmdK0iIB4G7r+MOIa6AzviTgJKH4OlvIcpDP/GqQABmopxM
xN3Aq0heXYuM+YuTuiVlF+87hMr+WjF8ggjQuyIp3pirKkIrmFggGvYFT4UXcIx2PPnG05teeRMO
ipwDGvOI0pqJxbuCedCL0mULgHAltEEzuXjvrIdLCjpvy36eC3yzAHQQUC7a8SDIPFOsqscnVI1A
9cFbXurkmsYrLO3jUTD9WrObNadl1wZR+1Ws525XMyc0KN6d4rk39ACA3CN1ym/O5spl6cQVwkXg
xZuUjuuMeyJypLMJEMcp2ErV/sSaqHr9VhAeVj5EIEKGKCDpuGd9qZK9MLnapgQ0cShOsxjEwirP
+Tg7EqqzFRFZZURjjrIRpr7xurTlxocjSYmS1WtQA0cqP6ISCTs5JdmFJ3YiQO+P7nDIPXikRNtX
s6MdCo0mZF3/9vFdeawqfSUMZ2AO1LB1t5cOyY0zKXo6AGvSzO1t5YIYL1VI8mHXdeXR6pjRQzlo
bErJTAnIr5bKk1w5BIj3x2LwDPOaYqkdXaYSot/XV4ocYF7x4YGgkfqmDVI+OE+TfpmLwURboQ+Q
KebYuWlIuPNDCCLUvPXgs8QT7iCCl0wsFUv4Mmm4iqcb2GKtvUeF3zNp5Xf2mvyKPhI6iBo1c0nr
RzUveIOEaguhkuUT17Z85fPZjcY9hl6Ex6hxBmhIgK7x2R00KE8FvGu7cgXBIU6TZoYsYXWJls3c
qXzVxc9pb0o+j2F1s5axuREmYEhERdtgJ5mTkQtLUGa9YDZjo8PneDGDcdnqxyzeUxuG7riwgico
l5kcU+z+1AT3h7Lp/17vpduThPA6oNfkfOo7epRxPQav3x6dMbVWGOTDGXfo8AqUcPFxMJ973qk2
246pnuALzJbwBJEHKS0KFovW79RfHgkC3eBpXNGl1+lBamm3/aHb69k7forAYpuhxx7/P7AhN66Q
Yriy+ItCpyXL8J/gjpMhnyE1thVaBrGFwneaKxbpSMl3yhBUAJJo9zaPN4PkQKqHyVVR6Z6mxssc
Nd+iYgkrPkieEfUz2lM2US1lSPNnj2iYeknGffX1oLfb0irkdv+dB28Wq4XeMdcoosZX9Q2wx5aB
C1Ek4kUFR32dT+B51NwJH69TOvucyGD7zgBzrVo3+VSxXjrkiyECJ62K0D27/sUFEd4iL34z+HIg
H9IJRnm4AjhU496SKmNrTgOd7khjk65iG2cJZASPim8KfVJHZ7c5JseH5iKebMCDL7UN/YOG4YQc
XaB4Lv0CsVgLNqpvDYZHuz/RfxADkuxIKeJfVM1PfKH0PDOGUdyeXdbjwEQOUUq2H8/Gn/aWeOVb
RwSy6DWuRiuCnAeT1eyoW11lhOHO12T9pGuj6lk1l2LZ2Tyj+H82qq0Qws1S1yLl1m1YWpu7qduG
BIYwC0X+irwxXyjVB19do96zMhY/xT+r96MQH8WOrLHGe1iEx+1TwmsoKDo33mTsRUbzrCOi6G3h
JT+1CaRZcMoTfpxiXT2YWMcD52pIm34mGuuQCqs0KmwzCVJhSQoRB4IurPVujf69uRXJhZ5HKTaS
6mIFqzFuKovEWBHem9H+i8QLk4oRqCG3AAZRPybxE78m5C0MLxx3DCFj7oxFIhEq9zGQ9FffjhXf
DljIxakvl5r0I6fvqrZ6qA7WuOb2moLytZHoWlh09HBXplVpZTZCikk4kQTHUMlXqxXb9Ni6Tqnf
ImilYf7i/DkUNwSgzdgu/nQCEPv7bFzQkhNBDQIeR5D3RPZHMExo01+eVc03YQkIRHphMzU9ITnM
iAvTfMJX4QkkNhLGw+7EAN3GMg1ta1m/haidcJVG1p3XxQWgw5cCNYR9jktocAtm+gamR5mOTt3T
CnKOp0yczwV1G3i2pXAYoW5OK2sIMkzuzFIEGyMbmsD8mIl4ETDIX5iUwx1sN2a3jMk0ceWF2N5I
POPfZk7+UQ1eWCzVyhngp3zPx5pllLRRPJDzqbGEbFK4fe1jBn/NBmNa1mdg9ichED+KfoHkIwJQ
xgajd7nRMkzU8MKw76gc0Kjcf6kW1wQOMSwgKPNiIP+mkfTLD3NtOekb16Ihw7mhfkVXTr25fC/m
oANnWnvIFsApK0CCnDB3tMSx9NYfX7FK4d9QbRrzgulUrlaJGnlJepnSnbpDisdgh1WwlLp1uk5Q
1ynRTzcetfCXc+1JFKXpjSzckFhsh4wkLqcbtw9xpZuLYZu79TGqVwaijtRFNVqzMFSXDoJMpLJw
llA9iF9jGUQUf1W65/2WqZP/Ju+Jk2oHPpAGhmfYHnDbRg5mDeP5jq7BrFa9ug1dyeB0v0cc0xox
FPG+0dBJvbFW41cFeCz6y2FyYJ1eNmsuj6701G2KlKFzuJHoBLIU1ywzka/weSwzZik5kaDpuanJ
DFZffrV3aLGWo2LN6A99fyhwRxJjvhYpRENpxa+dO7/A+8FnMb/aBrF0aQJbRhfVWnofi5c8trmC
0mMmMbyDp51XxrtmBsrE2OWlikbqEO7wfT/fI5ISn9vY2g+qO9ZXPV0ae86Mvj1JzRYeePFHsK9m
vhXNFYl/LO6iCjcKYN21mgfY4uqDWJ1LvDxMIyNflrY6UaocXGz8k5S1/mI8VSw+GFmwYwRrBFKn
88NyzSwGO1Sjr0fzHTMeYZlSc3yQSK4seNvw5rCck4kLmZiNtHbNYMp4eFOeHKU+Rk7rksNwWvIV
bDLg0c7zO+0cWo0R91F9oZMU3eld5llToGd5FYpbztHRRdjKGeNPNC43s91k0orZT0dA92eJST5e
DpAERHxJfv48t4gM/4DPvQ/ST+jiUYjOTObAcc32toZS6sWevmQBNkPDL6gcqVG8QiA3gC6Ddd3i
67GENTdcoO1hIU1/GEesGm4rsK3VXmUubgo3ySDDHmVWnvmlucHIIS0Z3RKDC5SdUFo7CgyGIBIS
kdfWG+hFQWvwMz4DY1o/9B9q6/LSIaNUX5VzPO+wmpB6TiQFahCkD9JbvbWcXncYYMpv9fmr2KLe
fq3HdXsAWvlc8WlaDA15SKc1+0cegto64dBtmNMxkq0eD6ePCaH6kdmxP6jbgeK7jKAYLCPIZoXF
ZVj4LImNd4yidvISF3wOWOUcGHy4IUhDoVctqr/s0/xgLE2tiBq7/dOAqFkTmFy6qfZ9UH4UfGom
9ppb25943GD0stnugUJkm3n4JDeM7qBNSm+ip/4bpcu4moSjNb0z83iqfGedZLwmDL9l1oO8D+3U
JPZcBMjDRetszLuc+W25I1Y11zeYkuXqECcnvkPcWjTLorqvI+oueBL+lJxHKu4nJy07tvT3mZ8E
wlr+1CstrAxllOz4I+Nl1rIMUFI7C5qjfEK4lBC4RoSCaxT7ZKds0vFgeOueg9Os3H4tBAZ0ppdL
q3U61ASIFTQ+7JpB6bvsW3uZc5mh12D8ZQrQPo+96aI5YlnNMj97qzkH1wWwmjVDApxTA8Zg1zLv
OtVIluzq7mAhMXyr6K5AXAejsgbzAmJ1UVDka/tYuHeaLyLvgywHFf0oyxvJlxqvfq6bZNVZ3ybq
1mhtToGsoIFf8TVhPY2EJ8RilSrseXS+4k56nhUIinjVmNxSYofApPNrlLMkga7tGtJhBHvzJ5Dk
ylOJpokc5nyDz0xkosqPWTw3w4WaA4L2nAXyjCjfLmmpqMpLtmgL4Xv8ZDkUVPge08VXFPC8xRRs
C5QOwjljbXGt+LMgTOQT+9xwRfn4Jd0Yda1ZxdIqadBx/oYfiPY98RpEsKoI25wHzy6Ku1W1iiw8
K0x2uTw4unhGsBY0kEKWOemgJCjB/sV5rr6ic09W5TZkoTwHTGkwNpbhor0odnGo/tmrrsOB5q9a
kPTwYGhyz9qGNG2ycmf7kTOGBB3yFj9bV4/RKYlr6YQX7VHdcvE+lat2MLxU+5iV3aO5maWAEO+g
c2s92Z4CUgXk5RguZgKz9UU9EPMT+J4k+0LzwUHEMIBSiCmzGf5K3F8l8W262QAkwImOgO+LwX44
v1cSscpcbmsFWk/qa+j3ZuFP4v6bldYRofsJNWl8+NueJ5X/1bAWy42Pxh+p1RPgHGluJ8pa7EF2
F0cVSYGZXZX2FsnvpSdhcr6yJUDbp1pnhgciQzTWBOfMR06x0G7Kmt8LYTcYeHOOKr+UXW64twjU
7zn6YKBVE3du+SIDDI5LA35Dx+7Fn3687jAtuSbKx759+g0T8tVcoEy41s9zg5TW+NWTAOVP3C+M
de7R5pJNDRk9yCpi+3bG/E1m6kP0BvYE8fuAkdnylPmbSg+4zyLD3OtJuApxlSN0eIkoiK6r5L0O
uGFN8ghdZf0WrQxccaXN5oFjMhyAH9kWQdrpV7TMU4yVDv79KllppvdK6SuQQyIbcR/4zHU/ggYY
rapyk84bkUsJsY3qiPfng4kqGtV2N6C2eAVALds4sIxLnuzJuR8BR64t6U3SVzkROANjqEW05YOO
i3dU6EwfvgQsLQf5DnUJf8qLUX+t4YG48Z0MUDEof+igrm0SFAThrJlQgzBth606uL3kqYnz9K0J
iu7i6c+HOnjeDApvY1VLNlOj8d7owQTkV90auW8J76F3KEDO4KHiTMS6XKCZ683f4bmMr9W7se0G
3wiXvCPBHdbPdXhg5w3jQHWEfvcMVBVFCgFrrJbwTa1BSFjtwq/hxzqE1DBI8AiTpwBCxQKANda2
0M+3CuAAWt3uszX3zfvIMUZojgtl1wPPiMUhvNeBFiLfAtFeEU3vAaQCOqVeEr8nCmZhwoyg6PLK
1snkJeFVLXVc0Pi5cGGVPa3xDrbRijhRcsR7BJQY2ZLOJ0/TBLNP68wuDH0ZXFZenFH7oCPFa3Ni
MvaK2Waje4t5tyfrVCSkOHHLJYfq8dEpeybqmXJ7nr4N1gp6giH3GP0myQb9nMuSgSEej6C5kmon
h/+zaCceFFRoQnMOPbXaTkcNoOy7gFBDr5imBcyPF0skOV/j67dlXiqUbBAY1wh9y2xbxM7IQ6GE
m7Z6wyTwgkube3JHOYmHYsHHiPY43DzUZckw4JToTPyXlU/zx3+aX0BUiL7Cn1bA0Pd6PtyqIyZ+
EQbxrm7tZ8+qpv/Fo4gCm8/sxQkj26ddD8q+fp4AKWWs4SMWMOY9GjgsPfXw+CqYeEndrqV6mYl6
f32BynZd8MUQpU20JRjOKhYM3C39wtwZrgrpWYZD1LgqXltjmRmuyvwONV6zfbTYoryZue5c3jtz
Z1C6GzMpZmeIsBnSmk/+aGK32ZdOoqQbkijAdjvQlwyqVdVp+6X0vHP8PmpMVuuXV1Ej0s1P6WuG
i5qfBppozLY1zRtyjhysjgIF9muUvSdFFzXWW6rvx1Mi7eNLl7wBYmTClX2K9r4+6OR/0UL/Vh2y
wsT2q+8KpgqkXOWjJnAJtrRxmUglei4b8LAs0O/iLfcZR5v9j5U6yXtHmgAVQA7my4mWMN+IB2WP
Ipc2rJ8w/Gi+JbF0RPQL2QaZxPwj0q2QOnaZrVXWs5A/TuChfJQVDYfXdAQDQPn5yjAni/GoELUj
cKEPrPYUbFOufBGRW0dBKh7D/LPv2G3zJzit0FBkKBhzbYv60fBGgp0dIqsAmPFnUMLiazD5EHCY
nij6WGDnHBLf1aZkqKL5aNJYSyt2+60Y7BkBEriKtIoZKD9Ina2MQFRlrK5u15+gB/f6b6/9ck3G
jx/riEzjMoI80c/FpsXiZLxh7mssH5ARfxY6m8RRjrmzE1zbWg0FXCNHz0dXs+wsuws69SENgo9r
QX46Z7KqZHa2i2FnIh44aYBrXk1b+V6nf93WyA5/JRWkPetX4/FGewxUE4CcR+pscRgbEvSIQz+C
k1CKc6hhrrCbQyV6fcO5pPBm7D702bWVjl18G+O2OEO+y/aK3Z2yIqSBXD2YlDKBAEK3yPPdk6yz
ENWDtlOSYDjNlzxIA5zFJwj4EjOc5tLo3yY2slAplwZDdsBaHRuUFatJne1mdSjM5UzrhU1mAade
/Vbru/jcheGKvBwoNQehvgpABEn9+eyB8LjJBTptKQX9Jq6vorx55CsCCJHQRetcO0aaO7kheRsL
KCio9dhiaQ9kDvNSJ8rrKqBmglQXHjp2w5IjlT+1tCzCz7LhslhI0VanGngBcmx01h1FZO13WCYT
otNJFAcMvY/p5pg7GO1XpX+/tF4iqevqSpIgx7oKQucHEqDvSvd74MEv+YdvoJEqWqIFFm5vfGs8
YQLU8Rr1icpeI05v1eN9HM6N02KMyyL2X6/89iaotbXIObsIvdnapg8v5NiETJ5sGGSyZGZo+a3M
bvJTr4TpiJWOKFugd9Uhl+FU0x7H9bnpHPEn42mXmeqg3aZBS/k6xnsmFeLdYB756gPAQ3Tcm7Br
8N7DISq9dNoYs9Pg8GeLpydrwuHym9FfU/NScBTGQEJ6lmKfPVFvLQx8TjkZhUm1GRRkw57gPnT6
wZ7XwPRXIbaEbzoIhoi50YBUM/pt0zV1tRbdB/T8LcV2B4/q2a77oUAqzqbuVXiYl99kemd6anxG
MpTuT3XdfsUpCKEtp9jboulWqrrRJmKUzxnS5xk0uVoek/LIMFdB/ywz1iAyy1NlR3yeQ3JmCo8W
Vmc8f4m6VciQqHLxwY6qE97pD19n5EL4w4o6HNFi3cUfcIl82AM/7hNCASro2UsRaJIYkX9G4xLK
BrUYIvsdLeb2Ye6sz1743tAeMDr09XfhyOiKo02evDon+AjvSNAm6ykwTrMBGmCdQpHObTVyDGED
diXu3qbmAKFPY+QqbvqDCot5Mb1sf3GziQ1MeZtHtmzx2m+b4i6lAQ5REwoAApw/rXDb5wE5VqPu
rTBAVjGdJXMvh5uEJkn+ZL3UPG7pKiouCuD/8qrUnxUis8iWudF4bYnf3gqUveo+jwOifJCTWssU
NNR6rN2UNQcclGlFs11Q7EcQWGIamY/8xfWBEPgh8AXihmHhg1rOp4AFRtJjljSzgDaS+jAW3h73
yfIQKcxXM3RBgfHiRuOSVIEs4Vlirb/DMQx5nTiwQbklD6yQ+ZaAmAbuLlUQvGvpsUwkfzD8RlsZ
rNcQYaFej9eCcZWqN13ZgsZaTcBcEAVGkKjIVIjy34kLF86XsZtVrzPZT6QHth+MOVjg+hEYdAZJ
lemBdM/QingALwlL62ztHr5NjCIYViGsrYn/QhO9ZOjQWaduuMSVx5qF5WmjfShijbjEgdmgU8um
7svY/P1ipDMutkf6OodtUevOfjswDnXHfUm4E1ZWYlUXOr8ONcgsbz5T/iYMZxfpFrnlIJ/RW/Tz
Nxi6/gwltL3IePuReBUv4V6zgRdh8LpfpRl/bN3uASsW2YXh2Utz6xDWZ2kEL7BgOZDlYKflMtf9
p/hlZjshtCW4XJR0qSP1O7SNWfirGMdZYdjmCPVO+ith/OcOZ4y4QeLCcDv2mY0a+UEb70W9sEqc
Ftvyuc+eL8z/mzIyIGUwhohqch6al//pDtXLZsCmgKRiE8urijU8p5kfXdRw27LHY4cO6B9hiLI0
cb+d651KD3soej+ZPWvVPflyNivr1zSXcbXuv5N2NeH5qW+KeZEPZfunYDyn3+Pli6qjH6bYSyak
9LqbgQgo1pbyUd7yfifdSHAhO51CQHxEPl3GlI4Lbdxhfe/A3usOL2b2hdPUrgnERPOR+I1yHijo
fmm2tUCnp8w8o12HzYf6AjmRg8mFrBubHgEMs/cviGNcSrET02I/vlo2rpyqBKOkLt+bF6sQtsay
EPYJmgLGMwa54M7fcNrxBW/ZjUNia4LHn0yLvtIfl8ElE2U6SRRX7SHlWfKnE7rwouFdkXVCVTvd
LFQOO1RS5LGcbQAtjFH+AKSw0q2CGBegmyyFx673lL8xYbO84r2pwonZSnhgyE6rgY2fZd+5Eqkf
WO6TDegwiOzlL7nYTvMqzl26Jb9c5bOP4o1puMiKEVzT8lltxvEKm6KUPDLAJxJqsI4oV2FNKObr
7S4I8iXQlgv2VEBFCnH7g5bcFdG6B0OGU0RztE8Ady1+DWaWoT0e9PNI63APH8GsnvrsTat2Rnae
KRoZwD44nCe6E1ptwlP06Kwj9eipndnR26hF2PkTeZ4kv19LGo/mcWggCeHu1GwI4+MWsGOuvqVE
Q1bYzv+UNR/oZ4gAmKFZhMwm9VgTNp9QHwdvYE6PNk/dtSNdBVBd75Gy3t29ttKSb8i2qG7Nyc3w
5byjnzMoTYmnRJLARmiDK5MlRKR+RFSJ5+XzRktb4399DXTyLbnCk2SXTAkZONRe+92YAXSSFE8K
YTmI7fuLXi+MnYlS0H51D9A+dwavOsamwUheODPrYPDKWyyAqtxhjTz69TPdl8XxxYg1l8CB8XwN
pEcOkNFwsyhehoezFn814yQ8LqZ5mPUbbTKGjxwiL6lZUlDod1jtj/ztMbHsxdCJAi6xY83WuPiX
TI1iK+j/Ofak2RPnD2Q6SnQajKAcfHZzAoH1DNeRFuYrRrOqsGEPySS4lfznS0mTBTFXhPzbA5Ls
AhWwBJIhGw3hczyH7JwZwkja1RTRkmLNXHzMfwyOsyu7OPRd2n58EQVLqijELN85Uzzarr1yf+2o
KofVLcKG/+HozJZUxYIo+kVECCLDK6Mozlpa94XQqpJBQGSGr+9FR/RDR/e9NeDhZObOPZDNMN+x
cgivuDQLPqlEhjDsQ7gQ1tsWf7M56wdr/AVhX/OtBWOs9+w21s3X5MpW+lG5qf4CzVfny3GNgfLI
tP7BboNxPbXl8QB0VkFEaQzgH3h0UbjWo6MUbmbYAR0oBunc1weajFX5wkgGvTT2VjlYZ/ZiMVqv
RI6Jm2OVp93h7atGcaoOKq7zKYEh6k9RLZX5WZjtcTYdaBCtjLa3abDOf+Ykgsx2/Cc4glkIHXsz
zr8m+iO7MO2EI8Hk+jFj/9b600HE8v1jfSBc5s/hCSdWEg8JfK0VRovQA1V/Tk+gWDztCR2uHFia
WMDxOaWkQ7kycjfB15IlFjd5d0rVJZmJ9kewh2IbMsgM2eq1lnhX3j2VPRsOwwgzk9mU17HrvPqa
wTOd0PXPRn80PALJ1jR4Py7BLmF5mSVkBsI9MduPWzd/yHrialc+AsZH/PvRf7SHwGqvgJESbkz1
xxYVV84hypKajDDETjlq7ZSUApnsmjFN1DuVZRv3CtMcoYY96zkCgzHgHG7CYrWo1hTGQFxXb7Zw
OKcD53FvN3gpxM9OgR6yQGgahx6+uMabaBpB4Ht99b/VpeuW2QZbdcJJ6232V2vnmuUs2GK2OWML
5TTqtsLSb4lxVIh/tMwcOOKnxVwts49/QaOoC1ccPAJSQusTXzrmiiK54pGjFZvv5jYyB3QO6Y4S
Q4/yPscec2tf+T0jegxJdIWqFTuoj/RXJEv+ZYEKEAkQIDr1X9jMXWFAqY+4bVwGpzdeYasWCKJ8
jnQHQWtlOuvv2OTv5oHdTq3npOMxsAukAof6rguQqhCppSG8wOBQ4gb2FPh2I3NNWHqf2xzTlmEj
StCDG6paA30iBRlwguLfS2aBhCV4glbMxJQg/pePlnqRBkfxeRzpmoBQxUJi/16nr9VH36QS/MBJ
ZQEpkQmF21e7ACuK+np84+RmQGmWUG341wYBb8G2ikBKUElfO2E10geMXN5n8Si0kwbobr9RJYqE
2abAf3VgUC6B9Yn7IYqosrCPzOKLivHSx1LYuyenktWspESXTAlctQkcheoyacowunvzrEfSirEO
ydfgoCEh1QihFxjY4uYpIWkl1ux9ec+6ywAxvmTjmRDcw91coYTC9q95kXCUElnUvXHJ/K0xZjRV
bHShsOnVfj4jmcvGh5Xd1HxTfQMXiIcrjc67XsUImXD5CNRH8flRJuEF/B2aeGxfBhhnIo81Ydip
pK0QnQu6LiT0KcZ57amYnRV43FGDbEb9WoAJVyEdrO4ESFJFoLXOz+deQKRHTuNKDDX5rPtxfJT9
z0K8aCKakR0GeMQYEAwGyZVF27CiFongbFjJJw6MiNcWgmztU6IX5DLswgPofbOp9xgyfyHA48Gj
M8a4FoVgDXXDa+6tDx0ASW9vNRPDm08NOYwVrko0dE7lZqvUAZgOl/oPxIzFcEK1T6g1znhTsk5+
RFVw7AkEx42ZYs30a9CeoM/rAFhxWp0UAZAKNNMqPjdKMxKebcpRcVR50hHiVOBKTObhXT5UK2W+
fNtLlqndV71jyuSHWfOSroeCz8bIG7euoaobJaRD733DX4VGdJF589kZrA0TQndYv1v6oZUAkhuU
nhZtFW8G1Qu+M4T7sSAobQcYRoPVwxAi5GMfIQQU8A4BzOLbzRaHcYDAQLDSKrnlb2/xSMOvar7C
pam3Zquu30FUFx3x3BAnKJj1L5qMcPqd3xsgEfx0Fpakr5kcumuQsSi1qU+io7hvdR1uI+y7DUSa
w5NNErmp0A9VVwYNBsfkYNKf/jVQJjaUdeJCnOTW+vOU19uHkjaS0EDlNpJbFq4ylyQlR2dbmRjZ
WvQUN6V1YuvXW3DexXYdyZZmNvbbSOmnGfC58fFwyOARTvo/UtT2DyLIsUkEeTXChdP+NDbCAdaQ
GdGK77UyLsfbB5lEnfzL4DsafG3WaQGVszGYP5zZazUrHf1U0ZHP0WSPW1H+myvoEfgDxWw75WYP
9+GrxVJK6XZYFMwXc7r130nMbYO0H3CIhlUf0xZEVs90NPeHcquU25g2KP2/HxHh3vPNa8FhtMv5
lLfsz4mzISo89/nXVrGLGrKRgRcBrzarvmDL5gbm0/vZOsnotDVRwf8KinxDRS44lz1zTogCIsCO
vekumxDR4buzgsrnYFaoIv69jqX2mLfNkv8m86qaZeyLMUQyro4QJrW4Z7tcLFirQoUdUfzyq8Nu
qEO7/UazUBOUxZ8O87/NQnPn8TFieRPcM8ol66a0X0eZE5PERbmeefDJnqn31rAXAPXYfrgy9Vv0
24kbeYAQTdpKbyi+9As+w4lssCwTrDDDaB9SFuA/0+UuxWCVeLo5GRI4jF1yQoFAE5tLdgghsOsO
3NkmugpwJ5sOk1kmBqvYxSgOL+BeNespuHG4M8CEHcZ9M/+bZ+tk4cz/Ze2122uM6LE7b9AIUosY
45byCTVZPnMl4KLyxDaBAi3XVs8MliVQOSx9OPaYKqm20q+YGvOUXTrHPnkAesfxr/iQ2YtFSwxt
msQtcS/B1SQGLXrICjCOT4Jm+vlJctEueKiZbLf5Vz+bWSC/IyftjZN6dVReTjZstXlFHVmGxQFA
dgpNHPt/evoUXd51Fb5tquD1rCw7WAyLwAf6zVg8hvhafaIXbpvnprbmzd+nX8GfaN7+CK9MYSjP
JoIBZuHePHCRRCmEYZTfQuuEw0qLwRy52xpH2Y3KLWXxrTjSjcQm9gvUhGjyz4L6zCY5v81bG0vD
kK7ZaNiAJ81TD9aKbI2lS4hxt+k+hleyE8AAKIVNILlS6HSvPQgJiCKchlAEjccm898CsRuWJqI9
f1vwIy9SdOpYLL3fD6xOhwRpgwZlwY3KHXvEcN31VtXf6yDAbQpRxtwtX9jT5zbCSVMbl/ocn23I
KaoKzeKgYxcwq+CKivhRhfTKK+ajPFDWi8XvRyqdBc1/0FykdEliiwi0L3PhMKi9rkH50FhFvvzX
vaaaiw2aDwmDe5p/uADDcyqjwDNw6SIoJyKSRrKuG7PGcTMEOiXStdfhPAy7D+I2gPWkna+rEgoN
q/bZoQPrRbqisAvn0jY0qHyK2vBKUBDajdRCvoZyTFTIWgVdRd6Z7nN0aIcKGQtcD+mrj2gtC17p
3J7hhF5A0tviUYIkK/UDvPTKS6L/k/qlRkjg2yZalszX1YtU7HL1mcyFBdaD3Y0AXz6/LRygZs7o
YKmZ2YKgh7mlrXCeeuEaaU1TwmIXv7+q52ube/BPy12e3DW0f7nVnhaEUndbCDFw2AYWjRCT+is9
V7LA7nfHFt8fRqdQ1mn+C8aLiCaAPT/Ol2mzDxqWZvRqmLxmTAwQMlWyZEx+Tkwc+Ey/2aIVw5L8
jDVLxMKKlsrufavSe8ZWMHUQpKaC/cm/07to9mZmvfbF51nPduloV/4oukJ7gecqsSP1SmXd4s7K
eG2GcJ0kws45w1A96GzE0YsTv2SfFYEOJfCAcizcoKeJTA/UTWB65DQ5EbOPWWM3RFQY0o42bXEs
HnLvhuzkZSv7e38gU/1p/UHG20Oifyf+kIrXpEd60q71yociHAcuui9hshJip06g9h3gK2MT3882
oPNlxidAwjGEX/OFAJflUUhrhW8BgeJM2zxvIivpIhAg0rPOfjq2di0QeS2uhpnDUiniHu/deDMQ
hNI65Rpwoex9Rf9VAid/CpvkrlBNmkeyzTFkZmD1NZFy3TvKDORSOsFqIBthPRuPyb/ql3QeCdTM
uDflMsrcnjQ8GweG6g/OkpGWJvikVwSnClAFHjCtxnZGf4YE/ltvrbxcZ/gJ9Ct8Z43uVBQ++jId
g6Zi24BbqpYsrEQcZxNo7eJBKb2q8vr+Xs4P0Sd0FoWIOJQgSZjQG/mneIe4dZC3AWHluuqmtA02
Jhl3rri4lUp8KjUoyrRdlTw6Cpog7X1WPxkMptpVh+owH1OTO7Lgvw8kUf6IoJJMrBEQWZU9+tKN
+0dauXryHcI9/yOWZObgLzEuxWV4iE7RSWm9bPOPCIoOdzKmr0d/FZizpcQFBom078VRJLd0brw2
qs1WerAgkf3mDwAhQnyVb84gL6ARnOsCkTeqZLtf682+RjRwCbrvgfhy93WokEwVxDcGv6+JIfKT
5Ud266IZXyr9T5y5n5vODpHVND7sI2Ic/ICbizZl/RjKXizsaet8DE31T7BEdtKs1E2lBVV7BP21
mHZrn2DXwcgYHIIQIEPWK2nXo7Sadmo0jMlpzlIju9V45iriy+U1C07KKa5ui/o+7JJ8+SY5GP4m
66F5D2sHsqdUwbubthxt9ow5Kvlchme5jRCWmrPGVHZQ+WT7RReTAL5EF/6lAh+GHOapmRsNu8GB
dFZO554FEqtVupxKwVM3N9PZRSN+CNGK9xrIh492VJOe/QJqErqpI6ELQn3Rt+H03HnTpg90KoH0
/7wsOUeRPEMWAKpRQ++VkmGFzTp2Ur8BtBmA5vZrYPsDPId0jkYXfRKwTVQ/IRepo7QWsbGVYYjH
WywGzJSNd2Hm4SZPli23GZdky/i5E9Ai5G++VaotY9FvC0Qma/UiXLTogkkrTudXwJY834IQpu+v
V0eSBcZl4lkIQb1sCvFig2Wd/uZjT9JbDY0bbUryiMNV8UgCqJcQp510flmk2Ck81OOoGupi1Sz4
BbG+Po/se0J0jRgDugMPBpP1cjePdXOBKF5ZLmg3uKgBTqtlLq4kAY8lVFjKN+SCVnZbYtWG20IF
gLip1Z5NuTLNDbotI3SO+aCt+HNQGgwPx4PM9jV4n19v0mNhzcAb3mg490IVhvIGEJinpEqd2VRl
zQ5bv/efxGBzITxX5ljqn2syPhrVB2VHETzHOZhmbe7hutkveaOu89cZp/ZU9tifzzhG8IsXWy5h
aDFvT5MMxTBLW/EDa9BsvvD74wn9rvlY822STCSdOPqC9hCTXbRHtoAronkckCABA8gEicHDx9UE
a+smWct7+TxkO/Ai/E50JG9G6KlbPHhiP/3S72ihETMsHSg9TL6gNd3nkHmYDJJFHxp/2a3jWt1h
ymKWz+0H5pnwRVXQJHLiMT0wVfjv0YUKq24bHKYHRn0iUKYPG8OaEZrXv0i53SnQ6iXZVhKLl2e9
TeBv7d6VRd+n4k+xptMt17ABzOjODVtDSjngGEaC2Wi6QPfp9lK4kmUk2zlaMGKRqU+hB//tVABn
ucH1i+kZ+TYlk0u67/F4WVe4CqHwhhZeu7F3zdD7xf74tl83AocQTaHh2vbQHSy28SZjSYQRtDWc
5qZClSi2dekPOzwWIf/oqZunzwJsyCQxm5oUgiSyvrf3kXj4wH0/sK2r1r8xCwGnXBUZon176FYh
OwV0oAS6AkDOPDrLwO/XPwuyM5yU/GXmN764/dP8UCaISrBNYgQoDjVejQX+7/FahR+3U1Xrm+wC
E+Oe75A1rwVXp4IrY15J3CDE6oWJB5kzLMGrY6Dt1Pgwmv1mQd2tGdknhgtnFebOLN8tzO0MwoYh
IDEMWRrYnYQbtU3jlVHzUd/Rk5u+EHusgHLo2vkve9Ak8fRkGX0BPuMQvmn85K4Pm8Xkpq1v/W9y
BTn7Xp+7wJDcfws8POwI5cgNk5xOY44GXm2xYcHMi+cSspo15B8+HXUipxCe4so9MO2XNuV3ndRN
n1rDL8Qhoideb+ixbK6L0oU1CU5/jtF07KANzwN7MtRCV/9IIO0B+xzgv5Ep0D7aa4Ad9VHqXcXj
flAhM7EE5BGEvlZ6IhIbki5oKH/M++QCV3s0y5nuvdgYoFoG2kFKzTMiapdPODR5Jb6BXWTox8vm
7Wj+uGVZHwC2H4rS8AU4HBOsabIZI4ttAECz1SkddguxZrbTe+MPf39wqGOEpSz78i9wPM1D3iJ7
9aPp3BjY12E7d6lr58P72DTLBcy3mY3rM+ShwPju3Tlb9MaksC4DO/uuaa+PI5LLHRvv8BdDjM14
ZFnEpXLf4wOR2OK/ABKkp9suDnBXSEyEi5scZBDcYhkiY8dpRcFGlEztDeQqzX95n9whQgocijZT
OsuCoQByVkb5eLnNd+VUgJUONxCaY374AwA21CeSQ2C5+IVhkpHOCm+NyxlFiZYLItvCTW02gyh+
RptPM+5N/EqheW4Cw9zmqhnZpWajb6IYpuDlJwCgmmPaWOGmvFfn9BActWqaFGAXRUvtJ/uF+mFW
pwYzPwgotkbggtHMVinkx5Nk2fTsqssC5p6/Vr6cmoKLbshUVC8+827RYaIHp7dTyZmCPS85KZco
qpjMa4jIHgxEHBWV02jq1Uv57bfAVqj8Fi4IJkc12fYqZBxwdV9KnNbtt7XidLE1eNk+rpYEAxls
FYoFaJ0VQejWiO2w2IRpTJdGj7rOjHuDcTNQ/JbfhytqmLhlBRpLDCrM1/yofrBwteqlUO8T8d7W
F94XLK8bO2vOWb/mOSrL9FB2dmQvohVEI12mycceD9wIQLHxRWQmJn7+eCDYAwqD2g7qlTZxNt9/
+oVfODjTpUW74qk1RnLfKoOzTY+LS3mAnPT55k1j1wZjQFzNWH3iNDeNkDYXeN5aH5+PhtEf0L/H
F4XRaUvZl4lRBzcG8YOSHcwsuseYTITJLBhCPaWHwZDrY2TCkM5GdVOPEM8I4MBxZLEF8iD2BOaQ
7Co4bFMGJmKzkTywB5iOPTwMwW0aq8yXKAwbS38y7sdwVrhT4WPz8iS3Ut7ViwKFmUc9qoQ/+PCv
vw/WAfii4QY037x8VTOh74hg1WwEoBZ8UwRZKhAaMuJ4Qqj6BaIXHwbtFVAyx5lcjHnpxMiTF3YF
sQRSBlMvNPZ9qZt15TTSV4cudjJt8Ga/b//dsLxwKkhpp4/TWLE3E0+ZvOd6hxhJFInJj00TY+K/
ZiJaa7dwekUwEet9034Gz0yM02zJ8AHp9kz3yejWOA04xLL+IlOAfr2cdsLFF4RuzMaEZKNoG7iz
HOO3fmQLMXDX4p1bcDMtk60UWpCdso8FzTadnfmbcy7nsXaGwWGS4Rel/ZS516JoU3wx7KlWQMSQ
fKNbM3tx+TnDuYGPZgz7gN1cx+bGjU4xhl8QTgSMDO0ZC+tj6A2hnaPQWkIhWiQ3MT7zgTFT6JC4
k6lkYj887ZbB0MDJna3kYxwKs8JItx/NZeJlUsSDwkmRa97UewCNEuIRiT00T/wVSBGRbu4ZVRhG
cZZZtm8uNq1dTQf7B0R2ObBBfSMntiiH/WCF/2g2WKKy7vis+B+h9iKq5tRDn9HXR8Wr2a6fpW/C
Y2HjfGcmnnEkMmLzB7APCI2Kaddw+MCPgVLlW7QFI7n/YmWA/dJg4UiJ4BSPN6/bfR7VAAvH1L9j
h82CkS6J1EM9Z5w0O9+gXE3NmVG7mfeOjR939kFG4aegKDabL1jFla92yGHAuLl2W3MKk8MfzhL/
lbbfpc64bX4gSuAVjf88Mll1BXzHuaMDYmxnLMm/fIVvhmvnuLmBTRlcPDRkB50IOhl1vM+iSD/M
VwLyBbeEFVjTOI1Y6rGtbi1pDfrrihsR4c4dqwCk3gsy/SYz8Y9D226/Lv0kSrVg5/gZLcCXBtHS
UbAIUv0X5w6E4NC9HDjKRJpoO+j8dnnMHlgPR+bbSbiiYChbOjc9QUU8kFX9j9VQ5mc3pHjyd7hX
5jgkGfM1d9D8wHKM2EWuFQ/hAEGb6xcGmmxakAxqjhTa2MWOVmaB5sN9/Hj0vqqL9T6cJC9YA3nM
CzNY6991zXNQ1qzwWVNSeacSpTGffJaDA/dz1CzIAh/jVzp+qrWwmgs2bqcRj2C9OAoS3FdTxTeb
0Q0kDyPhhQ3LDo8VAxu/xhtX/SFxNOsoWwjSHMQV81/mbTyYHAySLMHRLZSrLSwBFOSmso3RZjvK
YQZH76tY4VJDB4fRxAkaiLyTzqw3rhlcchi4bF0iO6kfL0/PWE0uZ15hwyaxKuLjfhO0+Hcoyoy3
azZShgE7l5CszKpQErCJSpNbv/oodubkMMShneZ/83yVHFU2GVAJXZan7HS9HrksBGMPXxMI2ZTk
OyRNN4briPFM5Eq/WsIqmf/BU+tovvGOoadHaPO+Ex4RrRXQO42XwoTeEO1ojfTXpvvmvEJRqU6F
y+aWaWebbOiQgXJ3AYXOEu1xld5BtGTRIAyHxeuMUDlaPGO8ywQCTlpNI/9TrlyrS6FibmAKeTbW
zAtDeCIWKUN31ktI01Yh/duT1ocPrH4AXs/9qXaigeZvvWi0YZejVJhOlOxBkARDxaOSgbldyRAA
WTu547/FoU2WhcbpwOWTDF7Ih7LgMecqPhPPHJMl4Qg9DpnAc2Z9BGvsl8IfVKNkZhxFdPB+/lqS
hAU/a/gFvWJxby6p3g4Up2ZHL40PAbiD07Ny6PlRYH+9yXDxoGhSqHTdRsWB7AKodGH44qr4h4jr
MjjaieoDPNg/gVYJvZPBAEyptMfmDtRFIWH/wKpYtZoFlpNGwblTYEIa0RJCULdHSTUxozt3r32B
9WyJobKgmUJImvAx7EAMCZsDTptjd/74Va/4H9b5kZmZ+f7xZ7fyqPANWNXpb2vYcxfh3jJYMyck
OHNqdkMAdxefPFrZe7V/a3x5IOHOYVuEh4gbGVe8V6ZyeWtyn3v7MzgwepwWF1N+ALjD4ZKHLNBw
0eOQj4lnHTp3tMkDFKXTp91QQbvAJdNoGys/8q2HDedoP3RQ3F6u8E9lW15r7ASw2VgDgugzztkJ
kTENDTCYCKylPadYP3pVPCsQoUKagHfI2wepHN8i8a42DhHMfyJeeLTUbJpddGJWec0BAQBRMNGA
pDn7m2+L9kt4XzPidDasdWfdxNAPYDUUEKEaE58/iGHfZb8bWP5AYsRhTO3tLIMlD2a26ZD+uBSw
CXngVqW5iH3qrvv53IbfzpJLOx3Jj7PUwxuPBc30gUM0B8SmH6fKjn5A+8s0mFwTkikgEoSlU91o
HwGJC8jZIoEy7eZDeNt71e3bZwR8PhgE4PU08eYHFRuhXIpRzawR03ZDAoHWmRZcdEJrgTZ5OdMM
9haKVUKAd+j2ifIon0qBLRajqSUTsjD32lXH1qOzeA1Y5wt/tR3+ZuTB4PJmzilR/Cx0acGSU8r8
D68ZKNZJShMTp2hdneUzTAwEL4Y+FR7V9VkxyRY3BxUjwB9EdQengQWFat24DvuI/gPXQ5ZvU3iY
sX8zpOY+98IL0Ql+jyjqFvwQPbjIrQUrzSbqeB6bGho+G2UFFzcxqKnV/GDXi9KAiwokpL2iUPHe
rc20dqosvzc/vghzOJovwRUAj2lOVL4FbTPOfxxteQVWHLMyI901vIgpBnMebX7Uk1EOrGSObmyC
IUcOIOqLzZZoA2VGoo2NEgWQAlFCGlG6NZ8Bv2fCMypJqy0t4N45VglseWfr7sMSjZ2Z7ITTwvFj
1SS9bVtz9vsBCgPpaj0mN8WHSsH0qWOgnqQnfsbxoPjTebgT5B3AllA99mL0TdwqsbAco280mO1a
28+UPRKwt0MPBGWbJSIakDh0/TiyVdRSjNjCFy/k61KxE7YFWiFcde/RSFIxMiPmJ6Y29Q4ZRvvR
N5z/GuYIKd9usGu3Q+AQV3wC0Rn2IlgqtiAtJEfIQjwFY0BQTX+8gTJx5cZFoMNRmkQuK/E5ZI7N
TcFpxKAbbXVoAaORFtEzEPy0VEzB47FOrTxz2j99cYOUA2Y4+2WBR4ixDLuRnRxmwV0H5cZRQjht
2GIZEunCNj6b3fwIGx8dGTnPwh+vXD7l59HZD5tx3CThhqXiG9QfLy5stSBkQJiALU6/EE57hHdM
urzFi9bTpBdP4euDCoTZTlyDFyyOY+Tk8qbKzQ6mA14GvjjsKsEJGiNlzUwlgUYT5pUbvmmDCAmS
+K2h8oaaxzRgdlTQgjUYvVBkog+AGNSCHKPE5MJnI4qSofnqUZGB8zd3tH8p1iBMT28QjwCdo8UI
rSR2uRxd7sFeuQFGkijJkyrR9YsWV2r/JWdmd74ONzqoHppNh99j88PkQEEhYptBFLXTF8zYCPvJ
J2i19IPbIDpM/sCa24Pu63MT7lDHC3OisSIABUoIxP/BmBPAB/MRE5/wr5N/GfnZ3j7za9E6NU+H
ysDv7ebPsLpRmbPR0fkhYg+YK6dX/0IcsUftx/0u/UxdBfdy7TLWjM+C83BLvhb/xH9depd+JwgX
imt7hqjzwSwz9l/4QQNn50sNgYR+b0nM2LzcYrTG1ppvJPAvFS4rEe0Q/BOzIgOIBXdq7qOHun2t
8FAvgQchj01EUQvJGg0CusT/M664NpsTAoRuufDgQNB5fheX0oXTzY+1WCEH+keT0VLRghVLB3S9
aO+QKH9Pgy09BQP1Lvg9Rtd2OfxjQc7Yv5o+5h86vQqvV2BaYBKWbwuXkzfcKuxQXPS9l0+0lIE/
gl/GT2gbnNL8GP5oj+IiKSvlONCRxmfaP74YJyz4WH2+HhxiurEBolqD1JLjRvd+7VfBTp3QVfrX
v3xdr+AUgaTtlHOIn76r2h+/3C7AeXzwyMLsbp9zsp5J9uBt35bwjDSo7sdJ3zQuG+ax6hgyGQOW
BIyzQLuwlqI1R3Qhrnjjc30NA7gOTKhVGjIUzEz2HC5eUrCN6FnR7+IdEhwBNFD04nj8sTGre3CH
ZQsi6sxxW7NZtoCzy/XfeBTjq4TzZ8IMdERDufls3keCjc23O9vDkxu+JyLUDAyHIdK4zm4TOMsq
bE0mPH33Rcejz/pM3qKyHXlsA4+AenUIGXcFO/p3duMZTU+dg0sDDUnw+HaJzOzRC5F8aXYdajlv
LFzyx6HbQW6muX+C+VES9cEUBL/S77zX0PMGvgoccfpaFD7RlkLQKxTB3XtAV7Wu8iNhPbSBlc9r
IB5leU+jTZu1gMFpB7vPHqXWnBb8wLJgJvwmV/ms/lN+kHONT3av/KUIdiy/lJM8ua9pryPGcyLf
oAXTzAJ2yf/ydeMwncTqERCvOMAtOaWuvJR89EeYEnwHmaPGS3rCaD1fIdOiOmOnCB0BiI4Dc3yZ
+6m5UpYM0to+W8kfbIPe/9r1H7xO2PRT+wT035nwtiVv2Kv/4HSDNFQv5wOi3kAeNhuAygl8xwfF
GFcUpw7zXO6Ea13ANWmwnvmX7OoH/vH07+hMqX+zH18AdvziiLDScNASwj72kMZWP2SDwrpTShvy
Rx9fIQeOsgPcO7DDsGEXi4yg8o+4DSbGOMsg5cx3FF0MtTNHNEFvzBdUwBVEEnCp+Jyd2y2BBsWq
82NP26c73EQ3H+hpf6Fua99pelD2E1Yx3acvyidv56idYWF/N9/aCbOBzw/gliS47YBek74SBITz
03Cc3Pm/qIQrBr6Lop3WiLO9wX4Ak/v8e86JtOF2RDuBik0LFHqd5k7POvxBJ+DUmUXoB8eK97ip
VqCaHI6Mvu7K681qZLaP8QWbLlDFr5c0Pmiz97GXw+C4UH7S/28tPhEmC/fjS3Mb1guTv8z2Pqhs
4Ulw2wft+kX35GOM/PG8+G4mCAJGKMs9NtLPeJ+9v0Gn6eYjYmchTq4bH9Z5IZ+ryH7xWHFBJkHz
N/7mFsA56VSziWWTcRy/AFO2SuYQm4vJfbolfWainE530geWxIFblFTUTrT66phn+NYZym8mrhfb
8ZCAJMEgEwFvgRABsPxa2kzZHdo2lHwQ0XfjUYdZ5Ce86yCZgqssZw9mZaJ7H/m/fFUc+9Gmyw7P
LASirwm5Zg+ogf6ox2ZCtBYujxuxKtlrmouEYrpdMbeDUUt2huS+il0/7mb1Cg/vPIPfOx2nYBtS
urnQCQW60qhzQXD/QElm2OO2Eyk50PQ0t0MCT5Eql8IlbK/8K9wj7gBWFTF4XG1KHa6o+m/OYga7
SOxzRBylNNRWt+w1d7kG8Y+Rtgs2JskTfRM1K/FCNHb3mDnre7FSbm1mvX0fBLLG2lFMNm1yGIVb
/hBxF6i2Tb/qkSM8qtDix2LJQEJIctajzhDm3usSBOg2rU6AelGCf/LTsrziFbrGaGMcmjArfqRk
exgnYZ8cdObmqcEl1um9RZSuC76i7VrcjcvpsXxv8aKLyYLsTd52Eh65EMl6wvVZHvD1YQZczl7/
2N9Ahl0kG9F1gfAMNt6s8TaBunzt1ZW4YFSoMlpOmjeQdTOuPWGwOXYpPTlc4pj9nZj9afKRdkXR
d8LIzcSiXOFPt++//gklpcfNIEGLqm8lyg9/YHp8XLsUYO2DCpspitckP3dIquX34dWt0jd2Adv+
gOe2clq4kAWdaOEEIr9Pi8pGv8YeR5DEIZMOuqNDaPJpYgMSq58g7HzFvr6rMNDabGCC2s0+N8Tu
qXaC3zSEx6h0wD1pRI8c2MU/Vd0GkukOuxDMmn0DEEsJeTC2Zmwead1Dn0A2UhN1aN/MK7PvxIkw
oZyt4YaDBDC0EY2u0Z2UNz3wxwUe3ajueeHDFdIV+cz6pF1m3aGBdDNY3X7YFQwyPaaMEVHd91fp
wckjssdPjb5gMbJWytUPS/ducWzwIusdnlUBOAAD90faEUqULlaR+t3oq7z2efM/ULwxwQDfALth
whePf8W0YV8c5T00ANgCs285EQwh/wrnf7ys7bgpsexn2wECwI8Lm2W60xZY69AlLEHVKaQ46yAB
TSB/LcGBx5p1tSudU9Cpn9ruXycgDlR/ULeJg623n2RdjxO0UsXuot9haSCURwQgeCIOkFun/p+N
NgKbD6ZqeI3dGZnq4qvmD4lPZvBeLE09Zn6dCupAYPqWlGHA/VsKjBIhFV/jxjl5wrEBha7OpmZ8
EZ16o7qCay8WDqN7MHuGnIXh5YcapwveEB42Ha2+BZ+ESAJUHOawE3JYEAafM0hRpiyZRub5OqVZ
wccPbA0eOI/6RqQ2Xack/GO0B++M94OVKA7CSjyjcZzjRA/yn9C+7EglUxX27GAg39k2J7L34hsV
TNhSv1rbhxwf+DxziS0LThv/9Jf1qZcxXIaZH/eOhEa18t784zF/HIFWsvBOXeYSnNCUEukHylks
vKDmp/feruBFDDq/neSWKWFVvNK40uEe+FkvcpegbIYWUDO0WRhiBbQbRhF6CeUnXan3t/QA82pO
Mt472AKHnrR+OSdVxUZSxIMBiC7AhlVbzTt8NnbaQ9ehKrBAWdDbEWuy4ysrs5+s3wf6Miu/u7OE
01Pym8rr1cvR8DDSEUPw8bO9jHlN7/psQ/5Pu7pOlc2pt/3mdNIeQvfNL055ekHyi1WX3bI8PVnm
T9TcrMHYMJZP1jkLo1N/dGjGODJMVuyJVy+IuMMPxF1M6yNxM9esNnrOxr9uhgyLAYT0ODwH20cs
8SVIK8Jk3ixwqkD/UODcS/PmMibPbmRoxbEtd9uPuuHn4Y0fEaGmXC0+2jY8BhFKGbL8iBF8cyjg
/tVXiQ9+/FPH+wwEuDqLWKyN5v+zN5ZMKO5VK0z/geMlo9fBmSzIb/2PsjNZchTb1vSrHDvjkhWt
gLK6d4BohfrOJZ9g8o5GCCR69PT1kTXJjDyWYXeSZpEe4UKw2Xut9XeYarVXTVgaLqOSMG7M+SrF
WTt0pNCvt1ijqCvptdDKDTo9RKkvgJzG4ukYLpu6/DPgD4ZSDTM/dXZbw8m0VMY+vny9rQ0rEHnG
9910J8pnQZl1tY8EdB2/tuHtynxeqfdtyiSdhdTZSrRQM7+vThA+KoBP/TbT79u5EUFi2gsP/94G
Dz1QdaxqWM1AbByGcA0qK6ek5P+MsPW9IDd9IcDGeS21mpYrspsz3X7xOBj5qhmcZ+Wr3z+1OgvS
IzbEaPBh1+Hjf9dOtXQZhtUdV5eT+qN+10f2ASi52Gts0ITkb5MwaJSNWiR2nX8p0k+dvknxLgqP
WfE9D4E8O0IeNOCbEIql1YQ4p/l1Zhsb0e9Bp2cZ7EYeMfMrHCoJCSs3mUAUoWBmNus3d70pHtBb
vPFUv/JuzhTa0w4ol7xCFSoGq5pcH+5447Bn28iAUPbI2hk4jpGJx8wXYgORJYsJOOMRkX01M7wa
wzM8Wfv+WFTbB95QeDyg4MaP9F6Zn2zM1aLRPErt7BoipQ1J3kGz4w4InaMZyAKKf7SB0y2GqbEx
cjT6ECsvBtkuQt/iMc+6uRXtRfsC1QDsjPUqWRPI9HSVj6XcWcWBR9VAJKffBJYHy9e99krjQPQO
+rkOT38BTcU7qgluH+T5PepsLFUK576XCxpkCBKWBtPquw5Xo/MqA6T7pcVzuvRkFDJYZGlsIPqd
ESSxt440sh7MUiMUBVJgtbl9sC4ryNX9viH1HuFOt30IQZK+DQZ482wA2WOmhf6rgjfAxFH1NHVM
D0J0ne3KyVtWbFrEFy3czgSP4hV0FOGT/DzsHiCuYigKjw64DjNnC2fW7ExF88C8nB8O8IKxIf/m
I4jDgw/F+G7d3r0f2W9VjtGxoYISwVbGX4S6l7tgqO5KmFxfmC31q/QoQ1wDC5yxQpnp3Uf2/Fnb
ynGHTzAgm+7dv2AiBwNiVyaQQhAea+udzlifnbCGBOORR+mZnXw8AC8XFROYfNPCOLzSH8wLCHse
IlwNZ1f+2nTbMTSDNZo49WPRBdTYgYqxdrLO8I8ludPPYlY2WjkmD6AJrKtj90GWc7o8TZptFVAS
V5vrzYJODbTgtz/clvg4cawbWSKFdS/t/BvzTBKn1mVOAMcfk64YnvDdy+w7yh6TlnI6L5jbqZtE
YRj72mWP3RRFQiCtMgD6TWcaaKRLV7WmA44KiHgQgeDwkOJRs0GOgoPwlnkp+P4akZ79wOnX7QKx
9QzsVDzjmzBEcN3WhdDGgHPZWtql85A2L5tDFMLzNoGbAsDGnBkotZpHBqckHgFsT8AouWDHCGgS
x4CW5OvJOpaJA1kNHgmfcJlZiiMTBm8xqFsxMoEH3F+m+YqrY4aCDkFZp1iz82DT1Q2bK5PX8o0a
c93W1uQCLSrCX1bF8Iotq2ZK7mgTE+N5/By6DH/x9CSNkV2esWjYQx7wemCuWIVIhTrTdVPpR/sK
VAgJNmUqoep3KCwTu79bOowGS/dyfIvRj5IOQAimZPXLzpNiB8z45ZM/WWfeSPaiNcWj1MnIIioc
dg5IfhHX6cG6ftPAeUBcoj7Q3M6CvJpSyJ206924lBNX2R07X/icvCfxgg6tU22W8jPGu38B7460
DAdza/VOQg50YevuFLpPxyUgqQ4gNFbNHgRrCsEPkunnQ3amH6KBfwMTweozPTGuvR0oiePaUSZr
DoUINcrUfUByL/FhIx6EkSkkyNYTAUpmkyTo4nXG0FumALMR9PLCPD6x3UxJWZk3XvVBvEfp1LAW
EXxMqyDFtwo73IhZR3+Ib+gEsX0IdGaBRMRAXlHGDBb1iAvPjcFQ5cceQwkeTNDxwZBc5XkHmoVX
8uUWLyIROcJZWT7t0pos2nYRT6GOUIeB0cwnF40Jd8aGwAuTz16b/Ew2DJ2/hm38hLw2fqItCCdm
l4LEzSK+OdKiiOAho+2lXNk0glsgRWeYxGYCaOqrm3jR5GPWzDldYOjPv8RUjUkpdFz2T7aGTyaV
4kkIN3mH+QUvQDif8m4UXyp5jPh7dtFWKd6ewvYevnX1dYr05f6NDkJxH4v0tqjoTfSlxB5Kfb0x
iCOlLmFFvt+zfR/O6/5NUBGezIIRBi4dtK01L5i64QIiJzviMvFUlsl0LqWiCWWDuYCie5PJSrKw
LyHzoWYr3E4gSMiWslKWKqDXy22CSJ/haGhKK3b5oXUm7TYmkqUa/If4k6D+NPChn9qG/FnidRd5
Bc7txk5/Hae2uBnUBbUtJEpYDUHuSk9IkBquXHE0z3DT6jHsfSKwP0U/zXgj5nhqDG8Y4cYA19hm
EJKH0u69qr/DFy2hnUWInYnZWJU37Co2RYPZyLCQWz9BSCiM6XUKcy3WPd+1vm1QmeF2UBdOi0eN
8Xxv4KwosGxfc4JAtYmLY24VUcDFWwVYtMJ7kQ4/Cg85DElKHXGFNpbTNwKXDFIyMCjaY9yXNzB6
4PUUrNdvAoXBkivVhRPWNmt4GUmzYWcwlNUDxzR8IbnRn2pnGT+jshfCWrHmmypw6xk3PzqPX/jE
22WQjxqbCsMpLFTfi+myRNDYrHiL1dYfinlPhQZRorimODFA9MKqtpOvw1sG64VKIopdDQohEA+S
IqQkzz2B7N+dcpT4yi+yF42JN3kciTtWsw+1VswXDPnyGFHOTDtOOnjBoCXI/oZ5AbcMnabh5QQV
4OHysJpNgn6e7+GI+Ioxv+XS1SULhgzK95xJC8IJP8TOZGb1my6dg5NEjtQzNGYi1S35R8kH7xhU
pgMFt9C4tzMVcvVBmSEUmDkne6niBP7Q61Ve7IzoK9mzSVVB8SEBK3MuPHofctu93TwwgSxeX3p/
uqleuiX9Q9nfhc8cbqQGG9Maboc4+xSzz/hOEXOoXl/pO+lB1BXgU29e+U1hET6sVnYKkcMDfQJO
1vK2fF2iBpFz+9GLS5pJ0a2a+XQCg3jbFB5pN5P1SAVE2PgmZGQ8XCF9sQBeEJO+K08ejbOfnJYW
pyovHOcArweJeh021rSXVizAgjY+aomUM0+6IxfyxXfoSCrWqJWZV2Db0vQLVkoPr572w4SbWl2A
Eet6oRdbxgK3xuqDUQ4xOsUx3JDw9RgxWtiOoU3Od2IB8cJd/gN37d/7BtILNr2Z5CsVck+34G3u
EGH5ECJrsBibhOAi3bKJbmXNNhYCaHQQT2fx93Q1hnpxa7svXp3qRS018mOwDlE3HKvQaVrwlRA9
3ImXL/bZTdlIEWc+YV1AkgvqJlBiFArXdPPwEVfG9hTnQ2MGk1cNdExUyUT7UpEguiTeGCa67Rnt
f39OqlnKxMJ6YdNcmcRp0HWaPfy6jRF5YTFXN2m6Kp77LyzNOZEbIsPTwyDY6WiF0J87wZMgVLsF
ZIxmrDyxrpAbxF2uDO07otemvJMcsYBpbUcYP8l2t7wt9QvCrahB2U0uyLnK3ZYgiAwWMIbOzMMt
2iaVIT4JqysFWuqm9cObS8gBIww4iPvHmAlRht4d7+I5Sv0ruSiK12KQTzDWPQ96/O0qu6J8Jm+l
w0QWRmLdvXFK3Kod5wDsohpx7Rgdk9MziI0nfmmA7IheoTUkH0+V5J6n8FXD6mLCauRHQUZacEf5
hBM8A3GeB/XgTFLHuIPbuckW6Bse12adLwXIosV1uvLE+JMg8xYiJXaWcHB+8nMe73T5IDP0rOBQ
zKN0TwhPPHlvXh4mKWpy7bUvHEs+UErXX93wniXHp8D0IwjTfYQ8NF0/2J66E/Qr6k9smmT4xzBr
ALTBG3Iaf58oFfpMJkSyHbJHAJ0QxoqXsbJgmVAVpB7cnIeDbSDAccJc2YNZKPIMYZwveAr4h4hI
YbSNkJ5k+ditcibeuJKQI8LjiI/FWw2ZM4a/Yd8++HdMNC2mgiCuJfCBjbKTNNyeFg7oI3ekb8L7
PiVljK6ojDfSHAgCjIZ3Jd3nCwKwhgAIwhGeH5phhv0xZlM1bORv2ba6wfKkLzWtIRjbapwLAMHS
Y0qvXeK/u2UFCN1YbNNjcpMzddNOzIDWJUJMfdRkxAzm47MIZHBbVrMUzmThG+4a5xDNgNs8p/RE
DiEt0esdcxDJncSLNHO6Le0KNv83YtMOeDXfcrbWWfOhWiL6kk2DpblFmYLZU2puUXMVGGtTPs7g
GUY42o25AJ0wC9WA8DO1cKp+XcqiqYvXiWzJ+jKUsBA/U1crypIqWEGTgjO41bOpTFo/W+oY+lPp
kEWBY1E2N07Uwp3p0XPyvPdY/zcMuJbSKmmPMR9wqC1LQR+5zDU7XX41c81RINpiik5wGiQYqtd0
FltY7hZsnVuVquhlHUgEheeSLGM8TZXZ0FsoTO8Odw316W3l6FsN21SYbZVLIlSowB6iuKehSuA7
8mWM9o2gOdZJtFIlWr6H2frKyYC89KSye5XL23WSm6eJQ4QKt96brNPPGyHG+I57+rv+DkeLKvjB
kkIRZjYQtKmAAXVu+IK48XeQLl8X2WRPUpaKW/rtl/DYhRiRflfTjUquUIb9y/yRApJYtbIgIhF7
kOJU1Lvq1BAEd8B6Xn5sZdyRgFHutOm4uBO5xgARTbH7Woup1V5QLJDFtby3oQNdbpqeI4qihBRm
lk83x9+g2XRbw6NBZt7lBmRKKMACD3v6DPrHO35u1ZV0HQydUIu76kZ/OpPOHUiMwOucOtMUPzvY
6Kd8JFu4rG5iFFRChEvu2uJxSS/hXJnzriigeVS5mjMhEZEEdQ9cFWhxenyFS8HNoWth/r2lcgvT
5S0MxnXS1cfq4wEkn4Y/UoMd2vut+9QIJKFFIblnlUc//THkZHcGkoR6aGo2VWeTrhOVedwsqcho
4JzEQYMyDT+YDVGDyG4R3WtocSC3vzGnpWP19HrfTOeJfpDrNVEzN+HwnJwTKjZm1NQVzxT1Esea
DZX1aVx6FKYF9dRyUJegGdSXnCtZNa8+KNvIB4EIs7JIRoDFjY5NOLMu9q+XQ2DOyzLGaT5Hh0Mo
R0G//rRx4DE2OZ0IHYUZrh76Qo253OzjJmEKczvjK5AiqQ+dfbnk23VjV7pR2CIfvB5020O5K5d9
7NPT0q8rY6lmfUEbn2Kr/f24rU45OllK5qzlmPC27C5Y/U1XMvlFKCBA7bBctKJVQZh8fU6hOIKz
QQFEl0jIBbj6Thp8DJmQBc9U3cqWChRfWvw5NM6x12mtHnGKylz3jFaXdrmXg0dE/2x9sU0SxoC3
8FVuvFeJ5H4Ww3NEo3Eufe1z2NH8M+JecBozy+HETmNGjTZMfDaQ1kXnLrHli06hWbylGE2LEGAJ
aAEfw37F7iNWFVt2hfwD3ckABRP2l7waYJSI56jdCPPaV89iQfcvg4g1eHIRFUNQCz4Y/LoOJfRB
TDn/JuygRDQVCZHrFj7lMuwZCTsNkFPnobsBrlMEPFXzexE8oL6Qvit5PSTQhL5qdN+YfOLSlL02
nUEKdl4tu5uvMk59OQptEnAi3srnOCQijCRjUhiSXR3OH1QmU8tYRK3DUEfxaJxnPS+rduXw4cZS
aXdfTGCb14LgGHXi07vIoFLRcwytLWx9tDuMeGhM4uNVWDra01LmibYSfsgaeP5wcNHRG8y9Twjf
X18kwA7EzeAjgI9p/nk7NfDtFuzf3/QdLHNCQYQZUTNmQYaz++44mIkhfK+AyueHKfxbP+Cx4O79
WjBtmnDUMP+pqL638oEjT/yCmZmf22JdcHva0sUYTq3dG17TvkzCt8PBet9F3qHmrfDIs4P7Q5tO
HIDwUy5C/iAuDGrXwXueMpHkRqulgcIC0NSwyFlJwKqn5EqAR0n8zTNghOP248FOLy3MNfhko3mF
NCccRG6gg84IkmIfQV8AoRN/iN6BE7SZqDYC9zMpKjr8s27xZNDfgevACwMOYCavA6lbwgDmv76n
cy2yh3wlT6CxMzCGdUlYpaQGNRYGBCE8JU8o5gOjWsnlm2B6qpAEyITzVu8ei/OkoZ0hUEM6vSBC
HcJm4eAARD3f0c5b+VEREeVhGzcbiSbsojdab6ipzGgebM4zTvhk31AczZ5nrXRul3guH1KGixRE
UISJywlEZTVsUz9vZkylgcctTOrTel5gjabZ+E/WgH2etn8RhArAZaMdzt/Lzwhr4xK3AUJE9hKo
DXPWd/gcbgLO65L2NvJkfIGQD21V0vWihQbxhD1GsA4y9Tt01toKPHnCDAXVDU6aYxfPcOr5gZOl
x0bAuxi+44hHCp2G/plpItOqVsRQ2qnjeditmSw34WzcjyOv6XfDwICEQmjMi8FlH94OZoIp2Bg9
rP98umGNVYlVfpcAVR75m0/0+SZqyQUKc6bAw5YjVtHGQi2d51PqH7jukHP6xh7YHF1+VMh+JzAO
MqA1aaO7CoYvW7Jl6EbeWfmx7mpP/3kaEsxTjE9iGHH+4qUycUlnbWKDMEfSgg1PZMB69mPcy6in
xpoBMwejmlN9DTNLwSLPNNbynuRIA/nv2+N4A0/QZWaODAE0h1xDhjhYw4wPDPMCNxIu7GwV9JIO
9IAphCn7dKuEthbgBTY2bSLlFFv6CrMKzRo+MINmSp865PjinjSWfwoakgW7fnNSxtKG4i5KUDbt
cRak7kmj4MEgumFqCC/QTy/pemC4Qz5J15E8RE9l51+Yfb28hNYatiL5giY77h3cOcdRwUmuee80
1WISGMCyjCafS3nNrImXqJspSCWdPrbJp90JWBaLm5swRk1z8uAIo4vmT/iHioQsd0Zq8KAHFlgl
2f3TEx77XMeD3xX3ZFV2JMiNkoZXDQ98VpbenZFsLy/4ctQaL9SW8Ts5TZZy94S7RbGGdQw7i+j+
Qf4foP72vNuYvWBG5VL8Picz9QtHH8rm5923vjo46xbnFGghEGDt5rHFvl6dCjPMreqnZqiJxIv2
ByHqWF8nj7fQwOeIx2kpAXYoXbA1cqfBCQI3k1n0w2wWUNG4nPh5RwI6J8UWNp1mMbMgLyslK2jB
qyGuRSbrALsQFWBICESlKO/AVHcqR9keZE9sEHzT3Dps84wA1Qu2Vc08QZKXkKTNyQJFKw/izcR0
RmeeygbHYftXHZHgGeaaLCTNF3bYPnHcM4i7OYrsCf2apy/fsXGw6tQpD9hFGR/QpeCzNN5t+8Qr
6SBOrs3A8ydiw87O8etMncS+IhKDMzP2IvCV7vJbsHicsNkRCsRTYMTAbhDrdkikBikFT/9F6Bi1
ejzDThA6KRO9nbaJhzEDUojXTFO5v7SjPF0ww+ZNaDasbFT1WK874iUqPIY6VExUbdPbGSrOgBBv
SfEddzbay5T5VjImfzF5bT544Rtb7GblkXezG4uIuvWAKCI45KMyz5YMq3r7Yfqu5XjyclqOs5LX
853m+ufhJvuEgvvGoWImjnCYdFcGk0a01KR5blv8q3Y4IPaQbeJ7mImrKIGm6NIJHjbH/Co4tQ9n
cnjib00no86LScBbXzL/dzn2unzOl7XCXYbz0F6E0sw7gN9fbQF08kuwhoiPYLOy3TokMJ3j5kza
KJmjdxl1OTmF/nMAYNsTyMmhqwLNIn78HEe7A8jsmMHNzAZLtRsqUp+WNHjaE0tYMTCdK0d8j4od
eBM3wfaRTjRbAacZ5CW4btH6GFR5HkMRyuLtBD1KZSkw9i4hJmpBcjY2eGPSY/68/3GGJSuGG7jF
FDi6ZubHsvWl7wRc5sQb/k7udtsfeIyjPNm5rSc3u3qLuBQnBWowzCWuM7AZhtnLSZQtPsgzlCkh
o0SHclaYD9sEZz/IwtIlHqPBfSFaMtet0v2gLEWI4SCh2bFS/Ql2lcA2dwtq6zP3495/bULm8yj8
fQH4Cy9a5uoB7yoDnGUHw4gLoue+zcc6S2ROdQhBLaA5fb5ugUF2NgaiVoa7X+VBXrwPARhO1mMe
MSvfp5g7IOTbxO6PyMEiQhYn5xSf9FLeMUciB135GuYDHmtkhBG49fm8fxOfG1UOezO9Tvz0uF/8
sVRm5C/XHzuY03jjFt5L9h/UdfHc7whxghJWrvpySQyPJDsdDfkFXjFtxZVwIJWkKQX/CAzag2bp
h/OOdzMybx/sgFMs/c79Wh42NcjqBy8BUam8nXrm8s0ZRYFyQ928m8NOruwQ1hgyesAac5hjWT92
Y++0ESU+w0gxjjJty3ejbe6P2YdgP6E2YEUMvGO1a4pGahsJ7/iX30jrzrDAwyf3BW03rCXaMhWW
zgGcAOSdCAkLrFpklMbPwmOE9Tewsh8ekx8Do4xPamJWROY/YSYjVDDgowd06xDIsAuE5/UGD0An
lxUSyU6WZ6WPmedbbmGbG54myMcKh8mM7Mm6Iwf5Rb0tiMdp3qdYvakOKZgv4hjI68M6mqJp/eKI
QoWLyBSDJrbxOXcBj7RkrGPPZJE1oxkrBAMPMIWIia34tIR3jPKQxXBv8VdMD5n0k8NKHageORYH
k3DLNiGp2HyBlcUxkCnHvdU3M+n6UnbD/M4LdY0X+HczmFFbGqEZBaU5vWaYMY9uGJBXHsyET5nx
pqrBqzkanCi1duBWhxj0MGixpGLhQ52BFQV5tFNIPwcnB5GbzKh6TEJ1Mm0Z4bPTuSI+rt4aaaJf
et0mu6LtBH6w2dFfsqWTJeAwWg9FnNscoTQI1+bcnGFxeIWhju6V277BEa9cYHYCi44uHZVpuM5Y
Wi925g2HKjVRj0BOwb/p7krttZ/MpRcIBZZaxBMzQSbW63HCixGXX8zlwmVDUUjdRXrfE/utIqAy
JpeM0mfy9DnfplgIYjvLif9cPuDIaVPviX0vPzhOPF7Wx5nTBPHigj0aTM8sPENa6Suqejw2aVxu
e+qyttnGih3q+6hMYEIen/UGvGagS+435Whwts5ywZlomG/Mxfg0SciBBcdsRsUjB2KJb966txwR
AOtsJNRV9xTulgP2g3cdUZb8MhgOGVHRcBGdDMGUSoDgG6FxL1gDNfSfs2ZJujO0p7DAw31UX6rf
8unuv0I7vuYrHQLUzQQ9aN0XO7RJxnLrUC8AvCQI/AMIDESzxiD6TIAhdkRMeKENRBa+NtpsHtsd
tV1hU4wN/RFeky+9l9qJ4+ceWQoht+UM6kRLJPZtg7sFndCUo4b0CZg3Cg2ThLprTJhUUNa6sWR1
JybS2vqJHQV33H8ginQfCNnxn48dGXUpUzJ0o5C5NKs+s22JjF/gxiLMqj20jdoJ+nygrm+Cx9CH
2Tihka/Gs6QtnmugkZKOpdA8AhOqNuqXcFuOg/3QYWO09i04Mq80BYsnz2b3r8bbhrPXiPNDl58r
JFLtwmxOgD3HKIXIbPLJJKvVj4W+l/cU8sYLgbsphGe52ZaNl7b2F+Sl9Q12zTil75rji1Q6Yk70
FQNlztz2u/0OZ/g0ywScExFhGpd2mIsYWWoXjKnzeTgLsmPRnwDcU57bBQVV8gnSRfMVoZiv0PG7
zUedfVDR0NPyzIqgFE5MWMSMHv6qnKV4hyhMhlsAssR0L7I6Sh1MpwQCAhhHQ16OG0taaYsYE/M7
rpMrYYdylMaY8qQNvWFL/garXJqxKeoTUGDUWA50K441rBPZptXKx/BZaXaP+KrCSmZbio8V5TZQ
g9GMh+kEIwfSo9oZ0A7W+pvHayVnjkK2w7qVMeGY0TdWxVtOr0eJRSsf7gQV/ooDQATX2L3/sH0l
VwhXP9rnZC3MA7Zw7ZgZ62m54OLCzJWgPtOZ8BW3nj61HvGOLu5+O9M5GZfBmz2OOCpCkHpYHhbh
GlLUb2Er1Dsh9VWG+zHR6weqpXFZ/9wcYKkQF0G0Ay88WN/g8UDIatmVKIGAydPa7ZByHwr9QoE3
gUnd46xPekG5JgSau0olmZEGNhP7oO3cwla/wL4qGV+7apWylVBTgqtih8rcikUNIGtQ4Du08cgx
0fNcMfmml6XopKcMdFuhOlCuk3YBfFFh9k1SksGFjSayNCvNi8cAmrYQ71SNS2DMISPLySzPGVFS
lByyRawbjKPHGj3znSBl/gaDzFW3Vb+agA5WCGD8Wj+veklb9PEsMadaDuTeWJwuKiJifxg4lunL
KJPgHPDOl4D9LexvqJbE3ljDTNoyLpfQgBNRLa9vOlgYeQgXNirZz/W1sYC3fce/mn6UMMbUNvBy
YI7dzo2cZojKZza8qaDLWKXeFtSK9YIChqRd/lt03EFmCCNUwM5Mh3xnrtQtSuNHlleS5IlMzx5F
Tenmlxqs4uM4fBQoTbYo6W9OvpWPEdBQ8XP/zCQn5yl3LJIlD0rhmGc4sqaILQ8aiJbqkIIM4lHA
xuYwPMvrGLhkWEbslvqPyjlG3Y5SIN4M2qWEZv7VlWOoZL7kbdSJNcZpKQT1xW01Ylm0QK9zQzlw
eOX2U5mV1wFgW4UWuA+JhACuBTtMZxYpHFjK8K2857p/MjfbTB9esR7ZElAvflKsCBH9UyzoP3oy
H0jpVb705ROLbcMaQAkOcOQSVDPYLew1ABA1mnseW0Y6b6JF0mzxU4ECkuLph9YHH1WPVwF/kRkz
b+2rQZ6VgF3AiiTPwlG8dNmgdW2XL/ELxwnNZwL1cAuVEUXs1MqeohOKyZ1uzKaWJVG+jfzEQR2U
BEO90tiU08Hl7DGynXip4XQlD9ycePRmEqde9i3cttljUaXAbBZy9k8EZBEtCl5SGJpDDYyRQbyF
WKd/TG+Q4XivCDiV36EQPTofTLmbutN2o7ZLMbmN5xQkfJVsV8iXrM/JLpFRwDwQBPhcPGfXOFbE
fLILCsNSIdfYjbpIycW0GIsxSX0THCSMXACvmUzI4qxealdCnL5kwJTPKrakT+iGXWUrn/1kowPU
YkhCA8nr9DyLj6WBHUM8q58HHQlkGq3aGAm1V0I0ha7/Po5HayvZ3yxcArSlob61vcfYTNccjVAQ
ZkU3L2Ij3CQJfBtmNpb6NMt4KX8T6lQcnvH6BYxHyjyM4RP3S0P7MZbTm16jk2YUPYJuwG2AeTPQ
NtGhmWHfRLS3ZMLWxBcFEgBjcG3LaogkIDHoAC34FHJNCs17u5rydvOLjkO/Y/x2l68NZZ+6AbxM
krXS/qjNSIV3JmQ8b7j5WEGgi71EHxSN1ZztQEouDU4kw3nKruJhmZUlhBkweprrmhmLDvOKBj4+
adNsCvc1Z5NhTQ7MLm+SB2QYUj3uX8ZuOp2zx2rzdF7jyZp72iHcEVMhwmOaQ0qec7/DK71k8gaE
yAD+qKPIs/QP4tMRspxyRuEBPIhGneOt+7AA4wHxw9WIoHyIPjnRgO8plvi60wX49KXpPH2fbAhQ
yOVVee+xYIkAwJEFs3NQ3qOGu93PhvKmUQBNUveFNwDZ6I+gMXiyvaUe4SHRwg0nOQPdczgpFWJc
CdaLZowDOtPw/v2v//3f//ez/z/Rd7EpsiEq8n/lDWmjSV5X//Vvzfj3vx7//3/7X//1b13XRVnR
REU2dEnWZdEQ+PnndZfkEX9b/F/P/jbVX4ZWb5mQZguEQFisIdWpz2Rv1jEsWeTstSsTeOYxb4Bk
VC7ZFAgqZlIZY1U2ui6TND9FP1Th/k4t7EKNZoaEC8lWUQ6Tx+WFs6yKSd/oTomtFr5II8MeWiRY
E95+eu2mGNfi0JluwsUUGSXePSH03jvtUkC8uIlOSr1iJF94DY5ixJ4tHqfQQ97fGN8aBiE4gbTH
Qd31/N5bfYY+wtHKYKK9/PPNErXf3Czpl5tVPe+3MH1V244GCi0RriMXg93liB8Jlttw702NvNyB
utN8LZFw5+rsny9B0v/jJWi6rEiiJKrC+Dz/9LxejZ7HghKRJ/FDOEiJfVriyPpOYJrykWPY6GsM
lsClXyjTLtKeBTcQ3PV5O4uq9QLUgohARo28GRk4REOmn+LXP1+hPv3nKxR/XVHTSi+nwpCOeGVX
chJYL3i/EIPBzMFNCTE+Q18rz4O2B9R6IbnQfcOplj6zLE7c8q2CThrNBSr1pN32MPMe6jxcYOX6
TIkzJ0MAij1bMCg62QdYeWNGeD/DHsI5Shjtl/LSITcA2KYEpGNr82uo0LiM2NM35v5NMY+XunhM
cfDliAtqx0BRkUEvCk1l97AokBh63j70dMl0AxY4zCoYINNVZKU4GopOOwYUrSDkog4Xq/U/3z1l
XEJ/eR9V1dBkYSpqhqqKsvrLEmsMYVq15aQ76NtwK/zkCyC1aHVKzWtrH2+mTkaEGe3gCviJiafK
O0FFqHVd8ae3oa56DLkshgZuhPQUB3unWdx9dfbT/GYZir+7TPmvyzBObnlktGpxIKHrh+mjc/ju
HGMb766/WU6y+usN0RVZlCR9qgvTqSYJ43L704Ivp1J0f/aDdDhZhvm+PAlusFw6ssVy0XZT/7tn
GjQzZ/bc2xuX7WAivfixgn9+KtLfvu54EaqsGSJ7pKRMlV8uojSq4dnU0mF5Xr6steO4t9lnaW8u
Ng3Q1gM7/s0Hjr/wL8tAVxRZVrXplA8UBf2XDxQeRZdJ6lQ8TIKgMEdyjbMWzUNk7qbWxkVQfrHr
2d7bnn7zuf/hi2qCJuiCJAiqJIjiX7+okEyUMDNa6XAzrXW5PsTrnZuZ7mK1mjNCQpzxo9vb39xd
8W9nkK4Y4xflDJJUXdR/2THKyatX+0jKDhSgCzx3jc9ixWjTm8xyD9khDE8EFEgUoXWAueu/WcvK
33Z1Pl4TJE3VjKkiSfIvW6rWaze5iXi4BHnbHdykY2lZaWKeLd1dOqwx9EYERESmvzN37gYZ42lh
ryTTtj+xt3EvqKVWF3s+255k83/+OP58acovj2MyEAIzvSXygTVPcpjpo7/9dhemvTp6se1Zv3sU
0vgLf1l3fOBUNGRD1gXW+l+f//DsnkNqxPLhYQVw3Xzyvk3nOXPcl/tGfp5dmt7+d4vu78cqD0BX
BNGYGqI21aa/fKjQTG/3vpu0ByTt5oFUJOvDsJGGu40zp35HSBHav9vBpP+wr/zlQ3/ZwapHVQpx
KkiHwT0vNec9MR0/tny39HiwK9xs5zN65+A39ZYyruVfb7CuyoYiUHnxjo2L8U/bWdaKg2QkqXw4
nZfwCoBHNbMjOuT9ZU1Mnxe8NzeS7yLwXNjsaV9AraaH6vs6O+6D3z3uP87iv16NStkn6aKmqlPd
kH7ZXDO+/zN7kapEr20/Z/hQknJCWZz95h0T/1a28J01hY/gCQsiL/lfv3avRJh8p8VweNosZR+X
VbZv213wrQYz2P7mtflbCTLeYU2eavK4i1Lf/vXTMlEpH40uDofgXNlnZ5lbDp+4YyYZCL77drl4
A+O37RZExfnNR/+ygWoa31NSBUlRVFXXVfWXjbuqHrIk9pmwKKgQJn1HqG8BjVDZ1n2O6csUX2Yz
G1vJJrMSHR5g997GSzwj9BgxavnditVJR8mTyej5JjvlXjkFyU6/ucrpL3fob5c5vh1/WoZDnLWZ
kiZSIN3A0kRmCjn0PoE50gO7qsyO+WhMnhpQRAn2llFBs0HnOlAckWE/NZz2/3F2pr2NYtHW/kVI
zMNXYxswnuJ4SPIFZcRMxsyYX/8+1JXuW+WOEul2qdPdVelgY+Ccvfdaz0rXYUs/JTsa+eu5eLrU
8S6N2YTRZ4ZbEa+70oD0cLoIh6BR7VzoJu1cu1nzhGmUhiomxWQ5sEXu4pRQyddQoKA2NRoAWe50
VygLMUNafMeRnD+1sboU+wdLtNZBU8J+eM1VhgvBa6Tox45uWlCBtjvvNBraFpWyTFPhJi90sMY1
7LbwPBX7jP7LmxTIFNpHBs4JMM9uSUetATRJ0SerGxNApXoGT9I/1UCrW8zr4yHIY0zON7+PUFqY
q6txtgfGZkEP/AejWAmnryU3R9YUZwg2YSchhWKfBmeqPwMrNBcDhXIUNA8dbY4Ra9Sq44CW3mkL
IAJJcIYW6WZx4yP51CrH7GBycBAxrJAcg/1Xbjs5qGkPzbREgmWUuwnqLgklQaC00xZOtArdQbu2
hH8M8+SiL0vyE/rgMOBZLNh0n5EnaCqs29unjvtJxRh3Ub8qdJnii0E3rh2d84lGpU8SVcCriaFv
0AJnHFQdwpHJitQoRIhpkJUEA8NYNXgrk75n9J5Nopje941Jq27te4g9YbUS0X+lvK6rkrg1FJE+
OTti9XBjFKOXzyIvqwyHN575iwZQAN2C6k2iJLfC4FTmD6JeHwe9JpuBITsciYTOvVE6V33RZTGK
QjxGY6uiQEkP1FAgj7FXOtBe/B80/TukjzLcHY35iTWJ0MANbOHNCp5bfYNLWdtvTIZCzOYxIhWz
dhOBZBw8vqGIiQXFdMQMNvqD0S/xJTbMoC9ot93Ccs8RVWV+nSkZWs3bONumyiu0h6a6LS+y6KUV
msyI9KHDYGIfyJifl589RHR5XjCZHMgIL8Ff1W3jn4H3FFG3MDjrIqFvmNBAi8pV6EYRrf2hn5lC
5gkireIsQCeG/AY8UXrpuL7l9xZwPVddSWuhgc2Xn0yMaGmAajHHQVK205+fFta3zzSd7Zmpaiqr
9N3jtEsk7RZcEml5K26bM5pf0+oQHYZzWnb1odZJq0PbSGwlqd4YdN0beMQbe4fE2EkJ/OCpBpWj
NDEYdfDlL9qO+Rre6fOyQzVdFigNbwRz9tE+r3LfIhShq6HxFsVWLMyH4nKZdgwsY+0lE/28f8qN
dpuADdOLkGsEwZGFtmyIo91VBBagr/LicKn0eS4AFVZxcqq4VhIEGjhngxDi6OeAbCEnFeMWnN3C
PKH+F5BipFK/QESiNWBTjBHomPohORW0T2w1Oa8ChDogsC1gWgGwKAHKg4KvpZSpr8qSdlZUzlW9
AUqnPZ2jWJ0a+RVbwM0Ts/QjKwhQZ0R4I08KOcKQH0IQ1E34zBuWJz9/WtrdxubPo50noaVRsFBC
GncrUFd0eS9nobhFrHczbZmJEsGKjG+RmHKlXXwNLQtY7U31WgFo6dHhEQuwQGNlMK4H+P2pnAiR
uZBwxWh4f3sOgUITJBLPSJmHmImxDzEdqKvz7GYSO0EUnECNbsFWO1xJvfyg35tv9Xn80iCf5d9P
8Woq/FYz/Cm5/tq6jG/TFLlwZF3VZb7ebRrN863J2ybqHwIGc+oOzXdDiBMmQ4SFhhtYdvR6bcbM
0FJaM/5GH0iSi7HhmYnpir1WMJBL7SsU/S+EtUHS1qbIDAZrr44GhA6JLWQ35M5uWrskq/Hco/PU
P90WDNnXEZMTR0dto07QM+C4HHczzTzaxq/g/FuZK/BRiOYXlKxteNT0zwjyWb7G14ugtzjWAF6h
ntBdY0jKehox8686L74u4uKRRlly9tTUS+ndplsDBBs9Zy61ylb0RZOso94ZwE9iYp+UM7l4GCJk
pH5F0iuTe5VG6lsd7QEiNs+Z12F6I9yCUACW2/agaI9Wui6VFR3wtIJ6+AC/MVMmMnzVDTotmY82
b76UDkwuuKBh2Xd0V7tPAs8D1UHDY3aMmPlRBWvlcETuxM5FV5amCYEfPe+Wy8HUZpfmvRKII6Fe
FJZMmQh/0DocF1N5eGzO/hDO9RPdXfOtwt8Cvs/uBpS+o+laUx9x/w+d8/NNIY0X/b9XiypRL2vW
WNZq+n0XodKUW54NucVWY54g4GlDFVeQz2aiCx8b/K8BxlUzIPSHXIyBQWdIVqK5//lV3G2CuWRV
mS+yJXKtqLJyV3L010pRs9aQ/Yv+RrwiB2dRa7HQ3s4ObeWfD3bfovmfo5mWqKg0dg3DuLtBrEiq
u04W9B0zWei63SQ+0VEl4sZhHdMhJDAjXv98zLtKmkOaim6piihb9CwocP7dVSqFfM6DIQvWZ/VT
g2ArzUoGEs1bnvxyJpX/fp7/HOlPHfvX/lXKYl3Ng1bB8DvLr06WovhnNKsF/dTElsupDZpka2XQ
ZJKpoqEEiNrVuapXUrlQ2D4MmCOl15KVXjLWRadM9VrdlddwfhEQcKEz09J2HJ0KyvGW6QwDtEnd
M5hM1/0Zykam/1Ky/PehbSrmWOprVC3/bTDV6i2mEdSqPjoUxcQCkZaOmJq/XRPfnTdVFSlLLNWi
eXy/lEtqI0WssOkaB0+/ZbTNiBf3iBPNESjUygSROGsGedR4xqqvG8AlwlonqMCZBfJMwJWNImQd
b9ulzvzp5eLVHs4x2rXJi/7c+/K+EjAXIeeZ5Hh17PMH9CemOyegCamJqQlDwZiHKz/zfaRO7bTi
lED1nWindI9biSTD0NXWiVe19oUYT8TM3KFY7Z+GGZM7l3bmMy1dG0fvc8ZI0u6RYCKIw1XutMtu
hcB9fIC5TTS9TQ2QHZDjZuLTbW68XF67JaP3lh0AHa3gqXgexe9YogHasdMka2CEgOJWY98pOpRk
a3RbZF4u41W/6dfhHhHQZWfh/j2A3j0/GL81e9Rvrmk+G9OiyqFQVszxGvnrmtbE8iy3ahdvVFiy
QulKQ+FFpH9E5xsmZCTjybOEvSqGTVyFz+PcmvS7lpJHLBj89y/xOCdhwTUxpV1ApCvde1Gz1+4w
UTf7qtiI0kkwCYoRknknvV7B9/TVS6ZV2DZg84LtOQ2w25inpYkTqYbbdObKxItfZk8J5hyjeP35
cfGnm/jvU5k251/v+K79IChWHwlDFW96LkNIqVa8q5oNoPGK2acCr0c7qjmmXe/n48rfPKd0RRVF
mn66JrOF+/dMi4Jo6kYDxqQPZyWwtmNMJgcyWiyPqExqO3t5U0mob/EJImu1FiyvoFrP0kpD5zgs
9Bqr0zwTRrgKEqJr62JA/Pkl6tp/FwtT506l8S3rpiTdNxJubd1KQt9r62oWHo0NuvyZMSdAe5LQ
b8dOO1MdfKVLooBoU4p27N0Wo9ujnwKvcdNtspPmo+5dtPGyTg0PIxc7jo20UVfiC0jctwF1UfvO
4KNaSF45D1Yt8kEeAKAXkOjihun5tcKrYMuQRhgePZqr9klDwz7+jdHh4zY5fHzwczkCUlHMSJv5
HjQqUI/sxCTbBsk2eWWPzgyeySWyfCoBc1a4QLRmlntbTOUF7hLb233i+Zs60nrMJi99usDDlCc0
Jai3CV9TD7b0XKVNVs/ZJczYP01gHU7FGc0yHjOTl7O9eZFtoOpTb/5GG2/nfX7GU6TjNi6GUWk7
p/eDUHEWzy9TbHBTwbZQWl74L4gv4DcRBbvpnFp62s3woHHOUg8aDz+ysoFS8cvAA7SRbcicy/xI
2jPqIeRsnt/PG84/hFTO280m8HhWzcj2dcbzh6jdUZ3YSwkMvs2SXTczUJ6Uy3jf002Yaz7xOLaw
ZjuKFz1yaiy55tT0gm1P4zt0EijSta9vwxVD0Wlm8ywzp7h4P8Bnwk27vhH5eIoOJr7LE6pKsnnc
T0zMsKTbybtF5NAW8NLkHefTVN7q22w1nHqIUaGNgjKc7V+wMjqkrMyRP9kVH0M/UZ/lbbTq/Z4T
ktspp0py001/Cj91ZWRgXv2IExd6MGlAD0LrR6Rrbq/+7h1C8eSAEgE9E9Z3G/+2g7hj9nCe2AzG
p4C8MKCIp5sbA5+GPSMTnsScylEerNUJcc+c4fdMdlUoPnRiJgzmJ0x5vX43suM5t1DvOQs4lEg6
bwl8V6cM+DzjJfQ00Nj1ol8Mi2IqOcM6WtKGIRSTiHXC0WCbYdVndnaZdCD021nipcdsOSxUpszk
Cn3VHPv5TxoKn0KG3pdUNXKLbQLWYf7NOuB14VLdjL+6ueIkXgOsmakaTFlpMf44JMaeDozbWuQe
b2M+vlXSGqmJZH6XTC1bngIyZlV6wLwy/TpoTjUHauxky6sPrdNARjmvPHFZzFPOQDa6Ncd0DSYd
CUKE8bZjNDkzGOrh6rMBzNIMtz8wBrqCC8J6btrtvJzqq/CI5GyCQoG7F734lExtG7MWEUY5aWwE
J8/Oi84Ht+IZND31WTknFNmBouIXruLdHM0LZhZ6m8ptXGOLFsChu+BcVucFPRHu4fFPUntxmRBz
xkc82swoKPjx3TS0bZHfRHRhs6uElYWKixNxm8pTPnE8H6M/8uIQ5DWXfXHyTEDW7MazofExhLrC
nkfIDLjRjk2aA22XTBCLuuWXwerdjGncmv7zOL1bXAWtym+Z0GrrWjpKVxdhaQXYNKFfpdB+ax1F
6n4pxL9b3f455N3q1kWlohVG1KxhuCTAj8P5GSmYMcJLJWEGwk4ELyb+1oAe38jdmqrTpBEVUWKN
Y0P+79rW9VXTqkOsrc8aG/BJhjcC3iKOJ3BwjLzJEdgOBRkNThg7cODFjyiedddphimEfe5elqYI
p1oMcHQAu19Wte/WXebbFnU7sRDGfX1gVsFg3BrB9LPu9VKQ7eODdjNuwGEXvyyf333cfx/p7tyr
l/hqVZJ0XWubGnyE9Ji83hzlHXfhvDmKiwAuIUNrcXahE1C8tvu+nZAYtMpn1RdGtSms4jlwAaz8
rDZExx9oMsIGPuNweRQfzb3o4WUis4Fnxrke8z5LquNXDVXyI5THLt7rbF0JCJsUWxyMs+CUvZs+
Mqd4gedG8fJfzuufE3f/oWuMxw1DVGjSiXcdurqOBfJDO3bO+awPSLf+NC+nuv2M248UHg5FukjF
H7KJG5K3vPnlmlP/TGh/Ov5drVmpUm1aQwH9mcjTJSpG2xwZU36Bg63wcdx70fq28K8O8hO2KaCT
vADGIvjQeUnfaVMuy33whct/iV7LzWbRg0YkASt6uhHWkEjIlLDVBUzIKQOJV9S5c9KiEJ7i+wXm
T4cCFeQkW3ROu6/Ww754qD6p0ti8Xz1pqfjhIVlBlN3rC4RGG+Rudj1p/cTuttmyXVzmOBZtJPO+
uME/kB4vrwjN7CuP/8xj/xtC9Rtm73vJHVdUiYuCZ/bZR+8+w504Q4q3Th8LhsQue+5dtopWVz/1
QaSmb4NDYuRLtNK3kJ0hzAwLY3UZ2RtTmeABQhITP35i836KHuC2farPBKLeqKOKVf5AXyhN7PNj
8gnc22euknUjtjpc7ttpAlOBbQnM7RX82GiBVbVwitX50UIMEj/iV3kuxYn5zFrfvxk7a92/0T6y
du2pdq9u6XI6EMViPUqXplOtby96bhP++1ytFFhfDkuTOGa1RU58EjdjW2nMPJS34/ZMWiu7MpsQ
JoAu+j3YkOK6rFjPWQVXYBIfTSYsPp6tEwojxMuPUBdYHgy0se2Kz3+VnYr5a/0FQBA2wA6A6wJg
sZPuTgHLqrEwFtqxmF9fzi+4bHwBhCX/r+x+BTj5BaSByAGT+bFhe+ZQ+5kWGuVRnh3M1mi0gYjs
Lu84rh+TySNMGUfdAJL2AldylEXjIRKfdX4yRTKMe7Hyo2k5o4dG8JY1LWEiOslbyx2CxAh1arzS
PH2moTFyGz+aFy4i7ofOS/GXWdOzwxME4WdwaFj5nqFYsPsYia/jrgGuJOsjVD6VJredH8+eBbDu
UQZbSf5ICo2UiRWapSl2jeFgTbeQ59YqcRHtKDqUIFWTDfNlLemZ71QfcDFsidIZT4jmfclzIqv5
rlkK6oO9NCpzgDeuucIKvOzcq8MIZCpvZCqEZT8rR+n5tBltP/JDdWTJWXQLwbVcyvsW1w0zBa9f
Rj77cGQPMZuMabgj/nwmO/k8eq621lEpJhWxpI661Nma0EMmzZyeKcAC8Cjs6I3lz4/u+5n0n5Ua
eCnqE0tBcaOOhdFfZfBQFWoEvUlfXxkjXXWu05sz4IW54N2wg+LhjGe+jLe/HPW76psi7P8f9k4F
EuhZGzdXyGHwIfHpVezi+ym3D/v4sRa6bvFgUBPUywHigjR921N3z94kdO2Ty/QNqzATbWITbGm0
cLBq0FTm77FWgWo2ecffwyYZhS67y96Gcw7x+7TdV/Zbbu/qyfMMnnTJbpRMO76rQQM58F10iNlk
IZGzq/lgQ3KYHJLpV8Cpn7pf7K4X7G2v9mNgP/j4zKaUZGzADtx1Xx3r2VgdPT2w+buuoXPxG1i8
7G42f/IP6+fXR3FClsDkNjn+fCqV8WH/n8UANY+ms8jrinS39saCLleXLoMxT5qKh8Us0J4ScRVS
qpTlqigPso4YGf9E+NESk+1d2uMNN+IY4gMCWvo8M+FNHCV1YjTe2ovafgoqJzk5pvksGI45rWjv
2kx/ftX3IqQ/l50uSaqq6pbJjP5+Ce3FxCwLIBF1+CpfUAxGL3m20NRNSkEnfJSygkh5Lg3e9dbb
N0LJedwKx5vuWAoOl1WS/7KF+fY+4AyqaN4snXM5bqb+ug+uqCUiQnEsoobPUNIppJk9Jj0EI/mV
oaVeLwbh7AdD/vjzmZC/20EiCUYZYtEakZW7M1ElVnkRssxY456W611LY94uda+UdmwgLXM/9B98
egZFkeEoXJnabOhmce/oErA+QoU7b5wDkyGqr5CYp/Fvm51vXx+vjkkkrXxVu9vh6lqXlU1ZF+uL
l+6Fp9aTJgLTFZs8TXUJBwib6vMv46bxkr2/pGnc/+8h7xpGVnFVzC4ZTD9twf8Km64E8Xl1Jezg
P5986dve1N+HGt/9Xx97HLa63BhGsS7YoFYMIezm6xzQAmmccacDwCkcuwZvOquxtguWokeOoK/N
buMyMql9Jtt0rjgd5zmqjklV0PuYg6Fx9Onkuh5zTh2SaJzEpQHsM8C2P5tVbr8jFl3upDcuZDoB
RKYHXvYQb1o/faPNoFF6XtzII75gmz1Xm8vMfMI24rJuOw0BMEgkAr89EHFTE0bqCcwNZ+cVfpGp
QXG9BrEA5xb52rh9YwOsbY0PMssIID3IOygMc4iAk8JFTSE76ZJ+1w5H16x6wzBm/HKba999kqah
ixI9VgXV093FrRSX6/kaWhA8TM5W5WTRpqxWAWRfEkTGWF5HyBgYm744zM69Bq9oarVc1CyZMF/p
oaXBoefaZqOIstmsSDvAcfWAyriQNKhnC24KTd9b2qKJ14bspeKzHJB95ZKEkdeueXmIWvZxdOCk
3WAd03YjKOvUmjHIZ1BWDxuhfkURf7tAeAV8oa0t4FxAr3++zL69x00WV03UNUNDjfbvVVYpVtXf
1AsYcRlOW74IcDWmKgoKa9KVKBYafJ/HknTshkhbQgFuxde1+6JgEwedACOTFMpyd0Y/lN4WDSa3
S/x+E99vsFt/fqHfPgUtZFwMeBmQmMbdUzCNNcE4J7G+FpA4EN0Zrs1ki703hI5NsmiJh1lxfz7m
vdr3z1Lw9zHvdiDCWatTVQ6MNQySGBhH7RQX/5JPZJCZvZOBZjGm18gR6n0KvElZxV95tTBuu1tM
VPOKYroUiHj+pWn9/ZlAmSmpjNdQQ989g+IhVMq2U4SVHi/yVpkQwsDsw+nqVck9n2U0vdgJhr8s
Q+p3T1vmRP972Lvn0XBRSdyxCtOHtCIOYL6BihlVs0b2leV/5FhXegYWpGXENraOnqjL3wv54YKV
uiKwNu7yRRtaLyo5GBU5xpIrV0B26nCukianD4frdWbhR2zSFp3GsZZtuqGVF0Xdzopuu1JvZmdy
yk0YzudX+aruzCDFlq/N0pjY10z+UK0BpnT424X33S7m7/d9t4u5dol8G8KSuCx6vJftldYgNeGk
g+QcIvr++ZL7rtlvWfI4p7VUNO539bMZddLFrFoeuHJEroOjayeGNYTdYigqftVOfNeGsVg8DcUY
r6M/S9BfSwxpLzE6H0NfB6pfVNuQLrUJuxNlEuEUhAg+Zu1DUW3i0s/jJaEyKuELuQvL+Oc3/Wcj
eLeqIjaXTF2TLBlpkfLvQ8gSuv4qXRrTB4GZpPUUEkbuKELGA/WVt28BzxilY23qyUuowsPywsax
JYvi59ch32lyx/udTZassutDgs5b//d1lGUhiGHfgZCXqaYqsDMG4ERC4TAh3nI7lhYViVxxQ/Sc
5aDuJOocIlQOq2h4xwEN9FjeEsmj/vK6pG8uQSQDlqpr/GUY9+en1ss8F9Q83pQQAjuRIMliL0cP
ifQ0iqJaRn0tvM1OJ7khX7FT/vm0/Hr4uwdOdRsuXZ0bZ4rJ2JaQIN7Cp5JuhuwraNNuGwulKrd+
eVn8Xo59s0z/89bvnjptY8Z6c76Y69Zw4YMqNblM00sw5cjB4LNAkvsS1K6oucPgMCDEBmwqq19O
wDdNRHYIyDUkvqAZuTsBF0U597IgyX7VknCp7QlbUGk7WDBjR/1eDleTVaADoZeeWjjbOVNLUx/m
QvM+NEQRGJh6C8Dhv/XblG/Pzl8v7O7sJLHcxIp0K9fdgjaa9USU4GpwNZcMAfo7BCAjUJuUHym4
ebqWIEJew498fz025CZE2/yZK6baN9vaAdnT0dLSQTMipfylkje+e5nMVzVVpS9pGsrdOlqolyZN
utxYs15C3gF9iPomij2alB1JUbkrAUVPjjlCfzqnwbqEMBgy+3UAAfaWG2jr8LxgH8b3twNzj+7h
3Gy1ep1eF9n1kPJ4qjZS7vOEQuYZI4kiMjzz+crF0RR7jfEKWmPRE8U1FcrQeQYs9HyG/AgZbErq
pkB6wCoxcTS6/ClfqTtb4jzlaSZAixlfrhbs2GAAZ5faZ1FbnfO5LnslGgSy1iH4mLMKTWr8y53/
586+fzJihNAo/NjyKOJdM6Ju4taUM0Jw2AbPwjXd8jmpkx1Tuo/Qx+mfLarDBUIOM00Uec8JoQIT
hXGY8ZDsxadhIW8sh+k28DZmT2LupiuIGidSwX1hK3gmgex0dU6/3C7f7BRYT8aSlfY+xePdnvKS
FZJeahKsEmVuNkv0qCH+fOWQmLMOWtDgioQXE02g+lSKZ8GNyl+qtO+2SAbHZ7SvmsrYe/j3QW5c
qrOZVHGxhohmS9PNFpG6bTeTn9/oeNvffziGyOPA5DiI/O8W6yA1y/iW3SgRVF+2joi3fv753z54
DRFhhKoY6MT+eED/Wp+rukziQruaxH3YLf2jqx+T0JhAo12pJgB9p+rmsO7Dx1+OO56e/7wxSaRx
o8g6/7g7faWeSwjENXMNgopbFgpsMiwkyy2i41XxYqQhyjJMdr3kg6T95djyt2dVVjmxsjx2Ye4W
4STHDZlaermGCDHqjjY4qyWiHktcSPhE82QhPYoLDdTCRL7Zx4QmKy1pB9aHNqteUQ1B/mMAujWP
xaI7MJeZS2gIEuc8LVABwO0nHjN+DDp7cOmWS36yQA7wGBITgTyRyLeAGfdb6asezW1yx2xEKX7p
wtReEg2mP5GH9drgOzbomL1fjulamsU7XSHJWidh8ZEosG6K2cPW4GvsmatBFpvXY06oQjjhLngP
Jo8Wc84xjgXg3fJ5TaL7h+oHk9DOSDIgywXe6Kv5kgHej+kaxtPsDbqb8qHsfz7T/+OY/M/HjJ3R
kCUMV9J/hIFtq9SKmRRr/aA9xsvwKCz7bQr/Z4pyjsfxl+pk66vXrAcv8SN/8AImEtf5dX7B2Zz4
zaE/oUNYBvtgr6Cx3hIUewhXYMrcmj9ooJ51DwIsFWtOXjdqsWZBpVwwJMucEHlBsogWwilyIzQX
CB62DCdIB08YzShzzYPduQGfcFnKC4usXRJ3Z7Wv0b6/zlRCZB3ZHeyUeUQ6t+aYwR2osdDddJsq
wWPK5BLc7UWreOyWTPHsuWgx+OgJtJiZ2zxV7LPlo1vGUCY6dMx9a2rR5SfTljY/vXOwQOeHxicu
dI5d3/JE94YKkBxEL/OZmq+hUSBVaRdNM4k8MDdOhS8ErA2N1f3wIHrxm47htlmGH+bTbUlWJ9/U
+Am8mgRIG9uUP7UDiw/vBHkB04TzwvAKt6H7Ly3CLVORmCtL5bUYz+oaeI+PxAi2zM0319kvj0vl
u30vq/J4s0k6hcfdAzvSlbOEcL5Yk+61A8b6xHU3iTcgctGhGDOB7GJ0F6QaBygp6DOHjwwA0CgI
nvEcPhLSO//l0vxuBTGovEcnID7Q+85jlwo5pAJV9oXydE6JShq+rJ5LwYR5YZJ6YE6HqkfX92o2
CF2ahys6/Qt0KFPctGYxvVazGGd7dzKUh7z1+xbaV+RaXQWo4jd57bfPK1MSmWZr+Mx4XP671qh4
c0K9iErqw/xYHHuiTx9qFEBEG8G9mLdum/3ZewkrGcn/tnhk2oNjPP6EcM7qG/+yaHy318LGh9cN
3T813f1e6xb1l665ctMSQyKSxTEn8fba/3IU45sV4u+j3L1p5VqI5vUi6vCgT0ZAKscGzXSbPUrR
xy+Xwi/v58+1+9caaEiWVRHGECKeuEL4SadmX841EsfoMCqNMS/rK0SMVa5vRyfdxcC1M8l1cEUe
6WtW9yoye7Tyk1LQsVOIliNcgjGWWKxazPxl8st5kb67ck0qSH5RV+PY/vdqSEvVqHWzNAhTW8EU
LtKZkXuou88ZZikCqRyxddhuKg2OiHlkzUkM+PmESd8t3ibycu5jZSwY716BXPRFEuhatrwYA0j0
q60C8dbiTXHAkZDtxcpt0YCL4H9H9xac9J+P/00Hw/j78HfLtyDdrKAO4ozQ8ZXUOnrvXPNTZB3E
7iiku5+PJYvfnm5ONXuCcYP0R+7/19WR6WIapGLVrusnCAlfw1OyFkg7ACgyi9AUhAgFNBcZ1LjZ
fSN504emSxya5OV+/hUCg4LJ+jROOokheQiezam+Vwi5frvuI/e8NZ3aqx+FN8XN7YGpKyuQYN+2
IIIAol8mTNXOGKMpPV0jnKAoYu+9AnFs81+6FyzV52BfoBPL7GCLuPa8KX00X857AKNwlgmTd9jN
04GNSe4IO+lkToO57g1+tSofx+cGQIP8kKBlkx9vc5r5jjoVnxmFytvEyd8pQVhkQ096qJ7bxe1J
eDAW5bH8un4ZjuA0+//ZXI+RWey9t8pHcqL7/gBtysCP91S41Rt993gVnSRPdKRNhTQrn6eu+ZZs
tGdrD6kOavOhYQxpH9RHJnbIOJWtvNKmGJ0cyynXxSZ7RDRtwVBCUkDw7HNFvuKEybm6trYwmdCT
MZ8/Lw/PwSO6o8nVaVztl/3it5cbBiCqynFoe78HV29qqGjt2JvQfThehfhUw/QPHg2E5NHx58vt
+5tbpQmgKIpk/mcifSkaTc/CJFtS/V9bRBuXPwaCUDoW3Uq4OkRGMq1kIKeI49fL4Bi/PXjlb29v
FdG+pWAa5znz7wOGXXMQpVfFWCch04Qt2/NKfNHSpZFuNGM1HhjViLTlOVeiAyBIEFkudOrEvbJu
EyfSbNPrASrhr7Wq9O2aQJsE34KMdeFPd+2vezG8hAM+N5UPv5zhxTIsQuc8hoZMTuAHieE0MuD4
+kIxJ6c5vvr0x4dw0f86FvyugEAsLTG1NNQR1PHvGQoLxch5tAV+2DH4hswQ5K+Jsu4Vc1KZRxK3
cXkC2ZIxWfVwuGuQnMb/oTIcC2BJgliicaX8+xKKoI8uVUFl2EKRbcWH2Cx+OcL3Z5vTTKE00irM
8dP462wLUWGcVUlX17Rsb+2BBEfaY0bos8R0ggMkp7XArnmBtbC+bpYrGoy0XIaz/5dbgr7pWGaL
zGbuthtmS/VayQZca9HhcoyF1S18iAPG956c7rgcxXzThRhFHXhnXILibz0wSRzL7PsyxmJp0EQa
JNJ/FrzGFK6akNXGujcJNAL+KawKCFrRjMZSOUKo4SAteTaE1IAZMZM3Un5RaRUmRHUZPYGBfgm8
WH4oERL1DFmvKNKCDxXuKZ3eyC4BvCUL0ud7wN+fUm+HjDiqKe0iPffIIDa0yZkBuTqddD24IRff
HlM/anTpRtAHI8UFbcoLu/4aPxv89DkcP3zxMvFNybGikXXZlRzrerAa74qXey6RnSI5DVUM/Dyy
umo7Uub9dXpBMgjpXcMqS7w8+ixod8QICLTJ1unZNSJfuCwLAjyZ1uqI5YOd3o7BY3gU6/UYKyi4
db8Qa7IECWydl4jguSVi+5dL4rsn1N+fx/h5/XVl6sWNvana08YDIly8K8Yo9aCBJ1/mlIl6/dQF
nmAuCZklWOnnYyu/HXv887+ObYaDmaXmEKzF6zpw8gapi7C+pMQ7LLgI2npBG5kzqT5fo5MoHnkQ
qG+V+FUEiyx75mOq252OIYhptjXndHFvSZe5mREjpzpSvBRfgK8V8i9bNvaF/72ETa5gygdgEVQS
d6csvcSdnJphCa9ctC0sAbc1oiEm/8OcYSxx8bBqj8GDhmTUJFmGyD7Jq0iNqKFv6wtURgsqjhvu
DEjwq4Zr+wGE9SGdEs+GwXekhYKbd5iUzjfwpYcJYRaLfqn5ihu+JLNkxsCOzQBekc6puFEn2aFG
SOFkMwyD0YzvOZgfoxchnZy0xTB7povsxZiwEAtMcYBPwk98wfgUUhRZG5osryrvgt34XJ6Nzg5a
Nm7+KewENHuryNG98AFBYvMZvgRTNAnbwCMs18Z5cbogHWmmYykxOV0hDTV+5+ZoyE+luw1tZfGZ
HMh+6lnH1IlEXYXry0e3XZPXHE6KFSpRck5cZJ0zAUfOJNprDml89D7zx2affPQ6O+CQX8OMwJ4F
XDlaAA3at3qaz9S1vrY8uIgOhP5Jvdbfzi/pDNsr+jmsuajgH77oNC1uNok/NtN+96NGdi+MuryD
6EK7dIVFuRD3NS46QDWwRa7O5UF8Y56P2CHGBoLG4RnqAWUf15cMwhLrhDrGLQsGibyVTxICoV7T
6g36suYxUkL8L9KiN5zKI2d1IkzrQ/ogukglYx/IqXd1SEkYSf8/30f3mJZxEjZWMZrCUg4E6r6o
TeIqupZJHfhGvVCBOlzNz+TC2444rXqwyMN3y6CaVo7VuMwguA2miWjZVfkYXYdDJWJUjp9+fk3f
TeMZyrHPBxCEAud+NnorwNcMRWwsExU4KFHhPRnEIviL6to9aWI803s07ubFLc5fZzOcdcVLiju/
ud2WhYlXRv0qhvO07mqT2FTy5qNPA78MoYw/v857kuL/nDsD7osucgIpTu6eQWme5UMf3NZEXM7l
xdVrPcM15k/Eca0qNwNc3M7r5e0YOKDdyB2EFTjNXX0lPAqb4ohZHy1cvRRnFfckHhTEz1wrs/M2
Qqlznp5o6AOCp+s7q14KW7BZc1DqSG4I9w0IBHnb62hbYJA5/z/Ozqu5bWRd139lau6xDnKo2ntX
bWZSJBWsYPkGZVkSQiMDjfTrzwPNrFkWrRHPmYvx2AoE0OjwhTfcRzwuqthL79V+Y5WUlyh1pxQh
ULWEkHHmuT8IxV1Qfg6CO+hI2m+J6U97b9JGTp5K4d2gA7sbV+lFcFmD0r7HW+1evU4YhgiHuFn1
2N/GV9E3cZO/FJcKGVt2aTyg2XolrhHTqK6Mjf3oP/tXiH1t9a/mZX+jX2k79yIEQC+37dxb2gj1
HbKdpKNlrcuvGmyU6La+NXYw9lb1Lr9YOFfO3ttny+yOqVLPqmOLnMssuPRu4UR+/twfrhXXfAs3
NSancxICeU3SmVWeUQtJEB1Yj/peQ/zdWSj1ZkiOpncvwQs365RtIrim9aGEm7RbxTvbW5y5kym1
P4mEXDrYlHRNVyf9PzlGKPTmPUIQw77xDwQLeJoV4SqmFg3Hq1oA/h/l45lLTh/52SVPDlwtaqLU
DViUqKrm3jypdsWK/pyWL8n5E/1bVK/r9IA+6j+6LtE93XCVottJmWHUgKIogRj3IK8q56bh5DGn
nXRZA89FDdOIq5kBRq5YuOeG2f5oorM9AkSi74Ow1Enxi0av5+SVH+61YCnj5Kp2r1zlJUnw6LZG
dG8XhXrpFgfFxFIxX9h0f4uoPowmwFbhLKqiP2qjhxLSOpnyRwSzA7+8C1n4ho5ofYBo+qt/74wX
HXIEgXPvemhx1HCYARy0FJwVFkn+WsdPhiZQizi4qFw7KEXpfYLazyIy8cP2cXpJbpBNQVt35ygv
VkoIUZnYQojHDtkTZBuXusac0D1wqzhpY8BYx/mCny/Gi8pVFoqoLkBXHurYvDWGcaHyaBZUos/f
40fprIsYGBJzoFBswzmpVqmVo/D9cgRt/dSzhwU7d2tu9W2wVe6a5bFGUpFy3xXO2UDS8fJhp/z8
Dt6Afqcz2KMBQpWZNEozThIps+9dJdC0fo+VuJ+NyzpbDOFBGvZCabJDpWdzvmJT0vfXqg2vMz1q
GcWP4IEC9sxz8Xky7kpsTRwsTcFkHvuYWlAHW5o6yMU43JqIyLgrFh9LsI4WWYmL/ZosIheXafc1
j9JVFdK3NW97qe8Md47pyawavw246CXmI7/nySf+PIsqmWbpL8+NeAqwEoafauX7Y6rN4IaptcZm
oS88Z9eO+xGZ83FWfvHHPTpEnw/zR0BDdA3+c7mTjSKMtLEKXBZsE39jezLUIztUMr70JeIwLsLv
67DB5wwvPm1Kccxoq2BoGH+Bj0G1Im/mKm4IjPAo9/wEo+EZ57ZP64PKwbt7PE3bvbZUPdfXLwLA
AhlNBNCNCMTX0+aZ/VBx7qhhyoD8nZTMIgvhavDfTYY1CXqy09fz3LqulOrGh9KbhGuFuex/ifpy
Y5XKpUcpxk27Yy2QNXdDfSe15l4qycIzs62saISBqNNt6GmWsRv1/lBX4Tc37a9qG4T+iNC+4y9z
XKHNuD2UKa0v0s+QCJVbBApew25DMszDvKSAZGgDUgJW5905QOKktey87kEZuae2WrUuORjSUZil
jgpkNohhOlyO8CINMN8bk40KwsB2hplzFwPWUA1jIUcKf5gbVg3sj/B2NAI8qTnMZbA03XHlOlgd
YL6DdlzFHiS9ZDVgkDGEN0Varc34WOEbWCdgVNxs13niKBP53DaHxNXnVV4tixHhgbj/47Zx5yu0
g1OlVyHxEDG7dK874xVQYF/ibnFb+s+hRZV/susq8VR9MUR9qMl0qpx2nr2VVrZM7PIy6snwh2pv
A4ORqBnhxxrE1E8VA7MJ7TYWL74jnts4W/TJ99jK1mWHR5J+nLQRUh0jkYpqJpEaxq71deePl5Qz
FEVuJ727Uos34s17olvlFJ7jFgePc0WejwBpCNWwbDhlIHOqJ7ujJQezDL14xIoYTfylWt9ri8Jf
Z97WQXELmwnrImrnAWbeYsef/J2+JS/Kn2MJVejn1vAH64Oa1iQOzr1QejpZw04qEztTM3YK0F76
Ik+2QKTbcmvGD5FQVjhShNFNhuF4zqxzF6U3orvnLpRirrRYP8IXRggdxXQsSC81MFTO9eebzEcF
2onwyjGiT+2PUz0HIcBwqRrjxSXY1mwy1OIiFHu/+V7WKzYcDKUciRdUtE+RrJPBlcy+nrmHDwfp
p3uYWhY/hcGF6lsdDCKq9DDzUAGA3Jf0P0oszjAR24uFjmbfo4UoQzc/c+XppDrZ0ZHb0QFaUQij
9njyekY7Rdi2cQfiEpDHM8AS3YDB45I4cMT7fF16NxXNR+Vtmyc4ytqD7u/RmztzHx/ER+/u42QE
hiaz1aYGMQuDatlvjYviC66Sb5R5fJHx/o1vJrqRuxy/nLny9IS/jgBoKcRFETuyTiKzKhbS7EJv
2HfjpashzEiuxyvni/OxvhL1ghpcJRcqNAT8OxijM9f/cAJqzLtJVgdCin0STAhZO+Uo6oZOOhVw
VCuqPdKH+ydrJZaX/Ili3ZI056DhVmVsJqnXoKO+Yj+mdwJu6nhDj2dbr/DDXTYP4uDcgDffTGKl
9epHgNyBvcc2EaolzWV6SeM9fqUXUD337XcLqN9a/6qss+VI+/6uP8RLePe3wReQFI8GrH78RHG9
Vjb+nFbW7F5Z0CBeGW86HsAWwGvA4FjFa8g6WMrIubYF87vNH+wjlEdI/xxeB0wgMZEM1+ca/m/o
/V9e3E/jNk2pnxaN7DXNlwNlSgslCgys5hLxAjQpgPZgmWySKcfz12z99i/QSNy4d6ljonvvXca3
4tgvsqtypi85xCa9il24QMUCaQ81nv0Yj2izQakDp7EzL+sF+/oC6t0OIZd8DwsPDW1jVyLaYO2m
/99hUrFIKPh0yJVcI5S/eP58knwU8noAjI1J+wvc2FsN86dnjfSoaocw9dCY9/EMDvZjMy+y2VZ7
CjWIuX0178fDVLVSF/2B6o+CsEJN/2/iWRGDn8vgPtqvbPBWHiwYA6Xv6fs/3U7SOKhuJwHkaGwG
U2+dFJuIIPjGkN8r6WNDDt7dcdBBvHI0FJHqY4N95edD4k0lkdPX//M9nOwYmtYpg1tozbVV7bAn
TPxLUKA4UeeoRQzHur7hmC8u3eua0BqEJ2W2ZpkiQlVtZc8aqkEfwZolkrZRM6D+vdYiUptV/+SC
y73zHZi/kJf95CYIN1G/rp5ayo3xyjs6BytdKumx38X5hXOPH7uzx3EzeRmoADoXgvWyDvATvJdy
V1AQBfaTI/WBeRMXR/J0bwHNt2cRlngomGKeQtepno93PrTa9hKenl7ddJc6iB9kOzGiIn0xbzi9
oeKKcq7JBflD/QBEoX/Ei/zzUXV+HVUPQM/EHLQoy/xRdf7pzcpBLbww1bW9KO9LRGb9/htqsA2l
VwsfpD5AeyYMl4U2zgGTFxCZVdwzI9ecDQqW08VcRxtjWLsYZeYGjqjeddxdGYnY2hE/1e6tGtOS
DBGXOpmjyLorOP/TmASCcoOSZ5ejX67HkP5zdFDsuwSjnhF3QBwD4ZWFqLnn8Zd4oHacvVIhsJHU
lQsaVTYKP6JF0BTWeMs2rVJK6edoDmfdddX2yKnaiwCCmSiNm15UqxDt5AQ7PQqAoHvQK6m/2XE5
94avmm/tdeQ11TFdpiNuQ5vAvh/j+89H+YPExnM0cM004fAD+IWOE5V6o8WVbh2LScbAvKm1S1XR
ZgN5lDesy0I55gAwYkXOCnGwIY7VIzldmH1JsUYxVdRSYvgkCVUaCggxoJQQFxTVX9UYP8mh3wvn
3DH1AbWQWwY+NeG9AC29VbR+mhi1k0eDGwvr2OMTh/9HuPSGVQ3AjkwhWoX6viH3ROUMTUwXnPY8
/SGrNdZhLmW4CYW9KgbudJ7X+9G9dRCFg5O0EOW5TtKvccT72zw5zVtRNa1jp9YxxY0Z6LexoaFZ
9xfjCB33DGzlw9eoa5TNaKwTQr19/6cx8S3RGQgzDkf9kHOwvKI2rAPRBOORzlaQ6GdPwRKxowx3
zh1q1BrC7OMyw6DQ2Wpn7uUNb/d+O/QcykueTQSjU+4+KW61fkyT37La4zAHNzn3t/GqRqXBeIKc
j4QUFJSv8bPyREx3pxxcFImGZ6CrUMvjG2NpcBBSDAOwKDf1JrjHqfs5ucPF9vbc+/m1gsBtotOv
IiZK1ft0GglPHco0U62jm18B3E/JYHGsb+VN1z80FJwGIz0TYH2QEL2/5MmU0E3fGXOUpo9yGWRr
f9ykyVaC34QILm4lZXZ/afs3mVyJHE0rRCgUuv/L1npK2uva3Ab//6EutEtE82mWgLaDm/P+8BwN
pYuCTrgX5PiOkl7REVj12JzHItpVtj0rSBPDchnGaIu2c0hdnKANxkAZUASx8AdBhRYNk/IMWe8D
dAD3xfqGSzXRu8yT4k4XF0C4ReEcPQ0FwWuIE7wgwONecq2lmwZmBchdc+nl5ObYeq7gLzj2HnDI
mc3x18bm+/s4SUkGL6kMwR0e6UnT0+4DNB73NZ6m7HpXY783LUAps4o01tnk9nIH+wJYO8gQwAqm
R+J0JtJ40wM9XVoQ3SY5VJqt7NfvX1ifGZ1apO1wDLc48RlfxU18K+/7fXNFOwtqNBXXqwgbNood
tBAhVGF1/PmYvLFdfrkFzAhsAP28o9Pe2tA3VV01g3MEHsOOKuKdnm4j1F8N3NhjRJcU6rTOhZ6u
K9yKVU5IEn2MfoyNK7ejiiHRzM5ukm5P7aUeroD2uPW2r1Cy0XZj+jqkj7H/IJDyVDY2XpPRApgh
GIOiu9Wcc4ffNI9+eRbG0bVhWjiuejL/lbxotaqEgu+i1fct2AhyGihqh362xx1gg1gnyi53MIdX
d/h1n1t9v6Z7zK6frn7yMqM8TA2jdxLoTxQL42f3vn+qka6n0PBa2ACDZ2U9F/X88xdIC/TMU5/s
QpmhKsgA5FSKLrodkLrgHpPf7rV7Nb66O+3WnosLAzlx62uMEEhJ/z6/QSg6Wch1fAUBfmvvQMhU
W+eHsUo3qO/Mw1tqeB7tvdvgptkrcK9fkar+ik4VyPXiKn4cUdcmOzkiTB5dtFdlTYfQv3YPHTW6
r9gm+ztVkPGwvtxwXvlITKPHCvo9Wk5o+jGCBqbijOqt6jUo7m15GOt5C71B3+IbhXQeGkcLD/xg
fmsNkAhnqsRL0qGfsC7QKaFuRxZQI3yHYDRiPcR9K/R0kPtpyKxQnnwNcaWq9YVzrUyydrADoFhN
giXJ7Acab6vwXv0a6QtcDhGDRcv+ewYL7Gjtwk3+XNSzXbkSz941S66f61+TcWnCoggXcmvu/Seg
+hfNdUWyhtMD+nkUk7bNPIOEwVLJF/1Sm8dH45Uv7erLaoZiyvaBFHmNneP1cEElZDXVbGftPjpm
t/QjfRr9/WMyDx6gVWQ/sn0VLPsf7nX7dbz0yP0A4ewi9IswiUV8EOGni242R6n/zE70gSock5dy
M9QepjAB+vudyNbjRo8rOh+T9s4TxAfoDDh0ofd35tB8a0CeLlJLJd+Eyksx0TtZJk3jpXYE1ffY
OV/uI8CA6AnImYkWZXAwu02Mo7h1nWQGnJW1OnxLFLHA87JFN99qH7rhUNsX+PY1iCE1SDWYGwWJ
eNF/tR0SbFwyPRSyoxixsy9B8sOFMuO8+IU+t+NvOjLL2c7A3ZFwBEcArFlHnOBU8jcgFQDvdFAn
EF0ou05+nsqqCnZy/DJCQo5QJMbvU1vmOJlj72B1t7g+JiMyEhZG5ohgOY86TWZ1hSUrVsPtMtLn
YwsWpVH2SbYMyRJMKLln1r47ZaK/juXkT8SpSrfoZOmPE/K7wh9jAjmWFKEBm9HtbeHjls8afFDv
hzHuYW2b7SPURKXHFt56IDwZ212XUG28gZUYIw4h8VPZR2hhIbTRr3OxLtJDKr9p44s027nNcNRs
Y1WfXBuBdYHCgR18i1363jT59PK2t1YayxRsWS03LvllczHUXzg3JYsOUbpsImqH+T41tvpAJXhB
Pxq4GLFQoV44Ji2Fay/cG866yC5NBYNoDC02ZbmOxCXgMGICTV8p7SFyrw1aUm4/YFJ7Q4QwCbqE
+sWmb3G2XufNGSbKGzz+l+HVJtwEsBObtPX9ojBiCiZxwPDW+QsRSx1fDWq9gAMOt0BNvyqgpkeY
VZ9v6G+Q+M+uehItxUZnFl7cSOAJ86LatOa8VRalpNkB2XxbvpbfvR89dXZU+9iV9GuJtl9WzBp/
1nvrUD3WgK7TVajNCkLzBz29DIIlIEKzP3b9ysvuTXuDdI9M5/p40YPcar/G3sIAnwC6e1j76WEg
NI1W9GAs2MyYjcQrg33/XIH4A6oKrQQ6nC6yETpWWydbDghd06wQTD+mRBWDS3ofbxsbuNiwMPwf
mgZYG02SRslmqWYs8wCDbU4TN4F2iLCL+4I1Gwbx9LcRrSush1H71iLUMBUxzhTynQ+WmQvGGlkW
7JPsX1rsWWZVpWUpE6bitcNhx53+Q3w5mtXyuym+WAZhkvPk6K8OOH+60y06p3TFBDJlKBis825J
tp1B3dIvKWa0GhrOD4BBiYkAaU6wzxrxTWsFQVjxL3qA+eor3XcdCFt+tLJnhbKDB2r1UimfiKl6
4c3RcxnzpRveEHBhYwyAkqAZnDOAy7afQlYkN6TGHnmQQ40dw5o1iYN5TYlCrFlUg3Vw8gOYSNCa
hvFAzSPoUJmHO/NHUPZ/3nm51m/erj/yYqgQf2pO/vk/h+gHFjL5a/Nf06/99WPvf+l//ldCIf2e
RN+z32ayevkuf8tff/vSfG+iuol+1Ke/++6juOKfd7T43nx/949l1uChcy1fquHmpZZJ828f2ukn
/1+/+dvL26fcDsXLf//+I5dZM31aEOXZ739+a/KtnU7Vv2xup4//83vH7ym/9r9VMH1K9v30V16+
181//65Yxr9sOFKYqNpTwwbG6++/dS9v33KMf4HfspBOtUikgJkwQ7O8akJ+Tdf+xSHq6VRxJ0Y7
Pe3ff6tz+fY9y/oXaSDgEOhguNlx3v7+76e/+mPL+eNVfezK+76Cx4VMB/ktWjrvt8EiaFS3REVg
2Vt6K2dO4Kr0eY3EuhrEUKD3rhvRubD2RPjsPxc7KQDHRqkUWYyHbaz0KZg4C9nekeZtW+buYlBh
EAUtmO4YEcpIji9jkaDqWOvWos6rDt0kDbyoWRMn1gqWJ0mJ6lTRSkpaab+MWu0c/Ob91vDXbZ4W
RZxEo4esuPaqcCjoqb7bsD8H6A7rVb76aZb8+Rp+NkOenvg/58Ffl1BPAiVDN6Mqqg0ErBNf3Dse
AMiZHWHF8vnHTx/z0cefHG5dFvlNN5b2Sk90eayEIOhLq+pIBXZYSa9+kYXhHRwx2GeilhOI2p8P
pHmn0DSlFo0StyZ9J9vBYKoQnG+DiVc9fmmztnZ+aKJ5LBQQK6kW8r1Op0rd+OZ8SCm4dSG1pMxs
rtzEHlZuaT4Go9ouqlFPNv9gRLi/kxFxRQGOoVSRDBVQNXsjvhTCuwunPbPpik0xgIwB83/7+dVO
ePV/DcepjocxKGXbKzZCNrobXUeqbBfBoAyLwtHLFf6aT26uYpnMrrkNOxpz0gmH1RAQ+Q6xlt59
fhcfzmOqsNOa/6nQmPisNiHTeGk1YZysTXOU3TbsPVyK49FpqjNWLB/OZc19U+r96TIBgUAoFCZb
6vSZnNuWbzlz2qZo+Hz+HO+T4b8G81TUQ3VyNY6Fba+EKpt5rIZYKQVNvepQVePktdqN2ubmmYny
8dOgB/p+0GRXDoaScGCXVd7tpKXRG1WI/z9/lL/59FMSS8KeiuCnBWhHFf1VF0b+NyOO1P7MMvyb
N/5Wk/rpVfixoRRp6FurwI+xAlBjfVPpxbjP+1Q7k1WeFEj/ehun2WSR9m6cOjF7i+yyC1lVMAhl
Xy/wcoN0E075WwauRm+RCOsto72oMfRblm45lQXzFOaATdSkBWguQd1Y2h1RjoLa16qL8LAbxqrY
Bnnrnbndj0fkD1rnTyMC/LGzsmKg3Vw69JZxfF5FrkurzU6SM3Dsjy+BgOX7GTNmbmMVUguXdmia
GKYo5tAlKBeFWXcfGHFqWeeyiI92dQKFE4yOnetao7FnrwJhDrdp5enfhrQttpWw+5vP5+ff7OOI
Kb1/mKilUaaoudi69ZTlrwbFaZ9HmerKsndNtxCzsYkn8cDQzG9TYoPqvhZhp42z3E1wSpy7ZWb5
a88rRvw7C1fHdzTV6gG9nLGJLsdh0O462ZmbLnClcS6pm+7ul/NO09WTV2Cmfo+GoqmsjAKJKr10
q2XlCQFgrEFTN0lwXZdYcMVlgYCzaXYzq4AY4nf1P5oC6Ai8HzXX0hLL6rEAhLnvX/im51+UAXFO
JNty8fmb+TBQoyZwklFZSN0oeWwGWztwPYFp5KRZ6zoo2dmV92DadfD98wt9PJ0pHL1/lsYJdQtI
brgdfJsqcOZQjVNtY12YRrf9/BInSfi/9xC4he+vYYRp0kWWXm0yYEQPbS8kfxNipkyGl5bT+eu6
KL+lGgDoeTR0yGCG/Tnzo4+fDwH799emnlpnoZp36P2pWE2IRjy0OcjpMTezM7v8x5ew7JODd+ht
dBoUloEsHRcakQKytCj8b241uGcUr/7uEiczvjGzNBiq2lkpfl0gae6kbjYPysa+wWSoEGce5ONJ
Z51KIgSGmmrx0ASbQNJUDztjwN80q67bQE3x5oON/Y8mBBZE71+K49WpUo4y2AyDQrsX7OlVWI/l
IvEk5h4OBY8K/7ydGjhYHJpIMBh5AQn+86u/ne2/bh8AVN5fPfHJBUkK660IPOFfxWRdQbxQlMiu
8XJM+paaYxNBB2tSWeNrmRk6IObaV3Xaa3anpTVYBFPRwi+xGK1sVWl12mXzdoitMFuZbapH0SZ1
ms7LL4rezmzjkGE+Wn111XBsMUJLSq2j6Bl2sWNtvaFKu3LRxmkfowau911y744envGLrPVRMJwV
bqyWmJx5wiuEvczqvoucBc3KQaYH1qmxBoCu5uWVMjpR6Z8ZphPo2b9XrXna6sOjVCm7DoPp0Ig0
ioO970K/FdH4kOpmdms4RaxuisacG9bQLVpdnUeKDHbVEJfXMnGGY2SaHCAWumLWlF59/vY+nqPY
AL5/eVqqODLIiXl8zqSl8HzIb0rqz1SnoyHdN+qZOfpx6Gae7ota3EpKRVW0VM1i2GKfp+xUu8C3
+PPH+HhBIwn+/jFEChPONqpwmQFfx0EqrTpzJiNRRhdOlzbamcv8TWYCv+39deq+7HQ1rvxVll52
Zm0tBt19NKxEn4O4rTdjYw/z2sMy3KztbhUOPjw8L9I5QHXIoP/kWal8vL+HJvNU2cVBsE51X467
WEpDJ35Q9A6XOKv9RwcZErbvrzLGedgXYa9swJk/6rqOeneLIaiRNOrj58/x8dQzTvd51Ra1QSWj
2GZp4V+mNpbgjq+Wm8xphq070DX6/DofTz367O+fxI9ELrUqsDZWXUfbyBSgC8eyPxM9fTzzqNa+
//Q2HNOmxjR7FVTDk2H2GuLzqnvXpe25qBK8Ap/16w5rvFFjfgrDY6KIrMmHYtt3RlpeZlpvpQIJ
zaTVyYANV+LrbEeR1l4l0vfcK01GQ+9ijDFGJbULT3U7+8KvW5EsiqGNeiSkfeG3yQpCcx+kHK9O
GOtLKChN6W+c1vHGOzXSZfGqBnqufw/wulQTYtfR026LLnMMb92ZmojkqpY9vDqk7tNYwMVoQyt+
9n3Mlw+JaMfoSfXGtJOrNlM6zJkt2XcKzeYY3Ztmk1iizpRFnzad6uM935jRXvTSsZFRq2QNglC2
uhjuYj93JfZySTQ5OTsic/AoL0rdyp8qTUkR80Lq1e2f/b71fHeme1UYu1dZYIWmvYjypoqalTBC
8635BR6/T42F3kPaz2QX2fiD9a6eHwOgRcKYtUbU1FdVGUgLK0bbdPxyrzRGqxYLEThtfQDLV/nH
sTJbZFRyqdr23EZr3jiYNkaaI4P4zNpZGslICIgcoK+Mew8dgtAZurvcn9gWvha6F0WRxkYyixQA
RF/KIWOBLFTVKStcw/A18CGIo9pgFBecYxyZN73TOwYtZaforcsmTYauWjdqNXiAF/XCp8flEao3
uNU0MgEnlhZ9wMbg5klmXRuZ4/XpQkmCoKv3pd8oMDzTrFbkwVWrzBbwUYJK/ggaww6juSFLe8QB
TqkxpF1DPh4y2tl5IhWsdAgBzT1yzw3QQVGl8ePgyiy9HccgGMvrPo+KQZsXvL8qhkpihhqzwK4o
oC0Ykb7t5o4bYVFsGOkQg9pShNEAxTSphNyHesyeuRRO7oE81DBaDKHBt0njQZoQRuKs1NIKUbJx
rTZT5SwVrkWPR+9KEaP0YolAfrGr0kitay+x40AZllbamk2EqNRYjWo2H8MwcCu6Kqkr/Hpr1lXv
YfJBNCbydVJrrScOekDkmV6MlVIYw00gtTbT1r7Xj9UrNUwFEGM4UnJLr2K7ihB00DXFgGoiNIdA
ErZMkriwZCg/h6+K7MNAXYyK42ACk3ZdhXZBFeiojxWumegAfqIgD/WHNNdljWiRNxDVXMgwcpW9
kpISPxeKDHE7LSKUasWXDNFp8wpR/FzRyMrZPW5aL2iqH4njppo2y6F3g1WsdFFCp+7DCoymV5c6
hCEGE7nPGUGQleMp1CTOOFyweaUKHnDsFN3WCBwfqKY2aTtSYByMPEayt1HqMtiGUZASVo6oicFt
SVtFYnITFYbAKMUxC0Oi5uWFlrcgOZBds1H80av0mc6ClsWSQpCtRjO9CZVCe4yNQEnUXQREzHhG
m7MjbCyjkimwrIaGHtIydzMHpdyqTBCJWbedo5jVdmiNUhcrVKuq4Utl9hUl974eeOnXRlL1ogdy
PKa6xBIqkFXn34yRIgBp6DIDpoo0Um3kg7GvC8CKFUwtUH0uSUZWy4Maiwrf8QDR5qqcEZoq3Ltf
2knQzWozroN74t667JduPnpmgt1vEwuEM3qXlqwvjNJKXhMPBfISwz/LD2ETFkYWztxoHOx2lehW
ZlzqqNMpqEcJpaAAVFiNMeJPU4rIApas50Mm8ShK1D6nSN8Gha9hZjb2Ax0EIzZtxOsDfYCf00eG
O/YLNjc9w9PGMajLQMqyLNy9kzYs3X2qxM1ozREdRnJpPsrczMsLFZV80CFDHBRlOR+kYbKZloNi
ZvYsbixKqnNpj9VTyjoq1myW6MVAT0o6LM8dTTeSL2poDA1LxyyNCAPTIu7GbKbrRhNMCUZf5S9h
XKjmU191eYWOCsUtF7WHoGhqUAJJXQcYTjbxVK2Ogt6V33SOIpi3nhEnhFIiCAIUQaMwgEq1gCPt
N3dO4Y98hp8alEnASKWpj8ToIKXZzDpXOGS9vkcycyfizmvA6xpBrED4ilPesKgD07h2UE/X1dmA
/d6AWNbU0O5mphnJ7gJv7KFz5r1S1pmYdaoqYkBaVlrbc98TVtbz4V7AtOpKNTZegjrtL9mA/F5f
lEYeVi960maAyTMztrRdaUcaGVjQq3PRwNlERsZvZI2Ym1Oagqi98RoKOt6oVKznVPO67tnnWK+f
lHLwK8A8FPxUvILh7EffTS3K2Ben3ASxZCv227yb6TS+0DrnPRYlr15v2HlnCTmR9kzZJpDHuM1y
ujl6oYz3XZEWdF1bUaujQEApKwtomV6cJ1dRrtbFg/Srapg8K+JkfI6z0rcA2pR+kt9pxhByOewh
6GDh5GN3AUzErNPu3M5hPeNprLrNY1QPgX9bYUBTeiDisrFPV03slw6eK4k+2WETBslma9uaB3Aq
VBRRlovKb4bxrrZoZmHSXbaVyGajIzAuAOtS+Cmjqgb+olXwtIGEpoVxqM+iqiygWEdWCUjbUwhP
V0bop/7X2h5GJg8u3w42gKMZAn3pfM9c26KPxCYl00chvh1p0G4dSNKxWAhfV8GtECb03WUaaplA
N0YdK2/aOLQ8hy7s2GWMdqaOpMzXULitc13bWeiYC7PVCunOaEdGqN83YUixsorsaLg0SVubjRFa
6nCXDBn0Oi1Xaggx2mCXSEgmeeJd92nsNSUpcIaQ9Ky11dZXZ2D1q8nZKytL7daXnuM/a5mT2Tel
sOyqBVsvRg/7VStq+iuZml5bLYd+HL0vnlDNxFwyDzrUVWwl9Eqm/aiGCWpanigwdhH16LdfXIS4
cEXp1EZox6IVcfLcU+UGWRWS/6nwPcu4qZ/LwsokmnAqYXk5K9MgrA9q3msuUpia5QM9chN/kFep
5VWoM7ZNUSXwqXML3LmnZr1ymbsizat5UxVO8+IPWGfvByvqTXT1itEeNeU6jWXqeddlXGr6mere
30T45vT1n+LjkZi2ZnTsFXRIwDwpxzJZWM80/DyD+JtM5VTq2PW0SvSBRY/Gq9y9IU292Nae0T/G
deWv4zSU0T/KJozTklFZyD6xirxeexSK4EpEbHd1NbymXmu9fv4wf1M+BHz8frTMMRscyJf2Knft
5gUEx41bBPgURsWD2QfZvhlQIg1QapjTjj+QpTtn0MYfDyOI2vcXropO9sNY2CsmNfLuDTALyybe
6CrwZfgmnOvcfTwd/oCF/jQdYr8eM6llE0wtqe6VThQ3Tfx/2TuT3riVLG3/l97zgjMZ2ySZqdQ8
2bK1IeQpOAbnIfjr+0l/VV/ZKl0L3UAvGuhNAbdkiZlBMuKc97zD2LwzE3lFDPwnkGPbp6/3y59X
S+XqUijWT9nOjZBeeuGivko6AxARk3hiniZ072a6yNjMAphwtvXUOJb8+ucb+HbHiZXJ79cn96z3
Z6sWe9cZSUMsfPKVl6K/C/P0PX+8v7vEK1TInszFWApWMHfhNk8Zw6jCWyCeq6D+7y0jdjSvvkbb
uCJvaZzrfiVm0bVUsg6dH+tgeckhgcQSmfgu02qLocFwFGufePfVyI5/XsafE6Z/76oZqf7+ATLG
ys08ZQxG/SKMpLuSwln3XtwZ6PhrB/cNo19wcpqYmNIHQ16ccideB8vYr/geH9JmeI/h9naDb72G
QsbVH528XJFm9/ZM9F9JW2wvNSxKx2zw9ppWMziVWuP0zj7z9qv4b2H1aZYvBe03/ZQ1Y2MRDP79
0iw4XpnrfGikW70D+71NWiGt7xX4Upo+QrVtSrG3AZ9eGoUnRDi/lI6711ApTu5+xL4bVOnaBMTN
Xb+OxjIMLirb2BDeSejZpZLxbJKp1tYCI9ZwVQlGguFLaqTinXfqb26Ac3oRfnmnQ4MREN6NYr9o
LF9CA2l6twi4F5hExbIqyTjPdf2e+uP0hL3x5P3krf9ytSkIZbj6K0yejK4wxZ6YvMCy3Fs5VavR
rMPOmnsqbGGUB0NA3CbrJH/n4qeZwFvXfrV7mEaYKcOb/T1EHXR3yP2idu0/erZu96JyrF0TDOGu
pIJ85xF4eze2Xk/3inWztWx8nu1g2KxzkesRmITKZYj//CL/zWb1WhjLdN5f9GzCme9Svbcm92OR
jhUemqb/zvl/2pLeWLPXM2p2964yw4kBZbs+pBU+kxsWN732Y29K/Z11wjHMMIQGVszvJb+9+YZi
HfrqlCnhW6YlYYr7pu5DhJhdeWGNpySbdpguqM/8d56Ht9/QU3Ll749+580rbvOGt/cGIz3UFPxR
ZprQvDsMCDy3JwrA8Kbz3K99oLX0IlSfs3zbm2tGZWff+2HV7oSAQG25mOVR0VIkNlOYmIac3hnX
vbn+p7iL3z+ib8hQN3Qv+8Xt3Me2DZfLvl/8CBMtc5+1BtF+YkL0B1511gv8IP/8YL25KXDZV6/K
yGDIzcQm9oRN9VnsFUbx2Vl88Rl4ASE4tupFGvXgPHd/vt7b0wXSdF99z20zisVdHbHXnukfOgCY
eLBLI6l06SYww9Jj0Lrl0c2rHIBc+DcB537czgKgQG3qnXH82wUill3O78s9NEYFt8QGogCiepg3
+0tIw5hUaVPeDWFD8LKtnqVLsCAWLdj0toSI/3kF3twruPKruqPRcwCSaxFE0XPWJe4QEo6kZy+b
37nAm3sFSNirokNNgC+p5qsxBWgvGoblieWF+mLu1y75b32Hn1bov2zuo+xb9iHH2EvQl/SwbB54
tqQHfG+U9jdvw2u6xoQ7QAokSf1ZoF+2DLSulaMJRG9LFQVN0+/7nuQtFcpnK537d+q1N88NNrPT
S/LL19o8aW9u2sDKcHHXAqLqzwBHLoMeLD7v+nlX9Bj4qWwY31nHv7mg9+qCQW6Pplc4/t5qq/HT
LCVJFhPmXrXyrdj3Grmfhw05VzmF72yFby8sfJzfv6Klt8bacvqTGqkvIuvV3YFjPQqrKKMZnA+I
PFLlep+mjjr++WH5my/5mpzXy62urBpaFewfudug9h+aVWaQZVscUS0ZnHl5s56Hq1G+cxy//QYQ
nPz7l3SnZR1JxsWxuEunxPY0YdmS/tVejPd4dG/vm4QM/H6J3jOyCp0TL9mcGxdTPepzwwuqvWEq
7MCsSe1Xb2hu/ryCb1+M+KXfLzY34TxaeZDu0y5s73VutcRPkgNaW5txVVfOGgkrb94pNf7uYq8X
zwy1VTuQNcNtTh+bwvsyK8bmg3JCjJaGLdpy/R7T5u0CIPBf7YXjFBTWmlOoncDBXVZnzRF4rCPd
tJTn82St73ynt/dcnNh/X0AH3IzDVWXoSFT7AgcQT9M1IGXuz/fn7ecteP2EB3qz7FRN5DyARcde
L83IRgt69Jn+7P98ib/5Bq8f6bmt8GkJ2yohzkL8AOe2b/LA+Mc9/x+Qa9y039XD2H//Pl69tP8L
xBknBOPvxRmMHPI5f/lVmnH6hX9KM4K/UD4IwVntCmFitfn/pRm++AsvNChiIcog/HNOZc4/pRn8
yA8FkfO4npDfCfb+L2mGbf9FcDDKDHRlGN2cfu+/IM3wfnI//lW1Y/dBwA42xJgn8jEhH73a1sNl
7u0F2D+Zp34lgA9nWAXAn0HQu1Iyt5dHgymzeR5UC3ipmTXgDH1jufqLx7jji2QSEzyP1lgg4xYG
BCsmtUwSRqHQZEWmbpzn0fbrLxAi13Fvwh+bMKUpBGi6aZiW2gF+r8Z1V4WjiLa1XTAH6h2vu2yH
og+6yJNu2N8xKOi/taCxzRmHttc4SZflbtBHZi1xzDHTTQbPzBdTcda6Omco4ppDPic+ihl5EW6G
S6VkGNQaQIeeGw/walVk+in8/Lka5u6sckYmLbtFAvtfZo4cfBx3SkuhJPOzAJW9sPFT/OZWDIdj
OdaYlI/Tmir7WrfQtK6YKxv5lTIXuAfzYNdd1BdG4+lpN2dBIdzYmS1GM1fh6Gb+baBHETZJMdhg
jUi8uzUfvubNPHrFmaTKE/Zt5kpjkaDSo2nl50PPRCBuhqpqDwiBtiIZnX4QtwymMEAty8kWF/2W
NUSle3mBe37BzSZ3LWdMVY48f5GTbwi70GQyF5xkGQxD0mD2YgwfnVL/DLhI5bBrnIlmukyLEnpY
tQ3NUVmljWPRoDY5GsnQGSvRhwv8gl0oAJ7clL+9dLLfOxrTrTzthsulFaq7KbPSw++xKbX4IjKo
E9ZsZduh19OCJ2IgqIokoqY2ChZr1AwSYdniK6OyonhkqScRlY495FG4MLFg/ON7bRKWS4iVkWOd
flenN5Q3/GxxygIX2dLq+WE/Myxytd3IpJxH0oIa0U9kzGRqfRy6skWquC6lEdlynkijx6kbeFd3
juiejDSocezMDLZhpv6FdVybzcGcunO3+rAYsz00EEfqUOdd4qS2u0C+zPKhq86d1W8LUse9rYAm
USqzzD/L1s3LuJ46Jztg6Vfox7np7Jbkz6zFPbmdyvJia9LsCZ1wh+Rct0GdrA0TxAQeX/+5q5c1
2+FNMD97SyEw5V1pRneDn7tXs8dAFAek1PjcutLOE+z4NVZ5IK/3w2gz56mVCsKL3htht8KUsOdY
r/l47ESJH0W1zLr6rPoZL01arSZDYCEY7PXG0LQxEiqNjZfjFlFeqW3Y8Y9X61BNU/q8pYZu7jDx
DD/odpL9S7blZLSI2phe8nKax0Org3Tm3oVreFDrkn0v2ry8T9uuxesq9fHkp5+wSbBLyQY/wEpc
XjZzUAXzVt/jfnv+pO0d8ijrh2M4RBxq+nloHzX3KMLA0hP71vY8PP19zehlJEmm308YMj0Oyqzc
Q+CNk41Xo97myyIV6mVwOwI1RLWKYGd6qx/EiAimZQd/D/++zQxuzJ55L/+te9w6fPLAd0tbmsvl
XFcSe84arkiU1oJohSlbtorSLau+ebLIJcio7+e7DdAeL39zHcWZNobsoUamhMrXtIaXEFlG+eBn
tr8eK9ggBCJZ3pjH8+xa6WHdpqL/UdRoJGN/3royQeWE4YsSaxmgD1dDGNdSesOHrhsLFMwqE5jk
mUauI2FQW+24zx1ueIv0gsOKSIL8ppwtFCcxt8M13e08UgalqWSSDSkbB3wQG+i4XAKG+J4njHiz
U6PcF3O9+klQ6NQ8MzxIoJHhmELh6pal7d7wMo3RQV8RuJQ2rvEwKNt/EkvKeDtMhzWMA1/7P1K0
WG2U5nOFtSm2TRItVFpmxyXVJEvrVZTGcd1cgihEnnIP20UXtGSFr9vz1GNImnjM2sTeYRrKmKpo
MMuynUX1uEHP6stkS97AuawHd2fnumSODl6YnvdWOzfxsiLl2eUDsCTodF3nlxtss4wIHaCRa3+s
6i7xAqv61ulpG686t7WNcxZ9QZCbd/56vtShP52PuswA12uDB+9CrrM0EB7Z2AMtG5g89PG174+u
qRQbrG91WNjaHZrezRSosPIWocyumeTyQwpZMQa0x7lK8DNfUlJjAzXHI245eWK1PktZFk5AlloA
S46NRZ2wimyYV6aw3Xqz5pv9KP2hiee+b27qxprvPZ53MhOgoV7mg7+aSUvNTbBq2rtQUtU6m18b
WxpFFPYQmvl/9FB8Xz0aRODjlsiL2cSUbIUPs5xt7SajSsi85AixyV+we05OZ+uYL2jdF9kVlAJK
9sJi0PBotorNWppmpiKOm0VH5qLsCty5BhVbl5lan9k9S+qZlZejsrdZ2LFO6+FyHcN0+l7xicoP
rbLN9sITizVEvbOO9YPRTnV46QZOXb8MLC92ICu7EkONyVsfy3yp+hfN0uUXBdt0GzOaznAime3l
DtZIppmPpNjWy7Yl7tg2Utx+peu1Y1IEtdvc6NE2x3Oo1Nb33q+XOm60L0WyZqQbHUZhNdOUhCZz
sSs1po6YH4qhIFX+enPzwLzNiwAfEbdZ0yl2J2cc71QHmXDXLrlWSYsxer2rxXTKhEIXiacuHDcC
xXsOpSTI2iCIi3pS6iHvGMwr7OB6p49RCTgvxYkfxSLCnougpjUm9LAA+oBt9066q1ovGGFiLet6
xUGak5DgzKq8MoreLC5w761/jO4WuNA/vPVhXHvDvYCppUboTXAS9nCxMJJ3+27GpqlRuhp2E9s2
ocsNbLp9qgNeUeRo2ICtGRVMUg6QPz6UTS3GqxGmv70P4I5U990sg6esbFT6QGe6EsVY2VsWVVYn
808KOsq032RZjDxrE24V5tio7tGCaZIdilGtcttNS9VWQ5L3ugwuC1HXMsrcFIvMHKPX3ShtQk4q
7U2EiozmEi73stbUCwPlnP01bLtiwJSQEQSucluqwn3AabZetQE3+iGc7aCOctXAb8E41xOUhBBC
eY+amW2uohgcbqQRtmEUrPO0fcy2wBI/lCMrdsqxqYdw322O6j9Bil5/wJXHr49ET7Y8eLA92v12
K7L7YcHkDjf61hQYcVVZELn8j4sxztj3yTKkVnGxbINLUCupI594uredmToQkpjkV0GUWW427xkg
ldVXdzQxqgcmAYcqdeeO8KYw3LV322BO1idMgWdrryprtW5Bdk9fHooW9oRVP3bVdYvXu5ek7akJ
7VZdWshbbK/EGnYiTaQacOdHIuWTemLU2k2/+UCRXVRL4aaxC01lht6zYNAXQv8RH4W12vrMArdM
k2HJS/y9XGPxxHEb12n8FPThZMbc1tyByJeFU1IsS5jD8JJEFMUmpM/uIw7TJu4dmxqxF6O2NAP/
Y1MHeEFRzlfbpawqc3owh45fbKGdX9COdtvZaHk1Aa2pOchj6Y++lei0KzEq146NDdSCt8yegDbn
aTH4hchfjZF3g43LPlTmaBHTEEjZROOwOZAOfzZx/9fO/sepAfz7dpZ67vuvvezpX/+jl/X9v1yE
gfjsE8txMhOgU/yHzQCWA39hFhy6+LThesKx/q9e1qIFJpWA3vLkJ4zL3r9aWc//i3+Li8cpnwf/
AdP/r7Syv+OS9NKBHRI75dnE1XkCv43fkRrlNz6HuDSPTPAws+L1uWuV9mkFXHFHIUkMlMKSn5j1
/swrSAT6ZZ1u/1/H/Kva/neMkhaeqgzZJFw/VkY4P8cFvyDAvGQp3MHUPwoas33tGz0HYF0QK+TO
u57+9CrXzbBb527M3wGPfsfbfl6apDIXs2wSRGnjQRJ+BZ/rTPZGVzvbkRZpiot10ecwSKuD8oKC
pLbBpKs183cQ0n+/KJMGjN/wTjwhGz/NcH/5vuW8GN3Yds7RzNrqDCecInEUWxKbyPjce9Z6kYec
DH9e5FdDl9NX/ek2bLPUYQCmcvpUv1x1zVpdl1kwH+vAQrJAhfttXuAUJ7VpYqfarbOak87Wnndd
tYXlsZN7+A2x+Tnp2TufhYeLq/2KnXDP4bOz7KaJiZL5mqRR1DDt8Mezj+RZUooaS7dkWJRUS0IX
9WEOMERyR7XEKQzNu3xmJNRaRp6MtjBoMDb7HEa6tVsVzXObCsLNwBsS+roVeTVeUMyG3RtmwdXB
Cot7HXZeNMFE/snoDveh02HbI93gU5EFlENO2ASfjMmwzxpZjzhJLvXFTNbok1mX+WGsTRJIBLHS
q8khjfrR3o+z/2WU9bybsh7nKYeauuxDL8cH19DHWS/bbSgqQjbNfrtlKxfHhtNir615vpPuos8c
0YQX2l4m8i+r7m52nE9ps1Dz9kUXntWdrfAvr1QsCk17PjoaUMSWPQx7Cua4tLwumQdtRERNGV/6
lS70pE/bGRKy/wKP7MO4mYvNoe93MUYiIjpRhyhStfnZlqP8atlliuKBSeMu1/165nSBc5c5sIJJ
PgjNo9YMfOiYZnVYdRDsEaTiyG0vy2PXQF2FZSpbMlIMBmjUzQLHohlxkk7t4Fm1lfu4obFN0nQj
YM9z0m3XpkxuM1h7xMU2W9K4gbrLId2cd/RGX+agExfSsBpcMLL13q3z6mrKLOyqMutg5+Z6U2Mm
ciYgOd47zuksqyXUwtSHPwGTrWFiUxKrnnWOIvug7lGUZ2XcKrd+GA2HKYEQnxRQzfdgta0bwxE4
FQ9lO0Kq9jaq5bGyvtVpFnxZAmHgMOt9ZwoMFGK4H5WS448l67xrZjfmxyzop8SyVXglW69sqaTl
9JVH4ny2TPcH6Er3cTBp7ZhtD/nB87blo8q99kPqIG8mWwGufufeYsaQAyoMVUl8fJVn0FrXzb82
yRUisLD2f+g0xcq8BNbYzeFW7xa1YVjnWt+8QWNhVxRe0ofz/LlflDhpqnXiCuJJKjryOCjIObBa
ckDcyskftgpJos7tGwO26Ke608sSqXQIXoCOHgPb0fmuw805pib72oRdCyNztjFSW2CP0OjTAskZ
I9zad/3ITYcp6iRBo4uEqzzqFYf/oFcwnVfx2e+1XUQBuuJYOXW47vSYm48KJKnegUe1CDUDnGHi
kg0Kw4/OjtxF8N3K1IMerPWxS/snnu9sr9ANMpsuoga6ymGoBnVuB9L+gNB6POe9Ko5+q4hrxM3a
Vs6lZ9gDZNaUPkYE13k/fSg0NwgK6bk115IMCD7nMjTdU80WuDtxw2QJWbueavzE25bXzsTiZGda
rRv5U+MfKIumD4taexl5+WZlu7QdNpJprP5jhuT0sikYRmHdanco9bzhEgDOeLKQi+Lqhn3OXDLb
Hkzk93ZXpGeGKaaI8RiMbrsapODCvLB2Y7UxbjkvqWiLT6GXzulOGX5PGx5I/Umk0qH+9wq6DKDF
KinCubxyXRPtz5Drk+cy1TuQ7HLr2wbOoQvkW6id6Vyu5CJi2gUhxr/lMVziqeQQU9VCvIx2us9h
Hzi7dgTXqgfgHdrY4s5pRv9sBZbb1fNsxoHXlBeTaJlU1g0BpuJkO2fl+mu2LF/XNMvOnBawsNZN
z5FlFmhggxlNEBy72bTWZOqhruTg5/tphWaS9dyBGqfOCgSrrocoLYXY42rg31QS8Wk4EUY69GCL
GOau0ZwrVI4oLtcKJkzVSPbZQsLSaKxbq8VEA2552107DLeujcn18KluGnLNGWglaThjxe21H9F+
PbNcSG9Xf3oxlmm70Caag2LqhkTIJkgmQ1lHv1xIX7K8lTBYN3zRKlzOzb7/XFuNfNLCDuO52pp+
hytdd17qcIvZ4MposZwFy8kccC8UG36IRrle6iKobkfDpBlzaxwQFQmwsKoLrN/o6nn6Z8LAMYvA
GW7iKTDUtWOrK1fJc5kZCMUrxNNhsaqjqpAz6THt40KyKMsEDpAZeRxIB29qpeAALGLX8y3wF2MU
mRcWTDj2/MTU3hivtizPvMAZwbbafifLzkVXV7Y3VKg+ibCa9kl64xINFeCGNXVWnHmqP/TiZMHp
4/LIU79c80R2R690yAxHjVfvwGvDxC2s4KruMB6ltc4OU0Fnbih8ejifbienziNUPvPBVtWKr06T
/6jsOrjMprC7XJRnxmgnbpmr3gUzKHa2cema4UQyalrOenG2Z7PetghxeU3CdSeeHQDPeA3J6kBP
9HH0fXeHpBNLbLZphATrsB+RBbFYOgWonHzgS65UeS9baz+bOvjhZxjAOUH/zR9bMiUslCtLupyv
UPCxZh179aUPXDp8t/3c+XOJwMq349QSn3HxkBgBiq9Y55RXQ+s5d76NMKSWJoZKTr23ZdicDRr5
eBMYP2oO8ut1GX94vOQXDlOfxBZZc+isbo6MKnvmqE6f7Sl0TuqLfmYRm+oLWpchmmToJZnt+TFV
zrgzEcrs+jEcEoNhC++nj5/EXN7ZCDNQEqzkTjnepzEcb4GJhqjLvccC9QiuVfZ5WhcqSd11nuMA
m4Drqqzu65QtOq1due9EEVyMblAfrdyUF2urH0+o6A4zBxR9ps3aOrg/Ba2oP2W1Hxw7kN47G2Om
Q2hlKRZ7ECVL7YHP6kXHTM3vPXsm8qd7KloDb+uUH+VpjU55C8XRs/oLvTQnlUie8aBR694YhS0P
fTYBKy3ziqX81seci3xNz/g051onCpNqM3T9ROdmH2dWpaOgaqwEqQGpBQuvgtleWoFBdlrb4nxQ
n86b/m7rtuFCO7igjJ7PRylW54tVAD9DrEVxWXgvYNTYOcNzObQTKOXQcsIoEz0GYRzTkU3W3Jet
+VWyuzMj8S86YZ1t1vzDyTkke47ZCzV5n5Cf8qRZxXfi4b4Lf4JUCb8oanJ7vustIisXNUcjqBic
GefRmrT11exKvCHDokvcCjOWSbisLDkbtAdWwv5FclW64Vd80hjBOmtipzntC1PwsQWK5tj0EcP5
NPheUBPtVRB2GPiTcyxE+TSYrbyCPfXs16I+2NmCk5W9fkHXRY3TwIQtazfnnmzO9TTDABl0Ou8n
DpTTSmRxaHufJ1cNB6sdmjOt1u/twtbCJpo9WKY8DLlLxHDZ7TtlYxqwGD2n9nblB127KxsiF51x
e6jR5O3CpTvaxbDsuopxiO6NEnGNuhab9biQ47hjUIOOzCh4geyBlEzpxptoTu7UqxEVYX5sXOf0
PHTk65oounCt2pOs2RFOEVYJyaJily0pGdcml8a7pr/IPbeJIC82jK5OgWyT8aV1COFy/FnepmWN
j6ob+lzTNu9LehH+rpHG1TY9IGAJkBBWK4UHf2Nr5oemFDZeY8E5ON2KeU9bsHyLc0GBbyTZwvnU
GO3nQrGHTBaV/wbdhYFL5b5IsnTPixwfaITzYodMlT8kG4engReKqCr7OVx7ceQNSZHlFR/qtJuv
XWZYX7swkI8MH+9M0T7VHM5RP6HgHSe8eBuKE2uy+yTo1G0AyBMx2yS6amtPdObxfhzSMOqXAK6z
NcoYTdbFsjZXuGW2sb8ELrNWY/CRQ3SooQxB5e037m6GRJPMzTrFEjO9BzeojIjaOThb2gUVW126
WMhqzp06H65V3/FFh1wSqSa++9L+PrYctr4OSG3zWwmqm/an6UD37IRCmzEhPs4TKDT+vpj/hf32
owbj3gV1i+NmWnRYnHWEpwwGEw1PKBhmwO7WQ2/Y6gxB58jAyJPImGzkrRxbpNifarvdahRWvLSa
3CLfK04iIOHu1YK6kQTDxeY2lGUFRyb44ZTjhDSJa6TINy8lyRGEOlz1uddcVWg4d51ZUZ8p/jLS
bwLrasWYtJrc69KtFIPu/sLN3RVd6TyfeRZ9Zy/S5pJ+rNwj8cUKtzPdY5dXUHXnu8wgqpfRnR2H
w5jum8H7qkR733WcJ1p5T4B19XXgGt82VdwWOg+o/HAg1cPyjFppeNSpe9VPegNX9CSCOX/wiIU0
bCBmPtFSk+k0ZmDejpme59DILvsC652sGu9Ce/Jx0kYyS7Imp77CXburT9Nrl3SMwB0fDGP7UGbF
tbnSmNVBWTwMqCAaeh18zXyRWpdh3ld37iYMnn/rqW/7g66m5aULFu8KpVx2wdvjQj1ODT8OYLFH
g5eSXSb4aI3cyjPEUXw+PeIsvLVNhLS7O/hI22CUcvfc2WHM4VTWgWwU46YW3rrLJuovbnZzCMPx
KU1zhAGYWuyNkcp5G6yUQnALd6qqjUu7ERc2xSG1k2TPKamn5GbkZ01oTkm3Wu7FFLRXIDv1jU2T
3Wd2+agMp7+ZcYfeLS5zHIR806nXoSii5FuD5mNNjG88hs6zaA02KsearvPGTZzWJ6BmkXM0wGsg
TA9Vc1Wcik8Bxeg8rfIqzs0spOwKBmCiDip/Vk/XAVOf/Wakjy4zWubIMku6vp2IVSjEEQoDW/oJ
47ccupg2XNODn3rPDLsZxqJHZHK2hsncDvUdDgj1YYQOsZNDIREqIBbI1u7MXsof9WQkDcqc2OXs
iyvJfuXY/URL4sy0bgWTioJcKHAmD+9gxmDzXIzJui5rsmVuf1K14o9L7OPRrgwjkfhye1OX7mlK
LvuZwybQlE7lRlii2fjPRVcQBm9y/IY+g1lG28DnofJigAnmhG73w8CcYMe4II+acLijicpI8pOP
XtDfMH5NL5UPtCRL7wIF8o9yMyoeN6e7xt6EjHrlj4w7t3PO7wCOqb9gGbEtied0UyTBfnaej96S
6mJASizucfz5OqWTis1hM2H3p18MZnR8vsyKbUoeubTenquaSef2pJ4QbpRYyruWYCKMaCvSmURF
uDsK+h1TZIm0sODd9O1qv2EEnGOSuAt9gBSnKb2jrDzk9sOoEedsNuMVq7npAnXZON54cDt1HXRd
te+RNOzC3rqYRjZDZxieMre4VFn+kd04vOw68A4qAk6Hcbprt/4JHFdgOpCVnGd8zalxqki3JlUq
TgdM3nZbbwuiewW5ocQfEcz0ucZ8K9KLQ31zGlczmSvPS2kaR6dOabzVZKBABZNNM0GmlO/lSVNi
aO9zXGYr8Va9DmK7MaeTDFPs+bB3wyTbQ+YadxBOsgMwcIdjO95hZd6k99NUYHY/L9aRipo2FKLP
B2a4224t+ruV4/hpAvc5dp727saZx3Byu5M9eY2MXc/hxRAaVEnT+SACe9+MLQkIIGMRDo11VAyM
PTkCjOFqxQyBTsklUrfCJj1wuzHObfGcIW6O0q1p6BMg+zrT7EWGB9aAHdnpufcVUn3jXgn5wNim
29Vs4h8oM24NQ31dCwagJjs+D9njJKABlF34JZQpDbuffSav8gvuvlU0KRPnKkgipy22ObewA2MA
yOgWaOvK9GjO/aaYzvt25p0ZMOuWbfNhmjiZRnMdkk2uGTqj2nxwsHOMZFbrGIOGPmmnTOzTkCoV
kbF5GS6cqhbD4LGHDFGn7dW6CHmobI3cGx4Qd3V7qsbVuHLnYDhDw0dZR0pXpJnNcW4yv6QghNqT
b/MBww3ntsrsB9etrrXGdsTR64vK1GcYFWJXpfazdTJ90pXzpfZc/BZo4XfebBBQdpLKZ2ULeuCt
pE3X83DsMnu4krlBl1DaiazEC8qGmUlffZaC/znEv57Nm5ZJ763fZr/5NPZlzrE23s3tCYFc8PpG
S+DfWzXejXlvk5iCIwR9nosHy+ylkdkPtyrgSat66MW+OzNv0+MxxRAlWsfitqpyktEcz0wY2TsP
vq4+lQKq1mq33+yFkC2gi+ZOd9l8M+Xqkxv4ZWSG840NhklUIgQ4cnTOQ0woIijhOh4sSxwgtN7B
w5AciARqm11zPY3W10GfPpSLznnWqNEtu3gqho4/iyg05+ZEQ+5/FIZP2K/6wBHyDZjr2jAoKrrA
F2d0OmonrWBhYOxNR0xSZLxtlnuOyQLRFr1FxIr1Gf9Md4cnCbuuX7cGo+c6PKyqXz7I4D85e68d
uZEt2vaLCJARQfea3pT3qhdCKklk0Hv39XdQB7hHyhZU2OeloW6owcwkGbFirTnHbPQtW02F1wsO
+dgosfbsMtvWmYi3VTf4d3Wr4hO+Ke7hzPAOnOquyydxdGaYy7qe9ZVUHaEN47w1ydS8sqaUCtto
N0bOAVvHErSBUa2ZlewcOGeb0c+/xe6iZXKo5QKL0tDsJ001SOBm1DirpGrqjUUGs6Fa9ZH6Be2Y
1or2jOgJBc6SYJ2hLeBgUMs7VuB4g1L40cur4TRFKT5F7X0DoVKupoJ4DT/jeF3eQsZ4cZh0rGKn
Km84pVy1hf7hg4NYRaQjUZ831TaOS4JH1Jzsh65Aiu6b962efo4RVYWrFJVBxsFaJt14AJZXrwdb
TRtD6XbTZ1W/H2z3iaku9i5nfqgZmsItMOaDP1YuEBLS3iy7oIylf70ZpyjcBl18W9n5uwSRzsEN
5MsoqYIc0LtsXAntnzlHT5DNdwSl3w/oWK6RIKqraMqqI9+Un2Bp9deeBfm3IEykKgmWH+QbdqRp
1eewr/NOvo/E2JFPaHrECQdqUxRCHNCDzjDy22KDwuptztkcdRWPD5MbErvnyg51YkJHzrbdo1/1
05U/FWSOhdbEQqoIHPMSj5ISoJ5vBC8sP1/dEGpz4+pnW9t6z2T92U4b8zjwy6y8LEfJn/msxVUf
F0/TRNyPUY/DlXKGDHlgezTyDJaFdDCh+vObYY3zzeykxbrgPEo56nylLnm0Cnh0o2GGgF/JjHU9
8g8yTmeLbxOeT9w3t5LM+12aYB3NgsE6aeGObKv9nngnhAMDOhinIfO3ie27sfDctS6HK7eawDKM
Je1aeVNFRkou1jzusACTYyOgQyw4kOgV7RsdNdtrPeDX47geaq5iTo3gFpAI/tjQaD23Rlge8rzG
GZW00VOxyHI4waaPmQ6Y1GjH3LaeJlYd7NBhRnS0dhwnP0b13K/jnKRr2vfBLSIsthxfRXyNqqzW
sklJ3/Rtum+oigglbGFQsw/alFc9orDB7A9hzSgKcowtfsSJyq+FM6sXmlwmf2eorgsf7YOr65vI
Ll4raypfp17Q8p4R3ZZUJGxY9KQ6t+DIKPRD4Fc/SJAl88cdirWGx7NRzFg3qoxTZvd+HOI6a4uG
REpkG/sxmlpUYpn8CM1SvQ28ZbsQ+dPbTKOGVnHIdG1dqbj9pmt1rdym3HIcjM4ii5rzohda+13R
8zC5wWthRLW7lvk4348qMs71MIuHoA/9JU89rw6I9ajFIQW8t0D1TujzWkK2p/5piIvmJnJMj8hx
p9hY9LUOQR14G47zxSYcquZW6bL/olWabrJq7E4izYODH0f11h6KbpclHZknBQtZmNF4DzPjp6UX
MR407I0pdEQYGRKmVWb35S4sqGmGEjxx6vbGrh19GoVRBcMLaevTkEQt/YsoPEdUzsdukOnVyFaV
+YZAAWfIM+Vss01m6o8gZNiSBr3e04SSqzSFoktJHrQPVuE80902jr5Hr6h0MnZiiFa7wbf1Ke9t
ucILlTwhberoQKlq49FR/+KOdIiDrjlmvpwOQ12nBF4zkUyN6kfUNXLrqd5Yp6ZB00Hm1loHzpMF
EoWqjRY5xel3VSKc7FMHPH5HIe/UodwYojTJYXfFPoFVty5qFHG5q9OTPwIpjtoaO2jNA6tQc63A
frU7OgYCytlQbGBJpUeYWvMR1W+5VvA/VsaMh8MJXZas0cLI75cAnLNW31iVE679TA3ory3nqBm1
vGQdqko6f/RFjCXAMvKKZItD0dqbk4Wa1vX1fjYrtNVyMHnE+QgJWMKXUBjZpqe/xvmnXX54P79T
jTCYj6YIh/uBRTmbyZYcvA+qIWhbNsMuwBBsC6QF3AnRm4ewV5wEEnM8+/0cn62qSp7mwetWRpWT
SSeW6i6w52d4au0WVWN4gJXlXLUo2daRIaNPZuR/GcyTAQFVitgFlmL/wrFSD4nb1mlC8LFBEFE7
RIW5cajbgxV90xzBq0ZYs2qsabA/kUBcXNlBwUEasED8QF+T6mdxoPw2nJ/E7JZZZ85HQ2TEbKqy
J3+TmiBhpdqDX+loSLnhJ86mS0nAclUbtYf0iIZF+X6ZMlG0gW83wqKfUccoG4tpNrNtId2Js0Bs
SLDJbDY0zZ1HBqu5se4o3JxtzcA92PxbEXAhAXFQYEjT83GmmigTHO8CmeDGjM0qCEAHBlvOa9QF
JV2AhKR5mt8TTnkd2S+EvUE3a+lJfQb3vLj6Io1Y8jzI4XJteBHehQoEqpvlIZScj7b02ns5lf4B
OrUEGaU7+cNvQ4BWciwHb1slIkAF9P+rhP6ifvnTXPRLl+HDsgLABBZMmP/xP86qi510sGkIKzSY
Y5BmH6JX2Zd/X+Y/ggtPLuoeQekqqEEuRTYls+UxjnvrqHrkvn42hA8GEu8TE5rg/d+XunyugLBK
36LkY3HgmmSq/vk0N3Yn7XJuuyMhEpF9gyMmuqNyZnTQBA4cBnNy4qdCmaIjBw+jx8FknSZRCLnF
Z8HiF18bbRQJmFLZvjJdYfPl//wotlNHvcIkewznwN8UptUdUURXdLxktP331764kbxGPL5cwsQn
yw+tLnx1AsyzHda1PCb8tWnjMcmeDuXomfYn+qG/XAirOooLExeTR4/vz+/khToTYRPYZEG6aYDF
wlhyV7JsTj75Rhe6sF+rErFxgiXJ9Bzn8kJhKcvOzAvr2MeN3AngT+esb/UeqVDzMPjIadwqcvc0
q/Jtk0XRJ4vC4uP6XST06/qu41i8FNJmdVh+iN9WRQmuYwQ/3R39ztTeWUYMjdeGywPT5gnaz3aM
fShX/thoJoGNSrZhj1iAM+I49k8Md+djYPbi27/v8+XjzRpBYhDL1K+V2mRv/PNjOU2JnDwaQ94d
srNGgoO/80P5G8cto/vAaLqtnNthJxiJ3wNi5MyTQHH85EMsN/k3AdXyITzTNAkhsli6+NOfH8Kv
86iOUAYe+jabAppWbvqFJ5suRjF5+pkBj+EALLPoF5f+MH5jCguAUGNe+aABG3+ylVzsX78+DRI6
NITIwUzegj8/zVgUFFRWKI+jDM3dwIj4MNKUvFHEmqw7ldFrndr+k+fj4j34dVEcgkgXWUBZ0i7u
Qz3XUdU2RnbKo5IKre08VBDCnXkm/v1jX+wP/+fbAfe3Ba4NdueLb1c0nVEq0XjEfnkzWgQnkGdf
NhUxSd28z1vbx4wceRwAx/iT77hILy9vM0Y7gXJ0sS26F5cO5lnjQmnso88s9FmN5vDcIEyfN1Pb
gNXxi7767Nv+7V5CRQJiQEFP9tXFJSdyg4s5zKKTa8DtsNzyY+woDI22QDWdTdM+T43+k8rrb1+T
IFzPQg5o83Ytd+D3N512Z1PIOTxiueoeAtPorkwjc3+krgifOmOg4frvW6r+9i1/u+KlHDIziI4d
hBMdkS5Zt9hDcEjVOhjbbdFaRcBoe7ZQC8igRMfipebXrKimpwwnRM0ILojE0QCwek//3fsoEitW
TMXy7gP0XfvQRFFer2E2d/eEdqxpTTV3oJLmvcNpYnImbA+e25GyXvmvnmv0P7WyRnigmL+YDGBo
YgAckwCc916OCsK1OB8EcMCHY9GOirD4fA7SIyt3Wp4D1roRl5oNAn1iJp+R01m5ybZuGgjEjpRB
fnZDDi5XJS2oZgWnMECYQT9BPKeRwlj17x/2b7+rzZoEa8pfKtr/3snaopFHe3poXA4WXvoDqxWM
GcsIH/oUFH3GPz9ZDf+zy7MY/t+L8r78+fgIj9gY5sP1MZmWaVrTqwjhAPqtee03os7+Hy6HAZkM
RXPJKBQXCw/RNUFVFdI7WJVs9h3Wg32VOfW2EY765P3/2xrHciqQwZqLTHt5cX57MQC4FnaGKehU
FVGLlNDwx1WhR/lZKPXfljjP8hzIJVzMvizAUw4Hg1IW8gM3XXbNJHvSeertcTTjZi3h8kBLGbF2
KqQI/35i/vLu+wJQJ78kInc2jz+/omotQZsrYBmvE/FDNvH8EqSYo6Q5DR+NW6j2k9v3tw0cFTRH
PUE9LDy5/Oi//ajGxMBaJW50tBJG/aOFOGNAqUvf10RKUopxBb51WCO8rJ7jSC+JjeH08e9v/bf3
hH2b454SgvTfixvboskaHaM3DqZaWvFhH58LGOwPklHqLmiIn1Op89ld/oWsutxO2MEoHigcbUA4
f37zjBlyk/VZdORxsw8AJr+lyi02Ro8wpjTbeQ0PDhRdiRdIKSP9qpr2tR46noOOeZfSebMpw+Z/
vSGLjx8tuPLBuFmS5f/ix/BagR3XK6iozA5lWpNmu9EMzLsIeeS+M7riZBDPuk67JN7W0OdXZAFS
ff77jlw8h//5EBdHhVqaGKh6KzxFXv6zbUkDY96h91OT24yWgs9E8GJZlH67Fx462CUAmreawwJ4
jIsvTTxi4Rupmx0glv5q7Xe186ACPa5S9IccOJk8jD4R2wkhrGRZPTVxcAOjkVNMtzdtUvw6Oksd
jajWrTa5EIgpwMuFYYXP0j9NIVuPbsvPzgQXK8X/+di8rhYPLvXn5YlKCSNtmTtlB8ztJBmzUbvq
MeW3W8cursmoNZaxXfpu1GWEiw8ftE/1iyLilBYYlSU9nlXg2KeG4BQnaQ/zYI0LB3neeDmtb7Kl
ryJrPlh2ePDT/NqJnbPU7rfJl89hINFv2erg29lVVxpXXPDMrOMEo9o8DQx3HNCSQ4bvfIoAnKbe
sngJDMO4Vt1VDWgVJdVVXmaHMBN3NNXI3K7ohZc4vei7GecEaM56FPJnhMMaFWmA73pGqFRG8gWV
NGyEPn9KnfJeDd69WQJEx2vsX8Gbvi2l+WpF2CLV0CBaj4E9zJkLYDW5A+zLKC6sYtDn4ios0XfS
giyz6RAh4Du0AMD58ktnLe6RVXpesWvG4RvKk6uonr5U9LKRoH6RxGe7hb0TzXjuZX4dKmLTCQ/m
KHsLsRDXnI62WeXf1pVNuKH15tI/9tLw8O/35GKzJUkQfballsxyRwEvu1hDih7fvxuN87m0QmAW
eDc4eb2nJl2dZ0UKy2cenV9L4R8vyuKCUor9gT3edC43CMdtI8WO2+5lzpi81daDkuXXIe+eVTIy
ZDacbo+J6Dwy72M5g2yE5GK2dsK2PsK5xj7h0SlFWzt+smJcHlCpjqlxaNygMrEselcXxY5b93Gd
abztOdalrZTzaSQMcSNklq/KYnrya+MGP9NNFA5XnUWeuteVp75Azv4/3ZLloMzpxPMUviL+cAlW
YzLTNOjl7aMy+v5rCBF/gv5R1NBHSXzr/reaZLka12P/ALLC2fzysBc2amRa4FjHKsy1tSbV02b2
jQzg7d/f6tfH/u3G/7oQ9nCTjiiNUeFdPGmDneUGHHnzOHZmMmzH3OoPsposd1VUyBXXyrRNmOjo
vtqVdnzc8LlwGdUgNi0ZSoeT9xBbHh5wCdvz7t8f7iKVyuHD/ULQCKbyyFeYJ/25lQryLKJBWdYR
xbr8AQTbfZmjhsZPN5mLf7PT7Q+/cxAyMt9231VfkeIR2IgNdhVzjXNS+kym+p7e6Lpz2uZGt5I+
ju7t9j0qKlPcREXUNAfd5iYaFSuj8IpiuyFfTk7eR0IyBDiEoTC/ydiZbmn0tohdIHM0CP1SHXNW
y9geoMVcEePlv6oS6sYmE3n0ydn/v12iP3+Ii33T6b2WXl+sjiMxIiRoCcrwPqKfPM9gvFdl7WXf
VBBqzdgnikfWwKz8H9ckV+Emk6xHtAPgAjmXpzk1xrDmx3o4BpzLjwnHs201hOqRBdnd//vGL/f1
z4cSoyyFKpWbSUPgV3L5b8VjAAg+XyJ1j52Kxb0eoyxAF7DEijgIf+OdS8zCI3PfBLkSJoPwfwLr
Lo8d7Xp6hgS50zRXly9fnc666etGHp3aHe+ZYdgL74KaYdTGUcfxZxjli9X+V2feZlmRwnXpb14e
DLw5yWIXVQrNRrYcg3n5s5rS9I7IAfnJ+375ICkkuBbDF8jhHKw47vz5RoW17CKzdc1jps2EaPYY
Iv6OnKBEbLDBBo/cjOBdu06N78Kz42ifcmCRnx0OlsPbb/eXrh5HAnawpSJzXfPyBy5VPphQUZ2j
4yVztc29LtgLO0bBlXPswhBvu/3VBDzhprHq7mBXVfPk54n/IshRvR7MirSMfz9xF7dg+UT4gymj
4KFYHszUP38XBT4qI4Ua+RUDVER1FRG+yw8Jr7Odw08W94tzCfdbLh01ss3ZUtjgL9bcPO5cek6N
OoZSq2E3BkZeHERRurumyOx4q42uJPwIGftnp4D/XJn5hyX44RZ01xJ8/ufX9LuoJIAs749s9+wq
AQcyPfjRD95hCRvENdc4kT8LasRdfPlCs3AwerEV35id7T/lBaFrtjMykT/Cjmh2YLi7Q98rvdZm
Fn/4naR/T8Wd2Ou0pQNkEJF7n+cZItvc9vqV61Uz8Q4ZKGnb6vx9j9LkCR8+WG0SNZJz7KC658jO
XFa25LBoNzLPk+tXb12MT2RLLMZLgjz52mxiH9EX7abM6VM0TTS1xWiOV2k9uANyiHh6gczTjuvR
CZSPHB3+PH6eFWEo9rMou06uVO7lah3Lit2yNdruPSk5BaNI9zyo2MrYBEb/jUCK6S4k7wShU+6M
eO+cXCBjtYw+W/UmT8Cq7T0PYZtVcRjpoE4MO+QVKLjLKszKQzeM2mbnYltZJSpEhdDU6BBx3wC5
RJEajmeR2IAphtwxDuib2Q7rPNGnbBax3hIfX3WrvDCc1zkUeGYLa7KvopE271qSAsH/FxpMyYF5
DY8zaYvAauu6h/EjovEaSmFwACU0pLss9tgCY5K6b3zCh8g1bqMm3lfMTqZd6MfzjSWZphr5kFyR
yzY6e7wzKtyQZeZ0O9U1+mvbyupR5xC4J6w/Yl2MUS/RTNr1c98HmoKt91EfaGYsnDxmkT31+eQh
t/MCMBBELa7zOW4/AHag3SAOLHsZOR7dzDaDf87Z6S307YnACy8zv1tjEt0mvV18xW6k7sO8iPUV
5xJxtAup61XXY/CqcxMLooW6EM8cUsU5hQOW8BCtwNoYO1UO5oslcOlrzDqMzPIx3VLz8DuIvm23
duG7Wxt+arAlFTh/GHlEkDxFJvpd3UGuXAmpm2YVlYQKHLJ4zN7F5JLp0RTxtrRngU2xY1ZfSfXa
WI53rBInuC1UvTgaohQ/qHbz9dAXaI9AJIl9njveRzQn6s5dgqL2WdC6jw1iNaSmnfFmm7Nx7mPY
YasGxiq6WtMvTJ4aHegNn1UgqcT9yCkNAeaH3ZDJucfiGvk3UxqkAOQNuvy7FsELWjwl46MGq/SD
50reY7hN4BQvvl+Zxu5bURQJzJx4VG+SmEb0RSipEeKizOLt6dPxCGOA2Em7GYiKQ5vmzXI/pG7+
4oSMeVcmfI1d1tQeSswx5OCI8N79WhgVqTZT2d+rKfDfqbrUR+4lmHChF3XfDRWgWokEPc1dZ5uo
KxQSfp9XY9UNQ7viIVvCfBSdlTQBz4YLVWWnhOf+1RINCemmqW84uyX3sYdajk6bA8TUNIoviUZR
1piOca9jJ4xAexQo9n3mcPgH662hu2hnYSjZ6cYvEcGZmMcsEroeDE0Uz6qwaF00Hmk7t7AC5/th
7hxy0ojgoF0wlvNZQvDRm6wNQC83ll4LaRAW3pl2s224VS4P3WA2615QVl+NVpi8xiJAhBITOt1g
nnOStzSOjRyxQjMdPTebkO36/inAworwHhGTqNoMP+eoenUKNUlnNHiyU+TC5komCDee1vWWzGHj
gCqSHLLKHsoVM7twz0w3PSSWyj6sxkRrFojY/xGOpsK9kaRkcyFzfzC1dHdZj/iNiCs7sen6yv61
oCo6ZpWHsCdvf2RtKjZWZ8bf4oVMxQE58Y+TyDz674GzMSqz2LHpvI/CiwqE05nxMgs8P9KSPtYS
ewGiuxHKMV28UH6mOwms5t4buupA5naFwzx2EEDjSWSFgw8+7EpeLODm/AeiC3NCBUllx1odtq+2
H7r7HmnzOkc7c4BsxziOFfMq5+HcFGVJPy7v6iM6O1y3DeKuZlWC+HpUjREeKYCADk79gfNsdBWl
fXAwUWcAL4McRLS16bEkaIUBzIl7cHBKNivi+vSNprd66xtVdV8QmHvWLp6NGO/7Nqsxbw1dOKP2
i4Y1yKNhpUUvNp3k8BQEk7mWNppnBj/GaNCgsodxM9U0a7Tt5GuNlXvXJ8Hw6DUEBgUQru7LIIiv
WBqDo9nI5IA0iX/Nx+DDiMpx17Ol7wn7GK7x2xA9VY0mgEUGvHsrq+2vyVQv4IO4HOhameWRjba/
NiIyA0xRmttGq37tz6Z+t9LOfYpY4ihGpMJNE3mCUzY2aSsd+Daywz3pE3jnE3RgGQ+ZQoqa+aOJ
MYFjVmrO3CarX8L5dHFgT0bzZtrDU9iZ1ikuYue9nwtf3FoRCsCTG1X592lszH3b08fhQG2GD4uU
BQ9jNR4nqNUHs65ujAyGoYGOal/FVPAkIomM2I/W2IAp8B6nkTjLNW9tui1Hd2KzjKPYZN2N/B9m
JObTAJN67bpFvhNirt5nIpbFuh0sY4PFqtlUrJ7PLuPbdtM4leNvh7riReN/IERkKAL/a6Jb0lpR
YwzHWBRiHTiW9RaHgAhhyku1Bmqh91WdW4fQm6Obuc0APLapUaxrK4LGxHwxWY3TlLD/hVB7E9fR
m7yenUPLqP91qpJu40a6eMSCa71Mgp2FA05AsENXh/m2JdFlX3fYdF2CVj5mMaeHSDvujzJ1zY1X
+PoxoqrHq0WC9C6pimujSagrAhsWnHSHRuxQqvp3tDKsbjXJNj/OTevuyymt1sMUcHwczATuFGPo
mF1qjp86u0nhxU2hc29yUk42s9nPapV7sXWFFh6l3+IW2xheNv7Upp0eExvmlyfjnwlnt5Wlw/nZ
ymu22kG4BuJswKpe1LlrdsuQtdAKXnqzwngDWzDfEzuNlNsajb0eKHaGeiTKUEh7pjU5mwcBmm87
Lzh/Ly5gK+IfxEMERPpeO0X0bHUBQT5FoIA3GM+li2N2TY4lYJEugyk3JM1XPym/JK6P+3GY5dZw
x+S7m7S0VKuUyMwa29BpdspuZQ5RtBazV7THGbvbbgAW45+tZp6AIdjUf4LxAcurI+AIMspdM2o0
bsJJYjT23NjDglezHYcDA6uZFDkrrNxHLArchx4y2StLlBVtHE0nvqlmHFQcS4p8SayD80AiBUki
UQXvxGQJRB9s2A9zkovDhMqcD0di9zovfblD0d1ExAwoO6O/igENACr9/KPKXOO0dAY2SWqr7wPe
ncMIjHMLXlnTHMCQQbMbkwC62a2SMwZZcxL1ygXgcZy1yG7x62QnWpD54g32kDZmFU2XbD76g4P9
HLN+duLTGtOqS4xqK7SDInEumnuYKw9p235LvTJ4JFj8LuuFfuFMyyR9mhWYt1nn8R5vdrVDjjeX
20WtvrPsOr+L/fGJqLfhI0pGifoVcNi4mlNFKTtEGKxITNDbGVriTUny6LadprLdQOZMgCd5YY9Z
1tYI8xUjySJOCI0MytqhTx2O8poqP2Y31c/NKElhwOps9sM1oZKIsKM8O2ew6VaidZJb1ny2vwJO
mTSrcFMaxlNYhg9+HV77tfUIzE+sxDTEa/xtCfu//ton9oFYMYZbzfTAHIp9uUMUr4tpEwf1VR6Q
3jqVEQcZy2pvoHDwAI9mezcp+TgKsaG+UtucrHkv18+pZ93x3MX7sNcInD17PRQunUb51pWggVs3
u+e9vx8TBR1dyx+WGr64lvHVo4Bai3FsrrqejjGVLqVOrF6Qfvr0qdL6gcoG/6xyAsbljShuAxFl
69x29BotAD3x2Iv3lp8WLIT5T9LWCa/zZ2cDMAjDZm19kfix28DM92XQvxnS+emgUly1PhQnozim
LFaYNud0C6/1esBECeqiXBlF+2IPssfkPH5NEw/57yDvVO8neAVwSBMeRvLsMTOAX45ytNasLywy
Hm6mTu5Tv4cX1MZbK1xgLtn4gQr7icLokVLurmrDFidXtJ3p0x36Jj47s/uFguxMuVBSFwhnT7PK
3TCyMDZWKe3rkTd2B0Ahvp3QQuGGixrwg4AjIe/eOAGUkrG10WdHN141PgIOoIwR6aMy0w97BrMs
p0FviBgCVNQRTGkmXsTmV4rNMNZfTM28BXuyZE1wDrFjvZadfcNIYT/ontfD55ZVLhW6PUIpbnTH
FpY4b/jGv85R/B7YA7m5abUnh1jeDaSsrvoxHg7AM9A3qek67tAu1GWOGy0tsLeQe0kQKmDXjrpL
V+QPYT9+MYPpJh9J4I5sKotORY+epY11gGWP9pmVnyqzJa24In5lBnu/MrzCwSaGIaNT5g4PNCgS
s6/PVi4sinVTUusV5zBWPwvl0VkXzrnVJAyVEbA+ow3VKSn84pu7tI/sJoaX5KRkN2Jt2JJP/Z4b
+Q8kHb/0yuFdjihj1cfl1s0y3s/WRY0ZD0T7moF/1zT5iwVcFmP3ZhD5T1I2dzYAynUT+MeuHD4q
BzJgxIZ+6oR326JbY5fKrqKCBW1oY8A/krodwKoBAgTruC+MJ2j/bK+5UOcms05NM9w0Kv+SVBwf
1KK+DtB4rAN3Sl6NgYkw86qEm+Q9g+TiUEkabDiEH4kC/UkvB8s9l+Joep/Z88MgmoozIXLdzFoA
g9VViAVh25Y5Xi9ZgqDO0nLth4ywnNg0Vsxli028lFtlpe4Z0qWHYvQeGLtE1DzNq54QAwEMLG+r
GfJkOBTpTRsW17M1v2fpbK+EMSLXITvaSYGYd54H1yRCBmYQnOhwTqBrWu+htKhdJKHRhE7igKyc
FanV3muFunzVyAFtvGW/DZ47bIa2ZLak1Pxehp5cWVFkrYOSgzD9nG2h59shKa7iyT1ThG5k49+3
M/ibvEiAncfvTTDEe9V3pFZiX1xldWDuhNXUt9oawcEyXYRzV8RHvyz7g8vRY4fJtL2VTpk9D2DD
sV2GIcJ6q/ue11RTo1+DnHUCP906hj6CRSJjdMrC9zqjYG2posCD74lsL7Z+ru/igpjLoI6/48a2
XmXh1euqBbrTGOV08HwbSSDRfZn+xlGrPVrhuEWUd0zgUK8URkJMswTbthZU0+XmhdE9w0IcwbET
7wzVpHtngIGq23ujrQkVDZMHbebZd1JQv0OBxzUThUCF2zLe1NijVo4bM94nrXsK8m1kzs9GNQOf
NYi2TnkwDUxpS+5cmYZfevy7VTO3KwaNuC7KuTw0EsS4RcWMOWxJ2NKcG5wUdAcWYEwJ1Cbkr57K
qNqD0ntxWufWNto7UDIb16VCoF/zk+zYWK/UQI6t7vsXz3DP2JA5b5TiqnawSkfjjQtPn1S+4BsU
4JOb8fSahRs/q8Yvtkaon6Y0vuubKt5G/RRCVRhJkmINZQyI4zQjXC6tr4ORin6wopeO591k+VmH
EkNU2hgnAQNuU8bGY+EZd3lhYxHCbkcs5brviqckboq1wTOS5wsXbZZHUrHf/KiHEkBkLA/kO8yj
O59TbDtWe9cZX0zTOCXleM3a9W3orQ0F+ok+7qlmYF3n86vN+YWXfDqMi8PHmx96zz1oaEzATAA0
OQuUI8TfEQ7uGdrpSx+QGoCMdB1M4blX6g560gesfAsRZbPPLV/v6iq+JlV1b9nlSYniJy0t+D9p
MtxEbnMlovmnqfHmGpKSeQrKGyFxjzfYn5riyUoz3lEl4KkLjxRknu9lVk/17zPJNVwOsCW/q1LJ
uYBF0QmcqsSCbaXW79LCmhJ597rItmVo61WccERFL/ReRLRlQZle57q9dqqQfTMrH2qeJsCB6S4g
17DBw7NxeuOcatouvU9uARb2HZk33/BrUUHapFH5XodtkBaNnCgPMJ2u4tjfiCwjjnpIH8KWVcjR
KcoAdHJi9G8Ktz6onl9cN0dhtxw1sres9e6bNLiGWvQyyxg6RV3cTTQviWY6J1V0VwXOtTn3J3fw
XsokeaoaSMUB/R27fwbTAh3ZjPdOR3MHy95r4ZSnzppeCQh74RhlUi6o4uzr+fs82ad4FAOvWPK1
ldF9gsd67nE5l0Wwtb3qxVpQPjkhQpYDGqtT36ww3IGxrk9tm95XQr4EtA9ME34+aE6grOVDgWZn
NQv4MZP7tS45/UeR+YM9+MmxkuuoK2l1ymhj2fjpKcxeuqw+sNJ9a7BjryRjirUBYZAFFa1tBflq
cHIyJ0xcm2z68M7t71KFT3mcbbWlnofMh0frlV8gf/qAHcqBXpVKr/BqH0LMF50MzpgSjbWbj7ew
H94DMyvObMJg15LgKshKfKTJgfKe4mVgpXb9YN147jN8i5tZh965QkP1Alu6OgYeJYDdhxALe5fN
hzohDBIkLVFwtjhasfCH7bkUxbPODEAkee+zM6ZXfskiw1Bx2Lp1dQqn9g00xmPYY/7L/j/OzqxH
TqTr1r8ICQjG2wRyzqzZNdygqrLNPAUzv/576HOk0662bH3npqW3X7fJJCEi9t5rPWuJYaXFvD2g
Mrd2h2F+iNDq2NnZHJCuzeNBr5f2tkrneDdFzlaJrZsu0SGjTO7WHXk4NLWbttJgw3OVeutE6rPF
EcjiU+2sGoiv1d3FjUtNBHhjW/TipQPS7KMPBv3uJByvcGh5o95wr2rZbXSwzVCeZHE/gE4wXRC/
Rj0NW2bE3wy8g7DReIQGtz6HtorBtcebj7kw9uwUnqHoI8Jxci+kuIY4hy0eMTlDZV2Hz2yeQHyd
5DAElaUfWhNSadUv020Ki/9F2qZCQgNvPFawIUiVCCOiGm7xUi+bVOecalZOcTssyl0UVstbLJ3Z
p3+f76MsXiQV7BpOYjV6dNOOhsDMBw7N4cD8oIwiuR0mGOe81DkJ34OKNzPG5L6J1cLc8ihVl0GR
VgDcfX6MDeB/RQ2P0JqN2XNaVX8SK9YNYnjl0vJdg05rDZbT3H/UcYaP0sDr37kzQSZDdm+04X3E
okX+X4JbhLeraR1aEroFbqiN+uhRE+BvbGfeUqrdwU64sMFN4HySLfXF1clHK7CMqtypPMTAEvtg
cXD8m2pN3ZjadNtoxvqJqIedDO2to5nfE23BIq1XtL/I7WB0m8c+buT6ce3ErZwjkO76SBJeUl5z
h2T0umzsjWmEx1y2p0ltUUT21l2bgHBFFHGso+SNJ+KO2U3qwe7Ya7hbQU4SLa8hIOtBz23mWrmG
EJf8pVfeUrO+o6N6QwfI3KIB300Vk4+hVi80XRgrGFQkklb+/K6V6TOheGC5U/2WqewNkCvTNxvt
qAvtrHKM3khnfK1rOmDQIS5URgyRQsyhuRG/pBJuXSrmIKvms0r/EhPePPBs6y+FAqjb6LaiCa/S
do9dJe7VTpxLKfcxYdd7xzLb3TxM2alpSVbZiIoJ51CFpmega/KmhJ1sjIB6GcQlYQd2wCfE2oed
ywcJwklLJS1tstjXKHXfpbClQH7kePxz1runchx8bbZTDuslqO1c3JjRsjXnLHAyVG5yhLGSmzhn
w7ND61Uo85XK9K2iSUn3JWzuJGkjngZRpqjFfUEr21+awr1ETr8rmK8Y9FF8VTrwQVSczK1YqeRO
6OtJGIiseZDkD85wtzapNRxyAnr3gOSveTL+SDv7ZjQiIFDlqZf6SNN6bo5TXzBxSyzlFI0lFRlH
HOFLCaqir4p62xlqdV5yNb014Ilw5Ffe+qFQX3qNXMc8EuKeEBkmdHU8B1MCYUkajENqLZyeOWUt
QaL2/E3w9y+zLPFvk1S36WcD/FWrKluVdqsf1/xwJKUIaHnxg51STBZVF3nTFH3SRqrhscbTTrVG
Ut4lJ+hUS+lxR88jpaAfG+7VtekfYXdLNgy4TcgV7Z2ge0RphFUF73tabKRmWFB1xp7+mDFsQwlz
YKD9ye9MO5upceulPQcE5GGCTvBo+Xi8jJ0+8XD1de5j8h5uR31QNnVdGVtyiuI3w85cbwaquDMM
Ge2sxTKDXMvVo1sn2haXZ/rSmdNyyRU3P/YJjyiXZpxoi3IzZ5O2cXswxYK5xaWiBn7QmwZQVKsm
gaYssz84SeUGbd+Y74aTp8FsFotPz/MbUrufKTtwn4zRrulpRmZKAYeKQx4xPWxUip1HO2cghakC
N4J11Uq2YZa9MYBYQI0oVLJko5p71YGLBr2PIqqBvGni2/fgErJ410QURBkxYW1msy0q35C/yGtR
xcljX03Kg9XL5NEA3+mhulW3jToyOFMqggAidH6bnlYjI5N+3kVQF/fu2u62gEtQlGcgSiIidYYK
axHBys5LNGTtfojMFAMWHeU+qcQOburgE6H9ipKQUIOUfpjZ4BqOOiT4bWv3V3OySdfMdRxSLi2i
xgXiMNjqJ7DQeOvgJzv2ltp5RThFG5k133R91oknhqxruoJspxi3+ZZh86mlhZ5tlljk/gAladyU
bTpcjFC1yelw9U1dCLGbiLXfRGhEvSTril08Kz8aDk8HE6olbAqTjn9ipbdxZFI3WNFrpxr2TcFs
e6MxoaLLUTJIs8WFTni/U9TwxRLKsh2HYT/QpGGypjxK07F9QDxutxlN61sLOqv0lbBLzqnVVZtB
KTnGjKdKa49xnjp+Y1hb4qfO1lIUwWy0QWf07DtjzOxedjd2Ye2KtrwS7v4oLWa5VkraS18GuUVq
Q58sDeCvmR5G4i5+qFbHuYbOlqvDacn00iu5rgqNkJZH5fcdJgxd0k20tQyO2zCsnDTmq11bOvuw
Y4JiTf0LswqAqbX7sQDbbaT5uVjxt0yvpsC2hgtg5rMMYW5W1XJ2q/F70kL+BBtzggfd4WFXY98V
CdDwIjqwy2TEbFBiwXs6GU289ldyqEXhxTSrg0KeA+02PpAyMQqZrQ7GhXEKSagIWDHuSAc6STK9
gPvQXu+GLYUAz828PjzkD2F4Tg+Z0bacJGNyyTJj1dmpJBnI6Y5OZvOJU/kWnKQZJF3IGFB2PxqN
WTS3XXfc72pD8Ivb7tU42cYdp353MS7VWFM2FvcxQnQ6DrHqabjIcXi/JeRmcLx4gOmGvKB2VoGD
chILn03N8wCf9Oj1ozxTz9kvpDKg6yVJhKWEznZik2kubXvayBFvP/nrx5TwND+q6jvNLm7zrvQN
u36E4LolGWvfyvSSG8xpY7W59g7LjYE4N+0s2GRmYKjDTjUQX1dUFt5iy8rLyuIl0cR35IgHhaLe
LFhikV6ZCCeci2jpSbeAKUOt+TbClqWrqfozCuAcDhq8weFNm/prbhFvYo/HRZUfvF3GVva2zdG/
g79msE2syUSUUAgOYkfd1qgFifIWkGP1JUh58C8RR4vAQCqOFQ2iiWzlKXeqZ2hfQ2AblCHrVKIs
6ttiVHYzH7MrW6iFeQsitr9vlMGi6UrDJNK+GYI7naf3aWfcNmnxU5loxIQSzk6b0NPPunPqcEpz
k4of1AayZJDO5JUGe0Fclu9D1BxKncfaDCkVQ1uil9JAylvtm5DiHYIXz2RGAmk3lOqmSiH5ZqN+
gAF4HsqcUSyEVTiHlKKt0x2KkAxH6VReMbqTJxdiecYog1cr++tSG0ixx8Wr4e7u24Eq1DKnbx1r
TjQ6GqltdLVzqzm3E0iBuH1ElvkIqMKjz3CIeAW1hvCrNjP4Q8yS+NNbATCDQrZCUFMGwwQuCUYT
4nS1ODpF9S4t7ZwBl5jloh8joDYrFPZQD8510uK7BL4Fp91tPog9Hnu0MRprybzS2XSrBvKU37Qp
/yPKkx+DrtB8WiGwkwVgAaChqOSxopcUT3qwzOv9McVNkiQ3BV1/Vi9CZiJzrzjle5HnJ2oB+vfD
uOtlfVmNgBAfwzu6Ru9NM9yUEIeaeTj1yoQ/zfyA3fBuz8VNU7E5Z2m8jzWAgsxymYe5T8s4HPRS
PzqlfWRpfa9nsXJCbZBJ5U1YWtqqNFr83omeo1451A1gzVSIU7eSGyoHKV6ofOZh+4yfh4MVfLmI
jXeTJ/0l5nuPE6sTODNmYd2kengGX6Ac+ZXT/8wihuJ5L6vrTP5cMJoac2Ib2ksBy80tmrvYRJ8S
SyVYtGyXRdGxtUZ5q6NpOc9VfYMPv7ixB/ncZDYvnYUQwB37Q8xYxVWcW7FQj80WmowoPKlIF/Ro
/KEmA9iVbLy4CAplPe1tq9jLtlK9ObHuYr07YE3h6XPjb3ojQVngLSG0ywyojzNWcmc5lubwzlCL
jgKQnWTQ6ApVA6XF3OyajsGS3obzI++Iuc0c5V5G/WXO5mLDS8VcT/SfNYHC4/pQEzbnEz335Lbu
G7jGJpApuHogL41HK9fazjZltNXWT6rV/1Tb+lubZNuwZhUUpX2ZivFbHNnPNqk2PsrFzCeUcZ1I
YLIAxelx8yiPxalp2BLRiN/MS0Qzvylf0fi53mBk9ygxbvVQ/e7a81WzrYu068jDjfNNwQO0EQtr
Z6kgZzHHBkFJ+KSaHb9u5zwAkYJcDj+c5xuSvksP9WoDf6d0cjmzp49mbZ2dqSF6TpWJ52ZouBJG
eF03/2hNeUaC/qOxdGhobfEtccbdP279jQkmuud0zSSL3xJdjrbLeu2dCOY3iyiOTesgU5D0TjfW
WpjWzIpCnSipnCLA6MYDvKnIE1OF4X5+7hvt3aCKNm0V1UWmUgon2ltWaD7mjtqjS/MqwLqALARV
VUs6vJmSl4EC/peABG3cxAOtVjadE6SMo2a0B8DEx47YogPg+O8iim7tkumiVPr9RIfemwy3CLIJ
JpBBMz6HMw9+P8U2xRaIR9qmMWccVWD2Saew2GEqY5j7kMzmpumaVwMgnZMySYsrQzsS7tZuwpBZ
IhkprcfMGxLQZCdMvzlUzNX4rrjVlarvjcStT12JXhCwAtFzHZLmNFlvm4bZq5XCC+1tzBBJ+Zbj
gFwSxDFuP1KzGajQ0q7YF2S6WSaU97nXmx1g66MleVAxb6scJaZnYrXMSwXrng1fwr7iH47sLzRn
vuW9+dNyh6OVkREREaGloQgE0k8yptr5Teoc3HgBN0TJiCX6tU/ygD6JdiQq+d1kPhFAA9ojIbrw
EtEUS+L7Dk/FJhIgGVTrEsXWd9Ihv00uPuNwFHgllPduGTs/h/mEfpI0CMYfMunBOVqEQahxYLRJ
BRGn3VbsQ4sTH3N7Nv1ijsjpdNnNacCcrZym9xClb1QXJ4RDB8UuL2U6L0SCMi+xaKuo/fw4oXuA
SFQcVZB+q5nAs2MyF9RewPpCt0yPD2Zs3Yz3i8qeSy2S7Giub6nrP9lu9q5GtluBjYndyn6ODKbP
wpousjYecw0TQGrCXqVJf1+zAh8Rh7BZMMKEr0R/gai1aKcwJ6Ydol50QlNvRKreze3Q7jlK7Y08
fRj16D5vCbNQWTsOUzPv2O9/1hEvjUxEsDR1s2XHuZmZrnDAn46hpT8j1X5l/y03coLUNYMsC6vr
kOT3pQTFP3aRu81dc4ND62EReXKsspK3iZ1UxdAVJJzyPI2TXppl93mZ/GSPDMhD/qYmi0a6AxkS
GV3/shy9po7Ba2BZS/lrNh2b3agppc82/aFXhLT1BPPBZaLBzDjXIz3vjSF8sTo1mEpPjHmTpbhi
LKMHMBQ/q2QIfY2fHLEZ1OfQiX2V8p4a/Z4eCg03EMdYhby4Y+uhrUruSj89NxJOJCeoFdHDh56p
61GvGtt1Xg69FBGQOt2OVnIH+ARdFOhRgVw+KrBXZLLyyR16LmvJohmG1w6VwkalCQMwefhZ1+oh
oy3l9OJ20eOLkfaanxSlvlMm+l/azJzRDIF22tVeLRGU2HZ2zVAoYrc2f4Keul/SwToKg/GrYIrJ
8sq8TkcsxuvJdwLL6c0N1jBRHjQZneYlftOd3lxhqHS3GgFFLR+fwtBuvUjRh3MD6JlxBXY6LVIQ
1k2lj0qIHm5ID8lwJxSojleBm/QyJ93XtUsYB83D1ejpT8ZIx86cdzWSkaPWAKW2TPPkNuo9IePe
TBQcXa1kj33mmVfuaE7gxgH/3Op1+wn78toY2p6ty93bk+lPNYKQcWqv6crnS4gmWec2O1tn0MF4
b1saxk0q+p4VUuyVjOdHZqsOhfZ9bwFxBM4q7R4842C+6mEaAkHuEBVWcO3BkdGxmY0daxJMpqmk
B9BW2tZReObxCuxwYdADBFepT/KoEX6g9fDBEm3HmdWP5oyPXfc3wPRgiFe5e4lrZbnTm+WuMQmm
RKm/s9TkFkzbjmARXsXC+qwRsO4zUDqwxuMnd4l7L6+HU9Kggo2tx3IQQZeJ+CCwQ3i894euhJIX
G/MnTACqLdvP0+LNpuVJYER/HxsMLnSUGWPbHznF5ZskNYLGZkLlAkM3NP5m41w1/UPfZMcZNnSX
KDelpt1gc+VQNHyHoGoFWbZWhOJtEBEH4HA6dJwK2bQ556yMdAXNT05nCEzFhtjAW0YKd3mPeqC3
UxJ1LX5PPljN6dejVrjqhYWZoZ6PUDt+4ta/ShPTrzPGO03P3txuvJZDy/h/MZsN4OEgcWOilip3
T5IhYnIGM+Ssc4YVLlXCOiZk6Wguocygtsm6PynM2vyOMSVKa2JnIMpC/Ox3kWBcSEza1iL0EktW
vhuc+D1U04tGJjDBlhmaRPe7dOgnAl7f5QxpdzEaTa+m1faU2cPsdY2+62hD9OQPbawl+gDPcC4B
PoMY7hCqhfaOMnqrwrjcdCiTUeOfUViTlhMX/JtyQkgpzxiyxvdoGCWQEvRNSmjAvTVt8m3aKuhH
+2cp65tMbS74OvY91tKiYzXQB+MVtn+2ncaKhEOh5Yh6SrqVbVPf4PiDsi3qt4YZWVg4dzXzv+Ms
xUPGTnfRJ+UncrcH3W3vtCw5jymQszKvtXtlKm6dsfuG1JMnkGRr5FYTy92svldC3uLzTAN6AMfR
CndzrZ0ITqk5Jc7pqRbxE+q/gdgAUlIHvRjx0yq+UjsEiFa8LIxiSzTB0Y/CyAuSZ1QDvTGAubwj
DgKXCzirhRNNlMsfNkbGDRBqqq7QSD660OxpyTXVPpf6uaCBhCwOgUkxlx6HTA/Rx60JT4LpzBIo
irFrQz1wYSJwrAB6rXZsrKXgyFNH1Y4mMekpY/MKKZSxQEf3UoHzusxotJmVZzstRP2BRpqAFCv1
mqxdGzjumASJE3t95z6iiYefnGmtH60BLoNVL14KiWOfpVTeLmFBEsXMZlQcqFLJu95V2yblP6mG
4cms0DoQSGGuZ6AEVYcT+XpeMVF1jJtRaMQ64aHAZOiv7ToeFdjrk31sOwltkmBF7sLoRZ1lokCA
A2erxU2psG/3+ng/1VriI1aed3mn7eyYk6qpky0N/e4pa9X7sqWmXAhG9QwQtBuGSHA8YwQXijg3
TkZsi8JxUFvqHxMxz0Op/ICWVyHQwYPgMPPckugQ1EL7WaN7yeLxdVS7j1HmT/CfYhKBC59w4qCb
tQ9c4JR3ukvkJy3DZCr38dABfeTGavX8NhQLKcxt6W7BTQLW19VxRxaucpwSeg2VxSkq1OrXxYCK
qyfV98R0HoU9vTCF4eGDSjYQmsFZyLpphmJ+E9BHBpGwOA/FO33LaEXgRt8XtAwbczJ+ikHUe3Nu
3mGSHhDwvxpJ8z0R5rF3q0urW3sjS05OpN9TWOi7hRbauk/usb1Q/8/1E5INip5QPBnJGp9ejOo5
7OJd5DrHkdWWKq06JEK5B27id506bGaXpqQzVJ/hnH0I7mlRGQiKhnFrKeq901t7pTAOg9lMECbp
XzTS3tOURsun+G3PVAkh5fe0dTtIoSlGJw62Vp/WfjKlH8lKnm9TpzjTxCE0xMiYkArC0Yy8YUlx
qHdDhTwIsQqOFanl6GmTaTcAw01CyknL1rbuMFGpFOFNDj5rs6jUl+Qy+ZBjkR/UDJXr/PtI420J
qwfR8ZcpJK9qFAbuFL0mTXXsXE41TH0PCwLRG73Pnun+eIrF+a2e0h60MqKMwXWIPRjak9oPOwzQ
tFbkhFZtsg5lJ/ak4Y5e6BLtUOrvXWgdpeLcuFTnG2u29zOLOBoe1PepCs9Vg0DcGlq6wd92knUb
WDoSaI3evJ/W6bFdW4+ZRGZk6ubFyBla5TbyiSWf32sGjEZcXISpXDh7T4fUoB1Mc2NXzkwEeiNi
89DIrg5otPboElnQ8nxIjlSG4ydWep5NPYseOxcBhTSzFOW4fi/b6TomEzTnMVyBoIgUMuJxalzI
Az3jBVL1ZSI6+FZKzc3AcvK9XMOYjxMYHq/JC3tbW25L3ssQMnTFI8NzodbfU2nY21grGs/GNfoZ
NYV9ybHO3mdqijapiB5IM6Ep706S+bYud8LWIp/Yj/gQmm66gy483btZkp1RonWuP7Y0MTdwIpla
aH0pg6kinwGrPsU97rYUjbB6TtUKTxRzuNSPJV2uiFHnwbTl+ERfNPaHSBfP9hCmx9yskGJiM8dj
ojev8RIXh7HvhkObUEo0OiiOqi/JbMpD86QNYwoEoB8qxJrgilBit9kJ1+xkek6ZZ5/SiKi38ogh
Z51W70smi+08ELrSy67dxWbbfFYhKu3NQu4IeSoiZN5rx7dZLqKbRO8MD0NKesob1NoUWBYOMgh1
UEdTE61jvPbONMpvRlF20HB42XbhZFya2fxwyzVWO6adkpeAnsmnIlScBBxvbq03xyi7LWh/UXDL
WmSkIsq22F87zyD6AVLxYE77WRMfJIaA325IZ1THpuO5aqfWG40Vp9Sv7oS26sqdbAnjYVVgmC6s
6kwrwA5q2twHmpKSo3o8MC5EzEgLcXrIGcgEBvuhL7CR7WkdMa4okkylrWO5D+lMxDu3pbt1kCxw
lnabbZHUxn2Gl2WbZWbkURqueQLDqlDsk+/W0iB2GAelY/eIWZpMhmx+ZKDKo/1k3JP21J6aaZF3
ZSIcT2Bh5+GsoqsCkXCHcZlclDxejSN5jpTEzFH/VlV3ndNwudrD9H1K1fxsi8pZVRac+eJ8Yepo
0tbUDXk7mtF4Y2TKRL0TAiGgRz5R+EcUWEqCdvqfgdWxJv2Zs7Sr9lBVF805qvREfVxdFavhMH0o
Oeb6OqO7abjYz0qjn7diJIGdUGHNeR3IpDM2BHOnO8VhDKzmqfyhZJZ8Egwht3GfPUDCQ1CUGMt5
qZvwYV6RVnWe8Pb+2Rr7X+8mSB5AJKaDM9nQ/zHp/8uM7UQWC3uTmodOp4Ptq0vBFlJg1hdeatrG
fatOhTgufaRMQUuz9S8QgC/IGNpOqAQ0euSqKVwT3/CvltUx70s3cVT1kChSeNHESIkFC2dinyv+
rMXq5c9f94sTeL0evA3VNgwHZzLiz1+vh4QbrHNqQoMb45kzuTKsv25mguLtJ1iM/7u7a5vIlIDy
6LwEmKGF/sULHC4ONr226w4zjpOHQcXj3lgx7ppO65Z7POpquNEU0NmFqMrDn7/ql1/2/17bAXBo
MOr7jw27QTxcWgXg21aZw9tRtvHrNHH8HGKNfpk2ma+knU9rMfQ3vMWXm/z1ytZqEP/XMwV6m8K0
r/IjfQDnrgoZDui6YQfzNFN0/Plbrj/Yv83m6x2m90VIAaJP0xRfrgWr30L2WMYoCXMqODAnAulG
wmv2F0LIlyf1ny/1rwsZ4suXCtNZtwn9PspqDHcR0x6U5fm2LOBcpRptjj9/ry9e7v9zOfAoug3f
SAUK9uvljKJjeNMqDnEFAzMSaTJSF0yWOrvlhB/KhNXgrxBBsT6P/7mbJCuTmG0ZtnC+XNWG2kBG
jh7uHT1FkZEWqGx37uQkWG8sONo7LKoIF0M6J44fFvqAHU0Wu9XMfuXMvtoi8jG+jxZt2hZRTtAI
5cI47oi+I+yjQwH3aDdCe27Jrbym2RS2PvpMc9wh4MjelUhn/DdiIf0Ie4o8DxZMdWK2xIhSFajl
Paw/EeIp16V7JpoIOvaf7/rvnlzScYRuaxbkva/kRn3C/VMVojiKpljHNkhX4fCD544pfa1CBP/7
y633lJhmksNZlX79kccItxmzxPyQSKD5rMNREqiupPnf9ZV5/7+/GCupQea0a3BwW7/7v97KeBpo
nAkGurKwxMmJ69JToIl/EEHT/mXZ+8Kh+OfhhZbM2o6CGRL4l3cFx82clHUdHsxa6Bc5YyQdl0wL
5CzNm9AolJfWtIpDirudgrK2w7+8q797eQAe8eYw/RXaP+Cwf33VsInQqHcKIDKLmbYpw5EwKuDy
2kK0bMcACNVHYf3lS//u2XHsFb+NiQLezvqh/nXRjNYLMeAkkTYlcc8Udkm5GWcksFFOFPuff8vf
fsH/d62vi1ExkqfZmHGMIU/0Yl+1UfsDNxlED8Af7KHqqAz2y9IQqPHx5yv/9ltCb+EbQpiA2vTr
t0R1aDDECZMjelz1rYtN933qV6etyfnqL5v1776lCxkKsB1gGk18IfSmkZq5GmSaQ0k02Q2xo470
HYCxdFbIQWLOny6yoFbP87/t29r6V39dCNk4NTYUk1HTVx4m2npVF30BI7TpPl3c84Fh2suGGQ2h
VKKgbdwttq+4cXlCm6TvFyGn5z/f6d/t366prWA/gxxe8eV9NQf4mISc8xDDbUew0gigDEVjyghf
STm/qvTgnvCM6p9GK1hC/z+uzjZgwE75Bw706+9MqW0zMG3zwxJq0us50e9sW8k81pA3Ky84WUei
2YpqLv5ybNH/e+tdA57fSjPk6GRrXxYPEY1GrLXOdNCbgk4IM9qjRB50Xwvy5ag+neTNwO5OLisZ
tFqdaY+tJPPNz80htSnO5ughUSv6MKk1RYd04NQcTGFjnGwsLbjJssZ+KpZwICmSmftw/fN9+82T
w8eHuYWnE6aVZn55aO3ZMvKYPOgjm6z4tHiJnhlwi58FEsAjGTnwxtXIDus9aVMK6jjNBBTS0rf7
/MsH0f/zCPNBAC2x6nD6s76yx+t55nxplfOhY1Nj+qOvlsxGbOFpEx6eyw9Nus2bM1e2z3w02rmI
q3w52+YpN8V4/sunWX+1X18o17DAXGGa5UyDwfnX58mmCabRvpQHWcj8ZhqQAucFpDGN+mOnmquz
OrVoERd2crCNLtuxwC4BXUEm75JJJxvk9Jef6is/km2Kz8QvQOmh6hyxvjxp9FhrKxHk1cOjXid2
TjFzMokMCmh8qPNGr/VxoR+B4s0vomwi+cWtzTc659pDTcs15k/MEm+U1Q23NMzaJ6VSWfUzhsnj
xkaYio3LZcoXZMXUvbRq1jWbNif40KewFQhe3c76ywkG/dfv7jTBko7LbgTifP3//7UPDSE02FFV
WKEd5mSjTrJpiWNwm1NjoE/sK1/SlyZoFL1lqTDqnMkWpzONgkylwXpGOYBXwTJ3RPwO21TIOGAs
T5ZfnBlHpMGVp/Lfo4ocxiMAN8Q1psyCcMKWpzaDdV2TtHe6dJD1h4iXusqZAjcpsx+1MvcBOV3h
0WkitNwNWlwdioofl014yZk3oziI8CQ3Wrsd1Aw3gqGMtyUJABsTqfOxyRGQoBrFvpCl2YlYGnUv
J3RMBpnjP0Q/Ed3H3hRwCJq3jYBmD3c336fsZvvFjl7a2iJxSKhkQZv6tCPPYM2axZaT6VqzyRwx
YT1GuNclbnvSjGY61nCrTjE5M2WAeq3YGmR9kZJVimByiX6jyr8FLwxcifS6U6vgic+tEW+fyg/d
KOSw16AWrm6YMCOJG0Sl2D1+6DESVmAMTNdnpI/kpXTbNJ/V7WxqAGdceqfF2gKbiV47CRc9c8le
fKChPj1qiVC3E/kpez1uCZyqyYfv5vFDjVG5m06FXFkZ+IXsvLjt3dJG1sKhDwOb1TeRl7vNwPyp
WBLPxhCwISCN/LIyaS6Txkmb/n3InAfCh91P4jrXPVAlVJkGhqG4/0SR1VzlaEh/SEJSAwg3RszR
DjWWTmOGI9Br9kMDcWEjIyp6eozfMNSgikymGj44qQI4UObAtMJm39Pj3JOTzJaqlu25alGUQWyL
Vt2wfZOlnXZQScPbVXI0g4W0ccJMbIvGfiSZHdPnwhCCOHJ2hxteyWJTp9ajtMfCr/CO7zEJdnvF
bHvi8UT8E4GA9cYOMBBdXwnxjEZGfyDW7XZsk/CecOP0xFQk2ZI7fJpW5XyTdB9O64ZH7O/AaTLG
XwMkjF2NM6naWNAaMQbRpG1mXfU5nCho/Vr1MKNoZ5xJPy8qWdpVDJreMPWsLKNFOhKi55NJEDgz
vBktr4xZkaNeJEEE7WqHR42zDNKQgNVzumTjWAc6wT4vGks7sieHlFJTbV5nKd1zJVPwSZyO3rWi
dmO/4LjyLS6t+ZAuk+0jn+qOYdpF5yxkMsHdMJ9svMleFzGzKqdYvLs9Qj5bYqZcTFc5J4uwvAkk
5NWVE9FoZm/vqqSyLyoP9W2MjOumh7R75hlXb5Z5su7CfGquWtQ1fogd6jEWQGLreKkONUbGU19r
o8fZZA7wQhLBWXX2Fgv3K4HXOJJAgQYLk7ofDIJuiKPVrziH7VOnjJ99Bo12EU1Lk5Q/6ogGWoJ0
SiTHtDNxgLfIQtyZKZ3V5gGFt30pJyVZsTXWBY5DvbUHoW2BjDh3UTo010zBBY2tNCLYbnmmQ668
I4jX95NAKOzGRfEQJ4nNc23F3mKK+kR5b+xTXcEKS7/1Muj9fJP2pfZizXr9gnm4PtHVRAKOCi7Q
Y+W1rI3vbdq9NiitrkqOtL/jTnIPC22rzA5kTwVThYV479yWhhs4aolZ8M/763+7E+tW5nBadehq
aV+ZwkOVm+7iGGz2Xe/c5bA0t1rL6JpSGU4M0sO/HM3/ezjlcIYIzkJxYa6l8q+bTJunVcGAJDzE
pJ/gq8V7+nPSMO1sXHDfNwS8m89RWtqWb8Be+Fup9ZstDsQe7TSVIB6VsJxfr67B5VzEZIgD08S5
Rneumsx7o+F+MGRJ4joPnngxlEKkgRpHWCBhMrs//nzHf3MHQEMC2KLrxFbrfjnn6amwGK9ARZB5
wc9Pj5wt9GMUFfoNa+kxKTgIyOD5WH+hhf7nwjooe5wA9Lz4tXlVfv3yPYLSXsQ14s7inwG6HZXD
EbFN9S5kz+mS3WaVts+Z82ilmCT+8qT994C7Xt+1WGxgKEAL/VKXQLY3ulTpNXiWcD826f9wdibL
bSPRtv0iRCDRJqYkSJFUa8myZU8QtstG3yORAL7+LXhyLUpPjHsroiLKNTCIJrtz9l67artjYWJS
oSBALTWQ6O0aheBMLxSO0dPsocolF/Zubx6CTamawqZNc9llv71ufv/Z5JTZ0i5YIJIThrdgiwzI
PgRLc73MjzTkccon+b3BKfXp43f+5kDKVdlQkavkUpJznLOtVTrAvBq7OD0VQYH01rLJxE7R9lTu
Et1HXTXR526DC2d98ebIzVUDi0IgD52dfHD2wqO6iRxD0t5TY/5D2naM98icQwpK3q1P25pct3lm
snWLsGrTbkvkhwj7qoFlZNYPIp1xijLHovZeLqFc/x73X23rKZUR4MOjcDlo+PLsY0BnicyujaqT
PzXVyUVJg/J+VOZVAZDmPwBliDqSdMFJOwMq+u5EAxWYulAtXdxJDZ46fPyGzlHX1Jo8kOqwFG2K
tayMZ8Oyc40RhUlZ4CLPlhelE3kIAvTRG50O2ERdg6ojitvapFWWZBg+2H6ld00B1MEZwYCTMV9S
rs55VuhoQRZh4e/sE+Fl2aU5++17XbGZ4J85e8BAPg+PGzLa8ZZb1BA4Ju+QVu1wCmILyZphqOeP
H8vb4eJRC/NdoKScwhA6vR4ueOY1bAhPA5we1D2ac/OqB5b/uZ3Lu4QSy4FPcDqUfrNcmC0uXNg/
+z76Cf1QLGlhGyL1v2daNfPOlnXwHEy9qK/00tkPXt7HOWmqRX2pvvp2rrI9m3Yy7ReL//DOyzhI
gxajitzomE5jsMujsQkrZBN3to9m3Q2G37I1kmPnVzO7g4y9yEDO4sePXqxT0eshsv4GmO8MOxas
87ogWfXm3JpdTU6OXX+ZPPVztmYTmUdLnC0hl1tXoIUIBHQB0dBxG7JFbCtkJduATUl/6ee8Ka/w
SNaiDoOEPRURM68/hU6UcjIGn3TGolbqmafW3hqgYnrUjjgAQ1uWLaGl7erQs7QMfjSVACxkCJzZ
F37Lm00LPwV1g6TYIxmq518l2/006htfHqdx0fnGjdcgbseqNDGXpBO/kOkdX5pN372mzcBjFWM8
nJfcC2EloGRNrklM69YoVXlwKwhwqR4XlDuNeaGO9s7szU3SNqGURemdavjr561oZ7hQOpKT4bJK
7KJEByD9IDkc8pSUo+0oa2xIgEuoiJRDS6B0lbXzE4DcusYyxc6KMPnROMrMtcg8ZUnUIfG4Or+w
zLz7YBCR0wKgtuudB0h5AuSnQf3m6KVOf5MMVXVIp+FTkBEpEfQ6O348LP62Ps+HBV+gLQge4os8
p0QHaR/1kIacYzM4fGqm0RKEEYEF3o5ZVI67mBkjxig0NL/dVOJNJNNjfVlCDzeFCCy+Ud9V9Z6M
1IBiggISd21msfHoB9P8W0RyMW6U4QtEhV3izg8GuJGHLvf1y4UbeWeKI6+Bkr/NoKJaffaCG1Cn
hj2myzFdAHDcBhhfyq3iZ31zDYhliIoAXdLfBp95anLHxekmV9elqXP7F80TGGB5wWFoU6medWtN
hHS3vbaMIHQJhYM5gvbTOhh+SxQtiRFGvhEiV8HO8IIStX08jyAdXPFsIU5hXvHc4VM294sT2oYr
my3biotJL283Qh7NQYumNtlNrLVn64maxrGPTUsel6YPbsqkfpx6izTrZfpT18RfezQRL2Rivvd9
4t+ncU/IaODYZ3sv9J8OtSNjgYxJOrKCs4d0BptXQRAXOA/UXR+/13dWZxQJQkquKVZy++txy2Hd
EY1w1NEKYHr1ynVuYzrMGGgJef/4UuLvnvl8MLCT9iwGBBXv81qtT2yJ4YInPjZ2UNmHwbFXE3xP
l9NKYoFCczDgfTpg2Z58HSDpi1SJWMGYFoPtFEKrO24gue6MxVvredmsN12QgPztLZ1oWHtDeZd2
4F/QuCKF6srBpgphezEWhiAn155zCzBLfIAJkpWlI63OInTsocCakMGUTmUVWhUp75uympo/Y6UD
urWL72/rxRxB41Cr2iiKg09mHQQrZ1VJcjXHMcDY3i3Dn0i6Hd1jEJvBdkiWCm1RLHMPyc/sIkhD
nz/vMYrM11WG0CtcqqWFPzwlxoTyE5NdpX3yZ2q2sCjeO1Akk+SugTvHHNidsfxdVAMGiZx4rVvq
mSttcfHnGdftjIJzqaSs9o0scQ6Llee6UbYYoVBHRQxHDIsDz8HtERtNuQIy1aIhkbsGt+WTGZvi
Pm4nVqZ8cRrgrCPt0toBm4IYn+LCFbQ0ohoEouGHTo/lN8yz+g98bfRTlpXKJ69o1G8f+1PKnWv/
MUn8+AGv+fy7c2bgDVligDOxu6G6xfWeYpAqawxCweIvORW6oISZLJge4qZHalAtwE43cS9EyUfQ
gDDkf/jfMZ3WT6B0xxfbGfX3KZ0MeuYGDGOqJWjzYTrWwqfC0z9mY/a5IhEGLbhf2l9VkZP1Pa29
e052OHk7r0vRpjutQFYXcEPjgqgMEqyLqMuoKCyXc3EVZCWt1CyvoKvxqaC2hU3ELvI0GGOPlxcb
8CZR0qvuaE38VeShCdzg6PAHPBR4kKARdcEQloRQczgYndojCShpzR1hTZgdOOR2N6lMpcLgNy2P
bBSr38sMG3wbtTJ7hkVXfNdllb+s8pcTPBWF9zhwGv/I3OmVa4THjE1OAFsJSoBy2ywm/4XgpNF4
BnUDZBqGHJB6m1x3lFYZOzcyglJMOGwTiSVnnHS7upno9aWs1pdKGO4720LHRIBkredImtRn81nu
xSi87Ng9onlsUGYmdvUpajtUzoQ1LphyjMCbHzqSFMobiMb2l8LodXJDq4RvJkdjH29nW+AnRlaw
utawGZZXxMoI6xrH9nKToN1Ld0Ez97dDLQzUF/AcJXwZaC4vqseSgQur6LdYfprfse2XePeID8a5
RWG4VlH6varjhnG6xDYcjRyCNDZWy05uaqjt2M/iDsW0UbrlJwS4Xn9rNH5jUf0bmj8+iqqXBoE5
3IUoWj6PvcxQP9MFwf7sUqcMy6AlbnHpndnfxn5szs8NCsDvxlxl1SHLEPUwokReAI5R5qWszHdO
rSjeUAfQQGWuxRH4em5PKtUsHKghWoLO6bsb6vIsWnnTmmEvhXcdmO2y7XL6DvritVdNx9lUj94u
sCVHVboo50HlLTr7Xiveu2EYKBkrF0DCNgEuCQujI0J7hxTGMn+X/SQPbGMJUEABTLJV6jbzJ4Me
hYC4mXnxgUIjGLTZq8RwYel7Z6klnJEdK/1LjgnncRkmTM6ZOJjgqFteW7N0zW/8nVheqDIOyDkA
CH28AL53QU6nhLIgT6Efd7aFQpqZwgFInGONaLzD4E1pHHR7ERvUk6aRan+UlJey6t/Zt4G4sBCo
WCzI6MhefwRi7iPfa0yfIqK4xhGKyNzr+j0BmEw5alYhTgsbkdMlcczb61I38yyP1jo3S/Hk9XU5
V0lXZRNhJGaLm9/2FvOKAqsb1iT/XDVwZ3YdHYZrPU7WhY3G22+PS1Mkpt0ppUDD+frSrtsnHXzM
6ugU9VwzCEvOdPXYztnu4xe6Tl6vP/L1QuTAcJ98QudNcFePvY56DpmOr3ckE0KZMwO257V3TRoB
OClpdv6uAtp64dN99+H+c+GzkW0pDHJu6/vI/NHPp2GATgDF9dVgWx5KY9+4myN2Vxeu+navSCl4
jV5EbGx57vmZ2ljGsjNVVpymeJLXsJHBz5tmsffMyXj4+Mm+HSrkNRMxSq2NnrV1rvxxRmEnqYCb
nulyvKbNOu+kcIxbR/tRiOrSuVDof+/WJNRFYj7ZQnrm2dAsPYR7DgHduAej9phJgJFT1kwhQLNL
Sa3v3hqxotQECDH2z0NhA9+gLAj7/NgLycyfePU00+5NPHrPZQteMheyqC4MibclIpQmCHzWLFMq
AlZwdoNJ0cCdaIb5iFhCneQ427uqEPl+NpZgD73bvzXw6IKDyUFK2Mn0XNqV8/zxS/3//AhmQD4h
yUe0voV/ytlmBYZpUOV8bGRtfHLswWeh1tgTZgvKHFa+uGZdNCqOOn0sfLxqbJr+L7+B/GjBzIAc
11xfzz+/oQnYUc9+mZ5kP5XxixwwDu7deqnhlydJJkJnsRriJSdlPc6cwco9OMAFw1pTkeF94ces
4/TVBMJbQXzFEr2KwlkSXv8YIOhKZwG5GFlbQhKeySMITAApA5nBY1tS+O7jR9QTJBwt/q52yA+W
2CU//hXWm/ly/RXSZAlcK1X0O17/Cqivo1tPbXS0u7L9zhEsX8NwOvk5Ty0MwcJVoP10EZGE4fSu
aW6GyK+Ip+gn+JvdrKrfRV/CYshzcd/kQ/o11a3zVQosl9ozwfDoxFj6MHLTIdubIkvrVQ7euz8N
jecx9Jo62UF2MC6M6Xdv638ern32pl1A8PFYdfaxcNPutCYvrSTvCfrgx8/vvetw15ZJRclk1Tkb
WvlAFEk75+o4556NRXwJ7HxfEMHlX4h0e7Pc0JEh+px/PLQ8wfmn20aTC6W3z0453F/3lHpiCV07
newwNxMXNhoqPo5Y/TLh+ddqHvc9xKA/H9/tm5kSteBqYghoPhB9dq7YluzkqgRYGWgonT0tVk4E
l2iMB4kP5dJYfefJejQ+fU96PFnfWZfBf8aqbWUkWKEApayUWU822b4heXnfRjrL393SqsMhzdsD
X1K8zSSns7RTv3Vgr130wf6SCLe76gPrkvbt7RMwX/2qs+Ei8YD1llpc4jOA2oK0drcqGGi1533w
5eOH/XYLjyxSoEMF08HQZD18/QQq3cfumETGcQk670B80X0zyP7On+0pdKx0xu6PLge5zmdhKrHx
B5vjKTbn3ce/42y/sfpJ6H+zp/Lp0dGKPNtR6YXuSZ4P5rEG21ruEaVI5wqI2hhtCxsCVmy2dr4F
8e3mG2O0nF8fX/68ucD1waVSEuSQC8mAI8Xrx2B4DhUOz1mOTM2YQC0deHdYpfrnmRahd7TsrD61
vaugOjWee7DQV0UQSJPahrTbSH8zqqS6lHD8twX97+xNe0GSByeYvwO2Duf7edqFha1yMzhWjpUT
vybF8+jhk/W62KPVFBhbby7qvTe1+mFZrXBsB1NaDGl8wJ5aXfPvJU/KOtec/6T1OZE7FKCPOG/d
tokHd1WlwVG2yntxORrel1GV72AK9YeiTNrdMFkXH8TZMkaPmEK6HVAppb+x1i5fv558wBbWlvmC
GAT+WEj01/QnHiWPQhChzgoim/TY2XP2QIUC46wpdP1duV097BMgUpd6UefTBmpARh76dJOSJkX+
swFqwUuaXY/UrAhA/k8X9TKEa7PZf/xRnj3q9aZpBXvsqWgyuWxnXt90srCcST/3joOc7ZPnmD02
04JuksqLkzcJDzNwd2Ecnq0AqBHstTdO11cIxsT5fgEfaLdAIEa51IOR3pgCtyr3SW7fd9ucHo0h
OKbwjXpX1z8/vlvv7KFyaaIuqSNYNLFoY/3VY/4zF8NzHAD7qumIYANmyFin6R05AlWdgIEjnjy0
O5T5ENjH8rorlJJ3gy+gv+XayedPJFAOdxJFVveEiLFMtmmpnZcmJgr1m+tNaCpH5Tewm+QY/Wyd
NsofUmte3ENsNSn1WSkqrDnxBCvKn4nB6jNii8ELuCqFXZUl485qMveh7OoWsB9Ji0FYaLfFdzMD
69kmST4Cx0OKPIU0zstmtYeRm5hBSfgvUXNdXNlFnbyo2nKizciJ8Q+eDuO5yolZI7XgoIr23vHn
x7o2yMXqxJAfjMKDazEOmHDvM5CZsIFj6srHtGic71GVpU8ERuCzbV2R1XupUnO8x7FRq33KtGId
FfjXfGcHbfSZw6WrDr7VAYMOKqoHTx+/vDefqocWmRFBoYNyEMqB15/q0BJpEnTLdHRFZ38hJY+c
9R64bZainer9CQFLA5/644s61uu5aFUaU/hjeqS/Ty/jXMHTTtk6atyF49RiByERUhURhRpmD9yd
hf0ustcqgfWsoz/l4FKkc6RBkHo9p9kz4LpA0RZQvREOrlIAsyZeHzDSoPYBQUbymz258nfLOaWl
dipQLBo1Uc7A/ke/29BJoKQJJIXcwwEGQLYdnFzAV07jEeZLHeEwBtBkblS9xBqODACAjfBbRb15
MKJoh92BUivWHdBTy2jBKgRfqDfaQN688aHC3elBDy226jJ4pshGIZ9CMJihj5/iukn9Z0JHMsFr
Y0A5bAKctcn/+tVJ2xw8n7iSI8KXAUogQtRsW9mczmFMigB5h6RoH3580bPl3mc6N5k4qVUxm3Me
PpvPEf/lgwNjBBx2NP5Aaev9IpEMWD44YXPjizFZ2O3o4LuF8frSd/NmewUWmKXEJHaMkjbq7td3
3ACntAfeAfOq+ZzMoAZolhvJXnVTf2Ev+1d78s/T9YmZp79l8hXS6FsV8q+vpd2i6AdC3FCpymJn
BP5dkxWoFDo6mf0DVZYt0MqDY+cvA6CpbjT3RlHcqtIHGTpsRyYR0vvErzXIKZ9KMPvTAX7ttp2K
Z8OBCgctJPb6T/QJL/Xt3r4i3DrUdFkNPBaCc1WNEbejFSSTf2zKRT02c8Xh3bOiCJ6uueY6lpBI
xJZUKOcuGhMYSx9/IWczCl8I1kH2Yew0cKUyr7x+cEVXxxHJSe7R7WGQEBnCIm5R57/XZV7tOEyK
z7No85ePr3q2/P29qi+w6wTsRE37vErDUZNW8Ghiax7TL4lJLt5IptfGrQqwnbptPnd9hT+95iyf
Yk+7MCrebsapoFiUizmAoQULrLNptGtqWSqcDgdbWzPeRTs4tHMKz9FZ/ANpSdnGh5v9ZKW0qyoO
cvueRs6+rtEAXZgVzh8/BdV1Y0ODGDHsqpp7/fidecniwsHkOPepgBbn+7tu+jmUk7dseqOfTh64
ikvbqjcDk4uuXjgpJDUkygWvL0oPsm5AgstDZdHUqKpO3E9Rbh/j1skv7K3eVorWa/GQ11mPB+6f
TQIpKKm6j2R50sw2n9RgdBw3Sn9r9V2xt3qlQ7fEEZEOQBUmpBefGJ+XhGvnQ2x9yHzZ6JkoC6J+
PfsNMUt9wrZfH8jlSCF/wwuBlCXIMaJOl6V7mLU2Au3Fjgc01HFzYYi9+wz+uX6w7sj+2XHFYzAI
1dflaZEdcYm13yuiNgzyB0pyMjloeZDLAHUVoK4HOo50FoUzkCU7NOKCGPe9Vw8MYWV480g4ir3+
KfYyNQaA2vxEVm95nVfIokMCCMaDhqN0qVbJbp2/7t9p+e+TR7pkBeiu16rl68tN1pJipbazk25F
vXPTmBanVRQh2K7+6M/mFBp+tlxhchh/Q1ceOQCP37J5cj93JH4c6ex3G8YoyYEoaDduLoJHK1NA
XXqvIpnI9nLrWKPMv+sw0N3nKF62tekVt2RzpE+FmRRPJS6gA2xTTdpgDtvVqbqfWYE5QffzfA3z
NYD5g1Oyh3KU5QUQyDG6WyXrYeqok8OWNGS9crZLmtH8NQdceABUNpQOnG8LfcpQdJ0Vdr1hwvGD
EzMNc4RnjL08FDYD6FnbflJqSsl0s2n0b3D/d7ux9Gngxx2mC98vm+eaoxhtxbEF1JRQirNiy/iN
z4FgCHcYt9OaBEerQNNjdKGIzY1/ihSsw7j2icXTDuBxaetnNCfVcwRubz0qZYBS/HE+wdFkfDXJ
msngkhwUmlllhu5I4z7Vrnzyx97mIfda3CVG3jzrVaA8oYyh35ya22nR8zGOqhavWCZu1dyuQXwx
OKamUyBMF7kczLpo6B1Ef2IZjbfzYohDOfvRo93Kds9MTMxTyWT06I/28kfD0YUaZ1m3Tk4sbwfC
dNka1CX0xohrM8y88ongwPZJmVZyDa9r+jFrRWShW6ovOhv0z2Sx05NFx35f232B9Z1PI/JywDgJ
7SEvhfxS5BnceaKyQ9MsB/IvalJMgR9ufZ1GQMqqaLxyytS8IsgSc05JxNED3WBCueysoBXv+Cgu
8vjGN9xpL8ZKXrmDA7Mh7dUjCZ/5tmj7MUxd50+M/OnIecg9Rh7qJhby6Aph4I2hizIk4dU+OlCD
WN7MnqjjufrZdH1HcBHPvK3BjfoO4DokjAUV+wFn0lrjaFKQ9TZ+FQQLJH0FiA7zDTaV5gAp8bey
cfeLEgzLaoTdpHNE27zSzUM8jO1xHA35CyGVo1YTSam2bqM0mElnfDZ0NkMYNIJPhR8QaiFq39vF
Qra7PIn0p6Z22pPXNxNb43a8g8wa7cTQ/ZjNLjjUHaV0E43ykWQDhC0yrfYLqdZ05iYzJPJPs6Ev
q3uG4XglezbcHStPSHpsRv1bVveFXU73hMZ73PKCAYoRUd+Pk0v3ghiAfU+OC0jDCApNGsFnDXoX
3JSFxrSOoQymhjn8Hsc22+axXr4YUIK29qz6UBSQguoesXktkh+97H8RnqyuvKSIwVg204OFMG3v
i2h5wPRl3kFj/5Vk8gtgw+pqjpP0iCdO7VUs1vbABDdS5uRnGWwHTgSdER+IrhHon0nq3kjgrN1E
Pvm81bDzTP29cav+MS4kbkMY+cY2d9uc6MwhuXYiAO8G8eq7ujVWBDowKMyhKFQEM12i7HBZ4mfO
Cc6unNYYoLj5kZrcB7a+cdr3CFvCOkvUTRYFJI11FeF8g0XeIKzXZ1DmxBUpMHWDYWfhlM3RXZBl
+qcHQ28i71waO2Mc+nDEeLdPs6oi7SIyyPZNSBAlWx44VJc+TIZ2qw0iUJxUcW/jSOkljsH+N5zJ
7MEp4a6iW1Rh1dhfOxmJnwtRaferY3FjG6a49mTWAW/N/Bdfk4sTxMWLduCbZURJhUgYcfMUudoj
jHRvvYauuBXbAySDpbzSQUpKlD2S3evwlxgk4ZLfEU+PmAeye5wS+VXc4tK0+lUUVuWj3PXEYJxG
fxKPCuzVqSJai1xBgGxBXdt7Mj/iLV0OthNuCoOUKIpwzlr64TGaGdG3n8grjzadii0ym5NHN5gs
jFqGMTxWBJyRgC7r/2Q22o/K5+u0dNoQcR6BLgF2uCNd3IZqvA5DhJr+dyKT1DZOVHATD8sQYk2r
bkaEGIdKaGwM8CP2yEPFzq3ge1V9JDb4bJO9Tzzl1ksWC2Rspk5lmnR7NQVsAzQ0JqJcU2JDgR33
S+RcT4qPxFmS/gQLkMiRIHJ2GO2WvaHBvprY1w5lYdmHRuFIxVFhngoCnm9nuybTS6CxCCJm7m49
7ixjvxzsUmj+OP1kOK/viM+K8OIej2BXbWjvy68UrPBkFjTaG1FDgS4K88nRBLc6dbPWAuf+sVKS
RlFrg5eXZXbwSLbeZkAqnlBhN9gbs3ybQoTFipzpmmRSWPPbhqn6YA9y2NJPGfetods9tQMfamFN
1CkoQiNcMlOvGacr4SjwIA5jzyxq1yTcwHPCkqC1cG7JkTNcnlufZBb05YVmq2/9cZF0bqvEyXiA
NY5hkSfD3p+H7nnMMm8D9sHbBq5R7VuUFTS5uiAca8f8NotZvHQjvMUq1U+CuIIb4eZf+MQJo4rz
4bMkSPBoNmz8PbbjD52o6l3kLMU+IFl+27aAspN0kp84/Zo3Kaf5R6cU/ctQofScq3Q+UU8hvamB
tXMY3bjBHukBlAbDmV6BjiajwohyllZmKlX3/qn27OqlmDLrhZ3bihSzIypUiPOSh9TXyVd0zuDk
FbhirVnRc6y/YYcEZ6fTvCP6KHB7gJNTdAcYFbxiYWO5scASSDES1ZW0tyQAO7uh4euRLLLX01KN
oNJnAs+8rmVi5damagIbiP38UEZ65A3FU7xp0dVey2Gx/nMmAlvRN1UgM9uJJm/lfIWys1qpzGSf
KS+5cmYVHUlsQ5EXYEnPmlxDjZ/I3dgokOX9pk0CGXq9ReZY6o8Hss26TwFW82c2h+LByIAhEzIO
y1HFcISCOACNCAWKVV7tgsIQBLRgnMpAfx4H0rKPSW/qhyDBSsqoHMMJoRRza0sP3u8t1FsCBaNh
y72bZMahz6MZVlAPFt1CQYXP1Q2hQK/E9VV8CjHnXpMQeWuUNMK0DUR17Nc8gYn6vge5ZGM6S3ks
Uw86gy0x9BKwcPCUmR2z1SAvLYKyKhF3BBAW1k0+WNPXJib5CyV4ecz9BPLuxPanGT3Y2TBv8Pu6
/LQgqh9aVO47KVV7hYydduDA1s62lq8Dnv6NwTkOoexUe7tsRqUWZ+Vw7xBWtfMt09jlPQ5fbxFB
6E2pdVraxgslcWC7bsmLK+YAMhkaZ9nGLWhUo7MAhZqFg3yvzMOurRvMxbDVi3bCBWg7LCvQHrft
SDKdVeHcItgrhuBZj8/k4YprlLyQQCsgtPhzG32fFVW/J5+dGF1Z4aZzyXzblOjMISHk9gvS6+Qq
oxqDmxm3+TUwmHGvqyUBhkEdcVGq3OZTCvU9Qj/lFs6yG2tXh7Ww+0eL7cZtXljyQTc6uWYiIBGK
MUByE3byvkXoSSpz/IOEDzZYVuFEt6Th+Gyr+meIoBlZX0EZXXX1shDMx8myaQr3UALsPCVYr45+
kxI5OFuSQKYOdyYIRIToVGKsz6P0Y4y03nilZ9nckKXAx+HP8qSopuwqk5IRxHl1iJHTZjtZJ/HX
xqhSRpPpXiUDp/ZsqOwbYQ7uJpkqc1dg5dgrz202Jpw1tkCKUx8R6iXzUxZd8Vjm27SznHtX4YL0
Y59FfunNXWBWwTcm1GgJg8nst63l1UddW92ua6LiMMs4J41jKXcCJjRIZDYdCdSVK6PMvANRWfLR
QPyyYQe27EpEA8+5tZ4d4oJvUCXdTYv28NrVE/MW9Qh5TOax3Tauh8UlShZmOR4jMMhKM6R79VlY
nOm3TjBMh9bvenrYAx6IkVa11+XGQdpd8aM2tA7hBLhXFNiL24WzNdVgwrwH2tEY+8gix3HgPU30
RE8aGekeimS6z5tmOgxR9UX1JnnzToc4aYURzaRo7N3YjK7yJcvYkyE+RETd/yHJCQ2M62Y7b0zM
J8MBs8sSdW9ASTjAAFY/PMLrAB3Ozp7AMpJGl6hiWuuAPywgMA9z240bTgy/6zLwrqQasPDHpIGU
tZfsNFNG6BuMMluPww891WiJ15ksGOrlMwu09Rk71kjQGit8MSr9QM6ZcZ/4Tpcgc+Y0SIP7YVio
k3vwQ688yi63BmFRz/HokbWDcJl5qERD0UTZ1aS9hnhfLAK6HuzdnAOK9Lz6vq3qoQ7rPkuOJSFw
D7AkxC7NLYX7XsktYHCOjVE8XjdZ04Si56xY21X1i+NTsF1onT51goCbZIT5ljou8uJUl7sgM50r
Db12pUDjJ6oq8yXPW2c5+FUAEjMZoXwH5Ma5KMwvNL/OSuEUo6nHrIpS/DSSputZsbZUcxe7Ii1P
hRWro4micNsGtC0qKiPHKPbEhQLMe0UPitAUWDkQ2QD4XlchArtry3Yx/YNhDf5dXUUQ86HxbAVz
zX8fFzbfLTVRUYRiSHENecXrS1lRPrNYZMkpimxYIj6opRFq6T4uPH+T5xwulzEujo1f1v+Xh/o/
Vz7vYiK5Fmk6Bj5pcqM+GG0AfdcbrD3B6dZeS5n9/PhO332J/1xvfej/FLW6NMAC5VfmocDNC6++
gLDKFzfVHO2w/Jp5Es//h/foIlhk0V6f8Bt3JF2ShEyY+tCZTnoYxNpnLKcZRJIwLtQt3/tkXJrg
iHTowNAsfX13SMFLPdH0O6iqgNrqDABBt8zx9Yutq/nCo1yrYG+qZEAJWDcQbmHJen2xgCWoWbzS
O5RkNj1PlHY6PFftQjo0wZYMJHdvpWxiNh+/wbXs+OayYEWpgNvomP31W/7nDeLu8Xuap+aBuPsc
Qtg8D+MpkcTG/W/1WxAhEQ8jWbRNhJLnptraHkU0FKo4ObZu8O6wffhvIGbv6eP7OReXMK9wHQ+V
DaY2ytrnCmlyv4wy8tDYkOqYnaSUeZj35l2b1xLar9c+enGQ/yDViAN2IfM7g+jfzyOz45Xhd/KC
8PXtF4QiFLnT6oSnPXUOg4N6QOFSgab0WLO/1mxhkq/kwEkCSP1IPH586+9djAuZNMFQ9mCYfv0q
cSGaAz24/FhnQFY2jp4qg1M1vvsD6JvRvNBAeTv2Xz/osy9Ht3Xfj3E3HYPZ9XdDYBuHTlvlfkmI
Wc5YEl8+vr13KuiIEWiSSW6SSvo5wyEVnTMtHsHz0tfiSDq1u+HoNu8ETPpwSfLsFomFCnsOvqTU
+QQy1OzEPv4Rb4cLmqkVd0zTCs3cuRjF6DloFzC3TvWc628LahyS/iaXpf/j67z3Lmnys+laUV/u
ec827TzDgb+9HON0YOEY1kToDCGY6Cpx4T2+dynCrdDwmkiNMIO+/mwaDi049UD2lVrUx2QyfsH8
zp/jhhji//1NQd9w0Uoj/0LO8/pKfq57E8LCfJxmq/M/DyJdpltlx9mvpi/Hbx9f7O0iTHcPVbuD
WRfH1BtxDWiCyG5t85iMRb8zLeVvR9+ztoUL6kjUZMWatUPaZ2AZh4+v7L8zMphRabVz6Edo81dK
8c+cym57THD5wlaCK5IfgcUudJZa0K9b4lKsZ4Hg4NfQ4RveWNbkf/IAF6ltmU1k8KbK6f+Qs9mg
f2Sq8/Zd4NddOOEyg8Yfy5KAtAg6O+F33n80c51vE2UgKKXKngP4Zk30X1F0Bmz4aJIC4e8Cb5b0
B9XuokrB+DeA9T9a/TTfGd3c/OySLv5lNVP0u3WnmGIv7UeIZIoMBPhUDaoLemomAVKL/OVH5fI1
IjRpBeYUDUiKhoiaA37CapfTln8EQDFTDQwUuKrOKv/43dhA/spmJ9tmw2wlYT8P1HTjYphlCNGo
uCOUxSoOXGL4Tog4oVgooilNmsVD1qqvTlvJPQEHyx1w5E58o9roPUU2zlPKauBcKCMH3Seq/fQG
FnxHPJymae67IF6oJA+4b4mudQgQjrraPbYlm5Kw9tu5wRU2sFH++MW/N0PRTbPgX7KrpZO/DrV/
XrzKO9tuIFMd2O31cKb86ioIEmYIRdyLjoQ6poOFVxKq0q4IfB5Ktsjdxz/ineG8ooDZlNFtQyN0
9hvSBY00ru/kRPhctu10VQHqBqs0bOY2yy5omN/50qlOIx8ABYwk6ByQSOk+1gWnpmOlK7x90Dlg
UqSEjtNCcYm7MvtP//u7Y1dN215ayGfODf9aUN/BYWIckSurX90EkoUIXMd4NpoaOv3HF3vn7lYA
usnFkLB45yK5IGucCl52dhpG31hO7MNcgcvQcx7sPMK5nwElu6QEeeearG1/vfnsG5j5X39CgdTO
airsj/G05Eez8d3PUzmQej7/P87OazdupNvCT1QAc7jt3C2pFWxLtm4IW/awmIo5Pv3/UefGogQ1
fDCYq8GIzWKFXWuvAK14O2iBdsHk8sMH8g0p/WjQwkt++0AjKaOyR0971IVF8EZuvCR9I76LSas3
SreC3edj+sEBSvOd2QnjRGOHXtyN0PiGdOPQSKQWd9Z10DR1tnMMuID7f30QlA7mCT7kEHoxJHj7
Xh0iclu1KoBSk0/fgXBcolKmUi8uTJJXt/+3FTRsZt1jCD3afN5SGlfgTZFDO5p1VF2Wb8qpdCVZ
jpBHNlGcACumfUaXvW6S6kjBqz/XrkGOXFN345XZW8D69OyKWxllpAh2cdG0W9evEiLokWPfDqSe
/8HRu85IOPYtzJqwRvoF2GScEz0F0Qni1j3itdDLldB4yAYrqPxaZg6a8ohC+MIe95H/KLY/ngOB
QDccyDtvxxWbH6MgiVWeShIrzjhYGAfDIITQz30TqpCRXrW4Fj7J0g+2qV2S72J7xC63vfOjAgzH
Vy5PvmWVQeSdyp1DX+Qgm9HQ7mJYpVuHEpIcME7IlynzCUSPZVnuWi8N/3kj4coE+Xzm3eLkYczL
4q+tWrgTJMkSUZ9VFN0mlXG2ThFOHzojusg0Mvhb72YILTTkerBt3hm0T5ZMA7zkxYEF2GQgnsLr
r6Mk9iso/gRjhvY1IUvoK1eIadioKe8nA52/36iZfFbGK35sc8ndFtLLB78LUwrTxJYWMGZJ+yLH
pMQlo/WOZqGdwPZ/5wk6iwGte1Z/rdr4KtGHb8EwPoa+cVSiJlVUpkdVlIpwFu9XGWKxQz4uzXHp
2/Rs61cHA/0Bbxp/b/UaUz8j8KyucTdzOj/YtHF/brWAkx6EoFWjOtZSCGKDpq0/WYIsL6ykNlCT
CH+zTY28Gn8d1Sq/bc2JiU1MotG3V+lgPJAIuDez+jR2o2SB5YTJk1uKrxlK5OzBbzOql1ocWr1K
NjKMqytl5Bnmygj2KSnuwcHUCseIIxeK+5pY0X4qne2AXvd5srx8Ew7OqTc6otezBpKG52zFWIT7
nhi1qrcoT3DQznGgGDw6upm4hm96NtsvTePt4avSSQBZh0uYnmultgo/oFYrN1bdHBtCCaLZBpNz
+Y9fFn+KurkNGvPKIep1pdn03sCVyV3dh574bU01eD2+kaWvyq2TByehkpOfJfJbRplDEh9qnfZb
lyuCeATRiX7xCCyZrJzUP/k0JHR8Yic/BegdiIXRCjqjnv4HWOFYxPHOc+RxIqmXn6t9sb3xAZj4
C1vUFmhlTW907Qmbfl6FQ1t6B6S49aQ46qU0IWml3+qJUgy0mqE7l9p4k9a0aq10q3kSi17zi6zw
ybcBbs3YujEVaU0o5J2VJY2vYa1dtb06TWn2XbghcfTqT5aqK1WBdjc4hehVT2YaDmZpeqdiLUEo
NOxxZkz5qckLprK7tI3vMimu63y6IRDsp2vFTwnJQmZQfRdNsAGBvrEG90vhqHatSfkrksBghP3g
OA8ltHF+91p7hS3FT6TheApn4SHJp7vMJN7Pb5qtFognGDfQmp1q21jhY4/Km1Dc8t5xgrtKmD/d
jhI21G5Kyl9ie8HIY0vk6yjRobjimJl2pFe6+bl3KEW9mKSgbpiTsTauMu7zMiX0mng6+PT7LhGP
EpS1GtNHI29PTg/7j1o8o3AlN+tc93QrPHejkeuQpPZXT3g3lSQy0ILCPrfycLSDxNztfDKvqE73
nWvcCBEBIKXDtov63dg4NDCJWvfwmJDqe0m6SSx8MgzLDa2Y7ahPu2mShzir780UY9HWv2GWHFQY
7RvHOBFHvpk8dcPf+ELfy15xRyeYtzuL3Hwhi+ibLtptR7Cy5gerVg63Jc6sGvmOLVZh2tB+H7h/
REoeJeVvVuSEVmZXQSt+cbIqmDfkiBbtjc40IhDa5q6ADkC0p94ZzhiSnorWhN1iMC9E9wytaQc+
tWnM+m5MYfP4BJv2xaF3zDW46vfKqr4SBXxNDg+Javi/rszBwf3EZ6G44sTt5L6m3SMYFriw+wQn
c7ra39JcnF2hHjsvfeBiCr7g79oOurhM7XuyNjdjqG3M3L5yYxteToE0DaJRaQxfkmK4iqb0YEX2
N6dw9nU5fw7H24qg2Q+NcSYl99sUxHdN0e/jAHXkQDfazR/oMG/gOrygYyA+2wh+EI+21srykKvp
SViyX8NeIJk8tzDBDeBJRFEwbn12C2+IzqFPrmiZGxvEZv3WiGkw5Kb9RYqeiFIuiGmqiy3WF8Y6
rtpbXIt/ZE72a2idm6FofzY5MJ8VYydTN+ROmhYu/ebBi2yaX95Wt7NtliSHytO2Hq8o3W6XmsVD
5bQ9/vkeoWi9/KLc+LapuM8O3UZU4c724DXSjCo0778wpEWT1ftupjK3MbzytvBBhCv72ojDl65Q
xtrpOrL+ujXiBZoynbNNswkbFq89kqR6zoiNcpT/rbGJ1PONe779danqfo3InEKpwBIoJdvWH6fn
orPuMwsDUSsz7/rIcFdDKp6jqdwQ8gJJaKq39CNhB1lsgEZ0GENPA4GEcBzVW8+VR72xbnqXbjw5
fnHVX6dBudHt8VSE8oYWDn7TRXqV6hWkTDc/mh7OKnkc9StfyIOF8XftjjF9MknYYHrkK27g6RzL
aTw6jBW51fadhusLhC0Ch/10OBmxcSLF+MqU9dfE8r7DNz3ajWzWduhcdz1kEzPcOXm/t+Ns27r9
JqvDjSz6o9UYmzLI7029YphJuIu9kwPJBP4usRrVM5/3SyIhG6nEO+YWU5hs3d4SJ2706QYvlSs1
xc9GZhirKXV/BbJDn5xq/3kive707I89pUSEVd1upHL0onHV2933oW+jVQ21SePOBSqVXY8J2/mo
Bztt6o5d1Z+Dwr5NyvGKux/yvLJP10k7/dY9Enpb25YQpWjX+7gZNOmWcHs0I419UmNMenqYn0g2
WKWB8wtt3U8Qf4iJtJoNyiN/lAeHQ6PlkrKyJhOf6baH+NlN2q7Wxq9x7u2H0b9u4+wRijbZ6unX
YixnN6h0LdoIDlZScIp31U1q9Y+Bh9Fn1LWH2lX/aWnLbpPbBAaCTG/61L0LRkQ9s/tnVxZM8/o6
1P4z55BGpf0yiwYigCC3zamvshZOmmUdmiHfjK691Ql42xDkToC08CHxJhx20/AMe4fRz8c7MCcw
kxTmXZJtI31WvlpWR7kjf0jT/JaMckdzcKuKTqOKAT+Y9O3gEAvczzSfKXuYRH1vuP0Je4UvZUqY
aOd4B7xb7wwwzxW+WpvRE2fDKzglrT8NdD6VqbvRygnjHbdN6fwH/+dq7J2NXSd3fecc8XdcYZi3
TcJvdWffemkEjQ9JjI0TVjwRZ+oKDwil3RlBtXeV9RD5/a7I/bNHvMDAmhGN+RVONekalrzJsgYb
Wdi3enBbivEpHmCIBsk+SZPHqrTvhzS+I6R6F7sjs7C9xRgbJoz7w0+aA7a0+9rVz/gaIoV1buyq
PQMf7doJfSVJd/91afU76buvVTZeY411W7SQRTPdWhODfc5xD3ZrVER9hGmvEXyF1niXNdjyJwjW
02KTEcDZzeHmvSCkeppYfOSBygGq7ngufY0yiNS+mPPc/xEZxTOWkTe57TyEfnoLOeK7FuF0Sbj8
vVcnYF0Shm2z19oed5sqxGK9f0I1Na4BEb61ucdx5D9VzYgvPV5TQSRhM1VBC5NFfZla81bq7feo
NHZ+EMAYbtlfcafaY72sVnozrr0Gtb6ycBYN1daHhDhHFzic0HR9r5yY9060fWdo5WrQ4DDBnLeK
vFkVcDjiQuxArteZo/024vE/z5iYBTJ98P0G/k4jiYvmEmHo+YC7rffH8gwKh3yXhPrZaqeT1wdH
WnlXJL2xCYvqxY8jYz342q0wwlPYBbtwlE95w0dBzQ7tqfyva5KvUDIOLuCqyof1mGKxn+HVslJG
98UaijNy3SP5eI9KF6cmrvcZ33euZUNdMm3d6RAn5fbzi/974BfLDzpNdHrRdNrLxrJbp4Xb+ig5
Q1lHN5kViiszcmLOnkwGt1Wmd9ytQpwjgXIMwog/f/oHdypcKGY5C9j93Nl+e69MmwIfZwn9ieqj
PIFXcf8YCv82xcnrwlX8gxd986j52vnXFbaoGIKmKSAdBw0Mkb6wq55LdTQ8RWpIWGeKQoO9oXac
He1DSOOfv+oHcCfAOvw1BOJAD7SW3v6AKlJjRQZMdhTSFdUBL45ZmFeg0YR7orVip5lh2m29wSxv
C+5k7jV4rpZzDBKc+s9tYWRTGJvPIzK7Iy3u86WyuGoWuL00SRjvp1JV36HtiVNhBvkFCGv+U4vr
PNML3wTAJXykl4ZEBdd3j7CFAnEuadVI1J1Nk0fDtYFc9cEIkDd8Ps4fPw9tCn0TarmlVyekBVOK
OHCP1ijRQtIb8EfIX0H1W9OVB+2H1LtLfa53bVQw3VkO5tngdK9ub2+/bQF5Gvca5R1j6k1YTFYo
v9dhiS4hdWFmPWM6h6bBFf1vbZhvwaIuyhfVxVwgk7DQV+PIErzwjZcDMf8m2pv8i3Aa/Gkx4ZXo
w8auwSvgu7U3UvPhqzdMeFCzmqDqniSzS6qh5XLmkSgmsR/FDoq6cjn2WmUiAM6kfzSryP4Tq9bc
pziHX6N3vtCvMuY+29/T6vVRHpYj1mv7YMk2aESEqr2cZZp5BIsT2zGOjbytwniV5/jqJE4GcyRr
Rumh5JDhizIm9R8huqU8Q3LGLjUqu9qkg1Q13/xMpc2KPGUDuqJvldk2sXXrSy4L74psG++AVDK+
ZHa6fAMoPT4JPhB7LCxo0Fm9nTORqSuuAE56gintReu2STxOtdyg5nMCsKWVwW9vdv0oKK/jqopB
GOxxvLEymiZnT0Xh76Gdunvu8Jx0hWkPjzFrMNhldT+59HA8+4qKDxKxK6PnuoJjtZG5YXJjH9zU
IwrF60vev5F0GIkilKlepBgEWnW7QdvW4SQScXlZxWbeUTzUfvhL+JXQ1lASqhtsWpvgGkfS6Nik
CIvhtCGQeVYqVYeyJ7n5YIhMOzsW/ZW1HoIu7qDli7vRtDDRyDrDAckdg6De2cagn7oQVKpsY23A
8tInTB27XPO2ScwgWAdJKPcB9CfYipObZAdjzPQnMZryPvNNyOSZljCVcXOc/nHvYpJ5s+QfBw7b
IZ5u0ext7d4K6C4wn7tev8XOh2oVZdKeXKN4bWTqkivfB+sHvBNQiWYowU5LBwsqnkKrjRw+oRjF
AAA/tHtZepO1bgP75fN98t159H8riB6GRkg6TbgFNF3WqDswUvaOmVHGD5NO6mZC0bHmlpZsJezP
Hrb5EG8ss5BXBDHAcTdQfX3+K15THBbrmGORHQM5rz575r1dBZ4EJMm5YR4bg9xBcmNab+dMUfZk
xtN0X0dZ+wfOeyMOdlpGV9pUiBi/pNG8jq2huh3G0awOfTlE1yHF6X3ENgrPOzedB7+J9WdbhuFP
mUCJv2l6Xfsq1Zhlu0o5rtyrCPrb/TAmgXmsChKJN0MPZeiJiwfpXVkYpdU65IuAT1UFed8jBd0z
epPuhoZNMZ51DXr8WpdGT/ViVs9FKmkJwWkmcElpBqVbESP84V4YsSityC1vGjONb0d87CEAM/Kr
IhjluCo4ijtwIPiFp7pQlLFFZmt3bRI2D5QMdrp23G7IVjSnE+u+tki3PjHZ0b95Td1wBZ+sqoUv
W0ZnUlur38C/2G86YA3dha/10ZwhNhZ1PPj8a0Lk268VIsq0fCn8o84SOPjDHHqFNf8qlFO/Dmsd
rM/XU/wjI33XBb7YBghTLlCjPtr6yaWZA93YQmkjzZXeX5Wcqcsy4GYYHHvpoArV5rytqpAPIrJG
9F9u4G1bYWPA0loJbtkhtIYMVKNFcOM0znRXmPC3V46MK3VosFLq1mHvpt9tdpQQ/LhzgpUGIUdb
+6Pb7HvG9RJf5d3R7NpENeCkCu3IoBm8KHvVZIeVYSfhCT9we18nZD2ty36QXwi9AYeO9AyLsc8X
2rutheYN7BjqbGTMnGGL6nPsBkGPQLN2jlnk2zYNh40uYVkmtXXJQeHdo2ZtNlZq8A0ddmlt/u9/
fR8B+gzdp/aOXoICZl3aKKfWXI+G4RSquhYXJuWysGcfI6IGvwZaz1TXS6qcqqrMzIwGH4PQGMZ1
pBEDl/jejCeXqi/XKhgtbUU6g/OMsFyTh88H9sPHv5bSMII8OlZv39ZrxqJWieEfEYZjuK1ThkSZ
DOEh9/DXUzO6M1SabsMWAOTzJ8+f7O3WSdavSWOY5HFvtkB++2RtkDIIS88/Nno6HdGCyQIA3AOI
6WvpmLsawze1VqHJwfn5k/X3fWmduQJvjulrUtYvDkbiOALWpZeeoGRg5th6xo2d1wN+p1DeaZZ4
qwihyAZFBjm8WdussOL1VwP4xyq1vW5lKfsLVnsX5vhyQGwIy4T20J/UHCbF0m8ZtnapoW8Jj4Sq
nTvZe1dzxul1AktrlyStg5wE6OzzoVhO9tdnzlUCLPyZibBYymFnlTFd0PQ0+lO4h3UT3Rua/pT2
pXFBh77cNOYn4WCpM96uB1fFXHxuw5Ii8kV49M1U5htS0HEEakOcZfalrg0Uu86sVv3319NxPoIZ
anGhchazOyjTLlEibo4BIDq+DzkC56Pj2DTqSev0iwupzsvF9PqONjs2JQmch6VZj0b421S5LZEH
Wki721dtQ03g5uoO5nh71xhT8D0ZOlus3FZ37z5/1/cDPLu+cEPVyU0Bj1gURF7pjVUhdBiTwhi/
mjgxrVLDT4G5lXNrZqhtP3/eR1OH1UvCAqwgToHF2KZWSEQqGvBDqKL0yXE6AjDyzn5sPTDV/8ej
XonZ2EkwuotXG6xB5K2gmy5UB7MrLKejrqPy0xNg+88f9dHWwJmGIxqMHAMV/ttp6opunKp4iE44
ErWAthGy7h0RtGO1//cHMSWhHHmYkVEzv31QQOImDgxxdlLok342mj9kcKgSO7+wBN5PC+pAiO3z
65BDtmQl52aLJRBqtFNE2uraL22uL6kIDzFb75Vt0qa68LE+2sZQEHNY4zQ2m+stXkyP0gnJZ3CY
BoJDGgh5pAbMKmlOmrVtNbRC2ya9QGz6gKmCGSv8SxNwC4vLV6PUv05to/KTuJ2a9JjhOCW3Dfc7
HIAqs1VrSIHki+p20YldM7bdi5fkrrby5KQZe+g5Lr0aWfh3Ce2pmMaDUYt1WcXsEW6qDSdXuYF1
3cV2fzK1YHwBUbYfbYSscuUCOZc7hXNfc91EuBJsP58j77/dXKiyPYN/+CDkiz0zzbEPCdContxZ
IxtOpnaAaoRbFtkD10ZSGxee937/shwNv0jqAFLkYMy8/XSlo7cx2UPFYRwdvd7AaIdqSd6xHHeo
0JFVxVVX3sSV9DEvMDnA/3lLsfDGgYaHdme+R87j8ddHzC0CN3ruEQcgfHFugy4q16XZaj9Fkmq7
fx5bnoWLGXUe2/XSIsZCWOineCccmhFjt41qemNntLXzYk/N3kW3PlxYF+/3SwYXqjB3Y7iMPPbt
y7EMleY0WHCjDM3PetsTYmV1uTuucMXwfn3+du9T5riNzl5Hs+OrA+tnsTvXpksIC9LTQyKLYjU0
nUGcMJLQW9EUromH30AiclQGm0JpFp3sKjwnCHz9pvABHV2xNsFt78O+Sm4M3EcEvLXMsg+f/8r3
Q8KRZWIpbXP+EbH1bqsQgj1kEgeQGf0EQVLsB7stALPJIPr8Ua838b/LTQBcjsd5b3Ao71EVvB1+
gUuKwCdQHIUXTmcIftRvWRuMOvEBSjuTGD32ZD8P3iPKG/+Zjs3gEXFCstOqGfy8WiWRggPQib46
5XMc0mpyCiwIHKlNyW7ixI8eUaKb3zSClH6VKovHXdRFxrF34YCsnCCCBELcaPsrcBTOu7b0wCQ+
f8l3QC44CBUW9wk2Qxwfl+2Q+aD2JMmBpwK1wcoNWrl2CQ7hGAsfLSfBjEZUycqEmoXtEZ2xUvO7
m85Nku+ejx3QhTF/fdxyzDGcei1mISm/1uF/redK9G6lD0VyGnO0eJPlFNfDEFkAaurZ7FyO19F0
97FmP+oNLA2UdM4K7LDfDHie4gvce4+fD9D7swmRwKxBJFmAi/3SBwvjs5iECFscfb03Vnrt/AgN
hWZSk7Ru+5EemaovJVC+f6Yzs7M5g+cGirt8ZjmhHsHbyTuMgz7wBULfeYwMbFH2GrWpXMecxsa6
G/0w2X/+tq8l2Nvx59HUGNwlZqM3c1HMaGagl22FZ0ssqtZALcxUX4+a4w0rLBvMq1QmMOkg6zdY
tyMj7tdlaIQJBM6xf5YBoUo7f8yISJ+MSCHlxS8zXLGJTNYqDjP+1zBvvZhsnC6VF/Bl/bWoW/54
4FodBScOrHCD3i7YVhvVCMVUntwyra4G2gB7AmZo4CONmV2IWlDWrndWivvEmrZtsxkcTW1ygTGm
5mf4KxdOvpVl7L5IF3cAZaHAzqeqxl401yh9cn0VuclwkiHeHlWthZjOgEQ1OE9tJwQDR5+98qTF
Ni55k1/uZZj+RtQ54IbeOCsXcBn5UUxIBLs6OZGwZB0G+KTMEe9i2RbyXOLosA1Ad+8bNFk7/CfS
XSYzfjkICalPqcC0J05t0hgyXCE2own1KEjEjzEkp1hIa1wnQR5+ybTO2RvgQ7suwqEmAT7aGbaE
4whlgJ+ZO49WOIfuKELnzSIz7uKoeVQjkmyMPAm3lml6bzUwEbTGKM6xUZuHOJTuKa4rbV8GuGiq
qp42qZvLTan32dXUh9ajUain3HCrnS9RcCg5IMHAFPRAadStR6sA2kudMPpB+BCq944cQL5KCau2
VQ9GpHcxtlcaneSkIQisE+ldGffJesgq9iB6hfXacEWBI1pfXNs9RKTaxb0IFyTvp9ZNKAoyR1zV
SUa+uXChKGTS2E45GU2FZ81HZxOsjVaOB5Q+5OaNefzdDAWbShzNBlOWFplbkE7qv0LmJ7ydoA5M
vn0K0vHP5+vs/THGhQuZKjaUXIacdzT3LJsInIqDQ5JF5RPnaeqRGjX4DxaSAXlhj/9oOyHpgla3
NlOZl+U1rNbMQ1DoH+oI2HJldIFn3QzKGsxtn8/mHYQy4eyC76ZxaTuZy83FiiTHC9CPa99cIy6u
YSZrXUumNjhE2CN0a7y4kgnLsTa4RfwSuusR9tiTHdGe2oayi75qJV0X2qWW2a1oRITaFv8HnAAj
uwztfy7n5j48EcRs7Rrec/Ow/XXUFHknoURRzk1W3t1nZYBnVYv7in/oxkD+CNvAu1RBzq+7GA5w
K25WyL9sOnmL4dBVhQ2QF+LpbyqadWy/ClKbiX124b6IGYdVKUsksF1sgjJsdP551v39xkstRzuF
bVfDciBZMhPPAuL5n2oqJvrhKZfY7ecP++AoZ3znMG1Pt+fIiUU92aY5NNIcLQ6AufR2EvRE/yat
r1MIEc3vuQys9VaZrMup1e2Na4fQ73yo9sgYsYWB3NuGOJsM9qXr5nyGvfkK1I/oM0GlEDpR6S5+
mDYiZOxTrpv2ZNXFFuwe8nNgGmF64XIyXz6WD6KediiswKGdpaCxr4Sv/NDGvaKTWIPqiWFhbQOl
Cdwq3ErkbBfG/N22wptx9QPVBYcAHV6c3hW5Jg1WUvKU4U22tgKHo1o4Yltjb3BhaX8wiKgX6Ylw
6ULw8Sp7+Wv1dJVftCRfV8fO7UMc5IzIqTg6VH1JQPPBIM48CrYRTgpuKIt3skhtm7LaMw42HIIV
yjr7yepKZ6/sqL1vJ+tS7sb7ihh4hY8FKgCsOkNVb/cFU5L/rfQqhQ+q4m3RdzrCSl0eEE1z2Yjy
bO9O+YDZXoZIAFg42ggjx2xMRhCmcRf8cmEdfTAAeCTz+hQ0LKNXOelfI605duZSBvSHwlXebVvE
0dYepuAgoji/Lj3h7vKB1ljv22fTw5xSZoPA0gqxqN9DmA5t4dx4hQEzWEgmxSB+X/iBH0wF2pmz
y9asSINH+XbAapD+3C4N7VD5I2QzYPEx+ZFhoZGsO9IMgaKr2G038BorsQUCHPs1be8o3tMnaDQM
lpq+wtIjLb72re3/pOZEW3DhN84fbbEUXROja2sOU4G0sphFbl+7MYYRsM3KEF+luip15Cq5SKm2
WiRI5KsYsKxhr9n2zicsqNn73RAiXGwS0BMsShWXDbe4rkSQxhcQxA++8OwERcOd9ctFczGAvTdV
eRTX7iGNy2QPHyrdZ373VEKLXhfppF+4Q8/722IssJzHeMSkQ8aoLO61bly2UW4h7kBxnANWYWZP
eTfudaW3m8TPKXdNiR1TD23v3z/DfJkC1kDiRz9zceZWqQiUwG0NY47GYfUgP8pwaNNQm3ShblYb
G7pOH2ruXaNCo7vSRz+wN5CGA5fkVBKLKKJ98WsM7Pjxwk+bwZTlqMyXPNAkOqjEGrydxXAzh7RQ
WDrSiZATOjQYD4gBrBvuA9qRsje6xblvgpY4Qp2Je+x72t5vfn7+Mz7YwVFZwqxiLpLnuEwZwTe0
CrBHS0+1Nju72ZGvXnBNidfdAIHy82e9n3aI7AGTZ/nqrNeb18xfG4uNk1kaK5xmytGPDx7+N3vM
8914ZTSagclffCkn8v1G4WMdhck7rDibO+Oi/JmKrjfSrNWOZaoF1apuXV9tYiOgofP5m33wIA5c
Os64wHB1X0Ly0kpJzuoS7+A6BGpjIod3JFCdrbILD3r/udB0cv4R84jjBJPn7RDm8QjCKtrwKKyS
dKDZAwwTxwauhnMJFHi/alFQ0wjjgCfYDbDz7aOiwDYrPQ/CoxGn7Y2RxAqpjN95D3U0p91YSeM4
W3fMumstDRChfT6iH7woTE78wMGUYSEswXI/7wURUA1Xa5JTT0StOOcY+GFjYVB2oUqd94C/FyIu
5zR4aQ/hi0JPbOkH7Q9TSeu6wyEZW+IrSAr5vpyK6BqyXQtRDC1HA0HrwkOXa2F+6GxyAaZInAK7
8NvR1cvBa1VWB0dubQnXR66m91MKs1FJL9v0lrrQ23zNI/v7LaHTgVfPFg2wkfln8cDJ7Uc8G+ga
kZ8NC2MoXONr6Y7AppXyg2pdJHYWrdPMcL5RpSRg+X6N2/wYhtljaNpRQ6uu1MLVMKZjuKcs6usD
SpCwQEgzIEVzxjzK9044GY9pIvUrNYriJ5Q6i2OvhmC1Mjj1om1blu29P0BeWMvEUNUqTyLU8+Oc
bF2Q4HprKNd/DBrdLPFQGfVHFwqPuzVCtw/WZTKEJJa3en7piFou4PlzcDTNXVGORD7I289RdyU6
JbiXx7IZvGdcEDRIcFWD0fK/TWueAx3RwZoAqI06fXHy+kZp1q2RQKVQ5fBcQD9f4TgdAulYWv7t
82e9HuN/f/L5YTyNPDH4ROwWi3MX27xWCoktb90FmKC2fLpzPxSnSugbIev2JWr1Gj891sU3H0H6
VVYnza+Svr7aBHFfJJu0G/OXrsdsD3dQf/xjBC0WsaHW9A/CDv0HPc3KbiUdpyAc26+nh8/fYLkJ
zC8w23lwOHJAYQnw9qu42FaMNrzaY6SZ3a8Yd0O5QnTQfw8y6VQXVuRyv3t9GHs4aCQnIQ2Qtw9L
9ajvubVTsaVhl58Qi1HkBk4vDhnM1hc9cYCqSxHrHTyxor3AufroVWFUQxKcc3QoCd4+PfCQb9Ue
xF7phMlNbAMSKciBmJnb5nj+fFjfT3bMqDjsmfAURTBy3j6rjzNhYD1jHfVmwDB+IohyVYVNeWlE
33V40DtQVxD6aJOq8d7zxld6rvxBOUc30ZNp30DisVf0HoJuU2G7Oaz1EgyvCfOiwom+hH5r1CkW
p70rvg5xRH41tm2EHkZBhTwiGwx3n9WZPq0bQJ765fNRef/9+bGc3aAHQDQklb8dlZL5S665ZUO+
COp97ePmomKBRUrVi11nFe26T+1pbyRkkH3+ZP11t3+zUmn7uDRP6fZRHNH/eftsLTKSPjZboItE
C86ywdCzphmyYp/kzhcBFaO86arkd5WWNogazWBjxSW5RkHUoPHcqNE0znGiq9+xjJ0fotcn4jTD
NtbXJgbPEf7SAWZxcP3KnwTce7exZ1cescU4SK0IPuBk5Qvi7U96Vu/thIZi/Uq4jY7sMTMw8hES
a+Mc5acH/Clq7nUJ5ppdhOImpkFtHnChQsEF0zTArocWXU+m+uA0KxN54BGMvMMCNhRNfK/lhNXj
d1O5DVxovbvjbK42ZuVP5hbcrKEpBDz8pyFuiVZ36Jc/DL0dCTR3/YA8p7oEkDbwJr0eKwPnnzBO
pp3W1obYDrHFrcKu82LczIhqcpNMsG5vS2yHn6D9aX8AnvUbZdeuv65JOH7J6RObKzU09U1b4yy5
QYXbY82dBG11qLsM156RBsLXamxaeLqjV+IVDPqyL7J2ukoAyt3NZHdjfbTaODp1pjXmW7MfjFuN
aOFhHcR04td9ZVbNmu2DLwpsOv4nzMDPUUo1vIoGEPSb34Ilx2BBhaUJm13DOk/+w6AI21llxyWc
bj34MwRagRU8Sr14PSFz6TBZxllzW5dJQnRIamRPuURZqITVcB5ntaHQ6g5atrWwP7tJVDIku9z0
8nQXxoJWHw75HqkBmkq/CD3rc/S6Pv4IplejM7cthcF2Usel3FRYjdZECzZKbbyu80+aW0hckZqw
fnHMwkxXsTD775+vincVkotjEWvBpsMy99sXBYsyuyyzQWMgRumNu8lwtL+um75wt2VVpN8walEX
6EmvhJbFMnS4q8/+E/PdfdkHI0pOWsOIDYOQWa1tMD/RVspudWMVKNLVsdYlUpzrg8uWNETZHzdq
om9Q850nVGcQ3zxrCK6q6FU+qion2NFcIdbWjIvy+4AP8wVGyQeIJ/U5yC4X+dkP0l4cGmmI9txs
J3VEzZeaWyms2NhWqC2vgyJsDwFRAul+0GwMAcayniFAJ9Lzg5wyq0dnN/lqZ5giRRHs/Y+zN9uN
W8mibb+IAIM9X5nMTpmpXralF8KWtdm3QTJIfv0Z3Be4p5w2LOzzWKgqU8kmYsVac45JoPcn++n1
jkapid2MISYDfsrN6/NtbpNUZzWaOq7w+2e2zIasD7e71/rB+GTzvH5V/r0UohDuAuJp5Fe/Lp9e
zB2eU1UQwGHat8wc6vPUu6TxsWrbr04aq/+aykstzenLoJ1BS4MS/urldDw5l2RNakfqA8c6Tg4T
0h286Dn+5C7+e5uu3sm1ec+5kqMQXdarM2wxLA5Zd3p0rApNeYE9rvgMjW1heE0QAPhIbgs4E4Ta
iBwySFFVO8v1Ri9w8nFSW8LxyEAsvNHflOiW8dePQ4zSHQHtZ+HXvz9wtg9qGI96kxyn614L/KBF
QFkDYqK3I1YHpwduxKsfDyEE4v/q5OA8g/VaAJZcuWKI4X595pWFGabqhXVoJ8CrJIrkWRRGVoyb
FCi9Vh//vhr927D73+fw/10PESrRqmsBf/XER/wZeVU1/bHuemIrbCNyYFq2qnnDe+v3wSA7SQ4r
jfaA5PXY3RLd23j4/DEXbTXXHr7oqsoJ8PSbXh0zcree//4XXld16x8okEZBcuA4S9386w3JxrTr
fWV4B6mZ6Y9sKqx/CFJOt3+/ym8GhfUya0AXbz2iid+i4Zw5s5Jcs7wDLhr/scMXIDYt402suZ7b
vUV8ow96jqkkK7rsYTKN+0oiUPn7X/Hb0ebfv2I9qpGOygPRr4q1NGc22+RGcUwI9rxNI7BMwWxG
WBKmosDx0WKvsQ7RlAzmmUU4VhutLiyca41j53vDkt4P0OJJaMbzq56Wzh3JCenCiNzMmw2g7oG1
suncArlNnUdbV+SeODRSNz7pxP7hm6FARodIFhK+gevGUT06U1SrkSwbUt6Q3IJrcKK+PupJa3/y
5K7r239vGZspMup1yHDdka4iPSunQpfH1m2Xfk001b73rVF+dwg+2OCoR00gkijZxfYo2k/aOdc9
ln8v7ggf0DUx04xnf305By+PmgIvKkM2pE0Uo+WlQqkYAi7IiXchPyK1He2TZtm6NF5/sgiqqeWB
XvKyrnfkf/qNMD2qkiFxeSM7at1OJR2igcI49iYUi9rTvkeqK/fj7FJldfjK//6O/vHRsk24qAVX
icvVAjU7VRUtA4wl8Jf9dhDKwuSoT1szdrxPCoE//lDWXu4vnz8T0F9/aNH2rTn3pnachWQI0roF
+UBm3hrOPZQs4zaWlkw20kIzuUFOkhTniuHnf1dbrz12kNGMOdcK6upYOcDMmwUw4cOQNe4xsqBv
0ULXtmKpx89OTL81z1mFEMABS8OYggDvasevkkwfOMKDMLP0ez0bnbAeDe+lSVN18bPb2T75WQ6Z
lECKwfzkXf692livzQeLyQccq311bSuZ8Dt4pX9g4TA2nFuW8whp70JKSvRY96X45DX+45K7OvhW
qdEqPL26sbY2lcQP2/MhM1E9qmFH8V//LMe6DUSeWicUq8NW1jOZEYWh3VVYAT/5E/60tyDS5PhF
yhz3/Gq57UvZy0k6kMc7Wt2QYKOy3Zg0KOJPFqk/fTTosdGF0nD+XTrSdR1yBeGmN202+zt7MDMC
oJWPY5Gcqc9qqz8tSquvCWsAE2y8W79+Nor4iiG1SuaIIo02Wux7l9TQmheGqn5oQPU41oXnfrLi
f3bRq5p9UI4g02yEhzoY5nhSEBgXEEKl+aWvQFCueqH4C2vZ9Mlx6k93ljqJLRvzh4GF59cfK4WH
6MGz0psq7fV7xSn6MJvTcPHmyAv/vvL9vhwxbGHehxECYS8fyq+X8tCxTqOhFTdRtqRnH3nnTQYk
Iah8bQiK3JjDpHDtE1hG82FAGPxJcfD797leHtMt82umJNbVami6nV9KP3IOUHvdG3/pZSBVZn3V
e20+dI71GeDjD9fjbaUoog6lfXi9FtET0cZR1NrBIs/sK3zb/qKRKvlizPYIHE/7r0ZDjlLAsRky
ETrAJOj6YNUXhlM0qkpvJryoYHThl26KxcxurbT4jN77h7KXC9CtxjjMzuJce5iLbPIUzXnvMKam
5KDZO/lHF2UsAgl/Wowydh4JJYnKMr1nl/EIFJnVfiZru9rR8EheJqXKf0ye9beuN7Lqk1ft93sP
2BiJEwMiZCGoUH591fTY0gdfy91DqVRygBn5xPfcBZGfZtupNc1PPt5/faO/lhRMk2nVkRuwujyv
Jfk+U3w0xF5yM8xjuZVk7KWjLY+zmYEg66QTZOWgbVJrJJ6BrDPyu+sYstf48vcv7PdFhLLGX4fq
sA3WpvGvP9svOhVNTuYeu6F6qKYZRGHemYSVEKJzi3A+cwOhR/Hu71f9/bv+5arXHXI6b71gbkAu
MIJxYkCFsywXSOlWfCjdODrZQ58l2xRN6zONt3TniXn65AH8voqx3TOkZybI/iuul2yLjhMcx6K+
wWs8Y5DxdPkikgkaQx7pZMb9/Qf/6WqMHmgKr0cNjvm/3uZ+6FRGDLd/rJ1l2CqX3K++mdQ+jsjd
/Pul/rDJ0yz/v9e6diyn+Vw6mTlmN01ZOg/uWEa7FirslpZTsWmctNtqhYIO0E/N/B2JbxMkC/aM
v/8Vf/zBvm6zv6xdt+tmw0LrBC3irB9HLRpvynFInkgvSJ+mGSXr3y/1e0mxDgf+/0td967sVNfr
FnMLCFKzv/GiVE+YAdTlZ0OIP3wqa19/zVRDKYSB7NdnSMXaVlou85tmmL65akHNjABvn1lkorZJ
n5+krJz933/bHx/mKp5anRwmza+rZckUKUL02TKPbt8jMlGLI3/MXLe7gb2Y1AidgVAeXTKeqjPF
XBOFJDLacqu8Ms0+WSLXa10tWT6r47ourWFD12bxqWkds6SLeWw1kCM3SZISD1cumfuWjQm3o/f0
6SEDW/I9QaP//3InONmyRvO96t71cL3F49y0U5cebUv6C23TGYiolvTqq50nlXEa8iwWRMrmUbmx
CZAiRTYz7ZcxLWLt/e9P5U9vHFIbkh50bDbiXx3e/xwHHRGJiOEaRmLOPm+jSPBzxGCopu3fr/On
jwjtM1U2egJkIdcPv5i1NjK8+Ig5ngguUdIF8yp56+eJ+8nBz12rxeuHS8vaA3iPX+g3h3peMAjF
sE0KV7aQmp0moG7OBDS477PXeTsRyWpFs7nqlKRZ/EhQw3yUsZgf6t53Q8mA4a7BfkUEQm6IN6+Z
MvOw1Ga3UZarhWNcOi9tYRH6qwaCDcpkMO5Um2bvuLIXmwmJVjhBLHutOOYaAIgvjerbkKA++1KZ
C7HOHlr+JV7jCm2nT85tuXz3WvwbQZm1hMFEEgmQY3RHLe4QxrH8hPMiYaci2142vDv6FsFWd/TT
0Yg2RZZmB9GALF7sgZjmaTKT09La7T9Fbqs2jDRhMjPz9cUMsski74/Ew7OpT+Ksj0V7hLkJnzP1
/V03zyUMnjKrBPL01n3NlrG8dYvee50N+He+M3QnzWu0ryZe6XqXycS8qNZApe1q1D4mueAxMFNw
Op+swH96SSkvOMdT0LA+Xr08jN+AeTVVdpMiXDQ3bWFzjEadID+ZAV8XTqsYhM4p7VMaT2tX6Ndl
0WqicYyqJb4BHqafyjqW50GK5aEprC5ofPO/Lvc4ZFgI+RhQ2BCDcr0O2M7sd1j14puksOgVInAs
PcKAjOWz9R7r8NU3sV4KfdSab4TYzL1e8cc585gULtERInwa7aDuo9nlO7fT+5ZpypdGLIJ4jngo
ho3TYPki47kfqr2IyyphTEcxB6ETxP0GE5tXhflcQO1uJqG+zLbf/RwRhpCG4hjL86Dadoa6MPr/
6BPkO9NprSTwTaaWG7fRvRuBfuEZZLNRhdgNVBYqUggxu7n6GG80C2r0Rs2yVOFiLdElHbVRhimZ
iB9tnYizbTRYANtxgbhqLWneh77oyA1YcwWzk5BGdqEEnb6XPTCDzSwmM94OdaOxiDp4ieDcJl4S
eFJ0yG/myrnvB0fcta7PD8RrzHhQA42+8lXh31X1zLizRBn92g9LD6txzV7ZtEk2wvX1xPTKktdG
R7BgzuOiT/4SLqoVT06s6yvPJYc3VddEhv2IsTIUIauV8cxzb2F+0rW6k7VaGDF6yyQw7+rDaxo3
E5e1s67eZ05mZUfNLNkEk2xo6k2NPYK5c4JCaROXHhjPerS+5UUGNjXVeu8cpb1V7kCg1Xowcur6
QlHsWccsiVOaX3rkfWdSoj3gIaQ7L6Q9pWE1svIV/Gg9mGpwbaBPpcgPxJEkmCOMpWkhVI8Wsa/E
r5LmlNtevtMZZr86if3JzOp6W17fUr4Hzo1YYNdx468fIO6PEu8WSqCkcrJ72dOa0xqHgMkGtnFe
ELQjdXUyUrf5ZMr5p8+DoxwGX8qC3yWxmOq8GiCYfxyTUneDqOlt64aSm1mnmQ6AO//rbsgvpZzk
m1zFfNfNK1dvrL4qASMwOCLnNhZT7INumYmO1dpG+wycgqPp33PI/26KXNDSUVTA5WM6gILx11tb
EJSXCCcFGNM7asAt5jIFTU2ig3HgE4GcDAMM9j6a9lWZ6+Ggzfq3yZyM0MusBRssDkItRS3Rjm4V
1EqIgxx0uLdezuitsNKXOgMn50IC57DLgSsGDngeU6976pe2WTsO7YOsiiUOFr9sAxBslsQgZtT/
SBIe26AphvqnADvM9wd5TMZaF8SjZm6BgUSbJTeane102esaZ3OXDF1jkrIB6yFMSquUIOVTTtle
Nr5ZRRexixpVNIVzk6onCo7otqnIkAuiPo++j3RBbyXZswlrgQIvMkbES3CcEP68IzAtOc0NtNy0
XVDkjFF/yZCEHYYF2pzXe+A5ZCzrhyYlCRy2prYnZnXZIhnxMUF7xfMirY8sifJTSirDRifgiIdq
TPPJEsnyhF5DUdPViNr7VVqoRc36H6udy/Byl7akM6P2yG8zptdbiN9P2hL5hwEROcir1P0wTXTQ
Xb7077mP77Na8i4kcSTiCGSjjhpVvtWQUf60Mtv6Mleu/aAvlfkdWsx88ZbceZCu3WwLTYdyjr0Q
kJisf6IAb+AZY2o50Csdn4ZIy06g16Z3qbsjGLoU51+LPv4fq5XanW7U4rn2AUp2femdk6btn6Ko
ndACga5fiv4D+KQbDqQjAHsnntQhRXkf1bLeVK1mnytl2CdrNt3zaBBgHuAsLCHjNhBJ+3zamK7K
d6xMw8EvzfhuVHW9UcuaMpH2RThWw/QENbW5K7TSvAURoX1NrGjZSKCqAYgaUe1hdCw3shys51EX
w1ddxoocILu5X5iD7brJJO9iNFriGEo4Hv7wLFMjPlqu6mDNiKklyUBB+s/VClArs4e4Le1wmHJC
q0mtDtMRFPooh+4WyO+0Myuw8Ug2hAZlvknaTTc57V0+d2Jbd6R+5/w7IQn1knigFghW6juPCXsW
PZC8nAEUW8XR8j2aR06Zbzs3yV6E3pj3MyFb0O87DrXkqssgFnW9ggzFiUjW9As7ZPXTXvkwDqHd
YY3EaV8KEFDkk1CtzPYU5n1nx4FHxtU+iez2paoX8yV2sy6woyS/jbm99/bkitdxRLJaGvQkK30a
cWr6FQ7BNgLaGCGsWcWwoRFleItU7m8qmMDfZSkF8ih2bHyn+nHBrLPJSl8LSldCHiYNXdWX1iLf
YMowCy1S3+gKJwUQ2g1hI/e5bFDPxBqHAY35bOQp98AnQPS0T607RRo8UwBHG6eAqp7V9lMkk7dc
h/2OkRJfRLkQx93UO6SSTw1QxICgGOy4Uka4V6HQL4RzHlbcWbjMRrzxlsq7YQzHXS+Q7GxZ+fw3
KgTrNjWzXie5vh8e12Cn1zEiPONoZdJ7nN1Ke0lTW3vnED6lW6KKzGd9Fng1kCUjA0t9dm96LhCd
BSrw7Vy69nGY4KBtqtRmFJFSvrcoE1K8w7FHdlw4d10f71j2lQzH3AFb3+kOKr9aS0GYN/KSWfP3
ckZjp3d2v1sybpoWR922HPzmQmRQYiFJqifBhGdunzykhOpSV4YVnyeHMv/nMhFEQoBuq8wLEE02
BOAHk25kxyH2cYzzh9iNswWlHt/RutPvbFz0JZK5ZP5uNYjAZpIGN6xz5hj0jo/EK7YMepqydYLc
trRt1VMZBWaf6Je4QBuwrZSyKRv8fNhnU0fYA8Lkdz9phmdwfYQ4VEPxTGKW/dF3o3yos9oKBq9F
juIUzhrXUZBrMQuo72zD90lHeEbtOs2ucKPpKTVEu+uxuW2LxKtviJIc4VyY7fdOzAilU6vSwtoS
Gf4M8J1Dzwc994rc3s6Ft1uhYIfhsKrcg1LTgN4hWQIAWiQaQc9ZwWY4j2nQuioNl7LQz16clDEn
U+HeOVq0LICyh/o1Q9Z/VFolb8bO6W5sUuwCrR7zg5ehfWtao39OGmKuNxks051lEM+oRNXezGlc
fouyxuVd9if6kVjUzDt6/fKFXI1bbzDKIegcOKV8pBklm45ZkXCVwv+hKS3PN6mXwPxQhrNfESV3
iOL9tzJuTHxuiEaTnK8vy2OdMKBWa24sFZNbp7ftY5H7xcXrq/xCYr1xaGLT/Joh4/siJvzBrHtD
RNPMlCBGYn2pjwNsgC/EVS3HprbR90soMhGIhXtQO/1zh3/4iPRUO2Fgdm+Y800vsaVFh2l2vRc5
2Gzq5jjlcMK1ydvVyxAT4SABGATFpHnn0U9SSs5B29sduYZCE1bAXzAcpwpHX5ZVGVtCXD8TBW6H
JAmpnW13URgXVfY19aVGjGCd3RigOG5Q93iHSWrNTPCKlewNFWVtsJRLt4OrM6dgXOEYBWg8vV3j
537YyT69M8WsPSTSUqDq7X7+7rMQ60HBsyTziJbVtwRVNdEM5P0EoorlSxxFGAyTyQj8hcCaXcRX
e144kmyow8uDp0XRthr1C1k18VkrKuOuixJnRQDjmJ5b6vy4jngblHMsSsSO3Iw0BK/7bBZKg8Jp
OC9pOZskTrf614Qm2K6zZnlJi6J+lL2hDuTf1I894ravjaWBMazK6MLZlJV5sGCg6Um3EWWfnTtS
JHd0+hQ5JVP8GBfFe6zy5Y4C0H30ItYsOStrp6wxf7KbpvuGHGm+rD2CsMtb+ykz6mVv1b7B9pnr
P2qH5mpqps1RiaE/6GI2j9rcT3DKc3yPB7M10908V6DxOfNvBklaRE3W5AaCgXexMWsHGmxeviXl
n4Z5VkHSFh6pmXZ6aYq6es6H4h/suCSoJAorfKklWyvOK3JrHPdZnyIbPL2LDoOo+g1wTR33ZKzt
W88lLkAnEbIwiWbheNndu1VabnJdySDXq/LDN4p6O5VDg3fEsXa9SaK90fTF94jSBpg5LET0suiD
K4CzcrHrrzM2cxKHW6sMhN1NN55U8Z4mDQWekul0l0xoeVuDDaelttuOEAROZm185LmrDpxVYcM2
tr23yAE9OXon3kACmRRva+AHBMo2C/MWUZMr/HYnUJzd1PTgDpbZaXcNk6yI+A+FW2hf14BiQ4pF
583tnzXzw7OAGY6Fta1b2YajApXuyKXIsKWb0mMNxjS/KXoS60IjL9ZTd9uQ1WzW2uPoiOQ+j0um
xJzkA6XFy7ZvSrmNrNY+R97obiwkAu9j5hYXvev7DSFv8T25AREnehuKhj1V+lEvhzYED5qfEfK5
m4UC57bup25HRo97GiusP8Fsud0HaTqU6fZcVfeGGJf3hYT4Z15g5wUfX41tiKHQkk9ERRSDZwTS
aNNX4arsXBiN/D6Yoj6mdtX+yG1WxiBWzjyEfWXguW9rdKXkUIn0i1/rWRrMnU3aSZ5jzDsY7JFn
TgNssFbERCoYSh+ba4tPh+V0ii/SGYl+yAXeGicnGMEAtPuaecXyzTAKez1e61+0uBxDdkbzvXVg
+3G6IV9H11eWmJoz+4Av1bubNaynwWj05cWOenfLf8MOZlXxW1xaztEfsIIVcIG2cG+rs3Az486d
NROEoG8d5sq2XrUU6EgX587r3LWz3MEbS+8FW9+TE0XDndct9rbWDJOo9K67tFKJm3YQ/cnTJpYz
xuHWSx5rwD+WbvlhDq2dBp1scWMVmruPEzX1QTtM8t0k/uehGpo0jNKJ36B3k7cwXXabOCChpLtf
zLo6oXDXL73GO7sZZqHeZinzJED/NT6j3Gy3FPX6JiUQ9j5GzczJhOS3HMnQRmhNdd/0sn5OO1Pb
R3NuvBYRhd4oVwRQogg9ymGhXYbINc5LVqPtbg3rexJ3qxx67L8Wbc25j0aXOkq3kdtiyrs3008B
ElOaGwY/gwVe0xqTbMF5nnPqxW4Izahptxg91e3ES3wom3YJxRJX5wXV80ehF+rR7pX/6CSu2iFO
S7+iARlptDiELS7CGGl74rXddWNpX0TtqgcRtT0qdINYk4092+JLn02CgJ3Cf66HVZTeOX5H+ggr
tIM+tOsRfCf19ypPRqa3eRpKO5NEyy3ZA6ZD+xx7RvWgWwORRcy8fyCT0/FmuY0ZkszJZx77EIkH
0uaOiI/6bkOW0fTFMFr/UHUuLwTRZHtrkNFNm5bqLvGi6sguMxRhm8RTh2M7K99SgWeTwmUkKSke
KtsNEj0m0qYb6+WgMFXNGwq+gl5Wn82BrgSiysRf2OWLwsj+WTwLSJJWzsu7W/ekHcPtt4mUKySH
06LnxUf35914pAsfE8z9YbxOM4PWGdMzlgFUCm403uFRaI69389fYz3Ov2pOq46a7iRUZEYT7edl
jjHIWeYZaczM+lEa29arirAeJufOwhUFQIpA+TwxptCZjO69q+ryBF7Jf05SWRwHeHyhkSz9rm8K
9g+7zPYFFqi7diGdqDTnn/TAJjvIK1KnBBEqP4QxT/ex9MWucU21xTsZHTDpL5xC+xJ29TzF3YZn
7r8jgnKstZdAzpvlUV4t3VYUc7XrCscPSAK8bSQyf1jj2BHK6X3QCcuJ2or5ca4b7UeqqviEZlyg
m4Aw/82MzGrPImud+A0du54LwmSR3TZK6vnHMprVpUNwCP4BhCMeJt5hzba2XdT98KMeENKUmO90
Q7p9W8VaKKixQjHMTuji31gDx8hIjxUBe4v3MHEwR4XpVad6phqu/cp8EaP2Ayt//EA2bPNcwaL/
onWG9zziVH9f6A9v8pFjUsyP3QgrGYK4TJOvKzzog9Okvhe9L0+xI3k/bX1eti6H2pBEsoVIAFWm
fPSti66avirjN/1bUWfoc+HqvkllisNI5flFEK725kp3eIw1p7m0hVOyeNsSKFFd9C+WBoExnBaR
f3impp8hCdkPqa5Zb6TzUsP4rRtmM44rKnNruFiR0RPhY0+CE6Qq7uxxKkgNpiIQiq+gUPmwNmKJ
BMcs5G5Nf2n2iW2qd5bfeZch2jwtxmI9k8uj7TRTA9mFBMB4IAiC/yHd5tuarmhoclQJJXrv7eDM
87meTCQSamg7Fm8j/aYnrhkCho/OZcS5PyrFl8wr8wCCirWHfAtGaxy/FfgKt1gZls2U1K8NVGF9
tFP8+/JsUckGra2+erSe8EZYJKgNuQhzABDhBH9u15EWGMxZds/xjq0lF2+FMehBHgOWsgYyPvP6
Vi7VQ1zE7yhBadM0Rxf/ReB14tHw1J3STYIXevTtSzsNwRTnEf9HMjkTL29D103UVuPFLqPGw0Ir
94xASRwE2bbpiuJCAnkVDIqcBeXYOOx9AUSLdnPQomoJSlOD3Twsd6nNFNTPvDePcu/Q+J2/myLs
qP5S7PRqeSJQOgsNN0k4CLqsSUt3Yu7wZIr2Jc3ML1k8itCOUJCNE8+ZBfMQZd7rUHX/JM2akFjm
pFr5ElBWUz3HPvdaVR8Wvp/Q0YYTWMNDM+EFdaJhk1tLHrhYmrZubL/0Hf4gZgQ9rOeKFsqSkOXg
Oe90xk1aCeN70+W3jZkTBwcRLIgKY19mQiedVRqBUvk334lHnL5VsTUzzFQ5C9G+HZIhnM3mda6L
Fwrd0K9b/gFP+RtscQRV2LDmo3Pq6f848RRB90jXdTj/0tUz6vWKOJlBaFSKQqi9SrKfedpwsmPE
zaEW6FVvFHegTYmZKnQnzAfb3cQG7ap8IMzBbWZvYxcV0ee6FWrT+GOU8aV1wHQOHcrRVLJWuWOb
BwkakECksj77k//N9ZDQaq3uHAl7Z9lCKN39qFQ+HwavFt/knDcfUKaqH37ZDAeQv/MSuFVvmRsy
cMeX2rVqmpBavnNa38L2xqnkIY1ScZfkVb2NyAzfZyRXnjxDTUfTKJiXYIg1T0u6mHddpvoskIXX
70fPcW68wdPDzEtwZIly3IzRop9tAntZUkkEvccKI0KUlCJUTtb+bAydyqy2p6/+3Cri7vylAoCV
SkIh3f7QcDA7Q5utt/ZYDE+jlubjZpmK/s4Ad7MxleqcgF5v3wfAfbSbxRiMN6dAOTjNmvWNF59Z
lgazcSNEJo7KaRu4Yq12qOYl2aum70Lh87gw1pG50rbO84gPGI0QhpB29ObbYWTjw1qbhz1d2u1g
q+lhiNOEktz0H11vJkRBtV5AWhWl7tDorwQDssEiefvCWGYpgikyrJ9xpkNH07Qu9OYhOXojWV1i
8W5ICFchKbEaBZZ4oBD6gWXwknv1oY7c/EhYIceK6GRiZ0kHfEqMlEnrqszXNiEzVyt9B4GCeDR7
h2YLPuTAVNY/RMF9jFbmnC2blhM60mEDNfeVIRK5fZ7zLWUaHGQV0iucCsOmJLjQnIUI4Hkw8+qt
F+6/Q28l/zpPRY6ZziuOZpS/TuM87TDVictSihmvnqJTw9SYw0B8ngeNrrO33OhWm+yx2KwAUicO
yqq8i7yC40bfvLq9+zPxunLXKOtFb5OHrqQc1RL69akENBIdxjVkTNpHu29vEi87AOnmB+fq0RN8
JaVnhEyxya3MqqdRLq+u6J9QyNzpPWEZnZZeesu/qDF+wFs5B2bt3BM8p2/A3oyh3yqpsyITw9vG
hJ1mep3s9HH4mRftN0HwxZ5Wo7OZ6u65NPrXnsMKVr9kN3uZBIQVdWGSdy46I2pEr2bEoeEJ3g3+
YDwuRiEo0toPYDr48E17bQ/oj0tjJnvwyV+Mjqq2FvMucQtjl/AtE6vVmFQnOo7WC+dPl2xWzTpj
NHNfjaKK7oeutcKl893AgnryEA8kHvvETtCygQLdRP2zVSbdrjLb8qLJJaV3Xj1Ghp4QkjiyzuiE
SbKj9H30tYZ5iOq9gX1ax3dU0PfGLEooOtO+gMQT5hGnQWKOm40k1RoYz+BxKyTniaWvpp+p20Fd
YRb/wtHN28wLBHZmLzb5h/30XEM2OPXAvU+F39tPtK3EpZhVPBNXCBeGzrbbPFFH0S2MMix/hhPv
pCXKLV5beWiht4SQfpiQ2vJdRf5HjAcvcD3aGi4y6P1izDdWxEKfmwUhjmtJVCfu/NXwKv9YYimj
k+ZIEMeVBI1qEF+LQoGKfYl31jivJs7SD5CL3Sp7TELZaic7LamZ5bLLTedSOPyDWl3lIZyJYh8l
ZXNjt8Y3NBswlHVz2OEZNQM7p55zUzr+fV/pO+Eo5kPKuyy2xPFa1z6UbI1RVVaWRwQtT3JZPqq+
fivsad9rbvRoyIFk0NJsTnkl4jC3XIawnpbsxmjQaSoVdwatNWZo6tHRzH6DuD4+tU56GgXoxczg
XOnV8Xc6iPGL32FiqzwpO0Y9TImmhMZuliTLIdaq10p15mks5mlTO8UH5IN4L0pKUkWIXlgVau1k
jPMGMWJx6saEHqjTDbucxwvaWz1hzQKKqWziZhp9CGPHVS8tc50XsNX9ztaI1e57tJ2pnzCVm/UK
ykrXbefeHQm6SLIH2lDuBmcAHZq6PcwyemubOD6lynme+y6GWgHEExKdGUQUeo/jbAxnGEfmazEa
Ns305HtkNB2Fme0crUlm4VQLxaFzSUMxgiXEJLQh+KE9kWt2ISrRZ/inngU0so05VndJwU8iWmW1
SYsPzLztvjFmb4+sZjwSMxpvaQ6yHpIoPUrDObtKL4Pck8R0LGbxjImEmW9SwiN1Jx82nvvPJNsP
Q9Ld9WKmnMKY5B3T0zd4IMDIDTHfdDUdpjJKT44ao0dnEhMcU8InqL/lQXTZsJNkuGw5/i8bX9lG
yHZHQoxRtJsUgAKtdWLOiePWQ4e4oWMzrEtiCi5T1hBuF0DK/4ej81iOFNnC8BMRgTfbAsrLt+yG
kNQ9eEgygQSe/n51dx0xE91SFWSe89uWg/4Ryt07WH1jgZjlRdq47iGqBx7GMJp2qw/703XhB/lB
n+ST9YR0oiDKSdcEvuXvaSRXAVfWlLJglcnoQ1yRQumlo2dHaVBvX3ClbG6TXA786g4fk10dhiBQ
hxp1I/WqBZXRo3/h+ac9M+us1015ek85cbRjhTMvY1gTbD6rvklRPpu3XEFooaWJrnA26qiqvv9r
9JL1vGzvGqOwSNgMhyMMiTw1ovYPK8BXime8OZJmF6KbKozY1+UVurU9lmH/N5oCDdxFHTuJGky0
/gbynVczsaPY0nxQEpAGZzl6DhOpK9VlKBrziE1/usOM9xEtvhlLXc5JHq5qF5i9OpSGeDYqTqYd
zIJE6lA1cRf08EVVVxzHkkA9H0FOwYHhU4rcADVyjvtFilpnfQz8ujwIxy74l/wuxh8tTsQI/vF5
9A9G2PyjOaKJva2vYrfNm6OVtYKi07b6L/La7oySpTiKUVR03ufWzt9sTiiLvX70uKhwD9NXs3jr
vZ7dz8m2l31+e9wnEr2TYquthtXRYUaYV5826Go8VoTfXS1lA9aZfX6Ya/aOiZrHc+mO25New+my
qca+M1vLfG3bCoKViK196YDvEGnT7ZdQovGYjKLaW5OSp5IA39Sl/eqRiF5mcJNMwTHzBNKEPKQS
vv+1hi3Pd6rvh1eARFHyRJN14skNUYwNcU2ebOkkGwRzMgsqLScbaLVDrbcDDNtSl/hw2oLN8rEL
QwP9AUOZsLTaB90y/ccZ3HyuS23Gm9XIhzCocP5Bc4HNifHQssee2Ky7Uz5UzmtJR+1n0yBX6nM/
OwgTpmgXLgOcm3HL5M1nXv1Ocn0Etp/6g0HdVi7rfRCiFa79rE4HImBhDVx9bIiZfojahudJEHw0
89InVe0UKJ64j3tqixHfRcsJDzQs5dpV5DVEqtiNbc+NTIczeICOvldvhb4u+vaUWWuwI2J0SRpi
yqkIqlH9aJCxEIrqqWCNSySZJof85q+sOr87unXuUvwxPwLsyV01LyotUdUdV0aFg9tkLoIRVyat
zJkATQyJmT8PSZ7TOyMlgO86TbSMi3UGIrOYZRm2z2y0/dPWYT5m7Ad5kBaKbcfQt7MYguDUAEge
2YcKLGq8IJaXZ4gVV3ksZkbz3CoLjlc/v5PGzUIaLvWlwEyT6EnKe4zFWyyJ+mfzqcwf4JUi3mir
4Xxx26RwtjVuuXRJ8VupR4bZTfS8lmkw2tN5rBHCTxvhASVG1SNGxOFq2111WTPOY4KGgyC2BLcM
N+0S5xqZSdGG1m4uyIJU07QSL8Hubm55A8tTuzuzWGXEMS5Z8BGk75ahGoguJgyiKZsZXGNo20cP
2caLJDd/L9wqupAvwoioR5MkJ6ZyTmUfRQxxRMVVF63Hn0h0AhmtqsTb5CvXhnjLdNWdvMGbrgt1
ddTbe/JdFsVACXNn3XfbzEJKotPvUk/uYek746NSyCQymhcvgrCwsz3p6tmWTf1r+k/G6LOem/Tt
PuZR6zEgrO2aNtE0XGhp9d89L8ufsoX4OS4sG1UCcpOvoA+ZKeoVWmKab/s8gtBYL1o+2JtvvhO3
1KaBvdUPduUHJzB864ktpWZRCIfyh9zVLhHV6B6rUVZ3Mhy9fe0t8+Ow1tM9W3VwYYcgAXlxUSnv
/NxAHwdo9FW1tjqLzmWVCyc/Ie7CSdusX/udSbXre21My4kXEsKqCWv76g3srBWi0HOjhu1Bup76
zylM/7k1KuaIeinD+9Gwszcvq6lmV1Pg0acYeazeU5j1V5CX+dvMRERzfW+Jz7FUw5neRuer8ZGu
lC7g+9yb22NnWM0ff9rMZCCH7Ti4S5cs4zA/mKJfEQmiKyMoWxbtjo+xPcnZMJ5B9brvtpn5xFdP
rMdRSCS2pmnfN2M731tzrR8iWeWf2lTVm4fg9bygBb3Oqqz/Kd+oQDNh/8j3ZCizdoNhoF3ANmZf
5WCMD6jb9GnMLOMh7AqP8tPO/5G8Vg9O2JFvZc1O9Zx1Hdj/UixPTrc1x6Kjfk3z5qStafl37aTt
56nzqayaR4dNUY3wr9N2P/BOng04+QQQfjz5G4eVFq5z3rIGlmiLZvHZCY/HImI4Z/wvp/mKPak7
Gwxgb93mZ+eOyLcXUxnze4/YKR47xwaWk+MBLNh6GWYLWmcpB8mW2vufjSmKfahn/SznTde7CeHC
fpvd8ljTGQW02JTfEdTDdRDeeLHYY41FM+Aao32AU8VDLcIWGKLynm16Q981qsLXikKpf3yZ4thS
Dftkc1sgbdwaoPfRzocr6m73cY2C8cwx1r4gVilZNYluRjU60kQVjDWvXDtyeE0aLUk/zsVLBy6V
9ua08iqLaVgPPMaEpUTufATMCZ4shoxfbBzdlYkl6xgXbQ6BAnDbLq38bDWN/FSr2V+isi1fhzUo
05mY2bTp3fqJK4qhOej8/iXsBIuSF3jjc7+G22VqfOO7cez1pxz68izIdjp1oeC2r11jvwZudZxF
VF1m2+HyqbYqZQoL/pEJoO9E6ZkH3BjWs+TqJWWMKNSDbY/L52QO4akufDqZbVk8dgA8FwQWTr6b
ysplhtfhT+639plDsE7r4MZlStNpnpewQ9SUZQ4TXBl9CY7Qy2pb+Z2zENAgpLV917XrpHku+N6t
rHqZSOd/W4davemmEA/kMFcRCFrYvUfOav7U1DixeJAgkApz2c65UuOHFQ75oQ+QH6zr9FMJpT/o
nyETV1cUbMyVYyNSorIeP9YWZ+AqBae6IgzG8hSoWeuXB3Mix2U3uIrTQrawcOZauolXLI7N9WyZ
B1PN+Z2QQ/+LBF55AGglMmI7J9OodTV9GOjj5EFNOjpbi7cRjsQ3lZBuCmSHGnk53rpoEyyZ5Go5
RZ4gmGvuvc3u3z2yQxI/mu3XMfeqtGBo+5iahd02K9fvDmXI5zojk9NLg7R3W/p01J39t98QP1Kj
YDVMpnZHF21rPNnIUj58qkLPRKxkS9wZHudOkBmP2WwX6Tbn+V5bznx0Asc6AW+Zx2geuvsZNuZo
ESd0V0VRHtMRHp0kDOFXWznDk+ir6RvbBCaA0THPG7Nb0tlsp+0tLGzYnDUxWWePU2CW1xAsjguf
pX1qR3lfjot12jI34jSU04Xiivy7HYY5EVpppi3R7qeAnuGAYXVPhXR+pRQ4SGRYh3w1ltOkbI3s
2b7Ar9mQJrDHydfdkaHiuIz7YUQRgfLSwKz9X5KUtsc5K4bHJZrkXeBmzSNG+/wSwN4wEDZUJMBM
Zh9b3zgHk29w34ZrR2zdks9D7A7WcFDM26dwcNdnc/NB/jOiZ2Xsg448eqquz0vTwpJwMDyPSPdg
bJxRHxZChzQs1gz103QFMH+0vCjhGXeFque70WrHxGtmS8QgMAriRMuvqNArS5CS0ENBj6m66EyO
NBtf3rXZjOougHxJBeDEIdO5fBzXJSRwzgAhH93hMQj0x0Iq3qPVRdHBbzuQstkI38zWtd8RxvnX
vPPbixMWXYX6q1t/stIfLvy+UaIByqadhQ2UF6YLX/oZFZdf+dEYz8whh0J2+pLRMPTdD8t4Py2k
H4q1dl5QM2zncq6h+aOstRPToNaMMcHnuujD+1qg+EBAlV/dAATA1TIQuHtNm9uxgkT2sK+n+Kns
k6EMpG5NuKSGpxG/GLIz2Q7KXsVZ43g/blGNd2sUiucVr+qZjRV5ZjF37j6nqAOtUR+RYWON/fPE
178TYDQgARa0HVvakpiLDRIyN9bT7WV9Xba6u2s95CxIyuhlCptyutfK2HA52/ndZizixd8kinZv
y/JfEB0T7tIR7n9WLcw4zAeqKHTPIE6KWSCPhlUb1751b9B8vfUoIutWfFcQlsChrXFd8D8++VVX
/yPgQl1KwxS7Qc/A2MQyJlwfA0wcMGrs0qlGK+taGUeJmOIox8J/VLZ2OXS4HB7RgreIkyV2mrBe
BMlvqv2NlrH6RtcP8m+r3vtv8MwJKQmNNyyPY86IUWsCysJy6Z+3oHMuREssV9Ea0wGkbnoKKo/4
6gnIZLxvbR1+DmqzErFyaQMmVxI6pGVkoJd4H8Cf1olpT82rK4YMI1JbrzTZAzssgbQ/bKwr35mJ
mbwYIp7ugZy+CYBYt3+pDhpuSWh6eq9l1gBpTQg4weSK+TzikJzING3aLm7npbDulGNWTsIImq/k
g2NROCklqDAh2La8kF/rZ1cbRcLfQAvBWaBtNe7Mmx4tVm2TTclkUgh+sfMuUmfsfety0cLr3J/M
XldkWG7NA5XUPtly+wHGp3jcsNffwJKiS4MC/OG5i2wjT+HFkUUjMJbbXlRq/aP9eXGTBqUeCKoY
HZ/MJpjllLQ5rHKd1LLZbw1Zngm24kWhwQ2G/JSbIex3VwXjCBk71D58IpvwrpcAvtwEueG8ut7Y
/riKCp9D7kWzc7cGQzDtrbzRTsLXvuor7+pQsvrl2Z+Fl8E9jraSzq7eylvcNFVrCwQjqVZ3MP2I
DCAHslubg5ZdOqM7Aj9r/UxeqiHYvjTnnrpqBzz0JsNAs1NMWutrL8StgpE82IU0dotdKpgim28a
x9qjsPylAF1jdTywXeKmGcuNjmzAFFRZkK0jtZvNXFivYjZ7l26aqW6OYVN34gLfTBii2RCrdPFx
O20oaMlc4eWzsZGAo0wqBgvS+uLShNDFUooqvOgIxeleiWqG+VR22ByreRbZg9IhRUFja5pFAu06
WPi2m7o6Ixy1GLzo6MzSklnPSY2szaAzCaklB86ZkN+ICTnFTs+qztOubrrhlURC+ZwhdwwOjqUl
lAQjxL0Z8cH+Z65FYMWIGR1UeuuAEjKttSWjWMw995Dn5VCWllFjUMgqn6DTZtsgjeBzpUnpo429
zcnt5h8Kz2bbrVa5Wojqpg65WKfARdZMlQ6aiKBa6f5yiq+29NGSlQYRkEcmpypKbzGSc2IitGkS
q4OPTqeIpNiY9gvHiE0Kn7bH0feQr25rA4TX6EpZ+6qo20+ZS0QDGVLOmuKashL9K5mANUEd02Ab
Wu8QFzj8FNSdD4y2DYtdwCwIAsghF3w4hR4+VKPpVnBs9OG3m4kIqW1QoL8ZRaTXLtf22yRaN0q3
yugDNHVjWxxKoBsFf9oFt+B/2c23O5ThuAQ94sDt1fqftg1ZcZ432kSgPX7VNofLLrOJftpZlt8P
T+aE2J7sH7ey7m04fnc5LTdalET6YB1Ya9AHrR6ynMEbnc2MO7NyOz/2AsEjtGuLpesJKS3mPJn6
tqebccHEs9PCD0VMFY7znkkCPPaNiKKRO2OUfHT+6FtpFAlU315WAbZHhiW3I+7y+hI1Q1vsJ39x
uhe9mat59Ju6DmF6ssm/FIhZp8QXmQA6Z2WmpHjHHFUbxs7V0WaiKlcqKPe+kU+kQVZRne1ppMqq
faG0sX7Ycsv8U7h0ITI6O+y9DIV+CemEVX4O3npa5UjD11nHtoGaJUt8usWGePNEkP3dioadln5f
NBGmmhozjRj4nDMyuoVkHzWxFUQIKkBYBwxql5bOgkjGE4t26ccrcp2qxMeS5SHvvkViOHwlq3sv
apduxnqwoMxoahF/yXIFwYgIt3PLfotONK/3xslDe7i9LuCoNSOKkH2K2awpnkdC5qxT6GTAHqhm
Sn9fbZnxYVCR8R+fmT18BJVtIs118mYiNBblog9jPW/OE3o3Ubxj8lPqbvOrwk9t4sQr/qnCQTpi
GFV7adQ2B2yTpoLLxoori3+1v45rPAey6O/pzZq3z5HQShY4R/Eb1n3eK6A12+EuAjiCeK5QRR0K
f7b0LyZYhdtOsdIWNwgWV8R5ICVuvhpmXc7oODJ4QDOrrMQ2Kb47Y6NmAIitDlzzZ+Xr+xMtjD+n
odB9hCwFqxUetcwJ/2bgi7uQYc/8iuhofDWrEQ0mmrPSTHM3W7vDqKbuG126V50zv6iBxw3Lb481
VJd7trQw4Glqdtl04OOl8LdxveprNEajTatx60HkAwEjUd88M7FhhNZMB4k/0A2sjKEw/619YTeJ
pjDHiwsUisN1AUuxYDPpNN0FEjAZcQ3970fHbp3gojF1hxdT55E+++Dt3UHnTf9QBkYhDw3dpBt3
MjpK7ES44dO+Rx2zH4hT9RFk3JwsUdTNIWbgzPsrNn9G1qTLyd1vNKX8N21wZdfNCACPmW6W4VM4
ee8d8EP2gHmudn/QqJFpjS6o6o82x4n4bBdiYAFi7M7uXtvGcucktIfNvDdwAAKTNlFUXKOt8oer
Q4KZumusoJ5eWhn5xgtIKgesFLX4KSWTN0RF1ldP4D0IYscQumeHqnWSJPAubMHsSTiFHKXc+0FG
y29OkmujUf12FmiVxgyqEyIvLBc7qihHPMizas5Yn5Yp8SZ3XdOKcK0W/Unel3FRGN18b6NSzeIa
yKjeD2SwemfHsXXz1FSB8tHHO/2vpv9D72wDWiOtvBsdIwbYlnhu2Ad5Shc/uIsG6vH22tmooIgG
GYTIWUlsvoQYx4heCowJuqSGFIwxsNllkqt6mk5IJxljIIxwWqTaogqWODfghl6DsKayaSMTeRyC
xYRz3qzhBSaLvjXlzlUiyu0mOEFuy3Rk5jw0AwR5mYarGMsLMaY16pguWuvHwvKy9YkUMx7NbjNn
SNlS/si+C+wYITirkkQY6sQzxWZ5osdGzJ8OLZoqcSiwW9LMtOjTQ0milngmF1ukvVety5eh0CUn
s8UMnaq2doe9OZWCwb93/H5HTbSBXMyrxX8F1NPb1ABfJL0KfYyMi/TDpA6cZU4jg9yQXd96eEGA
TjlOYarN+rSgu55j3IYIDCNj8+q/DRCm8c9XeVX+wNTKiv8ViEY/dUbLGr+CjcqCAVCV2908BGjV
2Y5q50msVSfiSGygohKtbb1vxq34F9o2boByJu/t0DUEu4Epti5czNxr+TMOuZwhdbMcemO5kSo3
s4A4VVPWb+cA5/cfJ9TWp8qpb4cNcES2N/8vg9WREb370xTOScUIgyEL2fhP5aw5puIpnxcktXlG
NDaUWJP4kknoQIVe3vIFdBnWBLfbVOJmmOcui5p8HAvCNLJX9qdAnEpSWj7QmI/210r2b5Sy+xPe
s1mqNc5UtUBmoOc0X5qmg5zJDfXH8BGT0saiXxR+7x/desFfrmT1Ero++g7RltO68/ERkDoa6esm
FWLUriQbmtOu5G6eWt/6MEijfauiSi+JZdcbRmWVI03rXS//L9vQc+/8aGD6s7tNHyV+p8TDbvxo
U1fy5hqWtdfE3rQp+x3f11oPf/kxypd6wge0G5W3uFzBDc6IdeWiXbXM0G1buZf09ZjhedYOUuZu
IQYjDiAgkfaiWy6TprA2mHoueXNXTg6e6Yj81vrkRHiAU6fzLSN2uej2EbZRhC0lt18W+nd1MLLR
zxt4Fz93Z2RJFK3bV99GkDA+zXWP/Vy1GL8JgWSWJ1qe7HJgyRgbBanvribKau9nelI703LHs4eO
eztMbmf+JWs1fxvDAFEEmwSDj2U5L8UshivaeufBGjN/X4zTaJG2iTxmVw3+eCB+0DxjDcerjjXb
VAl7L3G4/LOZPLVyiw7G5CIIWZrJeNzIBX5GzNckBBKb8LYk36Vdj0BjIx6MnYvfc7+4k9w3lrZO
oPj1ufUa+bcmMzt1XcLYSZkS3/wphnuFtthXw7ZzAz7hbHmwGQuAti7bcucFU4prfndjfOX6NBJV
wUqWrMY3auvd2vVo7t84yY+5f21RYhUPHma6loWj0faVdJCzud7NeX+frdlR0YdrRtXLlpf7krfN
lurDQz3nRW/+JA7SMiNiz6EHt4sqidzIhsTDb9vrv55bn8DD9moQ+3Jht4btkuPe9+vPeqyvYij2
onlYSuQYKoSg7eOodw4QCh+V9+iSmJaXaC394QST89tnBOHDAf8Tbn6u8+IznJqX2o/eqqzej+Fy
GvSHdBj26jUNJ+MBNvSlyuZ9Lre3ramfymVJiRpKxobyqdxrUpabF2Z5rjGU19uj63fXqg6TNQJy
aOe9v4wvlEjAWlNOZPwLb4nRGCg4xWIb1NRYI3QdTb8rFW4G9eCzg9UCR3SRne3BfVbK/Cx8xTlj
Htq2/ecaDbq8H8v8KsR3h+x27ovHcfmuGWUqZDGj/Js5r9FIbrzltNd1dfcT8OJIZLmtRWohZSo4
UghR6ONx+Oeuzb5b2tMatc9zZd3iXMrY3MhEI/Ni5004pse3ZXVjP3+l7pgLgAClBefYQkx28WCg
U910cR7gQduK+NWx2VsFyV09eahTeLLZ5vLCYpP6CTy1Z3X7RWmdhkH/g+U6cZC/zjb3fXhg6ko6
5T6LsFEJ5VJXB/0/pJybyAnvdVdvqM/Q4qNC0sGLWXx4E00qqB7pxfpYpHcuu+CSbd0DKqj32aue
aMpCjGUnmXnCrjwPXMjnUs24dfFbYI3io15Jai/5CVAGLvW9JarHcNoAgYJjz/TpXl15wdyZ5V8r
0i1Mcw9bBEYk+JCiLwuuWHnHTDzkdkq+7YI8aGRJ6e/G6q1f3/APr8tbzY/ueMB2qeWR3X3ESI6M
470RD33zBsMg1bVTMX6mdKz+uNm821zJp/NY5nDIppXQnJCUAg/1nUcpW8GUbIy4Zet0xnkx0YTo
wQADurVHp4sQjex5LR3vWBPwkuFgR9Bzf+NWuq6EJKch9zGKHgz169rIPVw3HaICK+yyn+S8Z7C+
afwbwfJPW5ZhQcWXwYg9ui/izDWR5NZ3jSjOYuCXIHWeVGKfbmB5kPyf0TAkYZY9FzI4bSYfhyUf
2uKJGknaePFp5XSEjc2xd34BpgAoFjZI8VGC3XLGJW6JY3IdqGfGRsqL8CMW672ouKib/CqNvyLw
0628V7WHHj9PbMM/zEBAQQZZQYomz/ZS5XHhmvXOyEqke3NqAn82NSiw8A7D0O0tM/8ryhmTpJmw
C8EEE5YRQMgVPsbs7FQsDbYc6xKEv/gHk6xA+ZgFKaTXnnnrWc/i6lnVXvFgt5089JP1OFqoTAr/
RPfEGxKV24QYg0ElE+UJIBLQT2hzxgw3h4qJ/0rKDZmahfYgP+ARSUcTbMpeTxYPpT+DraC1Lebr
2BRsySC/3XsJXrSYDEpVlLiw/hzue2ukuTGih8Kd9gus3jb9YpY9+ea/Qf8r5GPZ5hTQUa17NOsF
zz/d5xzxnE104jlbE1kYgrZQcs1sTrCXxVLUT4sqMpQP5L9aiTkueM89s/HCR2fdlvUPiyJFWZGx
ihYF+5obKfB1rfccELk85miOhq+oNNR/pjMC0Isq37w7waso77tgE8vFmBuk5N7gEvCwKyrXbH4x
G4r+ZOX9UKSYwpRD73KQd/9RQOYaC2975tZ4TnWEbZ2vk/bguMgpidhv0vU/NboGOkCNX4/0l8Sl
oxWZi+YmCeZov+Jj/1s11pwgeT4xdLU7hmYzbrfBOrh46VBBhxmQJJMmOW31ocnN4bc3ojWV5k2o
spTX3g6f4d0uEnEnGSbutrf7MjxPTqTve56S2DMolswcOV6WJliPjUPl0W1BQ3muozTkcE+8cPzR
1H/FAa3PyWQ56pCXeffWCfPRccuR2vmR0YWsoiu68HpHd9uCNaaxk4lywQQ4q4gb1spTTZpssiiz
2y10FCX9mDPlSrXoN+2AurSLvLcC1zlkMlIpoTUNtVA3SUQ3hjur6RBVTJGbqjmKdqK0jPNkrgzO
LPJoRZVxjzBkPde+0g90TuEA8nITAmNzKMA2F3CsUh60K7+sZnnLKsAmHqIuLoeQgwf554HmZovk
RGnuMYXIvUuuPlcmeq3Jp527HesfNXtPY+0EJ6+xwhd39H41gG/sexna8nwIX2BkzEM3YW7vM1RZ
eWSRhB7om6hf8G7yLhQb2v/QkWdYvPMYuchjuEJop45e3SJ4rgdMoXh2mgeA5vZiY8c/R+YyprhY
Vub2Vl3GAEWnusX2TDPYS3vLAazM0koQXqnYmoZHpwuxBNAVuoM+lRe9Uncn2Y74nsSXq0zW3kU4
lCeBkIcg1TtSvaa9JmTgzp8b40qRZ/gNO8rr11bfZrf8gcF4CRZvOdpt+4EX2cMdgiMoIt4AuoIl
kA4WwouqpT4U5dhzjvHsMnrdIB7Lkslk47yPJI7Uum7hBRaLCtWsFGmRgTD2USWfxtwqzmuA6c1r
2/yItf02V2FayWV+P2VezkzqmBz5zHNgRM85OFZSLW1wLY3ISAShTftAGf2rxqaW9gDM12konQMg
zXiMFJrbwlrxX7v+cmbH6RN4IeeANLW8kRPolHbo6JG8k3e8C0q94bZyCJFAdjclNFv0+JiK/gBo
7+85RpwTZmayuLbCSdSM3RkANOMvJ+Zs1aXxsQCf71cgoIOvA3nw/RbbBZWeQJMhXehO1J1UMb8V
3BKp2y08Kht4djmZ2de0DW0KKI/8nTIXhkav3W9BFCWRE6DE4j+zj2hsMbZ9860U/4Le4rpjhTlx
PGFeUxofQmkDgDrZEUnob71A9EUYmXfs0j8eh1wv9eu4FPjdOJjjtdCvNPos8cAevCMM0T3Py6Li
vr+NWzZrNioZFh6glri92brdVuOY5e1NAMaevLClsSkKnRQMGvjedGE65hB9XUmxyE2sDXPlx40q
8Kou2/s4Md8Xkv4Z/OwvVnO7tW1cOtFIc43eUGDoCdaZ/JbhudDbZWvF/bQO4RFMg0ONxrHDisU5
daWxpigVAbOxTOzz0G/SsBQfLn0WaRVRQFe7YcE5QuzVVKPkaJX0r03LWKgLc9o79YziOOI1oc7w
P6TcTTJO1nY08uXJ6lGl4bQsdmq8ySWi7m6C0Jpc+2EFxU5pkz4bVvAnt8OU/JV558pmjo3Sfq1H
XP68SnkM1MtHpZbvUrlv+dr9MdzsVQqlyLOeLu62fWajPM/5eAhbe0+MFy79Lbqrsuxgl+HX7IZi
1624ByQWtEigwaUddp7lBa1+Ktvql+iFa6EBTpnJK9znkS2+e7Fsu9k1/xty1GlVLtXObiAGPB+V
CURQmYRYLnd4iN/ZmbMdtrVrUIo39t5/FSUAQTc9qxUT7yjD4d1QLhl6+F5JMePGKqyPTlpnMAfv
LqzJUveAeGLl96/8nHFnOR7HDljGlCF3dbo/+JVfV3+4FJvxihLqldX8ESK/T7J1OywL7EwHXbND
TffedOrRCrb7CMpoh+L439iQxxIW5t7Jl5OwsLB3hAvBe8gtxtUw7lRZPpXVCPo8ZidgnA/gSxp6
RvuZ1Qsfl3pE8n/V2n5dbX/vN/rSE1ojgvziV/MPIaCHW7JLnLvTK8E1ydSSCMI5hzzLvFiuXe6C
1jgVhNhgB6QaNuDHN4yYGLTj0o9kAwFzwj/zoEUXm+RS3zf+Dhu5Nh4OsHac+SlWEkIQCdNifWkd
7e9KGhlRJYVBSrXYc1TNXQKERsjPov64t8SajIWGw0c8WcFydFTx1HNE6gh59zrbGwl58x1X0Mtk
czPKGe0PUFoZd65xUTT8VK077xy/uCADQ+Fi/Gz5jbuwo0cdhfaeLi6RVFX+B0HfB7afjzEaPiZL
bYkODEwVATqCVp+norvPa+/o0QIGiiTiCSXmjh8kWYlgiF1jfLRb8T41omdHcs+UfD3AzSMyiJhJ
CPLKan6TAPSnyfI/nNtytznRr5yBluz6m1Tmw7aI7zYv/xjkqXO131F7AWNp/Y+j81huHNuC4Bch
At5sYUnQS5TU0gYhC+89vn6Ss3oT8WZaLRK495iqLC55IgVFu5yUXzLO3lFxUOs060DNPfiKwbVF
ksrUdF8Sd9kQw5Q2aPfo12pN3LOqelYeJmBA9Aeoiau/ycpVlqij4yosGMwh6t33VQYiBsfWcpOT
nlW1cRwRLWcc8oImYADo950A6ILscqmNQCFhGEpVBymUW1TLe4REUUuV74UAJT9CbV4TIwISgeCx
caeNUtCmYFmU8Zv1rk9ySISlq8A7VFnntK1ucA9Xru5fbinNxP69UF0aho9WweHWZCTyHbFF3MAR
CJPM49X6tIRHNou4G9v3ruI1iStUPBpw/1i7IIJ4syiAzRiPZguvXiN8C2Ny61hx9tIIiup0zE2D
QcWGq4zxk749lEhjgEp/dnTWgoZYulKOKa+fnZj6F2VKGkiJtl+oGyr052q2+WA+XAAGbjwvnjgK
dH20tTwdg6Vcs015VoQVC4Dsx5seGGPr4Pv+MkzJNdoibNTylso9Ei4JJXkFrXBunSLGm2hoL0r5
t8kmwnj9hhLHGzAIbepwpHbzHnOfQe85strW6ws2XgwLGaE2x5WRjKTi/6pqd5jzQ4Nh0O1kUDN6
abp1Ldmb/oKg94S752XtIMgobUC0232xIDjB3RDqez9KBwJdd71shFBnnq20ZQHYn6CfXNJe8yOj
O3WN/iapKRcg0FRZw3lelNh8WoWf1Bbb51qsbF3Sy6bSKseklHZUboBonosUT0Hc3yZFDgcZ+wYN
qlidBzN2Wz11VjLUbFW3fiqM0FmTBigN9zKHbjGiOLXcOk5cyG5gw5YPU7aYWI0cIUkeNCyqRxI6
s5Sk8KRwU+xpfU3CTzT7BCBhD4r3qRmjHGt3uaAfWNQELEID5sTP9Vz6Ba6+OMK/W+Ebi/ObESdn
vSzP6TT9EGhni5syuxMwO1vt1aDWpBBdJryaG+wT5rbwpED2znlFAH2/N/Tem+b0MRJ4TFAqleWB
eeGpR/xNUA4orsM8R0/Mcndtqr/1HWdYK7L7EdaQquYJSx2SNYQDRsGbBZolFz9R0mrzl0ifwrHj
tUr1AeIuSORkx9ItkEoVl0bylBn1Llc6XG1k+ogqC8GOMsuJDXynDJQ6LaF6ol50DJ5Zz8AOz21c
PRPQVm3jbporR7YWKEjLbRtkJO7f2UxvK2fPjG1+J6O4rfT/oMW9mCjBhA5CWebdkHAppbM3MUmS
xDeDUQt7E1to/vi89k0+7dBtAZBIUUwReUjwswtUh2WkfrSgJwBb8ofkcxJQyKVgYcBIFXOojPlJ
TpNXg6aoaentpU9dontn/yqdC3VwIXIxX4j5b2iv6fbmEb5CO5/XLTsbuHFb6Z3OG1wmjCPZ1gTj
kNUvGVCy3oLbConsjTBsm5uqRTKZ7jAN3YusC801pbYTrEutL6qTymjDVHknwAdZSLlQ+mcJEo1Q
3JLxOwL2m5k3vW/8bPq1Ku0oiqh+1Be1+2dK+2mwbGxxHh5ZogjRiJgYt1Ydsbb+wYOjpNGrTK4P
UQhnxGQVKmUQj1ZXh02hi14PbsVjiX6vJuTzdS1O4VLiTK7a8bxBbaXCbPdR/XgWSQTKpSCT2x9Z
I6/MeJ6Lv24+DTICLlTO+OObr4hekAkfaKXDoHgjvxpYxO9Ceatw0X/wuTk5p5zVT3aM9Yr6nM5s
4ZuHaygcsOCyPt+Lhcs1M8cHxJRsiyHJaADeq0AfvJz+q6qksEtr3neumsvyb2LOue22ZTfPv9jO
7Er1iviwNPc036PE7Y2vKUe8x0DYN40zPgVz9Elj1PrjoH5MVZBI3rr63U2glxr11Z7Vz779EhQH
8980nRii20gJythHG11AEhKCPr9ry5lWQ6JiuVu8e5r6bCp7ViJrzMrcyaIw4/BSwra9jbM/T3td
+5IXvvSgmvxG+hxMthTs5M22sotXqdjOdXbBJzwp3A3VIYVuyCFiTe8karn9dmFh3mHisnwk87xh
f/rqWtU7p8RWBoAuFvUqZEdDwNXsRgNzTEnGE+JkU7g2e+h6HH++qATwiUgSpc6UOpT9V0Z+eLAK
2cE/WgvXEbXLr8ANweTdQuy6FR+11RwRpwTy/NkAnNOT89K4pGcoyeejW8zKF16QlMDNMZQeNwRG
xDuvCQt7Gyyv044vJprgZtnH8kkxLtF2VHlvR6/MLqAUUNan40V8wOUkB4Q+qWx5c+E5dIQVHvF7
Ih/15QsBE6Yiu1cWj+21J+t/Qzu4GLRsAx6sFjRcLi1mSLF97Fz2VeP2A7/YeJ8qDlG5PeiDsM+2
3FuL+VLk0i0RnkXIJ6n+YvVvZKLY8IZslCNeTghTw3C3tkcMl1P5ZykfnerLy1sj/Yt55E3LYZY7
NVhqD1p3LTVPBS8hBbWOOeqpzV+5zebFl+SQFNhJzwOQ+ggYnaRQnrggnpAcW9u7JRzL4oN+vOY4
G54U6yovhy52esXppXNr7NbxvpQ7cQyaQ6mjod7r4E/N0VtYUVguCLqoQSsQ1h0vL6oYJ2v2Gh/2
cNIzd+LLMez0IfMNVtBfaPpnIHeuGLFDyW7m4gM3SCyvW86xHqby2UiOmP8b622a/RgPWu6sPWLf
nVGR5nqSa/wnD+0pcGbM3q/ItzS8QO3ChWiveDQyfx1PzYpVlv7tPqgnLWWc9mzyftd7FQPR6sz5
t44TnxNshbow8z042XDX+Zwqr1fZNp106TUZ/oxPhQUvgkdTh1v0g2Q1oZTI7w/Yt3JaciCg/V5R
vCkPongnxx6L86HfGRwtT0p1oVU3tJOw+jIQwfxsrd8cksxi5pE8VTtNfyXzniie1j0hZE7zu/wx
i25RfvXyU1YHmnl8WBY4nibaVFupdqZ8mDInzUM2aSxP3TK7Vh3qeciULFldbTka0RUbTrtuTjG6
wMcQkogxksVDq3jVHyUWAkGlPzQGXirIUEGBsxcxMKnq6Z6SV+oO7HPwix0lms4iemrSELeKxBB8
9YTsu2/A3gWW6cVpULZPxnCWoeAATQVUEjvjA4OENmBkdm7empId4ts6e5L4XuoI2Tx268nDSHfU
sE7iYDJSd0QVGIVK+dRuR8l0hscE+sTJnm9Umf9q8ybLR+Z57eRxqRcaP5HVwXHpb7zSZeLm0mWs
HCxeje5rEi2As1YnTBqj5E/KEXyHlu4rASOhvUmnJA35PGtGzzKDkjMNhbJeldkZ0j1LpQ779kbU
sV+DoxWQWx/pDDTzTWj3IlbtZReNO11mIAr3FVChjXiP9Sj59KPDXBzJLpdop6J6xFexj+AFY35Z
wmzwNBN51I6BOE4GuInQCgKJgqHYzY+3iO4CTdQlZRZvVPTAf4yOHzoETGSbz3hgY86u4287RjpF
Nvlsa/0vVk/rAHvzTwQQQOFBigQpzrxMD7bS8K9SzrL1ZBrcdvtoOYnKt0IamIlvD7BAxmcBi8Su
eykQ5BzdQV6eYR0MwEA2PNZiohyhmOyGbTtgDXW0bF8Mux7DfcQadtAmiiaNwkw5Z/L4qffkx9Yg
61LxSRFXaKillyjyqR6gvqKFPbJQfqKyeRw5zY9aQlzRpSY0EqkLcE3ER8Pk4xHj7QUqIR4Taf4b
a8GfVRFZhdI3zvxgykQdKIlWIHo4RYZkJlNQLJEP/oj1UL1fhdq1sG4aS2YvpvZjWomdUfShiHBV
8zRZqW/gi+kufWuCZKKVmW760FKKU6TicMuWn2S8tiWswNLGZ5sIb49GdTFd9aFnh97oZ4RUjWib
nhmgNw2IlLyyTeHFUg5S+k/lm2Wjxs7KOMQtQSWOqDhIUrl0j2ZzEtUfJTkZ3Y8qvFQtjVflDlwy
61+8/C7VF5wReGObYLN8QSlZ8/lScct2Fi6z0zmbpx/Ffw9/xexClYHko1Y+u/4oepyM6b2TD8Dh
p+wgftEO8zhBCdNIYsm9qLolaOS1y/bKIL7qcQY5ADrmJpw0n/omwi/GB1Z5RPpW3yh0NDj3J7Zb
ICpqu/H0d8bq9eDqqEX+xEP6ZWSoI+3kxaThl5yVHtg4dIyUXqcbzx1/nDg5JHsa1MU3CktSZypk
6Ezb2+OjHDDwT7jNi+Dr9T4eDiwCIE+lyLEPMQyQeCesdnRY4h3FkMSQJlAUd832yeTF5IE0/vjL
oQABDVoxQbGZrcEraPdEoa/2Otgo98VT9iylvNshheX6VP7BSEJizP7+8dLjc+bfmmze1uwu/EQn
sXLxC89hI7u18EwhI5fecsyO6D02LvsedJaNTzGFlWazYPyADhhgBzH5lWBM7GOJXtnWo2uznMeO
WxjZ9Y600PfilW2X7uhe+tlPDqkMWTCHuNixnVcfJZvLxEH4T+eon9Z98TLyOxufc3ICBU1LUSI+
2HZFynG4qyxuR7hjXn5GfJTsiys2QmBEAxvdf9mv3B1Zh6fVXqnRT7Lk9Ve00ZbbSm4h76QQOLe2
A5+cvaaCnanBhJdFB4pxXQLrCnBIplz+QmUwoQ1+kUx/YK3FNIxpq8564mkZfVmC+pDaLMxaXEV4
o/fp4siX/K7TVrvWm7WT/xCXtn+55Wybyw8cLmws89mZkT1eKRDYhUnP1QeUTjPzqBz21Vds7PKf
5LnpeD1s7RT/sMZJGAfwF1lccsa5fdfrPJFXdsUHjNizsaOLBXTrezkbnLYF/hWbiw3iFQ2iorx1
4aA7G8W4cVhwrXQOoAAR4cm9Xn4m7Zod4gbtMoOY/Jawq7c1Ga+vk/yQbS2RSrIdeXh7DRvs3WiY
Er92KdKpQ1LctvFczvb22n3xP3HWet2rtrCh2Tev8hz0V/wEDOzZturB3B+mAHhNrl5qmLAOKNqY
gR5lcW0/2B9PajATYeKXZ+IgB1sF1PzwY9u4pNkFH9iMBwnmZPw/Xo+0fbaNf/2X8csCwtgrz/+H
O/icauXA1pSDx6E2zdJd1r5MN2zmUu2riQ+YjJbX4jx+go2Trhfru7A+86d8ujwSIUobzpxqG4Ax
nP4r/eOGp6yqPOC+lRFSObQfDBKtL7gKJQPQOETPyLDJ3v4hhhHivzb1mzUU/PZ1QXpCidTb6mFZ
gni6jhorYifZlYWfMl3hT4v3+lmxoHunbknLlAfivv5JBfQmTs7c4s4Nbd7Te3Uof+R/3RdUeHb0
8reOcIDd8css+WwExD2DQOzXBbZpRsFQ0zc9nGjpWB/Cu0F2F8zZQSv/tdCCmPuoteaTLwG4ZnCQ
ZToduqfU/BNBYLba2VTeGAix/uCl6Huvps9ZY17F1wrLXJ6dq8RXHmOOERPbT8NlOLPhhrTXGR+T
pjCn+UolDAt9gJATS+5rEzkRm2vs/czMc9QwoJczBjXD3qiQQF+N9M56pKlOFdDvhYf9W+nPSsM3
pNTnIstdMmW16CiYz/yD0f+KZM8CnLDT8lOtjpiJXJ0euu1p2ni5JdoTV2vYpYdS59N/gYF77/D/
o8KuPbPR3qxUAxJofqnLX5H8VCXzPuUZkgnDqU8NnHAWqNJZGO6b4gPXEPKD+AB/EYanhpAMTsjG
qWu+xx0BOEgMODln16J1mHLipspH9dW+qsQdt9VvLir4Hu/VwlFk/mEJIzQgD/JBca0IN4DskJdJ
SfINmgkHeoSJi2aWujs7mMzutpYXnN5psl6L3kSRP7w2upteCn5/2hyyf+6mrLB4e5SccGGGl8SK
vBnZQcEcEzdYr+zEZbd0CID0IBUkOsXgQTaANknA+y1emYIEHXcq/7cKBqhYOMXo54zrVIXqBtUD
CMwo7iraVBzE+9IswPt392zazsuDa9Q3/xKpOIKIn2hkZK1+7oTMK2tw7SpTDVzgkjy9KWrkNRYT
Jf2jgCgTd2hLIYWARA7SNPNN6aYux0EUXnuZqnVOyQyVkZgc0Pbb6dbvMO/QvJeHSObBnjZpj1ja
XaYNEdSALAaX0JwB1zF5rUBCR0hvueTG4zCbL6DTKRmLU66rDCmFJ0KpD9BD6oeYw22jbKBEa0b+
W/1dRWZnNdRuCzxQbOx2orApokRpmiRAeS3i/No+8N88+EHafppkMEibdlbq2kvmwTeG9jmjo6sF
0VnR8KuTSXwiwDvgCXgcGT71vJWdLcJUTVi9CNpTx3kr65dx/SKU1xWyzRmwJhui3xLvVItolAww
rCNDRiQ9lDqMrJWR+tuYy39arPhVUu0k6Wfs+LHsZA+8yj+9SfGSCZRNg/UWZ+96TAHdpLtm1k+C
NVIvo1fOttCa1cJLLOFep/0dFusrYCAnRrGJkoSXjJVXLXCRRjgLkkGhh5RQhBeIUiFeVK2IsBK/
lvnTWORr6FA86lQ6dXXqpgsvmsjEtOxCQntQeGJFyRV4BFUgCrUHRznsoN+k6xqOQ/UDNpTtPbxS
M/LnMXXMLOFIUn24Hld0+sTs5O0dUf6+g63ISVo29HmYa6YtNAUzNLcsFJXlRZWxa0fqaYj6Pd7w
nW40O2uRoQ5I56XqSQNSHcJZDlK/2Abyir6u/8kraA9OKiI5A6tpX7do9Zdc8kW2kIrYBYzWJVx6
K12XoTzrQJrx0uQmUo3ROvZDSWbXqcjfCuuxbH2Ky9oBk3DsADkvieBHkKXYyclIRFSqqfSBTZsk
xpuqwEkZL4GmSJMzKgoaeJV+J0myi9Yk0j4HPWav8vRaRoNbRI2PduE2jak7dAsFGNC1hQEghvNt
xDDAn2pdHiROeaNjNV9L+ZdTwO9jwyUOzu1LVnpvFbMpc6iYlpY7Fqg2DIO3FMqVAnUzr+le1nO8
3lqkd7GAo357PKkj7zJahgUFMZD2M0tnqjtihJTpbDFXzFo4ToPpjKNGowwYlbelARW49OQumHjp
7LJFhY2QmlADmMMEBsWBMXVv0VKGsMEPDfnDthYz/Z0tRC4YfhA3VS9jZX2Dz9ynBVKc4kPn9+01
KVB4VYuKKYvuQy0kLEQCTwW1c0AHk1eog8fH3GyQjk0KYFxbdFI6+uYbgYvlEUkVKHGqOfg7Pkqm
MQGKStnvcgDbpfqEb6SnVQjV5oCMXaMVNHEbzClIPuZZQzyFLDEPVjnuU3Xzxmr66TOiUB4JJAMp
0ZSMAkiTqOvZjZteAsgMWQEn07iBmIzGNiQ71TdT4ySlwr7o1ZM6pKcoLk8zn7fxGsXDCWoqM2s0
FPyWsLcvQ6beDXl8xYX/smSlT91bpMyFmoJLjJ0XybgbNLqKj4xtlN5WLizb76Ern6zNelPL6LdO
Zr9ppdmeozzsN+EK/wprXHOXsFd3mIoMjPAS0VqtnO9HFCiipHjtqJ9X5r6GyH0U42JFwUWvTriI
9CMyBV8ieDbaN6aeDlhVOUeexvhRKI0ztuxDo91p+Lyo4Q0dVnAU0oQMfNKEx2YF01bFcL5z5YJ5
i1hc5rUMZAPxw6widE+OsUy1B53V7XUS5PXkecZHxJr7VS+zPcEvPzmdW7bC8+drEyZm1j3TNZg/
/yrL3E3m9tQl4qEwMs+sth0I6IscKV7HdLkHCrkm9XMl4SfCxyas8CCTZ8yT3zwmYSHRZ1X4dPsb
YqWBOjl/6Fi/IKxS94RLvcAVQGGVMOdeJdvk0FiXO9Rsb0R7F9XoKFIG1bI/igm1uEKpZXHWCPiP
wBChEMPPErSmEOSJClgksseakj4Hj6neOQBtOXlNUQdq9WFM3/VRDtry3UKJqDencvkUTRSbX0J5
JEqGN0raFdvkAJIJKjrnmvS+xmSowS6kgqamJlZoTrWfTHqYqW/YI9cE1LJc127HR72wLlqHmK0P
PkZU8g8hEScFQS0jsg3okW6bmgibh+NC8ohtam86wwTut7Coux23n9s2V61sXMR8bjWv3gZdwByb
k5KLBwJ+7XySKLjyr2wc4IKP6u1B9uKF8GZM97pmBStKn1gbbCU3Mfg26RMZABBB0GDbNTXWgkMM
bZcPTFZxGqpvCfp8m3ZHReEFE7WzZvRu0jZnkc8ks2a8uYDTKMstxokWlB7Byp90YKEaWJ/Fqm41
i3MSrahtM2Bti5+K6eFRLkY/OZYuthnzWI02KRAYcfMNUfkvCtsdcJGQku3QyoBnZQJjk8ekXWYn
y9Wb6w6iPk9fTysz81nBkLWukKzZb8KQ1YHWJmJYoPm0JcMKeyYiaOn2eH+AoolhgspwrmWfohwi
60q1N/W/j/Ud6xS3tU6pwQmGdKbSWXTWxTPJlwdA96ehtd7yNnvd5nW/TIPbSdmlYUA+ZfNJZ+6n
iZiiRlgVIB/zrXgxJPNrSinNzeHFxKcg00bMyLcKJTmYRnOLm/IJPvLeYF6qZ3NYRPm+Wri0ksHJ
5UFzS/bQwO6CLOIcNFuq797cIx8I+6HBlI19d4LtxwCE6ousk1cwLocsLQI1mXYpIH6R82WtRrLY
urBXtmNDwR9bxlWX53cNQ5BtTfOJFcVD9hPl0bsuNIT45cVBn2RWPHEZEmdBpZWPr2WWXUw0ky2Y
sw6lFWZwKJfv8WOk3vS/DVWexTjt/5XHCsQu2U1J5MSDtBfJAUpRUWMaeapZsOuZHG4PW8NWPxfG
d9/zneYgwWmd4uFTTKB6jT9bzNu78YBswL/4gqz3jn4RIzXGYva9NeQeUEDJvddp6zbsTRixEGX4
ZAohdn3A/Jn9sQqWF4b9TI4hTPLHMgXSmwC7jxPNy2c/NraxZUFCPObIJ6gOyV4gxskxSSuUmQGk
JfoXq6WAVM/mY+99RT3lrG3zHkWM3UxACuJFTZV92euu2vzm0lfJRAfm2QH/IwdpDqhUlyFvmLAm
3HRKtNDU+RsmExUN40TT1bVOtVvG4gUwtc8Sa9tvuqTWtZn0701KmpcCzc0rHGDp1qHGuCKFXB1l
nRa/Xdf+XILZJzyRDwt0FKK4dlbPvWYsN4wn8ZsZGcShGKP1oWAmZlIBrcCUUPnMugydjicMrxC3
HqtxzMCrmCDBz6VZDbWuMYiBWrr4qUT+aZNivJFiGL+LSFSd4rFxHAAD+DObSw05slfqm74jGEA+
Z4JKgBsRFDdrIEu0zzb5JA/MhZSorsIp4VoweiumhVVp2+NlYvrbH5a6/au07VYl8Wuig6tG7vAG
WEjy+Gy4WBRwhtpaW5DV5PFlRtHZ04OQjbLVcMC1XNY9AjqlZ2PjdLD6vjgW2J39WW8eQVqGiXMt
wbiPZGc9tYb4ujXZh6xzni3YnO7TumwugmI9VBbo1mWv7tQipqajkfSZBUcsUQyi0tA60aUpKZM4
pVPinYFt6JhAXj6n+OihgSJzU2OAodmyRkfRWL4zo1Ukon8hbZhZ/DZOOktuYavo1BgMITtg89D1
g7azQOUj0BtJWuf58iKpnB0ECRN6doyjVbLoAYkTJQeqIul3I4+IItL0kalcJRJx1Cx/ms6aUNAi
E5nEJF+QhguQ1CQD5AfcWTTi43OSLghjSqFjbgEkzgo6QHWhkMecsIKao+0Umhf4RcW123IE50TG
M40EWBldiZftnWbro0BNrSV3miXKj1PRly6yYt6UOsJo21kveYSkvc3jBShzymeQTcT04BAr2MyZ
8PS0R/BJP3SYEOatRXAkMROLzPpsLWk6+SqYVruHDYg/n3LIUtWJkyaSPGlbmAXx7Yf8XqofUfRx
z8Sf/IAEExgrOo2rycvT9Ksngc5FkDX7AP8OkDTH7/Tx7Ob9xA9EXevQNTfvbaTkQNCGFsz6oPDA
JcWuFHVQT6MygTEVLH9r1vmZA4D5SFy2Fx7lGajvhIkK+bLdi8M/WJEt1gysIqLZDMfVzGXWWTpT
QVGm7E6IODQ6pbsM3H1e1D+UUV32rRaJ8ZVlUuTrot48rxzzKBJp75s1rUOSwdhqZLKwr2ZsmcVE
aMoE4QI+A9R/MF9MZmEdrO8Plem9ElLtADgY/ye3JL/gqnD6LcW0g9GoBEKjLYRRI83T4O98m2Vf
YMbJooNEB8yavV8zv0ZI7A7gWt+jGEcLiwtl+GcJPCTabKKKVtIadZQpB5O1AXVOkSu/lUMr+eTg
dc46TgSz1jlX9KrSXUsY8zyxmz+WqCnsDbTLCxx04tuIvjmQ3xQIq0bmcHEclUUJzM14tFJx+Z3K
QoMWvv+YM3ooPZ3I1VMslOIx/26RrBZPA6oBWjE7gv9oD91UnVfYAPacje+Lkh51QCKcKCOKFlj+
R3yUeIVTFlhlQbcvbDhKx/k69gbvDociuHih+hsJmGRRyJjdMkftNBGztOcLCIE4HHLmUHJLXIFu
IO4tgMjEL/qUX+cM2tEEplKyWGKRLfEcmf1HXIjfS6M/K43xOkfFqdtGYE9iEQcqo4GfsknLWw2M
Ax05f/21nGVkHJHlwGXXHcVS7jlydNfQGUbh2E+cpi51N6rk9yi15hf4LCzYY2lwmrF8V2LjX4Tf
qjDqJCxTbUEv9aAr4vWwo4705wQXFyYqsxfQfY+BlWAaE9pMv8gkMZ8qM4IuWM1PhrgS8BhPnKYS
aSLmSPU05zoLIwC+/LDFbiV2raOSvoO5+YNJh9sy79iYJ/VGe67GviXhHVI1bMTU8JsDqY4SgmU5
nHnDIyek8/tl1b12zYxTa7GV4k0RHTDByU4bBkyCxvQ2SFMfTAmlxQTC/9Cm9ecibD1U+QrMW4yw
Fh/qZyYDX+6GftulFU8N6n+6UZEv2YLw2+Ex1rvj1MZiCJahRVFhXLDLbodFFWLg26UVKNOqHbZR
KxwYnr/bvOGoM5vnwcq0YJvH4rjMjPU3rDU75kWkFtGska7eutK6yZ+TUVncoUvs5AmATa3YZAjc
GOJSEKgPDyq+hQmxYW5qFfOoRGd4VbTCF5F4X0plrv6Uj6do057LYvOaWr+XxMpd22Xtd5I4TaGq
kdy7aQPiys3csVA0Q6RlXMNxsoO/y8sKvYQJt2bho1LkOyGpNcQ4s0ZIKH3KUuIZM2ttPbdAJMTT
50jIEeBtvaKsqp4aZm44XEArRMVE5SQTQ6DhdSHLl/0fsU37oWI5rDywsHEc84DqbFAIQqdPKOYd
E9DvyKKjUeb6KMjCj6h2d7T8A+o2GI4MVypfLONbonEYRGRsOkJsvkd9VPvbkozsFREdQWKKAWCb
mFLB56M20q6YeWAQSSxCoCCFEtQsW1ex0kCq+BBnAmUEHDemxlQKXWCF96tL6Rwk9JWQdK6gf8Ne
LccrbEbT1iUcgYM5fPYorgF+Ly+GJca7KmcWh/022/erZHLl1EiSiN481BnxdkBsv5EkWzewdwAc
m3Zxcbcc+mpm8DXsY4ONTN2dC63CPJHM2Kg14gbR+V7yeoUCKQ0Eh9L+I5pirDTrb6I+XTQcVhw9
xl+DqN8pyhJeA4G3EI2Ge64Q01KuhuigM4S7PMW8PiZaLfTIKLWzJnKbx9mw4pLnQFSzn5HkJkQY
UFeFdqt3hFA/+tL8S9zk8lPc+o904NzVahTfcLzSXWXOB9DsnHRNhdTV5LuYppLWrVGPGfvkw2zg
bkPB+ZKyy4+xY9ORYKQUGomAjtl44GKWLDsIm+ltonnNlum3S5dXpTMYcVQsF9P6TDmlsM3enjRd
+Jh5KZ1cWv7kRDvCcT9WsJnSSvqFZynek15AOES+va2OrDo5E77qqZKCAu4ffAR4/zrDGWflR/81
jYw5PEEVXgraTcmSUBcZ30fCQ/U93Lap5vUrY+IMGmDMapbBhBrAaK7LxegQPc3jwPZc396VjvZY
FCoqXt26jTmjqAbQEOtmknbHdUWJJhuMqNXlQ9NZJSVExJBT+81IkgpkNo8bGDOUksgcRGW6VBkc
wRy1CTzONwM3826axJ+iTf7x80W0wNnHMLb6XtDkVz3qGxYtluypuvCGxqE4qQtKaGU1Hg7CTeEK
7Yjd4nhxGit7ieeYfmd5SkrE/lH8bIkjvxonfaouFkx+jb5da636FYx/vlPVPAfZuq1EGafbTe1b
7Wpl40q0JA1dKy4hpDHwEsafpAzmOW91ShWDioBEh2741fUKHKdUd65irixVhrGE+5EONLZRdBLM
xgxpeQ2/F7UKFd88OLLOjDJlKzUysJmrsy5MVAYZy3Btai5NIocjjHhFb96ItESDplXviVLEvlQM
nTcibj7hOCxu1pw2BwjSq0Mt5cASp+Hg7NYMdvQ8yZqvr4/4zyplg91TfDZJ/iHq1uImhdy4qMcB
sACMN0XiYUdRNPAhgxJO8+RRvMb/NOr4VhB/1p6N6iQRHiOglwVxjxSZO7oygiKJ/bI+ywbEESRl
Aw+fsbxJ+nTUZZ4+dLiDVXOdmYd0bfc4JVaPQNVLn9ch1EKbmGI21xxNaakfh6G76wjje/PVUsbP
dRMuMeKRaVEQFy5XbVuDQiOWZYXR0m/Zx5RurK7roDeq8wMfM2tQB7ucEktdm6CXsGzK2VmWF4y+
S3WZ6+1l4vbnL0KxU2I5lALK/nJt/SlLPpQkD7Gi3+P+0pSIM8X/ODqP5WiNMIo+EVUNNDRsJ+cZ
SfNLGm0oRXLOPL0PXnjjsiVNoPsL9567iVAI+WWNI0Zfts1hQE4wWaS1BGwExzXvyXocmLnrzS8s
X+7tp6Gfo+h/MEZien8mWdpG5VWDBQbztNbTnwiXlKtw3laPrHiJm+yYAeqX6oFjc+np9k10FBnD
L9u8Sx/8DSYL7rFYUV9ucfYtNZUfkTefXePcsDvOnI3G5Ez30y0VLqt5dcpb/A6vlrgiN8Q5srKa
r9TcFsWWqvASpK/s/SPpfxjWdys/G9jvifkBu2IJUI2xPDxuLX6LcCprLf05/AsI3186MxSPZc+Y
qVtFN2Am9C3rujOXAwlGsbkr6tfKAh7viU3MitZG/DOg3BbtzU1wKLJ7Qw4JVZbePPk35HRzpbxk
3UxCMU/UvmTJacemwSCUYWgm+bbkUeDs248UnQMqyKCnOoVtIEraTtGvG73dWvqOIEa2m+3NQ7w2
HKHh8YNItnH2gbGvG/bbYXT1rZdRv8c8p6Igh5lsTl4aOpPiQIzSYoovWonUpEA0/5q3SPixa5TG
V916SEbbE485M0N4Sua09my59Up9ac6Teksu6mxGoSD2o8AriTVuHVQuUL65m31M25DUsMsxEoF6
2tK8BtovEaKV/qdPW6d7id3DRAqak/7ELrPKIuArgoN5eAGYzWum26MYipnwgjPDHvKYUW8Zhiej
1pdy7BdpfJAsr1Pvs59eMcUcJ/4/u0TsJ4tHTiBDxe6iSwjvBoIMSpJXOKR8PFcz8TZaX24KmA1J
/IX5dEkSM/gNb6nsQ5NdvfqqegZCsVqQiMAupMIgtg3FTXnHpO1ZRNz78QwbB/nPi8f5brgEKU79
vuAAUunHFPNaLIccQHNRE/9ECrlCoVddtKLe1uhbRPZNXtWSUJNF1HCa581xEtw/1qdWUE3ZycYF
Jzg42nmSNzej28kfRrxtnZeG+jQevVU5AtWFm5ajpJN/wqNfZ3TZAZbqZhmeYBQMBnyKWVimDKcA
J9sWFxX7fs9+EHCEHibemnwBVXt3R1iTUUDn5v8/1YQCs8mTb4qIC/GaV8vA/55uc6Q7nQqIU4ve
m6pAs9h9xKpeJkpfD2JDKpOFSk0OL7P32Qn5aoMsNDyIvS3qKZrsMOwP0/gztK+mOhQmA1jfPvfz
DARcvm7jPKnYR3P+xrW/6WS7YwPB2YOU3P6GznRrUmxAfE6a/ZMOd9h2LJFfpEGtPD2lHZoB+YBF
sJjREn3XPoMrtgTIBB4aCMjvBudSGfEy8nQ7lfu2vzhYwXT1W5lqVwnylOMWQRYUnwrhRa5dmBis
BLPVCdEu6grygdhC9Wjt5AE7NAR3+DE63ZHHoZifdCFBX9QLoBpbcIZ7KGKLKRtXYOgXHSPCEHGE
nmhH2bwF2TxU+xuwe2A4f4U2tqlNbRUMnBsEeqZ7JV96IHDKJ/CoqpmCWuyC/FXeHXu2FRI+JmoG
SkKqsp6FCUJxaqy8YigaqacOa7GTn8P6hQC2ZeHcmqLfZqgfiKJcNBp03JypGvJde/xpezxCCXIp
PfwnQnKNpgDFlIeZolqk3qPtQXkMzAdpLQ1RbmLJ5EL5BG3PUTXO0iu0veskz4lqV9zQe8yYjCIA
NZo2MarvoZGehTajH6h0alRP9bfF70/YNGni3XOrXVMSyMDhF/m/bO53Zhgxna73jfpXlQ3Q0YQg
zzuwa1KefhF26DoXVLYrmWLICm34TRITrF4MmswUR1/PgI6Zp2/tPW3lRae4O3owLMwjGNJW7oks
ixEEyWuT/vTRQxg3HzmRS9FqncsOSwtzNcS4Kc4iPPXh0+D9FuGL5f8MNUz5apXRbMkP/Hquj5aO
8TmzfjV+jQbiIPMzwe5YApK8RdFjNNBg/zOtU8Aw2hz5Jh4cB+cHh50a/hTE+ollw7rNL215cgWq
gKMv7+h9zPhQODudbaTzMg1vfX8PPWQ9fNRk57ggZ4iqf27897Z5x7668MuXtu/upnPJvV8UO8D0
FuO487kykIsBLm3lcqrZlLqXDAL/+NXZ/Kg3OgIz1che27IAGMt74f2wRQTkaGJJWLvxviSgE0Vx
Dy+upSAuNYc9Y3ZpMWm147bQLc4Rir4ApcD4UfSvhj6n7D6HNck81rqMdo3LR4YdyLN3WfZF3mcH
JQCEaEdHQwFLcYqzxwHTySeHSUPr9IND0KXlDruRvTMHWDtXoiRY8A2nCd/76XrUUa0iOT26Eern
p8T7JcQi8JplL/ay2VXOv77CcL4q51HLtwpvmroZDjScxVDs+I6JZpMDAGvGgwDM6ULP1b5V8ikQ
2XjrBmceM288Uk3MVUSvWDIlivuLEPcEAVHs3EkeWen4QUBDLFLmPKJ8cXUy/uJdAZxIpO8S0kx8
1SlAxh0FYcZtFfqncEBPnRAxRZJRsw3jb0PftcNvoGoGNfykBNFaYD46BGtpBCC55BgpCerNXTpq
qyj3fYniG8//0crY2sZdvnMDtJF5WGHP72OYREhdY9/dU+TGuFOSJ1u1L4PPsMcTgNkErCcmeeTi
AD31UayGjVhBLcJNWW6SKLzVWrJm8rYdRkov1AkoCvWur9hCQwJAmx4miFpAlA1MnPmA0fXLg0Su
FHkfgXK3hUKIXVEvW4BjnAimeITIJrN3DaJZWpWDVuBCqK2lSWx6KpxrT5/tWC908MwEvn17eoqc
fgMYeu174qhZyFQCewfe4SDoZVwlAQMH527okCsjO6B1WRnOtzU9QC4yUvEPVZHcUzRTuj5u7Rrj
+4iHjZXnUke9m3d4w7pwQzwNo9Nx7XcjIF7adm9viPQoIIo4UIoNHOLZtGojTLMl7Qgz6RR7vbAW
zmQDf2UjMeVPbvAJ4I5fCn1FXJzqR6EU9phXmHXkLPgb8GWORyIL3vMYmIYhGTtnzwJLQqjX7zHV
mdO+WZOLDHG6Dqb9r4j0U5YWC6PNP4Vgq2q5cKgR8Wu9RvJPzNsm++o9IFQL4vNKCXZn/WPg0a6M
ckObdXeNYMOUaVUOCnwO2WN97m0TaUCYn5YpPB7wDh7RGUn6Su0EfLNjiE6s0UAqDn4KYrxSgwx7
jKKEo6wNnNx4EdhNUHKa9bX3ykud2xeLVZrgcrLRNjMDe27Cl0jjH50Ws/rHZ7ieHwun+SOtC6v9
+Iwx/WAUxXrigvLAK1lGuSv8flhUlvlmRvYRRPCqFO8+79volCCgqoMc/yB/Q4NcFmnz1PKU+Jbx
K1B75mE2oNaAhtKCGo7QICKCQ9KzbvVxb+uXFitHnpfLUnpb27LXijGojnZZlFw1OUugJjwVKDhT
l6abnhTxFdIZBlVxxFlW9C/EZzH51sENmWyoE4i8zRoeKulEXgcvvlxVo7+tWuONXOqFYDKHQAEd
M0JYhxqi1R46hlOUlwfbj6jmsOH4/r9kHi+A3ZjhMdxRO97AZdjZF0dnzB7g0ekA9Un6WrCI4HIB
nR9BLC8qWJN2ZV9AF+fDRbd4QNmT9WDkvD8rxjAw/VNatUGisQkYO6QQz5U3vYTQFPKm3QnEWo75
PJs+O4qvCvhN6lUrO3we4VwbNfkxTfpuhldGxNRKPlqKmvUApx6MFBbxxEd8O+6n61WXGDE1RKae
tr5BwE1x7lTYdSIIIFTzVV9Tsb2SyIOtjm0IRw2VEomzfMaoiT14UnyhM0eQpUrtY76DbDnOEWRE
WGAGIeIrbbYdWqywEG+icNYR3r0SBAF42iVJuRsTATscVIO09aTh+48gwokZjCLwLdXFLHOMDWgv
gso7h7Y8BU1C7atxt7G4dX2QeI8GwSiYBpPAKQELYFWY+TF3k2d4x7dudHZ5DKhBB0zmFE/EreGN
rMYUdzHpeYYBo87JOWEMcujlXxzyqTeD0bAfzn+S4MmOnsrcx1AdLtwiAbxMKRXXQN7Us0dh7uaS
tWy29bHk+g4JD7RyyBrt4RTIv6E99qjyIe/FhBlj3EanxCyVaJxgZwb/ag1YVY8Xag6vvMfFi6yx
nczrq13FOtVBs1eF724f3DrxXmS/AfGXXtCeUxv5dF6f09y+jk648wi15oaNKv9kj1hEa2gxydXg
r3GSGS8XrZkYYs2LL5BR1o5zGNs/Q+HeGD8yiSxMN5+zjum77WxjEKk4NmK/X7X+eDDleE5DzUag
wMucUXb+T6XVzzqk+1D8yFrtOxZ2CxUgcSjRllxpz5z6qfCcVeVKTiuK19zRIia6CHXjnzQNH/jp
18HsCmaUj5jhw9Di1z73n2LX2iqYXUhfuJIJw2zJ7U5D2OUmmRNo6SAvpe+QZBd6rmMlHY5RXKxb
uzrYBZFW8dGuD54AoTo1z2UYX1JmM6Ld+4SL5IL5pj0gTfbtVV6VT3Y/0rcE/5LEWpNQyTONF7pB
/6o/eRjisiI6eTk0htB7eKZ31QX2TMdbDZW5dwS5ys30jN0fbWW0QZy9HXCC2vRNbu2Bhjg0QGAl
Y4QwQQfqvziCMKz6nfUZagI+Qp7kEMHJFPxrGTonEm8dxHEgi+uk+IRuAF8daIW6tpSViaetURrm
9VvnrTuxpjzugXd6rFkGbv0SWaaXPPL2aidvNW+cVPTmzsaJPnr3PSU/SZeIDZcuJJSivkj92mXZ
slBIna17bPyDdr6Kk/ci1thQvo0URjXwS3vGwiDWp/LKx2U0froh1vCvajwQd7Jkm4b0ej3mH0N9
DYFKqJwQGyLYfYSnTxK5V3L2vadSvwEFxyfoLnWsOOgVQmS5k/YWOVdPPRNWB+eVeV0rwQ8hzlJX
nSezIqsT87dJvwvWFKIzfWUXLwO0ceC+4FhZQEFYLDPpbkFKe/zF/fSG92hJ8iICt33R7AZkV678
88k31i4do2MAE9tuQL3n/Nn6qnNYelD3mA87tdeaIHiUP4WdhywhWu2pNFBVLzRa7LQ0ObkODA3b
6px5WCF5Y2znAK1pmzSUdpHvXfzojfOgKl9bIqpDFNXxsda+PbDOPuShBcEbfNzfWfFkabc6PrOB
XlQDNL0cbazACzesGOUvYitgLJCufDo+hm3m8AxNnQq1X+kE6uX+2nQOwlyF9rM1HgBRyNkCGi3H
odu0hJCRFjc6EN85mHQkGaJcEsSw9Od6zUYoo+xVUyOjY5nvqtcssFczmMie+NXd2umCTU6R6Ltf
qt2ZzgoBaVpdZb82TSLSBzBEAAa0GiJF6FtkCBXR57zn+1MAYGj9VTfjd4zsEkwGHs4G1PRrCS3X
JwdzBvmUkZucQVJNKffd0OyCJgufIVKILcvP4E/3laOwDfXhT6bCkah01JGIL2H/bdtQIWwwfy28
o+kwO2q7l9Z/SvB/FPaXjFjUQu2zGZDlndj7ybdw4g2x7wTZEK2oeYBs033t13ug3qjV2v3EvZ7J
EQ268T/YD1csmhPmOhXPLjYsPgmCso8C5E1mHuQ8VszkLQbwHFsYg7N/4UDWFf86boZNymfGwn9e
30HSsJg15csqH2CwTywkWJei5/Zapg2Yf2tUHCF1UcdXXus+6vwByeOziyvATOfOenMk3NcQl5t5
s4xmpUGfiwcU3s25yX5b4kdV9gdwZOkCyQWtc6PEWbKIfFYunJsRk5uc0fL6gqAdiGaSBV/Hc8lR
6VJ44Y4K5lQw5hP98IMDYAzYm7jqrLJ/JHItcyYkhHauNb73o8QB8ZaQVYebqUmMc5fixJ5+JLP1
0pkLdV58/pyY1TpnGZb7MCwzFIL2IuuTdcPSYML+k75x8eV1fWxqWLhJcPTnQIp51mb+tAytYExz
9XIGU+WnhfVKdtaRAGV++zLzZ+HVEziWhSXf6tR6qgqH3c6TKe8AplceS4o+vjf2F+Qq3u/gXFCT
hpwdnsRECKBn7H9s+1cvXqPml0oxQZTUwx0sBER19xYH3G3F3Cc9WvOvVzDe2GIO+YsNtdDG+mXC
7/dCqvDq00YYVuApYANSpC8dLZanuStdP3iZ2ow2Qn/UG25wtqLv2AdmMLv0xpOqnlLtu2B74BMP
SyXeUGP0a98GJ4A6S5mriKgukT91nK8FBWJDNdo+SiM7INu5T9210G5QId+47BcIPKhCMRIBUG34
G5LXIBVoarSMOBWcfuI9Gj1uHKa04qUOP9CrLSap0NJ8DWR/VQznHOBLAVxAYoNVCHLTY/a1a/tz
rW3iZD9E78K9SIweBuZujTpWMqKbpnUY0SY71dYlXshiFmNgdyOq/TZGhIuCOPawvWncQxFtRzEw
UqQQmLWWnf2qMyvEluswCRnTa4sQ3s1uqYOOT0IHwGJWVj7e9ATjLAZPxkEs2D0254n+UeG7DW3/
KfPuBdh+h22mzo9B0VcNydYBb4qWjcn2vgW816SbpsEzNDAQAYI89n8wrpgFfwZm+9c31UYjUcry
2TuMjEeQlldI3ZFeL/Xit/eZ1LsfqnjVuFS4zQ+DPJnoSCWO31Tue+PhJg9IMejAVb302+aE5p1V
yKmZ3jvjt3Lolea3wrBXVIPLdMTfnz9XXNoVHiDymgGXFOva9PjP8vnTXyfKuOZTcrKI1S160mt9
c1GYr5ZRvRHnsCgmtYUPTX0902nKrT5Gb2zG2DIMaxT2GysfrhNoWIvCSEWv+jCdnOCRlsY3wJ0T
phXwAL+xelTtB5w3Inm+NJ+HNjiyFtSKZwfkimH9I5gGeMwA+4ZjH5FmPhGDlNvnwXxNKqjk+bPP
JEJzvX2UlmsJU6lmByJCuandWxpRehbdbhj7h+CpsAiPjswf3zXXZAGhOfhKmWO5SU3JGawK/2Ca
f/OXXW8ebdis5JivB2uc9QFLQ2tXZT+HzFh8eGyfOrktqCFYR0/yxFOymMhHL3YlXgFkDEdEAOhG
EX6QnhxN2IrCr4lFRIqrM3L8i0IuWUZwuKy7ZMZEhgzeNbNB9K5w2lX0dnWdfYSlBgKDlVXNRUrG
CwtoGw+AuS3nOYKdJ0A1eiwE2BOy6MetoSUMOgma2jvwpZ0Wsvaz3eA2mtGsQgPo3f2oNoIUvPUx
1REWdc5BrJSVvpuFnsD6XCqNaGIqz7PYyeFCjCzcwnSdynGLvWCjgpr0YEhpUfaWGdPGkR/p+CIw
lhNustWdD8bH+47lSt7A9KRPo81PeU8QUGsslbUdK/C9KSX6c/9tyuJXjXgxP9Uhh1N0atl6nKVC
yb1xn+HcsxXCENw8qvwnxy0xFP2+r48kibY0gOigyFYukmJXYSQOcpO5rX2sJMYx0J2OYe8noBtp
2uwT7BVp4XzndYT/pLmbpTls4p4muwwmLoLcfdJrQo+dAL8zQwOzqf8vQqjr4w6Cd3JxA+8UmelG
JUAHaAwXzrwj7hEsso1hb0zyBe/kcDZbDlm9NDCVTuWvyI0bsUz0f3DG6H7Lkz3TzrKU+zaAfzCo
bRqrFdo2DCbl2yjzY9dNBod2E+1acvIA2Ga4pxVG3KobjAXL+St6w3UIgh93wMUXLsPm8KdJx7OT
z5s02OS6yO9hnx7CAm5SioouFxdTDQodsviLp4KwUXZFRhUdA9jwwE/JnVTevcMLysmhsBoFf8CZ
yJiFpOrL6RDheulS90wODKoyZHD14HPIm6TgNs26syvviDrje3Rw+xluhFC9/ok1FOK5XcBPyL/Q
bX7UNteoM07YMMoWZR/9W8duOQCJvwA+gy5kal9lP9ySCpZ8BpW1EcUqDfKjDSpnNRDkgNeNGyeD
kJxnN3YBM7VeQ/g5YLLquYLpvOVO01iAeCkM5Gi4+WnPYDFDTdKXNP5WyowaM0sE2iqotGtUU2Ca
lIEbrmJtlenhvdBZsdZGc22GnJY94MzrPqXHlkzZiJLSs5Tm2wgrEIj8cETLtGlate/Ndt9rw2EU
4k9Uw/cUGlfyDq6p7RwlkLuE+YTuEVNSee9VC4S+dY6myTUjRYPWX7/G1fAIK/NFol0DvI4NrhKo
YGNkNCjYvTI8S1HcpUXCmeT5ctOVwfefnGbWv+n7CIDdtj+JHlt5nbV2+qLgBAmpyjFODxw0jPmR
vAT0Pn0S/wJHHfBcTGywsxyO6NCc+pEBaeHGO71zGhS51qur+SUTYmNT4HdG2AfRRVslxOwsSmkc
8fy8h1GE79XGw0sCzbTNB/XMZvTkQrazaI/NbESqn6liK8AZuG69ax3nE4I1DHqJl708aIbtokcn
CaVKX3XGnYkemgt/cG61zrUh2TVpmctGP0nRNpqcV5agjQDKoTsK9HI9y/IKdpmE2r0NEETz8KXk
oUZ2WqHh6t5RM/zTiWLSY/dqUfAWprMpBXCPcMbsqeUg0oMS/YMoWzw+4BIg9zm1fzBY7NOKI9xz
15nfQOSIV8X/bVzE9WGD/gglbI4kXMlcvE+sSpcxpGoUp6gwqrqQq6ZwCbtjiJQznAa3WK+NOUa9
5zaacM6MaPbSUR7DACEVK+GVHIp1M9MQuQFBj/t/mUnxbZQMqaR7DkTxk48Djh0gzMg7eqxkXXYL
e3aIztzolJn7K43kO0CvgHb/nTSePbE8cPRQ/NYMEQFAfXdjOqwn1V4N4Jtmeykbd6siByeOhBZJ
OHlCeEutYFDYZFvVbs+PBHhLmC5Qc48WrJpbTnTAaezikwbyMDDUMfhuYP51XGYgPGKos411akYb
sjeKBTJk4FreezE5EKsY/ZWBDgNg3HguJARh/4OF/JqK6WjweQ4BTY6q03LvMvqgrNXMjZ9OXOvJ
h0XQEpmjiB6sU6uJ06DG7RA26VrK5Ffp5R+2HIgGE/Ci0KaHU0W1xZoUrBrcE2VTfWpuuDWq9Ae1
8Nsg6MS5Tz4jonFN4tNy3fyALHkdgvlSSdO51+rPTOSuxcTtLzLtzWkhure+duldLqjcyv5AIj+5
I+LckRHdSisyAZCsf5nvIv7ZNADviXd/7Sdk0XmP07N6MSRkXr8ef8GpzLNacRFtZZ5dm3dnaiFm
9jG7/orrYxPKhIha4RrLJvJQ6HXcpaZ0IFh56hUpKTFBpAo+rBLbUa3b/kbG/TcxvwGMdwtsQca2
2Q+dvSXpumE7g2YzAoFd0OJHh69EiXyFon8VpSaBAsXHqoFPx0RVz03UKW6Ofh5GZ4VcaeIcYkps
OcNTMYHgc5CDEFZgHAJD42nwvHbtjviQ+rEnZC4yQB9gPPIjOCp1e1dmVqJ55qvlpZQVps04ZzQw
aIe0yFYT29uGKPVdP/GVIwmeYWB+ajpvWAch6gjCSWGpzGlLDAJ7Lf/SymEd4YmZBrGQcMJjxPAl
JhNsfUvf5jCHsKyxK8Vfs85E+IMYC+06MzpgWwwnFqpTe0Rlh4yR5KDh/4xZ5XuuhRKI2zXVD0VT
AsjtbGwWa8v00EmlCUpKKjlK9APdchZvhFeHDkr6eOo2uh4xktQbw/2tJ5OGFXdJdMsxB651pUXj
wWJmVi3Z0sVqMzjg0m235QTwQze1vuOYjMEthgt7JmkX0jvyB4/XWfV8SaPyS9gs7ZwMbffg4M4X
SlMbMWCcGPPquZUdUQ89eOdD0Wl33QbQD8WgMT+KKDPuA2hulqlm+JsmlvFJNZDegqHrtkI2ckvs
OSDDALRIXdNgmuhegog3qTVbmnKbKUWmNXJjROnEQzf8hRNztsKYH9/ecjhpTUDVOo94F0X9Cfcd
cbFldJ1z55ZS55AI64IhBFsinN3QGD03Zsqc+NDf5wVe05Fg6Lckxhh4KMlvD78tDwxEEZszC5Uw
KE1pHmw+YirchPs7tgGXIXHKcXa36WcWa+YygweNhK1vtkNmyGPrDe3SUdSTkBlZr9Vdl33ICWVu
ZmoKPBCaJADf9j6P0OmbOp+CQ1TWchjs5hnURP5ZSvJoPWXPzEUdiixupn0rLQTdVjSANvJItexF
90oq8xMxnM+t0ZIGzQFBSLNSGGY05TEytOR9QtOmWSGD9FA/4kf9Bxtq2cgGcwPNag9IxejLl8nR
T5OC+eFCcSeTEuRJRVOaxw5veptsgrR7S+KSZl7TgJx6x6JDWQCJriZYRnIOrsbKfa8jYAsae9zZ
QsMtNcFiiy6h7m2bcWYeFAwCp8CFWQOGKTWGfYaH3q+iRzMzFoZ+1QDEL/GG6PX4yHiLV/0MakKR
j1cQm7xJztp8VS4i4h31hAGJPSVXPezePA3gcxuFh84g88InuQuao6IfgxKZGpi0OxxQlclewCw4
0VnePTnGsDH0/EoMHBwl9Lesm+x9nYs37CmULgEtHcnBp84i97mxmBxkgmAA/pRBWSfDyw617X+x
Th1ZmKU3vzFZvud4KCtqnj5L8d6UcjclJZA27cVC4ZzZGiFpPdiRPIP5NQGuL+Td1br9GI3/mLRv
PcX+T6oVaTVgNDqGP8r6MlW6w9dyq+zku47NjTWSbRaH9km3PdQKlGrS3ne1sQ+q4pxXTF3N+m42
0T5OyqOZ44GM2K9pArFvEDdPqaHviQWGdsZQ3QEEhnZh6hQxLWiwm+TXJuF1aqfdQJgBRzmy+PhJ
ltq6KftdWyYvWY/VCnhCAQ3MnVh6ooRMmJelTLGWrqvujSnnGEc0+Ir6ChoOuxmYn4YFIjW2um4z
Wez3LBHBOwqtau8P0dmHz0QRBSKLiDOGwrxuJihqleGgj7PxhHIYw4CE0Io1sxPx1a1ZXWOIBG4j
EGSEJOlteP5x6AIkaG17H/MfEN7hrgschRLlo1PgRhdx9BG15VfUjC8deZdwsTMq3JAJ+AAocD0H
WsSeOeMYZXlIbcGM0KVPdjXwtWNSkMfLzEbGdnbgAPtQwyCXJYOUZVBTCccGpSH5ix9NakeHstAA
SxckAXg+E1ip5KVvPA8T88T4p2vfKlK6F4iouJHGHmw8R0/bEm9d2VLtYVfj8sBoQOPKpFLEQIA5
qj6x5a8Uu6/OQiTruC1cGgfTk9kRTuFW/n0I+7Myq2Fp5SHCqiKwIGMUrD7m6ThDOaY9HxVhc75F
DDEHNYuBZtMM9jNB1COPv7dxuspg6mpvYl/dpkpwXVmgmGl6jAQfrbF3FGK60Df24ehcrW7Y2b13
aCdxqNIUTx7R3f00Hp0w+R1kOy1Vgwqcf+2hdok/WYrt2Bk9lejp2IT177g/dmYlzpZJdZgX7T6y
iGXqgFcZZgJbAlx4RUKbrPx9maAZa9X4pdnjUz0OJ7Q7AbIJhnw1YxYWhKiau6B/6EaMJju6VLzK
W+lb0cUC7VIExY5qdq+7QGPiyGRjbkKO1rtCW3aW/GeWvD+qLoqVSHXg5jRAdR9+lzHTVwjiaz8N
nhlxWYytqQ+nMLrFFfds07Mo6BPygScKciawDOhIAjWXnoWmL6o4i4hvWze9dY/G9LU1G+BcHMiV
7h6g6v/Gnfde17PVs+Y3RtFvpicPjBCXqtaPU0m5FZYpmrkRs19rNFgpo3GdV+026JO5B99Pvf2s
OFtmAQuYCZAvW0AQ9ryr/eG3vVup82ISqDhiBLeE+2uyGYs90BsBAkvLJfJxzJZ6wwfE1JpDX+nb
sSNEc6j3sdCOsGXEgcjQX2lau5ZNcZKYIPJrse7raFspbGCjlmzreRirJfa/ifkw3v5fZwpfmti4
E+y4a6xgj3qUTEIfmVn0x6AOsa+6B3FxCDQ7XaJdONf+8KEPrUcVHDwZFpo1G5xnW+Is12H3+mSP
4xfcdUaOlyc/uQBZaCR4e3iO/QYqla32RqdtIaR8KtN4xAh+8YsDKvMAPpCtiPEKgOGEakkZ1pcw
6rd8hgeWrOfGyX94Q7edkmIzKJfVfAGvZ/I/K0k2A7uFUFkfDcKKSYm92wJnk023xQ1RMfEN+FMB
EzeZCayZORclWMt4uaIM2jGKBd/lIjPNvO4SUZN7jThkFVqKssQbh6jFu6XTSEZuHdk7nDDM0DFV
wUnxABfPKiuETsyIeUaXdin+qbD8S9lJ2EAWuizedqnG9NiSV1tZ1tp3/V9BBcnofts0POYiOKWy
2g34eAQKVt+1X+aRhzWJ39HX8TDGf035a4fBsQvb52JIbmKAbKQ7SHt5lzYCia2YkocVutsM2SvV
IopdkLkBpN0QINVvoAl2lQrrPRKZvtznbCVcG07qRO2UOBsCpElggmU7cs6L7N4JJKOZ3JFI+pjq
+NWOvPtE+g28BffCIwR/WmdElR1lIK4JM2vWmua1TAVdLW16wogurOpPTYPdNgbrnk6gT9JHrlBo
m7AR+L7dktY6lIN8DKOOudygVAdr48dy6cMApGRflsgp3BYSWGUK9JgZK7+RtZXhH3sCoGYBSgcD
wde+NFWQE6xVpyBnCyLjTRxRPrNcZUCONE9b1PI3g6BpITss7lqLwBdyQIeXU5cfXdK/lMH4kmnD
M10wX5rcululs6mk8aoiiVMCu0XP3V21BMcN5lrrcKY0XvPPaK177ZgHT46znZNUEJJRGv/b4XQ0
BexzaZMp3q+J8KHhEMNeT8atgMTv1OMe/Rby6nqfOBKbCxjpnOuriN2zltSHorZWOKkOAUCXMm0P
sJhOAz3egHSwYVuMh4Wf6q4Hh9wxJC1jiJSNPUFbzDEa7O4dndPXd3cT6Q70t/bZbTkUB61eJSxr
hA4cJ0PEZ2vwZXN973tswkvSqBzv2SbUYz2GyNUTq1jZ6C163TrpEZXyyF0UptNO8rw0k4eLR70a
AYyrCQF6iGK5pWZqwhV2HPo5iwC+8oHjcMmlvO2s+lnL3bXyf6P4Dbc7ZqR62VqfOpN23pS1h0hd
9zmmDea+aM8rVaz6QkBz8bs3q26eOhZ0Ai9DBogmzwfITXQZzKkPLUNzB5J2H/Z8BxMcfQIbR241
/3F0HsuNW1EQ/SJUIYPYkkgEo0iKChuUwgg5Z3y9D7yzXeORRAHv3dB9ej8mjNhH8Qf7nxOC9MzN
kGOs8AYeGFlirjNdY8RbAXOgBWzQAiOcDG4GK7prNqj0CVOifoMsAhOfeTZBN7VNEvk/Rk+0tViy
8AAT0SeDr5vS+B9mv7eaOCsrxJ9sE1n/0eZCaJdpTA4VntcpYqDLOJkZ1MgS21DMm1i20IDxm041
+OQo097NYvwaiyK65qQACUnN/TETLIA1EvkpPtWpWU5TYX7VRuO14mQXy/yRb9iEtfwV7Kz4PsdM
xqcc1KcoEfdCJt+GChDCOJfIZqmGFIN7vRRQbES1UN+wcAOEYCA+J6i/o895ILPOzBk1g7CxlBS7
ViUg8RRKTE3kaU1uVBCTUanCCym91zJbXPxfFxVL0BayhYEjDBlqCshWmIrpOMQQaUrkeFncFB5c
qL1pgugyFYJP0KgKYkX8Jxu8DYaAalO6eU/IEu6HXQOeeiowLUpDeml47hxJYIE0YIC2pKyPfXr1
vzxCXhH0Rei2YyoQ6VMj7DOyn2QYXhgFUlOmTKprRRyItol1NNxD54UZZK4lGKgo85TIyEHbVwiB
LALTOLR5traywnobV0zNWLnaUI4w4q9TQn5GnAqUzi3F9lpyoICLyHRJO48qWMH0o1T7XDwJNLf5
s6tPoeIuBhmBCdvJ/JWEuW1Nl1KusoueJfyKwT0Td7nWnCvLqEezPid/NZt6KDIBoMeg+WmiA6Qv
vLw//RpTVEPt4k7XbqDCYA5czfZFQVel4x3c4ALrpO8UN+w43eT2hSQIg4FQpe+N1oeRM8xvQ4yN
6DJubHrUGTNg9jkRtw3IT2XXdYo07sjK1YNLJaKpfk9lO4t+BuGEeKKG7KsFu011DptXIVv/yRPG
V4KbNAl+esPThLfkDZZWVlESG0cDS0QWRvwsUWVl5MqW4NbqS3ln0YWAQszQT1tC7yHhZDyPx4Wu
osxtJbomCgMSpg143hUJ4c12fpkPGFhSzvPXuXbVeZ9DbAVcQpwlKpXMrdkkNs6g23zy/V4rUeza
dXMcIy/55X/siNuZ3QVbo76rqldkAfPqncdW65F6mZKiahwS0Q8x7BreeIwxf5j0Crv8D6In1EGN
5kmw2sgCDUwhPJjvARQbrTwa+j7DuZq4mQJFdRsVH2vwgIAjIjmNTWUZD8rPRIWP+KsnD61HpXzW
O2Du8Rkkk8pynrUUsTDZXb0oNWX0NkYzo1lUeuy6QXrIROpdYZdBwe/jawhHYvluZ19iVSE7GRob
2SoqH6MRP77RUO8dge8aoBTk6aaTBJYyQ6NFas3LHH9Lqsu0m5h2ZbAjklHXIat+SprP7qnepegS
iS8ywKErG63pVc92vOZcMI0nIKmPubaOEUI0Nkq5veCDm0BAOEBrc+19IiYARQ/ThIao1PgN9FaW
Huvl1F0V/BCgYeq3lDNj+Jfqd6zUu67CmK40SILY6vBFH339mRc3Sb+IBjvv+GfqEddVpyDh6LWM
GJEL5aVdTNYiUB3stNkmwkdit4idLr5BsHrTy5P6MwJaRGMtI1zY1dimocTNtIxvBYbuCLL4Ln1j
HbWEVn4jwU+sfuYnhiuuhDxHFMjCCpc6oy6re3RvjWkBuqeQVn/7k841Vu4QU2k81/ti8Fi3QFMR
B4vfHiBdzOdsGRTkew5vo/jXQjDFcTVZrYEhkygQBxQZBtAFkiP6VAH/FZX+biAHMrHp+9vCEVC3
WmQFv5d4Jmiu1RPaIYjJzHXNX+PCOzL8W9/DpwJsBJmai95WMrf9LUDw8skKqga8in+xs5D44/43
N65yBcwM10YM2Fvz63T0ZJ9/gpnQkXWjGIBtdk+/63Sv/yvesIJt8ktyXm92zkEELPyVJI4pO/Wv
fQXMriKwN63iL4qhsxLHaSkPflmotNrOqp6ohvvWx0TGlu2+KSxmXaPBxczj7I+IwJ4CSpbFYhWQ
RHaHUA9FioEaE/avI3Tb7ttEDoTWhVfkgg1MAOuPoHe0E0jNI/5J5HqH6IsUEl2HDmYRekAdrs5O
dkc1Pb9CpIG21KB7FiymnOpECKfD9JfZLIA6ZDfMvnYbpAFQ2l6iwIqPDZ5O8cADL7RfceTTRjcR
HP5ddGS5SOo00n942aVfB7aufiJ2HzwtJjfEXnHucFKQ5NHr0j9ygQkeWckg9gzAmuYB4QyFS4CY
aM2E8mYkGOC4li1yyU/zI8R/xjPKdDx1Et7g0GoJCWMJzU+BtgT59krazu3BtAjji7bSA4gxtHCK
vKogG5JAaQurvS46HBHIlFgIaNUb8xPlTXjtSn4EH2yYZiCetDJ+uuQILx6iyLmVHbKCxPbSjkc5
fdFmt/oZV9r2sQTrhKi59GXSDHS/8jOAUcf6RsiuXB1FnzwmJovcQhvg1evTIYwPskpYHvDOh4fp
Wy3sPtihmdYSDEQol7bCET0TOsshsYqfQj6onxDM0tTLdIeEUSh9mM8ROsbf9WIt7xVqLq7j1cBp
dz+Mc8DxNa8o1draJ7NyQdb/TaZdNu0WWCG+VnumekaRxHCBr5jyrMxr7U1Fz4zxqLeeegTgXFG5
vxXvmK8wTqL0JQcz46apj9Qaq8ml3UfDRe14OBTSYVR3IgxWrb9jGJ462jqwmxt782I8eE805Qz8
dDvjTlDHT0P4JVWXz25B75EfQeXlKjazFZyMCIGNYKLZTN6Ma//H+gjUOioTNfsb5b2Egb4J/mCu
uFr/IiCzXauvc0U/1+A0wHP2ltee8UH+lE0EXa4zy9kOkR2KJ6V+SLzBIq3ZVamumzcFQS/rOskW
I648hF8vBfprwmZ4qvIVd8zU0u1HN7iQYLZm2ZReB9AGPXiAZJIn/0UMPB0eYkwP9NFuPmb9mE++
kPu1ZlfZcaaX1FAn8Uh/SXhHDZ/PJ/lki4b3CfMSsLRdyis21Iz8fyU8M3RAMZGCpSMkGXSGa4ha
NeO0Em+agfL8Vij7SbKjfpvPPpOecxx7MaN/Rf2SOC214aonhzk+C1xc3fzdKu2WtVBH4qQ0rJEH
Nok6RmArqbchUOI0+mu6xF1RfmroLsJOYy2ETzTfSu/MIvOn+EoBQao4XOXiFP6ROinBTu98Hobq
DyBMFZ7UXyZmBfNCnPwr72ArYjeg2OLFflWRS/2SeFSPjhr5zGBJn8CNu26LaOdn1ifbiul/bjW3
8c38E6Cqt5fQdIx7cG5znG7H+K1sHdhXJXvaq7k5h8pW7dGkbnkIsHh04FvaQ9W5Rf2y7GGup+pe
Xi5pbinZK95EsbsN0GWeabBvNzyRLrw3pcLq6giH4cskII30C0JEw29GX/MeY2BBDfvaz470lPSD
zpIhOaxdluzF5bOHtgxE5DdegGTsCiwVs0OIzMLjRSZVf0p7n4XERjsV0rFsDu0HtjEVRRkkA9YQ
ISD2HfCATn6W46e4uWMBiDp/pubtPuX3JeB2Su+y6VfkmsuHpOcRvQ/QZqJnMzzbd74Xrfox4IqI
f/l1UNeTu1n2LMKHya49ie95X6Vb/J0MaNn5La+hdsI4yj6gYzMiP0rMhxf0qhx+xheeGOXLCG4G
WTkXjSA14a3qfXB/crOXj0tmJR1EjBOQWOE3y/im/7WGw+OxovkETHQUkqHsi8sJVsVWkc/qmpm6
3CYA6NWbGr/kaIY28OL9IT0pnK8dP0L+VW4u8ea1Oc8QazhqFIosvje+6x4rCyvKGaVfgu7/O/hX
L/oOuaCqHYvsUHf7Smi20nOzNhWMn4+F8cOGkIuF5MApOW7ko6H6eBLjskQ4DvnXb4aTxOFAn5+C
BG0uPbv8wmGgzIh+3jhI1+XeAY8c88joH2X9Pun+RKRIYpNxiZgRUIQiP3AsZVxGAzI/4pUZD02v
RbSjbIJAUQ3WKleQHxs2ufEzBDFgWCYqLjAEsxPBbVB/8XYTG8AulMsJF0WTesPXYJ4pmDFRoXof
seIuyBQh0lgoTHN0wCamgYseY0O2JPVaagcZ+CVSckYVYftTdbkXy36JcH5ehvcI85+c7KfwYC4Y
tBjNd+8lg5H5kiBZ679YSDOebdi2OHiQV3qb5CeyhxQUt0usyFep6baVuaueOIopl1GGsikBLP5p
GN8gvQe6rM7XGK2INedAetLWFoQwinuB6E75NeRzVWELsDL+I5WKfKQCb9n2lF9tdFVh+RNmYcx+
hnoFnQHz7qf5NIxdg6i05I724jsP1oA3F4oOt4vctQwRt/Hw2YXfbD3BIelnk1pwMe+G9JgIh872
2j8DlyKWqT2n1bCAixOP6h9725IWEKY4tiI277xKOq1jl7vZrU4ciMj4ElgDc9FIsVvwhiOsne51
4QLSohyTVk22M3GWCUyiBTg3f8Bcx4WvcCW+1OCS+ymNFxzLMl6G7kgAbkG+jnycyeRYfT7uUj0x
XBPsgV6L2lA7STNlmfxFaSsbLsUKlKbwvRD+FtEB2k8+K0Es5SPAaJRcpOSsBvwEhLAwX5wuU/gD
ioRwgVZ69ubNDI46tT6idlpsIyHe9CFjCA7AcAblqxg9S9SHZfFq1KndStKuJVuNwCXjUM9naNsp
Emdp/l5nZEkM8RvMVoZ0tCECiuHljdWn0tBEHYh1UGAjBO8l5p3ZjkVLkZw8tigLhVcSuraUrquY
IByp0djlufPHkDw4oNQI7OOMZo6npCfU+5QHn2RrosUxDStrz4MC7Ijl2vvIjcuzB/1JS7lH7b4+
Cao//8gNBLFDKvgTNQehm6EFImJzp4dYuvPEPYkqQruryi7mAxa/Mb4SGzs3L1PqlRiOQgl2jlXl
lgie/EHC12Z6E5k4i9KxlS0q8zC+MXAZwndROpPtMSgXYhZaiS63+GRMxXQbAA+SfWb+eo/1V8w8
ZKLbnlGt3b4xQZJbE9sSeNrCSvsYCCp1eH8RSVpG0s9EtLWq4m1itFk25JQpkRVkM0X4aYrJ6CbS
Bsnp0v21pAfmA2mmgBPvbL/vSD7OVXOdBM+oHlLeE79EpNLojiPLpr5y0uKjibyGqoUYUVcauu0I
+HaVOY9tYwsLkIsKzQeHfqEYu5pXpTbqXVF3x6wLaDkfGogus/mSzYX7Am57fmjRg6CvLl7U4JNw
8YsiFV4oKVbFeHIDv32rb+qXOSGPeb6n6pehbax1Ry1WAqKU7KR3OM5XQzOKoU2DdfBXC7Cnz2sx
edO7wygBuJSuKhbKGFMqINMObB+uloUpdFjgWZOeRtP/heDdsvmiSl/1dCYm1uhoCwCBDvk+o+wx
2faa57L3QgMjJxk6o2xVIoboWPwTooW3LPjJyEjXE2NNtT/KVXqr5kulQOgNDJKeSnSMksUUbKsr
b3qtXtR+fMwAJbdt0nzrWc9WeX7BCMszT6dd9T164Ib9lFjnv0NU7dMiyui9tbckTok5izISHoh3
lXT9Uwy1J8AnutH0OSG3R5Cjum0l7xfIM8MGtXQUcJoDOuqaY7ZZXfbRkyUnEU0jVttZVj8UQbwK
ZeD0U5ce1J6BvdKXDEGYtNVV9UN++aUnwxznOwFS46jIjtgoyWeWdIgdauC9i93CbpSGgyi5Ux95
bQNkKMVmuVArYEd0wdNdhXFwBDTuWpNDGmndEalFyJRe7A49T6/2jVSGqGXYAyywfsbolIsVr1tq
Y3aquR2hT9W5MzeQg/0CvizmEezBWVNsJ2bsWZ568ao3P+qdz50FYsQOEDPP4ktkWMF3KInHftXu
Qklgp8vUtN1XKqGJFwJZJInpJXSIZTeS+jR3X8mk2QukBhm6kdUUXz0LF1yF2rUQz8J4N4ZXXfgY
hUsmuEVKTs0LK/1av0SbQzbYPfKolZrj0WRU5esyX8v5tiROnFTW0j7aYJ+iUp8AlOdfBEGhZfJl
rGSN30OdK28p7V+pD/tSMiHbs3VF20C+EvsVIb3GtGGp6MBBQav23jLNnohWPeRsX7WLoh0Kdc/7
21MNrz+YO7F8UmIg/PfZvDf9LUsGr1DvDdOzyVVqR58P7ear7d4WwQZGEwvPXj+A+Y5FO9mIABv+
YbOnEPCinrntv/GoIRNH4SX+mIh/N3sRShnXZTuCKXOWYWfy76ZyDLTeN5K9zrOBBBRutFN/keB3
Z7MZbcWz/ln/AYW5Ve8tAZxA5k515Qqjq76gv2TusocQ9KefRH+66P5408Qt7fpnkuxI1nawXE9+
+YTKmO07J36bX7R7tZeOjA+v4Las/oN6ifdX/yC35z14lAcsC5td/Y1g0JoBV5BqaaUHALPf6Ymt
zh2KzxuB3q54AC9ul39IjSxqFRQXl/FpKDuZwneHxKj9i1o7oqgjhSknP9Uq/xiZ0Egv2Bl3qCg+
4YESf2ne4pOknnLgBclh+NaZ9jmbn+RLOWH5241Wccst0hVsY60SYQy+dLZy6q34Wt2yz/FAf+jg
JLCTe/BIPeWAhsrvn3hihMuGQadfnxgBv6q/taXMWEi4DJdbeuSRsNDhWpst06DjfJKOQPR2pBgR
UO/yTc+uSujUdCi+Y9A8D8bKmweLG6DzzCHC7/y7sbhd78LV+G3eCQPt9uI/Aow4FrUdtvw9XqC7
5jE6ekteQgv/gnjuLJCDTlX51FyY+AyPOLA5uPNtUiAFX5S7h1zlgt3OV/UCYLJ1tBfKPtJVCsIA
INj9hA/jk+XoDsv+a3TfWG1xIejIz/dg4v7CRzw787vsNC4vmVOexH1lww/PqwczTSazwaW+jsfR
YWpCKaE7pj/+TidG2zBNORfc7lR+xMjkER+yZrRZRRbcsFvdKX1ioy3e0H5Xnesr/ourDlOj3qG3
3BsHgk40uzkKd2oxfq3lLt2R7cs59cOnra1T1+C+eed6P3anzU91XkBGkU+yJf/OMl+Ts8TikbnB
NmANY2snIiYvwifTBI2oOPJZXphNMm9Z3cjHBvq2zawZpAeSlIWPysUnaXdHxUK0GVkYGnem07/m
3lJsa7d4qy2mjPhpyyMBpjrdwXl+LtTTzEIpva32HN9I57EpKp/1j87Qw2Fw9kZ648/yXnqiO9rR
h/43f7W7+sQGgmVXdRCewim09c/pwlbSmj9jO/aiH2i/7mKhRXMoySW/3uuH7FQeajxEWz4QHwqX
b5xLL38O+8zi0nUpovhJd+T4uLRZTOSSb97RMzE5VvKyJBYabtkLuZqP4UOyGySfu2g77tEmc0ew
VPk38YHb2W9/IxnTlpmL1l/L+3QEq8Wu8nNj/Wwuisty2VvFafZimy/KU3bWsBhERXek+gw3tjXt
6Q7Do7rXbtF+84L4b3lnHw4J7l15V+7hmce0vmGVB7SreDG5mB6cS8VRLOnAu4GW1U/O6b6xp61m
oR1Ak+QUTnSH/eURbmlHVvRHpcVKkQWeL7jhI39kT77QTfQ3HEyakznadXZbr/Z4m0/Vu3Es9ow5
Tt2H+cthzvBwNnaEUjvVL3N3q7lP++qe7zaP0Aa1AV8aXTSd2utmb9jJ35plsItt0yZpLd5SsjkM
ifAPubzCsGDPzaW+xXZgUSFSXaNwRB/RW+PPeDXtwTNsgDW/pYdv6r168GAxOu6301ViPHfM9ukZ
95CjfQNROjBF9II9+inU2tukt3S7t8N1Leu19S71xtVAvV9w3fAcS7i6TxPFpQuIhf0nKsD37LPZ
Xou7RkKnFbrUGATHMRqsrrhixmPk6bQ9v3hVElJNLZ5nbnoqVFZDnwZ/HNBJZKvFodqXtbNOq/zh
rR1OxvAkc4zBLjP24MGMI/anQ/yvdHFrf4YnfL3gkm8UzRtLvDCNp8XiD35k391B3RvGtjkEHr8t
prkn4YWpMA0zyRgI1Fkp7EYv8/jWtX/y6Mgy+2wsyQjCXtAotN9Ye43Ynvg8zmw7zmA1+dDvixN7
tSvYFeNHivyDvg/2xGGELoliXCuAXFoPLtHi43Fvn6nscjkY71yndGoTgBBkYJrFyq5/7XnRBBtt
lKzaqi/6uO3JzEDNxTFEvh1W45DZ6344aDeeteIQ7iVkXw5yDhGMEn0dA6Q/Pk44FGFkT3+GX9jD
P4Eh8eCNpsPPkLkMi1cZkzVbOb8mhmTbyIa09c1DvuNi2w7f5i5DlPhVPjZwof3p2V4Nn1zF2EQR
s0tvSmtX+4bmF23RLoeSqp90wyax/IJHHiUvR578QEjvwY0G+V2f1tEftwdbYcj5rQU/JOLhZWhr
y3eF6JAtezdn8ZAyp6+MkxmIUiO74ReHInPu9/JcXad7+6kTi8FvaWPL/BlhqzLMOZFTfxRwGaFr
/y7epENyHxkX70beB5lXf4/P4oPWuh922PnNv/6XZhEfvMy4tvMQLTF1t7gYWnI+XBreGKUN5vw9
kiK3VjxDcqbEzlxtjVE4c8jxyPjNy3DmymBuuJet7pM2iTd1uldXk3XFlyax+9rKVBT915htZxtx
anbNn6ofhg6CBjYDiDPkZ7R+0RthU7nqAyKlbWWmti0uJYEIp/G13CGoew2UrXYuLtFFv7av+YlV
G9vE/JU1F6qXqXY5Txnvidf4aGQW/d6tu012uGNiFbmqy7zmA9XKvj4iFsYg5IoOsiDNmr38WrBb
3pl7HnEHTjIyUweO9TDtKndyU9ES3/oD9st5LZq2ZJ1QEbxmfr8vH8MLLe6j5zokdJSL7ynZb9w0
t8WpjsolYl3kSBybizdSO+5SHouFnYpMvPy2+jXfQLUEkT+j1nrJbwaQJzLXU6t94ZKH/3Nh/Lft
KDpmYqN3McOVcEe/6zIrXY6czsyEfijWdoIHSHX9MiX3SnkiqHq9utnkla/UNzbDHI48weV98DV3
8wPV67jGu2Dhe0znzS/LGORcMxzHo3GLvjkcNFslcWibHgBWW90hcwCpIJ+hyv2EaOgoPm2XvKHm
gN3Hzv1aubmlolD2eBCWV0YCMHugDbIwI37kEe+JUvLooWMLtybn8cGkWtmVis0kIGd2DlZka5IR
tq0PoovXwOEmjFzh2r3ihke+hm4CvwPQQYlF+hZ8vfQWriUHR9keb7MnkW58CpCjb1NOPsLe8ld4
PNvR4u/vXQg2L8QCfM3r1dlcsHce2KAhlaTGgHW25SGE3cVn5EweB0hOgsyagUvfwFKVIVTwQ/4N
gkpJ2re/8XuxuOo3CCCBQ2HJvgNGhSuwkyUoeuD8RZz5a9m6pwfWvgbBsIbN/NKgYmc23xzM3o7Q
nYhsC6xhcifjyMAafO/ArfqWRXt4/SwPWTTFPRo8K+FAeh1ZmXjNmSlxV7jECM/vC9xctu+5NfxJ
fyXv8wOtIlQVGAX4HypOXhqy3WoXIFybeKXoujDN5tWQ2Bqtib19uiOn6EZSr/5O2VknR8KTSePo
CVB9wRXAdTR8BdTf+N7fwS3HlT+xf8d9byh3/PsqEawQQY3Nu9juY3TTEX28klFZ5z4PdMNAbQ5K
v8dupEgwGXOuSZn0rs20bxrmU+yttMrYMjUvbpF5YiZSjsyocXawOAE/pE3SjpRWLTyPxS0YXf41
i7+H4gf5/Ez4ZvEnRVSTpYWDqJJPhoq1bsv/OqOXrZUnpEqcq8cku8btuZ3O8fxSLu/MdHZZ4cXC
X6qhLbMBvwoDlGTB3dRcUOzXUIqzwKnfzBYTOjsIjQBs4te0jaOxyJbm6mfp+tcBRkHe3gMGwmqI
viCDICLlbgp/qyaVsxf+VmFLbc73cNKhl0nbHHrZwOoQeRpjVPU9yjBHLFeZmqj1xoZ2CwtPdx5Y
BGqk3JVi8yESo7c10ynCapPpDK3wjSgj8kfNTH5m0fBLsfo0lfpzWRjUNWaOTAlBYi6Rpo0n6RCJ
ra+InSuv41KEMaFMisC8IZF1Q0r5zNy0NTFatcOiIY9AW2IK1VlpwSvOKfJNsVd+RQMimDEpggMY
9QZMaddOsgthipc07oUzUZrKX6bwp8OmOKsLW7h6+hVE8IlCjMkgCt43VftWiMQyC93rEBDY2mp4
TCO5hIEiwajIh2NCjmhFjlKsIHzVtAaZYqx/GbkOjXQzuiXCru2kLuCg5o6LboO4QRlzu1/g2kaR
8aU3bMPEOe0tUs4Kqx70e0DcBpCTgTsBU5nWUZL1mENmnJpqq30LY7tOPiW0oIQOxeM147PH20+4
6eiLovCS6NxSmOa8fsbP1SwzQpOA63gTJP6C/HUqN0RXbl5SNfvOZaYhQap8DiRHCkn3olXzYQFi
pCchQz8tQB+qzxMKSc6AEivcOYv06rDRI6B5Q0sodsy6yjT9lHC1oNl8J1iAJaJVJmn4pyrjWyoN
cJ5FhriJcAfV75stk5kcNMwKAppQFq3v34AKO2SQFCLzyJYaoiPz6+iz1fARL+CFO1HaT9pfxcfU
xn9DCGGeC13oVxgFs37tXnYZabohZ1R3iVRuzBI8Z8aFy0OVsBFLO43Zy3XW6N91aZvJyn6MP5WQ
1KS68gZzgMH50ZNEFmvfIvEx3WR646R9hEhJNVhg8UKTwY4zFK+K8JlvuAo7wRch+aStiRoywAtf
Yx/4TTaMCXBKzGw40paNVr0SZnGZafwqMcjP8gbM1ob3EiqKZvB6lC7y7G1EhyIwDqr60sbdCP9F
p23EBdplt5m1JHpIDABMfpnioP4yAWSrSCuNZrGGhDA+I9xlqaeH/6qMIzwROIXrezpPlDznvN54
83IoJUdi612JCJCYGVT7BKuGyM44DN4ajhSZ7UnC1kTImWFpX+CKXutgRdOZoO+C+k/ZJHwIC5YE
uazdqu4vRgpfpo6Vcoey+b3OErYhmwtn26mdZq+ZhdNIQD2OuOSYC/VF0QWrk7tD0rY7SYvu8oRW
lMsyJPcsz6P3WZOfiCGdTp7eKqn/xFXM0U1tkW3euhpjd/F/3BRbBu4AxtwvmUqi8QiZAWDtocA5
1RYiWdTYqqdDOsNK3OwDapIAMGHQaxRFh6I5wxlWi8cCS9wcMkeFC4qISA9/Z3oiYT0lkJpmkfll
bOovgxewN35C3EMaUAji/M6xCoOLyga1IkFcJyng/R9SovsoIKP6nNXXmm8g0+4NEZkYAWiKQduq
2hVDVd6hV2GVnQofE3YjQKm4avZ6yu+QffSiLtdhJe3Cvl0ojon4Zvza02VSv1SRsTMEcqCHmvA8
pmIlHXIiebVBsm3txTquPpiMWnFqsOnRcxT9E5CcU1YK/J59QHMTKL9Bbh50xAaifpJoRDLWbEtP
tvFPVmI15hQonysnqaFtS6dhFyI7TKeeE5jqvDmLaPNigrUl6SPhau0a7t6cUZu5zm3D10pZr8Ub
wCAhUaw6/1RYCVCJ5a9DC8SCFpfRoD6wab2IAxqKmnx16ufhQ4twgnevItsCgxzrXuSJjfbk3rBD
BOp5mekyiuNI16aYqG0kNs6sQnOFuJkPiXtOQIgsKX7OyirTn0mKNIOzJR3/yTpgZe2yLmQrRKZr
NjkuYnrdsGYykTFc6R4pzhGB4lYw+k8ZoKgw5jtFopDIoFOz55juReRnU/mQCGIMTNlLRgQFJYZW
hTUJWAC/hFzVJl8S00NGYXL0I4LUNZKXkZJh0gZk+CeBGRRABmbhe4WuziibSwubcQoLfHEAIlkw
TuV1JpCs1b/lxZVQwwnhR6yAM+zOmw6cRX+C4GqLNdSxzXs2hRZ+BSgaGu/dzMAqrRfc0Mt+EnHL
qbUAlYCharXuSoLB7hpyRodlXxvcOCwR+3ueNNdxRn6KT6QKo8+NSvkk6G+y2mNlqxBVaPEppX4c
ehmLHDaqM6F3nEYCREFjG1QhtrPU6kaJ5X4xwueRw2NZ0fDgYEaSGyeHctr4VTo+Jdn8gCjgxvlm
2Zo5buoyZ6QSoRor4meqFnDQcGkC9GYZiffDS9IAKvN7PRLsoBlEJUdeVs1HSB13tZh/+rj6VjVl
LxWczVC7t9AeD0Y1iNZodo/GwNCGw00N67cobb7HgHZS1mJHpL4s4Zp0dAvL+JmidlhprQXZEyQo
kOEgFq2tkZxYMT6C5oF4o7nCGiC59mGiCMLLe+tgZlURE9ekjVHgHokPQ/qyOoV0sIeSAnXzhw6o
UejpmhhUPRwjvLTnYSl4e7+16K9R1FPCWrfCSG9OGmZYyjDo+131AaoWRVptwTOgL7ZGLhHOrIKH
KEjIHPAM8o2yzc8CrEpUHlOGRrTjtKLjqNF7YInsbiofYOjMnT+uTKwdgcFkYHS9U21elv6uK7c4
+BcR0MWFBlaTJauGZ3/PvBYQ8BTi/0eQBSxQYmPMms9XeS/X5G3Qa35qukTLB8iOOJCSS41JWAPX
hObIBd23bangJkpaRKLLBTQHnymArWAoqLpYGiSPZXNO1EvIxJmKSZ4gSl9mZEeL+QaqKFCgFRGb
vAbOj9OjDOEV5Cb1x66fgYJeyV+jSrGGCjWy3wbHwnTJYMA6UbJjRGI7PQoO3YI1pOrn73ruA8Af
q2NqQqjdRVz/y3ej/y6VX4Bopat3asaHKCNkhsdfaAq6yKdjMeTnBH1Q2wm1o2qXlJ0A+wTdVWHM
bABd8Wbpuivwc4ahtVF+Y7j7SEsll2Wh2pOIkNppfwyUIxHgtiEftPKVkIJtVxI5YB5U4a1Rb+mM
99+TOmKNDiBmx/ZPZohb5MQ9oniJdASv4JQKHh8WLlCqTG7jboGqlq6oWpNqNQn43Wg7aToMwide
zJXKPDsjHyIH5owEVxs9REcLdWVN0SNSDLE64BCvfmr0mXSUC11C6dHItNDWsiC3ivIisTpIj3Hk
yTRPOcmnxDJi+cZP89WCNGyYu5o9PlzVItLYwke2HZtzm6k7WiZ2ycL0b4wo/YNzHGJVXisSRDeE
3uo8C+A6Jidc7Fx+5HBaDy3fBoU6vR2UlC26PGWPwpBnup958xj5tbYwnUftYIwHUVvBpcCSqWry
p7IX/5JPiCfBC+JfNUJrA0Fsr/rRaXmPUQWdcfGYKaaqM1aO+QzOR2ZCjZoC+WPtpYsHh0f3MFfV
9NCM4HOwS8x++Xj4tlV3uaIwTl3Ejb2PBpvS0rA2f7lfvOHlIHQU9R5ggMQeqtv4rVn/cXQey7Ei
URD9IiKAwhTbdrR3UsttCLWkh/eer5/DbGYzb4zUdHErb+bJ2MIat7brbaO98f+D94eFKKeDzhTx
VRC6Cl1Kr0guSJ9EwqL+zTC7rLjJWi5/BCFN8mtEeQWsOe1quGbEqYkG0Qe1qBzXK5apsibEQJnd
KaFTgOh4vRw//Wt71n6qi/wF2M4C+RGe+HSUW47JMLtQ63az/hUtDGr03+AP4xIVVEe8mJgipgu0
j2aX3gSvWZe0kbNmnfsBGddcaVcNmiUaxRGnN5LwOOGU/2LXPVW7mbyXJV+KcknlykjXBUWVpkuN
6oR3n7b6fz31BOpnFu91/ZjkjIELW93PMCvG5cVw0om3LR32NRQGp1DoXFbm/mrCOoCegmj8Rd92
8YlZsFHW9CzjDHIWs21gWIFK15TvlNpCwOPlghIoH5DkhkPWT7cUDEIi33OazmjS/Rx4P1cQH3GV
rvOPQFmH8THzT425qeJ9lLmKcq3UC8XniBExJ5PnYtECBtaw+wWq8TZ8zhMKK7tkB7xP506iMjhS
gX0mc42nM6f7QLryS5h3waF4VkdcKVSjAhtcO1u6qBkoI+omXOtf4Lt8T0hfrbjWlPfgar5Qnuwv
qYJwtY/Z7/3D/kf+dU/tqOyKFRpSQgAbER1Byf+IL+E/78adq/7HtC+x4Bs0Wizpx8xdBG+AHXzU
fbSo/zBsclOj+I/8oLUT++YpqNmG7xdtPG2ZCoy5HCP4ShTIXD/tGydmvDdZMTxLxhfa1+8TM3S8
gn+0qz7LP96OJvL9M/imZNPFTHULHins/n/BNriVm/q3VRdYeaGsX9W7dwFRCyv3jGsCka78HLdi
J7HtrSl2VG/RNqOSd8n/jb1Od1BpE1Ji/pqrkXnrd9mj+5YHWshQxB0cHgsMgJwr1NHQaT08rUu9
808ECxhdJT15/OvPGr+3E4s65y6u8hHMPEP2AdotJme69Ldiyz+A86WcRVPaGSkRZZjlIubqF/EB
+O0NZYX/+nTUttMdY518z1+rU/rX8+pyTfIPqPdQR3/af7QUHpo1V7wtwWOKhZ8+C7cMRnu/aNb8
Kr6Gh+8qJ+3UPy1nFX3xiWovDt5vdnc7cAFHvqretd4wV4QHivtuTCHBd3PnPuVYy/Z9QH/lSJge
CVvPkUzP2th6GEjFIX7YvFu5uPMA8CwaJ2M/cFUjO0Ggec3InXCArviOdj840NAZaNoAS+ix3Nwa
dB3s5bUPj+a0pCBxk+ztq7dtWV+V++q1uKQnfvYDG4OagwN/64WnMwKokS/I3nCK4kPFzX2hEH0X
PoM3srGz5dT7ZJmj4/jej8fwwgpBWQaHelrVPxDGYPqfmm/rqWAA5XXxSdfTtC2eSMrYt0S10dzs
u/8gdBxgLS7X+a36nfHNe4eQGWmT6zBnARcYr8NTQvsZ/GzvFPwWG/vcXORVieFgLdmG1eOGrlYe
eXRzeIGTvVLCV8GUhlb12z9jDi6OWvR2Si0ewR2HRUvrLWXZHg42lxSNBhJnEYKslXu0U9RWC5mx
cBlUxbjy8zs+rCJ7TecHB4ljUYz3JuaauAVcsaIbl26lcjwCqwl7uRCo/lDLSOa32i3plhWRmoCS
rE5gp3YdZ4uxN3buVucW1U8fbthQ+OVGxYHwoBB7ERgcxftYPtLiD6CdVwzEJWBtbXDqTNKFI7Pq
wh89O6tI+hkfd7KiGH0OraHEsMiNVyahpPZsBX/d7FaBafrlTzsjuMys4E7BRDf7pV2rPplUf2c4
SRmtkM+dV7V7EdoDNruRnrzEbZMPLeOM4DAMTjUEbsBy3S61LiHpgJa35lDdyzZiHFlpiNYoZAuj
NddDqyI1EVJjF8T+ZjSwFP+D6+vaZbkipD3kbKE6Rkek3CK+EpL1WezpGiVGLfk5HCKsAZO7pxRM
QyfDfgcKgXXzpDj3qo3OLWV/WvPQxCskuhhtNMuoxcalHYO/FNzKFC/Ap7Hu/B94LdlwsNV6lYp+
ldNj0Ve4ikdu2aIkh6AVy/aPa5mduCO3uco1SxLeu7BxKSYa3ikb4J3rM63h4iaPs0bVDp8yxwT2
IbWtUkNHX+vjukLInBsO+A5Y36r5mgXAh9yWSby+GtFWIFyovNHTl/bWPWNryyA+qOuQFRZbt2YA
zkfvEYsI/+SVB4eXsayOuXbTJiymLPxmDlvA3lhweuZg2rFph6y8gJXT4BqMHH2Z9zvRCREY6arn
ByVFzlnJYop+cAqg92n9KWCom8mqCKc10Hi3kdzD7WyrOjQ90dJJ0zWn5dOv9gW6bXtWjKsAFIG9
t8pW3s+ct/gZ0w3a3g8xVDDnvK3NHbdCT3Prr+FIDAgWOPk4rBl5iqfEbW7OK8Z6D+1sVkxcMbdY
LMdDtVHpanljdc0XrvynfFC8kN1ITmM3HeULU2ry5VgrvvQjyyoujFfMjuRp+R+PdgGt0SypmJeA
7t+Dl0FZDu8sDACsIE4SV6IyZg5oLexzfcxf2n308EniMccdGKbwgZW7xm23aIyhoGsbAvmuHkn/
QnrAUmG/De/kTtKdchco4mR8Hr7OJp3dYXSbF+bbwmUMH87q1lwZNzKHnbLgnQbegjyla+3zg7Fn
00JeYd2arkrnzbndeB+di0Fz6BfGbTqy68KdmDFCEmmYDb4sDqaVv88O7KBARO79t/wdw1L89M8C
n+1i+MNGAABAW0WfOvOQtUAxisOlekuPuMzqH1bA6aczu2yat85NTnOlGZ41NBpOoh3p8myH9w9v
bstC4SDPzU8H+fMs14arq1sM3TV530X0oBmDNwddUDWFnZ/h3rg2ZIMuyM1sTCty6OOyuBLd3Ba8
X9445iYe9xt1mwCeIizorrWGD6q9cFbF53qbHSEo1E8eCds1Xqyf9DRHI2HEtXg39Cc3wMjYOKcs
W/cfqAHNwrqRK3wb7zz6Gw71sCNuRdyBJRovwVuwd14RYPVT54a47hY+nlvo6qv+Awo+dmDXO8h8
lRyVY/RqH9A9ebrydTMsvQdj/62AanFpzt7Gv4KR5DK5q88SHMeyfDFOMTPAsziH+J2X4W0+Dk7m
noY5spVEFi8dfIdPukAAFG1YVynbku38Qv/HRpxmwp23woBzi65ac+heVOrtl+2RHKLyiE///xY+
dW7X+Knyx7Ajltks0Y/3wQ9yFCt045ZsR2TwZb2felioy5rYBnJJfGUCbR4m5UPAphl7HpE4QPOA
hy0KAgpuK1kvb4IHEc7or7sl52SLNxepAOhYyVexG28iN6+NQS0gck/AeGgCDMxLeZbT5MbkwiNy
DKH/aYG66UvjqOJK8KTminh4lMYp9G51oWzC+Q+XbBxN7oiht9G5d9h5fFRAWUkfE7mAZoh7T7Zv
OqzIMd/ppLg7QB0N4+PQsUTtfIZ9gLm9qM5St9+kn2y8AjtFzJUWcFq+SQJerovqWnKNgqM1L0At
uS6QH/FyBPueKCUgXuKEtpawFfi0Imo+eOqiTaVitD2GPQy7dQ+0Dl9R+hHkW988t4lNHoFDkqtV
TSXJqr3b0tWNW4RBK0g3Hde/iQyAc+EiGafrkBuSyStuNWb+Ji7e8gr5t9hX9V5VuCAdAEWJehe0
a7V+kLwv9KWJRgcyReFxKlayVIjGw2bexuGeuEBvombfVQNSA40Vly65yIJCk+4clPtBRazYjxb5
PADZS/2BuZrJe7avaktYHhU4e+6PxiEddvnMVbuFeLswMoI69wauTPZOsV1IjevC28+1MLWPm9jF
Vg1rgMLXkTUA91102jpjX8BpSYB6Ca0i8dxs2pCl31A/CtDzA1iEk2wYJLlMEeJDfNAZkhyqNY/Y
m414TrRMc0s2G3npnOsJ4PLC9L997Uagp2ThmqZUahwMhnjHHVAdMNuglPTVM4mOiiAPSLRKlDfy
+gUkh75/xLjoqKqIrU2obh3KX2VEE8LWho67aR0kIU3gMBWx/ts6Iz0SzSqUMICzwHDjuQGBjQKc
dAWDTMr8npcn2jWWLfZqz2G1M6SCHUtIvWt0jKhtf8JZwv6r6axoQN+GkAy00uIHNcrvMGl0Wk/r
5qftp+JZKbT4+Irv/CaUEjwdL692fc+3Iuqd+JrrNVUasfHwqzHcdS2l1bbtQy6wag/HLAvfMSr+
onE0yLN35rKRhg+NemQ6t02fjrDSMAl5FWn+QYGO56oD/WBVPpZEmsCHzgXiziagqOGlHlhChkWl
/Q5pW9H221JrpzEktqpBhtMvscGExLeSWKWAzm7la9OMZO1zKCJaGTbXIc0571Kl9dE0GwojNF03
jnba+/0itHFY2/bkEIlMODGnPIA/72C2ETZXMG/gWTAbQYttqI4TG3nO/1aflLc01WaFKwfyhhBo
k7pO2uAjjrqU9sW+fmuiSuXeONoEmiD/oVlYNrXkYXYAIWWTGDcAyNe2/ArrhNeMbRTqLkzpOaz7
jC45f5rXs74i48w1jSaVh6bN0cnMXL9UVoMpB7WaSRPFilepRGjSh/AWeU5yTQQVIpYmFAoVQ9mt
gM0Y21CUFDZmoBeKgZ6fPoRWP0Ra9qKmHXJIwos9bsru4knCEHrcjLvCCQA8meNjgr0WriKLE0ZL
0/y1HUKbS5nGfWqMkTcoQygPQSNUnFRtln/oSQwZ14xrIvLC6PbeZENsmFQ8jZWRcqHWs+xH4Ufj
xSKGgH+BOgOZkqLvQGRKZLBwGJOr3zfzCFQAidajmLGkUB0m7NGOXhor4apVCMo/4Heo5VdlKnMg
0rC3NcB5J1cZFLTCYW5IBHcU/kLrQ+mle40nk8Ej9NodFBRJSJ1V1FvtlwriYwJHT5ctQd+J6TlN
LOs0ZnX4aCK2/5lX/Hpq/zPFivUCC197CQrSNmXFolrk7V0EnX6YPNkqZCmLMl3RodPjL484LbLY
mgF/dKZ+ZgYrtkmjy7eKGpgMg8LPyogY5ep21LWy3gMxnY7CEcw0WQRRFdxaOCIi6HmyllLyKjUE
AmBQs6sCeahfFbPwblleoPmVUzneg45Ozlpt6BBtSCF7E8wkdrawCHvWi1Cq3/ns2Mqo0K53iQLf
BAVZoPRTghM71IcHhePRF5pAhspGn/K97hnSZE4TFxbZIHeaTRFPOL+g2AwUor2qIWDZ2AMez+PP
iy7t2F41qklFZ432rbUIWh5r5SBQ9a2hWwnd0SPKg1+LCXlfJhe/zQLe6BWlkJburPNUR+jveiU6
hGlPzrwrjOeYZ/r3pBS0yWsWyhthFHp7y2L2VDtJsqWKiNej1WFdbhVq41QOiit17f7ZVpP+1Ee2
tk/B40M2IYAXa07nKl6JO4BqzGU6JMO+sGiNqy3ZHUSltGcK+JrXLFQiPHmNcA6O07d470fyhCCy
cL8wrno6FWyodyaMGuhS69AD9gx5Td+WecC3MMHjiAUhOVR2iFJqx5I+Mgvm3Vh3CgvyEOymH+U3
kwZAmnCsfiVbyY2vqsFMmEMe4cbM2IPVrOZh60bJXXWc7gXuWu8gSeQ8QBUmkiLPGRjaaI7pFAFg
bFrFce4ROrH1Or83Re6f1Qn/jMd2eDWwRbvzBtDcroUIXxSkcr24VXcebak7Q2i5sWdP3IOs6oxT
VgzG92DoWDgdm0x1P/nrLB37Z1SNPNV54Nlo11WHFU9I5s7cnu6dmKqT1Y7AZscMn1RsxlytWm0r
m1pKrBp4QcyyTs9lkocrwD3hztQg9R9YNCPn+nGYnNJ+QGUiSQlJBp5ktE1L7HpTD/oxNAzaFAq1
2uIj8D8H8kV7fdA/giHx1jE1X+tRHXGyeJ2H8T0ISwLCmOc7YQDJ6EBFNFUdX/jofAxGBmJij0eB
+bjx42UJ9JHheICC4KkUrvuCokHZS3G0Q9W+NvpY9tjprO5emj7utZ4uP74Txc5OW0rOeEkwCFbI
tt3oSWx2QR6CAafMAQpjgWRXJspFFJ3F3p6WdBE3WBFwkYyDn/xVTZjHG/ha/TawUnAfOS1vZpEH
N0W18PVa9MrZhjdw22nAvvAK8aFeDbnxDs5oJtJYEkWoiYphrXdBfBqswMFZk7DuHZzCOjDlopJr
8JxtaKLbqavBZJsScpoVg0nzO5NlZNzrLHU8kQAK9DTgIhGtBa4T1M2mTlQSgylUgLSjBHIJ9h3a
gD2yr1zAbuKip8QQb7og4roMEBiHdKxgrwkri33f7IMYBbHboIRrrDophssORSbCa3X0Kp+SYZDN
m87xK7esgPbSL6BwSo1Y/vSBNaoT8630E2JGfTGRO8fGEiK3pTI4Sf7JddoL4gGdXx+zriUuntfF
ETg2X82Jrl5az3v1O8m9e0XfwsPrCuuHn7r+yAIt2OkKCP/AZP72GQlcT+NYL9WWf1ZIFoeOGXAW
aeMQLZ1ex6U7+CNX85guK76suV4Cc22DRxVlJuGXoC8PWuUEb7rn/2vxQi1HCykiThL+tFoFWNOG
8dMKYlUB3dTjxzJlT3zashPS+hbQkSl81orNVY8SAre32m4T2RKVOKqAculq5zwobnL2lai+gqLV
j4bM663RBd3RsEKyWK3DwgRVxPK9RxUrs25ZdSH0gN4CxD6k+Au6XtNX2lDNbkfH4TedN2N3FEXU
/eo139VlqSWU3Ax4Qv4wWkVrp7C/ooB8W9v3UNPUzpSLkuPlLMLJybceGCRSgDFtlU3H5keFlBQF
pLoaLhjGCscXLzpmD5aEOvnEti3SozeJemMUuXrNc7BzLPjCxNUdSipHfFSwHwVLz3SglGLpVZru
RgGLT70O5A6ZDVQ6fwsDp28m3a4eTII0BbbyPErby4APaWEV9EiaVd7f4BDrt1JvWtf2s2hvdz1q
RtRzFamC6cGLjblET6OeAFc/Yg3H3NlyHGwyJw6pzoi8tWqYztoCRA4PUFeOngOHJIs8sn2mLa9R
xlIM8FW+GeBNb/js5y1C3Hxp1tACxvDN7RSilejS7NnkZAonHbwKa8z5xY8WT6LV529GkoPGygbj
nxGV4kyBV+ri3Em+6gFVKDH87lRLMnhaDctKJnG3Kvoq3Tu8YNyp7ptXKxmR/YKhWZoQUvE6Dc5J
tbV4nxp1fNAKFqt226Pc0FleM3wP0ybwdQDGRDPfrZ6snkd53ZLHo3uZtP67NHu8Kb2jPYtZN7OE
qe3Nar7mGPxcEOLsp2KiCZa6xC46WbpP4bZTr/2KPqZShzFTKaAxRGyUq97ULWppyvkqoFNOjbdx
GeWKBkGs9y4cHxhRInzKRcxOT4/oaByiWHmog3Dwr9XJexdTQhhrUjkMepzdJmCASwouXnyMMYdG
DQiKZbMJNxmVg0rB66Yeda7UZWIZ760TBB8Uvw6vCUY1V5HSfgbhSIu473jbEig9G7+Cj6obcOI2
QzpunWL0/npdVYFXxT7FDVkLQ6iM9xJr7Ga0OxuVveC2jyzwmlUmzYK66Fk76K2BBmurLL4DvVuO
WcSeLCg64+n4kXXJJhPuccB+nLZPbr7EGpWLk1f1JnFS8H9TKrGt4ghTlYnLowUIFhRKza5H9YOE
ZWNVKffMhNmPHSO217Uz0/Vk0R+GVh+h4pozlVIM+CnIKjtm2RyCEm9qZIbe3lLqtzEYi1PvhwPX
fnuywXAH3S5LoKcFAWRLVTP6DZh3nY7LhDFq7LOfXIfAgJpdDdm28ttr64ne7aoQinpbDvJG39kI
gyL77bJKWff2JH/jLPFdFerooQp6bY9m8mJ5SnJXWnPYdknONVjjjX4LGyd99lHcoJY6+KoKLqwl
Sm7zVwVNgGnXlqjxdR5+VHYEd4GL8DdnC+AR1cvOHrewdx6daWXzkRJ0MHrcZcYcnTHSbk9FZXGM
KBNYNVxSPkSS24chD1nnM9hDzq4LCEbOSFa16ObViNRmba9lemL3YVnX0iyj14ArV8uzuDGbMCD1
rHmvXkQ2QjE8g2ZevbhMmqLvhjb1z0bhsLKK1GozBio0j8GfDt6koWdR6QmiI0rfpaFOJjtQdbgH
TT58WJJriiWm3O1L0m+tMcNURqGhsxn++2RZlON0FLFDyWYdVyisyEINK6Sno7SVtbGBuUY4SVra
tjJyKsU0NfjzvZAesbAGASSq5h8fu+CyBbCqrAQrQLtN0F7KmLS7gxBdmfB4MfHQrWoZPma0rPww
aiXeRupkUNHtxw9RmNOPomXja12yJs1EAd/czKebZxrYdrjR9yYmVRWIzDB1rEStHF6X5tXjS8I0
vy9aR7/S2XDWC3P4J+PUO0lwuujjo4qPl7FFjC3r/4HJVt9YABk3iFvVuoTWyDaN8uw7z1iNSX76
GxIMXzB+CatO1IToU0BQAgvtMQ+d8W7JlDWkmgUU4gDq6FrPPnldaHykQ58dol4LTrbaadsoL7Bq
RuncW8BkYK7kSK9rT4P92m7t6qCKlkOgwfkpcrp5KnOsPuVQRtD7Zxux6XmklAWMX05kZIMR/geq
vyJt/afrW/8VALb17jSmc2kbH4DPbNvO6q58Y8gy3brsSPE5tunQT2TkDyGN8KwKjFqJh5vKMbJq
01dtsCljddo6wiRQA7a3yFdKV4BfklGSf8i+LrAgZeKb8xzBpSTlXsbkQ8qEgAVgCXTlRuOFiweY
ALhBbtewtd9xUFHdE3oEo6G3dtXokdTLKqrwcrlqhxISod/0T8WgujSOmPE5fgGlEWLHySZ5qp2J
7aeFQaluWD7rxch8bScHSNbOn6UG5kNx9Pbgyaoi5AIRgyowOjD5lOHgWChrqqaIY+L4KaHXZIDO
MQNC4X03LL4E7WxF4/xEsSkOSBD2jsoHwq3SoVSjvnRO8JKa3Z8Iq1910lj0UuFWVHEPSA/vzJTj
DHVYnFqx76aNusztdjNUvB/thKJJCNgLtfPJjQkcbnhd4F0NIn5PJ5ulvUqRHABKqlaxeXA2baQ6
vVIEwSBRDUerGsHjFO0tU9rv3MHtklsb2yddOAXilictwLme2YIxqlx3fUQ3Vl/Ha4tFjYauZtTe
2aJwvo7jV5O+gKVo8A6NmXdpwuzH0zG28iC25vSi04NjaRxmioRGo+4TMMZ8hMNRCcYjWAUAdcaW
3rG1R4jDrDB9mgqToNxJiy72iDymrm80u9yRXXj1/HDXOIhjhfbeWmRPUbqU84Bd0VegX4gaK6VG
EwSGCV26oaKd4qnl1dMfOxu7Z83OYUwob4+xTI1mQ9iKNVcADNHrrl6R3suU2OLI+o01m8FCueA7
Klpxaxpjm6nlQUlIDNoV0roD1BPrhO0GoUZsCNwJFURna+B4F4F+UIvpERsmvsJo6VnmE4eiy6Vm
6UzNS84VLZMsrmwiJcG4aTH+GoTYUGw26Ajttx3IJRjgHdIXE+zsDfH6Cx0l6z7sLmnQ7mvVfInz
/Fea/jXGXJBagK/0AlnK90mYekREDeK4zlcf1CQMInJGDTxUTcXCM3ch/RNBuwzVcifs/qj71xJr
jqzh2bNkDFguUOYAssoPWlfBzVSAL8beq6N/BwpYMwzcldg3nDaWgYuQiuIrIMma9IZiNScVc55j
TTtbsN6kzaN7RbUAq2HwRXBWA/aJ6UMz32v1aWWUFeFW3AOqUdJjI9fALqBmblsq2rtpa3G96Ow1
ORLWXRRkkhzREBzS4W+ofiuwavYtyR4gIxXnIKl2oP048OGNGvKrwlhkYGlqSvEZAAFUM0QRWlGS
BmwkrZtqPLkOZbOp+hVKGjU/9Qgh2rpNwMDIv4OgJfyWegsr+WaOxjB2KbRXnS1BhBCdrElX6eo9
p+qDEZZ+vOInB2wa/pTFtzXxnhguUUHWYvZ1Fxr+DQjBz1hngdUV30wm27a2PnTYoszy67byVp1i
uBEOPJ+YL+o3owm1bVRiIRA47K2G9J8SNnz6zEwQLTGSo9bsHbM9ah5uQTbI+WdAtXoItowFa3/P
YaMwBGnvnPeLkAbfYiiYodkGwKobTNqHyqeu9aeK+PzgIxigShWT7VoYvNG9Ih3XGXIV8nu7RSsj
yMaiA7ur4Z+DAfLbEzy4SyJnpQFh7LyZhAX7JZm51N8SC4ensJ02jEsU/Ng9MSNMEPIyUy7msoCm
n8ny0PIZuvzsW0z6PoMI4rPHlbnn6mksXLUtWYY7GyYTvtH+lsMp5TxCx6yr7G8qjfMYQvwhWnTy
+ThNq92FsIct2X+HYBe8SF95SumaOO7sNjxbfkj3KF9l2+Phpe0rQMuIeRuhWnOLbnnbeVDiDPof
HA/1AK8M+dhhJNCjm/vUYceq92eHSb6fxCpVTdfktYza/qgoGRSEswDsrVLkpVxPyT+pJyeUB0cl
HwvxN8ImrC173f9KHY3/fmx+jppznWbCHy9TfEoI3i2+/SUzuljLwjIOfgGzzOrlGyXw2NfMBuIO
EzSZcOMzqCETxYnBnWTirNRKhVQoSw0gsVNB5jLxpgPFxrNc7EeExr2GwKzMgFqH1km3JW9LS381
tNkkanX4qnhFdqawF8roVfjNzIPV1KywzercJ5QM+p1cdB1jV2qk20babJrLCk8lVQdzMREn3wBD
LUwggchygt1rfY9qtJXcWTJBDjowb8rgu8XITOUjHYWDmCNDj5JEoew5YQPbRJsNHIidXKC8TgY7
Pyvhozc3Lwf5VjUfXQ8Il4qxt8wWJ1E0e4/OQe6f0PmF10BsAuMoOusn16KL48trMwb31qkPnUkN
lYiabQ0mOGxYw6lCXPVI2UVOvA64rzM0bE2lPCM3HIWNsyqkypluTjsvcXgW5DALz396EFV7QD+q
iD4TI331O/EWUbuxGLLGtdRiKxpSS96wtYzwSKfbygZNa9FLohrZZ8+EwTOaXw0YhSO5gyImVmRl
yZba453dgblllFr2GDdLu1vFYjx1HSZzckINNGReKQ6+01hCBOS95HTeRvDqTVh6RrOpRbexJtFW
aTaAXJLkdfDZp+TFS0BzImOAtfN1uZU8Vgulm55yyvltiddcj64BuhhnisgQY01kRG+lDzSocPPl
2yzS4hfLDj5r4W9Yv2zo2Xyd2mLP3fw2FRIAH95kYwA0TDgzQuG1dPNlUK1jbBIQ0SiULJwzFcWu
6KJdFwHBqvJjbWImKAI3TeHJMWRwxdpZabarYwp4MrAz9TRXAM/ggNpj11U9AgdFdsRUU05E8Qv9
qwvtE8PfBu3se+IASoT+wxC1terx4SX+1nHYciICreskeQqOLlOUK8fT9lWAN8FjF1MDb2e0z8Hr
imrG7bbNn3TiFxMK3+CpuL+nW6HzByVveoo2qWKnt4DSp31sQN50NEwu2lBcKO7CKjrEN5nlP+FI
c6DSVS8aVjbuQsGqG8UM5cy3bRJ8KCaBl3ICITzY37qJ34+G74ESrUUtmbgTdc1guGZkOShKv0t8
OoUznpaYJjgu/t+6QsUSTXg7igYZfTQq3ePyRr0Oc5GKbQCKtllnO832n0lPxmqc0E7UNEddtn8T
2z9zUX3EmbibnY6SNXbaqiUjN4pmaQToFL3mIUwkPEGxtijqqzM2FGxH1SpL5MmmszwqpbktMfQv
VGvcW5F68imUWzUNQVM5f4DkHBY1v8Erca6nGnr4TExUENZW24aKtFWF0gBLpXoRht1eVYuTaS7W
2uTheLYgANcUIi0yvwV11+D8HHU7ORYTRZqFgWslRGXwp+yu1NUhYAGi+WwUVFL39sh2Ygz5u1L+
0fyVLBmd2fR78HbrkPa/SruYjdqt+8k8x0HElZfF+jDfiU3103GASDk+XGbf5IVHd2W/8IUN8DE/
aHbCYrDob0OKkq6Gyr4tc4wgGsQjH9ephLRdRzhnS9D0bU4YUdUCXCPqBHLfovqh29vKiLVmiBt3
ZKdwywOhPfup5S1aEz3NYlasNlQVaEexH3ZoYsUl6azXyFZdAqusI7r+G+3vMmgUw6S+ErD+nF/n
YdEsMzV6J/S71Ni60CK9Hn1nbdrF0+Jbafn6huLWD9ZR2Oz7uyQZtAzEkGwKxCFgqH1zshzS+RFx
arPh3xbZSDJEONjeS77B03CQKuZSo8TO3Y3mqVfm4HNPsCsA9DB007vatsoqtcLrkICxioMTF5Mf
Iw0/NGOMl12OW7jkDhAbtNjwdzoR/aR69m+oKwf4a/fTyPoqTFIK7JMXZW5Iih8KRt2Z2K33l86j
9XUkI06JJVAmPLaM3RARpuoFTeE01r2ySG3EoRkMmo092ZlpuplCJQbQfLeF1WxTDamiYDWcJLhB
4lGwdx+3Xg9+zSDs4fm4F4v2PAy82A0t/MxgMCoKbg6jPCWjuPix9pbHJThtXTlr/qRxB5pOlDNm
T6VBL6fGYccmaQXUbZNj2qwqiRXFmg6dTmSzNp0JLF7nxoO6b3TtoBFYVMEHcx1/FQpIK4+TXa9w
i4c5i20p02eq+E9+YXhV8XlWznRUlGTrkTKtLfKUTDejGbuqQnQ1rcY/tKq1MKeNEUqNl/cs0g4R
OpBiECIy4hvT8L4kEJNM1i/Vppc6N3ZdABzKChiOEnuOeo/kCXIJUoFbNdARvoJxwIZTGVg8Vlr0
XWhclhVNlRdnQrRgU0oWIf6Po/NYjhzXgugXMQIkQbdVeauSKUmtDUNu6B0I2q9/h283i55uqYoE
rsk8+cW+AcxbK1+IXT+xDPRXioonG4edRxYC02WIq9PCMrfaN8djBTjL/l6SS6PaBfrfODg1bGwO
DFpXnosbvve97ZyI/iIEUpwIxWCbtvEmVfg3WKT6gBZzc0g2jrscMzOnQFW2B8keselC8DiZcSos
YJpOUPzloXszmOvutAz/pch+iIO+hbO+G8vZV036neDkg4+8gyfukdUDZ0GQvGHnBOUhguSJnIkf
bG/rXmF6b3uk84UmoDSDOELIYjWTw1MET2McHEM1fEhdfqvF6a7pasu6PREyfJvhrFZROJ5pnY4J
1atTz2emaxiDxDXM8m9ye0+tZvKjmGhAI4wTgH9tqNYJ8uaswt2ppkdOssWlb8I3lvlTVID2drGj
mVF0FsFiNGyQ/9TWXQX+SzASe0Z6gIVob9alWNVGjfFBIzmt9kGrT6oR78y1fvI2ORghJMkpfc8L
eEC+QQpEYf0ITFU1JszQ9q4GiWCqLfd6GI5JOO/71vzEV75RlfFZu2316GovQ7ujo4/WBN5swnh9
SL1l2QyJaiT7Ius2hTahLJLHmVporWF/BC7DdnaSW+ZSiB91h8cRo1vcB99ur36NQE7k5vGzuw2U
9tlCss8dDC4as5Hh2CAgGcx3Pgpjf5ab1h+OXt681oFzpyKCMaMHJgBqhBaUo7YjvuDBJtRQBuXJ
L7oTeyTzISbjFH7Ac6Xcq+/Oj7lC15gN+U+G3lCNAn4ccE48WTXVQtK7dEL4hToZYT0uaQqju4Nu
UPj4EVPrw5cT0vEigjVmMtMKUG8PTMZSx1g3KVlFhAwkrs2OST2nHdD7UTPH4QQnoBADjjd9RXg3
8zRCEeuvzA4MbBI9Vk7xlU/JZ2V6NKLiRw4eIEf/s0zNazDqTYJ8LqsDVj7RVdnUz239pAbeL/GW
+RZoU0xNvvmddPDeJ0ZDTfGiCZHrnM5D4THuRUv9jKAxbRdzGMsL8q4NaR+qonmSeYvkE58HCpl3
MYeP2KCfjWB4kikA/xKwcY+BHdl7CnhmQrHUB+3aor0jindLTbSNoBJbs7exu/zqkWPZcJ2QV7qb
B+yBtSSRzmDEUrwbo/7wRnxkGW2uCxtOGIxtiiG+2JXEzpInMNS7az11+5C8GhoZgrEpkBUsrwhJ
pBphnVj+IVPZ15SEP63NcjhJAFK4wUPa6bcZmHZRVvu+pzY2e7rkssY21AwnwzYvtILRxUhYvKDi
Wg1Ydgsw4EXvSBIGxUu2hGJU0bkbrUsIuYCH8twJqGVxdBgo3ll4vIY97vMSycgqwd7Qt+3N5Mwo
rPg+4YsaBTVJsOzgXcF56WJMEaZHRgjf2IMJJqh1sdjV7LkOLJA2aIdQPvN0j+bUbEl7TnYBhP0y
zyBfzyjm6uwtZbojHIrEcXlQ3A4X5JDPq7adYz6GNH5mYZMecm23O1v7l2FMfYJrm/ojTUD6YJIa
iDeDAJo+haOIuPvm6DCn/JhxgxbfwTIzCsBWZo3JrvLwBQWm88cNkRxzCcy/TIiGt/Whq9ELk+iZ
M7cwls/ceKENJG4iEv1Re/JBWfV5thsMm2iSIPo6EYEUQbVRUtDqxIyCeK8YxgT1C1PS+cHpilNM
A8WuP/syyMyRY49HjPWx4dlAclvaCYd47Yx7SnXlS9/SxslnNHvYnZfDZzapw5kbHmSS/qP/3Uxj
satbqsi0KHbYZHHj15RTcztdKMR2pPygTudKCbjXxkF/dt1wn1Sxj2nzsn44uMwohskOXxIv3+fz
9Dc2A95En9FLqgMmQRXiUK0hiC+qezHdR99SDJvdd9OPqTvd9EwlfHXK0b42Hnv8tBkUikYTwNIE
DmWODCTC6T1VCDWLxjrmDfYm38TlOXmfXeVcba/fJ1N1zrGs+H525tKFep8CakkgvETx/BunQbEi
9cu5DiNiNN6BI4H0ySYv8faVgbGPRpiE2snPlgC5Y5X5dUZkBfRhFwk2wIwbHyrJHIxZYOvmn1IT
29z65nHMnWfu+Uc3YbxZoh/YGiowjqmfk0scQGDUZvHGGrA+xNK9EZVksZ3HDy9rfUnJ8SHBctdl
878YZRAHMdYHS1ntOrCxkuUjkzXHMFaBcIE6aQUG333O9EiSH2ZbO4B205pgcnG/h4191655dcVM
jOxwD7D0RiwVtgmCyxbNI0Hcp5qlFBQjCWhPyX3sIahOYy/dzjFDajis7X7uaJ+HFdYQYnG7gnax
YmgVEHlsOXBoMM2aDn4sAqFXlq7zG4sUd4eC5hBiLfbwB01B89S346ffZVCMIVpX3gsf1mr05wJd
IfJk1fP3Rrw1PKb45DXKLZsVOP+ul+w6O3mKA9Dnbkose+R41XmaYaAwYweOtiwv2CRQp03P/CzD
iah1pMlN/Z7ZuL4yI8angxi+tuP/ugboSc48b1VlOTm8JaFPA/102NRktSakYbHnZGdveEzzEAyj
/UVxi6IZnQDYXuV5L01DzZn1lbOP2+BNufjX4gA1CUSFgz2JTdOnf1nL9qWNBnDCBfcB+wVKHzwU
uF1r6yVFOEaP0KzrBsKMtHsOwxo/sTvFtChtyhwDQelTNNBPokA5zJ568jOycdLsMNv93RdYxZrc
+lIalUVWbvMRskskjbuXee8V0LeuIEXDr/Sd7+cAhWRaSzUcrbpdotiLHDSKLteuXV+8oLtVHXuc
0cW/nmWU4ko5r2M2vDIZJ8opd2Ooo+bZdxlxeZaAGum5NURj/7OYOfemisO7b/2XRLgvpZHuDPYQ
ScQIpGYHyzc47UvPR709oOMlTPODA20TM4HHOU2QseI33ZmFfsqF+RgP/dVlJEa+lH3uOqFJXirG
E0YdqkXtkg+kmy/+6oOyGOhLLgV+G/vqJwEXsLAOWW0xj0rbQzoU1kV23qcdjB+RZcHDDuddxVRr
E/mUHmZMpTz3Z5dhPWHagtlSPaAQ5Rg6zEZvAHCp4c3z7puzCrazO/83Jx/VFNxyIDKJyx4hnJnr
++TJooJhVuI4Yj+kHB/x2B0dJgmq6R18Vy3SRf+jnrFMpxEHKyWoiBN/ayT9K13i3skBbXNEA9R1
ZtxTfBNxPESPhdNmO88Q4N1mWI9F7NvAMuSJxL3rrGz0zVo8UnbtZo5bIOYEGDKcYfeG9pqCJN3B
kuCsIw+kytxNULpgJqqiWFXSg09cYGpheEmpHiGmjc333JCv8FTuapm9J0by5hrRyQ/lvTXTYMd2
/ZBmv5ZXXKo53mYxoHDUpcScRe1/PhB2M3GeJEJ/6geb4Vp7naaC2R0HDDcUB2vgGX9jNZ+zMvTX
caiYcLPtb1MkaxFakku/fIRjAK97LM0QULfULNIsFyEzuUBBx2LUltaf5ot4sMLws66A/OHoqRP3
2nUZEG8sicpJ343K1IgogLQVC1uRtL9d5s5f5OC+pqO3qRUXVhzwrY/VP6/E5uLEOJfVcp8O0uNI
JXAgjhl1SXYGzhwd4yV6PCyQ4GGym/oXp4n2sSr3bRB/1po9DQvg2xCPiPfNgVWiIeFpW+faj94L
tnS7wkD33mQVk0ivufd+6ZPKkJiEYA37BsEf/CRCFAZ4h73lrGonQPMLPNwz1kiQyFuR7c6KvcVS
0fF8t8xGPNed94DHH5o4ptpI0mUd+NLr4ZJgWXGq4sUuDb7n4q7b6bH0PGYqJbbGJGV7D9n8ISfI
G5KhedRyIl8eYlQInWV0PtLceSwXNpCPQUNBBKya/saZfqolbBC7e5MRojRV49TzJnufVX70NJkS
ZLB8zQhc5LuGnejMR590n4zeKvIxQppxeeJs97aNyrezyd8kbhPxkEbxbRgTcHC20xbq7XWVw6GR
VoAHzh+fM+SN3VRtJrslRywEoZr1CAdVFyarMOh+cr95Q2D2zad+T+D/a4SPKQBsO0uZ0XWa/QyS
u5qVoKneK5K19EDiX+3dJ7ZIqy5DfwUXZt1m4y5V6cEY25zDyL52mXiyKn7FsrMoMjj+mMsiHmbc
yGdvAWBwpzpbWwBjnkt7Sta9dp/N9v+Ib8IMJ8gNVQ0DleKB8mDvEF5cRhRPjJFuvjnhVcLm2efZ
MQYJ7jrIJSJrFyKriSPnnaHHxxwzTxoEpFtbk3YT2OXK0NAVygED/YQAC8AQEq2tK+nKfJmuKUSX
Ayv+ngsFRpTFVQQAox2GTWuLlRewoFHQHExPbYN6+Cvz3xYsg7S8bd2rQ2MAOtXRTTOzl75Cbcwb
PMOvkMGN6hqDqmB2OPK4anREZFiIU8dGKZn0IbSx7LFP/fCy/NpNwz9dUncw34h2TTT/10T9VmaY
B62I3EeyRdMm+urNGD94U+ab1CDZoekZmdQdxrcmrznP2F16yJG5ZiEs/paKd7Yp8XPLFoaTMuHq
9zh/q67dlD5eVh+HaAdTI+yDS9WoT8NcxlCxebQ8KsxMXaTFAM4W0I19yYzLbExYNU57HJPwOlvG
Xda8zpO/LkdSJwpABd5I1PPI2t37bPpTEhEP2+VFjQlSgvY42lCkhvJJJ9ManZQa8E93F3pwzGFU
t0Bb+/4LTWj9W8eV/4OORxIXOhjbAdUfUxbV/eVJnD4jhKWxjUJUZEzBKoi0OE/At+V+/5IjwNlk
Q2i8tWU1fed+ivVXFEZ7LkJDfKaoCU7OOI+HkVPtavWJvo/WCPp4bpuVURfQRnrbwhpqCtxYsuqJ
e9YmL1JFllNYsKQLRBgeYChxZ8RYdiuHtZGfg9Xok767zZhzNqlCfd4F5X8CMc+G/eaE8VfHP2Xl
4Dyr0B62XQG7WZuEtsTde1uAxjVGID94TNKYVMuSKO2VNAKAcb3CWjVV1a1vqRWiTqGoggVnGdBP
BubM7ASiMXhPxhSjzIg/0VdYtRn7YlrqEOL20DV0nCV7PhCXXTSfdot+nHssBt7StRF9+TwLyBgp
EbcVDqZ8yX9GqM+hwgh5Yzlw8iJSszljaoiHaa1RhjSM1Hz+x4ciIB3QVY7NQzg0pC0S0tN1DpNM
1v0MuEoDyLcEMcDn8+c4/nwTg2nHZ9de/u7OCFbzwgT0sgDyfmVE6AOEkWTTSg/zdI3klJyQWUP8
oRDyoe5NAEzShYMpDPpFpHGE4upOIGYQ/wxO6SKkTpwMxrXNslnRHpWJYgqCrBdDtr9tCcveZSWL
AZnO4l89UkdEyq+uU2E+J62tN5n2HpOh/rQQzOe9fQi0d+0BefZdjJy78n7SqiHFUDL1qml8kVa+
8mQcsgjrxGgPt6roqy3dCSQQRb5dglG78wv87/Kfg4pgErXJRrq40UX8TD7rFUdB0LdrorCdLLom
zohzACpnZ73kc/gyy/QzSDuKYL2Po/wl8ZH1kYqebU3d71Ufc0GXG26ZZCfQnmIK2dIfnWucc8qv
30ofyojnX6yMMJaeJeQ0VI8z0k8Utx+Fbd2EWf65SKOwIDF90Q19VsN57780M6P31LTewkwiurKu
qgRElFkUCUPCfqDtnljRze9V0B7sxEe9Y4X3FhUcsVVQqmnfk6AFIz/ZmIQDZ16HMngyDCPcebX3
MpisWunr3rJo3PSt9T70xMMk7UtJGfXQ2RiiRc6Jn0akyiWIac8OMyQuJlb7c4JjJ6l9C6lCXz9k
IfqSoXzmHnkIHUDrRD4rp0oZz7DxtZY3rApThrBYeMqeEnRwNh4JYKou+KLl2ci6gBoXs7cd/Ea+
+OYo8Zclr4UahSVtB9fW6p8MW+FbEgnLMlN0L5nTwYuK07vBsGoU2V2wFqRPTbGneijxsBes85kn
00xMlLkkMRVdN75lmcfkvZWA503r6EWVt+Mz2WdB/x9Rxs258fTzkOAe8IngRv0FZ0FtIXbua0l4
Aba0dUoTJkuD2VAKIMzgkQoSfULUfkgsf53X8p8Y4itKVcqN0j3oLO+vaFJXXYToqw7J01w6uFKg
wosC/sG8l+t2iSmLUu+KCw/ZuVHGO1GlhMpzEsR6AObV4YbVdrTyZ6gaOd4Eb6IkojZgECQ+Zaf+
I4C93nLiqVNvhv9Njrz5EWgKZSKJt+fFlm8XNjuzGmov4Iu5lx+Jy99qlxfH7zHPR9VDQiNuBCZQ
EMv8CEzEJa6FypnklsLjnyPLVZsc/nl07xx9keNwiHOsU0F8CRetKVjWTZgD+24y90mnydYeqw3T
+H9DPcIXanBKo9inrWjr4Ujxv+mRmM855gch8d9VzMgMYbj7JioFsxgtXszQQN9Uld2j1fLW52Ix
SpjtNeXgatgNDMW8inlMcbA8ZKnaCGWtLJJnnEq/OA5YDB9ZmOQp6JijsIRZmSI7K8RXtRl9O+l0
xgjH5szcpokNIfSfj79d2/sm7P4qv6EiY3NQMbTl5r7lGFJ5v9jyBd8ZWhctbtYMQZ2ErblMLxI9
qi8/K0qqNAJHFfhgWJwl8hIwC7Bw9pMHc/iYsAgiDz+UEgM9/L/Jbx5Ri20oizZaGwcVQkFwza32
/tMGIYjWj6rlq6S1Sd0vdjDLoRstmAB5LGt3CynxWg3YkiGQGB4qZGuEcopOhi1gF5LuQVha0iy3
AaTuEdI8aKqpBITtjGeNhsWSwB54iuqK46AjmsrW50jFLPqbdRK/t43PrB7wAEOxgJBPOzDPDbqm
cPjySO6j4niwKIRjFwQtf6zqwy9vKrlF8bA7mKA1Wr8A6azVqLWS/WaqTVIH5PdgUO4H3KHC3vSV
urVQC3hatwUuj6zRD31arBxLgQd+5nfeADKvsKCjA2u7Xwv0FnbIRWC+bWBpuQTxeL7YxuUa/Tvs
KOCVdAno4ZEkiaObEZbUu4fW3SX+K7sw9mHT1isdrPjjJocKru+ewwajvjcOLgALjQmAATgc7nQR
ZX2Pp1WieEwtgowAzLBtDxgJWMcixpgQPSLzXdyvXAYQTyA5U66VQEXQONfzazN81kR6Sdym04x+
nX8O3e7Wzg1ST4330KneI5hG0UKl4dSKWncFFHEbUgew7tyRx40CH+MmTAudm1s/+IeBbr/EdLuV
8eXWECc2BpdHH5KlC2ZPIhLLYIfM+D5zacH8hXHI4qFCKkoqFBw3Z2UXGuUC+UrNXeJcYqdUETAb
zXyic3YttYDN6X5xO+8K7+pMh8k/mTDnbDSvbgeLC4IcqyfszgFBwulwbYrskKr5IZ0ZwsQHbX+a
M0gVhmPp3J3aSTA6QWr1EbJ4ISS38o5Gd+n6dYCcI5tec95OCCIu5garPmoYof6rmq8+rZFHhncO
1RWVittcGyVWDbtQOfwL0re67Lh+Vml9N7GAeOyUybL0djP8jUx8TxCkePwWdBH4gYjMoKDB2/DM
KSP6ZXNJOFmvdu1iciXty3wzZQkf+hQBzZTVUwWzCQGELn9zcvz4wvLlGQ4BmkGj/q83n2MqTqx0
VHEkbrYH1b2GMW0O2CxlLLJfUOicfl2DD/UPfReJqqRGFANL7Khbi3LnwzxXgLks6EYY+fD0R6ty
NKnxukfXE09B7VzGvjv1Y3eKk7+Z5qFN5zUdM7Wy3OOBIx83uiVo+QycD5Vk0JE/jy75hSnLfOca
RTxFNHaIGHjGUd0RZJr5HSNXfM7g4RzxlEAb5lXO5V8KeGGSZwmvWVhqUyOiCGj7rMnb1UMED43Z
ZIen3OByb5+jOiFrCwJrwsoT2HBBJrSRG5/lGOxrVk1mdVEazA6zag25Iu7Zo77l6W8dmWj8HUmY
cEpxZgdvk8+IHqXQTrvcVAChEaXqAyuq4xwNH0Nd/BWt3OCRBjEbXbwQVOb4OiUEmGGHMhCQOCnR
ocP/2YlJWDOJBxPDKDKawIa5fxQjD2P9VyXmg90yh2IKPMXxt2rtrRFnf9FQnaUNTpqPhDYI7qa8
CBeQOwqYeRxuI1ZZLBO4aQcGIH89atwmeVftnzHLU4ZSYkTRi26EsFOxH5HbFXF0whK4cRV7x+S3
MVizDcyx7eIa+cTEJBQqQfvt6/g0gNTtGcXYXfo7s1mTRCb7xaepNTyybO3qQ5CjaAJT1iBsLhgo
x5b5FkAC1P0nJcxpjoO9TYkRp2BTunBjJY9sxgx+CrGIOF2K3tjGIPtUGykxG88TwDGPKbUaMOp0
fzWLbat0t7XzOzrfOde/5IRw5hujzmeYyHX0nMdiN1YXKhIuDvbU/r1Dyp33H2VxxUY2kiCXrUu9
bZg78/BfLfvi5ugt4Nn2xpNBsL1ktzNnC+IV8xtPqqSLnf3/ZnUX1WOWf6kYFyQZdXayjkfguE8F
+wYihBRlK8NxWBkcTQzXgvjsw7ROYBBC5qhfZ4hPfsAWF3Gy7W4wna2y5mLC9y4SEsxrVMchObrm
rhOsn/zgTcDHiCIUyMAjoPKi7fOxJwOtk4oBX9il0LyhT9JYoYrfN37O+r5hV2EfWE1tZqrrFS4F
aPSAMGIq7WCAIcj2h8rbj3598N2dfhI0/zQKD+hXPEp05yuNvorkq8zVQST1g8N0tEzBtjDKPYeQ
i1tnyXuF9zH11FgjcqvWeWyMnvwe6NFuG/BVZxjSgOlF4F1IitXqU4dgUES2k1nwZCrWhXGqfmJy
TyY3e8Tg7fMONc60xhaGXw53OGV4BUniodbJPvURl7FJVy1dH8yAiiVGPMPTs7de+s2eDrZncatr
sU3A1PvMMWTQH7ugo+T5Z47/xUTF2DizUev64yEC8tLYR+yx6xm5J64SjiJe+R6+MzlpzNC2bYFq
uTeZb3fbAQ2EBKpg4BOoGfKZ4XsUQb+WASGO+Kzo3TCsmGxFqVZTJG5sPwoFJq1Xe7Isma7ZITFk
bsJeqeZP18hdtGux0C/mFy+YaCDTf7JnQY12xBppMC2/WMVkjvJtbeLxT4rwV6E9avgEHPFDMiLU
qdfCvucdgnCQCkZ8zVz7oQj7w1g81ti3k7eAgywGWFP68OYyCKpUXhjj2358YE5YTnQlr70FydoC
48a3TFeyGhkkeanc2xBNA+VegPQUGgSeua98qkus2GoxPJr6s1fwCAKb4BQ8MoG/U1l4GXT72Bb/
FOKZuW7PJm72MXqpq/ReGMN2Fsz1vJ3PTYeRd5s2GQ4mQhykgYaU2Vqyx0jEPtfeZk78a8Bo6yVK
EBHsDIcto19sOEtSsIrWV20lFcCrPn5pIS7YUfFSusVFQ+z1GH65In3xu1trkYZcAqvEmZTX2SVE
/4Oh7FyLj86HqxxZT3WnLql4He1fmyK8bd4VXsHRv7XpBxY3xqObvD5Jndw6Io+d1NiZEv20xi5J
C5EQV5gtWUeOce4j76Hku5jIEEYL8GFWvDVp+xO2yZbJHkkBeXAfEA3T4O8GrcDvU0dGzEqIu7Dx
b5fXen6ZERn1Y/VoEM/WNuam8PvyIWRM1vfx2kxuUfdehv+10bO2TqUgdy0lXBPzWe+1W8r+dQ8Q
YsYlKV8gxPDaD4cELoFAON+7xh50/VYW5k5607pnyaE5IsksOWtE68oP36fU2IpZHBymmFXzNzVf
KHA2GTa01pqOKhNsLT509OIV56XcjRDVzQPBvEQcIuk0eMGhaUqJhF4npyKiPVN43BUv3UyjIgPq
PiR/MEseJLyGOvpBE7+O8JTFTGEDisB6eB57pGKM4Qr7rFnnS+d3mn8QZR5kT+4THG4dv7VkluQo
Jz1WGS7egmRmL9i23PFgFVqh6B/YOXqKH5nEoO7iwSYql3gdP9llXveYulBkx7w62NHLDCpN8d1N
DRWcuNfAqwrxpYn8wwPjPc3MAW2GllvTZ/n9V2TASfWb8EA6TZ+WeOzHi99FB4aO/AmwvDDfOxqD
UK6t4BCpaEf1ZwNq7/LnueH9tOFjwvn2YDmwQE1GpooDvqSDybqE48DDFuZ9kbU5W9khNrDrZPhA
vBFLsXwozebVrBIcaHqL5WulkGC44kp6Mr4X5d/gvGaYQLHytx+87qHDt7MxvDeXd06MkOoIFjPO
fvpZqX8tXZZVAwjh+mu6bdd+i3bLjrIYGIfH3FMUXOGVcqDu3+luNOMI1JAQByZUwid0b4JVJwp6
GNr8N2ObgO0FPq+G39VHVxGEONfwFDZeDYBbbw10pwwDj9olvAj7JbocRnmrGCymxyS4N8g7Ktx9
if8hRyzr1DQ4YXZjGF+a4tZGi5A7Ro3EDsyl4wAm77Tf9K0qvjX1DYflpiHrW8C6QhXEK1XzF7vl
a+Q8IkqD5NvCnOJCj4blSTg5PnoFqEv8eWmcG3/vWCdZQzCe5LbnGUZWm/LOpVd7hBhjZdvS2MyM
3uGMDSXq0FPYvujs2FcbLBlOeXYROwcdngfvmY5krafdKIqd3T6xLZDFl8lnEyN4H/hnJSIvaZLO
jZJ1YgFDTPGqpcw1hre8umaKGkn3axT1h7RYgmDZI1hf4UwbIklsFe+jLrdBc5zhD88MWOLS3pYe
tpuBDN+AX5APLy+RmHPROzmS/5q8sBOxMKzx9gGPBEAjzkT2MAhhY9SMZA6YXv+Xxychqm3PgnlC
eJ9nMAcwJgB0M31iQrIRQV5qkzcQnRvnua4OGg6PSiD8lvJJFwVGM/KcKLNzMPehPAhULqODrsCc
bqbR4b5FC92Ol2gCMcKPJbDmfOkxOGBQ3lpc2uRaJkawdkK+0DACSTwDz+peQQ5tjATRs/S53L3h
Sk39YDtc8iRbiX0bOaysX6fmI/Gu7CaXgvNVOOM6tvFrg0bIAZYLG78PJiVB4A/eBe5qtRrG+ZO0
kuNUkOfEJiRMg8fEuWTh/f94IOQcxtwQbSw3Vv1uz2gSqH9D71QwnbciPtuxu6b06aW8d9FjWT+C
cbGIwiH3EkXh0SWoIMC9mmL2YYm6Qz64ZvDII3h2gPIDHnB690JhAFs3vzDkJ4MJCorzLCPQZTMo
vVGGoFODbVl2BGRYiLzGrYqa72g2+ICOaCAEyB01FkRboQ7DnQCnPR14yZyL6zrxGrcFETh9dHaD
nMF73rTXsUyW3JRBXVVukJKV5X/wgf4lYdpviiVQOi5Q3xmIksgOgbQRD4zYArPDcWtz1MZyAdOL
V904t3EAklSHZKYE0ARbljteGydbA92+xvlqarFDLLvs+/2TGMN/eLxJlWSronN7EZUcHRkdUhQO
QUfaKMSaF+EEBOKJuHicR2APRnLsvG4ng4GSUg7wImf9OM4Tb5LClxqoiRwAFwlmn8yn1MlxeRQN
uYFWXW66wvhkuLOvHKa80yIHmFwSxiKPYpMQcuGy+dcCuHNVF3i9AL0wUbPCQ7H0lYZ1skznGFvT
lzEx/fKI1+5s+eXhfEUiR9nFIK3g0sYrMuJEyWswrNbRqjiximwdy68ehrPZh2sbOXNFf4tliPjR
2r6xrHy0quBjHCP2Nn6/yW0Rw1yI4e8aSIDnZZk9TD8+s8o1dsJpOwTDD0PVt8D3v8N4Io0X39Ha
X6xfM1q6DHkn7i2myggOrmkoH2n3zG8eBnLQc/LEItV+Np0LOwP3WdCQtjkgNkELRAqaDpbKCJSU
Qo3BHjmfYZRnskUAbbw10OJZ0CSNd6li8cOKdNfSyXqooEpp/UgOhiFJXhvX4JLA20EQijSZ1GCM
GUPnEKMctz3YEShmUx91JLzD0r+PxIChS187Eu0haKBYEEdtUHDN0dUp5Knrbwm2BVnzwi7OIbMX
HHZI6PXYvIwhynxcVB57FOM3JmnbcPM9g/YvrQS4aSBm26Dzn4HoWYz49M73bYiG6dpzeTL9gdw4
T3+EobftockhjLZYQCLPRQLlkRdhpymi6OnWO96zBYk/LpyLkdMbM/OO8zt+i8OQjQ+l0VMtjjiM
xitt1TpR7clyXgXkDZSeZCwQwoDqJaGJx7hHNWKzjKLpCj6zpjrkMt5VU/3msAzMuRLHZbHeygPY
HlxsDNZBZKa0gG3rbYYaE1IekioWo4i11gWzZBGMTHheyFqiGuzWVpTsM2JfaA+pWoZzx0sLummr
3Y3Bt+Fb3mZq33r9rKM7rIEAzzKtYVg+OuNpSm5We1HgpnPgUxXTSsKMJvyxE4tb1qxbyA27Bql5
hkbHZNg4QhCPAkj1aJpT6LcurGmHAVcvv2pYGc2biTIudNtNb7qbZsgvMwVjbnwvVEjfRVg5nFKm
4D2cRKsAlI+KsS2H3UQYDDOAU62+BkNv3PDLbTkWsPCO2e+cUCCm4Yr+z2QUQ7YEDRFKig5OX4yi
oXCmT7BPe0nKZreYPTBllRXvqtomKiMABwSpXmZHi6wfmw824bCI6YAY5pbGFtvQMzAmnt05fs+F
fiwwEy1vdDljZcTB2/jlgSfxoET3WmKpdtgIF96wR7J+8qffGkp43/yHZP7BBWk711BgGgJN2Qe3
+KWzDgYSslez5hgS44ZMmVVS8tJYexPFfWN5T3WwmFbm+iYBMunvKXlvBvzf2r8aCZ7HR59HLWld
pNvyPHafWfIYQ8hGlPmQOu0miDT/GG5ft98XqQCXrNcOzj+bJQiYGUwH3apzgreo5baWsrT5lCko
XX/4VTbJ0GPVQgWOopOU9S7S9t+Q5qgkxTn1kre2JnM0x7mYhZxtjdXN6w5l6mhJ5syQ5B5mCsdq
olziLGWWNhwBc7zo2r3UKBxiBlspgPagy/dyTP/zIGdykHvPeTje/DZ5jEJtrWLsEgZSI3TO4hI3
JoWybXAGiI3Acx4zmxV59T+Ozms7UmQLol/EWniSV5V3Kkkl/8KS1BIknsTn189mHu90X5lqSHMi
Ygfa0bDRHuS1ZD46nP07bFiOV5OeNr5C+CzMhTj6SNmYwDDyEzBJTk5S7lCZOG1n5TEzEH1t7LC4
dsiU23l/IbnrrfwMN0/swMlyzZpSAfoswsk9DsvWKmw8+Vlt/Iutce923TGjLAs8ksC9ixQjm+SN
nON3HbkLLOTTtxmRTDp4y+F1rgZLRNRkwRDxUCpLp4xY/2xSu3SHKYylnWBwPZOk2Hul+mw8eJrO
zN/JYwLnmImK6K+Ox6PqPRzYrLkjvT8ynvctUPi+dF69Ir42CfHOyP/unO4o2uolq4YvoHrToe8i
enDN5lrVXwaD3cob+SfH4Eic1OftZ3hWQZMf7WuZ0WtmEfKK53sid7cKs4+X0/Be29ugTlbtND3F
/OOTb1xHKYdIU4DvrRdCvoWvzXLSHWrQNunqbe2yZ+bWoy3anjgPU/w8wX2QN+WnncMmaN2TmigZ
SJPxqWYoBfY3vnq+84zn7WRBInLi8jI09TL6Q2iDVGEyWq8iEjup/dD1PukPY4NwdzTi6q+jcSEU
8c7kRU9xUjK6Z6SXRKjjPMoGiQe5Q6YDNxkUFHs3ZCz9hjS5KH6133/VQEFlNlLSFuka7DvE5gZZ
qe/kh+kAolas0GH60PQhwmaup41n5TcL8MdjM2D4NzsqjorUaQ6G3W+LbEae7Ku3xGF3S9W2Iuy6
qswlQOXByq2XA33e9R/Y0zD/YWLdQTQ7N2NIlDb7jgyg+Ak+L51R1eooHVxyyfXLrdtdbFBqYETu
wxyB1YVneBxpN9xqcnlEiSlSrJprO1gT1zZ75qvi+2wTDuKNb63J4BJRh8s0Gwa3QJdJMc9d2p1L
VXzObnIgUo8WM76HCIpR3L7lGT3rBsZAsk1Hr0gHNIKQtcnYqYBO0CgmQN8L58/3nKt01AO+BPeN
L/AU5KwBY1E/WRPIr4QkJzPXxZNYWDlNCWSghybblPZQ7gdLfdMSecnr4p+d1Cc7ti+ONbvrPLSy
ncC9mXbFGxmZYxcEy+Ru2faHPyxwRDPsD38ysB/456pDrZnqaEuUf0t8bq3RXX3hnaYaZ7SCYmxU
94X2/swheGyH6NjazYewOf0aSWuDiOeaNY7GG2vHTqgR/FRyjIB8umbxqkTLA5Au9RHy3pTyyylm
BqX+2qIYw0j9w5C3u9xk2hdExC289H0e+ATz0sXdLpzgro+bf+jUBIoX5cV6UFav7oNGXsLe3wWm
/Ql2pCCKlH7iQzpOcb02XGtBQt8NESGb+EUMlG6GGEWbKt3h/Vm3Q7aXYJ/DCuM/BapVM3/grFoX
UfRqO0uhgjhSxEnI2mVakEZICgWzmUgZ6ySxz1T03YBL2itfheuipsOmZyUE//uAd/BCFyWaC+e8
oYa/kFZ6n4fc3yoLLD2HBSfNTm2Yj/Dki6ep7e5nQOmGv4TZSpi9Ydtuq8lnlWoxVEtp/gUd2Yoa
ubCfDcJuhknpgQWZG+QiDlufFbn2u0fUt7PO56cZXvTUS8CX6U1W6WVO2mMw4DcGY8epHYUnmMP7
JHFfICvQkN5btyIZ7nsT1rrrbio32feBz+mjXlmhvCiTKqMxNtFDIGZxJJWfXqCwF7H1yZTxo1Pj
GWxmC79CRtxFW/fdWF/ySOZrIoWAmEKHI78t5Bp7KBUhjjsfdWD8M3qhIDZ0D2MY8GPY0NkIUKWD
5HOomrMruevamq6Qgfw+DuSb8sZXZ6ShooJ9vMIK+EV27gJg9eKn3dIj2n+7GOwhVujXzG/eSyTs
KqEpA+7Io3QlNhlr3dWo9rntn/qwsjYWqyo8OMzxk0ixSabZj+nRHuI54yauyWplZnExuh6PJMoW
zgICE27p2RvQcVwHmvcRHxlTbcQ6Y/6J6+AoaWiggXFWaLxOth3zpTmV20Ra+i84V5uNYh6Aiydj
4G1+gaKlbcCLuxdlM0zHN87voYDcWBVa1dzTlVUpkmWG8Z4UihVo1ue6xXDKK3ZXQqqD14iK6ziJ
2vEuvMiac5PFyAFpI7tO7vTQTJy9Kq8NVr4zHKAzkhwz9ix8ByHUo46gWwmkXbBPS7UOH9fBzwLu
AxgdN15echAgiLjtAYWwA3QnNdMd7kxrCy/5yp+9ozKyeNPq1FwTfFoqaeKnKQok5U09c1DkJwdr
xga3JXwf3jXPV1h6Q4pduu45kQFn8gBkAZezFCIy/gjvyaZF2TO4jrVI0HddEe+6EUmcZAsHSZ/j
V8z3SGLmoVbERJg+XefOHBHIZTW+eCM+aL7ju6dQ6zBM7CKTzqukn3F49615SeOCzqvUdG/agVSZ
LXMrBkbRA75sTjDyV3FHzIQDMLm+sA/Qby4BFjq6BVcASrDku9lpmW+r0CgXaOF7qtuOX7B8Ewmy
mHSpjg5tXez8aCJGG4dQs0YfooY5vLqVZucf6GuIBzRazvZjDrTOPEd9sRdWH6Ctc4WNPIiOiHcp
EeRKXOVUzn+6HOuneDB2rhxBQunxnyUBBieQTAqdsp7wwVjjdJtYuNqGfL8Ts63adXqpsYW8QuBh
OR8DHkRX82dUJcSJdLF+py+e6bxMQDOQ6fAOelbxN6UwXCx4cbxU6HWxgUQQjg2dHgVCIq0C8U4N
dFVXyB8m29GdNxQQqK0PFVJ5ExTQIicl3kLRvZQV4RvyKOeuKiAzEvQjiXDS7rizvPI5sNQuz6Pn
zJ+f3VLfx0P1NJBZcqHSFtX8AYTu2nje1iAmc2eNiOyBITaND8g0ashrBuIxbqN9V1bb0kxus7sg
VDL8kam4VySdi5AzFfTx7TgpliP2vIZ7HnGDP9iqxsoR8bWm/zsa2JpHne0BKeC2GZntZ+IQd/mp
tCAgIECzueTpNmkWrWSJL0+xERD2Dxn1UXs78+GHGd1lw5Iy6Z17bKQPoTH+qKQomTh4V7MKMJVy
ewQQkv1QO8pllbFD01unAByYIJ0B3lgzNIu2Uw/d2OVy4rDukGb/k+w05EqKbx9vcxpFH85ItaFo
Uxbh4LcV6gp89AU4Oscy9+xH5GJlyWgzrq9ZBoZkEA/TTJcXQHu6Cm189zx7pGWwIFhgKiepGMbb
Lutf4WBFqEe6mmKUy8jEgyoMXvm2rZlQZjuVmpxf0gGPVJGgeOTcAJ053KPuHrw5uah8eLKER8qL
kzlSBDUvNP7gyntsXJKGVV7s3ZxyUH+YL/h1S/DQ5k2CUvTt4QDq/6HU809Tzu8cmflksBGhxI8R
HRcFKM9ypo01MU41yw3nU88YH0xyw++0H8S3HnTwXi3dAWGDfCKlrjhOU7+8nSyI2DCdi7NjZbe5
cNL7UmZqVfWIRZ3IOW0DbAYiidDQuxufMQrLDnc+QpGcFUN2HG0oUjVNuotaE4d+8eWRxiJP3HLd
r81frO4oBB6tH+3I2G5Se8/zqttgBf4ZOhjZjlRgQR7yjtmfSR9oW6tDWIv3MTEBmOX4byG17v2G
qxCTzFXboG/2VnhLW1JJErPJXZZP50aPS9o/x3cafoRJwD7jbycXD03ewg3Sy9pMMznSkHizneBB
L4uWYf1jDvVQC3pF6iQEzqtGvoMcnkjOn1JjfIpK8xS53j1j+s94Ml841LGyEf7qbVQ9DV0uIkt+
V5ODASPifeuOeg4YrRfQIP9I676qkiNIQdXUqKw3uCboKDGVICJq/6CFMOsEFpkAc8rc4zwM30kg
vA2bVL/H6Lweqa3kLQUxhjN3YwDqGuI+YLFFGmNfaO9ii8BAa3fM0EcHtwiFEOna6GrIZm5zLpvy
JENAEB7TUk63MJHK2f0suJ1tWgA2zPhTLjBcq5pmaSTycdMOYv6MCopB+fMmFBTbCG+nQhxu8Bk/
2G3eU35z6DAvUBLuXRh7hm2P+6lkqwWbvx1TxpEJr1A/s7tPAvRA+WLpjBI3qHtFHdz7HpdjHGBc
IJ+jqGeJpadFqmdQGITTbKY+sfHQc89L7f5i5uLTghOAJFQcHcBLazeynpzSfKwdl+6KucbqjtM7
mtWDn2VnbzR/9RwzZTBx6QLEsZD+dExBX+YfgtZFJZlfcsbvnHwZvqR6vgaBexv7pdLAiH6ZjDH7
J+Pod/6n6MYNn8EuE/B3XPHAEgAz3iY62FjxNjXn7oyb+nFqEPQm/BIbZtLUYilpnPqO0UYoiK82
DJC2nY09C6mw3hVaP2e8fXmI96FPCQvG/nxlfuXBPgOYlSmMSE6B1cl3zO7OhHq/sxXVJyqM3lLD
QFAK8XJ0PA+R75P8sPOdT4ttPE47trCDytRuMCzuKJb+EmNwcsWTl3B0LqX/OVBgsha8LnsXFiIH
qWXhq4EWmuh8uS/p8QKwEKfHiHAiRyxGbkNHssM12VmSXBtHQICAUyA75wTipgAGWZKQNJ4xD586
twmeu0RNuL9Ybge8NJxBa5NJZoFB33bC1WRiUzHGpVpMIawQAefJWtTQ8Kf0nGhl4D+0a5cugPFd
WWaBGVv9onETaiPXX2UY2mR8KngYVonDRLftie/b4Ewc3m/FwrwyYi6kUe5/ZBRWr4CaHhJoopSg
8aF5mKJ4zanxkLG3tbE08THWKw4x2AxwiKyxBcNnVZlz7HD65mb7D/LOP9PNF3r9TcU0gvN3t67q
tynzFSWpXGuXQodh3MwWi2/m3CyNpXaso392zkHWyBd4moh2YsIVAJS2JIiI60DIRSR2SYwk49I2
1Lp4inGVuezHna8xuhnwmCZaDNGwF87SwrCptzQ+4xssF4CVPT3pkMKkyXtOZ8AmdsRbmAK3A10G
UbXcS9d5SJTc1KP9VPb1D37lI/xY/GJ1+dm2UOB5/P5ShWJCzi+itE9n4b4c4Bsmwir3dZu9kuU7
hk33FjvTb9/zZmdeeAPzfy3GlhIkmWBnUXrlDf+jEznitU313MBnlFm39VBYJ4naSkoBGoyotqiV
fy2tzfyM3JOpLZIcZU16+WDa76vaRI1mH95EY/1TstuvJGr+U1FMZ5kHJYgvMLUgFX4AdT+TcfwD
gfPdj3RXWJ1zaEwf0jSUJZ3Wl3Cs9klabrmMcw3tvPvSDCBNhF19abxIPSaJeYGQdS0SBeszVgd2
qTVgUYZnfG0iRLeuw8E7S7ng83+kbUSbSjiHAAs0eobJEy/afyHXznnCtOj3KP3lxIWd0jDVJQMG
nGzJJr0F8aUf7RNjHA7oJr9DRMM4xP96n4/+ghwJT4w67YOggGE994oKx6zwzphkWf2D8CkFg3A3
CNagiYRSC13p3vDLZud4WDody3oVQfM4ZzNjcKrEwdfxaGj0OKKm7o/hhk8xckk3uEfwHczFcZbt
l/ySZrS9LSLkwRA7o1sBHpQZExEbdBrcLLvoqLuy3mblfIoBW1TeeFdhGB+10VgMNetumyFi3Mm0
+tKCbBzXdgydBFLj8cmYstcgwYxXi4PDoVqLhCk/DJA0bp6lp3ee2X9J1/6aqYpAPfaY57s/6ZQ8
YQB6os3irS6HE6gLuqITcyUymJIpbbyz3nQEzDK+bELfo9beLizkuqk55ucDsSA1yKfes4kqlgBE
PIpQGqqj510QoTrYw8yUnIhiGHhXNVZf3ZBAYYu5G+kRDQ8+VZ/qVzHZ4D7ghpCdeF/AbYUTbZIi
3GVSv6ZR9hQkNF+V38LAdOwFJ52l15kx5hjQ0NNDc538WwwFEhzWXT8EbI40NOYaC3C4a3lDo7r7
NGkJl7a7LIRyhTiIWYamqZotEqE5nQOkRWxJcYdg/2OOX0S0OHJ2B6MlNwpMlxDKkc2DlszqjtXu
UhXzNZ1tpqj1m5aMxQu2HwT2pir2tdNSX95/CpGeQ5091ZRYRYF39KS56WhWz7Py1FNSwEHjkFPh
oRr7LUOFbaNsYzINpqy2/ZX6N4OwjZL2GDLWrVOazSgDnhdBOstpT0M729XC2lYl1zZb+E+9hUfA
LofDbCTXSMdvSUUFEUt0U9Ag3C4BbueYDhzyTWtpCDe3TfVnVV8VJNMqzi5jhgesbVLeQJ7UTVUF
lzCwt2lv/cwAVwPObiLgfttYinbQiEYcbrBt/tcLd18lGeOsZcT/yk3jrqvdpxxjVoU+IfVjyOAk
amj65QEl2vDQtP3WF8O+6qZNW/lkdmcMpe6qGe2XuZrWdTHka6Mnu7EUkjvdC1Vtb1LOV0uGL1Us
LxE2b5bf+5CybiTfhAt2856mRyHrTVPNtygJiwNdCci2M4PsPqfhoO6oJfV669qredqnBfcxZ2JL
zKDY2t7WGpC/rFbfGzZqjUnx9pTo74KaORsjCigmDJoqUatINt+ssfc6ZDzRTnwOQTD/pfn06yVB
DuLLAIWUUqrSSMz2BSykGBr2pUNDODiEEclL5LQChGACmql6ZIwcbrNhuBie+NR1oVbkf55EQbTc
xnsY5dXjXOG5jykZ5TDpsm8iqRgOZA3lFesghqqpW/3O4/DVQxygy2HLzQqP+EzwEaYk7Typa+47
M90iOmynIt34Kb4x2OcXCrrk2lAgFmoGaWi5XG27u96sjyHGPg/xqPeLU5pHZxEVB+jKJ6eiEQ7c
lN2Dv3CA2/aSNVaW9K+kXr2GU481mICHhFxOhDp+B73Mtmr6NsNyg7/poshT+NIs3mym1OY5dxk2
RLRSzDDdQ1mSTWtItpTWKiOU/byswprp5Z3tg6Z0Zw4vsyNwVE0vNmcdZWGn1MWRC8B1mZelAVGz
KQzICbVbzhTH1oBKhPjVOXjA0ga4tqdbc51OjPGylv8HB7EOrGANRRNCPwamyKSW2FL2JZu4Pinm
LY1DsVSOMdNgJyfI4Z0AuLP0mhFhIu6e+AEHea4BqMV65BOm0HkqDz63jsmgcVMtHeruizX7L5Fv
n/IWu4AO0VF1pdbYBtCxnGE3ZNTN4ihAyPQauuL8atg7nfojmrud6xJPQmOyG9pbmG7noRnuCw8K
RE9phFZLpAJ9S/r2VXXBLdGIQVGjDwgZe5gH3E0YraO7Rr1zGlJdboQfojHZxS/Mi1XvIy6m86uJ
n6Mzknjt4pCRCjQ+fiOU1VUQAfWXegvi76Kj9iGgCzhw9Rei1N4S1SsU8J5ksTrYY/rcie4XpBW+
b5N6qxI3K48TOzjWRf9UpqyAZv+dTxzB6965ZRru8OT8jUnyEeI29wtvx/mOcvpMFWtzDtk5aEuP
hmPrwJys/Gdlogj1w7vlQ7xwW/sl1tPZcSR0pOCw9Ix1Qa/uWvopcAtal7ZUgh9j8ZM59ATKxria
osduH1cfUeb8xG2yaLZLy2EdPDHxiVat1e4I4nHhyEC8OvrBMcsn8G3fVcWv1TBS2fgD9hmuELcw
qB67Niu2Y+k/DQAR0AjK+Eq/19FxWI4DCYWNFIXrSvJ11EKhl5bfs8p/jZCfPw2JwkPvJTa4yIhV
2q5LP9ll7bxBgQGnld08hidGjv11woE4FgQR/trlNuSG6t1DbvWT+WQWza1rOQ1yB350oZB1EKVt
24AlnpHjyuZ9kw5bMg3H1m/u8TrfKF3aDglXU3wsSAV6Q60Wc5N6VwfDmbMxVsuiKBF88nUGDHDi
FL7qFbjcxFkFyFDp0BzbhFWOhNp+SqpjUOmn2rXeU2u4uPylKUTGbdyPhn/Lyg8RVqPHNCuuCbEa
PY6feqKcqfcooiXB62ISCB+5q36Mubs1O/yFs8J00KPOp7Z7M5dYoNe+9crf5C3ZcYoUcV4Q+nIy
Dr72SdoOtkamwUns3iPsvtpx9eAI7z3mv4U27esTU0Bs01k07YBH/+RjeAQP8GDFCaG75mzY+YsG
VmZExlOFczaYERam4sjQee9748NQDk+Rp/ZAR48OnTR1zMqB52bqKNIw4uIwj+MhZWAV9jb7BO2E
o33z3BKzR88woTv2tUtxSnI0EnwTpnpqBbbgwviiN+qjZuhg0jTgA4xEto6W/R+10cs+OLTc6iF/
sMb4lo0wR3q3eOjKcp1klA3iOqTG7rcLAdN6rQN9a7GcWibMRrYGi6kZbmWffryZLmFmWnhIOiC5
QfZBuIeQ5tDxNmEkgJNWpeNO8eAU2j/HVnBJovnB8clXecFfnIc/PVIHcrv36A/oRRQ3uBhPMpfT
FrnA0Lw0FRDGKqTCzHToBY/PiIBLN/Y/o54eLUyvVJGcdM9PoMd4XeGUa+JpKXbcJBnhBF/CTYFd
cBjq6JzzPd04QtubHiFd7xri8aVgMDJEO51NNzdCQBja+jB2waUv3Qv4xq8U/S3knl058mQ47Rn6
nLFU4GApGakxTvbBQDGmqHdRZjw7Jo9MTDuuJAEGtORuZNZ4l7FJxVxjMO6H7JEpperVxusMYGh6
HkDHR894n72dFUNDyjryGFaj/Ts5JocJ20BEhF2RgiYe14ojUUTJxKJ41QGKehjSsIKdn64c5FCy
d1HG8AYiVeP2FoIGBQiDod+QT09zxSgqHVHBpnM9Ots5n98m030TU/rAVGedyPE8q3FjlqC6nGJa
TzTgcRS7BLPk5s6FD2Mt7FZBZx94p2xB1qnUffW6Za4g8ReFwDw3Ve6B2RwYBa2rwpVXqGD1gm60
h3XqyQ/wBdV6FrO64rGI6YHCuODY+CF9/O+nAHbBysS6/aDhfZwZUSyBryn9wFsrfuwKM7lm3f4N
O2kjJdtkXXJ/EOt4TOcP4ZMBs3vB4lEHSxy3cFoIG7pzNtplgfdqYvxBylipzIR3BEDmX0czMN9i
N4nyJW0sThoi7JrisWBTAx3BTcVbEHsW8YRhvvkl6j0l5r7HWJs4DfbeGWYgJ3vN7Skkx8b9vHUY
/ShjBXFv1WTTK9mLbYNvNCFgb3bdVchHi0Lv3jevJvZR7dQHMyT6OL7nFdJDzxxFYvhxl/4koOH8
tymC9TM2d6FEj8H3DYqCHSi6GwFZLk5srm5YxsL2gwsNlmx3T7QYvd/e6oYXtmMCgQGjKPxVyYw3
HMy7vmDMFzpreg6vJYXjvhmugrp4NWKq0chKuHlxGOACO7zDvTFy7vJOqT99FiMAqdZ9GHjD4uCl
FvFRNsh2I+sllFlKBLdz99dmelOCh0A/Q4tIdxZTqS6i2Hr4Zg3fexxjW/bJvP308C3k4SsMy61Z
gdjynBcsWes27H61NZ9rt3iMazJ5Wm5o27rRUbdehmWk/vde3zP5jy/N+Febct9aHTCRaWWpC/aV
laepm6joTq9CTpMI5XeYw04zdcuYNO9ENNL2A2C69lcivUEwYdJH/2hdbRxJuM4Lz3gxVwhOWM2m
7GIbxYvXtN4xGthQDDNIT0S5t2k6v2dAbV+GnOrWujYXgwvxQaILTJAJDXfzfLErfXGd5pRK0AIj
plaeRye91T72YCd/c7EDwKLMUvpFk+KCL6rfRYlp8vTEXPWQKzCTTe2jwGnHoD3/HmX+GwIjAsMz
IUDbHPgJYd+NEx1scCyMW9r0w7ceigR5fjiNpTxo350XFle/wbN55RrP27p8JD7ILeC66lklzfhF
7dyX3Q4/9hTclAI/m/RoHXNMjA2LrD+6v4w5CXUNYBMsk745n1uuVRF4DoIuf27ivNnZA0SqhF6K
JRcnouGGhHIIPCrYlOhwXgrhD/ehESbPuEGMTzGO/tHsi9fG8bJ3YeAoYeutYFxTuKRLG5iq7Tsb
n0XfMdNmXSS1f+y66oeyqyfbqPGaCC8/pHLyX9C0f7VHwbGZh3RLAJOjIPTcJXSgtRUAANJS5ZFJ
8HhSHMMPdVGWQNXJCCH++J/GOGSMVOMoXumFMMw2mWKGJ/NfzxP46dqbGGtG8O3xMXxXkmJ42AIn
9s16Bbnur4oL/417BF89r8S5F/onl9OfrMgsi/qldKitYnnAnjZxnuVV3BlY9/bF1Bsfukm8vS+b
lqKtrLuIph0fVRJSmdzbclUpZvapzdZYVTPesjj8yeGwlxQwcBfhUDEzzqZ9IPdBEVYu6SDf9NRD
SaXJ1QHMDLGP611Sgf6ph0leaH2Ru9iHH+Rmx6bSzByaBTLml9b8VYjy16wt75r1Sp1TyKej4zrY
D7LiTzgjq9VkKQRDB+d+M6DJOTFhCd/CzqlTnnzPw4Kim3iJWeDDqRoLd8ZI2ySUY8ZTVXXy+Wdj
O0QtqzQrRlAlmCZm2W5pB+uRykK0Uitttti5bZLhVvuCzuJvKGekE6BRDIvDsEiIbsbuVTcu3Fgn
PFiRVW/KwEqe0s7uD0FItRtD3htoxAMeLHAK/BlvZJO8tHr86GnG3XaRbT14JjFBFxwIx9Gh36Rh
25NBc/uTSgvgHlZbzJcYMPE2mZMTgWocKfAlJkZj+iJqt1tjk/0KDC+/nwMTMG5ipi8i9CSPV5dS
Ume/NQtDvNdqflc6VzD2WC5BFeBNivQAzGvkYMDyfrFaXGS5ydV9djCoTiEPUJ0A7vaik9MWFJN2
OZne3nmG44vM2biKhAcV3FQMt18d9cL7cmayMAeR8yw0iTCom5oBY/iUdIvYE8LoNGmQOlgaZced
uNRZxhys8B0tSyZxiYbxj7KxplBzD4QAxOouIbS1VqXFYG1sLQIbMPWVNd5M/CTzqhB99y8KcMNA
DyqXGLQi2G83zzFHw31pJPUmT/PvQMGutAXVpH3G+bcPmmCT2IW8I+88M6zj0ujHDZ4OfJO7rnaK
Sz2LZCus1sMPV33GsGcB2AsKmPTAkpwUHNFDNVz9hiGh9lq5MbM8voXQFjfWRF+mNHDLCooMIPsb
68z3wjtldh9+V17DkgFeaZONB1TS7wN7dCBjuv7Jyq1il1m44qKAqj+7EVhzZArTvEGFkBOdv0Pm
fXZu7OzTVjfvhS57vMrqI/AhbTbdaShy9K+MN9MKz8PYfBgO4/48RhOsDBLIGTyog7BoiWxpoyXQ
B9KH4drVKMH74lf6CzTk8BFw2R3yM+jPun/usBft8zo94N/iekQgHbAYjBER90+jxlHMIOoXz+F7
3ah3xxDPXFVvCAb2XcVsB3M8SKhhrnF+Z35O2Ca9jM4CA+5j9QN1E1CskFD4+oVroGa9zm3OpG05
0Sk6gB+MorzZusBMGE0Yztbl64Eu4sbb09poCnK7KiF8MuTiOLg5dYrL8RlH+V1VKHl2cWLfcRX0
vu3IgaYzt3ADNNU/kLLsDTYqhFSrQ36Y3viULrWDlXSw8dmHhUtoqCpwgrpt+M83KOaNrGVTFMzk
9ew1x7DTuFWyVB7JiX+ybER3ZsNPB7nOeG/Zkwm1lytnSgh31dWKTqQbSshrAwZkJXi2ARDMH1wA
EX/L+aMzKn8Tz4xVJGOoY5xw/7Adbr3F0mOYM6UOmbes3AnixizpszUh2W50KR6ZaZrbmAYOnkgX
7VI5hypwio0xsfEwpfJxg1mcsivqjRKsBPQakUUR4nWQo947rnvgDMZT0s33WC1q8soQK+tWo+BV
oMzb/gH301lyPN/heO/3XYr/U/ix4qlwjW1UcJqjEIOzaDoWALQ5KYWmtLasGd7ZM0DVdW0oAA3o
2D2UVVSds3iwd9XUByDac6wFdT3npxBTziGXBHhT08bpZ/AHwRQgsY2J/9oT7icn6oV7Jm0TjWY+
8hilvwtaOqi2gUcITVUFoRKcFdsh9KJjoCu9ic0UidgyT4EIKfgMp5isToJ1ADe7tcyNv71x8ZPH
2Y+Vo5ixRg0bSxXO1hPtvIPlzD+5GzFozBxsrqQzeDZkD5PbI3hoM9jJg+nBJ68CxadEgOsLUGGZ
6br3uXC839ormgPe1w5soEtQK9PFmmsreYhpdPEshflB17N8siL9r+5TYoW4RZ/HQSePvtmwManl
qpX0kclqgUsYCqTcNdy0OPWTqmgMk3N6SPVWIGGcRsE4vLsTnb9VU06XLu69P8ftfiw7TXZpG8Gs
oefljp5l2J7w17jcWALxNc1P0E45D5f8z1TiZKIES21mkTGxs7MxOWYt3a1+U7jbGuLXXUoBzIZI
hXzx6xY8IzVkWMDD1yRx6LQC/GBzjVuMQXMe7YwMTL5qZ6oxWEnoPduaBTxcyW7B5TF9a/sKnnk1
EOkr8XYSGv0YGpOGcCPwXgZboEKHJhNhLn13IqglJzRQVz3gQB01X5TAcTNsOiIPfozvv47Vxm+c
ag2Uk/K1oeqP1hh++HU0fDk1tTTC9v95SMkUgHg3MxbvMwinO05wL9iTPUBmUDedKWNLwUB+oSKW
ERo1Q3dTT74aVdvZk24zrl3c/FoL+bnwRHrgez32sXykMxLlxkX1s4nS37iGtls/T/b01X0LwTht
GABkpI4FjDBPeFHIDseDlf/JIp4ObhndPEa2AIsQDVzg81RlzeONDlAAuACcDkU0kekWwBTq2cSD
Etj3Q9u9l6YFSWwA6lOCr+Ah+fbliMrEBRYnnzujczflGhv3q9DTAmpvRrwVDubUCSWfBjgFOcJe
1rM0fplDcWSkNmIJS+u9Kihiq0IWhqDy7yc2+KIkozJPxBgq1SSsxlgosNkgdef9ds7ixywMfiJq
S/EhaAjGWcRK2ljks3yxrdyy2TNJrzZc1MGXurStdUP05AkrYhBCT+KkgpIdbaSBx57H9+4/js5k
SVJcC6JfhBkIAWIbc0TOc2ZtsByZJ4GYvr4PvXibfmZd1RGB0PXrftzp7ild9VD0pDpPC+VGeUki
qyUVuNMBQbzCbbAbT9wFaxVZ+8qbAD66nQ4+VLog1ZZ5fA0mmGcW+Nxr7emeWiT1soyt3MyTHq6r
quLRjCv9ThEBLI9onC4N39yHwKG0sGTlxRfFbOj7mhumber6qfbgnVBTiaNpiq+A80nOpIrFvI6w
VbrRVaWXi8fW/W3Bmg3IoWP88X6Iu1Fg3tu3HBgUfEiyagWWyI73KrcplE4ahufw2Y4YGQuZNmcY
s9ANEvp7RturgCnFX/Zc5A/TQuZYaPOEYRvikbFRw9zyOR8AXadihOczRjZLjiT957pjdECQYOG0
xnTzpgjJYwJVyf2keA0Q4mjuGnezM94wAH45EQv0lLceYJ1VIxgmUjjNFF3KqqhJR/l3WZF/S5er
TTC1iHoZRb/bLtYCV3eCKlA3DdO1zavLglS2FZkXfMMJ+aeVg6NyfkT20yfpFtOuSAhJcx4st+3Y
fbVF8lGaOX5Iqp7mG8fclFn/nXniuUqTP1tXdP9AfIuI72zD3pD0SX+c3n/qC/uBpiUNBry85eK9
Os75wlhM3ZWYW85ovfzEbP/AopyFUNmG1CI33sWP/W9ePPGRuDgWOS5juyiEHdEV06tBSQ+T5V4E
zg3wfYLTI0yM2ntthuC9CkDfzEVzixfmxg9G3NTYnmmZw52tg4BWASuC5xYV1Se442sIPOMp1a3/
KwY5nvmf3CTzRGU2LxJwBq4rH7xMPFhxMRyrudJwyGyC9l5JmRDtCEy3bF1QXHRzipw+BBk01dUF
GoN/tmZLnealoYrXWnKSqxF2bqKS+XHGZ54hU217qwLXIQQhZ2dCm3EIN8gmnC5OPX3Utf8PzeIv
FbQ6rogWIRLrbuBm6/Ur0DXD7MBrTez/t0rTVXq0PJwdXsGGJc78imQy+SN7MO95SXSTiNc4hw9q
VretTyRXS4xs+Dt+wrq7/A/FTZ360afBjdUkEIEh7T4xoiTbSffZadFUNOXBT1BRASLcmITY3Lb3
lq3ZhwqUlaLxnqy1+DPVHhZxOuvOOLSdR75lBhnhJSeai04JvP7tQPMGxvsMX7iwzXauxXKopml6
inHlsGaX6RazOcqGsh6kCu2Dmbr6MSOUN9dF+4kNqX5JlwovN34XFBt6REU8wCJVYXtOsfG2G+jG
6audGwXj2JIXgsrOZ5jDzvFUzatdBfPLMGJq2jjUJ+5iv5seI3IhG6tkM8Gsyn7TBqklpc/xNK0s
XeEDR/V9y5ymgnYy5Fr3CQOH2HtksHYrB3BnAWUmk4G1BM4b28CIwyW1SiyGydx696jbD6S3Jhzn
ZLfDBHd2xX5so2tb/C74vW6zsSP5AyuXrVzrQgSUg8z5HJrIAixO/1DoWhYMEoS97znujp7xvE/L
aSae5u5e9+RgUDM7dj7+WrPGKdcpvCFhVqecKqZaeE95HcIxPzT+fxBDVTA/5QyjRDJxyCZY+Gm3
q4anVgNMY/LHoKljvg+Zi+EhpmWIjWNxk2ja/Ow5tp/whlKWEVvwa+aaMOmUWY++oeg5c8qGAic2
lsWSUJJOSOfA/ph9hgkIsFEpsGXV/9zRwbB3hQ+lyGXekT0dslYK7g+usD6iYVj7ehg4WFrsLCH7
iA7rGfbB8G4O81PldlfSDl77qgcY2OHHFXJRx8yGQAC3kU8uBZvQeTBxmL+ZlnWd78YaVadc5+7S
xx6hvQnij9eeuz584jGlaTWT18Y10RGl3Tlid7tdX9CPQzJku7EERAlr92UKVIsJsHwPeHp3bpT7
p9EX5UWo9bghgk1UqUbK9cDAblTo/wQ+RS9DvYrkDmafNsRin6vxKiANQcUAJrI2yGLW16A7PSF/
6Qr1r+Fj04pCKRF8ZufG6+zo2LRSPqOP8nxKeVhcnIM1GdUL2aTlIU3NhyXSN8i2zVaRLkGn51BA
/bHuqdudDqVEViiQvjZllTNOWwKeszAUyMaEQ4TH225sk2UXd62gMYnUEOGYbBNF8Z/l02rhBlZw
zeNPZ0EC2zHIwneFxMyShQ4W5BF100EKJpbIn1C7y1sWsT/iW8TFNsfmumAHgihS/UyNeoyk+2Sa
zEZmKguS65l15cUxMofoLZzbdOYsS9BczaL/HB3Px0eklxMfrIEqnHwVLcF7HfffSZs3uy6aqEdl
p3Zv/La+dlW4EiZkdZW4fneycxuUqYchJbecnoWIC0DLYv09LLk5mraVHmqnZ1+NvV0elChLoDvV
fGisuX3uyGPuO1SKbVUxRjYGBG+GpS91Z6BIYU+WvsGiYZmSaqZpLK9k0Z8pIdEZ/qPUvRYiAN2Q
SCkemsE44GRqpEI/5wJMQtN8RI7uH7zKr9cajnDfutAwqrge2JvHxcmu/eBdWh5pGqHtu7qwugu+
2+o05V1/rsATEe8b1bbkSoubAd+aSb3wTielgvRIG0eWWeY5sGV5jihJPbIdifdu6yvqRYvkhQuk
OfI25qqCa97GqdCb/n124dPluCZhiUTDen3DoyC7+hjVDltdIjsn06bri6fFCIGUve+pMIv8otva
i/6tusQ6aB94yRwjUVqCj3tab6rkutV9pqdVyuKXxhBcXs+NnLDfkMwUFCHvKh2/9y1Yotwj8cVf
QZ5RR8BGVASjinIhnpjWz9Xa+JDOy+vg1/dZYTXQd7wIEEEX50f2YyQ9BFLAUM179ojerhqpuWp6
pMCSAOsc4Cmdi3anrD7C3RnGL8AxH2flfQ4jZi4K88gwEDKEGjQ8DJM6z4Dp7VR1295Vd7phEBlV
s4McnL/q3gofooAIUNyPGEBV13GggWDtEa2Plu2srFEMJPzy2ZXaXftVDNh6QLkjJTlZfoh5d0Bi
IohH0MkcijG19r3qkkPJ3Lwyh1IQLFF73S2ifvIHb77taSDw8NUw8BNTtWC1TK50abEUzW2u4vCp
8JilSQoq91+bSe4UPt0vhCDwav+RrNXfvCMBFCo8Pod4oL+GDLbjPasxxe8VkRuz9gPQm56V17wg
7lhh8YwdNGFT2pEXOjYzIU5YpI15WegWO7pEkU5RND3LeHGBRy/VkxBdDiuGoqBjra3/EyXuiTfJ
uPebJr5iXPNAlljRjS2wlKVh7u1yM9y1JP62DauBC16U/BRRpsgLZKAEMSUnGyE3b5zerl87qUnN
WYHh28ct4Ft8Y02x6joYOu8KP4r2pQ1KOKhA0FsZMqzXc0OIa4sMjMfTGwqfPZ3Fej8VgFidSDv7
xpH2gzWyxaZPIj2pbAQix9vC/aVmxrz2vftXKcWv1aTmarKyVe9ApFZhN+y6PBDblk/04FoR7cFl
SVUdZAgEoaSn9SsOmjuiSGSCe4ywXK4zAlNtQtTVTc4NnQY7u+IFyL/1LU2Sgl2Gb64kCFcCWs0N
9o1oY6nEvgg/h9vlOcEhcnjrdnZPdW6GHhWGwfMkh2upXPNbWkFyV86+eum6EmKm1TlwVQqqa3EG
Jti2YOaQsaafOJ3iZB8j4Sk+WOINzcBZSMjKPyLVJvAl/Vvq7/xDoenTsJhwb5Kmc6C49O6V1ATA
0jwE2hEVD4N0SadT2YMDLt4OTfqMRfeJFB1bT9AE1G4UKV+VZdNmqNVyHTei20hP/6ZT8yfCJr6m
sf5mpkLgCdfkvOWiW+wDsOIAOcwpzrvbKCZ4LNnN7u1OYnWa85QF1qL2QobzJiptgr4ORqoCfW7H
+r89FRMcfIc94G4BxvxA25+1itZOCePJ7i+JlzEaGHGZ+uiFtQSEkTwLMPvQesjn8oCf/UtI1Ias
t/NzGuePTS78N4YJ3P0rvUbLuDn35eBsOhawXBfDg9UBtqYlENBuH0T7RasvuPy0dbtyP7FKeUMR
So4y6LojkStSdAFSuyLUWwdrok1X3UcoXYvOc8u9ypPgDy5XduBkvqa/+DsvA+cULgbYJPiev8aL
fvmZMpPKG1oOkqMzUhvv6+KzjRDPGW5s4luLORZJNp74XJqji/xI2ZxXnfixjug/7HDBWaltEIbs
SDuOUlxB886ljGFX+jAmuhkAt4TU7bntAX5Rc7TGqN9NzRy9uqmhPmvACT7ayiLX3dmPmZZkGHiP
YUDuyuq+DYf7oop4CDieCVhUp9YDwWI5xWffZ/+gYBak8DhcWM50u7ryqHaip+dlaDzcAkNbX9JZ
y6s21h7NcfCwCh+EPviP3yDxvGOToqLS7aMv09yaXYlAvs5G/a7tcMcMNBNfe+QDj3XMY5mtsFoz
Jeopc5ea27n72eAIOIucOIAuoOCOdsl9kFWD45fFlaVSG8AWmPh4Jg5WqTe6XknbTAWJnblyqKxM
/d0cqeCqHhO2eHFLhXiIfTZrxgGyS7n3ex4220et5loKobvxr33keELfwamK+0fXjwacmsWHP5Nw
GIem2RHYeoxDKG+qYmydi+K1UB0Q6KD5mmT9qUG0MX6l956nAS0UKKzeSrPJviFOmK1KwNwOEx1b
Xi5/xzD9ExaEQDZ7d2kbwecC5v5oteihiyYaB7IrPuaApUHCQ+gbFk07Dg0olCZM79wDnwFcfcjR
qGOK35VlH1SSDMWFjQBrihShDq1B0ssFXfHs4mveUNOLzh8i9psgvMr91QfP9vpUR9j67KXBAFj0
0W2tMzJZCcwXu107jrsUpDSUBqtijCndB5EIJFeRYpnt3Lccz7+QOHsBDmGrKEnHT3TBke39RPXH
DYkeMpYK8LcOwDF2+giK4raZxi9yVABGwExT4siWqqr779Z4fKTscTA/D+cyL/aeCF+CqpWXyJP8
WQOyZS9x2vvUCspoNYTdIKvLk5arEb8Lg1208G1WU/GaoDt+qDlu2M1i6A+I120XE97HvQgZpgrx
nS/uY0g91DO3C/VGIVBwkAOi/Ew/0R7nSseZSav3GEQ3mSq7HTgWqiNi+cpeiPyhaMIdYwG+jK4I
nxfffYsJeWxkTKm5M2Kmydu8vEp7ptQ2bPnFsYO5tl3sl5nNiSlcU13LfLyjrIILA7qSzwmNv1Lh
VoR1sjT9bxX27VmxMDmEuQaS59tM1531DzvFigqGBYEWidMmh7MW8XsmHElMmTrnA5XR7mHwlutU
xdh+MrhdvvdiKP22RDfeujZSRWSn1PYK8wJt6U1lLuiPkH8nE/ZyWEKKYP1+JelCPDjk1dxv6Pb4
GkR1n3g5YKKaK0Er/fFUWoo4XYvLWyzgeSmcaNPgEnjIpVj26bWro68ibtlQcjFg1sAAV0+suC2u
ytu25b7P4MvHUI/lM7dWJIyUrF0+6QvNLumFTsQ3qLg/tQUjx7HlI9VA9iP3DoL61CrQHwC1xsGa
7Pbd/BhK/6fkRkWXCe+2OaLKLG7b4aOZkHVjk6LCZrRPUeUl+Ln7BKi1DxsxJz9C+AMzTGahbuWl
tedEZnvv9faT8km8TJbVtLyn9birFLcI/CLFfSthTsbL4IKJ1ECK7Ptco2ODztiP4/Cm6+Tkxt4j
gwxl33PhXk05Qbihr/JdQATlzi/aX2/G8BKI2t9aVsii3/3uaq700qauo2OR4eXqxe5jASPcI55T
MM8XYRAQG2zibV4Bo1mq64j8BY6+8n5eu4cqqxlxbTUDizkUrjZQV0Wtz9ov0gNyxKEaOmvParA8
QF6eNkkPNE6wBNiqIrmItAJ/mLYQuXJEBcwXb7OpvgCs7MsgiO69oPmnpwWDU4w2c1FBRk1kigg9
h5gt2imrzrIBBLC0Zjk1YQxALJwqfc+Qzy6zz0rqKOzxawyT7sahVHznE3P7JCYGOzJ3q3+LRust
YvxcTEJYe8Lsb8BSBNsGpFRR1P1OUdnDY1Z1p4x8zYE+UO4FZR1eMaAPJ6m1PjuQumiswzJcVc67
zQ2HEsXqz6R1AqcGn2NpJ87rJOfoPWUttZ1LgiC9q4vTKDr3lhE93mHqZ75KcPOVcWrB5Qssdqad
/ZBlAuOobeIPl7WeE7fPbrDyyTVNgokGHTtZswbsxpA1IeWewI9Qo627bI907+3aRNwmrnl3s+qp
QOfaCizdV2Mbk4HLJnWaSAPt8xQOXiqz4Krn77abROjQFexBG+bUAWzxa6FN7Fg5VqdQlPVVo9hC
VwnvutxEH8bQSuOmNs7vnAL1sqCOhu/BUZr+Q5vlY0kefUPbj7wbKDqBaKOdk8j6z3rJvUuKE4yg
h3cru65CnrHrF/ZoVw77TK5zffbkpmq6zR0u0EkfJqcykTV2H/LHjmAX2cvQPaRTR9Arc+/cKh1p
z+3UcYJzSgdM8MkDDOsxQr3syQUNkXsnguSEAv/pTuoRk/ZjIOIfbRHcaxdRIccC/rEX2t/Wwb/o
iUGIMvqaDNUzSd46dyO0tLMdTI8M0N/Mq9POnTM8+567p6TFOjuYp/bJ0p/sMLlNE44dtOns2vLz
34WfzMEWNeDxqjQXjDl48vKOHDuSE15ovKkj3PIEXumb8YV7l1gpHWLMcX2c9btYFuFdxvqb88HJ
H7vVJYfciEXGIZcec2lvxdDT0RSDfhqgeNzQjshLNQGd22q28WQ6qE3IXhzPfpCxvM+x+O9hj3ib
eozOkwCbq6BsAVlhHxr7rnViI0jbs+quRSufl2x8ixQHVTcu6RmHHbZD6N28cadjE0p+M5HLDarl
1lH2zX4KqyeK7OkUwUC87l1RtgTvp3G9JjdF8KXqKGBNnlyo71vLxojamhjPvs36tml7in2xjISR
8yz76MrPp0vdsP7vC/oMEMaKTRdh5Bhj8v8OfVJhoGgcTFVwsZTqt2Js7zBjOWgT85F15vWIgEUl
I7FvOoWf3DCX+xFYwrby0vfB1k9+Xs/XQRtCjwm6H1Fb5CRWwyo6Z3asFiS5vun/6oEN02wL0ASs
jhFnwVHX+Le3/RxS5hMl093oj8duSufrOp4fstn9wCCI+hnhMQh8YIE02PHoZkDHY6jjyLY9K3vv
0fPrlyywH5MaQzWHHQxIEzzxi8FeETTNHbMwIwYXNfRd3CBgYm1CmyP/DLDBzukU1zgd/IOaem0h
rm/zZt5PQ8uA2jTjNrJq92Tc+WyTm92kXo+miFX4Km8IBU8TVkwcSOvCkIV+bDM4ave9ZcnJf2b9
5kA1WfEj6XZureCUa47nCsrAhjmeFh9U6g07t1UBlOcply95r6HWlVy5tIAXlAJT2oUFaqu/mhmK
5qOGZIBYK5gb0u4BxDcyAWGykB8ka4uFgDQ5+SM1gDXyovstPQfLzKCBSdjeu9HVt0Nee1tIjhnl
xsfGtI/sNN59d8E7vRT2NvOqK2D35ILGedcXWA2XKhBQ3jEWRcTBXX/KadhBG/JD62aS3VddhLfs
RnDUOvpaLyPuwny6q1Vf3vo1jaI0grBJY21Ne+S/MSo/6si5axzQMu6iOITz8mJFQERJfIg9K36E
q558JwEYyOeL4Xek1O8k9G2cp/yTGNzTkIAvHdzpWMayIkXSnjyuJjR0UNHh6W83yJ8z1j0Uwju/
Q++ibTpfbFZJPS4er0EDbizSzBquHb82tsSNZ1HKVArNymEZX8GU3dCP/dEp8lHtxPZwtUYNc+yf
tN+8LNCJEAG5CZQJJcuSthFejm9+0rd7M6sTNRvwdgVHYpeGexKX9zrBvA4x/tIkzvPSWu0N0jQU
QSrQHH6RPJhXKrD/VYaMYxmPdylxBs+fQQljbiMqCWcVeg42oIANBz6LSZuC8TCFGxr59TFxqPbB
8ODQfcA9rbHHu8ZKPtJRv2o/hgiZ4gnIJvPXFObND5wnFS/r1PvamOaavEG5Ayr3ZC2YYgeFlrjU
s3cqHcXmIkrds+WZW536Ry2Sz9BUPIdB25/dpKe3yhHP8eq/wtiJNqTTP0RKCjwsD0sNt/Jfm/OR
h61kr+CrmIuGjAli2OYm6brvRqdvnLOfo+CivtQl0jT89ZwmGYnqe0oTwOsc9YRPeIBMxp/s4AYk
30Wh8mC/MS1Fu6wtDD0kAx3kRVDfZmls4XmhSjNhj3yOkZ8vLfmmHfEvyqtzNhqB7mdM2M4tctmN
lubTntMnHLA0UZhgn1Mkup8MnW1SeO4WI+5eqeCsMpne19L2Ly7cpyN5HJj9IVvHCjcwXZl5eGRX
0GE4NwwxYn4DYPznGBhFTn2eu9g6LvDfT8SN/K2zJKhISJFyWM942KGXKAuICte+YYnq/dhDhxTi
+S86Jm662H2281X4r0G5uhsq66XCf7PLR+fHkB7H6lM8GVzDd6GL/0GWAB+XWb73CUIN/tj5rU+y
VzBhKIB56QPah//nkkZoouwqwvm4K6E77ExC7IR9MOdWrlDXkynsNkXt1b8xHiOqbVj0LclN5szy
ylHVTYt+z2+2vzT+6J4Vq2SmNRrdxh6vRmAm8yrT8jSXsJjSyL2MgUtv11pZuH6FYnKC7dDbEECS
bs8uk6pFsLj+HDzJvv2iX5AOs0Q390vToq30tGpifGHVbLvXtpgOKeuk4+TRnzYShd5YXQKbY/T8
60aZ7oOL1Cnss+a7K4zeVn0yPQxOgMNP1u6bWAztWW6wXFKc70dsxeEHZya+wE6P1dPiWMURFgH7
Ld3iAUqpKKh6gn1+JguARBAzY/wsB6go0P0b3T6jo1FrhyURda6U+Ot9vrNGu/OhcBVd8k6v3nJA
CDcdpCBqgDEjWII6GRF231NjkPHyTNT//MkR+3xyvsfS1rs2F2R+GypVi8mXL34S5edwlM2vzrG3
UiTxTDWlfdFIJBuG5+UX/QDDxcTipmERACnCw8avi8T/8EoRXHPdB3zL50Qd+gyU02ubb0qPV9sl
pEoGRCieNY2DoyTum8zzc1zU+VXAFuHa8lz1gL8b6KtVE4KrbSfF+BPnn87EViKpXXj7LciLUpjw
Tib82DfCmxDGWKWjEAaJjSvPdObXLwT5i2jQ9XhhEuS26g4/mXGDpypjHBvGycf2Q01xbdIFxxeZ
qQwuHDoTOyFDZAu1meJZfpgOKDSMYn7GLXiC2KZXITd2c4ExF3OIkzbUUTSaZz1YLeGyFDQ1F/MD
hYfxP14gAW5bFmAV1ZK5S89NwH73YFP5l9Ssw6QdayBUFdFHae1YpUL6TjVym/Xgsuq/Fx1xiiGY
6eVsmpMqgzU3ZyUQK0rj3ejZxt8YK+rKbefP7TBfVNJTWIHmg/L0HZYUsQkXi7l9JBuwKRumAUbF
hUSnccxBU8+4Y5xRayVlCVyVgMShTsBWhV3K4B7ipuHuPWfJXVdZDKdJuuxlXEwb3t81Hy9iXwiF
jOASSXUyNbzVny1IkbFbkpBGbbrKY3YKnC8WCLEq38zuzPq9DF/iIDSf81xxW0m57S3JuhNu08vc
LK89sX5ix+dKhej1cYguuOiPis5W3NbtTa3KNx376hyFSfhhYoc5RxIUuKfaFo8dmi9HsJOkP25H
rNHN+4idt87PUASZGqD8UNLo1RaJEfcHXCWGTk9gWh2LzdjR8Ncl0Xfnmf5xwitM8RF9v1unm8qT
DVfMfBYgMaHCzjXM6KAtx/pYhS5AQYNf7KnXc8LlpL0PlgdD5DpnxENIN9+eS89QOUkUS4LLLVkQ
+gHGcsr2Q0+tZNXlIV7C4ibsfbEDY3LUSQyPNSEjzNaf8pxY3NbKB+OrYcfLHp6oW3s3diphK5YW
0n96V0hmkbGB+qiF+yISG2t2kicWr2AKUjDigWYTrPK4BnesprUgGYh1azK8WIrurUx7Jt4OmRIU
QaOZN0xC8hPQXsc3Bv3f61ia9D6UXum3mghol39B5LgGTIok7NvOI9udmSBoZLA2+l+DHb4RtsEQ
GTJCsYw0KwViJEzJdlyyWQHea/vUroca6Vm+y2Y8VxVOtla1T61AszR8KzycZXdyBniMfHIjmWli
u62L/2SRWN/kyCIx5nMHehOS3CsYpOEbhMEaTIJs7vUUyrNZ6YisoRUkp5jfjGUn5EDDudvFCBGI
RoAFFJ7DvWla4IHEmGDTR83BmOJZp/0dMJqZMl4irxFzNMUSvFAJRz0METcOtQo4c1PgKB1HrhMS
L1FnsVngFGvggJFezc7x4twV1kDMAQ9YVxCLy7v6q3Y0/UBB8Fhx5oIKvqoKn/LnbOQXJ+tu7UVa
F1TZl2FS3qqm+WXD5+wSwQtW06SQiHm4G8fiMy+KP0xNe+P43KSwgWMsTc0i+i3E4wq/lu0WAGeW
lsAZOufyKVKdhUBixQJFofGYDaac2BTzQ6uecsZkuQ+zEodi2GHj3eN+m5+gsCDotm4pb1BPaEzi
tG3e/MzQLKVkH+KSwjPe3S92qUHKFPb4jgWvI/gLeDLDuZSNGAcrfuBZ6FI+UNL0BnNBFjN7Njxo
26HlEGud5MlOTHDveOnP5LovzdTfM9B4vISlh3WH17VocLI3YQE/Vv30KauPIZDFZ6w6XD598epW
atw2llNe2bNcb2sYYuN1aJQdi4sCCWa7wMq+9Vpveg25FJ2BA+Dq6pm0UTIRlarI+qrsgcSAS67u
OAlyYgSZa0BtrDXPBDZiWpDojEaNmixq4kdqS9gOBexw6cXSd75m/0jGNtsZCIcb4gJUNqa4UPFZ
pu9Ah4tPV9Drjc/SJq6L40PhRNiUGWa/NMTJ4QVknTO3KR5FUUFZqFv5j91YTl2c4T88osXPjSRw
M6/mJYB6w0BmNQUs1FhEG48V/4G7WwbIuqxvXD6BH26Gzm+gu+BI/fRyoG4p/s1df/4eozC+dyac
G4VHVzE7cu+oWkWWB5mEinCWVzxtox/u3TwublKcgR89gZYHBJ72yRudfiuTko1vUAcVtSZY58aD
w6z9osRCCSICpD4o2uWBECe+fqjKpnuek7C6UywF8UaMRKO8vs4fI46YN75BfWe76fo+6hAX2tzy
Dk0icDfVdknzQxTw8mkybhltv4CNN4Uj7ha/x6fW0B8sNqUAsrD0SzvsnJXyWYpQXEBfUFw8LcD4
S89ih6Qhdid5d1kIHGyMsTiKCpVgXYPj6A2YnxozSsZ6HV8pPkQYdEyy0RjGBw+W7Kav0o96aOC0
rGD2uFxZ6+tQ5Zup2CY5/KLK2MFV0MJ5S0fE5SytzdF11I1DEAdpEWl/cTKmjcp9GRuaVDMWc24x
GPzHiEFGD+SlXLzjKVpp4yf0EySIitnAwF9kU7hRE4dcYHElADq4Ys5xXoxJc259YBjuSu8rHTlS
JIPlW/8/VvqF+rPx+++8On4Aqr9svDh/g1RBlVxGfVSa1lyYrZXkyOI0JWGy8BCw9k7KLRR3iLFz
3dF1kDboxP2DqeYQY8PIfi5gu0nxOy7yqKGtPVio/g5TGT5TDlf9q9YlVrXWdART/jVX87Pq2CWa
6jUrx4JkS8/H41lr5FJ/VzaSAPpMTCaWu3aZWGCFLR6OICjuOcbftd9dsoXIr5oTpONuwNAuyidf
Va9L2ZA4T+N+j69yvA4LYMGB4aF0vP7o9Im1DXNsoIxiyYsQ5nWM6S9FedhOjvPGzd3wcnTy+FLU
BB9YVubl2bEitueGIfvIsF7chmqlcnVoF1lfq4PJBZDgYtDX4BqmrbE4t3kwm38l9nvaaDkcRlH+
yDqGLTuPDxGxOryt5jOKkJnKRYb3gCrTh9Cp2t0wZc9ZBVOMVRMEwzW2OzLvnBI5Rke75T9dpatH
v56Qxv1gOMbwH7ZJwt/VsdgJMZKwJ68dFquzuMc087SEPYU1etFHCpnDzeD2v3Vl/VQePBs/gNUZ
p/zWuA9x5Sqiq0jN1GqZSxlwpw9KiDDZKD5xUCD6FuW/NiU6qO1ZbJtoeRsnD9tc+8ySBxqJjP8G
ZHCA6CUl7OMgbr2sRz4D8btXrXWujW8dhGU9qwgv7ajYY07uiloWIt0vYXMbB94KfM7psxB0Mgwc
gj1eVU9AKp6S4cen2xLgIvlOPyS3mXZMkfYoXiL2WGz6xtdoKp+piPL43lgSe3nzVy7dTRuhgSlV
PGAL0QyglHpSynscuplSt4mZS2Kto4hspEsIl6oJnE9Hhu1pxkNOijv5rpwamLvj+KDcqldlSn10
VDcSucIvPoZUArYxIf8mQsDibcGEHVA9HyBR4W8meVpr518fpExQE8Vc+V8euTj4cb5dsETCL45A
dTiedevJ+q7PSPxXygeV5yKor7BmSaI/V1QBWnMEe5SFO+YeEcLbnM9+ncdnHcR/hRkAq9UGhigo
0IfaGkB8RzJDABjHU99CuCoXJK0kLbKroZizU2rQiIGSAtaIGgP5A+bktrcDvgKnCk+E+C9hHE0b
4MSCg1grXGDlu9f21CW0rTiy+nPQ7om9lvp+ib3qNuiD70XzDJSDu7ILQiTh9k/lzFb4dt/TqL1P
OmFfz0npc4dqufvIBs/0xvIHfIfa6H/cjgiS+8L7IbkQ/IsBTBJGZ9Fej+24xzMyX6iexxrKrExf
bR7eM3GitDO5klN0XBZaTnDJUWIPVVvbu7laC1Qycg/paqdNuvCtmePVZom6S5A7vvVThiFNuIG4
kf+G9y+/7dNmuM9GU1yPMn1SAV9GgcXmrOz2Yxj/o+zMdiNXrqz9KoavTTSDwWCQjb/7Qjlnap5L
N4RUpeI8z3z6/6P75pSOIMGAYfjY5WImk4zYsfda38o7xq+aDp4fpqsh8tKr3JEVEm6y6rFem69V
SFqN5VjOTaTHH0beowWpmEtV7b5jlWFSyyeGB0eCB69yIHW4bguTJpvyBs7rPW1bKuJ5lwRsMmk7
VBzOQ+faG0L8RcTP7k3DsB4dUsT3DpqBsywqfw3DwpvNlT70XvazIBZiBRn4psTun9Tem2JStaHc
Yp3OJJ3kZEI6k7orx67fkVyiALVrGN59Wp1nCZJpbwRURpOtLpZgpeWMM069tUJzEtJ1ndHPVODs
ADkZi3F5XquShVVM2aMlhz3d/QAISp/dhIbl/OB8Xaz7qp72Fj7VG3tsfrclcl2vqqpdLQOGimHp
gg8kkaCjYDUTbFVGYocrKtQ3jifNmRqdX1NFEnnEk7eJpPFc6yg6ONJ5tZlpAghw54Pm2d2MCCnW
o+O9klv1sw0islc0nUuNMoqOW/no1LE8z5Q7bFS31NcNvtA6kMNRtm70ghNvYwUtUnxvrtdDXQ67
0DHfshRABoDm6uA1ub5i+nCCZErykzb8XefTxmqcUKA7n/QpTQzjzJYc+OUQvLmdQtirhmfk4jeq
cvW+4uXa8Ytp4F+5OPpBiCwIITmK0re+d9/oRjM3mcjy8Zq2uNRCMS8y3GePptcVY/j2EBkVNLAu
9N9DOxwuHd2gYxmGdk117axI7+4pf/oQxsBADk7GPCPC6LB1sKkgVxkBR0gjd7DnETLSryky3yU5
rnjwTwUDfc8rnORgeI5YgrMHiW0R4F62try6vpsRnIdrzPagZ6o28vG2DULIk6nT1MKPWBBDk6oY
cx8548mwFp5bP5kqVg/eOCPhtziQI9FSTkO4ulnR9DYpsy7oddNXcbMQNF8aGiMm5xrN0mszj8BZ
+7CqkZVPddmtCosp7gn2RB3v+9BVwJNcFYHVLy3/tqk7c08tRc1u+Cp9DFTSnBguM4Gx6HOBNcf1
t7TWI/OhUwayyqhzhbvLdZUOW54HwFMRvoh7vP0WAi/Zp8/+WFvXKJPGAS+OF7uHsgi96HyePbai
TITAMKCQDIA5Z8cgiQXLh/SED0jTG/tbqi+etii0L8e2xbJu9CO+CoTO6yzvPRamGS8Y8ypxPvUL
biaXtKa4WKV30UBYilk64iXDf0220dK01dUsw3WJT7A/mxuVMaAqaCpiEZ7lDTk+RbIZ02jOAPRG
0lpH3AVqEeRYUNG0T1XbzMXgrPwyzp5jEtmp7uLF8zQpiBDEwBX2e5MwLF2E7NCJmA4gqhwn8soC
9OXSkUCLitQu+k0oKvGs/Y6MgBlJAGHy7PI/eDBWlsbh6MK6IT7qwgG2QcgXHgaMbntOu9PKNLw7
0/XHLbFXjL8i+9Ln3CrS+rcwmWJ6ZLWdDWV15ZkTvxsc+sijnZPH6UUXL3g6oINZdBya/K1Xrruy
zNI7IMUhAJnU9gFS/RAnj4U3bStvelddkG67wvK38G5u0swhCzVFdxgg0MS0Qv0QwbgDTctEJilC
aAdVeEC8dduH9QMTFxwwQ1DAdS0UQz32R2oxHJEKhUc4ofey5h2bYs68Ad6TRCtAmqjY+Zm3qTvi
zGSWH7nvt54wUGHQWTLHN8Cia9yb9LTdC2b5iLv1tGmpt7ecs7GnYoXfVaZPw1NDKwSCR3WDr7L8
9xpCk32yr7oyvCv8/LIhzaqVcidnsi6zqV4n3ogzxfxpLRm24WD+SgRFp+49OBhdvTPD5qpZWG2G
PhAbMlNtIr0e4mCnebjPQhFtRqvF1oFodWMyalpBSRlWfYQYiQZFuPVxOLNak5604M07XkJKo4eo
IYZ7GuMtz/DWTYvnwlMnM0jX3TQ8ioQglkLcWEH24FnTe+DND940vSWJxVSNAcRulqwmApwKcZHn
fZgCiHEn1Bd5vkHgRGJkTPfSJ2Izjcv7RGBgUm2LXMxFW9WddFACoaoQLiVYhCzrh88fZZZZR7s6
Go9p5r/6EoJ5mOTnidI/cjO5c0kXPKKVgPOXh9fkyl9Rw920NmQNGrCb1iSZbHaNbTraO78tXmJH
0UtvbwtkLWKI1pgz16FDSGRor5Oo3815dj4mJlY/BECYKfRrn5JrgCZSFMGBUfQNY+A1JO0D0NNb
s/foRlvvDS8mk3lafkvfRTjp0RL62Z+G/SCKK5WCrUh6Tp4mmUhZlrV73G3romIgrdAaJ3V77/n1
FfzgHf5uyRkg4YSVYC4McbysXOaJ16LqdgldQla2a2T8t4bVnrqweDWa6lqNipkYGkQiTshaYBg7
ZOds2L9hj697Pz4fWjx42gnu6kYQhTKbP/yKRLUlWIWd6Tll+EhO4XMfi/Kqb9x3evHxKlAdDHh0
PsRm9ZApU8HOYlFz0ZTU6sVi6Ms32BCrcOit8FdDGMbKm2lqhDZjXHrhZz3vEjzA9KQzuZv96Q3D
dnKPfTdbOQLXblaqXRUA+5WijPcj2vDesu5Dkj6sMtywsITg7+CIgY5UHHIo/vQ1Q3NCV8k1XSEC
Ac9XpXKVdkA1u9hv6D9ObGc5kivXm4+p6aht4ddbFUQNav/qFVPSqyJluuZVXiLX2kvG/QY5NExH
LPaBRcH5iBWJiMIePg1jlhuT49RB+S6cEFxQ95UTncxGvhmjPBkZ6YUyx+qTT+xuYYm1W2c19S7z
uKk+T4tq5+Th2kEq6UzzVhnMI6S143D0NtXhO2jamG45q0mMdczFegCRWj2BeHmMi3I8eLV7hXeM
rDmuk1jTPqym4swdgtsuMXGIICUm+ouMI6dZQrJg2LETdGu/ME654R8iNmrKGfjQ0H1gyYTXZj3e
urZ38FyQ7m2RnnwY3at6RuZHY/spnMyO4s26TSD5pcX04vrzFVrjF+bG+ww92BnZD/FqEs3dkBhP
hk2Ajd0xFiQOCZuggzrUD3x+5YzQK/qwSwAq6TYYoZlrdPsanMcGwTPSMgwGFG6M56qCYJJUQFwd
/DcdWw7ZJovwzUFSR8B0jtjO+sG8F8ZsYF2ggNjizipWxUJiQ9M2YiloKCrrtln3hX034T5a1wYk
Z4bTLoMz1ArlHTgUDEHcumZ0FjSdE+zG0nkA+/NCR+kaYPszCvQ3W+Tv7hxQWfHHKyC7sv7BoVbv
YbzSCfFu+zR4mTMafR2RAY7DFy/89h6Q54MHWwMmNRzuRkMJRAqzTmZMttQ+UC1tf9sb7XYQ3u/K
5XAzhfSpAAVpt/E3TBW4UW5yDuqiRWVOCSr5iSwTmkLut0d/JE+vwQ/X5y4H6XI46oZzlpTpbxQI
77Qs6Wv27Gdzp4m01WMLQ00OF9Iw6VbArHaN6iYf2f/GUMRrwJ7ryqzIzvFjFGaqpNHMjGxDUbVJ
6+LRkR1KVF1tBmf6ZTb905hRMOXwSnhdlgZMDd+MdxrtEVKYFS0ukyY7hSMG9h0uqt9CSoxGYGMj
sG/W5LwFrP+oCCwkK71Pz5Wuxwb7Fcffkh7cbKYvRmgeGh9oFj7EKW8fhy4Ed9Hnu6JKrwplXto2
gY/A1K+UrenPFthFHQCbfYkgYrC2lGYM9ZiQ93Z3bVfShbpJwKhN0FyipqcpkvgCeo4/sjVenJpD
GGSLtWmw+lAON152zEHhoF/2yHXI7WPVm0di2DZZNV9ICXEhD+mLsH0y8J53FmIKZoE3eaWg9zUg
RwKUc3Nq/y5HEu2TcCLYY77gxIP5UhPTm+snBtd0GkPvOSARbwb8BuKTBqqpCaomUBzq4Iss/O0k
snjltOaDKJhgCeSaLiMomMHBEY/bfpz9p6RoDmA9toMW2FXcYwfd5Kwb/GAtvWaNxR+9G+U6HAj4
re2WwuwXQrqJ1bTcukYWbIZCs/yh3nVbgoLq1LkLGeNxUOPz2FN0NuNrxDUyaaSpTc1PyJm+rqiZ
e/PRs6ufKp76Wz8iQansvAuGNUA14Ic55g+MAdupG/eu09J/N/yjV0l4UExN4MQQijxPp6CeTwVs
UtrAwNDVDDQp6sq1z6zjzE2T9xyHopH2AP+74SJoJMlj3hZ++B7W5aVNb7LNEHXjTD4b+oIAtQ7m
aS7mR9KKiKbMxS+RNHd214/ntsUJqDUBW9XOJO+bqHhsa+6Q6t1zEWNaoZKqVl023ji1hlkGgUjp
7hexZj9m/Io4IizOjrTETZ5rq2UlCgeiPsNGXUMTO3gQsz2NT0B07nuQ0RXxZ+JWAA4ayn8ajf46
AvDs4IU/c8bqQPAXwaV0OKtU4JNMnhhsMu6eihe3Enf8ZRJWRPMagxsNLOidoDVPAztG5EzXtuJY
XOk5gvaXPVle/y5BmaA4HQG+yMVQl6ufIKZQiGWntiKpulW0zBg3VJtRJG9mOIIstvCyxJz8GbUk
h2ACCUaUYgmisRkPtZs+1Vn8rK1ouLXRp24bL/L3TUWTWOe8elY+4k6dIF5YAxk4S2v9PJs6NqSB
/daAJg9p8Bqb3dUQJbCHo2raEYzonTNgcff1bLcvRsc4pgG7JHRTnXUuVUHQcEPQduM10tNPqnfc
DRFGlciTASjLrtlA5jLwY5ViVzeYI6dYHLoBl1SBCPgybFWxbTiikVPV8b1GRj8OQOXzAGTClt4g
aLcpr15D2w/pjJoPfjTIC2w61c4mFWbEyD7ft6Uw0DhJBPxFhsMynZSkjUDiyAGObPYo4hZZ3Kzf
GhR+WOHUES84y4o5DJuQkfYzVC/rBIJg2muvrZ9LNTQ3Nb/9LQEwHbkkorqz+znf9YrAH6zm6PK8
+DJGWIHnHHIjnaE7m/P7VdbnJbBo196PqNSjdQRsiOdTGOghc9rkWX/VFVSU6QRF3yP7ed9Dqjtj
PviUCqe5dbvuN3yjnxw2uZrthAc/ZiTXo0U4WrNRXABo9ze5bHe+mt6JqKPXEndPspLE0/ioEycZ
PqEQQZVbIi2fobuRsoIMsVLpAwdqOtVNjiK1vi99X6BDAorRgxnY1Bp5T4GDTkSsW1G7TlL5nDZT
sWOyHawAj3ICRk1DUqxY5juVXrdOI/OVEwW/SO1ojjSr0rW2zRgtiOfTJezs+rbnJM/QHEljmOby
3EYev/EtXOJC+e0hUbl5SyhcuXZ1A0UrLKtHjvOkYzdkLQ1QdS/tZSRXl/F8a8QJJuy0eDQxSJ45
meOhnXM41EG+rtfg7h79ebzqY3nvw1InLSDFj+r3g3WSNcL71mAEKoXCZxtTA3kOwwPFEN6ui5/Q
yIiZafqRzctlXxj9O/ZxvEotLak2slC4JUN+3pVO/KAQfNNo66l4pHGVZBQ1YWcKbEDZMywEtnuz
OhGzatPeJ+GLNaNdM6DgUcgWRlMvftqTSTMKyAhI3s6/GHO24SQnFnuaKOHSBFwFJ3h4R544WFOM
waTpjr3oqMKHxEe01u9En7eXc23Q0XPmF7SJmAn76BL3BXxmod58ieVq9OR8lGNGs4FDVrQrcapc
OGmHatt9SMxIrTVT393gY871jRG2Yz4M22zuiXYMQk6os21R3TvQvwEtOgVtJUwBmzJv7tIme0EA
PF+AE3gsUYKtrVkDA7TxhKfCTB4kPZPt6LbRNXADczPUeIRKlHn7VGOp05EH3slHPWIr+02B9dqg
JgeK2tv+L7gN3s4I4BjS+vhdYYe51DZOy2Y5jGDruAxGyBrs6NzqLiWGLeQfDYkXvs6fzay5p/ly
ryWxu5Xqd0adVYCF4o68FDoBdu6ANvJBmwbJSIPKrDg4yktL9+JSdCY86UjgJTDAyTdFejBqnezN
hhrQg1iJkp4CsdMTO1c2QJNg0BwzOqrpSgLlXVk5IFDWvRISB2VF4uOYDcMJbFl3m+XxuQsXMguY
dztxZCBQYNujh0w8pe/gownL+yBQUM0EtTBGg+6mkeqWTTvZQFsmaR1lNp93EblSUczDbVmm+xQM
xkrG8cH084lCSCKdAol2crGhr1qFlW/pxK0cx6SdLJgF7KXdy40yW59/7G8yDMebTC7Isi4FD+x0
TyQdTRfDEjcaFWm/KiP/fmxcgndMSKrTIkOY43ZZbCxmKxWuiTomHoqd012zybWoIFvez444nw2N
0cXIGBtPIzsaVbwozidZq90idqBwAkc+l7dwZ2o0hmh4kOffEXDEmbgW9hl9EGIPMhKJfY0Um4IL
+HTHEgScmDrPGUmGYDpXe1Z97DFrr7ywfYd2VOyLKshXlR//FE1f7Q3PIFoQHNGlJW1z1Vo5IWoq
upMBZvfAJ4fGcYv+JdXGD8Sh6oRfNtkbaCYgvVs0Yt0oAyAzEEDAoIl/7oyYURZZ60PL4lIXgX4Q
E3VMBhdtTJx5Fde0UwNqz/M57En3iHGhqErzi0yyI7NqLMfmLmKK+qydWmxD/LRroiKmc6zoeFgs
8rAKDwLVEM/WA8Ie+63NDf0MoOl3yXlkT1UWHdB+mAfR421iSltdtRHgayhxuEMzi2EaannkNYzN
+h/xwHloh8FIn/dUoT8xW/YVEzsLAUVe1aAV3URy4HR4+JxA+S+h6Yp7x0ejSPWqwx4FBodq8BHi
SeaAv5i/E0Ph9frIvEEySw8cAOy9Nkikj5oLN+88f42TE29k5zlEa9m05mJHyDuOJSROAu+4cYOU
H93C1MLhdkkq7Rrn2a1b42YcZPtauvG05Tslj2NPRF5otu2NUSTOsZpr4nx9jYI6HqF2nlmmwZQs
lxzCYyutj9qYflkErh3AdbdYyCdSDBqsvejti+FnUeM+LVXIhpC14PRJ2tPXXjMC4ZNe/dxnLn+7
FDhpiCVDTGyU1H6yyYhpxep4ZttLRy0kfYDWMeTjOafsAVW1soBInGcVR2mF1evSjZzf6BDdbQjK
9K4wHc4NLijxoA6ti8zvIJ9TTQQxVmeH2nM9zIbaVGH03o3lu0LGfAiliyi17fsb0RgXtNC6m8ik
O+TkCju77rKtTChnkeoBe8IZE+ZeRXu/USDNAZh4VT/S/Q3kEw8cJBIVzDsTJdyeHlKw5yXqg23L
qHZFGUwND8trW00DkM8hVSQfan9fZoGzhWLGa9lL+rKJ37TgLNTzxHT+B2qb7AI5E6dewytwk6H7
OKSDGx3aGgaKU0fRvob2g93UDxbQGnimZzepjVNPhs3N0JYY//H84wpjScEkzdVAqYdjeW1boQM/
x5p2Q9GbN8ogodPnCbpUtCpXHXZFfujh1JddfyqVDt9axQsZVAxciGadruaOC9NuSs1jq3tI+rMp
MRAHDAEJqKAhWxQQb8+KjuMzqY35NWE2HL4nWvili0andYh2HwuY1IAmnMMYNvARpiD4iXQ1Ogwy
eBgJxjo4ZCHdNmRqb9uZYxNjTm6hOTEesfR4bgwBlV4/0ttIiyzc8QjQ61KBoNRpaJ1a8SQWXcNw
yuyqvlpk0VjjET5qjgma+fNV0OaAsi1dh5uEFB8fhXLiXqceKhbfDtSp5ClkrTXUeOxwLW586FPH
2I36i661bhw0sat5sEqOv8hIBBAnqhDk4KNp2Rtl2WobMutm3iAbZOMtYphKamh8HXlGkH+z/oRH
Njrzqf/X0aCQLCgfaBb0VHTXNvf9LDRc5+SYvXUCjsJ2EpjU+lmW4k7BTDDTPxHo98qik+YlRD5Y
iQYyg5MgP3DVSSh0Jh3LzZBb8kmjCL22WhHtlJjtDY45ABAuhcCqoZI6tBPT5TOo++a+RgTer/sU
PfAZTFfH3XEqtcGNpzrgFW3IKDIE2say4W2LYwiqgZDeuWZDJ7QCw1HDUC1lsj8i4K1QiSqIPDhN
82TvVGgu2BQLo91RRozbf8WBrDTJhMGRAxCIwmhjJeLiX8R/TImf4PWelXmexQoKPO42jIS1zWkN
IjxaOIyfjiL8OZ5fkCzrZNtAcJXbcFzGvVqqiQq+EPqOBdvBySkAx2TpWdxYxZsGu7cXDjrSbjZe
B8M0TnBPqrXVO4SKLP1XOMnCRwQfBHhPK10gHCGmid4neDVAAPQYhEMMqwbLY9ooBNsy3IfN3P8q
O5o1nmTBypECn1PdPIxQ+O60tB7zqfxVkrS97diAY15TZDq0XBiORzticVik6jLdiKw7R33Mer6U
IjnZciiT82Bl2EyYwLssYkksllWkYvrjKItC/o65aBHo+OzkTDP0Co3xYVrkyoZMyZO3vWilIzvZ
pBwZ94WHC6ToQQ2k3cmQ4wADXxEdy8QP7hajBGqUn7M3HqquxB7NZOVSELvldj1NlwRnXCTb/NCI
+kc2G+IEvQEnTmFyaQnFDXjlrRgaqlujxHBEjg/lu7bRYoSiIWrwMfFtpjstNeVZnnf3DAyvAOpR
0EUGQhrMESd+NdZ7IpVo6GRnYZW9JgX2bVVa5i5k5jBJ4wK5W3+WUzba9nhJk5DaS1rPbmhvJdoh
V4PijptT1sEbLgLz6l+klrTFAF+SEXqGLXguHiokHyOUiQIs2bqPm/fayJ8aNVxEJbvRnEAezsly
I4gmEUeCAdmdQt1XTI1meGP//Md//e//+zn+d/BeXBfpRG/rH3mXXRdR3jb/809h/vMf5f/914df
//NPR9sa25ILQ95zFP5QIfnff77eRuz2/Ol/EWys4GkHzsF225bggtgB/mAa1OigVxKCs5GgR2dj
6nqAn1PMcbuYlcA5AwQUVvdffxjvb59FCxdTotACDrsy9Z+fxQPwRHPFD46ycOW6NUt5rmdB5sUg
OWAXKP7VWK7aoIQKoAjc+/rqtvu3y+ORsk3b9CzGmab8eCumZew8wiicJWfxI+vV8hy7B85/ARxw
kRWXUaONfNcNmWRci5aWVbCUtdy6rGnjJi8DElT7qrP0m5cNvXg02t54UfVQjlu/j1iKJW1j801E
miaSVwKY33PGpXeTkXw36yokJoDoKJqlcyovjdHliKCy1NW45Wds9a3ViTtOsn6Esx1m8Q1kQpgD
db3Q5bQinXAdiCz0MXghLH5hzemSLbnq4c+6w9aP05Km4YH6pal4pSbYF7Yto61tRKSF4cOduh0a
1oB0bo7Txe+YXEMxnX19n8XyM/75yP3xM//7kfzLI5cPnQOiVhoHL6j7YxXSEChboMd5TufED9Jp
3xJRvQsBL6zjooN8wEvLOJqWBPDI7JI88GQtUoPB5RKRQjRPFMXfvRfibx/SoVxRlmkjDrOpoP98
Fkv0kg51vnGgRVWdUySglYLrgv+XwN7MF/vZjq0tNkza8mPRXdRJSj2CCeabu/XJzZI8imx1AK49
xOB/fo5l7h9Wo2sc+pl93+8m46xtnGbD4BTKaaSqTaPs39/8QvbfvjyzAsdzGalBCbLE8qb85Rdq
07yiy6zDo18M7QP/Ju+EHjoBNDV1foWR0Rpos8ce+3pYv2bgfAhONBalYx/+IptG/Hbw0v6QvgcT
6OvP9tn9sB1+EfSYPCbeh/vhwxxQ80iGSuC2xMXEdbi2DVS0LJvVtregNBPxJA9fX1R9cj9sVGSm
EPhohVru11/uhzKroOEHCo4FGigQK1Mx8xLBctvpwgDv//XVnM+upi3P9FiLTEt9fPQmTuhpnRuH
OcutHSgYfc8rUxxV17SbnpSR56+v99kt9SgOTaXZBf52vdTggcpJRj1YLHzLPFjjg6Atg82HOTvz
hrUT1c43t/TfG8uHVcA2hSWV40mu/XG1JRNJqjxCHQCgNP4xB45zr8I+ov8gfP0eNoHaxXph7/mp
QVIPtE/7CVJPcEITYh05oPdEXdTx5df34u97gMY04nmK+69Ypj48+bAkzaRPjeDYLfD0MnYYTqbD
q2PggRGzRTh6JJiEF6Bovr7wJz86qwyuCt50xdLz4UdvbGmzovCeT3S84QHh32qt0Uf+pyQAY+kX
x//8gi72ckDPtvSkuRQGf3mmMZUExuzNEVMgXx5I9qgvSC7lqjSw73Il77++3CdLijIVj7MwJW+R
/vAKpakHUdOi4GYW3rL3mV1rnPHHI7X5+kKfVDSUDn+50vIy/+WLaRm0VBged9Jx7HBTp67/ozKT
kU5WZ6WHsG29eSsxoP9m3MngniDCpSU6mpSTX3+UT35TCiqPRxxzlas//qap22dzh43zqKzwN803
sbhNivO0qjABzn2///pyn6xSSkCaoomBjpvl6s8vnnaW6ZrKw0bh4pHXBTK42EEDLRk1f/PNPr3J
UvL8WC60ZxKa/ryWX9eFpCEXHcu0ollHOM3KVYsmO8LuQbZbiY1pB6Xm6JRIWzrq6G/el09eVCXZ
BJb1UWjiQv78ABEh6arv+uho5SlQ3GAyc2xmVlhceLiGgzMWl+K1mbzglzUzfPvm6p/daodXxzWX
0sASH54xhZgmGMwxOlZkyK4HKAj7IdLg7ZdslG+uJf5eiiDGpwigAuAxMuWH37UItanbmB4c6IHB
WUtaxfhU2XBf6sKyzqusM7JdbiBJPcNuwOFLJwgZN3Y1j5dC1E60+eY5++y5dhVHB9t1Le2oD0tH
nmoM0go4lFO2wD/cLkl+uSBz8NGwhfJatzKczhAnIIZrEDcjFoBoXhFvN6mfaexAn6TgRQ9XB0rf
J60LCAUkJUiItg5Ej3u1J9ZZt1HKJFI1xgm2n1gySHWHmUHM03NYj1O1iy2wgmQ3ECG7LVpbJZsw
6CeY4nrJ6BDkriIRoqgmhJgz2NWYLZ1oooOHh3mcgRhRZecvgGlprwpAUUSHyLgA14WEBWGLyUN+
svkS/Dd2TZ5RF4bZa+BHxNIVzDEPjZf3xlkY4efdZp7b7zKOeC09FUK4VsxqomjlMl53+FZmfa2R
Vd06COcxYMgG5/nXP8rnT4nSdNodm+av/rBz1XnfhklqQ5CaDOdSjoi2h6G+N4nIPKFH/d21CUMn
L+u3QNaPfonKo4nc9puP8clr6ZjS0qanbDaWf9f+f1l8wWI3eMWwBpsjbwh2ddozjLStJam5Ncyr
wXK87YzF9iH2Z2IT//Ob4JhKEhDNXJmKbTlh/uXywjDp5RSsuEQWdVcwHzifG2D7Lvk/wHLJENZX
s6I5Pnb8J2sEpRdPnLQHOivffJS/H6y1IxSaNFOxSvytvsl6VVb+qILjUJDpdyaTOvyRN1lxP7GC
P3etEjd93ow3fTHOOac2PD3wzmh4fnNPPv4ilKvaXGplh9JO0P/785ZEEx8iqUVC1HiOeTMVFRpP
5s2wyERT/UZXHV8DMofH3ua6e/r6LnxcKZaL8y9EYxTsnhYffo80JiUmlCYuXTaSCz0Sa21YWXwp
SmZ3QQub8z+/Ho1UDi8ChrDrfliXQ3r3aZvayaGKF1/AoN3hpkkQGa34kZDTwPfuu29Kxo/l8/Id
LYuSkZMSQ0314Zq9jioh3cjYZwTImitlzS4COeA8jP/4TdjqB6dJN2Ng2O032/DHomq5NOGogppK
K0xRH25v43YurYzZI+mKGhs1hWvcpWMcl988Q8vf89da/f+u43IapLDQnvlhbZmHCBOrV/r7lt7n
q58o2u5qiXW0wOUfXLSUQIwaCGSVVfknTijiu+1+uYl/+wSKr8qJyHWlteyRf3mxq1rLWftxwNgc
F8ss7enGNfp8j0panr5+hsRnd9XmCUIJh15NWdaf11KDH/nseoRupL8nM2p2XjKMxzkmvY2Ezscg
TeMz7HxMCe3IfCSFG7/64rrNe7yf3eAGF4LGxNcfyloKqo83QFFqcEAzJQ/ch9fYwUPhZiMpebFO
CFiR09jvyxxL7lnnVQ3hYmE/XpO6hyokzWNipWOCr9Wjl/QjivxuQJrMgMG+zgZL+Aim89zfCXtJ
bSmrsr0AGJPArMFaYa2w4NB0ybNKm5wLBD43TcKCwuuok6uvv5YwP/thWZhMT9DcoI77UNwEaPcU
j198hJfYvEnCZi97/Gg/Q3sWP2a3D+7FXFpHCUtmbxWWC76nJd7Iq8ttSVb83q8EWfFKtna1cRuv
91bmYMq1xBnJPD03rV9E8OqtN+GVEBbiyqDKUNYrGGD2ysYO2Z45g5+hvZiDbeT1eDrrsQt/oWMy
fnISTIqNYdMAPgKDC1HZkQ1PuLZE6BQSfjJFuKg5h7pQGSpmrZdjFDonKKbTZQwIdydgimACmoL2
4BX1cByQCeZkEAzBs5M10cENA+8iQL71ozVDdYPaK3kscZ5z7qbH2EBmaZp9+m82Om/d+KCrqnub
Igf03zyX7iZlz3+urdw+t8WU9yubujhdY1tsHgfTQ/+ZyTQ5avpnPMCeSq9UU+mHKLfl9ax18lJz
mD6EkF8YBeJy26c9uv5VwozubkQuQdAbxHGUpSSeHE2ezL1kpgBvcvRfQLZk58xhgqs8iAi5cERz
FTVmzMB+gohM1/5hxDQFkLDBMoYYMcXzjMzmNccNEALRmf3kl5zqYGM7bUMgF3MAouNCFIgWLrgF
yUZRdhkXzrAaG349qydvYrYsUqu/eQiXF/rju6UFqc/CYpv0Pp4lOjzMhTsx+dPtKC+9hs7HM+Ta
CAFW2FPD9Qw8nHGZBaXx3ViQM0aQR7vtKQ3XX3+UzxZaRkT0kkyaARQxfy49PfRxZUWFf6hzF302
Bz1C6Z3Z3AAnja5lO1YbTgPOMkNmFRwJpfz6+p/tZXQ/vKX3Z3Gu+bDKQJuJhV37/sGEdbgtpxC8
TFwYaJGcx9ZlbuWa83eb2GcrgCdMS2taL5b8eE3KVht1tvL3XtRUey+I2gFVo2BYraNAf/MFPytI
PId2vMeOTaPlwz4Certmbm8mx5DBL9pTubg6kdyk7/jxu1sQ2c3517f0k6+31H8Uw7QlTOAHf/6k
hjHEjAddD5Sdm7OeQqCZxew8DDn2yK8v9Ump5wr2LZMxny0ZVv15KS8gXIl0jvhQBQbw1Aix/XsS
OgSqZUV4iwqxBCEdlK8CE+03l/5wXzmYmhR5ipqbroA07Q8PDpszY1Jd5Qe39qGg5VEbJNvUnIwZ
EOqQocmip7z55ut+2BOXi7oO6gp+TGo9U384h+o2cU1QKu4hjrr6oiDzhGjTpLWZ09giu8ucyS7P
2j6QwcbIo//P2ZksR4psW/SLMKN3mEYfIYX6LnOCSUolfQ+Ow9e/RdbgpUIyyfJO6tqtQSECxzl+
zt5rB8bCA4Dy6GR+fmOFZkTsnSyZyXCF9hI4FsTiKHXTVapk8zsGYQv0hRiUmQSIqB2e4D22/HRV
+GzwTr2MvSjfuF14Aa6pvIh6e3AeU1zUxn40jMg897K+Em8odBDLe5UG9roipO95LEMPtZNk2rT2
Bz+jJPfh6uxHuC248BDiP/QQte6gI5JM4BedYD4rSRaBcDLg81NZUrypTPQYOJF2/kjvE75cVh+a
G8qUZhXbatp6qsJGV9lVcRvNv4djpRkhgHgiEO7yaNZIqMeXxExtZ13il/SWgd00gBWZZoGzsHEh
Ligl0osgmSx0R3x+o00RhLAe4qHyCBIYTCUWU5XrxSpmTuKjYEaoQo4FcEJrGBSs/MLMnoty/m1L
X16U7tReOfXYi6UaQ7irUs/FcbKUUX/zjp8OmD4sxvmV/KtYNLqu7pvRjQ9T0SRo9FoX8ywxdh2c
xfUYsacb9OzWhawf+8GBXmNY/TbhRVkJl7OjauISCMYfGhle45DaaOnh+fvuzzw5If5ZvvOhyHHY
+0xmxe//TBl0kPYR0u0QYfVACJFH1767VRO+MzDzz1mNaTgyxl9VmBIQwwP9+v052ez/XJ+zum+b
tEupwE62i96fROtHzOHi0jcpVQh6l16QbCAeBU+Kr8sdwMji5uuLnnzh/rtpGmYuzSzT0/WTDTjV
KVZ8OLd7jNn5ZqqhzJuKEYMRhchCdQMJRQ9GSiPhgHjrqd5+ffmTLfK/y1O8g0xkFROT9v43j4Ut
+ySdAJT1xrYsLGtdCWSCMUy7VWXIek2Im3rJ4Mx9fd2Tr8B8XV+3+PKYlsf46rRhOEFvAVEfhnvs
Qr691pj3eshw+9bbJFroud882k9u893lTg5skHYUIl6V7p2qUzZicDkiumRS7MX0zaZ4aM6aiaF0
23n17us7/eQB+1QHwmJZMSnzTx7wGDp0hiyduQJQYGMdOK1zhm7UvrO6HLqbObUYqLMBj8Qi7XBz
AAsjy/Lrv+F0uPTn57aZpVDD+IJ+ysmrxWA+TH0zDfZlmsKjSmifziJC8o0Q4XpE4dmR5vfnNl1i
iTKpQMcGDoygYh0eGpzhUFqPvpmQdCOJv/A23/x582/wV8H535+HxkAYhm8K708v768NKtBqbMcB
5FcSljI6htEQtNfK7VV93vHaDAAjg+mBfGVpbAIn1aufdkGPBuFVm8Sr2khk+s2h97P1aQvfRtBt
0Qo57dtBwTfEkLc+2Az8sw7ksEOmSDYRA7yer+/+Y6lg2EyAZomHKzwEp+9fQZg8vTfQ6NpFyCoO
7ZjPGieM0dJL4qtiInrrn6/HiMwTtsuPrUP/fn+9ifxWzW3z7JC3JPisaLxx2mnpED93VZK8eIwO
7G8u+fHXpHrmV6T/yY9JT+j9Je1S1wscw/6+akWP06epL+rGB9vhmOHd13f38U2n92R5BvIdrsMj
fH+pXs+HNFVjgF7cr/FZ2HayzVRdn9kToiy/QCIYjwnyZRdP1deXnl+i96uYtiZVJh0SpnrehzXT
A4JM+yw/kAkTYLr2QzTYJg7H37qDOg4QVwD+iURyWv9fX/lkCTF5EC69NlqKSJkt83R23JIKroDA
2RsEJP25pA9Ihl9vL8uxbs9svxH/Vt3O1/M4KzgeHWVaYO7JdgKLstINrCYHt/GDjYYidReM1g+A
YtnK4L1Nvrm/k/VDL4+xkjPrG9i+BNCG9w8VIkptuo0SO7YkVF7MIHaqSuXBrgvt38fAiL+E5Qkk
hB9f/B6FkNUILzowgEoeYF5ET9nEyAmXEUU8uOA2/vn1wzu9uXmbYbVQsNNh+9iQZlxF5mgVJwf0
3xrNBlxaHsRKHXQOEnjjm5/y5HPEo3t/tZNHl3LghAKcxYfeIxUDGkewbCyIFJXeIfokbQtUaei9
BfA7qNudf9xX/1ze4KjJQN/m2Hl6JEPq6wzQdxIEy2Z6HAtzKs5wuDoFru4k/G4yR9/s/Tv553om
bQGDb/Dc8D85hxGCTQsjktGBMRt6Yeaf2GAyOIcEniCbnWxJvsSQPGD+yc8N4E3dytJovXC4UNmz
Cjt7C8lYXnsO868lMV86tDpPVnx6mKh7SavdmBj3DspLy8fKGXX6XrAfdwm9mt8WXKA7PUZX37n2
nF+XeNhQOuKW6LZui86ZCc2qfW7z2NjQ0q1fmC7CpM6UELcx+pplCoZ6gW0nu3JKkEUJUtYDB/Vy
ZYkUvXfbzU0i6Rf6WQcTdGtG4XM1NcaZrTFgHjlCbXh16kt8Cd2ZdIH6WCNJl44XgZuuaieFv2IU
4W1e1u4lTqdqn/KC7WUnyod0IhqogdLx5BZj8rMRfvUa6yMR9YOnHRM7CXc6qDO4llElV/2Uio2D
9WdnT4E4H5QPCXFw7FVbBAJ6+zQc9No0Vp4H33Gwc3eXyqo6n+AP4bi3DFgrJp8/0lurdBdWafYW
aF1zq0N7B9kJUTfc06yS6J8RHuXrBCVNvYaoVN5rcantTDGzYBvXfBuHFkK0bhXChSgSJFurGcZx
UdY4ksCnOT8ru4ZcSFIOMZfgt5fsndam7lsLJ5ZLlDBt++vRq9QyCFyNCaiG8L8cTBDagLSPhLwG
d76e9auhcvTjLEvSF5YXqmoBMKV58HF4obOFSIqcuZRP7lgJolvIEszaSv3SgSCGeHAbGK3Ix2Gr
If01aKhtXQDTqxDS3xq6sPidgpncNVlO7EyUJ7cOHJlyKSedzBcY/pBLQzEdbT50t6VyhovBbhyk
53H2g0wX48ygYznyvYEIqYFEutGVDK9aM3XPc48oueXoZV62xDqE9DlP2mIfFM1AimiQrqGqpIfO
TFttOzhmTgQqpEfybYqpI0V39gcLEG6LpIErQKOo1Qk1jaWOa36IMxyEIGZcGpOkrROxxAckI1ql
qJYDfZ9d4IbetDK6aXjCH9ufx36gL1N8lBvDjcx1N7T9Psd9RkZQ5Y7uMguyrl33pCjTsR/zjTAy
964nJedSa5tpD6HO2/eynl6bwiQsQVOIjAH29ZuAFuFlIDnd5sqfzCX0Yog+aWPFoK862kKLCQ45
ZkF/Tk6mKTthmhxs8IGTc1YW/nDMqzF4KceWSOeUHOYi9scjEV7Blr45UMy0jBnbTqZWLVPwyIQd
VSbWDoGgnOzGIT1v7RyYgxbl42PbjvUiBac0ywH4kIQg3C7sPATEH4wxknqlZf3sIOv9V0qy6JjW
XbFx2CxYLn26hzpi70A4DhcxLe/HSOeG7N7Rf0wDHGu2cOld4AfrXuExtinqgwBvr8VhZpyUoFed
ktM+mKO/DCcwcFEahEct8po1S0b9No26cb858ZzUQf/tucymZi2MwWn+5BztR8gt8i5FihKkSbrq
RsMlJ897jH34xbZsjEfE///aqZ2/axbSbeZQtuHyP+9LhBxwashWEB+s3EvgZvo2CAXlLhwV34kQ
+CIbZv8/3ChaMao9/kH9fvJxUVUIULjKE7iA9PhMq3TpWOChycmeOk8Gffo1Non5TYH7sdYjNAyR
G3YMk8Pzqa5hpAp0MQ1zo34LRcOJMr3Y4J+Wb6xeoZhN1CR+fF2ifHpNfPSmNWuLrNP63ZcR6Xhg
mw6+M7pEA1bOrc9AiR/X77c0FdX6f7gei0ewePDv2ycrKMwppUXShod4UHibCDjDc03uYVkWZKeT
8vvN/X22YqlGaBUjKOJ4fHI9ZVQt5JMYAQ8903VqGfdml3bno9MXGPti99Kd0x6+vsfTso+Wy6yE
QxJh8k9XnCxYchGSoANJsceJ5+1IJ6s3CamKq6mBuv/1pT6r+TxM+f8JpxHsvn83VJkOFnk62j6j
WboISifa+t1grHsV+DtCFjGopkKeWQ6afdrH0cPXl//TzPnrYPRnQ/jr+q75/vpyHCQyUg8Md2Gl
20ZU4Gl04zA4PQSltIaMozv5Warh1ytpVEHP1ouFtPMHyyEeANw+Hk4bRgdarv6bcvjDcHveN6gN
mZ0h3EOdcvLbJEqx8RsMBXXf7dYlw4kNjDOQOTmSJB6gWLtWInc1KqPVSL7bYpKKLAqfzz52Nmie
NJZWObmRm69/tE+WpKO7NAQx4TC7sOZz7l8tkSQDdTg6obevs3jYgCpyrloZW5uiCprnsqq7TYf/
85uF8tmTmluBzHkRdntMAN9fdapt2rOdxtAySrx625oO8fSAwWnIr109dR49uwufaXTFxKqnc86J
1RnhZQhW46weYvOVdn1L6gTNNrFoES/ABasT7/nr32beV0/WkzurpE34B2xK+sl6UgyQRq8T4aHW
mL8slF5h30d9/u3qON33EB8jWmJIP/uCOJudPARY3dBCXQJ7IGOOz1UaOdFal3SN8Piq/KZTjfWP
x8/5irAImDhZfMTcU62772cpnhstPuiVENfUUCUlZyweAdQauL7t4ptl9tkdzgp+QWPSYW50svNZ
UYh9ANr+QVAmrzvREFqD1+8ojaTe1RZpV18/ug+7Hvf31/VOB7pRYZAbFpnFIRp7HTJNW9LvNcP5
5Xdu//1SrBIsK3QVebXnW//rDQInxZkolOmhZGr2mjo9dFRaRmCV7Lg19P/pxphq8h1hWz99cGS9
5H6YdwHsU+RObV8nu8SjHNOAY33TmzzdGuY14jn/f6mTVRllXd2JkY8GJqUW35WI8jumXPCDYsbl
983AhGtphoH4Tjr3yWJhg8SHhpKQXvJpjeV7DO1KB+kcOnF518iQGYGv3E2qoHJwAh6++UR+2Jy5
U2+On0K1Zbv00E/uFIZQI1wAKQe8R8Q2KkrxleyRswVDX0lY1QNYHHNKrJ9o9bJdkVnRHKFna0cf
L7W1dUfQAwuax62zGCPpRt+8racf1pMnIU6WWBA6WarrublLUBctQtfCwLbQAHKXG7KHKw4PMc+B
gziYmYVrEnhxrmMVnr7Ztk/3wz9/hnBQuONe5U0+2bUbuBCV6UDfajtS5lbmOGbXYcNMYfX1G2V8
tgB0PIGM59DU8kjev1KkE1hZP9rZAZSEuPBFhbaKczK0y4XtlcM2TlrigAJHwVnLrB1RQMXa1BOH
IyI510iiIea0nbgoLJATRpN03/wQn+wuhFkwQsCsYs3f9Pd/n53ATMz7wN31if1i+tlwPjnEaGGc
9q+//inmlff3J2hemQgM+RF8HUPrqcjRMwoyrex63OF41TdFp0gFsEq6IVpZTXdmVBkHn+jk1QCy
dPf1pf+4zb669rw//LWxEbXD/MiUw65K6+0wynLVxWmwALV8NeRw5EB0r/PJWTFhuyQA8VhXPSEg
A0H3nnEwW13bNBEu7CJ/LrGhnPd9+vL1X/jJBuUx0sQOYPD2+qflNBzpse0iPptaGmW3OrkkIOzT
dN1PxEIAQvgJ6+e7eumzpclO4XjMUanpxElNwKcKa3srs4MF3YHUgdqKNp5s+kWcy/wVldl3aovP
Lyh0QNImW759csGxhf7QN5G3I2fG2SDO73dZ4tEPSJxsVXau983a/vR6wjZmMRIjMnHy1NElqyge
CPiBd61dGpj8FrHuyYPf+nhN0Lv++weNDzX1HgZkl5rwZExEBILsLY8k24yUmGcZduHv0FbPDQkC
32wrn92Zw3pBT0tF+KEnDFrIjnNRql1oD9NdL/polvBBIded+lkZ8b8LlHWGhjQoWKGId//4nv96
f+ipsBEzKDpYZglygr/pepBhe2k5wRNZVuRywlPbfv1KfDAIzRsGy5OzpdDpUJweoUcwi+i5GA6h
IiRGrVXV3taoRaYRptUizYeCowS5GHnv6QvIfd2qGPXgm7nNB1MEfwX4JowqCEv5Unw4ibWax94e
54cpd/h+lna8cZSJAtKqSZ8ANLxp7YoQiCpul1ObdD+HPLcv6W9639QwH585vz2lBGdgbKQfJoJJ
oBWqCYW3n3qXarDEn3ar9Jmw3A9uVQNZqL4Zs3z8SLIfzfpyOjWMdU97CpYKvDpwOeM3rj289m1C
2kTPp7P55j395EkLjMlivg5uYfTm77fn1CY8HS1rfiC6XN9mg2McOLEAWuGAsYocP8Nw4htPVgBW
S2j0auxgiDZfL7c/frP33wjmrAyTMb/NFrhTJTxKsBKGC5GzIrCMFAA0MUq7tIvcOy8du2FDAGI6
7du6htuZF6H5E15CIRajC/Zgi1QIqFoKDuamI5QlgX1fBR7Qgx5k0CAreEAE1VGAgVRtXkknlHea
N092u17vcMf6ofNbKLeDbCsCCDmZxvCjg5KwrIa6tlYDEMFDblf9Y1rkzXkEieg8Jnr8txuk6UvX
JDRoQ5o++sHzUuMXdEIB5UkAUIJo7N/aRFnR6K0S1GzsiBWKtNpNjKtyJAhoXakshAOSzZXfxKzp
WR9TsBsZereYRoOPZraOE6q1UbeGRYac14ObKfJgbY71EK1zR80beBOMP7AyFcm6Q/qjdi4KMeB1
Wl1pBG6NeU8LuVWECtaANzchfI9DYBgJsBlwT3tZ5h1E7y7TvSPSBvdXMgwmXojaHR6cqdZ/Q7X0
ql2ol66zF2bt/IRdYymaubj8l1VRuL+sWql42eAeDxeutBKCcL0guvl6nXwsmDjkM5Y3WaafdE2b
rMCEZIzT3qF6uXRLpa8GQ0XHMKzbbyqmTy4F3ByuhoM5AyvByfeSQE+CbUtSFrXMDi6qTjfXiZTa
uvQq8d0rODdtTlY/k2K6ebiN6MyeqlrJPU+DLJiyQ+KX9Q0go/gig032moIhwZUWk2SsOO/D6C0Z
OwF34z+zaslPvMijMvnOsPjZnTO1dtEw06vQ7ZPy3IgwxHl97e+LPvXWcckbUExN8eIbo/jmQPKx
8kL4CQkAwRFiIxo57/eenIIrzS2TH7kgPrEwyXMZdYT/qk6fFHa8RUtj85ut/GMpDHWAFhquKvYZ
fu7316wzwE2V1fn7vqqC9pw8CBfUr5d02brJqYaXceEF1zUhhc0yU9L+9yX87lmfrCsbmCXZhzjs
ZCrzI5EUwVZJ5Pm8Vd+JpT+5U6RKs9RCuMgD7ZMSLPF61y0nXK4su+DYDp7cxwz9Ns009geyxtkT
zPEhcOz6u4Pw6RgbLTTaPKa/tMRZz6cnb7u2J2Q6DRxfK3rIHV3e2KVDqgJSnQvyNdViGDsP4LVj
HZ2pYuijy/Hun7cK/gLcVXxUmD+cFjBark0e6la1n3Si9s4duKiYJKQGY5FN2vuuJW/Mz+3kHeYN
ZrjCiQ7Ux6mpll5VDJur0/Ztrkd3RQgZGVJh/ZDVo3qdDPjXY4BwzQ0MwpgpEpeUbmrjDAjbJBPK
+6/vHgruJ5uKzx7JPILvOzqbk6ffdLbWIgRx951P4u7c1F53Qe8jXJiDc2mtn01+CK5V1YhgGs0+
s0S4I8mtOMzZqZ0NI8XLQ+uhqKS4pyxKl0lmMmaGCfcqWTirJqx27ehtcHv1a1LWyDQ0R0Tamrd0
GIquJQF8hB05F2XukcFZmYgCALjVnSYWsrP3XuWTwVub44LsdIbbATw/L11OMrgYTfIJMcS8AHc9
UwTUL6oEwSXTkATimx2A0p7uGsM9Y4a81MzhcnSzZhXl3RyMAHm8JJnNG3dAqnYmac3wxTCI5m3l
k8VWXOVatQ8QcfNv3zApXHrMEBaCfJbc7LYky5JWEs6ZRcFYboBsvaZVnjoLn6aqs1AuEeS0ixEO
hKW9449xf+cZ88FlhYkevzSkwQWiXHvEPRjOzE1dr8me4ecmy+qp6z3tWu+bfKHMNPw1Dk6arBE5
wvdrekIKiEXQ9lHKLLpzmB3R5Sx3BkmB3KUVAXJqqzG+Gec8sDWp0W691qyYEKRYZYeaaOGzIKna
dWaCJEpadpY2xu5hYSLbsuFbq4n49m1iFdlSMrJ4UqFrPsSBsoDMlmDbsiq9H7rgp6Xhncmoxpdk
f93YQ/coAEcD2ozfhsl6rKuIjAH4i7d1y+uNkmRgKF2U7q6xmLcz+YW/mHXVxphAaFvQ/jTP3kbK
8dd1XJSHOuyjs6GOolWm2eGqCFPzl96jlW503dlT12X7nPikLVEwxWVC4AZ/GME0ywBHG44PW99W
mKXOu86R52VR/8gh0d5F4AsO5C9l28GtkSNPQXzmIi05RMNwxnflbRy9aCt18lMbifYjSWv40Qpp
IcqIqdpYoV2syckU0MFgBIUs6FIdh7J+4722VglpokBM8JMdNBRmWzrbvyNa8WtFUO0CGz35dYEO
7pYQNe+Sb4d5pym73WajRKWrpfEPfaDdrwb7dVAllKch7JcBY9onGdWsLVNEGxEnGAEmQx7lGHlX
Vehpu2KI5MJqcnOlKkbickLQLh3BDRIscpRW+NMk5nPjWX1asGAb4zI2Crk2yfu+c1O7e2jdOLjv
LfEYNn61R70/j5jb9oZsTsSqoIH3Vkawk1s56Y1myXoV6tHMbOZ8ZxcxmgaKvUUV68Rm2GnyPDii
vdR9MEnOH2he5YsfIcPc7YQhI9y4kUZQsAiKwVtFPTBz+k1ZShMUEFWy0MteP2NIpJ9lriT71B21
AQTQyGtckipHvmZp3TtTQnaqKPqlTRbXgaiVYsn7VV3FAA2ftGACIg4S4K0yklwtx74hnx4vyJro
J4AvZMyT3sYrh32miaf7kPxkdBMswJsKI8tCQDk+Go07XQqtF9uxCofbYIJJ24Povu5wL22jVreW
8byTB1NHfQ5CAWtwpb2oMrCfdXKsOFQQMnktlaU2knHpCxbe/F7CrViTJp1sShiTV2FqhTehqQ0L
M5hhcGXYvqLQcc7AXnjnbW+oczMcSOgB+P+EBEtboqMe4A5A5rRbn1gre8gukwqZR5XGLvun9Tz1
PVa2MNTucbbFF+lA0rWFW+OM7zDKWDdMDp6Mm1+JJ5wOmVItr6VFPos7ddHRTwiY8gNX/NCTRB3a
lEXV9MawIWmd9ACEoDcACiHTyoI812ZWcskOqf2iMKE0ENrZraaCONQxVCTnKIc4lCzoprcmoQUR
oTvYmaoMd1XXih2Szui3W5oXOnRPClZH2U9ErxNjKksEOOAYxKJLs+g3tuDfUabSS1Q3wzpWRb7W
XAfEQu32hCR54Y2a7Hw3hL5WrbW41+WOMF1jXTlOdUPdgYrGHd7SVuSMSYyxo5vb1tsiDMV54/kc
D7AgCaC0jQJ/Oko+YdX12DjOHcGFpHQnBY3IQm/7BaWCvmGyQyyDwt+wDNIRQ/8QssfCoCC/cD2a
1vga+CrkE+oMxTpyZXmWklu1YbNHQUTKR3Ugk00cdAbYyNVb1Eqqc/1r/NDdLik9gLo2xjgmkSaB
SlZUZ9rOkLq7Q9M9boRfxve51DuD0Ct6Aquuw6QYjF236mMLxWM+GseYCESCGyR8zFx3Od7mZQK3
g5CLce+IIly5E/EuWqP85QAb9BDaPjyXhm3ZofmfM93MxS9i59pdCJmvxl0l+aiRYGDSeg6mH2QR
mjRRvOEoGELEi8KOfbDOpp0hfAr7XWt3PWZGjplaBGE3TkW0Bg8anDsm7tmW1Nl8hdA279gQiHBI
Kyy9S9+qDRKa+hgYHifKm2aEYRC31CKaz5dxWWVgYxcBHBI6sKP55PYaFG4tI0DFqqbWWw51JQ4m
gck7NyHRMsXfPQDyDtqQl0aGr1EYpXc1yLylPTrUIfDIibnvY2PNbCmHpBre1Dbnf4RrwUJX3Vap
lMUbvIWTjfKlz7cUiumNKtHdRCHdjTBsfsByzbfEZo6vdCx/Gn1615jBuYiKHRguuSgneSySZCaM
3GUVLtxetmeaUYqrAMfryMCbM/CuH9NuZ4bJtSvBkHJOptprmicLmsdibBnzaGBZF12Nm8Jh2Ydm
iX5yiIBQ2veTVe9DmvKQUAQ/R9wyO5pDcarKWZkpEaYk1/DlqExiodjaet2eyO5Kby05XtS9Rn6c
FV0WXfgI8Jof2RjPjEYu3H5c6+Pw3KhwAEbsnCUAaGU8PESSB0pH+IFZ+P3QaA/JTL7XlXnhOCSd
ZYq09DrX8MzZBExJjzcg7yZaQjPjq7MvQegSWd08e5l1C8TJWvetsa+sYhMAg9Si6JwUHXnWRQoC
pEXShR4RTOJJuSB8dHLILhTBqzYW1SpHsXeRNY54yA03uHRNsgDaOpqDhV0Jgzeqt7JRKy8ptJXU
0XP7Kj3HfpQDWBfeJjZTElik8yPR5TYN4i2omt3oC7KnkushKzaka533HnbCMEl2XtcCwLN/ikw7
w3huXZlBVm3M0jlP3eEsEt64rUzAcZHfLePefWgibZNY4XPWSBPSuVFfkHhMZHLi1AiDCa1XTn2r
OqKa2qysdlNu3inpbjkaHA3oN1HPt1bWe2HkPONhK93Z8YetxStoIhmSeEBLjDsyL91N7oirqMGg
FwqFLJQ8iJw4KZ5Gvgea9GR7w00s2bCSCGviQG/IVZdN7G51kT8D19/C0LiWdX5LTitI6vyWXexX
hllqZKej6IcrPOVvAlA3rc83S9ndyqjiqypVi8qE39pPcB1jIi00xmNpCJqY/SOy+mXMtqMTULjw
kmCb9fklN0/cQneEx/4LwtHF6Nnwm4mECKpfDOBuI8e4SDWqgCrYIuW9Kgh9wqRokf0m99UQX8pc
W/d+9VTDteRAQlQhq+Oar++zroYbBJ0okg3P3RjWdCygfS070Z9hGAAHlKXjpqX6HUJbbKgVsh0R
8C/kb62sybzkc/fkoFZc4JttLnKlEPNqMBdz6XHH0Z6Ix4NkWfLtsImkjA9dka2sUm1IaNiAIVsF
yj+PRLym6buiE8LJJknFQp/akbgnIP+kpWG0dO/9jqLBd/tbuJvZyo1yckgcFoEzEvmT6C4hKkWF
yTK2xa5DHBz47psgpxj59LLME44jw5H6f90gY1mGRfmjNMc1cQIXJR4O+pbG9SCGrR+QoiXYsImo
9Fa1HF7arltG5rCJPLmUjXfhZsnPyeyRUduk6QXXnems4yQ974ciWhpxJlZx1lTIiZOjNvpEYyji
devt2EavKk1eoi649DpOSConFMpslyGgSeieOvnyfSY3foJ2lO2Z38fnvODl7W4oqh++HnS/07aA
MeFV9aoDBrVMCPSKgLwKRr3kKLDVmZKlhbmDkHvjEBrJTztp74syeUmk+JnQ2DZKc1rZJIb7gX+s
NLEye21VltEeYTGnoGkVTJW37QjHy2kUMVQjSLZWb8Wkw/ggcQ5QduYscMht8sheFyDfWwS4Vkkj
p7Cp7nIfiSuw3AMwZHMVtd1S9mQJM6DGSR6HNZ/RYj8FZCSYueEv69Yk3yztHop6rKi688cERz0/
J3UeDjDOpI18sXIfpW6ASbvJBYnp3IrX9XuA9zncJInyO9yFQxlAeibqcshw2jJAAURhYqBSNVFE
2ngREAMJy74mIskgGDBqrzpyh5oov1CQ8P2Uk8lU/TK8/naAebqwOrLrSyIYrGa8HGUbb1KrOjpd
9qO12Iypi99qwwv40lQ3pUWqPRmFSKJzKulBz+8zqzqzjZqX2Pe2WVa06wiJy2aEBxwr56ZywTX2
fK5WZVBOcwLZS83MadFMZAVZaoE+uFu1Gm7T2mnuinZa8NFNzwG5dEviD7W1n3S7EH8Y6adHO27I
3cTEVGX2sePvCbvaX8e9nZM3Xe+Zq16ZTpCsY4lnVGM5ZQkz6rrac1dHw8ihkClzmcR8JlQdEbwz
Fb8ow5d2WPwCMrDnWKEdK4+BvlVwEK5FeATR/DLOOXq6x8N1CbtI0WxvZd3yeMiQGafK59uszpF3
Dwt9iMq1m5CHrJUaXO+avIU5u4aGPcKUpdXXwTnHMf1Cgh3EwBA5ezMtjo3O4Fof0qXduFeJATW7
q3fpNC1JW31kl14Q5LnJ5sjEQKqnJANpEnrecJBm/1sYWrPPR82g/YYsVh/vGuUsw9p9TJqwOw5t
ZywdwTlKz3wfqlN1MOfKNvPd8TbIrfMwJ1PeLesdqe/ZbCKXW/wDNUR2+iQwoThxsKuvDNk/1K2/
kUS60X07lrE8r/vyDsYHRXRV68CRE2pFQaRxXTkEhHl8yAq9BFxOwlk8acfBgtwior1lx2fIlY86
hSzBPXIdWIxIyFyRC1mxFea1vYuEJBylL7GpCypag3dq0Cvw3PZw3/stx7/GJsyb5FLeOC3+QYHy
mLXsCKmwr5RfJ6u4Gt2t5s7bEwHX+TDLwiW71jhnqtcXcaO0ReY7y1QngWRIIcmTGDGl4ZY02J0Q
xoNXwjbJdYLjydSkpjc1J17qRk30i83/bUW2yYQPGm4Kd1kl9uikV1nU33llcm+a44akQQI14gAk
T5ktQt5lUjaMHI5GC9ZdDGJNk9VExtQd0tw+i6Ji46X8jtSO48Js3R+x1l83rfGWBOGDLOeywAjW
VRU/Ud+vUCHfRMTQ8N14HBWHp3KenNqzOt7XnNWg1FFq472kYCyw6UCa7PetGYBEGOVe6iEfvJZw
ZCRa7aRWpvsMCW1DZbZFgHc9BuODtAiMcFJytkfFS9kr1taw9vL4pkuH+JxgjmSld5xU9BivNonV
8WXs49goIY/jGOguCAeo1mPHl93FOLQ2y9pZZTzMYNB+e4TIm13yaNW2wbExIddiqvb1YP0y3Hw4
KyQ3IzoMykF8BansjEiSy6ioj2Nb/U6SgUadfjGWBf9pI3q2yIRamXr4RkP1rK3go+SadyVGsRlt
bWGN1Y+xC7Z1So5s3iGF0r0XMF0wE93X3CRCeIp/Cogqm5GawWHUvzSm7meY2zE1EB9kipxuRQzV
bSW1ZTc1NyGlkmeP9i530p8SK8feiVCEVl7bLfrSnSuZBjnWEB6F0warKYv2hUW3LZSds3Na+K1G
d7Dc/iJ1vVsA5z2+o5j+NUjUtT0pzh/TY+2oX5R95FXjqVnUtmJpTTf2aN5Pffp/lJ3JkqRI02yf
CBFGB7YBxByR87hBMqurcOYZHJ7+P/Gtble3dMld95CZEeBuZqqmZzfN7cVQdhYZqJKbsndfiD6+
IRqn50nkwCfN6Um3U+fVsMsnjcOZidPKzpNZHUBInadYkArU90dgJqyHzGpn9NZb7pMU3vUOkUfu
sLN6fz3bSn7Wjn3xKNGJmw9ZDkxD23UOpR77oYk3OcLUHFaWiHq0JXtOt2U5RQQGjKX7DDee8rKK
uhZOrTO/5a7zV2YVf8ViuNMRQE+NRarNWK1buAVbQi2CVKeI8XrFjKGcWBuJ3dDvTdoynXR9soUw
+n9aOYgao9jXwAXDwtZPrc4uzgoUc47nexI42dJuRmCUZNYLEEwzaAy9jhTAg3UQb2NnfXmwmtwZ
ljymrRaIat8TSzgv2ZWTPQ6KZTB3RHcwt6osOpykw6lJmKYO7jKV+zUuWQ6qYL/ApCJjamYHJgZo
jHWebOaDpoMCtxwwNM1CX+XsEujYIiHEoSejY709HuC0n5WV7rKuP3WZOwS+m9x4oe4mF8Olts1d
Z9KCkOC6yeDc117yBFiScav7DNVr5ybrcS0y5u3jjc7gH1CfAdY5gT+4lBPmngPkzMbevmMLJm9Y
K2t1BTBO+R9Z6+3WlTPAKAnzTqICQusECTrWIBwYmn0oxG08By3S9pcj13jQ1vkptUfKdS2yeuts
Gl2o6nmb1mXoj8umvyU6gn85uZQYiNz3ZJIzuI0f2anbzYjLvI872xaUpeMVzP0xK9yLIZrzVMU8
0ssOZTqSvc38QwVsul1To9gyQz4Xo7edOvDSacapMdT7cnGzrZc0O8uPeYn78jLA1qhL7bsyRnHr
3wJp6eHSjWfe3x2GExbvSI1oiHsplrAiQpngqm1JlwHY5ghw+Ztlvd0qqotejZ8G5+NSD++gRmqq
RGqu3n3umLwh25J10nPwOpeyU0eh1tPYmZHv+dfBzCOTVmWuqx2JAftpQEEutIMzTFdzAB9s6Bcc
gPukZmfR1rZDbp6q5QaRIDSlVNV5miqDJcFmj3q/bzvWnUjbv93M+jzuefqCNSmealYimr7cFlTf
GdE1+4V45ru8ypegU92jy0YgyVBHycLX6iYL4CqlkaUR24cx4SHPzYe87S9lsjwMenzvFTrLeQBu
yzGBjtOOPyZH7W+pJtKVoaYvh6rqz7qsH1Xm7IQ1XikV5qjQi12d2W6E2mmcnbY7abC00RFgyvEd
XqfVTqLcFPcx+WSHVl/vumwen2pwrbOLGpsKJlteEaVevmuGaRe36YvN84Cqf98YMytjKYLJjYze
nZxi3mqaG5kTe5zwfd6mNt4w0ALO65C/Q3HZ1EBJ1zhoemfPsDdK1vpKwjH6is//wWGZj+Z4aj90
cGWbxtChXLlhpZgzqTLwTEXwQ8qokAFNbC5AZXvtmejPiFpUCwoJCU8QQts5nXUxijkGu+HfwPP2
GniVPdLQQsYsJiiuegKElpkSFFPwnDgCKQekrzPGKN8q0sOpp+SZXe19r3OeoZVcyjH/6nr1o9NW
UHcx0/G4AaVYaeO9M/qPYvJu8zrQ72LhvTIea8dn/Y+3rcrVEbrDtfGaZya6Btzb9JVxZX3mqGP0
ZgxlsFLLztQvAGVcuk5Ne4Cg8+UkxWkBhrYhafqqpPxMfI/xQ1Kd8mWBjCXvktXfjZa594dsJxmM
oWuR1qr0nar4i2YVR0urHdmrfC94MJh5rcTE9WFRUlCmyb2VUKh5YjA3aq1xK8NuBjJ28cZ0uzoO
RbfxmQEbRr4r8r3KsMb01sIgNze1z9YgwU3l1P1dFwtcJOqg3bbqXf2uXaDZznO1tZ1xyw119noO
Job+8ZiVwCtaAKILg0bYGFmX2ow0O5bPxh6fSgfKYvqYLPNHN5XOi121DcWex571oCo+ypLCCUJM
DVkr1hcAg9ly8JyS+sLbLgTRzmW9TdTsnCTQUKln3j5DGg0bC9Ym0UXaxWYy+jD5MHLlrSAca8wr
SI8mI/qQZy3ChfOsT81Hvw4NY1s9D0vdeosBpReOAYRsTa7IP3s47YwfFqBg2pp6VIXudjWafa5b
D+D0Vqp07ZUNs4S9TSeaVL93NWCxTltFYO+Bes26CFsKY0YqeEu5ByCYVfCnqHrTHt01Hcb1MPM5
hx5YnbZl/m7m6k2NGJoacKUAR4kkdXqYODpzLresSG5o3K0lOpoRV10Y0L5w4Q9h2zdZKNrqZ8Hy
cLjyBgkEMXzl1t5M/RfRoFa2TfyRWG0dEpGYBKQLP07Eb296R4tK2e1Ar++qdHlvpuJgpcnZUy5B
hfyf5vo7XVTka9r3zOqq3ieHpc3efFICiWnxmQzGFhdssZ56c/52MJCRt5hvF9NHgrK3YL6gRq3m
Vxv71iWuRuNraeYfuUEABhMJ8m4BUZn1nauy17wozmO6nAn0iswVkSHBASOKtd24mctEctGC0U23
cNKOdTb8SvP84iAxHaXH26pnP/3O2jnFGul2+2aYqgyTrPA35IadhrgIc7A99RxvO6eIrLXYz27y
2SS34iZn2TwlMQ8P/407N/1iyfszddpPkWk7zZgfy659MsCd5czjerN4IV0wgq8X+bE0GXPk9wmb
6nmCdauG+ieq9JZZtzAGx3xuJM9LtoIhK1/qlh/EKD4hqLA5LYQ0ohIUQU0So9v1r9nAle07J7zi
LDb101NlzIRo5toS9sbwjSGIJiTTICTFrRk6Q/UF8/SDcR8JQTOHxOyCG9d4j1yBI8FPf2J8P/hT
modJkzA+m6wWbViO1yolxmcwCoJHwOIU1GlAX7MsMGvv0ZMFhrbkR2HAtx51dWi09GliwZ8rPrC0
7l5rvIs0Y/7C+q4e2Jle1juVdYEaeeKsCvaVSRAbXscjy//34zr8BTvnxVGJHox6TnDE9GFDgN80
NZdWSeYax2m8HRIvKhPoUZ7lb2F+A2zkqp9mpktlCtieqN4vd2AEId6l6J2wivOd8tZnzV2+/QHN
TA3JgfX7H8KeSLFWK8Zjm1G4NJNPKI5TGFfkmCkJ8TKtE3RWrfZ3kA3eNWfc9X6xJ3LgOvRT8jk1
HXPy+OBr9rOvxWMoJftGaJ3neNBTSA/xo6PPYSG8Q0Ik0LEXfRJqg/7OwkuoSk44p8QGQOTSUVZM
HbQEDwwY5+8ZgWK7xtold+fXbi1vfNLmUC3jUybbO8smKL601VlVxHoWrjFFsy9ObSHDyXT+KlkG
T3P9xHXF4v94VvKttjKGcPZaM3/Tzr2nPvQU+mhpPq0YOnbxYrw6i3+/ivXaL9WRKRbXpF4ddTyE
fpJsCUPZrXC+RK+1gZMs26l1BJpI8+jE852pySVkww3vGQ6AxBruF17twIAZUC3FjgnU2SWxrcXD
F8Uja0UE+m/mmI1J9pvzPcFz72YnLayaa8RA6IEXP2pjeZFTfp0XOQaJ3bjv/KtUOf5dbnfb3NRV
RCC43OgFkYixIZ5AYY9hucZNVDM+IViewsGXLLPX5UGCrJZKu9aTnexNrXzl9iMtPM0J+lvvpqH/
Ydfx/ahr7zbOkY1Y849VNtckG+/HPL5bZj8OnJmLj1P+Z1uVHw3pRp3S71dsKvtlGjY5Sv9MXzxV
NSGvCo5Q4mzZkweDfhsXrEBf3fWrS41HlgEvSd0EZbWSqKBMKu/lkajJ0FbMx+vZ53VGFjP45Tkq
5ftgy29XoUrqiNSvK0Oxlo2NsAXzp1LzYAL5dtrk2HHWqmr8K1/lsWr1nyq+vamL8+jqdNy2f5d0
XdRa9EHpKnXOnob/tIsDrr498yYL/4+3G/3qFy3LfTfE56xNQILqX4K8rIBJ5GZMmoNMm1NapPcL
7r3AteY3ZpYTIjE0rQk1GFP4X0LT6bFQDAj1sIPYRFlLrQ/DHjlUOyZMcf41+/Nj5TW0nIr4BrfY
VPl8zRcgbVb8PQ3zmxj6V3rKE1irsE9HRmvOIclYSy/HZ7MSQestRx8bziZTLOIuDX4g8QT+d+dY
5RG4zHWuaDq84ugIupo4Xl6El4VWTlxaIq1XlaK0uCMChR0WENt4xvJAyuIyOv4zR2SEOnvoc3kZ
a/2rv0mRQ+4S+C2ngzT6pxsC1/KGQyKzPdzmUNTTOVlhV431Z2I5Ryum6XPFNmvsM7b80B/GUzsZ
u3miKdMmnLIZ1W7c28wj00jaPTIGEUfB4LfvRHT90m0T/br7kqZ7Xo06NDX1YA3p3lPIBX15Hhpi
VoSxd2ze806igMaQio2XzCOSzdbaTU8G30YHNB2ocrnrxmpbpvrZrxjC8exWxXCZZoPuwj2SifHo
+ip0W+cJeiQSMlvBhe7u+jE7dWAv4zTfkax4pj8JvCw/zHLgqUApQb9VUlfYh+kjx5K+Jt/hZD4p
RwtWiTNWl1FSrk9JbIb6yMS2rDUfaqB2QnoNW7WQvWi8WEm8r5LmaC/pVgerOYw2FSqnQ9f7oWZz
mJO3HJJDFZYaI4kWq4um2VtX9i+juyCA8LJ1w7iplupULsm9RkbyhpTCMuQaZiQAvnmqyJPJz/S5
0ZQJID/ZiT3lABc9k6yJp7n6q4wH6lR1KlfvAaDzEQwtA69lDIycAfNtHDjQ4DJePxL784If40xH
dyBZ9mgIShk5DQEM2TtrgvvqZudqXg+2nw+3vLmflc2ct67OfIkHv9TOzujsiom5sttzOsQZeS8M
/tpsPRCnfK8q3AWVKA9j2YxBZ8dP5Y0bOOkOoLSCItqLn5MsvzGS7AdDrw5SwzCJCgBUTu3MXPvV
NPKTKS6tNhGkkm31oBj84SzNdDuvBnK0jlDLBJHLYmtovbZluINCQsjGsbXdx9Vp4Lua1bmkeRBq
DlAx931m8ZRpTrapbd5STXYH5ckzkZuPRblciV7EfeciRhhXbUof3BuUx2Bo39gGvYt81aV1yPg9
Y1nS3jveht2C61B3e34Tvrt8+lGDWV2H/EOtrB/p6RVlIpiK+GkFvkxRvVvMiSmqvFMTEKVUhp2n
nQme2dm9fS1LEzJ1/G7iPig0IyhW57Vtl3NvlttutrZJR7UttTHghkoC1kSeyszcJH3yMGkGv0Jz
TmGWlNP6ox+bcGzyszBm95qr+eQ0bPBjSrkrCzDi2bxF++Kiy4i0oS706DfAmFycCp2aZ+3ZyvJr
4uAvrB21iZvZDQoKUror94jwcYKRMe5ReQw0+Yl5Ybq8lIJOSCucQ56hBk+u9aO2dGNHAjVjoaTY
+O34asl0Fw9+NFiYkIFP5KGWNi+rDQ1kht280uSSJhqOOhsv5MntKt88F17qE+VvWRfY4juxxs+9
hcDiad3Z7+lqzHaOQNvdOaNWbwaeC2NI9aAR8T2d6T7VuqOVAkS0/R+9mUZ+p90JkYW2huIkY3pq
f2MuzbmSpUT9tl7jbnkl1STftNN0KrvkOXHlNU77kyrz95G5p8tAE/XuAQu0DEq2AQKj6J/wHx8w
eEVF2aGwYjnKEvuncsVRN/uHIvFvD+je5YpkAgrDMm7oVWaLEFXx2Ha0UpRCGCs23qi91Co79Ol8
zxeUbKbZ/GH3cucS7h/4xB1sYXRWQW2XW7PpKKOKKEnxqmltRjQkveAu0YjwSVf7Z+zDCu0dvJpC
hosizoenGnV3iLjOdn1hBuMC52rVq9PSz+1TKtOtmdGoKzEdklV92zhTwsktfvHYmAHOrPtmcULD
1cjqmtcFqY9axLF5njCCmVtm4vPrwsEW2iv03rnLIy/ttQ2mmGYju5mseLwd0Rqvd2Sn3rcVAzrf
Os6D9S1IPogqQTEmjGZbz3jbbGM17oj/Psoc54dDWvQxk85u1dlp1kxG5jNhjEFGXmbYIWPy2les
2cpHvW7f2b075yvDQoU+lI9vaFqfo219l/jNrlQbAQvL5TZFYj0j9YzR1Os/WgJVM2+4Z1f5dR0w
PdTC4HQD9eOxNsKaBMWGoSJV1Ve8zNjw+jUSqXFF7ZcblVaP5UqvpnfG3khTrEyLrYdaJbfWXBxN
QWSxUWT3VoFkNPbp3pwnM2xg9OU1SGM1vN7IHVFGNhPrT/x+jnPni+SCxfrsznmLKYHLH8fuQg2I
eJGWgnnv4s1YsFQOuDNXkVyyN91Tr0qrfpmd+aXnKSdn89DZnIOmHW+TsXxcxfhQDGrfWM5bx0QY
G0ISQRoKZnBMbZVv7a546H0mjaz1hP6cfxqzc7DG/qVe4o6Hd/RuPutrS+4XHtdt7C9Ppf+/Zm4I
EsgCG/T2d6+iGVFoxEabSizx8nDb1DGT8XFRWqCUdWpM3rsmFtt1MWHdpi/wp3EjfDQ3k262JC9F
N/Ko9zA/CSOgLay8ZNviPw7IyuYqn9oXToR8U3o6zXx+UxFJkk5DzdcbFiJT8zzr6xRoQht56oYp
JFL9XeT1a+blhPxPq8GS/g0wMzXZljzwNyvJd2Bbi8hfQKKvJOif1snZ9k0cdj2+DiAiI1YdmoB4
3Jdu/EDP0uIQ1b+wQh7NkXN6mnC8Ucd/xksczWa1J5F6b/QFCAFu8hU21GUtMEC3cRbWlM87acjy
rpgANneYNHrL+VbTMjxi89hbZScYE1tPHW+0d9uerQBQ+Fqfn7SVwrATrOAnk3zmMdevXt8uB6Db
L/iaLgPH/gb1/25UUKQ8MPRWrGoaHBQ1y31SfR2lJSlVtrugn9fl/VCu94khLyQpA4Wy2lMt12uJ
fSdINFDICVv7bjI8F/bCv+o9ryNLc6nsJzQDFCYBsjoiVZgZVFW+xTmJ4K3Rf1pOFom6P3mMM/H0
bJwZNAXwxGPDmKvH6MEsWJC/h85blASaJHz+SeEkp8LPj86AWZBlMpbG8hmv4OI/L4O9z4THJESk
+0bTh8j0MIY0tvmlyeZJmN2TMfYqsug/rQLp1CRqInTm1DvXHV5vGKUPPh589snec50+TFDhZEX1
wcnyOFWLc8EFGPhzJiPawaepYt2StmMOPA+1mGYiqNeUDAGE1DBxWGdLMfttfQtw9cbI1x+otpCI
8WRd03F9tDCejhR0cY9GpM/oF7lYXhajeHOd8lhjrZeNOuJXDvQFMpwx6kGBmliOTkQqIvHuMLBc
bO5lXO9SmMyj9F9Ive2PrjG/VrL4LMr5V+ZjqYMOcFxn7D8ZBQCRYq+0XicQtAe/Z46Iw3Mj2QPy
KxPnb/+QNVNUy3EvM+dY2WzvZeV0t/QmHgkRWY1WUvzoQ1iCUQndsgHvIDNy56ttY3gnRy93tTK+
i9YYyNZz+YSKxgwJ2klD2O+YEKTe7ExTy4LVswj0s4xXGRtHI5lPGRuPiHaYcLUEcVDm62M/rA9K
xRZJ594pWciRyEBjnctqRlBe7HY7LOJKqtrOYdlv0xMJjyzO7TRJasZU6OfWHnFz2LuSRDMelin0
iOXLyDIzG+LhZvdYeeJCCP2vUrNNrGnrE1DYeMObg9xF7XFkyiICClkm9RTLPhZ/HsyL3vL3dL09
EnkHnW3U9LPXIQqIDC+W38LeAHq5hLWHrD54xma2clqalSmL7hMpkQlmOSW20OHOLThgc7ct93le
c/HNA/P+lfBiyxu/OovkoNwO264OrH4JC+X8yvLyBMyT8Kee9k7VPZiEuYF73z8u0Mo3g2Xs29z6
KdyYfTJdXyC5+XUwW3G6IYHdwVsVayGXA/kDozFdU0Ln0I28jZdivp4zJgYuIzCTSjPv5w/ZNj+Y
7c9832LcZJXxJLqKQ02gLA7C+UlWBFYoyDdR6bmMbQarRlDW3+WwPFd0KnqH287xd54pMMnJMwCg
v1SW/4iHOnSzcWdZ3ZbNwgAnCTTguJ6+pmw49X7CtD7JyufYWB9yRHNdM7ZidM4d2W3PuZ6fzUK/
8yomehlDuhPfjhny6e/XFDO9KlhJSCx+s0Uk5IFpr0OVPMi5uLhczQx5zzxdaWjp9UAyk7qqOf5W
9vykudopIwZxY7Z+scHNTtNTf/B5RWAMytDIve6InTNcvPw85Q6718J6pSx6MXrvTqXagd5cbk3L
ZpRf+gdGCzJ08VsxEYv1Z8NBSLXo35hsxj2/N98DfS0opBaz/tA/WfaIuctO99WqHbVeHTKFCz4z
1aNnDl+kPl9GJGzMSfvGGe7BWWWBndJ3ScICg0HU9zRCNEExX63hc7M1XKb6BGy37ylbzXfCC5kP
TaQZGwQ7IClQbuVxuzeW/C5GmjoMI9nL+kIiJKneZ73P9jnX2S3ik4AM4IxW8ymM4ufsVMYxXzIv
8E3VbgtM7gy2ZjLXqj1yyedY6ofcL6Cz45SoUzCPwk0ZzSUfw8RnVBO+MLUT0z8tUsRaphYjcVm9
m5r9MUrMkdLNkg2c0Q9HDPwqRXvGS0ZRZMRbGPHh1GbRYsj90tv70VyeJ6cdN4vGABLAxs7rypfB
Hn7SIr8NhjoVg/M8F1NUtfOwIVb7hAHxIAR2FlSXrO+ALCXts8OOG3ZAnphGowCGhKlHrSvuXXu2
A42S0RtEh5TOFgXF7NmC8bIZRv/apCjzyfTDm1r+K7SrgppFZakdzUKiu9MQhOPQvYrCQKusHY6+
EVGqHAm1LpLXxCp/ZUb9WFGQbaa8YT9Q7ay4OfhtCoRp2GuzkW+nATMOkMe3vljGjd1YNIvL/Ml+
Cagyni4ktwSPH/1DxTpXvqT8S50LCqLaVslykjEOP8USjj1c+GeEiULAVhlyRRuMTcqeU/wA5o1Y
0PTUepLxYgorq6lPrADET3YZT0FrmB+p0MQWo60J5W8MnIK1E0/S6PcA3WfBP/eHbyMjB5cwuN2w
1h9Ll15JkGm4ju0fgsUYDKPNl+s6oZZZw1H1mChsbTqxuzUHkBjfe0MlgejmQJZoNpIuleDfD5+c
2rU2xKaqsfu7I7dvweAcuzZUszcupdAhqSR1vSAzxaPTuliba4wUmW992In8Fv2I97Sy7J3p9saZ
0Di5SWtaMqZGIpqt7qGN5zxUlL3bDkcAEqBxmPz4uXDms+cOfMTskzgZQE6ZnQBl8dU1w151TSi7
9r4u5Gdb1NlGLrSMc9leBlw1G70Z34t+9aMMkcjk/7sBmvjWlh4qIZl0CHkX32M6PmsZ2Lvqa7Da
0EdnqePllxOPz7YST23hRHEjVkqL4kFLjHsxjueCnJzM0Hexwy4lkLyNU7FkB3qDabHW2htQHRYW
42kH0zSsCZ3BTRC/NgoWdM4A3jXbY27l53yw9sqZQ7vDa9q74USh1KcJLuPql2ZzDJDdu+9tcS8n
Z+JTX7iLrbBzmyMCwjvGhW7DY8D3i4VEMyQOlPkoqlnfp1bzMfT2DpIEn3ORH4bBujNdY2e0Uxkp
TtDaaY8Whk5DMLi01nu6k7CxrKsq2YKz1ittz7bRnF+ym0Zezpygqvquk1DcBhfdfnnIMPjZ5Om1
lh3ps3nXJGs4rsINeTbunBQ/kSouq6B9hoBx4PS6y2JxXodWP9OgWjvp6cHiNrjI1KdfOqcu1x9G
gzcgF+4ppukqXfnGb/FK0spZefS/mvKoYayFnhrzTF2rg1HFdw4Lm6xSDdopN43pTNrmyZywO8TE
NXaFxaCKeywyGbGfMFe0iOv4lxZlvXaaHPGnszSE5HTXcS8Gbl0/EnVRhmlvjZgBPeodWu8rYcAM
a0wyBfrU/LXG43HlW4FN7ER5X96MAwm1+IBdlrAIIg5c6rbkUCut2+Bg3ZKX+2uephBGxTlR2UUt
HvGMggNkYO1FpXm25WQvcU7JLsAA8OW14mAiIqUJdkp7uVqrYOCrhWNVvwzN+mAlBl6a4rggMG94
B6KlMJcd79nCpIBma2EL4Rbm84FtP1REbDux+ailLkOWobs4bAc+mpRMWIcqfY9ZFkBuv154+lO2
UWS2bSY5MlYh8TdNG77mwgkcXx19r7kjl+ow5PpZpPovza1/uk3zU1jDLw7lZGf608EpB2Q/uujO
eeToCjoTqbv5xh724DBNR2E8F0qFIvm+BVz0tRZJTUOH4NUo5T5hO2lu1cnWSio3SUz4CnIkHcLG
Kc+501wFqZZouF/EAezVnFqAuKnxMEs804jdIcVtZuQ3AqXTM6XD/Zpa3z4Sz6aSM24xjaixVkeK
GAYkk2bSUQdxX4/6boVYJEXyrFn51+BrXkSW6FuRM8eyyg/sQde17s5mq0e1xjHT8lCMo//dNTkP
bJqwk1ZVGAdbliy6Y6P1B6oHxmDlnlnbBVaxG9SjTKIVJCGJWNrNyn3B6RtAuvqOJ8yPTY9nNj9i
LiD5eX2CBB5lPnPaRsJhMF/ipjrjPJFU5HhlfZ7tRjEabW3UQ51RKmMulk4UXuT1jHhwzhqZMMBs
dkq3j9VcP9a892XT3Y3tzM5x/iAIdZpchTTW3WRUKIY46SplvzDxWjYLjC+n4OEcY/86wRmfU3b4
fAxVhfmVe4oBWf4BaONiTppHr9F/2shCS5mj8eLAyvutUw1PntLeU/awNnmCDF24SFbJMH+OxfAD
KN+jnWoX6akdq/GRzJOwzi3c46y1AnPRfuo9xiUe+NecpjxY8da3KZ8PDl8bl5HFb8x6sL8ZlgXd
dUHUVMm7sPVzUzObTE39mhjpyR/jdTe6nM1jh3PNnRs8kbqFobq3PoCmQXEtc2zNTs1ssYIZnehI
hn02P6xjNoEtmcqjl5nvfmW8tAMrDSN4e92+LCCeqS65KVVqf5IFTkRNi6E0XvrIc9cIEfGxoy2+
0suJyJvFl2RV5A/hEf8SWAHpknw/x4F+g37w9/AIOma3HLuqOALOYNKX+xMB/Wve+WwJYoDCTqry
5G4l8Gz4Q+rUv4Q5+GQxkT10S4ck1O7vP7lbm5QcSDAoujGmWN4H86Gu1+xVNwvnCQTZ8muYm4lF
bEXt999hAv8SCEKeluuxCMGmCvSlv//omPhI6JKtPHpJOQP1RJ91a44Z21zNP6Su/Nvna5NR591y
hk3D++1HZQDIOx+vzbFxrRhr5qKakPvefVZ9a17HwRofTSL2///TMD1SUAmqdy28p6RG/P0v7HSr
bPWpcw8JiQovxFooitmZ26Jl3vTzvz/Nfwlc8giVIfcQVqJrE9/89x9WJyTWaklSHsvGZFWlZF3d
aujEfWH0ITyPZKOWhnyBgblKY8t6i50z/VPgEj/jb2kVnHiGThIgEVO3T/u3cIjF7BDPaDKOLJ36
D0ZD4lAHVYilDG14wVy3Rkle9mFD2vDmv//8f3zDt5/sCD5n09GJa/st/yS1u3qSaUU7pJNmxuIF
RsF0MaJ8cTsGPzOD5sy2/xBI8j+87m9/LzF0nOC2ffuzf0/mLOfSWZfYjg/z/+bnKbcYYrdm+Kyr
9hr71HHX2oFL6dxs8JPW78rLvLdCtKkXYcVhyNkppP+dObQ9a3HkvZFHMCgKecNLO+jQQqYZu2y9
dy9kAz5Z9eVt+6ry7mwhi6PrQWBGExvsP1F8/pmRRobmLbuLzBFS4hz9Fl32/8TDUaFyPbJFd2z1
wj1P/kUxew67CraNPqxFRAPZ6SwBIzojeKfTn1JP/3E68PN1y+dX8A1LJ1Ln7z9fddxTqznLI69t
DpUDcMJqc12V5P/9AdX9rz/KNoVDwAov6+9YMCOe9blLG3FglcM7ZjkEXydLGd6sbfaH6Ll/+1Gm
DpOSH2RZ4vczr3Y0y+x9Jhv+VK+RPxVjwMSqfzFzCHv//Ub87+j+7eF0+eYE2bECa57z29FuWYo7
x0nAgI8iw/LSg0JmzzCsbJJ57GrAZihwKxVtJjF9GT11ktOGmZN2O4d984daz+OtOWJ4++9f7N8+
A4sQqFtsP2ei+9tBxcpp26RFow4JSRAU/xOR76n3thZx94dP+/aM/v4JCIcTgR/G7Wr/lsk0VolR
+eR2HGwdpOU7eBLxKrHH8BkQ1tNgdc3LZP/ff90/c0k5/Qg2FLphex6n/28vTq6sxkcW1fih2noU
KS5SXyeGguCOKtTJKwqGpqoBThvv/WyhFyElc79PzwMS6JZ93SKYS7XsBLzx00IyGRPtnmaCSd0f
jq9/3P2wDuHTgySDzup4v4c1p55f2VNNqUqkE7MB9X+cneeO40jWbZ+IAL35Kynl0ldmlvtDlOmi
d0HPp78r8sMFUpQgIqenMYNBNTpEMsyJc/ZZewCs45LC85uI5u8hRH7jshX5sF9311+SnHqzD8MC
gEhmEACo+nwKKFNiRw18tIM1ljigRqE3ZDcF/SDKwrHwHjldG2m2CAYzHPRxUKNDS4tWsRurLi42
qReBi8Wg1M33dGB33xVTEbtoUG1a9WD6NjQzN4G+193BJZnrl9GflG5bY+H9n09P+fS4XmEAA9BU
lQvlwxbrYdShj0JRDr2iUtTVquxGD5Tsb99G3b09hEvgrjNOs8FfIKs4pzgknbkjSWN0VmKHBccG
Qnx3XwQmpdaYedzSsTpw/alpAO/oE1ak2LtySReEGe31C9/kPew5/SaGAWhdGv1B8DbdWVhkkUIs
RemnxxbrgHRTOZmBVtWkC5bex9h4MetCq2AxSd1VhY5i1dTY73Ah8jz/S9rW/asyTs4d+bwuOuSJ
LbAHSJTgX4S/MWlQ2v/+EghG7lZA+UEATSv9sEZfmVHPifoJL5gg/Rs2ZvqVt0GzT52KP3Vs0/AU
D6bUmUTT2IPGC4Pf16f9/IND5LXARVvk5ECyu3M3A3hBvZPpFOT0KQOP3me2+UQPJz4DCHleS81L
NtcHnK9wBmQf4kVLiwZ46bOttu6EUTvdGB3HMf6rVU63Hhupz62scLqjGBuuGj0KbrK+XHKUmMdj
cmQCWnmngMBJKH86t8n49Dg3BHiJ9C7CPsUaNiaakH1l0w/k4LS1cp1yCTo6P1neBwWdxSTXXO4U
s4nV1SCI/KQIj2FXd0d/aOuEPK/V7cp4+Cw+V47lgjAApYpNAavp9AEVatq1qLzo2PclcHWdNghy
EsOB80hyZZORfPf04/rnnG+bckzstHmfErwGKfh0zEgYCfDjNDj6GF890LSQ1yvIF/a4sDHNp400
ZTHxitd1CYq15hsTTrsdWmUrOYpB8wfSTpPq45JtWdquNmP30dA5oLjJBMmPXodKsLBBXPiMHAoy
MnAA0ljG7NiujZx+6ZRyWzNBjN2nHd2Oom4GaxOYJN0XHvYsTuKtOpqmA7dUDUc/M1xWDLJLw+hQ
sa3jdAOUitbZeCjWiW7aK0gI9R8BQOItGCr9GGvk2jrqfit+SvswkbVZ113XkyMbygWK5YWvLU8H
XeK8JfZ/tnhFGg8+xI7wqKp28mQ3WvELrlRwf31OzQ8F+fTc1ExY0A6Typ1d2Ug75pptkZL3a6f8
KoL0zzBRjnZpK10lRZp9rUKKo6pJm3IspiVb4EvPqFu2w/HHfsiueDqjuSCP8GbQWaZ+Vbx5osKz
wZpoqVr4yBd2XqDhEPsxMDGJymarlRuTU+TtKA0XI/ifUR8H3TohHkQ0nwv9Ho8+Zcm+6dI0xjuT
YYGVm+78StoaXPhi0FdHFUT/Ia+RZ1dFZ+2YYN3CPn9pKFOFEAmVkiSAOnuN9pQaVgls9OhluvPc
Nh4Nn14ybRIKdAvx7YWhOLiAVgPxxppFn80XsxuGRuRhfCy5SR0suwKcVijRvkZ8vfBUFz6aB4GS
1empKkkxuU19iI9IHKNO0fX4qLMh0r0/ANuJAC8ETYdca1TchfHm2x5LgVkotx72Hf4zW3C2M+Es
V7DviDAfaPkwlZ1wkSMEThUDAx/cL2HkoVzIevHv+iK89KSclpbJfYFbqD6bnsiXO8W0i+hYtGYK
ENgzNvCOoltSCQIxnPN2fbgLhzMGsty+5GogITMbbhzoYUjHIj5O9MvduIUzcstG76uodBLTwwYB
OwzU3fVBL0wcT75gU5XxD5Pj9GsqSqmOpPbQdOUJGaE+RANU1fW2bWCdXR/q0ofkVMbzho5iEA1y
1/kwcdrAhvur0RoVG6bYoyfLHlsNHZtdWfW6y5GWk1gHr29FS1arZ4eJxaVewyQLySJnijdfiXVK
o6SIOofm2bKh+aoJkJmYdsrl2uZTBgJZNqY1OzPGWc3JkX57KXQ6t9C0dTn4v4PUFbsGKtZCBnT+
9vld79c88ikWHclnvglG6HixsPWD27jgK8quj8ddnMbGcKTzAh+S61/gPBvJeCTiSBy929fNzVjU
UmonzE5DKR51R7iC6m+Dljc6U/1qpSSa9YRugjZ1ZLL0LjabRsCuu/4b5Fc+vWZ8/Alsj6ezgIwn
4EDIlgfsKInq1UYo92PTi6V8xny2yVcLqs6Fsc2r1ede22PVmm5HHIxRMIRDvGn5kmUe3CM6pkkI
+AaObUZ5TNR63F9/wvk6fh/ZwuoQHrEJT3q2pEQLuDYNU/WQ6gmgToNrBHIFF9BOXhXPfVzTF6+P
9pfro843q/dRcdkB4U24ZMzNsnQaQMshV4mXpoy039Cm1lOFbq0fK/unMlTOklvW+0k5/5K8WYwS
ZIrOmqPDYyxcVPoB7UOL06Ky8vvBuEmrjAtyLiradJoiaLI99zyNjl0MJuiraBE5AtKBWhPSZW4S
rPqJuTDB5qETL4JkO5u2qnL26nPM+ABLTtdggZHpyYu/fgT9QoApWLU6vSVdOQUHMyvzA7ykbgMo
zPvkccU9noPP8dhlCNzw+Tmd351G5BR57HLRiDJqRVmaWiyEtsfJMILv8YDqfsBRYq+UxdJF6/zJ
HezlpamYaWnE6LMgQNMrrcw1F2sbr62fByv3VkFeAW4IvS8WWbGbsqfzdMwd50VP3GbhvZ/vZaSs
uKBwM7BMjEtmD+75ptAaffD2LbJMWhcbFH2jWj5P3biUMrkwFCbdclVjboONj1z7H04SsIwRPFYg
pPUwjfdJYKONB9CBqWz66/qqujQSt2VKFxqn1tktxO578KpVFB2KWhOv+A3CVkQs+dDhYbywbVzY
nF2VoMokziHcsA25wj88lZ3lCXBzOz92zoTbYwkPIcYEeJXkjfE0dPZP9LTfPTDf9OqG792S+cLc
Pd+b4ZlrINTpMgAnPl/RWcEaTtLR3/PPACZRaTmb3iIfSN/T9dd6vkUykCzR8O24AcxDAdFFdeiU
mXKIVVHuvTFUSHgjcp6UaNhZFl3xgdEnCwWFc0i6QbjPjGGBcttgop6+4GhKmpHzD4RGpOvhJqHE
MT5xHmJlY1tM3W+G6k/WGoi+QYZEA992U2Rm/oaMqhlWtjMaX9C8G7QZxSDxVuqYjTktZ3VVbw3K
WvGdCnpiV9gI56kUtdqPJouBtrmNCPTD9Rd4Pi95FDjsJtGxjGxmi21ARFaTGEXc7I1BtmmsPv7i
t8Sk4N8GJFPXRzvfWFxZ7aHkRAAu00enL26kwdDTBX0n2HuNj00wNOumgrmh4uiwNprSAlTgZ2uT
Bhi6VbRhYbacH+Wnw88WxhBJ28Ka+iWpaHAxUYcwv5oEUkkNoXqKjEE0IMeCKl7yFj4PHOX9jVyd
R2VEeuLKN/NhTfbwseNc1PphGGhAf0xD1xvvugGiwMoo7fFHh1mGshf1lGxjcmqCRpc0gHdUxpp4
EFabwtyfaLLYKXqGuY6K0vHl+rd5vySfHsO8HZO/qSjJcop++hOLyHBDFVOog6JbyV8qvOa0qpTa
/VIAlNiTzQlQrqTaC0eW+4rDuo/iP6+rfz6JwC3+wWLY5iZMAoCjZbjRwMTR6VMXtoOnDnriqBg1
7so6fA+tBDFYtwaSyUp8xdEs/+pmtv8FgFHzRaP1+y0DRv8Ncph5SEKbUlKRKLLPKzT3fhWAHG0U
1DcoIWPwYZCEzGayQJ74xh+9BiQd9FXRrKY4w9VeK6xpnWeVBtS2GH+FVg1eDnf5EsU0hPh/eppg
mdNMnUs3bZY9EkIinnSizsNKXdCSNxYG+PPSATC79p08B9ySUYxehZoYUeWlEUpapGDWW4TJ/Bd+
2fAThSRCLNr/qUTB+lDxGG2CuyHIzX3Z+8WdbrY2+r1seE1M2JBJWkQ7crTFLfOwfRB9jHiY8OCY
d5gMQXFq8y+lS8OzPZQ5CXyrNmhM9IxvNMLhQRBXChr/WoinKG76T1vOcV+VLtzUv9nOKcOfzgpR
9ki22ND3zehEf1wF5A+ggmAQqzTsIGTYSh4sHR9nZR15VadHnMKmYeqY9M4WalmFKKQzKeiIydyv
ukgLkXTlntigMUSfmlfpeO9Gbp/vXCqtX6meGXcaFgXfVJHRiORhHNhvc70BaHt9lWhnGyYWZzIp
rJKHMVTVna2S3BRVAis4OQwp0K4yC/THpunxSbaoswYTLKdM7+m806bsLhxgh6KIMFdRoFlrBJp/
M1T3b3bn0VyZw8W4/uPOjl1ZcuN1eZosCmNfevqtCrCajtYkybFt4D35bY/dBgbKC2XXs73s/evI
ez4JZJnAkT/jw16m+GRNIlUkx7qxvBew25ATB0VaurVhWtxVfgsfgpo1pSVMSmA7AeNSO9R3Glhq
PzajY0cNvViXwOq+hXgXqAuH2vyYef+BXIhtKXziBjP7gVEed1prUTfyrNpcN76eQ3h0JTJD1A+5
TzZUuBmoFeEiw9JzY2GOvHvrfdxJuSwS5dkWuz23cnNeec3atlOzzIuPNRZTgORjF/5DWwi3ZLPH
s6btaucbMmboJnnb08aOwJVUJUyFmGPQDP5z88l9sCrKXjQ/qCUOHvrQ/x1KAw6laWd06xRwT2+t
fqxpKVbRowSKrr66UUWx2QQGBHJChN2DE8Z47CW50pX3Jq1luCkKI6/X9GC3E4r8iM29dqN7UpxF
ctO5gbZrIglnbZRK+RoNpKpuQqyVEqKBHNZJ4uM+ubMg9earKaO8dtOGJFhXYwy6ROIWimrrt25l
rJh23q+R3m8aNHvxfH2ez9fg7P3as0IQhfepHKIxOdoFuKsiEeYDUAHKv2won1SxyaFI98hLIGkA
8q+nc72jnc6dUtyAXXdQX7hE6Nu0aqO3OlCW7OzO7sGMpVMPYAuzEU+w852OFXlVN1keCB8zqtwb
NWv+C0GTfA0L9bGRCOBMA9pP24e9q3y/3sa6/q3nfIXDXnQLgdo8Unr/KVK5h/RJtTFPO/0pblJM
XmcCFXUmxKXo5evioKOt39p10R4HCpwbWLPmsY6h6V//uBeHttFJauwtHDvyzz/sLrprpENrpd0+
AF1W7Sz4czTo0Bs3Yhczqv988tPtFvlVjSxbjDDrro8/z3/IR5cXX13ubgZau9PxNTqze8PuvYNT
V/dO0UV06iXRPtFTgE+0wF0f7eyy9j4ctRHTI7NonQWGdL9VpVNq3mHK+oZAmD3C7+l0wH4pPJpd
gstY4v0yBiOD5j5k33QPZPX133DpjVNQNSlHmVQy5sm8gQ5hYN2CnzDadrjPybn8FFBb/hloov1t
RM3ylwZd7JcV97m18LkvrGWdb/r/n38+6YtsrJW08GMu3sisMUiw3GeROiF9f+pQfr3+pJcG466D
sywflrNL/vmHuWUSTrvAq7xDj9zQXeWGPv5u49p7wQG0+e/6WGcSO/llCRJUjRo9DpXvt8gPg/lq
6NS9qL1DR6Zu2+rWnwpIzleMjLy7etCeHH0ojnrXTo9BFP/WdLTvQ+oGm+s/Q07X2VnEZQuvTQRp
6N/m01kvWy3IvZoWhFyLfhKGAEcecq/IFybR2ZnL06J/4LDhxepk5U9frd2JqdV6XRrR0/iRgdJ+
MQMVoPrAjSBshQs2B2WWEQ7i6La2v7COLs1h8BCudF4k4TD/srlehzQ+B+lx8IL2tskNGuUCjgQl
cIoHVfT9KtE8mDNjtJQsm88pdKnUy7gyWXK7MvXZrp0ZOW4fXaYfHDhFG8WRLBirHbGALpYu62dx
sRwL2a2BtyvJHdOenUa+LRQPQYx3KFLiBS0lIRyi/FunVak/oigrQelPHtcbGsKE33d73Bu0rUej
5Ba0vLZusWzdXp9f8+/+/pM4GUk3UcJz549vDA5cFPT1B83C1NMjObkeqZHcRKQQ7xWA71zbTHpn
nApAftTYC/XtswQQeybJLtYyMjV5Up1OO0AJYTQR0h2s0rP3hdrZWw+UwWqKBljTdD75ZaHfXH/k
C19cqp8xnuRx8Z+djZknUQFfhdsJAP/usbNjOi2yMNsGTj69fH4ocs/IDSnjEc7ODqPcJGguRetz
/OBCS2+pBWatYI7/cRJ6URf2iksPRhqIqi+Fbdy+Z3HV4DNSU1hST5SYBRoIN0Colfb02MMo9T65
YzBzPM1Cp0Z1xaZoNbvkeSReMw/zk0PcQletet+6UbvBegLf6+17cFnryuinrTPU+cG3lWLhYec7
hhyeM57viKieNOXsYTPf9SgreMmB5iLf3KZNl9AuqFmNt564+U2PfVvSE1c4cVW9wb5MrYUfcGnq
6pxBzF2iDdQRp1O3sBs/yPwRNydudOV9RD9Nt6HrnfyGjV2iuLGKxvhXj4q/MKku3GF59A8jy1/2
4WQSTR5qiPOi4+Bm6Y1Zhs62ro2/U6tC4wj97A5hiv4QRfZPP/O+0itM15Sr0RXtwRIMQC+z4WAp
1yuJWHgnlz4Kil5+m6EhG5nXV7GbFBXQa2o+U1/f4MwzPY+6Md3aeSrBF2a4axIlRGyrpAu32ktz
H9NLJr10aOfYPn0nSlhzqzXd6KAD1z80blw+kYSI9xotXN+uL+qzQF9OPRaz4yAxIwk638bzUu0H
PUZD3Ppt+VoqZgyfwajbb6FKcSXzjOAlB2oLFr9IH1NVUx6tnn71WK36v2OVMFuv/yA50z7GCFw4
aAWwVU4wbDepTpw+u4sClu6SPjs2GYmNsRXtVqcN+ODmY3hvF17yen28SzNfahap7djkgj05Cz7M
P6tzjaigdeMQkdE/2DqmFr5HyyFH2/BNbXvnuQ415XB90EtTi5YDxIqYtyG8mj1klovcDYMqO+AA
FWFdWJAdqdUhrqCy0XiIq0/NvaISWh3d0ey35I88e2aq5Uj0ZfcKqUAVdd/s6A5jbQwsd7AOJKgg
xlp2eJfFUQV1gCCpCIdv+PUtjWmeftezMWfrHEsEd4Ie0e9rnxaBgPxxDr5PUf5ef7Oz6cMwZPNl
mfLd9PosJYYxhlI5emvvs9iyHgjg4X9FonuMfAAjPVN3YZO49FiE5yxS+h6QV8+WKmAd/FfcLjg4
SqxDYden1Nk2bh58sjwo3x+NTvBtKIU6RNGz0E6vBk2CaQAwYM6CrNYJlH+WKYSDWqmDsHP9NZ7P
ELJ3vEdSnxR9aY05XRUj7ulxArz8qCPg2ZBUD1A1V8YD1pH+Fh03HqODsVTkfs+FfVj7PCPXTkJK
5MMeyf+5coTc8dTVlYNpaFeNJO9UKnWBZVV3Y24gHhIxjLu2NCcDOrEX3zlNEv3BxRN0SlfShryx
S3IIO6NQtIdhkACKAWsNumvTvM1xStCKN8cbIwDiYQmIW+XBt9rY08XfjAVbXdbeVYkn7hVTs/oV
6Nx2uskiQS9zD5QzIf/gdrd1b/ukd8OuefJ5gbdqE8cFJB7LUBdCu/OpxdsgrymLe+xM82uEmxU5
MwJHzNI3G3fbqhjT3wXCVNP1pz+2RW7FYzsiljf02W6kCgdZfAH0N3Zxrgj8vnwEfwLJmibpNa1T
5Nq6oVkoXM4Pfvmx2XSZXfwPtei5TtIbRyy1YpoIRVVY9waC+nFVjd4U3DQkTH9nNnAoisJ5A5t8
8kccJCIt+OZ1cQYk1pW1htJIt14X4lITKr6MEbN4Sj79bthPSJ7yb5R3ufeUyYfjwcFOOqC64h+K
SQv2dhJk+KJiWuQmHQA1MeV7igD+42c/CKJHaqHkBmxdQxl9uvp8AAhFklvO3q6o0B/IeVbTlh77
9L9qyKN/rcXlcgd7jXd1feB5BoiPcvq4s3UP96tIRVEkR00paGTRY6Qt2Gau6AWsAGNSappM7BdK
2hy5AEyAvXqj/XP9R8yiH/kbsDwnEiWDKdt25J9/eOVhnwTJIKTUCCsrahZVDH40J/VpbgxDMZ8/
ORq9WtxUCLw17lAE4Kej4QMUGFiQjHvbANvThxMPlcBBWY+dYS1cEOdpGITPbGscutSL5V7nyiX/
4dGS3ncLQqZ+b3c2kFcXnsAKk8ByTxdc9p3mQJuIZ/Du60qx1yWV1m1qiPpnpof50/XHnkUg8pfI
VBdNw9RY6VKerXlgCk6CxNuH7UG0tRKUBjG+HrUp3JO58b4EuJZFqykBf7VyKnqXF2ba2UcmecDI
KO+Rk6Einp2bTVw01gjdnAPGrHHl88OvTtZhywDIZ2E1nYUEHPKOlJAhnKPaPdf4tyAFgSxykwxM
qM+bVIvdfIfVfQX6FUXdV4FVzcsn3y5kSxXdspTqWUhPZm9XTSOMDnzarSDsJVsI3kgxMRJ9EsTa
N6OkoLc0Aqz1XlnqeDp7WEa2NZsaqS7DhPnISa6nUxSNyqGwNH3fC9XfR/q+mFo8HaMpW5hFZ18R
UZj5rgKnMEv+YbZ4Bp/yDinEYBtK/5eUC/bGGAVCW5KQ2+uvdL52SDOhbydzyHXFk8nh2baQKF1X
T8okTyk7OpCGCWjzQbHClfHZrSL/tYmaZ93MTeTUfYSxqO8SO5sLTzwLjP7vV7BsOJFJyLNFna5g
O+yt0MSC5dD2UEMcKj0rHPzwdEpAteoTujjfBD5y/dnldPkQF/3foBbRABo0ykbzPSr22y5Nh6Lb
D0YJWhkEVVbgOj9OdyOGj3ggUC6Cxm+MQ3uoiqwzAVeVGCZe/xWzj+0QmSGGkyJu9ku632cfgAA0
UYiU0oNrZt6W2zgGrFB6AMvomfPr+liXXjPnnk1HF3kZMlynr9mdyGRy4KZQUZrmtuf/fWOoBl7d
oL6paA3XwP763fVBL71mhGrsz7KN9yw9XdqJRyWva8GXq9UXMy29x86HA6fKDAQtOu6mJyKjcXXC
RAue4M314WdL9/0rY46hMskdDod5h39bC1pgG73d22riYZJV9voWW+ToLVQ7cEmR6iy2P10akifl
RsF7RnA0e81jHRe9PupUW9CYfI9T94s9at33ygGWhlV6vTCDZhHt+xOyGxLskexCwjGLayal0FOh
lGyLYHCpe0Tak2tq9pKy68Iw3JbInPBgXAbnsghpYxqM6QArrhwNnGEaHTLd4Ifev+sfbL4g5OZO
iA/skuZmuSedTtLGwh/erYLg6DZO9RCKEvu+ui/zB9uizLLw7oj5z3cBurNkMZZtjb652fqTeQCr
6jOatFJXbVZg6YZNkCotoOYcunFmlcDMMcgJoDsGEllj0j22Tq2YKAIDRIzj3MLfFtgt/HPBOHP8
DL27whTE/JGqlg9CHJpRrUpOdWeM2s/AtjCVyK1oB2bd7W86EZR70y3bW3gqiVhHQ2P+ozILnRJP
gRqTK1Rr8ZoqcPvVAE/x1Leav3etUjmGgBifa64BmBhKe6akcJx0XTtmDWSqBpFchxGRkIa8m05H
APmNpYECkyTmiQX7e+BK8OaiIqB3vGR0FC4Ew00eOTcjcfJrhV5xhy+Q4d80jW9tG9WK1B0o5YGW
ucr4PRgu3uOKC8x0hafpeFTGKO4xgYM8sTLjiWMElSgIoyF3UP+lSoaKH8mKB3mCS9EPN/NjnJYG
4f61O7NGd22OIl1hXBhBlBzVw5STksVJIcQr0fdvuybUNvYY9pvCq8SWFY+Fle838bPmCfel7YP6
b1THCaz8Kmtei9ofnxsxwkTAlMCzN6XeQ+BIMq0+yPvhiCUBWVtc2uz4P1Ji4i7kNTibsGowi0sE
rKkWgxkAheCXZUUZMhLIt5hI87XvuP1ieepEUOqcCXdt11HceAUFHI+Vwabtzk/b7jCO1A6/upCb
MX/LAEoWevVaJwFHrajaJ8Mr/e8070ZrHtc8xGbaPdNJ5B5GcmvrvtGdo8WJ+1SUlbGzI3M4KpHW
HoIIz96t0rlwNUHFl7/0vBmy58gruhIzvzxptn0YiVcY2UUBQQ+c30rVixxwXiTqGkyfz/fwUa/u
MkeaR7SFUm7GMRtuKnQIz3mdadBBkdNBferwm/ToL8RpLXWzbyAPaixWHC9KsZKz67vcn4x4NxgC
ZK5jBQqwvXjqi5UFPfo2UCzvMQQ2vLeHbDo6doBflRH23aGy1IHbFuZJVRWIL8rU9nc04qVHRFPl
jrVX/7WMYcIrOuvujFCDf5qCWIzWQTqo2o1iWlicWVEPobjPR4xTKtVp8KqlJ2hFxGAfghbhK4bE
TnYzRpF2a1QhxunF2IIILqE43YwoXuI7pFbNfT8gbzkaRg94vTDLnxjEhXf04HT7jpn/rSCfid6p
8QGeuWXYPJi5oz17maHB6hKBem8JgfVHWOrpF6RuMIRTiFMt8HM7e+trqnmhFeKMU7ZV90CfKUAx
nLZ7TWKiUd6kgeHvqfL1+GKwm1ivpe62/SpXO5Bx1jA54QtZZP8QASMCmpeE/T+hYdup4d9oSoW3
dFAB3f0yZZXxOno0VCSyww4vbQzkMG6P10mmA47n7gM9nzToVtQlcjV8v62bxqGah/rHK9duMHhH
LcNKuovcEWeSEOPiBhCiipfKW1Q6zbTSLZ3ysu7Tw0/d+YumRtW0cdJU2ytG22FwnNFLEA6luU6N
LPsR5ph3s0fY2REdd/7cJmkmYddopNKwr9dMpO5X7rvRIwPhnQxyP2Vqos+98/HU+xng8hKs2fim
t6wiQi0cSfIf3KQW+zELglvhaOPerVQjxKCmHbPndrRCSpJNbtKeNWgHT+2Se72yOVC4ft9SKi3f
gqSTrY92c7CsRD/Uhpd+94eyvEF/mrw4WFRQa3Xce9K99j7QejXaKW0+7UPsPZA/gd7NjYIEWQl8
91ebIVzpFfN72YLaDIwECOLUx52BMtVw7jyBdYts8b/v8irfWv07/hUCf4mDXQ/VzzBfDc8GwhnG
OvjKJkgxgYqVuLi1k2bt9/7GoOHLKWs8XQonwCbM4RvsrBLqoOZkCUbsedvtc6933U0BnkBb+23W
HD2j08o1ilHQ6EpcYaOQ0x+JexloyBLOZWPfRk1Ub53cGx+HRlH36Liih4ymj2MT5v73sK05FFoz
4ARrTfwh1ETF06Kx0spZk9p2NwCsB6ALaVKtbS4R6UrQCPpaDY55O6WYF2tu59+3qpbvNEPh9XWa
tatRjz0TlGVvQdHTQtf4zj/DSe23JnXtRxVj1WfAEZ620SJH/50aartXnVJZF52SYpPYwYruMdAO
NlmlGCrMwRi8eiWGHTbu1n7Q3IBbihfkUPQMPMK4+yz1i10IGQgkZYc9OVxuo7N7aCGM0awTsI5h
lZoIt3r3ezrqTiyFe3SbfjocInx1qL07LqWbuaCeArRlRV6ZHt0i9+/4CvWBY9CmXVfxFy6Dl56L
xCFUDwrSTMhZmqr0+rCsGyB2WDRAAy+bMPrJzTF0eOFT8fm7CIEk8C3HQEID7uE0zINC6GhpqGMI
BTL5a123uMO6ZbwbQW79dMyo+BVA23i7/jIvxLDUHQleZXsCiYRZqIyPaZHlsBFoYfWw4hGGeDKD
svv5+VG455CD4fJOW9nsPfpRmJTTNPj7uECESsCBOffkV97S1fHCPQMJLGkmblaU163ZKzQ6a1ID
S2RHvXfiaFOlqvpGu6T9HOq2hrOfEzdLQ164QcK9In2KchCsgTm7qNPrT9AYCmM/eRCjsWfHM0AL
7G3uBV/w9Oi3dYwP0fXXeaaJ4UZAIyjjIs5EFTNvVquiTFLOIrwbYgiOVNXTvT4Mkis7/qxGEw8q
OsDWmdIPxDRthBtAbnNQGYry1OkqCn69Sv+HpULuGjWMLG+eaebpXintKHbAHowaCZGmmxBrqtCs
hb801KU5yzWIvmtmFCm92WziYNEaASH2SEdZ+kvg8PJsBUV+c/0ly7kyS4bYiCWoxtIgojtzYYiD
4wpke/JAoxiK5xJeyLqKa4nyT/tfgIjdTTbaOAJZ8dKuc2lKfRx5NqVqH2SyogbFsfRq1NBweOnI
cCpNXSWTwPC8H7QuvbU5s75ff+T5dmdJeRVlEkqALCC+5OkOlE9+0tsYDRyxT+6OFGP8V7XpMHIg
dxos7OL2/CvKwQDhkdtCfkD2fXZmIA2PyDFOeCt5lfHXKqKnuGiTTSy4ElXRwH8hrH/MZC/OkL50
TXvDXeQwqgP02u6uhSurow8OLX8bZikJm6C86Uzlfmpp2+0nrofGHaabe6I4gN7ZC2bIj3DxX7xG
bNQ0u/cyhyTwj6kaDmJK79QpucFwFScL5TEXztGcIKSnrxV+Mtj/3GWZT/RZ/+bkL1cl6fNaMYD0
F/6DliAcqLDZ1X8FRn4w6cbDzpUu+fJxGrEJoCGIxN0mrNvdgCJdjO2NnnOBzkWf7X3T+YGldfLJ
tcirlZs5r9fmKEFodPodaZg140JowAJsK9ipsNm+u02v4CnSZMPSd5wtEzkWKWBOParStLfNkhMT
b4YjJFbh7Hd4xmpmFv2KTVN4q7EytT/dECufTI2+j0itDK4Fhz+i1tOnIzJAvhqD2624pNyi4u9c
Cqc9kDnP8rhpTJ0ONjvTCCg/vTxkXzpzlkoCLW2zdWn4qsZ92AmPBgz8P7C6VO5NAy2tK8MZvNfr
g82PMvmUFC7QGGoAks44V/Zk9gn+diHc0THa6fQWIPqnWy/GkeLO94Jo4UyZb3fv4+HNjhyfBwRP
cvpWgQpGDhUibd/WnedsonRIOLvCzKRCpWVBuK5wocFP2LWL1wk/AHdhHs3rtKR90Z1TFaRUq9NB
Mu/B77iWZb01sqtbkb9Xy6rdtgUKwx4X9TRyYZb0Xo1jZlxt9KnwuFCY8S/htM02xtBolXYi35k1
fRyyLWzhx13Yq5hwlJFpuSU9Pl9QU6eKdECFdBzLTnu2rd69b+xe/A+fQEYtctFSjZ0HgD50buGb
GAtWjTnchgFNMpHJRce1YC3qXfg4JpO6pvRiLOjA5glp+epRekg8FakdZJ6n356mg0k3e9fZG5Me
KhhpmVWzEn4iML1IamwCR8P6VwMgx23O9RMD38+ATMn1CT+vCb9PAH4AgmoS0zTCydPpQ9Ey67F1
axEBHnAYbvctC3HVx0qyy3NL3QpHmQ5VineoE5kAHKk6rYciTxZqeJdWgSTZobGRIgVndgKO3pjU
Cbjzg00/FbU0d6DklCo3iVXnuylXsfl1zXRbV/G4sN4vPr7L+QvyCAIbLSinj9+qYA7LsQVbXaQP
QRBKWYlp5t+NwrZ/tmNVc6blVfdc4fdt73EAoVvGWfgGZwEA5zBCLYdcPfvqmRQk7AN8dYuKmEdJ
jIeAnoRNZdrtU997ykKt6Wx/YygNTBcfG0UIH/P0cQe/bjNFTOJQxW32hqNsjxzQbVed0jikIcdy
YfO+NB6YbKoPVINBFs5er6+W9KIUWERgFtIXW5Gg8XsKh8CzDhbiULH2cOhaiKfOtg02cDqfafsG
gqRSyzp9RrtRR3S+Y3BMRWK8lmWLjWETGcAdri+ds1nLu0Q/qtGVzzWOktnpOCNSgFzLYuWAzCMz
t/aYaY9ZQA4DF6LgxU2EksDp6p1yVw3G2P8PozOux+HB7HXnfVOFrvsOxRj/EFvJSDXAc9eibvut
knYteSpE+5OfisOkKuNSEHlpvn588NmWERu+opeeNh6SshgetLKrbwaj0XeYLRoLT3lp/hBx8ID0
Z0lB0ek75ihOK6UIsXVWkuap9zUPR0yKDr+Y3v4Kj9lyYYHIj/bx/oFUitovKhXZdguPZ7Yp26YS
q0PreWj9GnUH8yb+mwEH+XF96lx6gx7RGxUmqKiA804fqw3jyKZ7cTxE6dSUG7zHsq/BCAFp5aix
Oi6co2fFdR4K1YDhsi6Qd9jzC3pg/z/KzmM5ciPKol+ECCQ8tjBlyWLRk71BtGPCe//1c0ozESOS
Hc3QQgtJLRVMIvO9+66xK3MS67rv4DleJSSlEhEyMqVoZsvxY5jQBLWu/bZ0tB+IaTt/ai3Vc+mI
dn+/708t9OVKeJn0IALVHTDS+xvv5dhHIPQrAjBl0Q/GPJQHrJWG10lNx9dpbqM72+7sg+Xm1g2u
3QxqCTp5HtU1Oed6N/10Unf88cVFXTaED+8cJIEempV20fFePvR/HYGRxF8K99z4YHcsasRSit8S
Fxw2DKoDSOoEfFCM+yTMJDvUcQMBFvPwxRlweeOfrkGHqo09I4z5j4WgmvazmZdOtLc6bd6IJrrX
szZ7mlsUt33bZxt9Wv67/Y1xEWBcEERqEeNjZY2G1r34MBDraFakuYyDxFBVre6XzkbO8veH/Ifv
Cko0s1RKHXIiPppZm0k1w/iGWZG7ditClWlNudNASL5yhP7Dp3XheV0kM1Dr4b+/f5ntsqaqg258
H1uE2xPSY9vexIQO/TOzwS/u6nP5zDnDqabhu4IZxSfVTLzaqyxEYuyabmhqv0wNWj2bHNSFgWAa
3xJxytSoSARWp3hFe5Vrdb9UclWekr4YfrtxljHgyuxzobVig0Bc/c8bKBd4mf9zDsL+++i+j4Bu
dqK4TvelweNYFutRrQ03IEwDZ6nxSwuzz/XU5eBlKAgmBRmOuvr9449nMyqEEieHSGpwTC2n2C25
QQbwgHRfcZo4ICm4JVYOsmHVgDyI5cu19qeL0CAXUloD6F4EVO8vQqswX8wQ3Rxaq7B/cEVhbkfk
HCvMwW1r6N+w/FLux04j18ghleaqNQjt+OLJf16IF0oa0ot/ZACfpQdxItMGz5n9OCsmUXFCJbb8
YgvAbyVfUQ8/b2EX8jgrUFPZyrCzen/HQ5+QHz5G094lA3jcqE3RhrFt1LOnQzQmwlep25aWjdRi
GOX9qgZ9Gel3JvNq+wvU+Q/3TV1CMwFSinfRx7JIKSjxU9vM97IfWqKdO9U+OVbXL2wunG3h3/eV
P/4aRxq714V2+WnfJG+PxkKJcEibc1ItRzV9cOOyLH1NQeW0+c+/RiwJePrF1Qoa60cswpYQtGuz
31elOz+kyIkfp97EoT81v7qxy0n4/kAAaqECYazC1/TJZ9G4DJNJrjP3zVqtgXSjl7XOzR/motxU
S1ztNLtVN6kz1ocqIsz47/f5xx+namcBQx/lg36/nOzIrHPnYrqt25jF7Co9Ws+G0/RiO8emVR+V
trWMPQ5O7uCVqWkVnrsu2fzFF/S5wKYpBRoBb6LKxc7p/VUojj5qJKsquyXtzV+E/NUP89gJZSsL
24wCBqwkEQ4DMbJ+YbVG/EV//oelxQOwwIOINqDI/1CkFXnOv6LjPowrGxVRvJ38rgGEEI0aZz//
/sA/H/+MMTitqNNowdlA39/qRJfgAqnLQwXSZXtrQXKSGOex2kZTOnWEaYwdsGalll+omf/p7z+s
MyBL5Fig7UiaP3rj5llqrpmOmlrmQ+FXwkgJ7V7v1CX5IdX+mGGq4Q3tfF0n3RVhXmPYl93OVJZj
ooq3PKKmtO0+MI1uDZqq262CIG2Ses8MnhcvcbMspJ8vPOVy6iR1NPmZyYj5708Pqv4fNkDIqsxl
LHixzPMujcS/aji3HNTJNXNrJ1az8cZy7lEG5azcIRic6qiZ3anGysorIxUr99kkmLZ6KOyBYEgy
geHIdd2C11XqV+4rKc6v6sXvQ8FhX0fcfJrrPpA6oQ4d7ktSPhkie0Gs5iVmvDMIIxpxWvOkWr3Y
xrSBjktG2vBWu1Xjt0ql7tNCvcsy0qUrHl/3y5m7vd6JW/zJ93VdXGFg51c6G/bk/DRb9ZtplAB/
F9hjwrTFW9v13lCLOqCANcMiz441OaUexqs/BrVKwlltHwyZh7Izb4UOlabI35SY4f9SDloo84Vx
eLxcxZnLlKiERCsKr4ZsAvAezNZ6wB7qinDGsMwt/ODVK7fqXtbevs2luTE0UoAbp8DR1449k3x4
IHeSiOQl4tRe6/IoTSbvS57dMTvRw1UT6PCx0yyq+3Wtbkke/NZRDMH/2TMmDHWz2PfpEpTmS+zk
O8hBmLjC+Fgj41nO87Ul1dskGs6kr/lZE4eTo86e24snm8lsmETTySKZe2zTR1nUr/rahhke2L1b
7PK5SYgCgDqXpEaI5QnpXERbQxuDfm88c3JmvlnpEMK0NSQ1pvKTFpi3UzaTrp6GLGtCot3qXReP
d+iMLmpk+24kZsVvAaU2Zek6p1i1A9yUbwVN9dYpYaXkrOqLC+KhMZrCG5eV0N0Is1Rb4nNvT0/d
HL8MinlU4yTzBrHUe220yIIuG9y2KmM6Z23/jYimF/Jlz5BX7pd2OpXVysglVRbWMZY3+uAeUcQH
FQaHG6BEGUCKSD3FjA9aGROl3JWkJVvp6utaHgrSEvxEQzMm6uJtpbkLO0d7sjPtRVWsqySvdoXT
1nyG6ts64p+sTa/oFh77tGXtq7crZsPClYFljQendVkdeeVXCzkLFJf+GLs1zykKy2yxQtTpwB7t
Y67LO1KdkiABrfYurDBPKfjOonJdtkW3mB5uhCcdbYQHQYwcSHKg/dxqn00oQNNMoGJijHeT0chN
VU7Dxl2Kn5M7afyKkWwusTEsKpC5yUm3bYOtvq4vp7bLzji4HdbWyh8KZ/0u7SL3+rQpfDMb10CV
Wujq8+wPCwhq1MvJy6MeSkyp+Az7QrvVYQT28J5i29nPbjz6U93exmvshoUtGv6TXgngyUoumrdI
MrWvDkNzpZujsmvWqAiIfFGx1m6tk1g1G0uVFSXtoAZyyYrNoqrrzqz7lLBXI/IkSiOvXpQOYzGU
TYmm4CKpgpkvbdv7rb38UCtoIsPAgred6SyK5KUyxE3s9AdTFKTMiZh0CP4BsHua00DoMuh7Apkj
1X4y07XZLPnSIWwbZ79U7FthLLM3yagPZ2hKv1VHPiK2S4LZWWo/HeS9odiBM1mI4tXAaOa3PIFq
DyNHizhQjVL/WWva3mgQy01MS0Kn1n/KNO/3cVlrIWyUOIj13PEYYTwYF4i4mZJ4m9XqeUijemdP
6uiLultPnTvg+78UDBbEbVGlsPO0t0arTpYLzUiI4ldLn10V8e1aDVcyE8dIWpBrEtPwkZASLb+O
x2XMfaVJwkrPSz8jDNJbssTHYOuKtXm9FjL164Yg9GrUT4mVqx7cIIMhLgrRiQGSV3Y1xO/uJ37e
koDL9Lkz7Zeq7m6jTn9w51RFgiz90dJ20qkOsEIaQiEVxdPY/WMCdYK67Sxflw5MNENtPD1NWBec
F0ZuD6GZVc61ZdY76Gv+Ko0w7ZJDFhVjKNxp08f2MS/in3m/BKST7/VmJHy6NX719rid1GmLPSvx
XVmkBa4zxPumaBJ/UaofXZRyUETb3Mr3HTpxr2szv+plegvFwU/d6Lpc5qCO5rBum7NTNj9Szdl1
63iGKxt7XT18NyzAc3tF5RmNpIpSHKfjfRutzaFz7NjPRotEe6V7IP9XbjMHXw8dTHEx7JJHHR/r
TLklQAOO2voN+pkT2CYbWb9Gx3WW3+2mPpSp7A6lbTyX2HgG2HVV/upGJaQIhJOiJHAKm3RtZ9Tm
+aJrSJvsKpHuM6H0hJi6AUL5/cziwHEp+U69F3uuaM5xsoR6W907+rLjCNi1lnYm7uvZhEph9MuJ
jxJbWe11tMVDNRSph2frVZu013It7/pK1B4NCIqV5DjV2lntxueBFPte6Yiorgm4x3zoyq1ncsBX
Mp8rco01bdpeylDY1ZUVaiRYb2a7vEsKOIq5/SsmZDgwTbnTjKzzEHTfzR3ZCMM4bZ2sOVpOf8zj
1vGHySANrRU/1kV9GgztRNPWYLtazgHClhfUdg9KJdtgFHzm64AqC2fSDpWLweYwY4pAFYgfNoMC
v1qXxM/7JH4xy0nH6jyffX1caJszjLGrIkt9N65tL63cwV8tXZ7Sei40ryipT5mNaqNvysQMoG3L
rZFFcpM187gpyiJ+1YrKIDLXiQ7xXF4N1LkbEo2Ep5rreInZfhB2XGN4SGRSO7Wp55S6szFSNsVy
JBJ11pxfOaN0T1Gs3NPHeKOadResVrJLMdfwcL4k373pyHUnObbEMV2ZfFebF9+tncFH73oWxMZt
rKJ+gqeKQSrcQ63qnrRWwhTNW7K9XRaL3hbPiT3faF19+49nBcvxJu2ywSPAxvIjvdM8keB/65S2
482NhCWglL0fO6kRWEYvrtucv21kfOxV5Uqv1ecxwjEw1sRVNQ3ImXJrDcqJP2dl+8w2Tk1jnoWW
vgD9XVurchyV+KaT/Umq9UmRyo1V12fOsYE4l/ohbeDoJ7kIjd78Lke5XeFnYhVJDtkyCmajxnDs
hvKG6dpGi6fUG8083pKXsLGVekvKbhO0efdkFdEvKhoRStX83ujVnZm2V7aTPg9KfhqR6zpL9WpF
2j5pxW/irg5Zkv9GYhFmSscEVlo7qyi2tZQbK3euUZZ2Pm7a5cVU9JX96LfeDKmnu8tTTjyE74hh
JN22P2RNbvmrEE8rF1XGM7zqvrhMDfhDujnHbN7TN2k0P5aYAGtzdTZZnG4Rb/4esJHwNZHOG32N
LB/up++woWSOc4eZ9jES4+/SLacwm2L1pFlT4UfG8BrDJfZdNS5w8puv5dAgc1/iFwFehODb2DRx
bbL5WNnGGS0OI1fzawsKDgXyOHGS5XNJxAryhVXoUKm1gUWerP1eLc3vWLX/aprpri8HEI9WWkGZ
iMdxcM3gsmA9Z+ar7RZp+IAxV7pAf4k54Rh0o2U+N9WaBZSRr9HAxFfo9dUUd7dMs+4IWDg1CiBZ
XtvfVJJ1fdSt6k7m074m0jGsixRDdl3ZFfpyiCst4sXbe2GYexqUO7uZ9MBqI+lNcbpT13mfuhNL
l6Bov1fcZmMv0RSyFZVbmVeWbyrRz9GSPKRocfA8z57U3DhbRbxnI980ojvh5fWWkFjmuXiVe7gz
ptexLX41qN53dTLgh6st+gZZjBOYK/1iTjDemlUqZcDEs0Vx6mldNAW4vm14E6NnNfmTSXiEpy8j
AtG6Izy51ydvNEp0srpyai331c2V57p17+Uwr4yAh61W62h1VSMQqyP2bTs9R/PYniTuskHZGEiq
1vSkEKKcaCmUkOmRsSaifj3W2Yycg2UgthA0Nn1bPVfCjP1otIaNDVboc5aNN5YYFd+yciwide23
3rMH60ZlbZXEuFkZEQfWaIlriK6N1+vts25XhYdz/JYHSP1jTq8qssWL6nQ71sMSVnlKGIk1PZa5
Q4wsiK2/UP50mfo2tWP+Yo5LIPTmDg41yXVZdh6YA8Afx/sYnQoBUld9S/T1agetLs6yJ+myqNm4
S+eJFIGtoiu6h1ao9LgVJK6do24KzLA8o7CumyKdPRize9E5V1YpvsUObHvdpusZ0jIwlfRlNaJz
muYyhM0LW1ASVU2bT96FYtmsDroFe+QQsLWqaD3F6EgLZ9QYdktqh0g06d0Q+kC8d53oOW8scSZF
2PBxK5eHZXbkDogSwbfe1+Rx81FdKRxWrk+iULyVs6UFA3MqdELa7zWzf8F8yDZJEZXbHsbBCTRR
eZZKrQXrNKi3IpmmF3xpp22eZto2j7M1TJ3LskchssXDbw6HdBmPkVsQbKUVQlzP05zQc0HALolB
jceb1jWHMMOx1fScYXaCuB+m17jXmsZPGxQu66zoZLUneX9dxxGGGPU43o5Wp1c3szVTv+eaNp7F
qHU3qlnJLeT/3yb/Dz/Le7j5pZ3cWMoY35smQbhogrNvOhz2R0m+7ejl9OY+CVGZb9RZutVLa9pp
Tt9vKiVKzskQV09Yd5fbBQB/W9UrfqmGtO7aRNobHZE6GZtpcTCcSPX1QliHtjRFYLTS3cQuLkKZ
0T+Yi8wo+yEKjBoAGpBl/KZrfX6yimF8EKXsEVrQM+/queluoD5MYVu2OE0ks23T2CjzNaMqNBEp
deXYuy+mWqZhh3riUKsYjE3EpN3yVx5gbVc+mF1Ub/TYahNvWJUy1OK+3WmNGoWaKonfASNHn6AI
vyv0Ys+hKykNpBkusWWGbT+IbRZDjhs6tljFFkmoLu53gyZ3by/uEDhlK2lZsYFdtbrxpob2kV7Z
8ktnxHSWUSxt4arfrV1Tezn2AsTE983GTIpxaze6FXSGYnr54DoQ4oxky46vPy0u9vMDhfcZ+RbW
9lJ3wmQuR9JH4EAZ7I0H0Wh10FYwIWjvqucYpgylkbXcOqVS3caQRTBeswAptI7wKAVC6dm24863
mrE/Yjarb/pKTa6GWRp7d0Jpw61a51Xgw+v3GI9gTAgKsfaDgbu0ldMepUPzioubsYF1l14nzphv
o8aYMPcW7PuTgnFS5cxYaOtj5nd67QQ1buJUY2mJTWlJrVMC27y6UZrtTbsw9kqqKxu7U7qnSczy
W9I3eA90ljmHRTwUm2wSy3FoCC2NsaQEtUdhgztRn6zUVw3ZzLgyuYURIIq+WpXlPu2L/eQ6bPvZ
dEM18cPRmscqs56JB6D8z0/88rM1rW+NOdx2SP1DNXKelLV5yxXnWGBHuUkVGpeuGJ8xs3mc8f0m
6X66I5XjqXTc3tc7+WhM1qaalFv6EIAHPvSE4YHWYone8UEFqlO+WSN7daJvzCj9bTrKQ6WoT2ua
HkRbn6WVXOvd8LPFcWXKm/PSMWpSqQ/Tnpas76oygLqnh3g1P2qrsp3z4uAo2hl94cayqBRl4YZR
irwx08uNTeXqj3b2LS+iQEXqFhS1uKL1uRll+ZqL+NRkzd6alJuET0vtC1R9/O89OcZsQaxWMmSg
q87HeTV2NjFFGtF3frPaWpBYzqOyao3XVmIfRdZhsYoHC50ZBplYEM/zfqiio9FqPZVPskv05ret
0rlYpvAmLrxZtdnHCv5765SnZXWDNVEcT5pl4+O4tVKfdi5lKU6Ro5cILfomp2msgXzQLKb5QJM9
uE9upl7LFtAwMlTfnObnvLDJF3WnO2POGJF32HPoxa5Jut+VHICdtat2MkWYaBjBi2k6iMV+GAu8
FYgljXQitxQ5h5FpX6vadGXLKky67rsYReEPiKZw2WC9Stv67azTUa/w+BD0HiZG/EAUCm6wmbir
6gpBo3hEGPMLYdl+GObrdqB3WI0z0rGRwyg2fUNwj6WTOzwZ+9LwJD+tqq+OatXUm8YoHyAEMQFN
h3ZfG5BDYdhhjW/Y2Q5r6m+JpIuBorrJAI3noaEXVjaj2W3qujpjOZh49tJr/lQp12RSD16aOmHc
2IdWNw7KaO4Wl/5RAyyBZIDYSgZZq/nWQCtiyAhQLMoTzhLwyqgofOnaY5iNxQ639k3MjKIv8mu9
bw6a5BAvFNWbI3Gs+TKo7QlrnWki5tV9KZo5LNVpg4HYczupD7KNXzEiTr1iLbaT2YXxogDC6TDl
YIx6bV1V/hCXCg793W1faIGt93SA9L/4XF8pswV9DsvyNslCdzBv8bS+HqomHDhAuqIJe0MmXhEn
hb+scJxXbXwBKrtpMxEW/RrECZAAAQc/YSXeR273YCt4UHZOaE3iWbOHX+qsHgal8TGqP63CpNeT
d86cb8aSnTJG18D1TvfY6v5OcwhBaawc7dEpg2wU5aazDMBndQXL0b9JuZwVuR7V1LiqEi0ch/xM
ysh1V6uPCltJmovbOZr9BTqmGVffGzXdojheQiw/BFvWZHiWUeiBcjmTJErNC7iyuO2OMZPhK4Xi
D279s82cjZ5oN0tk/xBRG7ZJntL6r9cODcE2N/mk6txdoRW7N3VRftPRBPoR2k3fSdszRkJY2Nq4
b1ZjRnnGxw6L81ZR1xcguuu+VgY2d0SO0s1v0ROVyJsZOFvq9MtQCMxtE+OsJXgKOnYR77qpw76+
TA+pTU1fLT/yGBFdkg+BMUwFnvJZR5axXQcmO8WpKWW+yxZ5U03us+Mq35feDOdCeW4d5TlHdoFj
BvlJCfV9D/qIx/G1ppUWWkPzN6bMOtg7+d1W3n4jEmc/EV7hr23pHmPWog80aAAcL66fKTbboT4g
NMlFyQru1KB2Wp5epm8qWTSAVc2danCjOZutXh+j2PIcRX3LwJQ9s7evtLZ+K2HdybF7hCuxqV0c
1d3pGKsxMED/XenZJ+MKnm/Xek5vKBegL2Q0cJMo8RLWa3KV2HGLis/2IWxsxgROnSHetEKnpVrW
Q50nN1oZ7awo+hnVWYeV2HpOcHkfhXIwm2iDqBuzUrqwIoX50VjfXbkG7iVsNnM9Za19awQMX1ba
9vk56wt45QtbchVqlXMsG6X3UqO+IRqLcqvxp5xxPQkZsWsEWq3tVNxK28QN8RriD+tHLaJrmao+
NFdxF1/OLAnMYyj7sTb3xRofRo10bL0PmV3/MjFD8ppyAeMvtkNfBjOg+NCeejmc00JcISH4jQv4
71itgoKEqgDN9qZGBFjqErURwnYYuu43xcS6rMx/xuY0bVfNPAyQCkhnMO9URhsdiZZoJNRdP1k3
VV+YgMrWQ2XqdJLReiWW9HqZlS2EkbC1OzZ1M3nBBZXeXWVoIuPxrXPqbadnx4JWMaVz6avsmBik
LFvDpAUY/IGfd8Inw+JaqdwYJKm6QtrqiWaiFquHbhNlwFZ5vOY0V0MHG4FGJGeiLJw6zNbsJu6r
3RqxS6SG9hzpfHIq1UmNjDAfmnsUXddiiZ5A6Dc0tz9k2h7aNnbZd/PfRpecMhovzukA0CZ0FXGV
DPAclBXwJpUBnFDw6ugpEpFvS4MJFjEpxfxj1ICosIqg1kDPkevb1NBvjCS6Ue32yjVLQsstcYdn
hoeGPOi652lt0BzqvhjVnW3eq63yqGaWt8rlsGhZaNAvrRVzrbgmXKCynwk8ABDK05suj1kzjA5I
wnSzcZdS+7nNEK74vs24r/XT8DJYwJjqdIcTGz5xhMiMzV7Y9uyNqvFiNPzXZSGDVj5CKtmoFsL5
Rb1LyPJELIPQw2rZhZTNqi07t833ZTrfcdreRfnyarrRHtBxM87gA0n62Bs1E3TsC0tGibbYCggS
0LB8e8y/oFR/HF5ftGpQrfDiuFiOwFN9Pw8l5lyFXYX/muq0OgnEtvCVrrJvu9aOvqCufeRoXkgu
/Ibxj6+8Cp39/U9llUYNshKYs8qcE7RdSufR1CWxD5UUtAV6OxavXwx8P457//c3YSdA24fl+9FL
MJWMWXB9WnddbonjREyM4ycqZieB4TKc862qmHQfB8WcozAT43kxS7ROSoShxt8v5U93j1YEwQ/p
G/AFLi/iX4PncqhbVXYZXSGZYDu1yaeDY5ddmBt5Q/WkzF9RKP/wZrE/+v8f/DDpnlC6Y3ShFdis
F8PWWC3NVwwtTLIpq31jHUHAaCTn7m4pGi9jOJ3PVxOlB7VBYVOOwqbFPdvtS//vD+KP14U0+EL0
Bm7/xDQrZUxjE6u7CS7ppjUr9zReBMK1C9/7i4H/R7rE5fWbuLJAXkRx+ckHC54wMx7dxF/AonFi
GmQEwM36dsnwR8g7ii6Os680V3+6QaRWSK5Z5Cx37f2bTmJ1zC3VQI4yO65f63h46Poo7svW6b74
ej8x2C436EB4vti3EnOofaC+zHojhtZ0ydexl8wfTVRBmjK92Rqo6WgmxjGF9xJOHSc4qJAxfkko
u9zMv2kh/1yAjh0VEkz89j86YZWIPDTyP+1dgvRCYUphVMzPWwzPglrSTHuD2zVjALNYrS4b6Tgy
yXPFZh5dEIWkPUHPy75gln1iD/9zUTYsXeJwCQv5SEtiGC5XOYPA9DJmbLGSoJYlbruBpQPbQc1Y
7+2oXqt1xSpUi2VbQiGm6S5my+8GmR0urPEvlv1HkhLXBNGUZYg4Xrch77xfFa1mJqIoFWtrzHm9
LwBDyB2XVTCrVnx2mYf/NJ3KIbW3kF/sBJ/XI67VkKmRACAA/qTIzyddiUs916AMR7ryrY+cuvs5
iSyC9B8v9//166aKgomGmM8U4pMbEizNkdzD1NmrWU6I5Zi3h1iREO6yzn76+0/9YfHDfCNiAS4U
bJ5PvC+I43TLNfRNFYwM5wheXwEe22PJNibqeqdMsakFUUo8DpRS2HBB3RDNs4fzEplfGZleDsr3
H8Illoyn65LFpTE2e/9+q1lYvWsNgF1FXX+fBw0NXoNbNphvuurfklZWOTpTLN29Ck+jtyxRlx+J
kab32qrmLkNrWd0MLVO4Lxbe5z3wIoyAK4bGBS7iR2/iJFvn3BpUm7ct1u+621RbVmdnQRLIxntM
zaJzpllg+1+8nc8HHk0KkRBovWC2Eun4/oHg3pq5qUZabKYUYjdmVnRigFsFbT8OQT/qdDpIDa+G
WKbh4GpxCMen2mYd5iQ4PoBRgCH1MymDDMBGxg3pF8/l82eBga8Jndqw4Gki5Xx/fdQquHsYdHNG
3Uo8zalHyALJ2tmL9aGxvngcH98CQiqwDA33JHZsBA0fip92GNJZwcAVAgmINjEvdXtMRTX2Xi/6
CaxPxOKpjxZj//fX8NFNmeOPHANuj1fAzXKn728TzlAWw3809owaceDIDExxtrXhTNCkcAYxQnVd
VzqQ2hm7p8Rpf87Dkrl+YyvYo0wxUmXQP3ySwsFe1Q5DplKfQWz6/HYBtze3pd5iVW7qxXJPQ5Ld
Faosih9szspyI/AdGL1UjG7hW0udKj48v0mDhalVw8Ftcvu1hZB8JTo3l9uiqjnC4EflQWnM2M41
mpK8yDrHZ+jvD+Xj0vznmVi46l9I6Dav4/0ziVSjtHS3kwd4wuuV1BNl49qDtimRSnmWOX7Jk/2s
rLm8BXy0VaZTQOkfLTYGG6psj0/kXkbahcVjKQHZM9jrZah4ML6p9nDJ6k0fAYDjDkEObsQX2hbu
V57zn9chLCjnUjNgnMJH+WEdcr+rQsokaHqvLD+I0ygZJzdPStHGwULN7stmcb/gjv4hXQArdpJ3
IV9zNtgfTTunvpEd0WyQr4ESNg2szQrOZGltJztXfYxm6SGn9uyYjXUYhNv48dzFt0ISUpTSIt3+
17fvorS7eCteZFW2+eERgPeorsvM+dBrayowkI5s+nTsxIkviXdLH6Fq/fsvftxqKEE5pzAstQUl
wKdf1Fut1WWvK/u5m+JThKP6d0uthg3l6X9WE/BTLgxXG5Nqy0Rt+H5pD3nF6wf42MN0YPZAbTz/
qjoN8+bF6RTxxYf0hxtjd7948NBgUYF+6DFwdLPTWGTEGnau9I2mrPeZjgmr5WTpF7F3Bhf+7/OV
Z4ihLY4C/A5hxx91jK2aY6VbR9kB/4Ta2iuFA8XKURn7fLFTX/b9Dz+Evb510aSg1sEd+f0TjJay
NoDocMNsNfutgWKWw5UhWjZJxSsRm/qGmLkfiKF1aMt298UT/VgmcpscEkifuFe+z3/sH//VJuYI
P/AtydDFQFfa1rWr79M4izfaSGo1fDYtYAyl4z2lKF+UiX/YGTSdrtfQkS6gOL+863/9MqKQpjYy
BjQ4x+r1doJ1fAt5q7qusiK1PcesoIiqYrS+ou//o5z/+MRpzlEdIvrDY/3DSayQMTbbHZaWlT45
CtSAIf1tpI5xkpqeQxNxumOnRhUQUq3Gp9Ee8nsoWAX0PGu4LeVleIO5We65xjI8tKqYknMmkaHj
5W++iB5c8Ysl8qcN7RItZmsqpTVeAB/WiNF0xroAGuyzOcq8KneLM7PaOmiWSMyeBlZ342bresMM
wcajc1JaZg9D+miSuHuWjkZK8N93mI9XREOCOo9Fi+8FB/0nFZFsHBcKE4HNYhqmzFeEXt1H1BSn
tMubbxmpIr/0KnOEh8KmlWG2YJjnj5ApLY+y0Ik3EJUY7f79qj4sKdSx1H1YALkOzwnVvPZ+SVmt
puVlbLGknN65w7g/HfZ52TF+SMs+hYAQ5btRiPErud2Hben/HsZFzcYHdOlH/oez8+xx22jX8C8i
wF6+qkvbve5fiDjesJdh5/z69+IGOGdFCSKcAAYCGPBohlOecpfzcTG+tbSmcwm2aFWvukDrHgqk
Oje5mum721OcJyEXY82vQBx6EBvUXLgOWfwLlHR4X1eDDsnBTqjXIbBqVAhiCwAZh9Bzmi1GRUv2
BNfm65i8rBC6bGh8s+1YhY0zuIPu4E2hZAc1LXRy20HssohOyu35Lg01ezzdsJseusI9yCrVNnro
wNFLI32d+GW38GrOorT3lYWqQWROnOJB7Dn/igS1LsiKAtynpYu7FAkRJBgRb12BCoFGgNroH5Ig
/x0R4SryC4JDvDbPR2zKIjMMr7cOmh74E/WZZ2wddVmSfXbNBqsnUWZV/V9W9MOg08P34d4VgS8b
NEP9g1MG8p4HVb50jSl20gZKd/vjzZ629/mhWIPqMrJOLoXY86FAYAxOH0XBUQxy2OC4iPqvg45s
RccQ9jCl+1xXs62i1tUGQLizcB3MnvDpOlCRLUdUAhlKk8jrfHhbSOBfRUvn1TWa1zbQlG5l4ce8
dBnON840DgpZfCryLI2S8/k4Yeq1pYwH7+CGESjksnxv0yfevnfhZ7V24izQKmeP9vvEeLNti7Gm
R2x2KEQopDaGenDy9CIBH5dDVTnS/LDupFVjCovPQhRtDNzV7h1nNNKFgzI/k9N8PeZJauHyR58N
HzSWKjvfjI+u6zv2ukg6R3zqUHn4VnStbi9F89Mp+PBcv88WCwU0M6ZY7MJFVB/sMfSDEUe8HsRR
hSDmXra2tkasQF3pnU6YTxaN+KaRr700AVeuFBpw9PEf4CbFxi9ktVB8mSY4/0UYAxOH8s2hjs+O
UJsjGtKAGDiYrvKG7ij8pDiFiC+QghyD0NhqTuG8LpylK4PyqKHqQZ0Jquq89Oondl+3necdFNNX
q4OSBWMBlxXtq2c7dIvyZ+CMirIVYaVVv1NDr58V13LuemtCdoVIXyMTO9QpylxWrx+8upIFPR8q
U3d2g5jqqxrzWEnZopcY1EYbihUwSav5ZblJE+LPJV6T0bADYNCKnx8iadi8LVGad2sgD+M3hMvi
dTiOz7CKy2QDjm0wD34oELMmP0zzfW2r5Y88tvXfEBuHbK3XwGTXyGblb4mloNemgRFYuSoIri3y
No6yiZyo6zeyRjAbsZ/VgNjoUxWa9gmAAQF5BAkGnmfsP3C/lpABsx0eAZ9ReNyWpTxZ8c/UAp4L
bKl1V0XkHuAUaCNEJKty94VAYmrbOyLoNhKt1vKuM+3K2WRYnf7qgSe/OLmI/6ojU/+eI/XwOehk
+LvJJQpupZJBUau5846tZYbf0ojfSDLfmek6gaFDWZovqK8BgprOukRG4kHNZRTwUOcWHerAEcVB
qUnHQUiKJyhQcXY0TbqaElGtkUqU0Rlr6L7Jk6sH9fhl0pR8CEiJ6JUmxqgs3JNXdxa9G6oPFkpx
81KxQOBWsVFOPYx5Ovxg7QgYMBWNvyaDbkerzskLSHWqXv24vaWv3JsaKer/jTsL15rY5OK0A4Sm
WuhsPi2qNUZL7clpnHalSXUpdpqNx9tOBW5qYOgUBngOZsdWwI3WGh97sXIcJFikUT/JuPX3tlHH
29iH5Xh7frPnbxqP1NGkEIGEFMr508X24aV16y7s0XBKTgZKzBM5Ki0a0mLE6nAHTgx65WNQDRtl
qOqv0LyMv2WalJ/+7DeQ39mTeBWhKaxtnsLz35Dp+ItF0mmP9Oeof5iG/ViYoFFcBRMgfk8kVq2b
tJukKMdV4ViLYh7vddcPl+W0CiY4WupRPBW6o8++cugMg5n6tIxsQKlvsWH5Jy2Om7XsK776iNUZ
3pqtVwGDyRQQ0cJp7QmpG/7S3Xr8lRmtPIHtS8I1Fa30uTSUyRYuaiBgRaUehvR6uuF32snutU/h
1K69QW3fXCPJ/J3mjc43BLeRrVPrXtVWDiD8ZqVorX3S6lLk4MatRa2eK9+d0it6hFioUfKd55eN
5TeKqNEJrtS2fgkbbXj2AqX74sfofYN3VpDcRoHJhj4djtr69gfXruzyqfjOQrPJ6VbM1huEr1Rh
a/XgEfrmK7JxefddxTYF3FvXtfcJXaxvnm91XybZz29GnGfqWrTC+95EsIQBJ8bGKSyznQEsEn5a
7KM1KNpIuM+3f+i1VSJf0t9rLOi9TEHOh9ORBY2X1X2Uwc/wtT1i5rB+Ueh50Kxiayju82j0O1EI
DCT++eOB7enaUVXaJpfVWJAjjltFin30kP5eQfrhisuKYFhprWFRbHHTDdhEY6MOlQZ6lafg9viz
8Gk6EESjNCpo2tBKmtcD0dNJxwxq4UGRjfqXFSTwPr0WmmQW2wtSAbObfRrKfXdgpwZKc9ic/v7j
Ghu5G/Sy945W6jWfymqo1xz0X7y0Pe8gqq7A3paKFbOo+31MqoHEKRQhgXpM+/PDmB3qG645Kfb7
osmtTVJTooQxJZZc42ZB8DSO929WQdY/CQ2fj5PVwGYghdDvsZr+KXUn5mEbGitL9FPn1Yy2WdYF
6LCrS46RV04Y6s6TkykiDHS6ZjVPPyip5cUZestOGm18NddPY9e0JfdK7UC1MaIlIYHLLcORRjqI
5hHJDKW687kCOEqSgnbjceBZRkCl9p+UTHcfiIr1z7d35+WWwcPGsMHSmpSc6KidD+VWLapEfZOd
It1vftdm6a4UVcXuRYuGgwwlyrfeKI5/NigVQAtRZYvp0dUkpD4f1FKTnLPQQFjys6bcd24Rl2st
MUNzndii+KV0uj4CPjXR97098ns/6uPzxNDOdFN6NCvRZ5hrPGK317W5pqcnZF5XrvwiyBXvqqEN
t+YIbygK879b3WnuR+BE9NHUYBNl0bDu+c3fWm7wo3uwg31RrZzoQGF/r+ggCRPiZFD3KhoCQJNv
/+L5vfn+g5FNB5XKjrgQkirToHag/zmHsreiz11bRI9haIXPVeZj1o03dfBo2pGxT6RTfLU6iV7E
7R8wP+DTD0DTxiHim0yV5po+ipaULkjG/tCPpUnVwlbbU1+WRry5Pc68xkgrkYF4H0hzybPoLpzv
ir6v6QMKOz31vv/JqGGniwr3ryzs019jQEHazdLok5Z1//h6onwXJjQqt0jthwJx0oVJX646K03+
OSmTkXk7sx1KJuz1KLDFR6Vwj4PoVHRRbW1DwzI/ZFmUPWSjFqwdUwl+pkW2vb0S8zPJ0PTPiMzR
sgfFNA8kixDCUWYXCKJ5kf8Fg5Bs66Ko8drXsbNTdUCAWbHYx7/8zNOg+OzBs9LpEszu1xTQ8djy
EB/AKldfdKyj72u++0KbZX6z/Tu1/x9lFgWoWFA2+pAGRygZcu0oTvPUtdi6YIyULxz1K03Ryebb
oksFfOkSv0F3FpHxqo0A6wfmyxjnWLkXGA2jSgCPPlGGDW3iH2kYFuu0lO7WjwTSx5nxz+2veW1h
P/yMubQrVgQ03wExoWyTI1Uem4S5MIWVdumgXjlATFhHPZZs811h8fwAVYaPUZdWeQcRCz0Alar+
GGOvpqtSm5h4RfgtBaTRKQR6VEdqMvXBhlecZ9qxIVZc2MXXjtCHX+POnk26Jb2n5XpyjCmfxOsx
dGxYIUE4aKsMob8GKmkI+S1FpeuX2+Ra83kIlcpagLBd23Dc9ACTpo40N//5mnR1RcO1ypSjrotA
XVeQT+1jRHV5WIsKkYqvtz/2dErOnxc+Af0IIFhI6BIOnQ8nQkRQWnyQTpTSi2+l3b0hsjeshO2j
NIsb8e72cO8v5Xy8KaaedJupDc7vKVlSS02Z08m2Qvd7Hmb6l2pUKwekXFo917jYPEFCNe1Xr6x9
de9D1VcoBiGaUMVCNIg3dA4euHmFXAniKPhE3P6B86htOu+2DjyMrjR5qaqfr0ffo8eijlV+Gmtg
1oqQxqnMkLFAVLreosbfHdyi8qFJOwshxtWBJ7AUvs9A4tRpX3wISx0zbqQemYh2jUn22gy9uaEd
5WdTF7n+ImHFnGLLCdmQ9pKJ3rUtR/6v2+Ci+G+e6aSRkoQ4YPiHvs0LY+WDq1TWOSItz0WUtL9v
L/DVwbAIfJcYRPxxtr8lzMjYaLBI0/uqfBCdTLBGaNru3oPXuTSzeTeKJxpsC/sMTBwbmEz/fFUt
dFoNT4rgGEbokFHQgJNIAJlA3XFhvA1t2v3MmgepVtu2+WKjwrXUY7j+ExAZNMnn6GO/58MfPmyF
jGRWIlF6CHpDuw/RfkE9hHuEwZydrLFKLQjkVr3hZ7g6B0AzZVn9h0UnHeGZ5OSBQpq9YpDs6jKu
hH/AmUyj2ppKs95KvzPeHNw7lvoaVw85ewn43zukZn6H5VafEpib3gFASQuZ1h2RTOi72vuq1p2B
/B7lx+9UuioYbvGgwhxQ6uwJvHOZrdOiImho41aHPmAZwqYlo5jlQtH+2rU3yUxSqwYCSKZ0vi9g
Anau4dvRSWJ+h4aryZ3nCdugwmeGiOsk0dLrfuV8c6wtsiTuW+MCBT3SsPdQGXAO0hqTN2sYqxeZ
YNEE3Rv9t42j6PV37I1g0SFiXxpLVZcrjzqmP+6kIwvGBdOs8wmnNnSWcYxR64eycm/Rhz2YkLV3
VW7EP4eBvHBEuhABDDDnMNVN2rLUf3VLCGwsq+gYdu8uQTD9//g6QPLIxT4AfCwbZlb/C2HRIJEm
SVIGaT2QusVbFUvOja8t2iJc+eY694HjTZhj8yJKrXtTyRExDo9aEo+HAneah9LiKmjhshx6IFl/
PDXKqoDQuVl5YAF0nC95SWY4gEPMT0aJpd+mAhCxL5WigulGUXkpG7mcHc84qfdkbMLJm+fFgewy
pRFWcCrtSvQcnYayTaIiR13ouPoVqfrX7S93dUDyvKnFNqlSz46QqfJA2khUnXyjdJ68Ug5flA6F
HTMpv7h6mGxvD3f5bjA/bNQAVbGilKzPVxNpkaAErhMeA91IIPq6zkapjfG7HaDTcXuoazMDcISC
jgZg7ELsP+5RIMN3lCcKb4mHGDfQA4p93jrvS7lJS7ve3x7vMvB0KBFNET/tDZ2K3/nUKHRozgSu
OmoFomlaWCDZhdzOwZatOIBZGGkqkny4BYqBiOmoS3fD9KXOYzLGn/JYh17AZOYwG38IoGWP6Hib
fjx5/wDCbb1QJSA38uwYO16ypiioPElkDJ5kM/CEphDCby/CZQ4JGYrzScpumIiJz74viriujAuK
Vo6tfhaR2cNa1bujnoXefhzyicKGOe7tMS8/NDUCCp1Tf3zC0E0f5sPTrCORJUWmR6dskC0EcGQf
69ACiznKaOck5vfbw10+AQxHAEDZCmVMQr3z4Wq9MIM4AGjpGgWo6sQfTojD9bCpNUiyXaco2Woi
o0qjHze3h762uh+GnpcE42IAdJ4P/TFH/qVcG2E1UqiA3zWYVmVjpdrIbusMRfGnNI/JNYNeFjcE
MBK+6+yWgGWSSKqg2bEKcCC2OlynVgreqqfcR/L6GGaGvK/rMnxE5HGpLPEv42G2s+nMA7TlxZuK
odOl8uEDl2NQxqJGE0AAw0SLg/7Lpi3iZN/HZf93Y8r6hzm1E1e+Z4m/y9oR1Vori+FUiMj7y+7Q
BaCNb0bxLka/YqAm7bvwr3vYqEjseclDpvcY2fmjVYwoNivWd6XO69+gvGqIM6ZNHaSooWxWLkay
Xjnaj7L09J2rtg26F2MdvBa2jmltbw68zE4yJvgGKUGytTE7R/YgdY1f2CCjmpKrCFK4Knp0GFXt
6OmgyZrBbV5nqSdOaRC0EAMso9xlMv8dAah7Jpoe/kY3PUMLxLfbdRJIdQu4fvw2IHB6Qoyv/jry
S+5SS6MwJ3u32BTlEG1bA/JDFFf2D3wr9a922Vd3kIJGhC5UdS3jhiZYCnhlm1dIhehpSWOEihZ2
oEG0LsMw+t40DSptRpt+rvLCujeTyH/W6jq3tw5SPwpy6l54p4Ff/RaKrjpAMRyrg6P1uOJVWWfA
Lo+bexORtq92IPp7ozDjZ0UrUEhj+TE8te0OiSPp3vlJXO8ozEGbKMzkrfAbKBKt84TgiHpnZ0Le
JRX8q9EV48o0ITbh4zb8pG/v36VN6U6+ZkWydVT8rfFt5Z+xkrbG2RUv1HVRY3jcWVXz0qInuO9i
P8GKLZE/67jO7yvh6vgGStNFz6GXj8hYaI9OOTj79/a0bkRQftA2kPvWKY1sY/dN+4BPTrD3cwQh
WwsowgqNG2Wrx17yis8Eyf7tM3/tdpugwRPxCB7OPNVuMl+Hb+LjDoRAaJciiupjTKuGhlfukYNo
hlNq1U65kMdevtOAG0E64GzpgEWYv9OB9CKrT7C29XRf2QVaHj4qKoz9dZlmyqfbM7x8OImrVIuG
wNSsomZ1fryRY6klnaPh2CjE7+opVON0X49dsa6SSEE3Ke43ImoDhPSEWMDYXM6Ti20q0wAvn8qD
s4vNjoreN9MRYPJEpPIKS/1haWnD9RG3Cw25dzLM7Bo7G2s2z4QctivRzT1CKlC6tRSaXW9NDZl6
IBtta6+d0Qr0dZooXgCJNanzo+vbKPjJTBdfp68VP48CbgVUK79v901pctH7mc1TICPuiLXqxUq1
8Nxd3X8uxRTCNnq189cVwDR+waUen3K0odC1dO1tHGn+to46/SDAKi+EUdfeOPp6bDkK4QjezVap
jLniXWT4EJlX7UNfxuPOxJr9rmhV76kpYflmWB98+9MtSOGMMTE2JewGwXC+BdsWxyTA/lAkc0WP
ViCfxap0RhVEcYCNkVMC7yH+2MWx4a47YS69r1e2ISJNk7A+Hcapyn8+PhSRUdXb1D94eocuojoA
A0L9uVP1FTZLXr4QGl+cOOT73hGo4Mp0Wg3G+XB8Urr3MaHxmDWoZljIzXSu3u+C0coeAUw/u3UO
2zB1hj1ugEvMzYsdxeiQl0luiKMoIE474MNz7orMpeYX0RlHKHMrXQXFxkmLtqGo8YWz3y8U/y8C
NnoZ9G4nXjZGc/RUZ+PldW35gpt8NFsEL8cu8N9AbHj9ytVl99NRC+RA/Ujx05XlKCJbKAVf5OwM
b0FSnIgPYHDncPHWywuEd2JnErbl5u7q1v0xdsjXLnzUyxLVNBAFsqnNCIxRnX3VzPabduBEoQVh
RIfU15hgiKg261LtYYSHz2BwlJ2IE3T9EHnB2lsa29sH6f2yPrvkuE2nWNydUF68HPOP2xeGp4Sq
xCKeANWXwZda1btdFfkrX1lJWX5FeAjp1AAqtWr1L4X9pTKyCsKdQCuBqiLQAcP6evtXXdwp/Cjy
d6ymSAVpO8+OV1M5o2mw2Y6e8B6rvG02SWaK7VikA41FLT00wbBkO3XljGFsST9x4p5gTDIb0wy7
LJZuH5xEGQZrIvcBYZaI+C4WLcKPVOtZBGShy7D+1ot6iX5ybcoUvsGiwffhh8yzFM/3ZIMgx6m2
UTR1KrM4IaJUraJw+IUqa72OLD9dOGhXdjrwchJ7nI5IQOfuNwXIyiirUuNoqr2CaHKavkSq1y8U
/d4hqPMtBukMmRrGuARGgOVUUShMjGPa64P/V+bFEXrmMJyqx64FG70CUOu91XrTBxskSJDOAfJS
bY14iA/04M1dGWc9zLEya4ZtPyAftupbA1VbHe+AbdjAsl+VdZzdVUZM+pzZZq4sQKtJibl0ZpMg
3ACQD0QHNsecR6yHPCpmGhlHT7qd+U+A+J6+akWcOyuL2slb3GjotgeEohnypGOLrK/RjB5MVw2H
u7wTgzigaWX9Yxh5RHsvjfWSWjDS72ihGeUxhZh7TDEBeIgc0pu113iiQ7d8dJ4aoGP1qpMDkCxU
Nht3nep1oa/9PnDfBBLGb2olur+jXjOLzegnyjdFy9NqTb3fesis0vm7UoivaaPi2MzJzvITSFUE
h1ItqxDjhjxjTCLu9lNt1goJU6g+Y4peWjs1afoIGTLkjFZdZ9ZI4/qIVnXSiLS1jVhJ6ownpMfW
SVM8aaDqd4Fon900H7cgiNX8O4p5aJRXntZk656A/nfeeOZDXjbDi2SjvyEBXf+VJW1brcPIS3/r
tebhs6AIs90hFJ99odQlJ9pKaP5GIRWlUB+hOLntcVZFUCJHzK/CH8DkVmiCbw6kNXOtDZ4R7AnM
wfEZaj22ZEd+2K5rJUGhCeVLvlOBl0D7mjtKqT5abj8SudlqYx2UUjg/8mEYlO94cUxaFXaBNUUp
7GpPoVZsJ69tlLvh/xmwRvlrXGk2cF6az0ap8TDW6CsYm0xU2WsVqSDRgTAmwb1IR7RAafPYKLKl
aGOvzEonEQJHbCBQntXplryo26daPYZ3CvkXLsndAKQxtcfa32TNGOsIRadduvWdDL3YCJXGin9L
99Vd24NEAelJ4lUbIvzLNlvtBcUN41tvgExeeLcuwwFI3NzLsLkNatrzi1J1qlxEftXi0aVnTxBV
OzCYrWuDy2Pgpzwyi3rp+F2evskak1fZA8GAVNAs7KcQN/Z2lwanurGMrzxliMDaapT6OwpjZvMQ
6UmmHptEyU9pajfRqiwALjtaoslVgKNChE+3CvcstJQvcW4RMmYdthH/YWUADyICz61E02f2lmJg
pcC5Sv0jYkbdP3SZmx+dp/mvbtoGD86I5PrC6335ZtEqRe2BtI8OJvpJ55FSmmlqFyemPFoIDB06
sDkngHXJIYy9r7pZ2Yc0ruWWaFhZWS0qKLdf6SsbAfgyIDswd+B+5iRunNGy0lHZCFILDEJtqX+q
0E9/8g3rE0xsb397uMsXcpqsRVxARGCq8/aWIWqrjWrodOQbqvFYwx101llNPwGl725ni9i3PzmN
lSy8X5d9NcOGxDyRi3EtoyA6a5YUjY6xR5DGp6JKnHhnZo6LIqeqfC2knh21YAi2gCMUc6UPhtzH
FJK4eIiQX9VC82A+gp3b6u3QoEiJHNfu9qpcwlegWAMh0FG/ISUn5zvfA34lMy+SWnuM4rB8itVy
2MsJIWcnSbRTDHdYIVdqbM2+9tcjTYq1nFp/MZ7RC5vxYjtMP4SGNoEsrU7In+c/RHayyLpBc47d
6KJsF9chrENCGoFcQ2xkr2iHcu5uz/7iAIA4m7p6nAGKndDpz8fUJU61UWg6x7x16+cGsspr1CR4
2/hoMror2wncYzZoyMtXYCSPdVYn327/giuzniJV2520pDjz8+WX8P8G+JDHupcFWusdtTkPXTEz
TcuVqpAm3R5Pn3bbWSBChQFrVVCR9ElwcZztRl9LlLElVDymWMMU65oMpv+ipSlCm73l/my0xPJX
YzwKa9s0bZqA3ZCo3zS2nW2QH/TDQycq8zEB4/MQIbe2qmod3L0Wi27ceuqQIao+mAim0jMbPqW8
1yetKLqlfXsRezINav+TNBgFanp151+uQG57CPQYwTlHGV9CoNnuCn825Y8dchkHySFY+xANqY3N
vk8hVelGaR+d6nH0EVaO7abbtRIV6YWtOP1Ds+8ywS/xZaewg5XgNOEPWXJcIr1D0moTSWBjgcNK
8VWvg/xoUftfhHC9cyQvRjM4cKQL73jn89FMa4yxGATQY9q9cd9pCVFIE+EkldnlOmyd6lXYVN1r
rdF3lhZFX0xf8jM6twz3hZTN45Ba/QbIarTOtdggoHKCjap2ydOA5PlD04r0ji0vD0iX5j+9qI5P
uOckmzwp0gMLGqAAnqDRVhpv3eB4O8Sz4zsiHUzUatO5D4tconuvjtjpqGLXN1awtjNZHHWFIBHh
cWent45XbkynqKeaJfgXsG8VZA8KspnsqN6TcZKCCcyN664vEfPurNP02v+Ky0pbIeRj7rHExCwT
1sW29HL7HggVZhEV7gyD7oEn6LN4fA31OMYKK/X2sdTKncTKCIiDzOpntbO7Y6IhYhyNY3iU6Yj5
NewTbaOIxF2FoozwmxqD+yKPmvuwjuRKVDrCoioqpRnajfddouZr0Y/IOaZad0rD/J9CCd7IauqD
U/ZvJDfF3eATLkZVpt5XOiwTav/6XsHHdtWV4NJRNg1XbY2Cg0KoNXlNhWt6DTD2Bg9zKl/EqPGW
+TFsMrnLUFZDdLVrDo455NtRqaJtHLT9ykiT+jke7f5RLZBk7Ue/Wlsq/O/UccRpLLUh3De4x7/E
g4we+yzD16mSwA2SxESEELGqR6tCEQ9HykGVK2tsVVbTdap92mNuNDitiWB6GomHBLweWlKOdlCL
AQEBs7ONbUTn4NFRsPIIZKYi51mN/b6jZQ4BPbCs09Db5t7J8GCqqOCAHB9UFr3zgt0IK+W7EwAG
kWWDE3iW4XekqXeaAGMmBxxTjFGD3zaifJH1zhJM6CKmgPpFTW3qVAFHuSSRBkVIaSeDKypycy3l
tBiKh89PFmrIldbdJytxw+fbV/i1QaeKGuEzVxJc5POzi5U9jD8NwpnXjPn92Nh85xhZLrBu471o
nGw/dH2ykOtfVptAwHBiJ8EZzwF/Nf2qD/dTV+EQaelxckrUOEQCxgpXEXHsobFkubc63JX0SlKS
Lgb9xSvg24nWt4+3Z37ljrRR1oDJadD7vSBneDTVwqDhTW5NNK1XQ58l5lYxe05krMp26e6/FhsB
y8b3Aqobmi1zAkGBqqNu+6Deokl3UkRBuO5BGFJmU7cGtqT4Q5XZvuksLN+0XGy47NzdGBT559vz
vvLYnf2O2SOE5WsthNI7R5d79bUehKw3hlZKY397nCs7C+Q9wAWQjFP1fxYbjMnoSBr9ZKdajy58
2PZY9vjhdsAwh+KeZh7MaOwXGl6zQUG/gLehsw6IGkI98h/nG8sSg2EPJPOHWBflvdsY1WcEBvXP
cY6asNO31auPC8x/YKeybJCXQKYQ4rj6+aiJ10MqLzLlUDi0Z1s3bsGJopIbB+LJQNQ7iLk0b6/u
bPeC8aFECjcMJB9PNk2f8yEVqtKWXQWImzR9T1NU960fUa5j0xPwsizRiebLOo3mWpwU9FQ4sfPC
rA55mJZhi0FaWKoHy/fs1xLlVrYsMjhFgxxQVLblQqI9i2anKU4nhWSSaYLKnk0xoupKMkQxsPWt
/rfsSzvZlshXHksvU76Wvg478faizor97yPCXKLQPjFRqTSdLyochpIECxSOh1I3jgKPaootYeHj
Bji2dbWT2RjvE7AD/2FY6opsHCgzoAPPh+2oKNi6xAlzKIT9M0Ij5s2ZVBJ1UVFzQQz6KIA57wML
FsXtkd8bcB9Ct39nrCEbYrokbFCczod2EWjvBAWeo+1G0t1HCVYiGuwQZBJK46Xr0a1cl04VdNvQ
FC2aJkbSPkFhN7+NhZpEG7tySm+NTHd4QP8a5KqrRV21qlubl1spOzc62qmJMyJ6m/h23v71V3bl
VPmhlgvFjULobIN0TRF3hGc4SnqO2GKbZWNi5iZ4LIxNvTW0Jt3nbbjU3b62Ld0JIk24C9FtDuFR
e7psFlDiYzqGPyKd6DEveoJsTt0nbkK5kPFfOegwdKmKA5SnuTe/Wxg/1hOcF09j4yTPMhbVQwtK
5KnwcFS5vZ7XhmIccmbkMWnhzxqZkV22GMglyhHGe/ZloI+3acB7RbjhxksZyuwVmjYe3Xqycwim
MIbmh9ulIOWXnhafwsqvqEYaev9i4kOyhHq9cqQZZ8pM0BCjLDW7mkHrZOhkImQPNjvYeGQjRzcq
0iN2Dvom1qP+d9yLYpup42KdcJYc/ztFw6RjRHBpIu5yfrbgWwxaxFY5emlsrsu6Nv6KndbYRIDA
Kdz4xcYK23FNbP02lr2AKq606y7vvN3tzzqPtt5/yHuUhcIfLmtzbpZiKm3kx+50vyTmSWqqfyxD
L7rv4ZKgjKEJ7nDZ2ysv7I0nzJjwC3JAJN3+FVeODUWrqTpCaWbipp6vRi80bLgxOj7ViMk9pFjj
bgOvjFaFmbV/uXrz8h+G+1dqlZ3MrXo+nI23XxSWRnD0OkvdtwYiwqsGUQWQRb3FhHsfN7vbQ167
jkBQTixmD2DInKYpYDC4EOmVoysVY4vOlvJYwtw/yhLbH7qF33CLtr/fHnPOn3r/tlMffuI38EbO
C+A0PWlbpsZ4BGWWxl912ghesqolbYFtiG8LGIAqiHeoErc/kgaxpm2YJna4SuOCfDjxoJfrXu/b
Cw/LteM91f+IiWg6cF2eL/+A7RsNsijF2g+a3MbUWgmP3Uw7sZBKXC461VcizIl4TPVmLjsXkS1K
mOlQrJF5CVaF2tB1q+uMAjPEMv1X78lWx+c5dJZoQvNjNXE/wVlPV7ODpjYVpPM5tqNS9khW4oRN
AlFsgbmNd/SD+38wEQnwFTWQfsQEFeXSzk4EHyKwUZJv5Gj/fXsTzBabH0LZBcIgdwxIhQuhOy8K
Cy2MHOuYD4aAE6i15i+t1colUPRsrd8nTJRCxgbfFY787ELrU8VM+7FXDu3YtDgIV6p+UPyiv0d4
zKFbWrivtAWMhetr9ir9OyqNcNQqJkn3OVvIr4uijCVuV35Xynv+DwUeux8PIvzTx+Lfoajd8iYR
ASKJcv5FZSgMHXI1AOQcv0fTCaN7Drz73CH8spItDiZVF/V7ESoLX3B+jN9H5rYiAScKpKkwe6ZG
dRyFgfXhyW5UqkRFDagTjKWHzQka5YpBwzAzX2O79d/CuCmP1tAHB1Jmn7Jy5/9xJZudPSHfKULo
VCTU2c4WWoStcKIrhzIV5bCiVoM9cY76LkUt8Vlt4/IuomO1ZR7Zz6438dS6vaNnr/a0HAD6UIbl
FqWKP//mVusrqWpXzdHWlWyNzFe88eyxQyOirgCHuOGBlKt/6eJFHeQre5xeGQIjZAEwFOcXl+sP
Y6v3hXZIG/01AxkXbho6z+0uKJoEc2u5zaIuWZjutUGRhCTmAXlPD2G273IpLA8QX3hE4Ns6celE
R9Do7mvu44MSZtmzay6STGfv8fsSk7LCWleJZOnXne91I3d8gLWVecA6WbR7zW9dXE91JQSVDJu7
RCq0xEnq9ne9LIJMbz/VJrJJxAppFJ2P6jQDDqsJjJHeK160suuGTatjm7XGHlM3dgq6XaD+ocrv
pKokr0rcF5NblVK9qEW2UPq6dujOfsxsCfKRI9DFinagKaM2W7uAX7DugxGRYDvvUfNx9Eb1D51s
+mKVKLoFWxAsuVzjBizytZL64JAgBIf9wjJd/TYfVmm2H8hBzVAplIrKmJPsqBUa28Apm0PlG9na
U6MlSN/lFctRU+koUp1iK8xjM4KWsrTU0DuMbep9ooBQvUW1xDwx7seft3fAO8vsQ8bJvmMsFJ+m
18omcpklu+0oh1CMdM8hlsvvHg1KXsYkQ+FmtMzIXKVhyd072O3g4TFcok5UBFgXP4eSG2MVuhUA
+dg31HZju61lTFCkNjjhuqv+regVpvSF0Apa7nSb8OL1U3ydNMP3NvC6J+6MaY7aSogAnFGrxp/9
OBheQmqEOSqwPppHIHj8X1o+BnjSOjL/7vf/o+w8luNGtq77RIiAN1OY8sWidxOERErwNuEST/+v
6sl/m1I045t2XF0UYTJPnrP32vpKWrIyLHmIb9kMjYGgYT8bR1rllVGbWzSn9iNOMpLsTGZItIZT
vlsaxIWnbpNVzm2wuLTdfadpPRE469RmB+KJJxrOWk54cWqIikR3yzKWvViG+qfMyscqzpyfsbIk
VTihhVoiwYp/soeyfpilohP/heDE5h1U0IJ1nUf/cLFWmgZl3alDILLEeuyFk251KF5k+NaTPMWs
bsxCTbc66IPt/CxXR64M7SalelgkLKFnRHmgKczaJbEzza5gtaqYTg5KsWark5aOhBtElk2IpTXI
S+7M995a7M2h0YfNf78nf76SzK1gghn45vDBf+2JiBEFRlzLeEfrIiegfjULbzP3qcFSoXYgLP/7
cn+WUFwO9Jh1VSkz0PyyFDSU0CkMV4z/dRkfZluxth0BfP9XSA4X4Ayv0dOiz88g/8tlcJajCkuH
fK8Ntedbi1Hu23It4Mhk/+cJ+PVSKCKuhdoV7PZlpZ01g+FHT3ALsdjq2ZRCbNcSkyWvfuGr9mQF
/30H//bAeFjXP0tnfbevd/h/WvqtPidJr3oAQJKmI+23MnQiFPt1Hn1pw4/75oH97XKmgVPeokIw
weL8+3IxbABrGQiMzdO0LDeFVywVnCNHFNvOFMmP//7j/rJV4Bzn3fD4AuC9GF/+uh78QD1PU7wf
rDnOo2HMr7z+JB16Yt+J62svyxLrz8U4JM+ZkLq3cccKUB2MN/uy5vEkyLmUZKFE//3D/iyU2EnZ
wlEksaGiUP73bbCbZHVieGiHtkOBJWNJhMiQ4T5K6xCEyLRDKk2am7t8B0b82wdjXnXC6IYZnX+t
0ITSXhmVjbIzJLO2QAEbMDPrHWv1mwPeP6jWf28Y3PKrmJ+XGHWR9WUzFIbJ4WYxpv3IWHe6zICF
WPEmdfHOjH7N66wPRmGY5xnBKjEBe9omHpdmDQ05Kk7YmGqdXIBFuG3YtsmykOJl1RlAYbrAUVeq
3sucdv0QEspbumj2FTZ0AD5JqyHpllZuHFUBf2FnZa4qdqQkuErQjFAinhiisL2Moxnr37QS/n53
r9Miizb/H2XSpNgaS53N6yZ74AhJqYiTpVf27r/fnj/rDG4tp1OkRNe5/VcpfzyOcHlZkg46bKRD
alD9+Sj7GZTOS/5QlK313Wf7j/Lgj6f5/y/pfdn+HeburMN8t43e2QXkfhCrvgYsICbsTmewmxd2
VrJAJcbsO2TjNZz2HFf4Zmrp2zodntR+uGY+xjW7EU1rYmUVclTVKO7W2TybblncFq0utW1et2uB
3W2KoeWtwr6M1BmcZniQ69a2+3X95mP8s4z/18f4tc82iGUVJoJiehENaZGtzlR8mew3xe6JqiYA
gtBm4Wz/+xleX/+vNxSp/HWvZH6LF+nfK8CgF9qsW2WGk6s45U26hm1m2hu+GP0kGms6VvriPLax
kQW94/zfD2r8ydflhxWfk+IfBrO8WBq9z0i76YAa/aqLXpvv+9yaGKnH+dqF5lqSY+Pkufk7o99o
f3PL/7b+gVJAccV5DRPY9ZH8z65T2VPW4InO971qyXbDCBWmtV26+nOdT63YGeaszjdl1q9P5K+b
37Fs/vadAqD6h/pMPMTXFpBIY6l6pFbuydhlQ/CcZpQ+Hknykv/7Kf9tu8ONzrGcSQf4ji9/52J3
dKDg2+2lUbVv+VKO1xGRSEKqT/O7c9H1G/zXK8WizsoOoYU+CMfv64/5n5ua6GihSmQUAHpMSDMz
6Hcf7cuwkyg8/cSspkiz02pLnOKyHbvF9lmk1c2kxcM3w49/huJff8oVWXF9vXjHvnqH5zGtkJMi
LWpi50WN52Z3RdRSzpKIo9s5unJF1WABme9upz/QphmPgqAk38Gr2/kmM6ojbUr3m2/uj3WTAQmp
K6QXEaFIOMiXG6T0k2Z5w+Tsk7y0N2LIhkfHKtCtJVYaoUvsvrkNf7xmXM+k2tHo3jP0/TrEIHlF
aGplVXvXXABx6bpiqX7lqrH9TRH3B5mVOpE2G8oxRq9/URC2dcsBbrIXspdipTpA3zXcSAVM6+76
xG2xE3hjM0cioTN1XJgJUyIPXTnZvpSDYT93TpMSQTzKrL5zZ5Mc9RrtoU2caYOmy4gdTX7zLP5i
GuInA2lgjITNl2iNf7+taNZ7UWRLt5/hiu/sVCnDpDZ+TAQxB5Wh/B5E8sK62R9UD1GhstQFwibI
YYDCgXk3REAHNZrofVm5+nf8jz/rxuv9/J8f96UKr2A3l507JVdwU7UpMVSrayEjWcTiUAlt2WbV
EofEEFf07NnWssJrOBBq5K65yXexCn++tihUeWWvRjaTNuOXRUSrrBKwTCb3lhmnn9LQJiBysjkk
Q+7eQED/DuzyF58KbXGGbtcFkhn+VyOwGGeCJl1mwIqs13Tf9C1JNoJTeEsWca8+S30dXnBcJMlh
ULORsxDmkU1StJMZDNyTO0a4XR6ubd+7N2bSJt4hJ1i62pEYFuMDyxNtWww2BTmAVQDKXo6QcNvx
v3deDbcN+rEksa1vmNZ+Uzn92fxn0+F0CpOCcxYdhC91DCpGmAHYW/YLmW8BXiw3amin+UZcEK9i
EGOeCaci1o00cDmk5HdxnvymNP7L84S2ihqDm8sZ6OvsB7KLrrYSFVWraFMHUkrrIxq0RFlTu445
Y/Dy21blHxsRA010arRuIEmhyfiy9Lkkz+EXm+W+TGFVMFfC+xFKKp/WTxWXmJ3/3veur+S/138u
x6kLbyv+uz9C4lqrWqQyT/VeUxPSUfGi+F5uPBlJbkd65vxQliZ+/O9L/uWu/uuSX06W3qz26eKA
0WTsI4uIEKaKIJLGyt1wWFqNU+aKBfubVeyvF0UHdx06XMXUXw45Vp/Narcs7t4QaEXRbOdz0E/0
+KdUGK9FK9ZvXuC/XRABHooTuCcgUr88Rz0DTmrWWYHww1xRsMoiO84Gms26HRFUpGa2+e/b+uce
dqUgIUg2uBwmgS8fzGiWda1YzbInZg7aRpeTQhVQFurdN52Bf/LcvrwzV56Ly+AdlswfNQOAxjXt
l0buZ0JFn0voF3F4pZ8lobCMtdqQA6+NYZYJmPJo1TlhDENSCAz8DmSSaa2UIz92vLFEab2VFvyL
tMqUYypcD00qihhaUDIGC+IlRUx6FJnxVQSj3P0cSSMb/GucjB64XU5ieyZN+bO2sXNGtd6PRmSg
Hh18r1xl5itF7TbfFG//sNO//vX/9PX5ZHAOfq1NKIyWGnSPtu8XHCGMrQSkYgwQdbcGDeKANdBR
G7xoSo3br8aN86bMpbNJ03RUfa11Z2BrUjsnjFUlvDo09zudLGA2TdlUsNppsTAKA4rhg7Ebb3kz
p1fOGboRlGpX7YzBW49AdboXTV3M+JxU8SwOmSasqNYq/HijjNfI1XPpBcjiriw+10jzUKgWaWaz
Nt67YNBS5vNzhcp3KN3HzKERG2hdYRVBr8/6IbMa8bq2jf5YeteEEDUFo4NSMm9CVcY4U4mWZqTB
XHgaQri0HqPnSSe3aFgMQ8GeqSqanzpzDq0X49Brmc0sX8TXY0gxcUR6QeGZ/TMIEkXsCN4gK6ef
CuyMoz3VgWNc+Ut1Xyf3wpqXkpSQSlD1m2b9S2g9Ug+11OUnyu+YaPH2ysPyzGlKfWkKbrlTZ13k
9MXwDO8B6aUmJSnzmezHG74QWjdzZWehWMbpE8VoiyS2kGelRkPjC8a//e7q9XsYaHowjeg1Th3u
hCB6C2XPO9lrOl/0ZemXb77ev6zDrPmYc6FDcQj56s4lF95TaRknh2W0JAP2RNZbkFWxEy5rr3xO
iMZN3+ZF+ea67GLXEul/Xuh/JJ3MqK5N4OtQ0vqycEyeXfZpP5eH1lzDVNZ3oyHfZqF9TOTSropT
7merPU/D9KTJmlgb91nRlGDRmwNMyzvUEAFO37O7JoGmN+d6Un+tWnkhpPtpTKrDXHnb2Bk/ZxqN
gd7qi1/H3i+vHt6lY5/MetyrSfdSyfYiIXDTQqU5YbblLhfe24JOuRzle0xPNVJTHmPsmcwx+uko
8YXSMOxox4vL1YWXZfWlSJRHYcSnhW5FbngPvVCP+tVLSf0ZGna5hEJML3Xp3YnEiiorDVrtmvob
D+GYN2cE0jdxY2w8vQxFb4WrrodFbmEnNN0QcNOW9/JUNc5j3k6fhjMeehLPa886jeWwo6Md9Wv7
22u7g8Hwvmqy28ozGt+w0rf46rdvrOLOsmXgCH0vHfmhdvLByxdMfM5r562/RFl8dAoAkbnoL21P
SZPb1r5L1sHP3OSS8neIsb3XrgVPrh1loYN56uOAbCMDQZE8rMt81IT6tCrmZlQEZukKQaHMiZFU
hqPBHK4S6cmmSGfqt5Gjea66cR8vzhxyCjnNdJUVo52CnKXcx/97z3DiOMgpWtVxJVsJc1lj9Pyq
dQtce1NzJBi9WvOlM90LDfpeo0cqiR7BYCpviBxJWFUn7rPRHUare52G57k1otKLH1piy4M4V2Vk
FrZPCtgWRx2D0uJ9xfAsPTNsKvV29Abd12MqzKSuQwtbPISmDzlrUT4mynYo6pfBqtUTStPSbxMN
W8nk9cRBlc8CyS5DBl/jt8aV0wTsYuc2I1h4QIKlxHJLUnweuH2FNyr7QdngRW5fFhHj0x09ySBu
bTw2do+DQ8B1d8w7RxL+mc/aYejyvWAbCIHIPpGlu22L4kB+75XYNIYxoefgd1ciAMVTZq9XzEKA
ZOun7oxdMDnjXaqVp3RW3jNz+j059meSKluhNp+yhgi7lGf2F8tPa/N5bOLIrqx3tZb70ZWHbslO
rI3bxWkbpkz6DbNnElCb7EwX71iZY+o3szxAtN2n87KRKWgSey3OXReH45jsTI3512Q+lp12nXYd
ilX3zaq+beb0sxbFM0LoAyHZb1Rvt7JUI9TcH56Sb7R+2hhqu4N8iKF5VUMlV+/mlHB3vQxMCwKR
Z+0Z9A6Rp0BqaIwhdLUlcHNniyQjVMZ+07hF4duZxo9qQk8pTj1JUV01P8Dg27puskcMudX16mAN
bYCZPMTA5ec5lLplCaTiHiZd3LjK+ijHeR97RjT0rkMo37yzCztwRy33Qd0HsjY/FDu/1Orw6rnD
Ien0p07h44SBH1htkvh08bcTuwlDlJNJDjIEnzfGVodOX37NlrEppuQYG8yEq/UtHvNtX8jPqZ2j
1CuYcFa/6PvfKqb3IT0t6HvnhyltWK9qjsnfMn4BwXodnXzrDc5eKabbLruO9dqbWFFRWazyUZT6
lfKgX3Qn3Ug+NIKuu3tZKDepZ0i/KmTHO1vfGJj7ESbcWErhl0t3diYMc11+34r+QJjLuxt7AY3c
IzapSHHpp2ui8526f4ybdsMw4sZqxpsqyx6zWDuk2fxiNfrGsJR7DCcbGGKbJR9ClM/0+ctIrC2P
0QsXEkHiAfuq2vx2xILgWNkBLe58t6xe6F1v7SS+mfEUVhI8idRuC49WQC7uiiHHzBVPur80Rrim
1paAlXrXyXoH1uHStj2EgCUy1HlXJUUVTNpwBKjzFNvcFbfdi3WApe8m2K649WZmaXthtwVlencu
ZXPJSlP4STba8Fng4uDyy311ZH926iLErHDUhuY+qwrA/KgZYg/Pf7+YdCGae7tTwylR922W7pqs
fKWUOfdS+en1A/rpqXhMJz3Q03Grw56WhhHQJmNEXm+VarnJNT3Sln5rdUZgLvopv36Z8E0DjxyC
da4vC8Q2Vx81RuA19ccw7RFK3w0xPpc836RkH8epOwXx0H5A7LrtFGvjphUapOq0jskl6bOAFiCO
p1XFtCqqh7aAgdl45s4ZuqBJxD5NWULoo9yl9fxTk0mU2kzfJ8j4PmKnZ09TNgBtjzG+O/pyoaqJ
U5IZd4bWbWEkPqReM3NuNFVfzmgsUlzVvt4bvIOdvdGzYUN27D3ihJ2+JLdqlm7ZFDeFcY0SrS8y
zh4m4WwGb7hDG4YTX2zKpv6BLi/M43VXudVJePETRnyKvqHZ1LgHrdGbo85VtopI93Ey7LTUNSiJ
x8Oiuh+evWSHhIwGy8jfet4f312aKehXi59Zl3dJYfyyWpX1Slf7wFxRAnAmfAKBWvutnb7mVb7L
GnWjlvXNdUnre+PkuPUW90DYQo7zaQeV/MFOoLbxfa4V7EXa42obh2Lm4XZKskljdsV0WaMmNvYz
9YfQnFeGxg91R1OEbdwf8KvNwEZkydQdwdplGUxJx1OBP9i17zMLur0uUen0d5OVHIeKP1Jdjoag
rCQupNCncyvTnWUUe76DUC+7S2wzn2xJLAznwd6joIgong9ZrP4aOAgZOgkrkzk9ObmxxeKdBfM8
fMgWGfFUU58UwzlNjLe4KG67dHpNbEY6RTW9AN0u/CUh4yq2blDxYehCQpeSp5xyaAo0bdpeORe1
zViCaD4jrKWcguv4mOPUUG/Zkc7A+c6IVKP1WmnnWh4RqrclyTdA2nS0V/FcNUUYC/U38sFoGbxj
34HCmHtWAkO9NJP75mryIirzuUrQYFi6+WzN7qXosp0YnajpsT5IcAXZsI/zfvI7S7mdxyTEQR4w
ADsBrnhAt3wc6oztunbtMF2HI1IOopF0AKHqVp/7F+4fF4+jJU6OTdmGtjbdxWbyi75VNJjiADTH
x/qxSdTpwWjEJnOXZ31MHTyP4qyxIjdiiRZOQOYKh9hQb9uuOC7u+p62vA3j6v6a4vZptYf3Lo6P
iiV/Xwe84HcHvxppjizq5BuFEmqKvC2Ggs+jozTwlJ0JThWQIxnDwxTMRfFopwMMFGblE+Wc4rQ5
ctFZ+mWRR8QlP5TL9GrY8h6j4ey35fLeu+q+UdwzGw3oy3RbzIj9LOy3vjTGfWPPre9Rhi19TNeJ
F8bPp+k2HlhF3cY6DrMbcbyJpNUSl6ejKmss8hBjo7nLc2851R3e2tk1kg32w/d5KG6E47wVhbYR
mnKj9MlrmyC9RJjjEESmhsnSgIdMn0lIoNpTln0WW8+mkX6gxmFxSbadwbvUjXXYlMlOUP8OKtcr
pyvMetyqprhN1XFT9+OB+CyyiZLmOhomoI2otgqzyIYvZQqqIf+BO2ErkukMZ+k9HrNfXuG9yYb6
wV4Tz7db9a52a3QOPE1QoKHWsRE5Sxrkbg01d+6jpar9YoK/mSiBPnovznUNHmIHMshi0EevNF9T
0ucWpxgiTv33JIqdjK2dylHE54thoQXf4PcpYEq4MnerUiahmze3fWLc2VZ+52i9b1l941d6s5Pd
KK7SRB7AUDz2WXZmPERn23V3JX37iOLlPRPdS1s3W5RGtwN5a/6gzzvDECSR9vPdxBEibFYromsL
DbVxbgY5f7SLWbNzcMxMVSu0lv6ykOFaL9a+qbqzN8/PS1NtbLVEMudup744KW2DQqs1IImyN6Sa
RYgB0Z0goTnjOwGwihArUeujaX9EPwqXFbenNuzMpbgVuEE55h3Hau0Oy2C84KqLIwk7xacxfihk
dodbpIlSxXis6+qcg8jKqy7U3KYOO6U0Q7dw96XoGr9TtRtRz0gwcvPg5OamEeYFTeNjveZ3kI0p
z+zxuKrmD9h+jxxtHw0sEJA4kQyoAPpRKeoXU3Ufh5aILqtDlDat+o1TmfTn+ut/cuZjMruUnLb1
kzNB4VedgJze4HNyeTW1Vj0ToAmCW51DTObv8goaN1OCY5xsb2XTKcZpsc7Nj1JnQ3cN8W4a3SNb
IFx2vhkhk/uydw6NBNE0tO09SeqXSV83bYUSlywfL5xX69bW25B5+nGpM2MzIpUkWilHflLVr07F
1MNO2a7YPiPO0WcieA5dk58XHUzR2te/FX5fQbC8v1hYpU0bQu5UK5Eimt3IlDyvH4usfc4IkjK7
fPJl00VQF9OQToGkEjTOet4PxFClFlGiTvGjN9G8K2SZLnNBVd38HlL1gsSg39jDKnx89oDnu9Ce
6ca4SXuL+6zicJtvOsDhvla2FzVF/ddbSci+nLAZaOxDmRmYlX1pc9Y8JeaEOr42FvF/WvPOcIkz
rJ5tSVsaNnbBrN/T53sFiitI2u5jcmfcH8peUYaDogJpSYbhx6zYY2SDuyTTo+MB6hnmkCTj/yy5
zMlyS7vjFxGYYWqWO9MZt0Y/bobJfXTWeM/BvfF7zZn9TokfujU55416QptTBbajQj/AMGhl/FHF
9LJobceT6DIMcR2Nokpp/JXUv8DuoATQl/QrCBrhkA/nXMqLkWLGr7VmkxrVMeflkDmH1ax5a1DY
zKp2gRhCrQLCqxzUFw5XlzHJ7I/ONm9HOsgY1jkYLw1iCY3kdT+va99Z+20Xrzcc1UPDzNNTBl8B
V9uBFmHUZSkH2t6P8/o978dd0bsTYUKpEmQsZJqtUHLn21irVMzIKsFVirqr++GmWdxjaptUOrZP
AW4RJuaFEvKPJ9KX2gBPurj5B9yHal+vHEQUwXSt4d9OHafY4bVRtA9zgkGlLmW4pOvdmJAdu3QX
guVuaLNiv4dnvCYH1ZU3mUTuY3XyNdbak173W3MwqF2sjSKQ+Kx9unPk9Y2S7nhCjPhWutanFfeM
thYZ+07iVeGQ2SGGz7dqrimAp2AkMwmUAKTOug04Kp+8rPyZxQYkmiTbsmReaRGHtdDv8kxOG4l6
o7CS08pL5U+5g2j06qDS5CP41T1U6N5vXHAUzWQcM078ftPlO01RHl2nPk6uR8mfmu/9qB2ZqjwT
ay6p4unG9oZ91JXsOHRxEl1RQY47bvMlOVV6fGvkxUmvxt9i0Em8ccynzKpvhsrFTQ2jazE/G7BX
AebtqEbJDfxQ3mi92AzAk/3aKXe2oCStqyw9N0OV+EaysgHL5Twr6Svj41+WOf20BCczo1HPmjvt
xt4rNsbMG0H0ArkQG5Eqd51b38GGI0HNcDeZ1YZxr/fhqsh7hZYVogxoaM24x/7ymOf6A7sRmOMx
DUuhrH5lLshxzJM5LpvmyvqR6t4m/TrI0+aD+Gk9SEznecw1wKnOiS2B5Rkj/jTEY2g2rvpea7Ma
jL2WUj9TXmSzviWmWYadxakhKSm56HNaog76vN7C6d3wzdyksfEhU5vFLM8BK6e/TEvn31YVRqfU
elN6Y2M76YM9aIiMFhmIAXksk7TfdtLTXtbZuhSQi/FyyRIU8RZ4tHpaXoRKRPUSd8p+al6NmVhY
xXXPyCHDeBRttGj1nVOuCr1y3Q2XIv5UM+cl6fjgR7XtonwFa6c7rX1A2PRrogjxh1Q/iGREvuSm
70pRwqvoW6qplQXQpSketGoa1XIgVHAsqrAWlg3LIt9N+nxeWHo8vZXnpR8s35xtPj9BholNaFW5
UifUDMai2vYeFVlCrzNpfHpa5ttlzr3o2iYaoKbIbN4YbTFi3h4+OPidV1d7yDMmq2bJvHVYqHiX
5nFMJdhzq75j1WGiYTQ/Yt3bGSMz9BmbvZ8xEvEtbTwZ5rT/p89oWaGg6p6TK7y/Iy+B3ba5fif5
OrGud0+9HDhC102QN9TcDKjuzaY5KoZNs2a0753qKgej6yBs446X41OX2bG1h9AcOVrolR6NcXUy
zelUxs0eUHqIvHmrps7tOmuXq5B5NlIOnjoDZGh6Tfa0VOULqDpGF132qmrWDZb2jmJU2QnNjGpn
vsHo8ygTFqdOcODnnaMEjlyV8MxYHurBcvx21bcZcL2Z3lvdIJbmun3atqHXO2c1H+9xxH9mjJ9Y
UNdfsMJ3I2HwGbk3Qk0DW1GCtnJvcsMiNVyPjEJNfauO7wq1Owqtg9rsCQJo3Aete8sdsr6K+LUq
2dPoXHAdRFSj7P2k4FQ8e4YXdAheqlq5LK1YfEYoO63rP6pplWHqSSV0am2NcllQla5G6Zer0EKn
BD+RopPi3yS+Pa7NxsudX/EqxsC9RjOCb7tPTVq1hvoqhjyE/UE/25kf01h/VFqlDDq9PLmTuM+V
7CxpmJXFfLRiStRGIzYmnTAPq8OhaN2L63ZvKLaCxZT3KRz4dHXCenTuPfYHrfEOXmGdal07jukU
2USuaSRKbGyNY4CXHqZKfYK4S4+5BRa/aOaPLieVwcxnRAKTxSnDph3VND/o5SP3tDoSa7LXEm9a
e40FszPb8Hlo/xQDZiANGSWmfElHsW2nbPTTytw4uB59vbS36OOOpcd/LQzn1hjEgF7WgfEzV8+t
nUMJ0uieOzsnm++SNb8fWm9veMVR773D0ie3tWVdMrV5iM3+t67Hz5XTHoEC37SVvFTjQmfeCh0+
1TmGLb9ClRfJHI5tsYMfvsnL5kVNkrA1phN9GSLu6t2ij787e+b8tS4vuTp7fudYj0mscq4FNpx0
BLSTe3hUx2UrRvGUsN0opoRXihqYNORE35a1w4GTStkfcbL45DK+xGp/GNN1pS9T7ZJ+kv7Sjtu0
XZhnTN7dDC+n0aGZqg3exZKC3KeeQ0NQq0wEVWUvOU0qa1ZRwKe7WumPvWneaCMThMzkZiziXU0E
5cvwVtHUHibFCypp3CRNvHc8/uh+Cps8jkoGXfSkzM/CNduDhXJrQ+7vUevXbQLSkplZHXhxzVIH
BDTyDJC+6XRHRtBZIq0zm+6SGvSPp9byiUP8QH13bVgmB0UoT63SftIHuzFjEcwTHoGWHs/UM7uc
dP1S8NnmLWxhsdILmY/kWmsE3Xd+niUUpN0WMOyTMzAnkklq+uAEo6ZqLlJSNvfGJzy33q9Fu08X
b0exvM0nXYFa6j5qSrwbeI6YVJ/iRbOCpbHuocZup5qyPrMiJ/eepsb7PRr5z5L5VBdXOw28L3hu
aVJaZNgB4g9Tr2/UGOKUWRaPJZYk38umn8VI3ait7xOIHJUO2tKYzGrVc5NNUeXoN0qXvaBvuVu9
dDPhLKHxLmpfrct3V+S/0bg+2wa7ZUnPuok14EmUYHW164SxXZVkd/0ysAr/6NVfMp238dypzKyR
PdSTHmKof6qyeluNaXftzV07V+UPS1EO7GQtLLeM1yWx9l7jekw311vQ8iqyPBvYvpoEfdrIaBLt
oU4hjZaifdJ0eXTt5LhywJ9G2vuMOpWQ/t+7IabKh9R3YPRymYZ2E6ekok2D2CuL6flqOX2CwDgh
NlUDT65+tpp7Tc8uBOVMm7xlYmZp9JC8kAb5pYgTRjKuP2R9NC3GZl20A7grN4jN9WS2bjRWzWau
jWilDWlNmccbJI9amx7WXAk8UW5n83mwtbtO5fxDLoVdMxqfnJ1Mqp+9Mu0qXY9y0wkmy/sgyo7y
qnOiVECNmzzvAnPtJjPHDzNTn2flR+tqtJVYVLlpxywfDJ9vAzeQzKD1CieqhXEqiBNlD3BY0txt
M3mUrHxY+mL+xhx5l2T1rhU0DicOP0NFpEbc3ABG2eQeWK68r0PXy89WoZ91s2YTUxhGOacqTZ/n
RGymQYZKbL2o/XzuqIIainxRzJ8cFN7c2b3xegFw9zoeG7a95yy+1YKPVCDJNEq6qfP5mNf9D778
D22afkK65B0sAjRbW0GmHQRHTfV1N3+z+QQKzd6juXtk0/PHFYVoX0a1t97GjtywRW1UW+zmWrud
GLN0ljilOma6MYtArBN/Voboejb2km4M4QSKzsAeHbEQ+YfVIPDP5p3bZT/T0j2M6/JjqD7bwkl8
TzGf1bwOTNpHHEey56lsmJeUNx4lTkzzBRX4/6PsPHZj17I0/S49bgL0ZtATmmD4CHkzIaQjid6T
m+bp64vqSZ5zC/egBgkkcDOvQgpy77V+64smPxigXnG0HhctOmnT5Ktd58n9GNQQvEKrNkmqbvp0
Oq0GHSZ6/bzWIkilyYe9D5y0Rk5GuYibrNo9qSfbvpTcfqLyuRoi18DlzgxubEFsbvUL0zFyHE+t
bC1oEyhca8wO5mRs6HB3nYHxdgU3WDPl1HFJy07pWfH4YkgNev9qpw6ERabyAxKTnwH7qxPlXp8R
8Ly8Vk18QnCouDSuBES9nadVva/T9WShfnYVWQ1lNQ4zu9hMVnKYZOuswUsHsJY7O5NCxBwvCRnE
E70QnBN3ff4ZVRKh5j9RPwVDpT/klnKMku9qUg8qUWSuynqqDtLdKC3nhcUQTuzdkJ+AI+brpHHS
dL1x0Kx8G617rStLb3Xq3Tw0VzKhA9Y6uJnplUEy5QpkOR3b4Q3qoSULlDDzOrHOasZ+DjER2/nP
PNrvRVpF+6rONtLg3CC//aJonrHoJ6c0r7ne37eadFKJd/C6oboW0XAmruwbbcgVf3BImwnX1nRT
UIlfySq7iTNerNbeEDe/j4r66Fhv9RL5HXHWmqCqx0CdMbOyOwvOOMcYH61e/wVQD5Q237JD9+mS
3sfkJdSSxII1cjZhJhiea0njvrTBNeTG8lqZMbiThgdilJ8mOXpNzfi0luUm0ZvrbDsP6yTdSzc1
l50fe0Xb9BMkOeaZJVFPfRI/EdB21YDEVa3B5zE9jgzibTN6StNdtNV0s8TOiXpWqI1bLoUy79cK
IbYB4g3eI7ekWsl1AISS+qrx1kbVlUqn3YImZxls4h/7p3zFOKHm92tje5qw9gC/UCHNw5LFACHx
E7zJQk3c+DaYTVDp/WZpyEfFyOi1cbKld+0BlozjTc7vOAQDaYJ6xmHAmy8plMqjY4mb1Bsi54W0
7zokwB5EYI3V41B1vh6lxLwgxybN8XPABiUDMhG7Xto9KFyy2Kc6shk2JyaPKDOmg6W1DTMMu1Ge
lHyxgMhwfEBry2EBT1wKBg3ATbvvP3vb+lok58CgGiQoXN06knMuo+RoNaofCekjX43dVNvmlon8
YxyNczSDGeDT7Pqx9ElgWUJyOXgkQIvVxjiJmBW3dKr7VXO2uDjvhyIiA0kfXbnP9xkap05PPeDT
0IqGHgEDQV+9Wvl4we5x6l7lSgkXqT6SNua2C7iYiY9SkqqHIs0CszHunRmYKBrPQNxhZ7faXWTZ
1GMbNbyBw3nQVBkaDcdu3WGR0RUZh75TN1VeQQRIbmvSg1ZjOy2FjzDy3lpiBg0t6PAH1ybBqyZw
czv7Rjpc44rOnwz+rSrJsJe1KZhKTvu61QcOszILp2Kk4rFJU+dQGkZzp9qr/ijywtkVInJC2Ybs
4C+6osG1O4TTksTtB1XDZ9OcghUaKQoSABZW/Wa0XRyVsAuRJh86bbWkklkWr1y7DJ8OlmKpb8O4
bDZmhgU3L7gZdPIrc7EHoznZCRU+KjzFpIcxL2r5i9gaAjGzTdehstDUl05vF1/W21cl7uE1GIWI
1nARMl76ojpKXeJKve4V/fMA6FY50QuNZj6nSGBx/w4D1V9Nc5VE5iWOelUNYnmHFtoBuMYkNVqm
aqs3Q7Lkd8RUerdBuW/Gu3Hg1FLI+DAK7Wq2U6DE78Q3eF0E7N/F4WLWAVKisyOVkHuoGpJbWHpR
7sSYPGZGyOIDt1XyREk5eQlTFcQNKjU67nq4R3I60lYHXsyOrZZfWGwCWk+PaWnsVCS1hORf85br
pdVopCoWIrVmkd8TxKu5nVHvZ8HG2FbKGX0oxbE2W5gFA42GbRFurhrXYV4vveHsZCG58rQSS80z
WTvVprFMOmrU13KyD0iyvlgarmRQuKNUbBpJnOuKL9K4Ac+Nne3IV4fkQWJT5ico8NVXtIoNmG1U
bbKXNJceJVUJbHaDIksPBe+Zm9Tyu2QLngAG9zVH8Tiar6UGjxgryUXNaTaemnPsLKi9++tqI5ss
6TSfLIeQ185bathadWZXZX/V2H1npDEiZ1BbtKDBDxEsMKPAIvM3xz6L61CV+g8xZRbdFP0tVog6
mPirjCRsR3NSfrf2kH9Qrj6fDKvvQOSmJX+dkqpb3HiJrO+emI+tbkYxBnSYyu5djDb/XZqWFq1f
pTTnkkHxZGW1Jfy1sszi0K1ItlxLkta9Ihp1rxQS85LQDKUO08meIQl1QDLySqpnnJjJ6jrftvOh
LVdal8I0Vbd6FH03znPRpT5BQf5a2jtrgkYz4oGteSI+dhnO5soI0o36jK+cP8IsfkDpv8x6fEzn
G6HZDQempFM+tM/yOB37huYWPRn8OFkuVWV4sq7rXB2i90wFINDCmkSmR5A5vNil7lttckZsGLam
8C0nDSyNbrbVuVeAdRV94MWhrJc3HBdvDFK0rNCAdec5rfxpAfy4mWqFeckNlg0XJekyd3Cmw6iP
z5ztgDrtFm94xYynUsg1dadYlj6hPHqqEzR/NhF0OHk4chgvEgy0zDrdob+SgA8aEmEhfzHuq+WH
sshvrdNtFpgAYU+ll8FedrO4ZnLxK4kVUo1G4wAuC5gU/ziQu0M9ulMVe2tiAebZgcX4LE36JipX
v20kQo+is4XK2aNyMmT6OXaiv7QrKxDpE649UP5OzLTVSH4LMd1UI0y7xvq0hBKqEpbpxzhez52i
vRAEv61L50C2VaBUzQeZX+/UiQRFV5x5g746OweQr/DRSIbj2lYeRkt0V8zSUzx0+yXh5EmXoQuo
KjtPaeOOUDxtZ3/Mkrox03Rn5qxrlvKY2NKzpsdMJfE9v9VWSkcvKVQXE4DX69VmwkduZMOvoloD
aTGPE+A21zQXW3FFEamBmcT7tGm9XtBmPyWhXUXu6GRtYBSF3zrV2TGakBq8cMikh7nhfumz+EAj
H+RL73MahmJBhiCP2B34ESUA/the1Nb0ueGyM62WtVewUye18NV82KqT8An9al2DeYJM+9NSyd9a
bDNsQ3RX3Seu4nMpcQjzAixK67ew63Ce/mSXTwtLay4orusJs7QIjjZjekk0pIA4LF0dAlmrlSe8
zuSmEejm0jBwyNZe9hOatd0m0s/IRDfFyPEjsaAVN+sIOp9+rVxMYp4po/0po3d+q+dqLtF7wEqu
1hHk57EYuh0o8nXpUy+3lsvcIgIsgKnbKElBb5BgtOVwHJEpOKtzR4n0W67kfhp3AXXShD1F32MR
U+ddL17Wdjs5L06rYG9t0DQtdwt9gfTiebRm7uLJOdjlGOTyBHEC6mBzOJeLeshXijt4JWhoU+3j
Ss61WVt3U9MdzK48ptotrxZVYtF96lnxZN806WPbVzdjFkqTG3VFe7W+lr6O1TaFJSICi9tqRp6S
xHf9bH/IZRUiYvIUbbrj/thMfesLpB0SuwqnPaoqEnHdRVwiEABhn3qpugphB/Fi8fLa22awA7VQ
aACLlRe74GSPMilYMNWabLeZbT4x1geTVp6s7hqJ8rGps5jnonphir/JpRA+1VxtA5PsGhvThggS
FE6jcE2APpVMeai0iyOax1iuWtdMek+ZoQgj566duPfG2fCGhDtI2PQg6Rn7q3OJqEoxrbCOUqQ3
LeaJmohKXd10y/I4oYkhsjvxYkeeCvboDMrMMeNhZ8ssn7KBQb8I5Sm/DHzXaSxvS7P1oh5AiGaW
FZ1/jFxE4z/C9pRE2Ruz/Z46yp02Sj5ixv04oheMxiDrCwr61PQlR8jWZGKL5sifx/iq12Sbq8Zn
25oX2UFAOEhMuEO7baATUlSDs/Zmq9gbS6L7UTCTOJJaZzHDfWRT73caYTlNdOFCCdui46CQ3XlO
d41Bh/dkhy3ADBexP1f0jMjzk6VM0NFN/wmzFeqi53htX9ZJTb0YqstgZBBi8Zw48wD/yA6L9kuX
+a2QXvVMfwCFCi2SbSKnCB3GSHxeHunqrhElbwlDY2RlqMPGmiIh1HYlk7Aj2iNEDVrZ8VfZobYb
s+W62ClN7rkf6/Vjwfrnik4/ZFOHFGY6OW3tyV13KYbyfp0pCFHSUMy2wnlLoyjNWICNj7gm3g1l
/rRjqBAB0CL3JWrh9FEx2nM7JwUKTvrrU80i5V2Pz04jXbPF+JnRjXmNVM2ooZZzS3g6yyovzmRW
O3k0D3WjhyK1DlWvfFEoOHj5TSN7E5NGIg4LwprBNhiJkHIV0DjQrpQUDXSTy80dtomXSh2CvK32
XdbvUv4ZpO0J/9p5TOTNoBguEMNXlmohN6lHFJ4nL9l2ShHSWU7TudMCTVvZxcEZ7asa3fS3jD9i
2E/60LuaJh6omnuzMgEXae6A6PYK80hjj++V1I5QJhIwluq8tIZ+rRKsE30EIj0esLUADowfqm7y
g5TYNSTe53hABDjxUs+j7pc1zwWo6CfulYm8owIqIMtJYqyZCeyWv9NtFRknnBdKRdd2tDVBdPnU
j5A8n8IEWrdI5nFHhTkaTX7nSGjAtMcShNQz6JBM7eRQafM1G0GbCiLWe/U4NuKYSRnLh4HBCdb+
NDd25KnFTAOrIj12Q/42Gg40THzoVcABEO17PMgoALs7u4892RjvCCxgq+x5QSJEFkkcQWELz67o
3JpnoCAddeTG6kZ5m9xUfUOCk6dHG7mibup7VIat2iabfo4ftMlmVxBJ5zcE6mPY05cwaoywQ4+K
eAZFPl278NdLUkwutU2lp7T6IdFRfLdzDx/NQc+YuHc6R3hGX7NNovIwRP21ZvIPuTimg1AD+R6/
h/VoFOoDI9Ax1vOf3FnP1DTjly0Dpxcs3PpPVvOKc0pcqOB6SSkn9vAogQ0tTdCimtNFdVDVbtiI
lHYXp/tOsNK4VUF2ox0bMSEjlYee0I/5aPxvlifzln9rD9VRzNXTkptEzYBmD+CrXF+9iQl2uA32
d5U6XQykRU1txtBo016PzSJsVOvgJAsYpH2CJvakUmIK5bstG6AIXRO5p5GFNg2oitdhoBMwOnRc
M9BCZ5WTLBqJpVv7+agl1UbNo7MSye95rFc+eqpw7sfnWdzaIJx3AluDqdf2okiZKlckIW1t+sVI
fbLGO5KREiUq81wr6+x1ab01GwWRfRrd5GJIXbvKOcSS1aIhgP1K18mFVwoTq3nFJf9sdfCXRa3e
Z4y5RZM/6VPmC2wh/CV3Vam5q70+VKOh+41ZyhtcY5glSGFXoXdqXUL0tHgSEcI3X1AoFdPtW9cQ
JuuvjYDQnpyHTB11r01AGpPyU+MaR2kVpCxKuV14jqX8SsrpNCrTJjOze8G/Be9vSF3KhqCqx0nJ
voek2xlxe4ry5WJF/cVMKpYQ4455EJJf5bJVTCbjOBjz8asRy081pGE/5edqye6nFkG9bjUvFnxZ
oYCpEaHoU8HFgmqeEhiaEZH0MC2P+FU2VT8RNxXLblzzuiaZ/NmZ9UlOyzvISn9Y8jstLvi2aPob
mhAyFBBOPqyZ9ZLbdLgQhL0t9fhwW4KiRbt0iPjbTn5THeqt7OnNEvqTye1gr9OpbowPpZMeI1A7
ebB/IvRf11WHZi3iX7MidisgYyG6M+2gwSivrSvbY0rkV4bAbzF0II+Gy6x6cER3xI007UqZBwTd
luqm9fg03QJ7VR1cP+coqGvE6TS0VX35HfNxgmEa9nWVhFLUHMzePOe2dJRQ5mSthATCaHdqXL+1
iwNxveZbQ1fvRGxNqBPgL6nmhsSUxcfAx5QLFHxmWdP/QAmj09g/ZSG2kCMfvTxfE7v8kNZpZdXM
6TAiB2OnZUx8asfZv7ZJUK45YqpBf6XKYnIHyTL9ke01KZKNLsc/ci4f57z4pt0g8ptWe6roanMk
SK5MVq6k0LG+dAXMAnUkvUC00SCONNZPdtanSq8fErlWfamfrpEmfS2L/lyMM8NQboQD5OSy9D99
DTI/yvpLo6VBARxkdvVW0jrDzav2MaqQwi/DQ0lUmIuJh7aqdggwNeeYqnTKTnAeuzxJv0QpLpWj
vcZWJW/lHAIp6dZXUnvPbTSFU0YfZSkFxZx/YkPhy5OGbFPL5bddOY/5KLNrRKkv+vUUaV24yuR4
Gp2fJsrTKIpf+MaQDES7Uoxis2ZGIFDsPFBGjscMeQ50TrvpbEfsSsyxQTMTaARkYahVFaQzM3bU
0bo+YJCYbFvy0YGAoFgtWpPUxgBR63tVH+7TRPMVuhoxCikExxQcX93POk1hKywVKfcCfyHY9yRA
uHXfJChnCACFx9N1rsYo4RO0SD47Y6sXliu3mm8s3cNqxS+9nfVek3MQd6MI1VpspMbheNUQu3YV
/8ppm3LPAz8+k6rWhtSlc2/a65b/z7y16SIITfxKrB/5DzkaFYGfKboT9JrNTK+u3AyvfX+rt7kd
vFm3z8Y8mGJjm4j1NKAzj1QovToB31qQ+VKDjdJf/iJUzl3k+lxCeEydeNEb5syx4C8VzdV+ivIT
AQght3/ul6huCL4K4qr9zm7CH2vaWBS5lI3WsOVwXXOsWTbkghk1dLEUfX5Awflq1PaZprMvUlds
5mZrXzbR7Kux0x7QvQapzNaW4BNIa+sGuCnc56Z6UMrphdbgqzpoxOaN93kuKPEpzmZJT7M8A/4V
D1Y5e0UMPJ6mPnHeA8IEptcMzoNABBg5hQm10ZBn4uRMZRQ6hBS+6DThtKV2pBuSUmxzBwq3URFg
QvjauzxJ7q1YbTbUevQPyC3UI92mHF+cPDXPPO/76FMCcpTrfMum3G8qs2YSNKk3Jm9w8Jd2OOUZ
qN9gZTOh4bZXqex8Q7St2dOgz7NDgfSGCpP2S1bVvalbASlV21bNjFvd2LZTEBWkidgjeHM26Sxc
WUxPstneWTzFrp5Cfspp/IuCaH8hSl+/HWzgHu8O4J86qI9xIthsrara4jecXCMbKzS7+Ye9JFdb
tk3wLJSuo75eIme6rxvpoi8gPtJqcuw5B0tuanSDU1CR8ujO6XouLP0EaEU3l+4lunyJY+Vgy4AW
BAkiB1pbL1bnlrJKnZWtZ8RpzbMzT+7MojXnyaXGRNDl0MSo4vWx2tZoOee0eqoKySX9bpvKXagU
8wEvx0s/wImRDnSw1PmGa29bCcOL0Z37MSJAoOMrEaFI8mtl2vhVUAt5SdzjOlqx2GjqJUU7wMOd
P5srXNA6GS96h7wY+8C1XpgBVQVnA21En9QiZ55mUoauJUywXZ9sWmX2tYEFUaRPvVIPXmTKD8Js
bt8cwqql4B3twqwFrBbtAE+uZwQixh+WWe+UpSD7E+o3T0amI0xegxZYsJgCiSjhYvfE1sR+kcfP
LIyXymqOeKYZFBPpKIziB96h8OYVU2eDY0FwyZKpbk124tutfjOJVlvKC7zSFve2ow17LYcy5GTa
cH+GjZI+NEOPyJQYzR0CDd5duU42+AIk0Bxo9ihRt3nEL8HIxqOXULVFNOORv+XO6JSQOJpHe5iH
oEQEQpL/nkgs1iL1iIzlS5f7V20BAlcbjDp5L79qRcTn5LDVGEujMn2kNXbxFgQ4ua6ElsEmS/rT
poQiXQUruqa/myg6U7m/M0WtuqLs9mggQhHfML1puHXGdr/qW5RnFK2bWUE0G8tx45I3Nrjou0jv
AD/pxHiqWmlmIVCBdrCXcvLOCKhWLfWpAquuWd186w13VgoB6FVJbHpxvizhNDBpmrp4M7h+3QE2
ZlQs9MKOxNHQXUrekjrmMgf0fBW69VARjMVe9LoOTAST7eXqeI1v5tkuHs4YSUdfnspAyfMQrf2p
YXHDTQrdl/XPVWXjEhL7KJqftdHa5MDvFuUTrMTFm5VIF4nKOoEkzlTnozGnv8YqPQ7Lso2wtqK7
Py3JLSXHNvaxfPt70KmEdWrdqHH5TidmKJfSsYbUCBNGASR64klG9+21XaW5hsg+jUzZthUu2WR5
zWbhj44QQZ/Jrdsm2TNt6KdKRsio57PtSuVNkGd9UAv3FcU1grJx+TZm7YXR7z1Wl9o1p/QkOrFN
M+VBkFqKYHj6gu4asfrNP/KsYSPTn1qLaXrCsgRS2JxavDWY6A6LSDA4SLhtrQ7bl9yxqJS3Bzaa
zr0qgkgoL4PIT4PchHEvLk1ez162yBm6VClCQsLaEjW66jmKjlqn3bTGgiZKfMgI/0roIYPLO2ir
6JqpPCGpQv+JbhFKp06oeSjefSoa7ZGIm9dMlUNg5HDm0ynFTUmXNJHH7IH7Y1WeE/qaXRUfJZRS
qE/FEQIJ9pKEEr+/yafSqr0gLAHEuBVUKhdhZMe+lDu/R9QJ9H9QIvVevtW2jT1ZPHlt7p0qf5z0
kRFrae7pwwnTyDqv5RQmJSq0joyjqoczMkhUHXL7DrfRPhEzWJUVH5I2C01Fe5+J5w/Iy7/kKKWR
nwJQOFNxZzffSQ2JJqLqTUswOHeIgll5jczxOmMF6Mi/Hb0qfbmW7yN81V4+6lxQNRqRHs7XuSlX
qN3zu4hJ0+wBz/URJDe7auw90FfIqezc2QL97JfJeVyq6kU1YSgjGnx0ZC0y1wwVRRAdMpxO17x2
TMeJou6NXnJnWb+aaxUSQn+QCt48oXwuenlYnSIodO1d681trStfi1U+z6n800aqW1Xi3Ge0xZXr
a2WPV56vB4mrw6BBjlJvECEpWLEz5M547Xsu21VKzvOo/Gong++03yoqfHYVvSUG3Lsir9cOvQ35
apRdp5wFbOtsGAdUbmijZTjqcQsJsCe0GBbbcUCUkdKtDcQMAS6E7gt8325fOr7UKb80EZ8iSNp5
+hw57tW6ODFKPll2eZVSjXeur2HMnIdxkC4DjgRT1zy2Q0ApgEljHV8jIugZ/7dwdf7sWNfY/Hbq
8iJIa1BGUKiVv77G+EfkD4U4k3ipVeXasafQ+XEo5+o9jYeTigsbs2aP3hL+qgeOsS3d8OISV203
vGdWFSSV+RilIoR6P4HZxLcz8NREy4PWao+tU7cUS7VXaVkemNEJ3GtbvuzUAvfAZqqbzVWz1GtV
TJ82fKOsZ5coUjb2UMJJW7iVinUovAkJNaml17jrj9pgXXhWjnGjhLFqpgc7EsQNpNO4aefyqeQ2
sPIm1NQ+QD/grRbpikn7Fa0d33g0PZj6wOwSd18lyljNFiehCqx+kJG20tC7hxa9EWcT2VgwcS4x
CAMcoPVSmvlYJL1vRjwppQ2QkVBDZzjvVAp6Uqfeazq9rfaM/V6HLU5MZD3ms6JQW1gXzknIserG
FO8kA74dMhw+hjHfEtwC7Eu29FrAdKn5xR65AWIax+IIcWeZHrFceJWzoJvAPZKiyKhX+0NI9Z6C
0dbtmexbMQeOMnyODRgRnkpSGuIhLOPkYtn9peYwMJf6J8ZTxRM24DpVpqM5ikeNj68jvRoUrKCD
drBHlbJPUKrYzPGDtlts7TgaJU6klmpuLPpVfaQ2E1ui+m4MxibR4hPW6EBjInYnLAx2dkumKLBh
DR2DbFZ99jd4g2uJKvNkO+ckX8TOqzOltIxIl4KMFax/pAWmcOjQPtFyRk/1CvV5kK1pP5BFOd6E
QZTQZe0YxLB+RYG+VZ7hkDONdCf9V6tUG3nUQ0DHqwHvJ3eK4xnT7Q+Q52RzZ3uiJ/1MJNs8izDs
GZdO4XInaTjQHNLerFnfSIlxnxfjC6a9F4ziu0RXGsJNpjMOpK1SWn5rzlv2vjBXMapznz+3RuSJ
lue3LMBFHZdn+FVupe+ROIykTwKey5XwFoHbiiQa+NldG2EuLuV7tcHq0czA9QuPzVLuFzBoBjjf
GkBd6T8OnbLZ8YPfnLnAftEup5ver5XFNnO+Mmv5seQUai0+9briFRI2Wms9zKr8Opf6Pi1tNEna
NhLL41Cj2E3mQ5axzTU52W2T8WEqfG8rn9yq6K4sZBvpxcSM1Yzq3sErptKuSX8WnuLZRpDd28jP
7ImPLw1HodkPI2PcapdnmU8dQwXrIr3UhskZJXGOO94yieC/VYC9vHgNlKml1ndLpbLmsrB2vfAj
mGKtS85NNr7kkXU3avHDkGuhBB+klPVuFQMi8poTp/xa4B/rOg+L2bqmNMMu68R+LJVfpAwYL7zR
yXO0Yj1X5yebodWN+0LxBnO+ti2PqgVNYztNQKJPEGdQrGnDq8dIzZNbCcQJ8itLIQEI8vlmRCCp
ZBd3MjJF1TccbOBmglFdnjhBc99snTdy2h6zJYap4l6T25y/fNS7TIfnOn0lz3GbKYpPKwT2nfVa
SWs4N8vHIpadc/MaY7NH0TDg2q7Gl5RiQRsldVfpr/+eYPVHBo5NAjGJWbKhmIZsyrJz++e/Pu7T
Ku7/3/9R/m9M3Z7RVXKxl24nhkqaaDBVbftAMhhvmi3MU1FLw1/SrP7HH6rbpiqT4m2pf1ZDOHUP
cQd9tncIcPBWpSZowSgGpNw9xgM6Caj47aW/hIP9kSlrE9BFMhgmAvooHOKR/ggHi1EgyMXUTVui
5udH28ZjUs3WTVvXkbuRxWV7wSQ/wa7Itos2xbn8+19a+SMs7P9/AH5fWVFurSh//taF0WVOLGfO
Ls2XOjmRnYHOpuyKosQTN/UW7RxS+0BwFei+1XGqefGst/quhJxDGsUD/RDbM9dUJ1UHOeqhTv79
E/4Rg3f7gLgbNZ3SaNWyqLP4/VnQrKosjFpatz2Fat8La/1LKnXFS7mkf8tAVf/xCPCzbvl+tnkL
QCV18Pef1QmaHod0yvd2G1ksPeYsHZSUSAE3HnVro9MuvsmpgzyXk5kwJBHDpT4ZTcxxo+JI3fXL
mgLwOGR9SGXrETA7d0hLaP5057xWt46TCXIqyqze6KYyeHpiN59KOZNVkxpFjra9tTb12vdPyjya
xxKXYfeXmKf/6c9p0zVjO9TCWvQ5/f4rsmPMyPOtcdtoicOwmlj4FxRJRRYk8fCbf/n2TP51v0VK
8Rf9jx/3Z1N7OViLVujtuuWQ0jWQZ61/sWududSo17eZmtK/BQXfnofffyLBVWAEuqxA7vA7/v4L
MrzjFri5u0f5VsFQm80uNsvK47spvFJAKy7jgC7UWImK+fdH9Z8vM7ZJOkKJ37NkooP/iCBlTOy0
Im3yvYpCcfSB01YtMPWKGyRH53KNW3t8sClpftEifbqbY27nf/8E/3iAyWW2qIwyuAIVi9rS3395
dY17a43nDGqhzl+Y3dJj58xG4w59sypnMkQgaQs9TYfgf/mDCauFr6Fax6QgzZDV339wOcgk1PdR
vu/kxPErmw7tOIH+GFYdacbcfVcK+f3//jP/cXQRxMyZYBr8wrKm//kziymzh7RgGekkjTSLpV/4
EZPUjP+7mMpbbrui3K4Fh9eGQMXb5/iP22hFrskArK9bC2yFYISpvuWYSXdcXUg0yb/723P0z0P5
9hM5hCyFc4hQ1z8yKs2RZ2xCjE6YFHO1KYEJKbEpAjGsXAoq8sF5qbPBzeOm2UgG1qlFTsUXYC80
hgGPJ4PPu5Al6l9CQv/5J6cWk0w6zSQmWeUp+/1PkWRLmRq4rPdKQioIcGqtFNAv8/y3ArR/HFMO
3bemSjGJSqAhtam//6BctTtNyzNrGyFD8aamWmh9rwHMmnn6y6P7j7eWbGnNogULtJTX1/7j69XX
bFCayUj3vTNkyF3NMKpmf211TK91HdpLZ5zwOem71oC/+fdH+J/v660CS2PWIXr7lm/9+6/pYAzi
sGoJ3S4t2k15ewMniuOXfAFw4KKBzVKRSPz7D9Vv39JvR+QtTVsmRN5k6rDNP7PUMzz5dm2CVGaY
IHN30hoK7IwoVQ+zEYPYLY5tXDRlZnsjbHN4W4x4fImiPnsaLIh3vNtz+hLnaIncJL1RMKJO2dwr
ScJoQ5wi6xfApH2/RPl8r9xW46zAdusqpY2UKCU2l8vGYMiZIB26JH3vSSy4U2rCL9y2nYo3whHp
E2hF55zJUzL3c6NUsR/nMWb9mfYIH2eUJPkkXZv/xdl5LMeNbFv0ixCRmfDT8lWkRIpGojRByLTg
vcfXvwXeCQtkVIVej25H9CUKQCLNOXuvjQ+8QD1msrKoNSdxdvia71zZpX0wGqGPs0GCmcjM/koC
fTMD0B1Py87RnUPdKTEHsuGWTND15V3xj0ERTDa8G1tZuumw72EPfD4iSjSooWq98RA2DvI6sH5l
Q1djdFCwW/2E+sGbUJhcHhEf3t+8brD5cZWtL+YbEE4SWlKXUDb1cPjDKIz8tQVRb+2Cg7uSuPFu
SzCnklnSkgYfnKVeR+ebh2nRdAsrX81bAgwEdBmm7pNeO8UXt7Gp1cWGAdXi8v19MKGSMmexFbF1
FgxXLW7QxMWYphm4vjDSetB8YzULNNx+0mjuJ6n3ucGu4W/YpIzo/Bn4zj02t6R/GDlKip3ZivjR
HNJIoHq3tW5H+6Tovlz+kYuNCwsoIQCcedjqspbJ13t481w6CSwh5dkcAz9LvxKkYKxTmTnrYuxL
5nKtXWcM+G1R9frx8pUXr/9/V563SkwKrDdLQjEBWU0ASng8VBhYoLPqdJC7yNl5dRVd4esvJrx3
l1q8CBLo0jHXicWKlFlypLeCKqC+iYcm1wdEUXHgUZhIZSM2l+9RLobdfGVrzpwShjCViWHm/MOy
6TXJXEjvGLd6uU8nu9gREGojZ0XcAaOjQlVRg0KTMqBXSzsxEmkOR78LNpagaIEOjCAADeRbjJ/U
I4rj33bm8w/U53RZDjkuK/9yybNFNLFql/7Rk4LAMlM4N1FbYYv1B+fKJ/jBCydWwVTziQoStjm/
pTdDbRLoJCo3SiHxj1A6hQ2hZR2qNMT3m1Fnu/zo311tPrw5DgNr3iJimTi/mi2nVtPIdDy6o8CG
0ivP2waRh8w05v3nV7Ls310Neu0cqc3OyXaI9VncW0YZnwOpZx+CVNIFo/5H6w8BGVKIvNNwHl2+
ucWOaH5rkDVMzlOCFVyYi2FFHkOKOW/KTlNhIJ0RnUOjXDYxec+XL/TBl0MxxCTOzBC2zlx2/hSx
edOKjfOIMIO21Da15tIWlX3hn0ohSByOYjQoaeZQxrx84Q/mJZMzMS7w189mWYxxSbITmaIuUlYW
yO3MrvcAUIcNTzqBGomARUwAdfuuK7aXr/zBqzQZoBJd/XwsX86IeQMrz0aIfxrQM9ImiSbtN1Zo
c+Mn5X+XLzXPO2+2RPNrfHup5exQeSrQdUdqBD8G9mNXlLSiUve2t2pzbyJcXEkHmdyIgwUvXVZf
+R4/erdvblSp83dbSJd9vt74R35jkWI+SwGT+aWw7uBYm8HRVgzmTVyEenFlWvxg+Fr4UuYjKxMK
I/n8ykE41pZlNsGJ2BD4dTEQ125X5YWvX7nFaxdafJaDDjBYjZZ+1GBItJu6tk0EdwBd8/3lN/nR
hRQ7W0MhN6fGsZht6F/ANjTN6GS2fBxbqwox8I6gL7wr38X7YApWlLdXmofvm1mUqmSXum4anKoO
OmU6KxJwzpOK1/XWYQyrft0lFVoRV8K+QaWyVYMr/n3TQFOMXZRBPQcl3rzqvf0NmcHuQKXOoRNZ
Nh6GzEDd7VqTAnpKC+RYJYjaV3HbW/06h6tZXvlEX+OQFh8OP4CLCxf7GhuI8x9Ae6AivqJ1D2DN
MtRoSQTRLhhBBdkERFU4fSekXUPo6F/rQSvvSfcjLUYpsEP7DsTbX+y98T38utLYhIb0s0PWp5Td
FXA9efCN/tqIf59iM28EmKlZjywKr8sdNkw3BbJNJMdJqrZeczzRwpOJTh1pTd3+pDWnqhN6QdU+
lOnkPLvlBE+lAdDi0jkvjCezKPG2xBFOgPXIMQpE3BQV9j9vB2wS+CTxyHIuZi1TJcHFWmZsxOhy
Ey/ZSm8Mn5BTRutBa60rl3o/w/OxgTcQap7nCYU7f4c1ap/BYFo75k46+bu+7OPiMO8KI/yHHFvX
9KXsl9wP8KBKKP3q6+VP9v30x+tg/kOoS/Ijx57z64MgzCqnrsYjibDJVhTdYysFlEmiW/cu3ejT
qIwr09F8S+fD1qZQNodyUMpwUVieX5ISdqNHBrjuAOsO0pu6+ss8OH7T9Kx/uXx3869fXopjnYLB
LckifS06v/lEJxGnCsMKNRMCbntAR1H2TIOl+dMGQ3c7DSF8tMtX/ODmiByiEufqHCM4bJ3fnONM
CLFC2lDDaNLM8dAEgorwEe/SsL98qfezrW2/ubllAQNvTeiPpAEca7oyf4CyIiLoMSdemWY+uCOy
GdkTu0SNzAXW8zuyK49wAgMltN1ocI4TFOp20zUQL3zjnw9DDAydhKu52sf/WGzoCOuwnHogRwB3
YvlZmn310NHO22LFvralU/PPXg4N6k6MQWpqc63r/LZKv2j0EhrnySuDodp4hZ59rUgfYks+ZDqW
rZi8YnqbqfB+0eG+H/sKMSFIs0dj0FL0c0XYzyQTv3wMI+BbuCtoc6aGSuOTWZnx1yZxxROpbr6L
Jqz2dj5/5XdBUUFHxDV410ppy3M22yge3psbmmeaN2PdjY0qqZQ7HH07NI5aG0c0OuY8D71I79ES
5uj8CyLM2lCjhRwHefq1QZZ9PzWF9ddsBrh6LtoZ9JRQqq9kOL3f4jFSdRIsTfY7FDkWOxDLloE1
JmMynzTHl6bMw/sAh8NKZWgZy3KqPpkaYpw6ssiiRlb96/KXwpXev22OWsKmlESzj3T284ejVA8n
qnG1o9FgtiN+M2yf3QIMfJCV/UrktsD9h9IhwyhCaoDI4Ghqqf27KFp63bEXpM6Krpf6FkcAG/Cq
kE3t1K6zj6v0d6L1/4kwAshRK63GoxX/0uE4/vRzOW5xN88hnZyvoau033UvonmVZOMzNYfsU0rk
wtFM4FRJol8icHDwaTjp9DcANayjDCG7ZJ6N0wy/q51ZFiJDG7F42saboeprbPzu7ApQDLI0lysk
EH9b7AUnXWoxKu4sBQxskFr3Jc+gKapOv+3tARE6pI+d5TFsiQ3HBWkQjFRjE4XNL51s69ie2iW6
DgxK9wIgbZlw1jYW3y2WlXxX4kFeY+S2yXrAXJkFoj/WAXiJOpraTRTXKBKSqPlcSoSFPOVsrYv4
d2ZBU3XbhKMSqowbPUUHXArtr62BX4kDfbqjH66htFQSkQ7W/RZTHCqIbvriRmC/oQRm+5ye/T6f
rBBBLEzstofBnKZReYOgdth5iUYKkoOvpShVvSkH9dfPvGHnTMyN+JsGiEmWQ120SG76xCy3BVGi
6zwNoCbxpe6ieCJA1XKBS085hDU5uLB48w6WG/16Fx94HGzcdIBa6XswVUnvhq3Z+c3tQNzuFleu
vdEmAfKNyXKDWl7uogr+BmtqufLSgDUPGhaiFRSSMoFQj5ICTyeck2NhSfzaFcitBCraXozF8NwP
Tfhg5c144tHHD2NZhJ85pDZYlKG6UTY0cJCk8VcP5/radWAdh3xHGB9gWZphCZcqxgsTCdQiZSi0
XW3l2tYm/WEVJExuBqd1mHsj9kf26PtcGtptFU7iHoGhSbEglLSdC3kvYt/dgLGh52w3DZGnafyQ
YIpF8YD0wQXQDpVihiulQsaYSYcarXaUtLxCphwX7IQaNmmFGl3vOkRQhvN9clDeE0Ki30/xCI2J
0jeSa3dKX9LSKmDY56gtBN1dbqsPjhltgk0Ji82mLmeZh7hT5X0o8LsQlq791MCaALgNu1eaS2CC
XUIBLTe1ECMsk6Z5Tu3UXcsJUnuoAcrUs2p46DQp9wFmsGM5je7nVEf4bJoJmj3cauvA9sOjItRq
Y8Z9ugkR0K1tZq8bLYa4oxvQ9gO+qfUoAIz5ficPWkGPosbj8eLD+uAbUhWq9zL5UcYVxM/ILb6N
vh0fkzA2dpmmyPbE7pWvbNr5d03F/5mCCQDbxkt2ZizCXUxN1F7bFNVw8OLHsLkgYigY33B8M4WN
t5oiJFu24WWboaAvvq7SrANA1Lfw7R0BXsqGkiorgHDZJNpN44Q6L9v3nk1Q8xt7RDWKUKcX9Cur
4hNyaPuYxcJ4qlAYHXRaIc+E43wPRUiPGtx39GKXLTL+AonvS1ALdH1pmt7UDXzIoW9sd5VHcMtI
f0IllDpQpXwXWsMg0m1FW33dTzUfkZlMP802tn/Wkzv8jURdIFRO+v3kNcE2JjBylXYC5Ksq+luX
Cf1rBjRyB+BUzDLHdDNQaN70WvdUcmQGowsEAweHkrAfEHZxvsEEFpf5KU3VSy9hA01gQVGAwYmu
Mjg2ut53e2TLmKRjuIsTVD0TPVgu/tgWJh+pwJenmtC/kb30h+0PbWsqWXhjXe1Hz6Fhr0jT2bt9
EJMUpk0ksABmMp2IwrWmxAaKh7Hj+InMEYjFWvMBM+gB9ntKDcW215T6Lyo7E2seWsqdU5EWQF6a
ONZRRRwKDT26jkBdZNVQ2skbgkgnkP97FZroFwYw7lXW/vANwn6DpAVIVXs/xtbVd700shPjPsc3
XXr44pMapS45iblDj2nUNW4NZd/aI5NnL0rh3GcGSkVax/ZWw118qJJmutPyHpJCoXnbsAX7McNU
IboXU/ISB3jDLy/Mr7Hmi13Ym3VZLitr0o+1pLRcgNNW67ezJC1Af5OakMSKPk5+JbGGeNth50k/
BjRocNRo+looGcuS7yX3u3Vte+j+PWf6ZPnS/pUFPTwh8CQtkN3enyaSDFExbXqrAZ4E0HfO+g0w
YGFztiCI+qYdnxJNT3tW9Qh/u2iB62NVFdnGK8d0wiCEDQJbZGGAKKlmUVirTcat3xcYO+wuNO9F
w6xOX1hMj03Pl7oWUTKLunHBVltrQF6y6p22vPVTzf+byLh9SYogu2vHJrQ3Zu3Cwkgj1T95ArbQ
2opHZGGaK7t8BxY1sndDHBUP8KurO+roVrbpxCAdmDh9QacusvJvjhiavwGV9Ob58guS8zb43Qua
i6xoxwVd58V5xqf9CK8Yf9E06HG2s1Ha3fP4iEBQaGyxRcYxochlqk34LSZNx63kur8SkuSSbVtr
IwurGlJnfflnfXD0ceazo+AcKckEXxRkE1zwbemS8RrkUflsZwbwKlIGo2ub6sXp3EHcQCoUtQpa
ZYbFSeF829j1XZ2PUZScoqYdvtsipXwyjTjYqnq0vw+RLO8mQEqbuHSHK92axbFrvrQi88hwddom
NOwWW2ZRh6HdJ5VziIxO3iW0V06Olo1f8CfaVy61OCW/Xsrl7UrlOhJyz+LYVfD6nTgAze3HHdCq
qbTgRdku+kruv/9tkD7/3+X3pz64O32+GhIlyiscwBYPNixqKp16esqpjw6r3EjtCXtM45C9bHrN
dOuP5RhtclV2PzK2i+GMJvE+sVsG6GCnJcSx0rCyv0XOJnrsWggwWgiIh22KhItUExqObow8BN0y
SHHC12Z9Lvza+InbFWm9YjvwF/mD86DsyLmm65uf15tvZn6eus4hByGQoh2yLOwCSk6ryfCIlDQN
UWx6qipkWrhJ/zWp9BlSkoTmSyOz8UFWAaE26EkAcVnsUeT28nP+YPwqmsr8BPqughrl+WNuAqOu
jHgMTnUW4uFo7XFbw8t9rOELHpyOLY3XB78KPuf95QsvPtD/DSlHIcNhOBkMrPMLE6GlGaWSMcZv
X/2XDWFAx0/3r5zrPhi4c8fWRcFJfQIR5/lVOKdGTkQB8FhoOlEFbaNglJWkMWkdNifkBOrKl7Ks
Gry+WnQqvFwpKCnZi6pB2zZR50hfO4p0EF9lORor09DaQxMMw/cgG5HEi7pu821oWsUvVNX5qZ6G
OZAgr1sYEol3H0fOHC2XWMGfES0dcgzNyxSpKi0CVI9Gd7HRoZOJdVzgVw68kJanxBpebNQ0wV+7
/KIWJ/P/3ZBO5Y9iLOnDYvEIQYVYcZyU6Ym6i/8onNC7HxLsshg0ifsKAruFIuCqI/YHy1/buFKz
K0Plo6nApPapOJnTplx2mjy9Qxkvi+zkhJW6ycwO82nCwclx2FNfvtlFFeD1Zk2DqZK5jpqV827Z
QGhRx5p2yPxUR9Mf4jN20/Y7T559hFVU+zgu/OfLF/3w/tAZUVGmYEsT8XyQ4hoQZmmE8Sm3B8iN
Y9iazyrTyBaCL4J56/LV1EffBD0Jk4B72oYoL84vF/Ul9Kew0Q4DQsds20VFW+xqozG/oRpjtA2d
7PydQU3yt5uEkOigMsvp2RDYlLe97tMmqOyNhTXcobCYdACt/XDAclM7U4kbzZTOKZAu8iiLU1q/
HogAmbb6iMVh1QZm/zfpJeGQWEyNX8DtLGc3VF1ybWH+6KFSABHKNZlgkAcu7tIdGTcJnDDNzACT
jRr7xczWAKRN07+Pz3kCs5B0IjIUxuKTx2TbVqIp6bIkTgfbGIyFAaRTwOjB7+/1u8sv8IM7M8HW
UMKaO2j0d87vrMtsUt+qyj9ZYw/5REZIMoL2m5b6w9O/X8kwFN1l/kFPOH8tbwqGdWJVkM1lckIs
e0qZXu91wEs4RL3g2+UrLdt184dHj5fFEHkAArJlp0rVpDV6vSCKLShCkACWk0Eo4RDZrgaSaMnX
TRPnBc9WiBfRRo7+YBV2YNP/gZSz/bcfQ6HUQstO4vfsbqC0vbhv2VsW8BnCTXJ3Gj9FNaEdjR+U
N55b4/eSjlZ+inWYhvC8xTaAuHQyFJqsK79ifo9vNgn/+xUUPg30EiRZL3+F7rTE1g8kAmhUuYgf
0KKRkGdpkaEnQK+GlCKle2eExQDgVZnak92WAHo8+jF3nDwFNpq44vTfGaq50qBZTCE2SRSQ4LBG
zD1FftpiCqnBa8SmZk7Hht74Pg2JCTADXZ0Sz33RHFVdeRTLKev1Ucz6Dbaec9vNWnzMWRvG+WRb
NFJ732iAiOEmtqpYArAc4Cwc8kHGD4LqtnMT5tDh8HKP7cA2EE7HlgA6l1moG3e11/JUQsu2f+ht
xtREBYLgPrfsBIkOxIUDmc5TQRxNF/naKjf1CiZd3bKzzieS79ZjGrVPOf3QJyfgUHblw16stK93
qdBLs600oTMshX5slKxmqOPoGKjerk/SGgyC4rLE+0OidEH9iqjRfGtkQ47PrupyMGd6pq7pm9+9
Wwb/m1+xVACmY2LHBM0lhxRjJPGVVm5+89omk5+Uw4HjUFsNTuTLY30xpf3vzrEVEQ3APEML6Xyi
mTgnQSgiWSHqRYbtLSO/IsahzhDUfl2+1Ee3h7HCsiz0hs47vRMXGH2TkPcj3LKOlYcsLRU74Uvv
IaitWXCvTSaLje7rvdHUsA0kqIo5dDGZeH6J2gC86KnnLa6sGjDZIAvjhmqsuZYZODk9yp7YdLco
/GALN4ROrBw4oJQfgNAYxDx4qHnsK4/8A8ndvGDNLVZp67pUi62OEUY1C3sQH9HzhY8aaMB1NWLv
LUeK83As9E1skjWpSWq33UToYGokjwMz76ZN1bhG3Y5aOB/wtNMYWmuRafyzVmxuB7EssDQYgq3R
+aAYugmVbW5Xx4LKak9GQkQEXw2tap8Q3BhdmWM+ek04iyn6MgqpG8xD9M1aVwzMmFRA3UMdtPh4
dWriw8rtPCTYlwfgBxIH7gvtAGdbbDD6cv81OnYomZjdg18k6UMcGrCiS5VvAs/Lntp2/Mx5rCYc
qnU+s5vWwa4oe6caLPpF7wOkqIdjUejILzqrPF7+bfNYXCw5TOhs9ZHnSKLAFg9BS6Qa066HaVW3
ao8gv9+CgBhgwNRiI82AjBkf0O7li746b95dlfoR0w5HQY7b54++jdJkFgt5B0VwB4ykWFP/pcMM
wmXTRUE7KHJQMSFa0M8B5IVoDedbvxN67U63LQ4Ui/hiywHoUiCwu3JU/2BOptuMy4FPl/u1F6cf
TpV5r4h1OHYWSDa/qb1jk8Th2hAIUyn7s2n36DKxpXUOPYaz/Mpo+WC6cky0Qxx+qLzoy21sXoPa
TGgVHUhmzm+KKeuKO600k/IwhK6XbkEp4Oe+/ELeXVM3uOJ8w4bJyXnpQjPLSpZpLPQjdHbs6Tls
XvIt2i4u2cVPhrZuGsLPr5y8Xuebs1HAVa3XchafhMnG63wU4ApLbb3uE0QfYUtsWVd5z5Zno3hP
S0eLPulD3dxmyWTvpoT4FTsaBci/HgwgBpc+IKsPef4GyuP0d0p178lIEnLqqDPUj60Tj09RSztx
bRHjDuR1KoALdjVZIVfel/1uwFCN4zaUjmcThMVyujcA8WlGQWeW5F4ir9h6WI9mbQKmnXqLDGVn
Yo3HWzg3mbzUtQ5KVN7K10pw/WFaDnKryZqo1iJooDMquQsyUgUGyKvfia2il6oNldpXpUvq1RSW
DxiXI7Gqdc38FUeJ2LVDQTEZxX65n7BfoXKLfKBZrfAlHvKhguWkKf9Bs+LuT+0STk7LRYP4Q5Mk
OWoYHGD+0gnY+raRE0nUmWy3bL+YNnEzpu6d9ANvVaPlHjdW7kfxzkmG9KkP0pYye5GcMCJT2zA7
PbkTTZNlGwJ+JnutJwIAclTEeAri2KnNW5ty8Z/e08jOmPIQZDs4Q31Y+/i8TilY63WL7pwPGwCN
7DtrHYZxf0+nXNviGiwJZS/IwfBhHGmNGPdlRij9WAL0oDRBPFmuGS+zn2UXqDBZi65Rn6o6x4+e
FTJo1lnjlrucnO8rDr93i8hcG7XRp6AgQC21FPylbWv4NGrg6Lsq25ltFXMmHMb7K9/nPOmcfyom
/kV3rmgJbEmvtdM3a1VU2vAWVAXtZCiqbyR2NuPBp4LyUHUlyRIilgCCQ9lV2wbHbLMGOFQRICAx
Ruy8HCYJVjmCYt0eLEmnffECgE/djLqAe2vBTUg2vFCwC7wS0Oe+KB2q9r1dzvZnr7lxOgjNk+fb
twk1eORLTcM5SKtc19s4rdWBnLEq0MJALENxcIIK1I6EHUPCAhHBoC7jukxY1iJ4VQ4WVCZSvyc+
oyDDNNkEZlH/NXoIioDKK+LIfGAyHGvg7UC1qXOVJpBG5xijIQcR0Eh3kpuo0tzHUJKCR5HG+kEH
OP3spJpbwNkXolynpmCTMowRmJ6aWaXYIN5xnxvhA8XGXTiT0h0C1FfaCAxpnfV+Bq+NmB21KWhL
Q9t0QKyvRjfgIfQdXLDLr/T9GzXYjaJoUtg0XeSa55OfT424SvtxOk4Qnw7SpSWZ+0ZwN2iEpOUi
MG+Dmp2i0Rr/vMAw7XLEReSE6oYtyWLazRPdqJtwaI+QdB3Iy23x0yj06OuAveTQkUv4ePlOX7c3
i8FLvdc22Q67+PmX1ZImG0q/tjCpm9Dsumw1TC7NLKCz6X1NlywA9Bk0s1OSrJ9NEuhOuSlo5JTb
XMusP2if/XqTu3HwIkVH3LiehvARExWSrQVpuzI5C6s4Bu0iugBFDgTJdR/ZaHaqADIWkoYW4Aj8
y3Z4MvTSJ3BTN4mbN+MSlG3mmMCLPJlhlaN7R/Y6iKEKOrfuGlsvhCZK+KXm2qu+TjoHJ11KtsCf
ug/1b1YUWGycM3bciL60roQzETZyR2u9qDZdJDgah1P+JMl4gXKGk81cibhLrmm5352lXhcgelFs
46ikLP2DYUE1keR641gVFN64mbbfVpNlfes5gDxceZnvJyKadRxrMCBxdlvKYMex8MrW1O1jhMr5
ngZM/KhNo7qyNXi/H8F3hZFYKk7miIMXH0fZ5BB0OwvJWtNzIO9cU0swQ06ohnqateNdydxwvHxn
Hyzjc2eNe5pPA/jGzz9ILRV6JajWH3PZ2Y9DTwI5RYKakKDG+hIZAfIr3Qr3RhZE+0HHnXb58u82
4jolFlqX3DYqEKmr88ubg211+NDao5c4cM2myNg0IBbYCsvgQIZ9SNqKWRdXNi/m/GcX3+br6KEP
RN1L2Iv9f9HmfUD+ZcJZ1a3Z7cHYnDEy6K/RqIZi2swKuXzn1x3tqZrgyqmpyOGJp47lF+1sYpwC
2AzDWutAeWOhL2ayUqizx0gx4ZSd/6Mgu5GzDtmzCJycYARyZwbTTclx71eSRHAkIyblYN3A3kDR
4yuQfxQ75S5Fi6BW0gjc32yX9f4uBm0ETiYoXYsQAWtQW3yN/ffQjUguHiLPDW/0PkbPGEEwvHda
DTFaBh6QSO7pG9GGkIzdKMCtM46WFR/i1Kh+0c/NH0b0T9/Ltiq/esIf/uumsW5ArxX+t6APg+TK
1L8sfVJMM425ScUHOzfQ1eL4k0Wd4U+xDq0Tq/xBJlCUwAx9tgadhK8SPX5E8WvFPMYGrq8kqROj
/e/DzWDbqlPq5PhF6el8uNlZ3qgxDp2jS4/8iye1olnpKom/TABA1Ko2pu5eZg0G0MvD/IO5ih2T
5bwue7TRF8Pctun/t2AJj3wNSbNNikqrN06WoCqsWr+/ttZ9sD3ju0LNbkmovZzqzm9TCxR6sVjp
xzKKB3pmbTw8mTDa9pfv6oP5SrfQHMCVh/RLq/f8MnVpGZYT2YStCw2xndEOJQncYTf9VXmuWmRL
RnDlDP3Bg8R4hiDAEMTecXY7v2Tf9QhOrdA6NkTDrp1uKm4o3wX0H+Lyyt29vxQZQDZuEioYnIxf
T/NvNp9G15djHrZI9VpL3JkRulfoXCR8FoCQLj/I97Oga7EhMjhM8ci43OKuXL2l5Bglx7or6lOg
SrXpRuID7CQLOemxSardNr+2u+aPns+BXBS3gw50gBqhu9A62L3KCOWemmOa2tVLlstGUCGmCe8q
JjI9C9svl+/y/XDhgq9fP+s1G+bFcKHpgfC7MkkMttjSj1UpvpYGEVulB+V4Cgx1pXj/fmnjehbO
Ugo8LHBLwU7gTLVRo8o51jV4dX1Igj3UOWvnZel0LyfCSgW9P5Jq5Xfb9fWHy3f70dX53PkAMdFT
8llU9fwQnKFnkYZL6lTxyUmi8gR4Nf5kVMBPkHeC6o7b4puaiBiwRSOvrOvvN9qcQFEp0cpEEvBO
5p0I2aWNCQUmTRDX7DPLswDYTTDo1YyjtZHEfWlEqkvSywb6Ppdv/qNXjYkGWQDyD5oni6m+1TLN
dRLXPmpWM7a7ASDeL4iGQKwp5ItVRa65/v+4JN17Ogoz/YWC4/k3pGmcc0hyaI/UOsRt6PrN43ze
AeCukMxthqEr3CuXVB89ZGO+RaYJtk/L8yljyGrkNNG5IkoDzHrEOrwSU6h3u1Hvxh+6pw3ecUpo
rUBdrvxgF8qahTVI9RlYGZS1s81aOWoPuSFmEOhk9+5as2r/lDi5jPesYwm514kWWnd2TKpn4yNX
PcDMHux9g0pZbco8Ln43iE/vQ9Vqf2xbQ/kJ7t7PVq2Zkp91+c1+NFWxdNObcljJWc/PH3Pnk/8Y
gQU7eogQYUXW/k9iPAM46LW7wfJA5Rox35VyA42ZDyYrU2cmdmwmLRgY55e1jQ5JlJtGp66lPIn4
+N6X3V/+5Th5xr7qOdex+tChD+ccVY7uTYN8q57QB0v5i3XylpbWPnbz7YhoXGYaytXpuyXLaE0A
GYr0oLlF4HbTzkUkp3ROWF7YEsOQzR16z8LbRrI6FJoVId+2qNLUFcZB0MeVeHQSh3wXHdbtBKsz
LfpDReOa6LTwRrWQ7Ef5VA+SXK8Qu0O7HXssHzHsXvb1u6p2n2uCC/rSPAxRtK+IW1rJatgDwCUJ
zx9uehd0VJb/9iNykafRP6g2JSAq/TshMA+G4CEd8meyQ8fP/I0vukkpIEoLfsL0dZqsLxjBtwmK
6dgHKQBhTz+1mXvPTqU4jBHJWlk3zwDoRJ24he5rxLepXf6nQueZsBCPYKiQLUroAiJWxTYoeyym
LYlzCoGWLduT0xNYmwzeV0pdN+jLsTMaD6VZHmrwLisKau7eGKyD5hIlbxfDo44E7oDvYgxXlF8I
ikuL8ZjUpfdUaennyndu3NgzVq6IniOMOThF6n3poS4dzK0WZieKIMfYLG/cVMCWbDMiY0si0ZL6
gV7arnfGm6KRd0MQkgZtiadBir0cVA1Fc3zRxLTzwY46XQrj0v/c2mJXteO9mxdHM4V9X8t412TW
wR3b/WSHyQY1ztGwRpe+EFU9ayi/VVa9C0MDv05gb6u0WKGSKU6+5qzbcYpIUdZvulgRQZRo4tYP
9F/C7zagQq3PfZTuzGI2HDgmR40uOMZkaZQgo0QdPDc5AfGunh/jwb9VbnSgzneTGOOnIdcV1d/o
pxcxZHTZ/SZMmzrCGKfHMGj5yFX+2S/NH7mLGNMDymx77sbsLGTh2efCAhJcWT/LJvkUpsOd6oZ+
0xNqFXaWzSIQEAFt+gfYfxXPKzu1aXVDcvlKjuprF1M96irqpp13qlsb3Hi8M1Mg9GlRfVUDEq2i
8W97EmZZAHdGMGRHKH7f+ja/8ULjIfKgZVp8mGFqvHSm9ifw/L30SUOfHjIan03gfcETYOzTREZI
/5L62CbGT2UGO683tn7TRceycD9rxpyhpEj2yuzhLqQSSv/6j5gsXqozrVvd3hgjSFS/bdZtAAJe
I0I9IYq2Stpu44zupo3rnRMOxNVmm4pQDASGkqjgadzoTeNvshGwbAD/aDcV4a3TKWJYYGP6IEO7
5GgMP6cg/1JjGuc/3Ohud++H014kBcR3yrl9Gh3ivvyvIzecYIGnCXOc2blbayp+NkP56ITTt0jp
zxhXfxjmsOIrf8Bb82g15i/43BsLvK1eixcq1Jx1A4D4jYa4GHKni/lUK79YPmzrhljznBBjIxZb
swmPTafWha8ARCa/0qroN9As/xNTuUuGloRpL4XfYt5kBLE4cz7aVP7MiR2non5q89Ze5XW9E5U7
2wuil45e4V7LK3njkR9auuIHjiF7QzP2foy1uy407lNihDYDqym01/iH1NvnLAxe+i7+Dh4p27CH
Xvd1t69jMuuyZkv3Y9N5HO/0Efh0E2yMtLqj1PmMre6TFekYF9oAJ551Y40ZRisneoLyqq0wvKE6
mXhBGcGljV0RLxkzg4RjtRJWf5NgRNvQ10T27R5p6Xogs9tvWKBOFazxLcWgey2x14XK9pEGqIwJ
pk+M37LOb0FKESNVpP9lTXNSJDkV/cA7KGlwhXeQeX5Onf8YFfWNObB++kZ5E8GqDjUkXm65d1Qb
M1WSbmmr32jcH9n8rOitAtRvqhUpISBLWnETS6yFdfaAeepe96AM9xpmum5Xx3zEUzanIdDt9rLn
rp8OFiyHTWeHoOKt/k4AOaUA9E2MlF81I/B3HrRkX4Y7K+jxz6V3VJY/eVZ9r/z6i6b16yRvDy0G
MRpYn8bI+N249t5t64MHO7ap7G1uDo/t/3F2ZtttM1mWfpVaeY8szEOvyrogCc6URE2WfYMl2zJm
BBBAAAg8fX/8K7vrtzNXuqsvbQ2kCCAizjl7fzsniS5nOmM29xViC9L/ui8Mlc8ISdTa5VIphZ1t
IvGnL00kwMtBaPO1tmr/fgZxMRf0tefkKTP4PKrxedbRtwbeb2l3n6c6+RxVGmatvppBd1dH6bsU
y6WqrRfJVNUF60ASgRLrmflOXEpwkzBxN7RM1mbVfCJ0A2b/khFDXeCaqjxu/3mX62XvVMaHSFW6
duz0Krpl65IMZ+WeWknTnlYAdslBJSYoK4jzaqAmD4QBq6L4PqT2lnbKxguZoLcjGcCVKO6aptpn
vg/jHRyjVEc5EZkwibXI00OYNERVNrEz5idFZKths7bSltnQDnuF8LkyPWNiV0bkXyry79zAWo0w
auJh9J8ocp9Yt3fY4PaTmggMmIyDt3SbtIhOs+kPm9AzVl6pjsWY9MSmKnLskpgt8FsBtD4xq8/h
4LQrlghnRRXzTozJqyDFJNPDYx8J6Pf+a505l4G4RF2xlGvPOTUETaz0bS3uy2XVTow9pg47sjSO
YKUeAWzcldp8AyF3r11m+27jfCZ0i3xKNh9jqG0wvWMVJ+Q/RgCktoMiEBVlrezYBNLkDZf9qVbB
fTdlcZq6cZuqe6+Z43mE256QhQAP1ttVXvBqGwuRkEmLOwQiWEf0HXum4Y+4Lal0V11qkhxBRoUP
tkWSKZyMBCYH9bKzTL6/H46DWOIytA9W0T4wi10JbuHCrb9F5nLus4iIyduBujfn+4Xsc/Kg1kJ0
90Eqv0R0HYYp2SyArJc2u5q1nSDMnDZ0xcjoCkikjtpTZybA45cS2DW+l4CA6dQwzpExEwaYETBQ
LZvGIpcD/Yh7vzjeRVYk4NmkAJL5/GTq6hQMagU+udnkPCvISN50QQi2m34QHjCtdSAZx5p3inXL
NZK7BpuSnzqEcpV61XJRFpxIN9HDs+rFd7s014ZTPZXtvE+0oCKwL6ofTvhMny0pz12qdyrFCwdV
eO23jlyFSXp03fx7YtgHVY/ryrEOePadNZFC26EmgCTMnxSHtyLIXy3OBxIW3MqcML6ZRUfWY1Qf
LXf8TV39Txojtx44Qh9EmeY/tH0a4nUjFiEYQF3gvuROr+9SyaFmRMj9mx7Mr5BAeoZATEPoRnSZ
KNd+ZVAmfdiL0MqA73QuOQIj9wOJMVP6ZM9kgMRdW/U4CHtChXWdOFCu6ayycdjE0vSiSn/0ub18
VmYyV8BIw/FLO7bdtEehKYq9hr56reeFSklPoO/jjrLqQB5N/qp7tBhbp7UTInBgD6l11YUJuV0U
2l85uIj71kaitxK514ybIpjSYmu2EMVNRPfzCvndXHM8sRZCTnLZYdGQZXTNqsAIn4K5Kd4F4/vn
0XBajlUC0dRvqrR/colC2DMeCOvABV30S5uM2ZpjSoDxeznmMu7w8Z48UAz4a4fkN0aAP8Sxv/SR
bsxIFN2MLVAF/9K8IjiVW5IQsMNIvmuwqZl5AUgPM9ocTj7P4sizm0XEjnRyl5mQGjc06wQGzRbB
xWqSFLtiqZQiyMNzk2NoZ/53zro9CQCWIiJnypbJ+/yvq9h/0p8A7EmLlMER1oVf5e+OKqO5V0N3
MFsHfcs8O9almtivHHwpa99v+v+PC0I/Fg0a43Laib/Ur70uHavJHDoFfrUch3mODuyR1TWRXvJf
crJ//zb/r/RDPPzXR9//53/w72+i5WyaZsMv//zP+/ajeRrkx8dweW//4/aj//dbf/7B/7zk3yTi
mh/Dr9/10w/x+//++pv34f2nf8RkEA76qj6kfvzoVTX88QK809t3/r9+8d84dvFbnnX78be/fBOq
oR57/Ehz0fzl7186fP/bX27mtn//86//+9fu3mt+bC0qUX/N33/9iY/3fvjbXwzf/ysmMgtfxY0Q
hFmWzsX08ceXQuuvEBmRxN3MEIjNPW6XRsgh+9tfLOevqBxgotMgRRUV3RagXqjblwz3r3QicMJh
KKLRyG+2//J/3txPV+m/r9q/Nap+EGwVAOR/7hfyBKHEZj6NlYYlD9zOL40V9HN5q8fS2bioeR+D
sG22Tte5eyIa+21vw6xrUldvSo5m68mTdDb+9GH9/f38+fV/XjL+eP1bw9CNGEHgk/pjevOndre0
ewoij9cfumbZWqSX7QNbFzGNqfnjf/5SdPFv7XU+UzSCPzdzlimRqs1ukV62rO5oreUr5pA5PYoy
/E0X1ro9WP+9Ot3+LLxrXFsmEaBzkHP//FpIRgxUNa676RO9sXEJg0/rYqtjfN5Roheqd1dTSd7K
TOMlbT1jWSm8XL95/H9eb/54FzesGdYiRnM2vuuf34VWc62cxHEQ1tX217JyJHnPGH45JFTNFRpV
s/zmFX/u091ekSWZtS20cdpgLvzl77ZrSLqDo/gzBcAHUYwftarNzWCMb5k0r12K9OB/elWZ76EF
umEBI6iHt2bpn2+ges5coGPehuqz2bglH7VTVcHRDIih+Ncv9Q8f58094d3IQj4jRRRoP7+UM45u
P6mBQ6xVdG/ZHBbHRbm3xMBaxkTE/C4f4XZ5frqJeDHmMvDNWDmYV/9y+TonawsPHmqch51TxEaX
kxQ+Zwm107/+w/7JC8HcvN2yaMQhY96u6p8+w+iGLRYzhGlPmuOT5GR7N7tjEP/rV/kFkMPNEcL5
IZnQ8zhSBf8wiVEk3Rdz6hZxU3vOthGFvSstt1xPeU8/lKnBmgMd6Y/SfKU+T+IJMRVUviaDfAID
Bfx1vVNB8jsO9c/t9H98W798zE2Z8McSzRVrtsrXAcwkaswa+2prlIyKPVIZ07R4wHxh/+aG+ofP
PeKZZGDioTxFcfarErTNB5QCDkZtdDjNWSQ6etBANX7zKrer9+fbyGXIhuOAI7PNBQAp+fPVxXma
GU2d2ZuiSyQS+aG3DlPgyK2rDLq2WVfu9e+mmOxtv/5xuKYRnJoe6w7ygOBXU0lfcrXJZC1x00yk
K9ZjngXHInPyqr5mbSMTiDKmZczAbsyuD57IBZzYdxJDendWecuODtLx3mq7H8syHpxg/FEMc2pc
Zy9Kc0KiKes2lMP5j9pZrJU3K0NvtbAC/cgYgfw+J0nM5lCmTUPd3uS2TaPNMltvZfRE+8UNTbjx
GX1JurBAm938Ci6j6kmcL2jdvo+hwJwLcmagn1TQBVq3c+VFq85Dv3FSSw7fP2+sVD7KbEz7w7zY
1PF2MybO11GYqv0x8sGPO88BNkINXAbzllUQjkEA/4glBL1E8zi2xeKSh1YMjwT1dv26QjlZASus
J2/LmDBA/VcRYxinwiyJk1qK0d5BHKRZk6E5CtaiU8JdlSUcPUR6nS9gHhSzcUwmEgjAi49+RcO6
CWooPm3SxkmVimTNzIKivEwDRfJVPTamRI9llHkd63axSU4aqiE9QvkuirtiiPTyKpDvkxxqMu36
EjSyKVbF6Mto1QAeuHodwY0rFpDwltDe9O8tPBz+R4kG+IWT3ZRikg5Z+CXNCjx1HUVM8kW2SU7q
5dy7s96qHhDVm6sp5S+d9LKUSbsLO6sZxdKu3d7Ja6B8iPQ2xL0a0MLCWSy0xZ3CirWviCbwm8Gw
qlVkdAJAYWT2y2OVkHfIMGswl2c1mR0YlWGkQxBo4WVx4441Ocn0CLOYzE5oMB3JXsNehEtq7etC
uwUQiIp3f1f1YT2e6N4m1Ykdn+CgWi/K3EFHMso4NMhNPZYkcYETSuu8pHmLoug4+gwurq7bzeHJ
1vj8NssQONmF/FTMIB5IqnxlhoZ/wFJvdfs0aioX5zG87dWCNurHRHwW2J6BYBbv0CcuHhduFODM
U5+LnvYl9PBHZEo+31RSd8UYCiProa1VomKFv9U/l7Nr6IMDdhoWD54yYDeZ1BNRafmozID4yCFw
10XrzvmaZX8sjxGGBLEtQ19nMSw7qd9RpiUEtbRMlzbWOObdaWF+ZcXLaNCygVmVJO8pk0jxbCRL
gV8lgnAeB8RCf1JGMikwNRYcf6JVg3C8eosZFt8wj0Zh3PcTXjaiAiMkoSnOkcPUU3SdPI9m8UYb
EXUus6duRjNoetMQ+061VNcyJNz6gP478R6MZTbyc9LnfE/nJ1GxM/2uIf/pdrJD8qpqop8YRgUt
MSC2pX2aJBIFtbnMkXkolKoFWpxehX6/z5NET+dBjUn5WKa9djZVZeJNU33STeTfGKjEbDF3Beom
rU992fLZ1YwIXxEl21Y8Jw3iEKcJVH7orYCTjhmGUp98JLs0euuQ4fOiqqaLI6s3gg3NnvlHGPIA
n7OibqqNb/eqpYDXvF/C3HTCM2RHZR3sMkYVLrqB0QELJXjPn+1Sy3Zd55VOOerMoXmg+zRUn+e5
aK3NWHd1fko9yPZHMJrcLaJp2y7Oscx0X5XpzOlzzRyjXY+zG9KSW6a6gURU0Z+Vj/XStv23QIbh
s1nYVbteGj+lKTyTi+sVLX61alQIpVq3JvanQSK4sboqQkRV0eSM0a0YAaAgN2StbVvjc5m5Eclo
cqCEsIcEh34dFDtMjt1jxFLTcOslZJt6bioGXFmmHEmwG+1TnRn4llm3JCmt8LdOqmGQho55DE+O
bTfnZMCfQUPcqeMqqKzvmevqr94sTVyZfjueCQqELFgY/fQk3dSO9ZjMDz3cQ7prUyvI8xumIuk3
rZv4xmZRpZNcOsQaMMTcdtDktNplEvsISPr3anTDZs3JZl420nX7BMeM6Mt9YC5RuV84Ggb+Cn6h
nnYMcwsiGR2lecJlkjiaNSJoxyOhqFWzTwha+jLVtp2eay+LqpS23CS7H0OXG/qlx7U0ANP1epLF
CzRGyL9fQjshKTl6SM3skRTg0wyOam020zHgSULgbz/PXfhIX2xaB0TRrQhzGFaFO+Xb2TMCCJ9k
G/l9S7C6a+T7FIU/av5iiG2FbaEVqA0b76Fvw13TD9eCtXAFF4vVz1zGzZQw80p59MjDGC6GS+u/
zjsWUWc6hGlzHwjrVZbZk2fpkAle9THl87VbCIpbPBtZp99/pLPxnvr+feGwM6EZXmeaJGKr773V
AOzhbIJ2/OTYBNGWNEaPkjSoBifSKXQWc+eBymAdDutt2tEZn3raVo5RPk1tdAoLd7wBx21akE0b
e/OQvpkQc9Yh1+QWTUVAMd7qqiW417JFeh14RNNN0bQlkdlTU99Plp+ZWysZ3J2Ztd9Tj7Sk7KZl
wOzagm/z33OjTM/Z3Is44OHnN0flJlM1+5i5uOEqbId7nWVooavmTs96XskyzR9FnvuYN7y7qkqG
d44zb4a2/HVROEdcTc8GQsd44lrveGBxqnjZOwlK1n1Wz8MuETftZE5GnQxEtDU9aX8MxVzeL/n0
I9BztoV2VKwVVY5RZ4/2UkcXfx6vo01CbSkaZ1cqfMPwXZL10LbvlSjdRziZOcEKUXUcsABsxFx6
b3owyhMQAW9nNIO7dxoBCd9qvmop+1XQqvNidMGmtyisFsdK1v2ATpdw+fJrP5qXqqrOoVUTH8Gy
2XSCxOqk7daG8Pw40owVypTpdTMWK3uRBAs69SlIF0r73tl0Ti7WQ1SJ/ezqra3yBz666exyT4lp
ILOzaz9qnoTVZCEqIBl5kNWrXJDzZN2+6FykAD2zZW85EurhbaKyPy/EFIMxk8Vh8JptUTUPZWYe
VBp8c4f+0JsjoYEkNdNW3U7zjHMl29lZVr8XRin3U5Z+LwOa7A2IiN009/Wu0NHbGN3SLzXR1NPC
OMvBID4Wu5AE6EyZ9pqEZ1r/tnikrfPkpfYpWdozOXqYuhKoWTrsTzPG9UqxhuJgN/CLkK43ZGO5
TYzS3BuGwyNMjsrC6K/2EYiY3bYF2fbsLrl4ElnRf4KHMD6lzmB+RE2WPOX6hr+cHekfcA9k6Qo4
8sCu3Vjli2oHTkmcxLe1KEKNa8nKTpEzu+dEc0QdpVLvagRrGORh+ci3INvFlrFpWi+7kNqF/rma
2y3H7vCjJaRy73DI2jc6au/AFKdv40C+Z6lLCGYE0/xAG18+DI0aNr4mrvGOs2jprq0Wmv0qoyrY
tMuUfREkYWV7cZODXRBDIUhOyT2rWc4W0WMd0IvcVjKJcAxzjv4KoCtgRBiVQ7cJCX+qYlfq8cnT
GcZeZmuBPvAYQmcbVYVA3BvzpjgSxj4jRYCmMZwJNMKqMPWu+Jxr1CAfYWXmwa4TVcN4uNNpkxKH
LKThr3srSoGAgJO55lXPlRYdxzdGbmU4r3I955AAJmVelankpQkoSwcaxO8p0JljZSYNw5Za826n
Ylj8jQr6BE1ImOWwH220yJuFs2W/C+j4jmsGUXwMLvD+ihOSPUCz4FyDxkKh5BaG/6kIrSbmiQm4
COSlUaWo+8nQBLqmiF/kdK8ED2voqYbhgSxP1dSQV9kPPctiyQY8tWRbp3TpgPsuK0EC6IH6GRBb
UVhH1oPnKnCzxxnR3UOTaucEuthbJwvWyz5l/KrMt8byYed1dr7Gu1yBhKIYlt4Xl3HgvR2Ip5qR
yBc0vpLAJpPdeZBi43nMNSzD+Ii62b9frPEdkMBXqFVzXE8l7Mc8J0/VZw7sDfVwqltEMD1P7CWz
w57dNMvXo+fOLwxkws2AU23LAQORERPeLWv4si5qyEXcltWtkFDWtYVVsx+ILYkLVxqPFBRmPEVj
tckpnzg51uGGERxZqYHmTEfVYxrHLjTx9dQyb9gheuOA9Nu8cI7rd03XBGs3dS9Vh2qkC4LxbAeJ
XNcytPCGmyJ7jhpTnLwbl6MeymoHKaC6hD7aLWuYvndDNMU6nItdDuUUeTegNeEMrywMGZnbIQ4/
dgsGOXeEGnwPumgNTn5PttV61JUF6jV/TB3nw9LuZ7g7kL9B2No5DQhOfcxzxujzAENmlbd5xS6v
IjRVHuyT2v5sE3W2CmDUrVwpjn7AMgMVblk3PmX1kqB9yv27uXXupDG8cvRDztcDLpzTF9QG+wTE
BHYe/4JP8V3Z/ZtLigfOAOs+QQ8b8Z+DNR5gzu4mi3F5Ymmx96O0OnoWQ6UW2BudC2ZdVeFtw5KY
XV0+N6P6rk3YkcvUXjh4XaQ2h0uQcwZwktJZ+aX7IxJGjqzIZ+xbmhfb9g8lCAFcpGQFjo7siK93
Tl7q7NoM5dOUeweZmM848HbqNrb3XUXJGaFSIefdhbwhvmUW6hOcawJfEpPywKdETHOWwMLH2piX
xHRYKW/amPENEWL/xZn9jQTBirs4b9ZmK1/y1H8Z+r7AiYuZcRDqORnqHX8pY2THbHdkko6HIYvQ
AbDCHtqpug5EgMiSXOuSzSG2ZLJtb8nJuVHcRWMj2DKieS2hGcYQnvHOhuNrUaizOUg77iKDW8mg
yJuAS+SyegZOejWxgO+EYOKvp8aOPbP7hmUfUmLoXAk1XFuz+ewW0QN+UxIW+3usxeusKYgeafL0
2kqHuGY0MPTtWX4K26Br0XchDZaqfOhcMKl9L8m7LWyFGZE5+7kqep/flOeoNHx9FrlPmrAHZRPn
tblOqvw81sDgqH8ROxnmHeO0e1f3B2dmwmaFCEk9TbEykdQTCW/rmtrdVTqvD9LgNrep0BICdjaL
Fbx6hIivG8dQq9CPHkUwnce0uiAls0A1OPvCSV89Um7Nm2e3WcovdA0umBI/wYp6gSM6xdliiE1h
2iSZk/bAmtfuQ5mbcaCSasPJaFqTQmOsrYlDqmZ5Qe00NavOxUN5e0ybS6vpGZRV8jyKuYrbunnB
g3GuUye6uhZiaVJO231X2Xor3EpuQIaLs2ka7YFjXLfrrAlhkQrUK4dVDI2dLGrOgaE8yJtyfm11
rgfmxEQs5S1j2dLFqft6XURtkmJLlsnXjsSsQ1YOVooYT485tWibvJMfPqs4xP3r7QmnYlP0mnI0
Y1yQCCjGEhVOlCfjo1Ek9gkIIGZlx9BXjED62b0ZOP1cUzU0YqdMIsSTotD3te8mW2WMYF6DSEMr
IwFEbVPsH/tAjP3e84caAqbhHQcaGYfB7Ci5fEvtMhtHDovPohvgtn4e8kPUaSCl+GPbkctssJ3v
UF2P7kpVCbzNhZa7d4yWqHBOZV32F9c21Bt8YCl2JPKwZNsBrY0Dwydrl0d5dKJ3M0WXyqrSA4Hx
JU8UuksJ4CxBerA4/b3JyOl+IZD7gbhOnT+2xQyPASyqc14gOcDlJS7hONd4tLsUCURhcaDZERvH
NN2BQklQDI0uGgW4eXzquRMniDmW+TD/wDnF+t9b1r5cBInig7PYKGVumGiE1kDgiitjGH3Orfq5
c+zl1Npe+lqRdrtJ3CK/T6XZP1kSadAynjRKVVv2JHfZnFa1L5ED5MkzKT1brjeFtO+8EyFsIwv0
85U7pyOUX+sFUPYVYsmdGpx87aj+wVUEsc5eeJgL+86d620pnBgYerfze+97VbRHi9JglMaXmnhC
9HjyuGS3cGSYo7Iu7skGFHEY5npt0TDb+DXZI3ZXK6o9kGGD7QsUbP4WaVFcUYhu7ECZW86mF5WH
HPH94jOj+nPJGXJNmxGxTqn2mJ8vfhkdjQDxq0TegZZMb2VFQ7FOInF1PSIMlSDM10pNk10SQlQo
4OkbIWVD4XJjIgRzjqVt5fcRhQE6HrsosMC35MprMu6Jd+PduT5MaR9v1KYDSn6eMppydW2ad4bp
Fmu7HC9jRJlm0CzmY4HcVmbGzq/EWbnZPlzGJzIykQq1V2knCFJvhNrZRXNFgsd6yI0TmqoXpx04
ki5lGSeoCGLfGFgE0bZgBnFqzs74JPzWJZrXeIiG5VM/dahu5+QZsSASJnt4M6RxX5TAl1uaLOve
bZNVY9pkPzeQjqrhTmFl9cukvtUU93Rmv4qR+zlI7oKsvqJeji3b22Epe6wm1yOiqiVRPmBdV6Vx
sLAnGIZ9olOcrhbfeLei8IuFdORQgCvcSINSWJQPiQ7O2teXITUPSxZ+8jW4Nzd/6St7f5M+MUM9
uNmyaxakIbbZxEUo90svikOSWDZO3emi3ewH2pkjaaUXLCHX3vOuLDvXwEhf0qD7AXX7iOPxIXU4
gJQ1lk+7RMy4UJggNvoxluGwjpzxlWu7iWTI1h7GdqL4W8bmkw6La6fB+4DkPrgQxZIlexgH8b0V
Y0xCJo8f8OgJcTau+FXEtWUesilEvRlnO1v3XsqJQz7aRkcBOcBadg42/Xu3EA+T7T7B6kTr6OER
XEr/YWqMOxp1lwAJ6dpCtFUa5hsKoPtSd3vVR2zU3gtrfr/pRd+tATcP63YKP7VKrjhXp2sbtDW9
1sC/t6juKEa0WCWJ4eDkLe3dkJiHdCToDhxrtG6toH3tB7rtlujlqpUcFrv2hU/wPizGoyKRcgjn
PeDqUzRyouqS+Vj41TZ021MZdrHr0jpZrDAnUbXM8MebdPec/FPNJBMQfptuifBQKyGzA83F1eSJ
9x5MKIfKlzR0dkshvlZa3tERO6eV+pZr3B6uXT0Tv4Pn2I3l3N4X0rnvKuScgGs29Ac3pVGcOZ9+
KfziWhXJulpovtTDO3JLA11hxINnZ7cDXL9zpgVBPGVUNXb3Q5Z9Ctr8WZTokmey+PaZkB9iTOlw
UwdynLE2bZ0f8A/WyM+ir3NPMEfpbbs0ewYW884fWpz8dL7Le27M20nJTM5MK880ztdgD1owFa4T
2xlpUJ7dPjd2tBvnRry7tQf2+Sb5729nFnvC02AVzXUu+2QT5S0/7c2Y7Rb1ECR0P2xbPOSTBuFu
RGszr7Z20j6Xfv/qismL7Zt0ExnO96AFs636mggf6aECNdJHmj/fGiO8TIZl3GzrtwPnAlHQusiQ
dLxpbK8ezaK17iCKWhMfqqeuRNVwd4j0eZjGNx7VbJ+30S5EXhfm1UEtlViheZq2WbCMwBabfiJR
KSq+poOtL/aCSQaXwwDqoLPDkktSOxeVtP2Wj8U+Mkxx1jV3xkX6Y7dmJlB+YxppIWtL9FuYGt5B
twjVOEODvPbpLj8xrlkeXaGXC5C8foO3jF6DmxCvbeTKOtDGms+1b8pvpBUTzj7BzW45nSTj9iYQ
+zxUdbrvqPtP0TJbn6V05Ttdla9jp+mqBLeey5gRUuh67OJZbvLPOgF7lz9IMACrrDeew9Fpdg27
sQi8G5Sf3PdJqUs4dcGeQvTeA6dCU10jFDeByEU1QQ9dPm0saPhxj2pwldo8pYnJMuBH9MkJY19o
dowrSoKrW7pHy5FPjP24TQOgGlgAnIfccYYVbVGTodONb1HeWAYd0MuSlvoKUWC5oiH7aIg2XIkK
lekSftK1j5yxLL/4RYATjE9DZSVEsBZNNUmMn1KZbbA8gTSGR/XVz4M3nYXGm9eLHXMkGZsEXxPv
/Zjg5kFp+j0LMNH5cHCcgEaBO5afNHScdcu0hOkqdCKYBuw3DDkOjLNrhmrU5zLn8s2jc0AG8hxk
BpFZ1fA2lMY5SG1C7qy7obP1JkXCtk97ZNRNavUbn00dpgK5dEbekzFApWU17SmIoG0aBQt9t7zR
urjHRflemeZT7pGTYinxdfG1eWfJcW+57hPS+pRWAo372akOGS5ocIPHWXe0aGbOMHViyr1HnyJW
7mBvco/s8nIc9S5wefu0Sh5cLbq1nls6ZwyQvpjy1mJoAnfbIfb4EF3enENHWSs1T90B/0P25LRT
/jSTPHn0bB56O5zm+5BMBZq9rWt/+NzIG2ZBxT1To5sCXILAY5AZwc6vs+Jp7Oz0zlKGOPVRT73X
m2SU0Uvpqg9GdZgyJiMxvy4NdwuAhFtTn9UsrLrpwa8yLIegtWKnrtPX1Mid8xBm2cFaHO55v55b
a8vm6995NGUPRiBcwnd8dyOnqU5ZHMPbebmaQQVh84Vr0/D2bAdldZ/7HKCycI7pYxF5LvJBXe1Z
zfTol25oWSMcII3NTL9jVZnaOsy5pMvZUUHVc1T8kFHOJu40zrkjMROqUNOcnVEER0fAc4gio/5h
w349jZbuMIhHwCuyvOx5UQtfPoDt0OAyZeFzGabzoVya7hA52XS0ks6LS7geL/TNnGHDCmi9OaUi
q7eV/q331NwNKHt3iTVO+8QR/c5ypTwJi1FZn5KSstIRKN4EOMy2DnTxYGgSiomIGIin5lNSLzXp
ha+IBto91CM+0NGhWGgWvK3K8PK7cWrdg6sGFU+hn598htMEITCMWtXOSLrCwrG3NPsC7bs1QEfq
7GKDu409PQ/KHsFxcjP1kbJjkEw3wdKZ3FOnM+dH7aXCxp8zOPWa0KAytoaUs/jiVZF4tKoe/XHK
A4R+k6MY3Z4Xi3FNuB7TKf9ijWb2KryhjGvmDu2G2SkdoXJavqcMXDeqq5xrc+vrEpMKGbx0ik+k
epBaEhXmpajnnrMslANyJLx7G53tg/QX2H1VKwo/Nul8bdFWpbArPcnSF3qPWt4T3JxY6Sqwe8mk
Ho07gQllMB3toU/31jzsm6RayAds6NetEC4UEOmkqh69rvPqbTKURRYb6dh8WIljfU8IaD7e0ko+
XMdPoLY1Sf8loRPxOhJRhAlJdC45SUseXtrKyaxVRZDNF6sp5y+kAQkv5jgzeBhdInhcLh7VGXUs
hFM8hzCamtU4+f1It4gonZVu5ZRyvpMW+0QwOglCta6hU0s5VPkPaZCxFvig6ab9IgBYrBC4W8FB
20iac9qFDALLcRMk6H9PYNaiF2A+APe0i+BsnTRsOLESSW9gw9KRvw3UH+NgwhNeqmkYyh0qXO3E
rRMN1aaKaACSmtG4yJ5kw7S+BPEFXUYz4IM344l0TZM0TPeerasj6vNs2A7uOHyl/9qXm9rqGdIo
WENk8Wi7e7thVitieVJID7A3Zrkd7NQJcbqicsoRwBO9GIw7GsCBtQ+gwC6P6FBud1PW2tOmdpyl
KelnNNZ30ZDkuyIEgJXW95Wat2mt6KJ6KbKzFV9EuuH48taGSm5JDCpxSje2XDboTd8o148LEyDq
KWPLDZkyeXV38cc0zJEB0gZ+9zyYG5dJqHm+QP9oPveFmm66J7JZzq6lLK0JRoWUnaDUgGU2COYs
SfRhN9r7ofRoo+YZVVOdonyur/+bufPakRy7tu0XUdj05GvQhM2MNJGm8oVIS+89v/4Mlg7QVSmd
LjTuywUkQZC6KiLIzc291ppzTCsaMEm2NIucpEEC4UhWudAzQSzSb9S2s6qtLjp05G0QpqWn4M+r
9r0tuk/8vUw4xIIpCELQ8hCMNu3DWBnvU2TE7BhdGr9XvDZ54ehjYjCGnupsi1O2B/GUFSrCEMJB
oet3HK5F2eFA6Qmce2feMU8YkM1+cilNe7LQ1KRX/UYE6VVoQ3DoIPKKsyEqUbtSgIJ4K3KSjbxo
yprKlQQjj00X9zFOmREjgjbOynQaVvXIllM4xi3KtIjCNLFa9diXLZ0z1pM+++OsmagfSDpZppMm
9aV5bw6BKbnjFOfnit4Gcakh6gonD7OwOfexGqrejGqWu9nT7NkO4K6jU9NJtn7s07y6ISp94eym
yMeOV+5ItdVP6X3C+a+5YrAKWpLMXkyguRGwJJnBAUYa9cJCmjSJqubSJkuFrSdCQzJqNruybHBo
8LCGqLk/mBKS/hKBje0VSSu9RxWeiFOFTocuiDzQWipJwPqYcAMGeLlK1bHA4PljXVq3g1SiJUG0
YwyobYj2cljNtCTT2GbCRKKeHThEq0/3qIRaWAT6nDwQa6xYt3M4Zm+JjocZjVgU1ZccDYTsdwbA
VIKCQtJ7Eg5wwWNmKFN+RVpM3G0G/paJ2VnU876eAnyFdIyK/IcJWF/DohLhUzDN1qJZrbTG/KQ3
uogdYY2RSdc6wexpZlH0yLlXJVVFiurw1iiU5WOs+wAojhKgxOmgOz2nCUJXZw4K3NFt1/Rvcg2R
34nziP5hN5pac67CDIe2IohiLSP+Rq+ylxbEJpTWx0XJc45iZs2LtaKzQXJaPEjTp2CgVPshQhtz
K+whjBwRYWDkYYuGnDN5kuCMV5L5S8sRPuzVhgQtr6yywd5k87QUR1OUReNk42q0LfREy/zB7iID
4mCCo1UbNRB6oHlnDw1m8BrR8O1fsCd07aGSEqXBuaXX7Olmgw+/4+hD81jKpRMleoxgjzWjwko1
27tiaMT1XAZ56sahRFZVS4R5T7AaaTceGzvlNcqVbDehi/LZGXGMC6KpYQIqCUPxFW7KuS9XMUfV
U924cYSH+ZCpoa2xRTZspQw6mFh0mSkz+We8X7iEeDCYByKkEe821HX/xDjTeg2YOdJjlTPlXclt
6SlI9Wpw7ZnoVEJ+DIXpQGVruV8OU6Pf0v1QU0focxrt66A1tVMySpgzkwoQXBy3i8I4W2sUB930
pO/ZdTv12NkUE/iGWf5uV4Q6eUJLuQQuyWf97PDwdtGpRN+MumzS06ss5P845o2cx05az2RSFZY1
8VhU7XiOGMHHvtoSeufFwP+bY1ctdMzkqsT42TZqGp1aWiUgry2je8/nusz9og7C1mmzWdWdmaFK
vZ1VkgS2EecV/G8wEd471o9No03oFgFRKdqpKITLtJWDNHizwVUuW+RQubWVAJ3ZvjEIJsALoksE
XM1UcCbrozJGApsbdA2jobkiVkddU4V0feBtOC7nzhywdmfEgSebRpuBHlLZptgUs1JgQVXybvIQ
0LBzqEmntfulRIFNK6yx4WkFRI44OX9W9zQ6hC2uy7LDMlsjG6P6hil2iEoadQ4mySomCQZw2/yQ
lvPaQ5JmbXbMspXnQ5aAQI/IKcxCHqacHtS1bGp1ssUfpffrlqLk7DK8vf8U6PofOlIsiCpEO5Sk
BmrY7zz+BkdrwTmIME1Jpue4GGmD+nGqwCD8vT551ab/qpNF/QyzBDcCnHyDWIMVBvGLCroVzBHb
uo98mUDy5kovh+ROMybC3yKmd4P789P+kV/m/3TB/Oac+VtXzf+HfpmVePN/+2W89/71o2x+tcus
f+B/7TKm/i8IpBp2GH295/aqGv5fu4wt/8tSdGKSgBiDcMRj9pdd5l+EmgIUgsAiEDiDJ/vLLqP/
S8j8Kf4my0ZIj6Pmn9hlfl8jRGugdjT5D8grMJP+w4Q4lE2wgjWxqU/pcFLnMfErgbV0HOib/HJZ
bv698H51xnzDvKyfBaBO1UkmYFGyHlc7wi/rUVuUkTcYIw06Wv1xHjr9ADOs2eQJvLJqrk9LZHBg
H5nqy2AkesP8qibrR1kH5SYxxouNUJlsRMY5BM6h8yZbVLKT+WCr7Qu41/egxXEac3ZjT2iC28hS
aSbZSirjow04/OfiE258f/f3P+t3NfrPXyUzcgDGCXEQTNE3/lMcGBH3CsTaOAp9FzMo9USt07sn
XoruKLDcTx0b3z8yj/KpED4x/gh2V/KuZeXbp5bhWOtmV3DfOmgbcEx0wHmq4pWlYf1hG5HXfeKv
fQQTp6IhbQSqbq68bYxGv9+3OavxLjUoWMcgbXxs270npfjL2yE3TvNsJ25oThrCp7Z/Qr+Z+Zxk
qsNY2tGrksRItf/RBddNHfsf+xnuWENdWdu/f52RiXA/KZJwGzKV9grABFfoRv2jjhEO9HKfnaci
S/1/9KGELCD5lw0g5zjcIGt/+9B5FOg0oslEwzMan0sjdye4hDXYiRmP8gRCcNNkf7zL3y/9vz/W
EHi8cNoRGvftNpvdTMwfUQdeBMrB1waYAT0QsiPCcaYDs95uE53TIUKHfV6BJbUlRdpi450cRbS8
+//xRcDWt64GGS0U//r9yiNZylNZTVH6qkq5bbMKiHNrASRpKBaWYBvhyfj7T/zdzbdmW7A1rQ4b
vKU6Htxvn9hJ4OMsO2EK2s/jzYoX85ceDHBo23uNKeJbWtTDG2MSCBfNIh7//tO/bY7//nSFj8Wp
ZmCT+nb1M9JZM7VLLAJOc3M1mY3j3rTUQPFQ8E3RH37rt41k/TQLhDqbMb8UHvS3T4M0hjsqr0y3
CerljAJVPeW4sKui3ZA3mb+Ry/anVf3f1heuPgIzV7emAOH+7Y5yvtMpONAHCzn+1PRZPuQ6AjQO
d8N7US0kqNh5fexHhoC4XjDyKyzBeqiaC+Frxh8SHOSfNsJftpqf1+DX7/PtMcsA3qbLKttqRzBQ
Mh6iMmlRx468kCaXtFp707R0j1XlPi6AsDAEG/MZwdS5iuHKPBb9Vk6fq0pck9RCmz3a0yJCeypF
z4humNNOHuXsZuTpYc6GqH/50iZKhep1yu57pqIRZUImv2piB9XXKUXptXJCYZq/G3HgosS/Ku1w
G6uXQkR+2AcO7UI8Kma+k6LBJbXX15Las3r5gBBmj6DHkZaWxGXDIy9mSwT8UcjtMVyFPgiv6YfP
jynKCTXu9lGRUdw1FBoULme1XD5AqEwO7eJV+txRG2H4dMrFYvYrZprqM5HI1jHlf3CjCNeQCSsr
QeYZbzstOPNgbZOkPMh5uRfdtBlreatltwlN/ULqvWTKvYXu/zTkfgzBqeZw3UWrw2Gjy5e+mp2p
mbCrEDXNIJAcAV8PmIHAlg8YgLN+nbxMYQMRZFxJpF4rd0FoncskOw0ioL/OwCLNkmM5ZI7SgP1g
PdPZNL0CkaTUMCpNS/JLzG289J7QTYu5bOU0YfM4qvKNEQQvYfNeTA9q+NnOFd2y8Bb1A6I78STx
D/DDflhM8qizc69MCVxTZT8jfKAF2O/y+r37+51A/hlb9x8r0+Dlw16E2vF73rsWkf8TSzLq4brc
1oq9K6L8Y26V49IXhkupuFFC6SNRxNEkjE+2I0avdOIibRPMoMMU8nUJuqb6NeFG60PhII7wRrQw
XXgMSoh2w6Xrn6j+/JHlT/D0oQtpUnbvMFAM203G3sESRwvkFEwnYnPzevBRpnpNfbS0K/RyjjG8
NHPuq6I+SjSsFA1FBnl0pLuO1WMw7UoldMMK2SyoFT1O/aFHij2aX8l0UBblIQxrXGWWxvSQQZk5
p5XH/OBzHuX3VI54x1n9ZdCj97BE7gENqix/RE24x6W2aej9NkXhJDSCE6s/w2vfyJV2AupOX1lC
9W2Xm0xurtQKbfgyBYDX5o0Z9VBKSo+H/pCRVJ+z3qx2PNWEN8EAND44VUO1qTp/Gp/6Cfska9Yh
5pawPQQdIBFggDEoI2AQ3+FtLbJPAO67KZH+4DfE1sk2+O3mgwjk1G0RNqbgU/99m0xga/QsN4vr
Z6DuqxlnxfLUbgzypJeouEJ2vo874Voxgwm1eoYL9T4G5n2gJg9NWpAiJwXnksyFTUnMnTlyMKyq
4JZKlzVQC1AoKrubtAqmtUs0WF4mrDXtNr9duBcLSda9Oow87sqdMupMkJYd3cw723TYYby5vlSh
sVFLNrjuCm0Xlbi70Due6WE1BiMdu3OSkm6zdaxQ78iK5FDq7s36EKnqNtBhzATZfSV3d0n9qZrn
DEFXkuwq9kN6RcwjbxrTV4NDAnxG724X40lLZadLK9TbxjMMvcDEN8P7KrAaVnG8m/X8qpOlq9zW
/ZD0E4tYrQLxHCYIx9Zj14aIXiTsjbmEZqd1s7l3efJu8Ly56RIemKbOmwGrEu5nR0zBddYlLuOg
69huWYDjlaJ1W4ErLFviJymcn5Ui3AXp6Jdt4S95tEvL7i7mnTWHSPoIynnnL+K7y+Mt2vU7Dc+O
T5eSUbAtv42dfmqz6MQ+d48Uc9wITbuzesLop3p0GYAhQtVH/CpaeC/N6aOxHKVkxwBHYhawfEWd
9JLqHzIcpfzJNmgT5agPexVzHN6r+Shb/B50DiqS1YbxYaw0O0MkNwDkXzhH+eDsvVmfD6h7Tg0R
ctMjHH+da6k+WEV3XSRp745xJRPo9qjAT5QeSbO+HhXTUwPjqQro9kw94CZ16p4ZItIbrzc6FOuh
QrILC+SOFEJWjr5rkmE7ackOGgjJZtjDcl5wWO2MrQHzD93GY1NfQk09zeHkzVF2iQN6RcLr9PNi
S9fz2jeQZyIcV2KdQVBFSy3QbILsNS0sxowNMl0ODrdRc7WYX6g6Ajnaalq0NUi71/kTBtL8EBxj
CKRkUbu9FmvXY1w/F2qPBpdgcOOaEx66qoQh8RJ+6TGvJMGXlh50GuwNc3BCWnaV3TChwcxm2Tua
eBsaVmStk749B04ThPuyyeBKSgd5eaKc2QbtR5I/c81oxI6+LL8Ute4rNdLASmFWVdz2M9ASRLQ0
lOHycZ8t3IbGRZdrf1IeJdK1ShhAvaZsQ/surwC4ARcKM3FMZN2bpPKG3pNry8FJRxSs0b2daOmG
BGVFunHTsiAWCeEX0xPzh2R80OvHjUgwpuG1I402Q3HlHlSVsnrpIheCOkiyrP0slx951jt9eGnm
q5a9hhzQTaMOm6FbAFfoP3JzQktyrevgkVC5VnhSA61naEHKjRHe23rrjvVMx225NlILcR5HAPMV
HcWaFOtoGd1gwdKZPhY5fcKHtYtDnc0DQ2GeXqtxsLEiuJwzCwnFU99A7RThXSDQHy905ma1ROJl
6lvOxAcjyJ8lfb4OcgatieQNvU4iWexOM1PRGkQ3Vb+nkhIKF6z6xIa6+zmOjofSG2cAUhm2sr61
fIXEJlIRPhm1nyauQzKDAETi2UUHXa0eEjzBVd4Qa4VPeDI8hCJnHshPsumRwIfbrLV5ose1w1np
L2OFBQ8b3Kng3iYySifAhpPZwzVFs13o02VGiT81zZbC93Eg/F3mjWIt+bHFeeMWo6S5qdGgGK7t
P1TUP6O2/3qfkH6gU1GoJkkIJkxhWge/v0/UxbJGM7OFVzd1isTXYBrN7hymSCnavin2MWkRdMut
nJHL2LOZszlUWmbdUERgFWE/eSkZtz0NcpwfjTqWX5kTDY4tgXKjwdjy6m5zL6mW/Ecpk9exGfqI
TLSeTZYBiqYgQdYFw+oUDqJaS/R6BFZJZ5CXCH9M0x66WTBp6kWDxkVWLpmoZh4KzNVa6meZMT4t
zBNQ1mSI2shULe8LSQ+SnTFSq/UZiZymFJl+qWTNJxsoSNRaa/F9/OFU9l8KNKDbmIBhL6iQY751
lCAPAedn0IlmehjOoYL0QNWm6FyrRumKmnjZIVkYRsmIdjpm9DtUaKaf6TSY85D8CIe4G4NgAK5p
12t/Yvz+rM7/us0/q1cbGrkuKOlMbCrfbvNE7yY2h4R6ORRMDFsYW+xDwN5CNFJWERSHBASxo9Lf
vusVRXVNJs5MzofPKBLN1bxkDJfxO+7DOM3ZKkPlsCxKv03HbFE3QdKP923eLX+owv5Lzf3LtwYS
//viBL/VwfShDg3yKTh0g47O3qq7+XWYAyx8NNWTfYKpFLxsGhrUwk0s/aHw/s+vYAlIPdAkKGo1
KvDfv0JU8yhkyC9cIuOrc5tqHes1LF011MQBL2h2K9dq9iwhpmZIUVV/YnGt6+b3G2fRgAXhozBM
X8lWv3/+MkTkCQ2xTHO+fFY005+Ijm8LtKRhi+BP6y8yQWLod6uzjCpFRo1nh9We7G0w85qfT+O+
qNPxD8v991Mou4YsQxRaGwTmSmv53o6wmVJJxkSWcjDZi9t1wrqLEJUe8fzMG0n+EiHqSFmy6t3f
P2b/5XM10ncM5h/0oYzvmXI51hSczMhMslixrmtLH15MjXNwH6LFWlpLO1SgXZ1h0cfn/6dP/t7+
skAES2VPe2KZrXLPDK7w5MWQD4METNToaIxSZ4zRu2rG6dMfPnpd5n+tgZ9Xmzg2S4P2odEj/w4l
Rz8ljYbF/mgvYJ+N2JOqS6ZyocPOx5OIFizYFd2yV8r5nDUJvKrUgyZxM7dvEMk3Yu7OU936kAj5
jrUTG+mVagZuIyyPfOxtEJXboLkmV9ZPEYpFgW/kBxCsztSGHqXulvHcyaom3+Dou0RIuQdt5YT7
qi4d0cAQ+zbj6/xI4ttSouUaK9d2Pu9txlVCta/ngL2aY9kityd4jl6sJsdxkLA8N5guvnR8akFn
Hzv0U2OvOREjcSqupKz36PAAJKcx5+sOBdmq9tumiXYS9clgUJXF+SFt+pMZmy8EztLrlp9ixT6Q
qo1/omLaa97//Z34Hniyrvtf78T33qva03KeQ5C1AVoz5AeaOu1me1bgBIj6w2DYu9UnaXB16Im7
NkPsRGsyffj7b/H7q+bncjDXnMv1VaPAn1kfkl+GF6mZG0Ui0XBPVQmrutU3DvkgCk3YSv/D8eC/
/GCyDnSDhq/GlMQw1+/yy2cZuGjVgegtfPxtc5MAXqWU11CwOfWAH3g3FoXG3Va/6GG108HKQlNB
xpnN7R92nN/3QX60xpxXWfMVLZrQRNX9/kWIUSWgjr6oy1RFvUrmrnts8VRhoCiRSmBJ/sNOw+zq
20O3Pm50lk0TghxhD9+ucragjeB8rnA8hnWbddUq7hapP1Z18NkmjYnmqSD9IUpgLQVhn0iOkNJB
wweTl88CokZ41ZhkruHvvVN0mQMuynK1r/90YRT7P78q2MM1rwWjL2jN763TzkKhW+Z96CFEnfa6
2mliI1I4y6jY++IepdnyQQ1hbcm8TdzSrPRzo2klvTQi7xVk3mMm0PUuw0XEA7iSemzKhiLeLh4Z
PgNUgRPRPrWNkuDyqLIPq69NMA89LqwN704O082U26DlbRXJAap59c3oQmyLWha8I0DQtxTMyp1V
m8tDggIXijWDZ2SzJcJiG/n/TYw25inFIXxQ0Zo90XaW/dG08Nxn8li+SxW57Zs+1jTsCjW0XacD
EIzCHBQPjmAZzb4pVcW9ZVeM46AaZB/aVKFSGEJ5OYaSXO5wDAXXcPnlN61FFDS3avJqVZb2oCT6
fNdVqnqcNQvlZVI39t2saumDgQ/Zq0NVbCv8NPshjqensk610xxY5bmVtWrbBxHaJrW2vup5sh1s
QOB7RMF1xqJaBOcO9+RzhCnuqmEXP41pAXcnlRPfkq3qttNsCENSG4GOylsci6RFdLdE2hXazuyL
9CQXozn6C58uHApr6z4sJ7GFzyR3xIcL8YHYshFHjdxBD3FX5od2BIESmeQ1Rp7+DS9KftL6tNhX
RW5emVJaH0uJcr4n2hHPt9kialIj3eX3x6prIDyLbqVRwT5s2qQm7c0I2oTTKxqpK1dFD/7UFWnE
8YM2iBxMP1J1QSe50We8IMFJCVTjlelVqD4roS5reGrNjoYuOXcBxxA1Ai+RyyXc+FLgiZWSspeh
8gA/suW+ehGEDkHPadUR93dl6J9dD+W8GQxsLahQguuymeJHjA5rt9pCOpyluJU3kT3YO7I7TVdp
ytDv8MkeA/QbXoMNbochU+DYUZUrKa+klVzaIqVeQi9StPAQVajULUxbFwP51Ksc4RaqWqnhZNfg
gCeUfjfMKvofipVDgDDx1h4qczPUZvMc9MjTIkTjORmobYB9Tk9uVZMe4zC/a7pkzPtJ1sWLDvgU
G0Jd4RcaJvTq9ohehwxcfibp8OYPTMKyH5qQVyYzxHBcSxb6Zg7akJelwS+UDFNUarW7Xps6n7Hu
eALDp3D7QJb3RsVJJONIBDcrf1EjDIJxZ4Qfrd3N9wQRkssdS121eoN5peY9sp9lWjrfjOfM5dVv
7NGd95dkKsebeFpF+ykStDzFF5nUKN+aamxOBREzKXwjVPY98RVvhDtaQMRMDSPizJEldftFnY9z
T66Fi8JwwbjX0gFGDGLt6lFP/HRW8juyIVTqa7w/aM4gDYtBVp+bubVOdWpVb8DmAyZMhLSrGxBD
5nFpGvkytPwDqymuvPShha7YNPoHlbPIyWwUACQ8HHflINq7LqZFScJGNmNlKuWdvtTmdfRThYeo
bLrXuNGnfKhTEimX/MBTxQLW1racMIbuvpq7FqS6HHhmRB84jgrIkUCl0fmtnpJy9RJJL0OjZOdh
/XRjsDLIBEPnjorMyyBsadzEk7zTckl7GtMk/MGQZbgqJDETP9oxjFFWpvhSGznWQJPGeK3q43AK
8A4cRVDnHCXGYVsW4PVlGLE+dNTc6dMUMoi8ak/Hn7pFOQxo8bcCQg6HoqC8Q3XKWMPWJ/FDX1T1
FKGEPUW5pF+yIAn3I+mTHw1tk9Sxob6cSm7MHb6M5DFIi94NCwsOeRpEIoFLUhdvmQ5egE5lafrN
wji1XqBciFjoCMJiuj9dFOpvAxSNy6jPvHOmtrpCatHeNFonw0VH4MS3G4ZHYL3SXmDpO9apMePU
CUA0oYoo9EM6BtXNZBbT2azL/pbizR4dG/PNrqXOeTSK6hxYFUrckBBfnOnNXZtbAM+RZRS8WLPQ
l3RO/0cEL3hqyUWLX0dNNV9qOq/hhokhOvEh0YwvU++HbaeGBEgYGsfHpZpNOqmVMcX7bAgWcEgj
BCbaWYt2zbCue1T5r/OGObJ8qJJmeexkviWqzYzxCf0o4oaTGS54MJUIuhAkvs+msjAPXsWv9OU7
Qn+1QQ6dOF2QRduBTt/CSGx/4q7cCwTON9Y0duc6qpbHVp1te4MIjG58IY83xO4gDVc4T3G1qpzC
IpQB9CQag72wH6ytTf76lZCC3F2ssN4nSkjGqqmZThP30TbFmEDDybaIJKg162SEpeykNrz2oYut
bQw569Za5OaQ1nIBNEbTvVgPjI8lwgltWmyew1DZh58EHLEo6UNklNVDOhUpUQVT7QVdSSaN0k1P
PMaM8JJAeD06bAdzlrVXeqB5c7Foz3pTVXeKaCS3j4fietTigOdD1tZeX6g8QhbCutIZXJmmqbSX
vmXBY2emoo+quKfTP9G+hHcF92uEJtHSONOzVyO3ztCfmB4WN5qQPBn6jcA1ZRh3gyacllnFaO+o
5H0rKY6Rzl/Bbt7xRkpf1sEdzSNX02VebZNTxwfRX1XledEUIpXvzBX2/aikvTNIJzU5C6JBtJPd
3tB2FdlFEV473dCQFPNHWt9PwjfILumPRXioGAwFREiH0k7TflTqQ9h+1qtNHSPWfA76Gy07SMWd
EcDGk0+63LmqHuFch4Epn+TlM9XfSzIkySGN3jgpErox7ftacVpDeGiW3WyFdRrtU6hxejiPaufQ
Udp2EkiJqNoo0w7b/mZ9xbuFbbZewa50PbbqrUROVFwnXqRmZDnMTsQENBbXafiS4lVmYbtmjgsF
/pPWnYkOQ8mEor1wwuTQhgPBDYorcFzCXrM0Qm1U2cE/9oS/hcv5rGQPGcPbbJ2Oa7vRvu4Rd8O9
cPSUnX1CNatzVUbpfeEIvankz0jFdD+rn4qWuMnEW2sOvFC5HaO3IL2wdaPIrvjrLE+VCt+U9Ed7
1fiPwxFN0U2M01rJQmYDz1Vk+GnaX6ldczXBF+l5XGRM9GPl9T0YOsgVXXQlxvQ+xxkaYW5QuDeN
yJ/mYHYUOTvNkkDH2lzrbXZno2fAznqb0KxdgvGsStMRXyTv92VCA+3UHNaxK56q0sS5+5LH7SXP
G3AyGJm1YqsJfLPBY5O04C8mfKQLk+roK1vq64KgCsGBzgRfIsQ15E1a1ep9ZvdbO1nFqBDKFxAv
WoMOPtkqAqpeCZ8of0uamzB/lDkbZG3sF/0bJ1HPMj76NEQ26bU6B/hu3NNg/NTSm1mco5J5FIFG
JipnAAuHHghcAusiGhkfycY+0BeyocPrsMy2WY3AtMAemaW3Ea5fAAfXhP9e5Dw0HYTwJzWub+ZK
dRKswGI55pSyi4RYFwZIqetuFUhbUJ3jlcYbKEPEr7Xpe1Tnfi91fpgkENBrMhhw65CcpLAVxvaN
bLfbwKYRLgPYlZ/N6rYtbKwHJL3QDbdKHRIIvmohkPGT3dKY1wuURhVvvEE0RseABswWwvENTiIG
cCZBDuQFDedShGjuhxu+8kaqn+LkwxQfU5xtaRxzAWp/hDS0TNnNgD0nm8Ytw15vsaszDsVo087Y
/KIzEW6otiVtG0/VVd5AbQvhik6k3IfkCwLnjvFcq+TMqOEDTQjgJAxlStMVYt4Y1rAbpXuYjxuS
Vhze90xCQ68tLpyTGHyU7ljupA44hNhmKewyGtplsDhys+AO7kixAA9JxJoZ0NyTDmn0uWBXtMtd
ajGs/+rjR9M85Mwkem6ccqySUxiGjpY+5zOl74M6BuSBezakU+1H3Gl+ybgDrVoBNeDO5r1grZa7
TvQ8NPPJlISfFQ1DHeXSmbkPNn1DFJkC7UsauMRB7eXlalpCHr/uFviy1frRHm8VllaUZE4OJTls
buvhknePU2y6EFs9GyH/SATTqGWnSJF3daNsgFU4mJDAnGj+yPmeosJrh0bdKBJ95BzZnk02IjuX
5VcrRchG6d7ehGQOQT5EqfgZhmfDjF08AJTOuj9TUXGKdObsK68WgtuOjXiSrVs7LzcQm8iyYrV+
WOIU9K+gj43yagyPUt1vZGtrktBlgDysEi9QYn506IphF8nxhjeXrTxbuSfROASKt2Eo7U/mDUfV
XZ8/D6onB4dgemRM7MnYpeOXutxDEGGpxW4O7bF/LqBapeWwGZNzbR9TexeyH1B/p8SmJe21AmQL
tEVpnRPjAsniVIs74mEIlt+I6BgW90DbOHzY7ohNK6RWxdC2dtzcxcRkiWxBwrA/RjG6dACwoCyE
zg9pGKkxEDPJq4kxBBlW40bUNz08neRHYcrMXfg3I0glDx0jBJFXHpksMH+HaNn1jrlyIuraMbCH
BPG9GV3C7M6U7zJxU2a0NfBjctDXuTwTApFgGZ3SvjalRwlkoyE3x0i+jAW+2UJwgvkY1c+cyCqm
XcT+sIN0FxmDZxE+1MNXk59MhvcN2WOiBhdqX3o9PjLu3pjqc9Y8BkrvJ/YVJN6DFtbuQKTGmI8b
O1L8fLGcLlT3+Ad2GnoPu7mFsuARvHyv9WhNYpzokuXZGM5zeI36PqCPMGWXrP/sk9GT4/g+j08T
j+1UMfFvC+yY7WHAADK173VokaM8g98QyFjA20wfUTVSZb0uDft5dNKUa8GIdpzfc2gGAQyBnKh3
0NhQPJ1evC5UXRVbRClMzGi2o8eLp+kPWaMDYLCcnOQSFXUUqRcbybqpGdyHsuy3hbItwAfmBpil
GDgZBtm8Pagqx1ckiwyAeu41QyvPMj8nG1HHsxix0rEnlsoe+AZyK9ULrK+4AaZWPnTVs2Z9jgHW
69yh5t7Iqe5mxHHOr0BxHwZwYuAZRkGrdb2P6i5OTHTHF718UsmvNqrZXf0EQ1lu5cR2KyqIeOrd
gPJh/OiNr3XUTodTCV6nnOVi3tXKV0WU0OoMNxlC5/lt37MQzfCsZJhvCLuTkBZIo4pNlIit+DGx
3hrVdttecUiBhOQTc/VwcA9Q3biibDk+PGpOqgG7a3Bqpq8wBsEqXaIc7TTnJ0360MqXILnLh9s0
TYkXxOOqZjtLaTwNo7iQF79oPtD7JpG8RV/gQjySUN8yVE2mh65bth0FitEuXtIbqGGOAzwBypoe
TV1ps1Xp78J80eLTMoX4VBAWgVtJ5dWce2oiUM5XCrwozkrbRfww9XfASBvyS9yADURhW4ojwyv7
u2x5lFom/30Cc6XhpDm1ULgSqpb1bCL7Nh20sL5LBG0eLN63a6VVL/OhNm5yCe+FIfnkjbtLeMna
wlUscV0vRNAQJDOqcIEV6UEFVhzLGfyFH2b72WT1bZbVCBcAIUnNfuGEktt7w+KiakgBQWpSLyHZ
pH2VdW+VEjIrHXek1AFEdcxl9lPZfJr+h6Lz2nIVyYLoF7EW3rxKCCGvKpWTXlhlbuNdYhL4+t56
nOmeO3VVIskTJ2JH8Ygt16+WmzXoFzJVfgt9qEfNyEYvqEu2ejaOKH3ZwBBe4eraV6y5yuVEcGll
yo+hvTCNBHj5N426ge9ZtcYnWIuvmagjH31l9eulA1fVladMHfxaOU7JbcIpX4I/nt+Meh9zw6jh
Si/sd50KEwAcVBhavZYd4nQ8xeltAHvFqtg7Wt6vFU3+ZC7BEHkr2SA6vyjAnax6oTXsKuC0xBHi
HTtVXf3wpuw89nVQW9q5Leor2PG1sJ13CQpE6zAolREwro5r/LDSxRTQjriKS0GBdxQUSbxNbDT8
SbwwRAcxe2qZ9ocCTLCH8SNP2wfQjCClOIfauvQDRs2v1n6W7tnicI/636nay+rPwYYsXcU3dYLr
2eg8NJxZtfwuvX5fSyqzQEc0i32ayctTHnYAsMGFPo22gygDlIBQse0j8jocMN6ZheO3VDz6er/s
kaD2xOd2XnytBPyX3D0aVr2Gbncu6ELk4s0F233D37gt7Cx0NY0sPNkuc95JGiMKbw6Urg5V7eh0
I//4WQIwrrC2rix81GQnofCSyOZV2YmfFkxvwtMdG7D51M2onsWTQpTzVCtirWKOdThNsQbv2w47
6MgFTVtCKyl8yzoWM8oWl93a5Nabe4eifI2RxWpvX5gOXIRnplVVMc9oQ7vWhjjIKribNa8h6S3L
ahnuffNHPrICKwkVAs9lDi7D83udaSUm3KjWZggZG2DwVdF+u36LYyJYsgp0QRtUs82ZC1LNWcBt
1Gv8qWuTFzp0hXVuAK60lK2H4iTqOmDHiYqtr2p7BOWcbgkrb2aNN/IwXHj5nUvArlFvBAmFZq1u
w1AffWbf4+DITzNerpRJGZiStKM6Tx+z9g97kLemYMHzvWY4OW57RrKEofcwCp4AmMHN6F7GPv4b
arktpPo6ujanAr+GaYB492kX9G/FMsP/yhswhZJcds9q+1n5tzAmevyCIuG8j6WlQ+Ebi5VVcRzP
jvsZQ1ZUlj/hfGQzPsr+kmrZVvYOVKHfUqjvujbSe17WJkaiiKo9GX2T77EuLol1pghnCklU/Jcp
+I5IpfXdXTHZrNu/BfMgtgbI/WIgs1eox7LztkXtvBD9Xnldjr/O2OXqwXqOVY0HZmzcRRN/DdFb
VLHK6ACg6g39cuuBMoTagCBV4Ja3a8BeFEOU+t2qjB9ZafxkyD5d37N1j69lAglNezJdtYdhOVfQ
CIdpSXfE7ALI1+lGIsC0yXLNMRYV4I3q2FvNabYatWYfUYdpN+nd7Lm04ZsGf1muoLX7xN0/NYmU
HKcdTEiMh2nYDcZf2uOOS+Oer9eCS3uAkCdPVgMeOVv+yFevrd7bV5S/ZXWK3/dhOxNfIjukG8+n
eQHSWHsSuBWkvHaV8ZIpbdgax4kDTxymSSKiMk/NZmC7JVFK+9zHP+5QbvT2D1/X0XZG2uK6lYnz
K7PcUJXfEzYNUsurhYObl8pLwj3aUS5m1e7rntdz5sKzWHZtPPyVER3AjEj6JA5ZlJ7S1g6bItm7
s3v0phr4ptE3+6oeuH+MZOkpd8TyJO0dTVkBF5Yg4snMW5WK44r4U4FQ5yjZelaWQDjaxQPnGuB/
E8c6MZKt48Imzpwd58xKt8ZNZc4Hl71CoMT2FzSRsO9ZsZEJTlFqqqTnS11WPyrFSzej9MpVbZj7
Nse1jrLatj52sZk7lrgYTl7/QXUwiLN73zhTs/My18XfQPt6mLmYl5WSFYWd93+1pfDKTcRLZ/e7
WXg61qqll+96ZQMMbPAeNqVhIlxyGqjGPGz1OAWHUSbJe65U74Cthn+TldYD871VQ4KSxtnE0X2j
I8W7AhJz73reAOvBWtOvtNb6biP9Y7DbwGnKSzQDfBs0nhIv4uo6zspOabi4GMWIATZ56v5s88/A
Gir+6pm4gV43Lp1jZQetcenM9Nqrnk6QBzLTW4Obu0EGSp6PS4v/JqU8Obrnns7Dbaqs4WOR9atS
c75HjxI12j54CE0umTlSTJcNUAoH0BDaoppHA9Qqgmf1NrfVRpJO5Xq4HJLKrgKOz+qVzleiBtit
LUNects9dOlgUuipLT+N99SW4nyfjs6HTdScMouGzX3ljrci9ox3GXMz0ZOhW0ft6K07iixG2SLs
Io+AU+iOaVFQe4hblR6a6Wi7w82YxKMql79uGW0Sun2YO/EpzupL6tg+sPT2xaSqDY0tQQVe1Ny3
EjMG/ZPt5iIpffAb89czkrKaYlLgIo9ynm38PpA+mPg8+CpYQPMNNR9NoJHOh5pTrw1Ossheggxf
zEFOgllvJtSnFuNrC5Q5580pZHQrTftT1va5pJVhysydyPS7ZhQuxF/epW1HMrg33F3hRe+UyKlh
wyivVMW/Uc0zpEM2KWJh/Fft+X1QdGuTzHrvTwMjtugOdKhwdFGsPTjnxm2uMOKLzdwo6TpzG/BJ
Ss/7YZq0rZTD4ue9+Mt79/lRitFvsvKvb9V3F2ruBqNn4zd8+mUWO6HbYjquPfOrreqjl/Ave1RA
BE2cvjiJS1qbNbmKFNPn8cF0WCIoaWH4A4B2rF824v6cUXIusulQujgvVTHqu2Uum4uCjXzdM2X6
NH0hMlM3vJHUkx5Yg6DQKaILYyZBNhQaHT6Yz5G1OPlZ2s3YwDJ9TusNyrMa5KaW+m5TIeDV5Wom
CbBSx6r/NYYFUqRqrJyCSZCM9N8k9aoOk1k1PywvKpDysB691In0aA2px/QhqhZCkiOhs/mTWGBW
GbAYEbjsuALOPNpMaaWZ/RPqZCFqAJu5OdI1q6PWTEZoSs170WhraZh9Y86aqnCl++3R5Qn5Vnix
symITSD8du546cQy+FXMojszxuouU8/6I21AYmGhPVJHhlYDR4wapyYFuSBYeQWicvU9YrGtlDdT
bZoMdP7zrcfTqGWP0SrpFsciUoaT+5yppTQ1/CEOA2RkFP7TDemz+Drk4P24krUfomj2s26R8Mlv
miWePF+7PzS5x4MQ5bd5HP6zK9L1sxWUub1bWopcc15qaVWdTVEdGWzPSj5dc3s4siX5bmRzBdFy
Vqb6wNosX0kIz+yNt2k9Bfya/8twVQ4po1Hfxl9uMVmocCpMKnoc/dIb77G7hKNSfI5q/PyyBpbe
bUz1j+ajP9tKDmZJToiell3vAHpKVL0MVDCghFBSz7fzBZIZtWh2Saxedap90xXXOi6ZYIyNFYvV
HGGFHseDO/+nWSVZKO2aZwYjmIkGYPcf2WABtW31OYRj/Zv11ndKOEhviKTUHSKAAJcdw+6DRpCk
3b3Pze+pH/ZTl58JFw3feZYWV+A4BBBc0v6MD+W4qpiTcjF9YfZ5lrvAvClXiiVmvt29G2aIw3sK
3XXSWfCz8A4fjHkO0qWihrxnOZbW2m3uGoXiouq3pvgVhwF/qO0s64LIRuBSsFsheGKH77HHcEyd
27KFIeOaS3MDqktLjJp5yr7z3NPSCgKr+X9uRm0UqclAidKjCkL4hg5SB1o72P4QcXUpLJtDHZEK
18oAmUoUF0WSVDEaCglc/eHAdVcMZ+MyXDi4QRrV5e6U8FMO6o/ngNwDpnnnWnXNXGeGxY6F3mnd
c29OWzH/ywRa0jMtIEVzrIR3Nuvx3M/Jjs4n23dUEBRlp/mALzkNorMn+V73s3NrlezSSfzLevNw
4QlcSy2zsJxHgqWK2n0rttpmyOlNQgouvjW99hELqKLzEo8+MH+yVk03ALyGvsX/aHkY2dxh8E9R
LUlWf1Z5EyaDrHeFlYtNVFIAXGYGi2kvvyjjGMR1yQfhllOgwxtTXaRpVj0YNkHL3tW0Qz+3ke7N
g+HR/QT8VFySSC4fRqkPf4B5VJ2107BhoN/VrnGKInxpNoj5eHRCuivYbBfvkosPvbIHqb9owwvo
LoKA6quE10AqeuPguUNxDGEn3VSKk1Gn6dwJKxJqzjIcpor3VaHF6DvK+Lz9s70JLJilt0Tl3ZDj
HuCth51lotjPl6ylNy7v0yVJb9ihCVtZGg6NPPblrHy71eC8Qyp7Ga3qtUnxinvAQwYtYikzBPak
bboE4Dc8Zyd/FgcPl16pH4yUnL9UyLMErqYH6XfseJKRGPVzyHZKXb6Y1TtHI+TG+hyP2FISK/V2
ahaFnkmV1JjmF9G0h9QciYvZO29yoQQPLxUy41zAMymnYwoP/jlCkdBcKzYlLvDph0xcushDuKo/
OighCen3UhwKwaKi11+HpDlMdOKQrYoO6QSusOsD+qWO3WRyxE6hTWhPca37EAFEbY4WPICqVdZl
ZvoW+UidxHeWAtY2dX+G+SmBC9oP1c2/ah6dzGYthHncyd9l3p1NdtnVe1/ThV1zCXaDDE/XnM1Y
Z8KK+dnqXV+T3656By6eLp+FuPf6m2eEMKko+wF7xW9gF0sd/0c4cC82SYoIGyJumYGvpS0FdHXG
Dk781BQYYOtdt9RMl9Mlr99HjrrS+2faWBiZ8jzCja6klAnDCxNq9pQ+vMfY6IHKzcfwLq5zhuQy
ULA7vGr6TmGjyaEhCyhFLqHnA+squgX9RHy17l0sLyNJEPhxoQKieU6+OvDoltgaXDLI3K7c9k9v
Rx7Xl1p9nxgoVWpQ6szam7XYK3zWoiNJP9+85c1NW19kz/zWLu+5IIpv03uzZLU20E5gkoI74mEt
ua8WtMaT6ylvlvGuGkx0EEWRZ4qb5ezt4dTSvPyMQbZXXPM+6LhVYQS8NJk9pzVdN+savq8wEu6p
PFG3Lo3WdU89Ozvl/FPql76WQWHsR2jBgkx7kn1FueIX/V/BdcAAbaV2pyYNFdR4mNXMEPwyoyqc
l29PvbKg2SoTU/QuRpBzE/qBLob5X+3tPCT0bvzP6bY4y8MKY4zGp5ITO+U+CXUeJaRUVRAK1aZB
ynHPGYBp/nDfjXd5sQbE6ZsKkhaaGTcsfrm1/KOfLZzde5L9jDZXena9RX4sC8K1CkIhiwDSTOMN
MRpOLlI3yzbuu+sBN0QlNR8c1sYpB3SZbuOwB+v5m6AmEO471e1dEAUh9OQ36LxGilqE+jYyDT4H
hao4ktoBZ/7QR3efVvkmnie/e+rY3sKCPxT2ObU+DCXkku0rLHppaZH5W2d/GPm5wBZmf7gzdGO+
YlxjporBm4+OaKMnV+YCNHZI/2uR9Hse9z7Zyfyrmn8WDhGtprCp3RrZfvC29bPJx97bqsZjAKV0
8HXjPTEPAz2lfaKulOGaK16ANox8muNVp2VlvtCd/J2JrSc2jV1+WO2JS0+gleq6orUxHVV0Znoj
myDvDI4BGh0UrPf9E0sFMAj8aQcgzKbgpDhFc74b3A8YNHhKgki9YRFYZ7a596x7E78ZjfZCo4xV
xdSm6OcOcJVWktvRf9W6hOFchZmabXtnbejtysDipuN39Kt+OhFUj7ksc6gC5q1W9Tie1JY47DJC
QXjKsTD7uaFjczwx0fhzIsNCsjuGqHZvl/owmv3elJXclaK96dhBIJeu2vr5kAs+mQcXJ282dklX
r8Ep8Ube6jPzv/ObgXRGalRmroS0J+QREWZMI2midRsPBjUXD2x33E6CZ8wvYX0/5+JatvWeOo+V
JN/dkKwckmfHSbrB8rHJR0B5Fg4L9+cpfWvdp8spLrpTTKbDVUNZfyNI7k13r3OS5dyRdOtapKBo
HSx138700GR1M5zZR3EKxNPmJeKtmToUPM2+whVeK+8eX07cZOsiHcGd9FvNnelyQCngwxVERIGz
rnibWt2n503XhmOBD+eSY7nSh8yfSmwP7Be6hj0EYVLQKWwXoVGhIkeAje3Cug7zjyBOWk8RtNwO
RrcRRBMLwqk7k4BgmSHktXcgDd9dKIcVcbjCZYK61TNqHIesQN/WJhh6+A+B1pKm6KDDVjRRU9al
H/WeeeRDqi955K6YRleKucs7HIymwY+Bffe7y3CPzJgwJS9F9bcbQiW/28txYnNW3XgSKRXc1VSc
KvPnkH/0dhN4nbKO01PPKilC7m4pEvN+RuXHez7f7KTrT6VyA0shXJW9SBbfk/XuTBsTy5RhZGT6
HpperhMCrKxzWmM7IYT3UOdV6tI659WMKVqvgkTs2kH4FeTgOkbCfEjtsy3EOeOUjTgJ5utS4hJT
HgSt11J7S5Q/Q/wncL916dZZXgoGq2K0w2pCmHhy02B2NvWw7/BY1+4eI4evOn9WvGM4ZM2/bVmn
16xAe8x9RrsVA2tD75ykgdq+tije1vSb4moRn1XhgCpnHy3+6MQ5CORbi5QTXhsGslWtBBVUyqZh
976wfHlDAcb8l/gO550GWpTeuLFwfYfda8NArtn5DhDjdU5Jv7TmWmBdNod7y4bBpnmhUg8aP1Rk
vdoJW3eWvP9VCYaIMtS7zzyH/3pOekSs/sclvo/IFi3etSzRrMo4Cktb7kuG7FrtvgwJHp4L5xTD
+eZ6sJpLwpxPbGoOidmwb7YrNZa2AZmd9VDnr/SdBjMrILdQtnKWIGoUHPqc8jdRnV3jI+koHRNB
NV7HdA8cdWW39255d4zXwvroix/sC2Zy0p6nbv+Yiukc57+EsrZlfad3EaOKn1H8pBrUzTHe8IaW
+bHut2OEOqmt5PROXcmqLZMt5CQ+z4u33HiTrMVwblp9RZbmzYjpnbOxGvRk/uMdboX16KwTXtBi
k/K76HRs4PAoyEqzsDjnJEnM3wUGnEV9hkGilF/JkhjPVhM0Ed7M9cbKBHF83X/eKRo47ga5I1Ny
qP9V6sfYX0v7PA6XUfkt8zAV/0xvhhh+GcFOquNjMU918+our5I9L0qwyQIK3X2d/TLdrW13DhE0
mag4mUCeWBw9vb9oGnvmF9vZR8z5Fo/MwaTD0GvGK1Apv3PVtUaTlgKn8lg4W1cLqqKl6ujU5PvJ
fhl1LFZLzjgTDPmf07y36l6XqITRumrERzk/CmUIdP0F4cNmi9e1h0pk/lCjYEZ/SnvKVWfVJfsu
Um4NrN/B47umA6UI6yanlI4hmldVZxWk/9iUDt+dDqo67T8X9gelcSR8vDK9izCm9ZhHftJ6/oQo
0dFJEJkH4KPbqny4urLpjKcbA82RCzNh0u0CnKF2aKLVsyBa0o1uvz0dQdq207DgEsKiVXVTgKGQ
qj+joJUJGuXY7ROIfZZ1dbPTZP91XcFbVaHdBmslLOcGQrWw/zx9CmDabcZmh+OW2+2tRT0H571G
dl/bePErrm5u9moaH6aDRGUHpK9w8HMMpC1LYUqFcONQzLTtVUblz9SL6VmgmSs6OCwtqmaPDEtq
/VJNMyUHHXMIV9B2L7i0qkm1hgq75ljnov4GKJT3WUSjxTlPz7gkw9GuQj2e1qa1peCYrGHCXoSX
ZX/uUFltbzcopPQpzgxa95jyPxfq4xk5HvT3lulqeXAPFzU/3TsnbMaQaU9/kOhGDwp/vCdsiZZ4
cxywQeuRlbmOtUcsd4cqtgkjqFJvCLYFpXvSWbDHI/dpPWfFTb1BG9pZ+0S08yoqQ7OZEI1uCnXG
euTXKjmr5msogJ5G0cUW+ldenxa13PSaEQwtKSVKDFV904uH0nLiSutgjfwpCg5HSqwkjg0s3piQ
We3RPUW5Ij4VUR0w/9Ov14UJEO+xGL4hKh/aboEZr9YDzE2wzCZBeTRWCyehjZZUGAZxQAq1Ipwd
cxZtiwT2AEwMevcISvWR51dpRseLWd9lZercSWXNK4qEW+ZZlDN73bsVJfwLHoBJMUeRb4qSW0Xa
/rqqY669aXktSwCGdfJfZmrnieKRF+xtSrhU7jFyile7RD4pyfBPGAImvQpU+1lNqpavS6WcZqgl
VVG/SohOu3SxQyor1pZWhCnPQEKXRbd4H3L2jqiubsf5luKysitiq/1FSfC1jqA8MG3ht1qCeCr3
Cm5EFmUsB+V2kkRyibdWPY1N5aEogIS0WhQ4FY3GNE/9c+iR6zwo0UV/EiYfctee07oIEaEoYMVm
U5ufZJJerYJnpyuvHn3C5P7pFHCAJeCwoUhBlozw8QQaMlpowXaN2R8s561MOSd1PnVcL3isvH9G
V+97VXLULI8+l6/aqECCx2K2uD8LMbmetbLLU2jwF/AaUDrlyhq3ZcVr+tLnd6vEvNlQfkQB1DBg
71xwnemrYYQhWtHOEczTfpaFT6HgVia2b9bmt5pBvY1S6hEPpg4Y/DnLw+pgCcItD6ivZ9LKvSLJ
BYrUd8fIR+Ar9KBQyfGgfC9s61cTG5pn3qB7W1DD5cSuLAf/ExFQ6P/jzciCRpmutU60QXD6s6V0
H7jdR1x5vLXmHoyzs26aqyBTQ80jK1wSgMZKocY30TY6HNiWExk+0HKMuwd+RnU+40ex3G+LxtD4
v67dl/Ij7TlPz511glhTJydJs57DD/LWIHHOW29EEe7abYHChL1CDBeKAKIuyPvnoilABeurfVJw
P3+tOL7i12GkpuBjxNhYXuzopP6V+NTmF3qFMBRKO0zdY9cdEgw0QCu6DBaDz/nSWS9Uwq/50dyZ
ohm6JTmhTZqUj/hC2OwtdBrXwPaDuHiBSCFbuox38/iqyp+2PcegcRpgmyvvt1D8FF+/DYQiXf4a
DQdx/joaL3xlWZvq+psD+oGrUM6T2de+TkHIg/8KYM4AS4DJO3tM8r0y9mqylfY2ZwK2W3pU+J0l
XPTfhLfTkdIG3+D2Kj6V8WYM30b5OyTnpeYPYNChDybzzUTz6cO23jTvfRm3C6jU53k/6KhRO8Dk
hLr+082wrsPKuDGilyVDFDh7a0PdjxffO/3clP9Eh4h2ryh9oRRwrZuYanZV9D3gv83+iHcU5m1+
iYpoo6aYReVVwapYoHZ+U3ZB5/SaH2mk18LC4gmFnEn0v2fvUldhCqAVwrBWKd46w3g1GW21VmfZ
qXF73OgGr+pNJvG34Jubq3Va/ZolD01x0qw9edOIrPQHZixvwlnwXYPE6kHl9CHKiV6f5wwO644+
dTpkfCw2/CIzDP4j9R2Dtp7jALsuMylUvRjbR/XHCCXVxtdEWChBMm7U9hNkFLyaBN1AMpjVPmsG
NX84ztrrz7LW/bF8ZMbTo/wCVl1TT61c5c1fkkLWmoD+//HX0rMXJfObYmfXO699GN15UM9q59OW
wiVm0zVXpzmlICB0+4FK4/ZfBC5qfGIKQjV1Qb7HzoDUXsJRAHSFdwTOg3GhqWM5WhmwC+bvi129
8MJgH4NR13CddeudIi7g/1hjHAxWrkO1cROwKaqH4PzWJixOuVe4y84s90PGkak/0CEg0ixOiI1k
eb6lmxdL8zWKntlwg79ADgbMUzo1KMz3zr4b6AbC2sPylwNmmdcMpIXAqCNWMVOJPOrlV8zRN7t7
l8WzPCzqY7Helv6S4eJAlMvDvtwWWDNTdu99cSq8WwGzXnCb4z+jkWT6Kc8QYoQPr4slVzyEsLLX
Dvgtm0aHgHWsWhy1fM8tx4mOJYa8OjtGKDPuqtL8ZNpW0X8Nu9EGsztWVM/+HV2c4M+yoXs9l1sR
izVFhHBWSCb6Wf9VN/cMO90SHbXxR5GUtc3HHEeTNd5LbVPQ70pK7nnUeGt7/m+Jg6Q6Vf1KGn8Z
Y8pE553q+oXYGG5AfCYC7434udbbF3W+JTNfbZp7CXKiUf/jsZ+oVRJ/JhfzRLxNuEP7gv7B5JAj
L6f3FIgc8kBXPFpnw06SpgaF8OlRrRDsPmq3IY9A7AhdJ/cIUYcKdd46zuyyRQ1stvZEmCA0oxBD
B+2o8M+QMs8i/WrGi/OAa5T1rwPoNjggojmk9hbvbc7Lgzbe3NjQ/G45K6c8YW+r5eZpFBSBZuCG
OTfdiVSXDxabYSTs5X8D35r2NDJ85mQJ3c7ZNPPv3Cm8bWq/pH1QxDNr+1DvuZmcugbxrACoQjmq
5SO/WDZXxZlziueSV8Knl+3ZtVjjsTR5Lm2QKVdmYWDK47J1sY5IrGnWrrb4RLRTooUTQiqTtGN9
JtyP5ia0MqzGeJxlf83nnwhbUQfVNR8Gesa8bd6CvyrHNT8YBkSIOq7029J6Ea78XBDImqzgPUCy
Fh/R2CNcj+xAK4twsEK9rGds3Mi82P0z1G4ZoVu0eycrSMcPm3gqfENUeyI/bGBb9ddp5aGwmpNX
Jr41HAikyOYvY5eMeQHA1QbXCmaiNyjyYYf6b7KKr/nOGW1Y2Mou95xoNSwlSf8BMHb01uGc0jVs
e7zINeiE0yDCktCvWhissbmvsiZvUhX5XqzHAVyBsD90w/oXlfoqm4+JRSYnBTEAmyXTbgWVGQuJ
a3a3qLkZnX4F78eBaIC31xH2Gxrl1NgOegqhy+nTcSP/WayWc3q7dn4C971n8RhUlbat8uF1zu6R
+oXh65KhtOQ48GXWcGXpgNepNDU0ZBh3hqTeyUB7r19VquNzl50YMP1IUrg54ZP/UqNtvOwVUDBS
pxI0Pcc2JC/D3cQd6xMoodF6Mf4xBtLKfkg5P0uec9sq/Fh9qOXforobeiA2Mz7cSXmTKT1zw7It
6akSPE2DgyU0y7eqQqbFzn6SMt/SNharvwuXR2rNeN+A/QHyZj9hYaqF3dLBw7qXGkefDq/A+Tdm
zbtAjZkXe8fFZ6ODYjPkXRfaZkE2UyQWRvagOTNPSvcKKhNAzbAxsfSobJUKI71ZmfwlqxqCUCcS
h+zoUckETFUycfTMMBi5PP21Md1Xd2o+O7fbT7CNqkE90Tbsjw4B/eooO7x5ALRajD0e2Ydcbq04
DkkiBzMlXBPgqZbgqEoApDPyfxM7pKzncippSmU2VbRXqymCNDq27UvavJYafnoKJzATX5JkgKeY
QIj4TtxhvaQPs7OPeSXXFFWuyJJvKTghxLDsSqYRD+DO6I2bCDo9HVmh0SxrN/K2E56KnBLJQgoG
n4LErnbM4UqlavwMPJPhszZ1+wyIJJseY6A3NX6lUr9eVM/56NWgh4EGn+ynTIaNAcFCKftLbn10
CZ7QTj2mS7Qb6/7Nsr7mkQRnvPxzh+Q+5QryGvEDIqV9TkMSbUhYvet1P73Ubb1OgBu6dDyaA0g1
62NyCEQkmv6TYEeniDvMBWjLit0VAmRFYIJtde+9Rc46dt4qfps45rdDFR+KpHqx8443Hp4mGE40
dvr0qax1eZfDZqZtsGloHN66LjsExwtmN14rlFu2De/57DxDZ1NKB45UE9IawcXo3RSH2QonjjKT
aS83UQpUFhNThnDGbiVnuyHxacVsg4j4dpkaqiq7U6Saxv0y2+hK31VIPh5jLlKr1gfmwL7HHs/R
0wQPWMHz2G8StRpj9cOq7bWLWpRH30r7WhcfziCogqv3GUXfRsd3uhEb/Vk9xhyWmMa9ojxN99hm
Sc6v2PmmPhVbJXf42ERNzLeSQzfHNE/pA5jBeJurNOMpyck0WIJkjMV5m3w0qrl/DqB2cTL0N2KY
fO37ramzKouIk873dOl96vH47VzG8VkFcwSEsxtGAANPIkEb9aGBv95JqC6zUrmxa6S/vPFHrqf9
oG0X/d1N+We2Zb3lzbMFGbE8yndwP0K84UgYiNQ1iYa5Na6yNr5UE4kB28126sewSDgziDRQmrIW
7UOfk33DcUddGfHZlrtpHDoJNd+V9RY/CUEQWpMsDVy6ztHt+YXKkPA0d11qWmv2ERL/EKaOTIqZ
fzazsch39qBtZv6/qAZB62YvZ1PgQejPpibULHtUg+S+5BTVxc5Ns53QVjidHepHbL7k04SgNw1k
y7V1VTcv0orw4Ci4m/kJIuheSXI3C/UrltE7lJl1KlIKZOPr4jLFL21MyLC7dNZwLFhMuKy94rY8
icY+ahwsXcptwsISyW91TuIThTE7iSZE59hJM/pbgppITmerA45Ro2SrJxq96tG2G1iUdvouiyUM
wOQwNuw0E24LXXovXBpay98IUJxMwFbb4pRW4hw54unVfaMPd61kw0qC67KGu0cUCbNfaGks9tw4
aFjKTdToWqa5coZrRuKxLufTnIm9bSfvaZUehU2FcCe3KGasnYonDdePFRIr+UJ1Iiu2IRQ9r8H0
1ZhbIDggZkm0W/N2YYE7C54v2W9cglqRnLfOmFDgllwtGnHMvj9a5Nam6h4vCXJ8yZWl3Kk6vgov
8UcWHhWbGDubz/zrx97M3zRXPw+QcWvP4pxXAy2ZNh3VyqLKkS9j6grPgv6zxI4CaqT26dIxJ5oY
P03J1qBPs52ZOz8wf07yf8LOZLl1I9uiX5QRSPSYin0vUlQ7QUi6Evq+TXz9W3BNqlwvyjUph30t
SyKZOLnP3msPTI5F394pLtpMlbiZFUrJYDVvusXBofIczc8koUu1EqJCZ2I/KCMijar/LtuqXwqT
rpnCyH+7pAfZnnZI7iYOB9ctcetgZHZyM/oxir7cIxPKPRFi8aQlSl4bZ36EWcj7cI5OjoEcVuAx
1Z2TIcS0Ej17TBGpz9zAIcOVvDS+G20OmmrWS5qkl0ijx7b1IOfrghXi0HG9KwhMpoJm65Ii62XX
1e+u7c5g1x7Bj3HCK7+9QuFq7T2MS5P26/hCW5BiIXimWF2Jkfu/CBNn37IOSoveXOQ96qtNqTL/
GUZumGwueyv/yxqr78a1t0YsHlNmozrs9thGbWBa7mscJ2fEukXYEiF2onc6TzYhK/DGppaR7PeD
78iEKpz4psqGBQ/hSKehXNfYOP5L25a0xPwxKrb3zVIjCW9Qf9bTjS00j/cdxAfMAFbF4KDi0+BM
ZBDCj/ntq0awTIU95xCWFbngMcY8k3urLP6hxHWZjfXWU3e9rB5l0l2b6jN07okcuUfgbiCm6NjR
08S/X/ZY/929Ve1VjLhi/0p9q+F79cKtaX1koIL6orvrGHeldad3hLGV7qffaOIAJo7blhs9pvgV
aB0lXw2T3zRBgWH6fEyietvk/WokRs1kp37xtSO2fA5u9JTJk2nuMw33JjNagT1zMtrDRMsmDfYr
IL7XzHvyPHK+NFmSUFGug33ytapxH9fPRX31e6ixbyI0iXJgz04PqU4wFVwO3aSRghSQLyZT69cz
UzPHm4bz2ss+jfJJt77B8mLOoICdnVMvIVU75qm1SUO0zes4HiACEhlIN6bM1xE/v7AufsTxyI8l
tXfJinFsapaTGBoobFj5nrWfjTfWLFvUyYl8FBmgV6VFaFLYaPHUdEW4gIqxHxwUTrrPGPW4ZvDa
+dZiGp9sRicczATwWEKyp9s09hue0+XY8zZXH06wVtCN7U+3Olh6vEhqihERgfz0BW4mqwzaFBmo
uOT6frEMW+fF4/lX0iKtECs7B2EjNPn7nGu9TcS0NvAlPgXDtER/2VILyX3Ov3cZNgIO6ywVUCVy
hnaBMzQAsJxT9G3vIzIvdY8piuNLTeKScS+QJK97Cr2RsvWnVLz55ms/B36u0aQj8iJwRIs0I/YM
e74jez+f1pKJzEDsa6tPNeRvNX4HidVEq9+TInxHoz4ETbuaCTizVRVPU2c/jdawaslLARX6bJPx
d/Ragl/GjrvRii/y6GOmXmeqRg0r/VfV2180ZjKZG+3vwKXMSTUehzkdPlqN6dw2htdQ5zU9t50+
YbghYYyzCYjRyeP6FnbZRcfnXNdiX7otHWeEYPFvPIgQgz2JOlLCVAVzg8iOgERPbWE+CbSGkRK3
EEV46KtTmxfnrG+Osd8vOiZ2Jd4FBOkqYUP3OGg/KUdz3/8kZNCz6cVEvO+cE2We19YKlo0u0PvR
Nx9CM+KmlJwaiMOShiwv/tYxDQ0D45wdpqyU6+xuICnmLonwftxpZIH46C2ZsdYOk0vPPN8h38So
lKoY9zAf1l6g83TF8VMQ7eTrRI+ONV7ytn7KDYO1JJKta9NxBSOhg9xWSetYF6jjTEgKFQE0lVl3
ezxH+6D3ME3l66rFfcAHNBrig2Fqb7CQ3gLW1D2BCj0sVxRTHCo32gy4/Z0QYEscbHwm26qwrwLX
VhGHfGq2AzeXItM2QabtNHSDQkfXK5MB4FGAXCvuxJXfRhutUp9YZ+GQ5WyxprfCiV8Lr7r6NT9S
ZXcvlcMjhOVByJLNvWOVPZfRfPMwOn/tWzQkNVxB5xvkGYQiyXMv+R6n7K3zdSaz6T56yQKeyLDs
mqRYqKQzTrA5tPOQ1Te7dV8mYZwHhzbmDrLQqkmGd1ILs9Fm7eb5T5A3qMoTUqJgxk1BzmvhwBIB
1NCFMiZ3IytEI2Msv5K5m6+vuZtTh37TvPE1G8zbaM/4gdrYCMCuXZasDKGP53LMHv2WfGtoeC+d
1LxHJ7efaYT9TmLUDgAjDctiNvgGOMiFHJ4LBG2ONzmSc0FW777iZDy3DZmwNnW2WCIJEod73ySK
h+0ePjj7/IhM3TPW1aNk2dRq6PUm73h1KPhhcGtndX8zxbgI2I0hpGpWtJCsLZp2S8ob1szE4SZS
RIRi4XXFe9Pm5yD9HNBNWxXvR48rlLxmMX032eBvIpcMAsuQSlAIzBi/pSERL5O1qakFpCE4I+cA
h0M2C4WlW8MC7bFz8/RgV5aUcenRRpbeoam1W44EVobDm+/la0qvkx68mN+Sai121FUuWKlwzR75
Esws/HU9gpMa/N+pVt+RtlFTdpqbCHquaEZFX89F8b4jUZgTVWsRqbI7FXPnWODyoUhy2zd/sCFX
KScynW+DU68jGvV6gYdXDBeZkesPfXF0Te84NfAWJW6+lME/Xvex/5I00Rak/mIgLeHwJmnzmXrh
cpfRDiEp3hwrgXJdAlXhIgU2EFFfVgtaaLXLjLAfAJYjwFKribjHZ5TdEC7DkedHFlIYzHmcUZXX
IvnESDwZtSsWG394c7yxWcYDmmqMe1agTMqfQkuXLMs3ZvZdWd2m8NuP2nuDorDu2lPKtmec1y/+
y2RDTECnzNjv6Px1i9JpGdeSBj4Q/nMjBTlp2t6dbt2jaEOKZZTE4Gdpu4bnXhcxb4QtQ9Z3hmMD
R/yyDeFfR7zapXZCvq96f9vPkGoCoTp8SpBHaME8OUpvIYx1hL8n5k0mpfU4sGaSAps3v/py9Hd5
pu2RBW6u5l7qBIM8wawE0G9WW7sE410Jo2diyG4xsjYBS6hsuLDQxBTJdxa2F0s76expJio7PVTR
3OCTyYc1FmLTtvFjTGI5Kd4GHryjfjB5MAQaG21DP6iIvkwX/C6tcZ7VrlR2D8qboNglHFsa21jN
YkdyO2cf6u7SVf7WQspjE5AG6jCiB8WgsUcF+cY1GW6Q1VIQeFa28RjvmYaPfecenPZXjj8hd5di
4FkKGB4rfUbVlBsGPLPZPOT9oqVcXjPYHlM4FdRyTwzoVY8Y8EyHeYX7yFxQpXu3OmLfEThEkCuW
NVRLasQKxW6sqx0Qzib8oL2PwGX/1PD209rmKaCQouLP2/q5gKHkp+zDm/41nL8c6b2Y+IiTWXOj
5oMXyMvoaZcgx+fZUW7oww3z2lXvsWmwoIr6civhhrk4RYLcXxqEkh1hP9A2ti5FsvXJIdhI8bQL
rvoOLZL9JtjytcLjYPrDU+16cBoozaleneAT2g+7iZeE9HqrLaaEhTPGKepoF/p89SKGBnqX+TZY
uMD1moFXCuiF5eorByW85tdC/ol31kTgwF+z8eXXy1we3hq9YgpHeQjVogXz0FTUK8J/0X5GDAhg
pFfSKZn5wKeiR+jYLaZB5whgw8iuY4puDsuMqj57gp6KSm3SadgPBHCgRiHO1iwmjkQZv4K6OQZF
T+KF4kMr3VVu+EY6L1jouIAn1+PKErHCG5DkLS4QUPJfUsZZSyu3LS3UwYSvrZELA5dOiLIxwmWY
EhjqJoGdwP0VpvbTiuxsW/qdPrezNkS31PWfwVkvKC4GAkGq3pTPIsrfU9kt25q2E2XuNPFdkqAl
o8Pdg/1ibY5HC0sIeFzYnREdHB3OcPpMqxAVIkDwjWPrOkFaIcHecjFnYCGMALgHWmtgjjcbgT5k
6Z71yW7QZpe5fUrVDD7zqntk8LuxyPGyd/QTenijdp8o7WTNqVcIUuDW8Qm6r1k3Ejr8aHPcWcJZ
hf2W3nvOwd/OfaqHO7tbnHENuSBsyhBxInlEEQxm1wMqKtXpfrEd9MfZP9vgWIw7csDvXlEsxqzm
wo5YftE8Dzk+RJeTDFU8jLlIpJIKiuiFf6vtv2gJDt0IPCnmG/kuXYHvh/slFriQmkUQG0l2pLeD
nesH6IplpeMqLpJ1nEWnAULAGL8UfYX1gFmaBms/RAbCb2zyFvWg8D+H7tXpOAyxE2KmqfBNeei8
NOc8uJhwaM3aYg4u0TYjl0fIQQOGwPHCIEFJ28o2WYnar2n62dhnk1cQV1TQ3nw+hBWEDMYS9R0O
dJjM7S7aM4HZ21R957jQLaqRbUEIN9koFbNKT2d4+kbwKXHXSXaLXD6b2I40N6TTJ3rUs0+EFCPd
aQETdZEeBFczBUQ5dBWOu71OTlX7iajS4JdjzLyHhPcn8tJksC52ssMwiAUX0JUp75bv01B7a+1t
6P/k/TvplYkrvTTPHDT59BKzCKKbIXuXDqoFHXTt3a5fKlBi0c0abkQv+uZGs1QrSO7Wz2SsPJNH
Nr4HnnQ9t9Hsl44bttiRu3VyHDloUEjRqrxn4UtMQAddFaclo//nBI9YbTvniL5E8+kKwtVMPpLT
SdNN4PrPcPCChz7Fc9373CQQuTl0NJ5kpARK7Hh1cwHFTTO9zpcjdR/c7fRJBDfdP0ezzePLIgSf
PVscWr0dLJ3u2XCWBq+P4gZKVHqRcW9ITFqf6DNgDjFg6mMS9ex7RkKUpt4VO6blKB7JvGwTxiKp
4k3NV1MtXop3jsttlrwFNRtCIAhl/8o4Z8eEFBjju7NdLgwWIU13S8YPU337atcbWLi3Knr2QpzF
7TrDXJyp25y2CsUu9k8pQf7hlHAGjttsIq7+QCcFEKnJu5vhLYkOxvAJIMNQN8N7LfhAlkeXwzcT
txRwpnZx0d48COvRTsOWEbDUBGOVLocJKWHkelN+RJ13tLH7xfjdDOQNV2w0fNnk+lkOUQNLMD9e
2/a1KnCm8iibWLw3s8FKPOS4KC0u2GpXWRtq8h5SdueK4bc4a/S7s4BHlhHxC021mBGJ001Q7cqb
E/wQc6oxOHOzk1jSOLY0bs2EWXkX7cV8hOOGbJ9kf/PJtZIpgpOG5g68Z8fOBkDOsAyTVxpb8Mw4
07c5nCrzMGHu0kvUFoM2q7Ufa2utQ/BB06GvavbGg3RSmFYdgLXatuN67Q7mTimq0l8seVTlU5qe
TbKAccZ1YK2yHwz3XvSSDY9lfQ5cOo27vaEYdRnxwS1Ot879GEFrOwwp+i6r9rlRrMW4LzC8eW+O
mhGnINF6Fh0r1f3p+l8cX2sDidjFUZeRFuWlwh85mx3SB12Pn4zGWhpV89zX5soOneMYg3oZjP1s
GeH9UGTTW21blxzMBZvn15riXSgOH3PjgCmSg3Jnckv7OEYAi3w+PreMF8zGKKGTZ4dNhpmfhS+x
r4UQgk/9sTKCpYo4xt9USPKlYwS8TkiDlPQ+1C29xOHDBOkv42NXJIcpn+eUq+ENxEcfx+QumJzn
fiXJBT/MYj6iD8b0bKL49SFsV7kKhmEXBUfBViif3tryq5cEieKnggxjUr+H/WcjdhH7MKti+WfN
qJnL1L8JlwiEBClRnnRmMaCpeJrHleY0y6Y49sWfHIOPN9nLOnz10oqr/Ws/PSi9PBc570eL3LX7
SPDHYROtJbAcjjkP53CiZoY+FF4vZb9k+W4MCUBnu3i8t8ab3YlrTO1MhruhMz/yiac7H7dED2g0
Q/BKYEftDQQs88ce3g3quFDH4FYlWLOPefsZBPxyyWtFfXPSbfBn4kToNBi2Rm2zcYQO+xgFEvcW
arB7CTGwJtRK58VboPM4iXSuAVyvqDdxNBQIq32qzHJlsuTVKUJrsUZE6mDMmnLKA/177m3JUQfC
kvYtat38d9f9qONNlDwZYJwLNGfNulU4fXNeCeSyZZDgZkHpEAcC2Vw0uZ/hWHK8Z0Mli8LYd+wX
s/kGzlhjAms3q4x8RffGdnLZBIQx+F0WhbdQ5tXA7JIRHQJWv9cT7ImEEpz0p87KXVj5R5jp+0Q/
C/GrGeeGhaLN7UQWa5QNxw/4Ox45pX2O83SYUcts7jXV4ynktFcbbXqtvLVfBqvaeRxbPDHt2h13
qYGbKV7LOsHB/xx4b0NTLbOSM5yflKbLhT72m9j21uGMwMvxx+rte2w4CxlxGg7DwtZG9FGGFvgK
DSdpjRE6tbOlHV1Ktzv0TO8AqjZTzOxi0idbFmzSoHEwY41F+CDLJ3BWh6DdGC6veo113CP7TQIL
tcpLFTQuYwf+6TDC5xNhu2K3wlk727hxS5ATRUVLHmn3WqjoU0pAFh4CkLsIiTZ54hoQr7T06jSi
H5XdtQTJh7hoCGtRWPYK2mVO51WMf62MvFVCgkuwya1wHg/TgS3BsnPrzTz2ZOxGJ45sE+e/ZEli
z9EZioisX4Y+aFEVGc30yafIMKUHKo73quIM18Nj2KVrQ4q9a9grkwpAc4ZLVXJJmHpL2JV93gR6
G0cYTdOq09dNLU7goCji5iju/KVPRW2NT5O2KSkjPLwYmTrtqLVvOUqBFj9HcidSHA0pxwxiSmN9
DUTvzKai/fVUOPzCDHLQEKzYdsspXhXENge+0uDEG7a6h67iea70P1U1XCBq4yNkVI7Ga6ZcKDFE
0sD5H4JUrByjXDTwDIPhkvLWomN8x2S0j+CXcFxtfenuTf8IUHergh1hWjYCElBjuzCFuuqDtm5z
b1HzwlUZtzQtSIqVbzsb22ee8770ZPyZYnQsHDlpwXYvMhwwThP+oCj3xQ3IKgsVw9ax9vo+o1xA
leSQs3QIDE8cRBcRVi+V2HtJUL+n3PwOdeH6594x8luXFDGNCab/Auut/9KKyoF1qjkhCwA+xaUW
y4UJ6vCSTVHKxGXywnh0f3IWFmxSUoUaoEIL3GderutU/ZGcnPe8J/bfatMJktEf15ngrLrmrk94
p4ue9ss4nPf1cRwlD1IIGqci4dlnYmP44qyITnS6zcBjJhlDRVYrC6stbp12wnEeR/WAObn3726u
ZZu2m7FaeRxzSgx1cXKkEbFmC/1FR/cpRn4/2qu2gqsP6HdjazxFPRIMayOLAPDFM/pZz5t6Xep6
cNGQXh/8qBL+nED3lqETmBuTDOI7pSg5BpTRQoMZ4+oWCXddVOm5lBU4cDgjRFSr8hFg+UHSROWF
eIkCm0BG8uvEHGvrxm3tRZnp/ZebtYBahRGos1uWvYUxIG22RsReC3s1CesyUAHgGy4McEEn3AaW
4VsY9Y1giw8hAyfVNuo2emrcEG3MblXTdYeC2OxFZHLesZU88uOm0s7MTgQnAIesRJtP2GGKcF9X
aXSStgLCQG44X+shv6s8doMlvKPyqcoNXiOrxiOc+9aVnxiWXwIviliYNy9Ye3N49MdxfhgWuChJ
cVCopfqCtWXcTfY3iqrTPziuiYbcA5I2UQkS3BJosjgi63aM9rHQAMQWQRHcYwvxlbcFW8Z/wdBK
g9tm5ZavpFbCpZl1/mZ0C/atkaedA5P6hEmZ2S0Urcsqoyk9jv7eOhmhENAgQTPTohbzKOz8Fq5q
6zUt+BoX3j9G2dB5LREWvYfGzeIdL0Nw1/zSpYzUSclXOC4zvKc1TrtWmif6VeBlaKKAku2jGepk
l/o82dS0/jwmKL7/UNmj/1ddi0kdgyfRIRxd439/a7I1JVm+ZKKfwxz9t9zhjdnEzR/VdbuARm4v
rdeOgWeFSGXTZuusCWH2EH3CTQK09uQwO2gNczS11u1YPsHOfBmxu/3vDpH/rtMwNcxdc72FrZuG
/rfvMcv9ySl6mPl+ixrhDx4BM04piskxUMKw+ac2DVri/7PCxtKIfxqeoVEVLw05fz//1iPiT1kw
uRxBvBHAw8UK1l7hxZsgt7eD4n0bd+au8rPPUsqPYKy1VSH0W2O1B1OjvvV//+zS/P++GUNKqTm2
YUjrb6UmuaacjGgm9cZRN2d8SGCvi4nAQA4Om48qbC3KLJN1ps+10nlP5s0SNNSEUbYynVmVLjp3
Ycsi+Idf03+9KpzHmu06PLwhDOje314VibtAax36rrIC1iNLZOA17S1JA7KcuFwW//B7mLuj/qNX
6G//ufmf/9uLYsydaEmE2grw3YXWlA9w3DixCEixua2uHGKEs4dbQr+fYbgcsKaJizlnqfC/vxMM
av/5rcDA0Uzdsea9Ce8QR/9bP1kBP7GrOs1fdgJ73MSdDs24m2G2otupItoCXMd/eh3lhSDYRrWs
PZlUoKhQMkUO6TsOUzDD5MdyZrD2lCCiGuyNpPgCsIznZufWFw35LiGHVYbeqiumRcmWmvjTkKKv
nGOfbjFKkiU/p4Fl0sNHTqvOp9XVL4aiaJOLD2B3jtRfy3mW6libpyH+AXyychtMA/7AQgKhREAX
OkzWOD6UQ0vvA9CakAdO3GA+hQ2QHyr4xWG4dhVU41eDKaMmECBGBhLj0SBFgKHf4ZFZEDOoe0qi
k5uv9xz5HbF//jZX0EVL0oZWCNhLfJ/0QeVcFXN35dI+hMkQcUKy5wvUkboaajlKIQ4OxoOsSY4m
ZMli4gnSU0gX/SR4SDh+q7kueJ+46wBoenLVxGkMXyPI15PF1DUPq1yBU5/iz/KSAnrp6kPN5BKi
YDmGt3E8dhzyexRvM0aB9gb0bHHnkbw022+H1TkS8yolMtxxgZtDnJHeb8IUKy5mvp7wIgoWFal/
pka/gfl7VB4Xkpqo4bD1O3sBvp/0cHjIUBUZzpaQef6S7PPm2ZEfVfun7O11b/N+0Z9y9FbC/CQ5
nxue7FNh0Xb9ZvDmkXRnKAIFFmZvV7/abrTKmieykouwORfes+ut0+oxln9Cb8KjcXKxpYb7jmVR
i4lDZy/d+8OpUefG+RUQtwwNk/E2wtSqVSvH+1D5b6YrBEZzGTCIC1fCprExy4WrDEq5z9MKBoZX
cUnPA9Irn4ZhbnqyUATNl/1cc8CtDJTkqkLx5UrvoYzoIXxug9WHmVxVg9OJcRZ7dbzpGWmKK84R
6vA+LFgvGImW9COf5pxH/VHPA7W7GfuVsCGNACWB5sU9kRQv7sCzcr6xXw9UlgHO88VWMyX9r2RP
63LdQM+mgXLJsw3ZEk9wt6nTZ2fCGov/2okqdkFMHF5ACRN1st0EJ0b95iPOvzK/dOabqp/EZCyG
0VpJLT7ZZr9vnHcrICKRb/tg9spRCcxKFVNaUb529A63bBDsUi4CRXsYVbuUhfV4GVhr6mW7aJz0
1EX6hp3UGtF5vgH8Q4WSKef2qH87Cf86fgyKQjxQKqbr/f34iUc9NE0MQhh2CnJVxaKWWLSvlWKq
k6DEcm7WAx/u8S3tPO7ej7iXHkb89TAXFnYt1jHcBKyCWdgu8gadrk3iq1bIq1kazQpv2cGtAVB2
7l8uHH9htJSV6386nPdRViAZnG2dx0p816OvmDuiD8J2dPbULS+H8Wp1zUPcaPhXuDnOuIeXSuUU
zpYwQ6hS1oBKOSbXNvpA0EiRoI2Wfz/iwxrU2lU3m22s+MNpWW5argbWXA9v0HtjPPfVsE4IPgb6
yuZiDaGGdR4WDoL9X0P400igcMarSfdBfQ/Ee4DUmnJKuZsueCrwpebOxWtoATpF7PEKUrqsaX0W
YfDvQd/ACEGmFPM7f96le+NubH5h922bkORWNR0dq7pnLt+2qr/rLD5lOSomuFZzqHFbsrExnOYd
jQj8yadpYa8rrMPYhMfE4PAvIPkXIe8e5ymBLZSq9KYl2UNPl3AzwvII5CoadXyJpKZa7oZJ8Z7M
plGv2/tFy6Wzg5VHrBTYsl64mwke/uwA0lv3ue7ke96nuxbZxDEa+q+4lPRMy/attBsIsfFSz16d
0qXlA1Gz+FAK0If7aut/fNfnvbzzQGTGObPxsBHFp9W8pFVz6EayOUwYNo5sBWDYTthqsaBQTfRY
a9Q09xXSA7UikQ6i5Ja1424w8fK2616ibk77Gj6yAXAAZn3O86VQB9r6FjJ4o3jnAQrnJpVAweSM
0KUoCN0gTe4WI3tYsl3CjeD29YEuQeSlAUpUt2ExNGoK1+oWncjlDwzmTLCKl5Fz0eAstc5ftB4X
Rnvb2iA7d4X9M9BrPHHgt6+O+pK8uFr9HIMjVsOexvWVJwk5bUJ2Ci6M+Tz7LntA3lxmJ2LggK5X
lfrjMWQU5CCd6dOBgiyos0rRlJR14fsW1iEjDow2RhCOJh2VHD31DbQ3UZtS4zNGANg3ic2xjfDI
7jwZkOKN8EqgcpHGLKQJYwwZu2qSQgWBGgdHPDi/+WHfhL+K7hRj4BW/O1p2TFhlLwa6PCgBr/Zw
Qh9kAy1c3g3zJxLnyb1NZOO92YEMQYS9GMK2aA459Ilg16I9JfXSit472PhERxsdbPSFGUIbbxFy
uAn2sfwtzV9lyUtE4rH17UtLPD4QqxGPjEp3k0CdZeIote8h5tCuki8U0KUEruD1+VsENndiGqpB
ylAfYMyKe7UsvIacXXuf0hjEfUQR/WNfGW9KHBMfOv69lBvhQ2tsj6HzPip8CPXCtj/haSyyGXg8
fNObhLu8UoeKlKF3JS1SFdfaTuFUrx2++oTTHSOE4hgBS/fQ1dbCjiucJnh4qXewfUKpb8646dJp
rUwynNNtKgIqB1IyDe/KrJctBntM6twqcDu1/kIU5H7whjdqXnY0aC5WBSx5XOfNk/hRDl5zYykz
fK3R14RDdmSNI90Dn7r5zdJGb2jjIcW6PNerqyrPMTMeplezRe8cia2/EvnY+vF0Fd50jB2Cvsu6
zelO8HhToykrr95kwDzCfxhd/1bG+K8nhysdnh0enWjG33oJVS0wUVVz4tvO5QEKE3AkQWe6WSfa
7n9PyY77//7HECSl60nP1M2/DexCuXGRTCEUpNjaUfRxGXrjaI/LRLyUXBsZXGLjqne7mBlLmATP
RnQro4QGxJOCXUyKa5sHMBGuSm6dwt01TCZg5UVb8Xt/FfqLpu9oZmp1tfDqHTy9rU7YLa9RJL80
Sfun+vIg1eE7kXm2ARZAzhoH9QzJ8R/qwCPWhqrBAS/2RrajwsozjiMuBchfVn4uiJ6xr2v4/77f
9UjNOXNIm2vrgK8EfxG78Jdoz2aTsq6lcLg20BmGB6u5COmsjejLxwc5G2USPV/M4r4zb947bZ+q
XcsIouOIz235YGnrOS9TzsIKOtzs7K9mtoUFej401/xcuBbHR869Pv2qqRbUxnzZ196y6B5VwTMu
nf3vV1cdjR4e5ISUyR9K5yQa6/7YdphcDhLhd2Y1j+HeYcs+gIgZGvaHs1nbJ+XxEGJRdMmuZgTs
/Z1UG4yjhnVDf1qY05PDrTLMt1nwXo7eqoK54FwakpnR8Gtjsy8YZA3/w83Kg4ipOg7N59h0bgUO
k8E2tp3h7sf8hDsqNKYzQS0isF+wIYAQGuwFvIMWxxTmUOfD+6JDNEtP+rAuxqsYnW3ZvbgYLgNr
JFKzJamYde7KkWyanR2exxrctltaYCZcAASMgRMRj2VgH4SFuMIWlwHfnZbKY7qdx+U5xASJnARD
0T3/1aBnm3y6FZAS9ni4sUs9uobVR8LgljrnQhxksu3CD5Mtm1PQneN+gHpemJrcNZZzC/NbqRTr
9Zx7qb8rm0tZ1s+8InO1e8pd5zp47YFxveY37oIWbu1Hn10+NKHcOXo/Ke6wIsEpEK6gzxF5gn+j
8cOiZfHY6sbbjB4rXyWrvskkmQLU201IA3Fs0yvMrO3dYh0nnbp4VBY0o6B+57kFScaV3NjGmAnK
al/a+MEGOrECRoquGOHUiMR6sCS5wpHX2A4PnSYXbRPsbPjS9oBPxiASH6a/qCuAq26pTbKFKa/G
PUM/hCkwg6TvurMzuZ9w2+JCLkEYkA9NFW0UI5+X+EK2gvfbQ2Y8MbRpwa+brC1GTqMHqNrcvOl9
Yk0v0ZqI/LnaUtN2OdF1w/pjmH9g5+1sohKWuSMb88AO5CHCBSODglnAf/OaZmnS+R2TvIeUF3TW
qWhZ3oJ8pQ58sg9Nii0dw+xQ7yJnG8E01BrWoHRMoXeBvNx4LHs0nzPltW9DPCV8Yrit538A0S3I
ntVqFfgbDYdOGENNK7h0P44AmiwGwJzCL9ObGaas/Mv7WD1lab8Y9fcug5fW8SSS/qUmzJATHbN4
t1oYIrDGBtjBrORz0h5NOAW+QcCi4zmIpWjdDJ+MNn1zkeDOUekzUFSkmuZamby5OzjYuRgWpFQl
ThdBZh4kGCBkx78MzW1GN0qu8AYh6MBkSdOvhw5LfmQvE0vb6OVX7SbATiSbRryM1JsBYXgOs/ck
edQ9+ASJwxzVbkMi+VZNYJ9EDo5IAEVaRr7ZODJ8Db0Lcezdyb/ZOMOZIsyXsLEPAGJWxP9q5Fs0
13qAuH0I9GSGWrI3/zRLgPXjASkRl0m06DVMQOGzwZhC80uYYXbfBO1ZsZArHHyB2qeSX5JhyutO
SUSfwF6O1yknOqHzxpX7VKTbOqvebROxezJ34Ti++dVfFRHP0VifU3mfXYmY6lZkMlmko5cpNiIm
zgQWfnpAqEav2fj/Njq/pL4C0LIuk7OVyAdN8sa1Bj5+7jKBm8OPE2hnw2aRVN9D3NC4e510kw8H
HQBvNBEjX4fiXQVEi4uEiTuluOOPig/4tSM+cxa+hsUYHCrIvfRNIaCG+QZoJmZuG5rILhOUQJzF
9FziOojMG0ATn0R8U01cWYxd2LGSB9kNM7mudjUbbGWHp1Rn4RxBXS1pGAve4zHdMnQ13QNgNGQj
xH2QmGtLD/ZVqa/g8054bmzzueSyFOY7l9KThjtTPpwmcuxBunUGqAIS0MOZdC5WHDIUwFOqHlpG
BzPOjTBXfWdEiSNwCaaP2u5zN4v/0AoEF5fx1uGwwhXJVVkO3NRGsIvxxefSLVjR6MF337f7qH6L
56itEzKM3c15hZ5+u6G+NbFjpFC4YsnUO0HjwtmSMCejOfKZvQXNFobyorC//axcWPrVsSB9DPV6
bJj6TG+TK302TfEYWgQeGaj/I+y8mhs31i36hy6qupHxKuZMiaRE6QUlaiTknPHr78J5sseu8YOP
q864RoFA9xf2XjvjVkPEJ1n4qABihbUsoPOR3dG8VAgIBc1lXn8Xxc3HHlH436rnrO2xZOf3LhOS
Ea6K+AFA3JnnOrojxumaBkIGwwjqUxQdxOZlHf4pAjcpWWetS2DnRkIM8botV5zr/+qTRVtdrOpK
5DOL9EPA56UL7blxcmKFv6D4wkRX5zwfabgNoCGWzAzi6K1lxu4DjA94AkysJgMxF2nx1rY3jd/3
qDk40vDVQfL0fnR7F7g/WLqS+NNHeToiUm4kF1148+isapTd3CIWw4DIgvrSdDRZzwReISF8yTLt
2sdgqhL4RFORiQs/Uwwu308JAYS6cxG7Z9niNQVRE+fHik9EtRlcevCeplpj72fMWQLUEgE8Hnak
rRZswKqtEbs/KSLelJMdm/gJmqce0XiHrNyxFnUPADHBaUsvFOrqVgDaJn2hov6hK9Z7ufXDYTaa
VwdT52Tb0gbGhIhcFkZC2ozylogGo2k5Nek8EN0iy7cm87tI99kU90+kP6O4x8KG2nB4aRqxsKN9
Y3w5IQQq+n5sazJ6IKetKkJqs904XE3K+Ko+ijhcNlm9Y1W1GXwbvQB+RBlsikh5uG3AWd19dln7
SyU/wGbbrv8q2ceP2PkLHmnvXMpDwIXQDxs2yDQg6ZPtlzDiLPvRRfmCicFi/PXn2vp/C4jfJ0C6
MNiG2JKliJwWGH+ZhXu9J+MkxMWOG9dCvKm3y3JAkO9ir3mUcaAsHBuZX9mQSqmi2tpL+5nRc/Ir
yUMJZTEEd6CAPATwzs7Kt9zFf3yD/zYh5xxzCGIXhHz/PqIygyDxmJvyDSZDukBCqc+8Oor45fb6
opYRVtdeOPIkQ0GDVtiVtpDYzaDC+ogvihBw75+/o3+bmemmsDg6HbLof19zBV7bWlUA/QjHlThK
qsazEIX52rY90onO0UGERUM7/McvQptWAb99UobGjhc1gaWqZM///ZOKlUBWekKwSl/a5UX14dW2
bq/sM5N4vNo1nJNbOHUJazHvFoESKbPRCU0Q4q76HJHYCo4Mz4FV1Bb1DIetkfXDUgmZLDrCxkVU
lcOq1bUCfSTlvR+FiDMVuzulvooYydarXdW1nPF+BBasthQo+SGJQvm0mZyOCLUb8QmnevGRo/0h
brf4rgoT1ls/LZKGYVioeRL/xz5P/svjYWBvI2tZ5/fCDPPvv5WsoZ1jKubMpe+OmOIhGPm+9TAV
o7qEOvVt3qf0TFWtr8Ie7k8kQSej6UmeOqUtb39+NJx/+4x0aTisQVXVcsTUyP7lbcKzYBuhVznz
EQzp6GpPJlVJQTVquIQcA5c2i41hdg8lJvnWNjalyyHa19vRG0+8infZBMsoaGAuN8uCtAGEgGtC
zpnrPKOlu9oiXeruyI3cvBv9RabYkkO0nsayUqfUHaY99GmEU87ol+dNXhDa6M0LlB+BOixZiWJk
w5NDpoaUI/BQhZEKvhbyHDnooSlV2QWu/NKqLzUonwjHRaHmC4PWJ4ufLWdud9mpja81q2Ukz7yR
eFfkS9GcUTRuhbuuJmgmE1ffOfWI31tM3lSfITENIUaX+NykO5mJBVllbXcOMFH0Wb7oFXtu5s1G
c3eCDWQAdtC0wkOTbXxzhx2Fq6LJKN3UWS8o27FSS5WRMxf4i4M9t9XafcYe+c+f5G8byWm8Yfz1
g5z+/C8fpA12QTF4n+YYzXVE9Ja6AnBoYhGLUlJ/AKZ1/zFQ+ZdjxdBBNU7rQNPgRP77V9T7Qh/a
gK+o2qI7pEAObkYXdzvNDgDrVDmjNS/SX/78Y07P4+9nCqe+ZZumgUnx98N1iJRssLvYmQ+yIYQ0
s5qXMKTyEGHd/McUx/7zl9J+m+GotgnKroqcuQMcTCoExcpRHEYt/qyZ2s49A3thGI6ff/4B//V8
0G1bcH1Ymsba+++/VkHwss1Ol2DBVMXPIgDUgCQPF32exgtFJyZG74pw11o9NQPZz/O+6qF5aA6u
/rit/+u4cv75MauoAExpOQ4bLP7nt+8Ht51j1xOns+eWlS21psL2Ea4L2PEvC4VY2CQgSDF4ZHX9
XQ0l/H5v38bmwqRhc1t9oXssuBp6UKtk7NPqRwICJhEQirsmBKDVduwnUw/IaE0YmYe5N4H0BSVn
BIOQfElcUaPRQLf4Mk2oFK4BatWbsqDaL3OUMyIIYaZkK9Ov5k5SLjuRAULAWsfiSmITVbQr2HZO
lGPJGrbj+K8aGhyc3UAoN5TUTqeyScbuZhakPV0j7KkEA65aSXFH44OWKizvWIbgzyP/AB0qEqzq
PrZnlo0V0MfUIb9MPbTlhLB/E1Odp7prn1zgPrlb3GR6X5EhhRF2QtAZ4Ceh/ufsiMMvPTdYb1Kh
kaWnwJAx4YRp/TlwfBabw1JOfYODYs4geAhzFRZNoC4hbDcGglXrrmxdWQa2smjcb20KA4WSlHR8
fRvrRA8UiPQw4XLdhsq8Z0mQlx+633Ng+vPA7TfKuDNY2qrEbLX1SQWvsRAwYnTXwmSDSr1kbExa
HUhIxM1GZs+c0HeXZVSsQ5d2RdMWHuCGPkh+CTxfqrUXLFzFWL5mocBQhEzAxqU6kbfwVII8CRay
A1411Ay36+Q5LfqTKgc+omgiPyYoZ4n+uI5sloPPtHXWpKpgNEj2lfCXGfoS0t75Ma1zIuxLHdef
McrZIg3mZRsukPP6Df4XPmMVt16dNEdRH+uu3jgmJ5Myb33ek/SOCG6uNpg0EzKI+FVptroMBzmP
sTbg0sTQDH2RoNVyrfAIRjofUw7HalK4Akr7j7d9epv/fp5NbxdlGVewZaAY/Pvb5QMOF7HLh2OH
ChICdaiREFrFwo80PE8DFsM8qPS7pRTBT9z74TUMS3w0apVXa3Tbk3uhluXhz9/Vb7Ib7hK+KUcz
TcsydKRAv5/sg+FFuZ4pcy+wO0wItQJTNe8+/vxV5CSS+cfP/pcvMx3Af7mysIuNFIY5H4yJph3W
aoqkpFSSJlr1uvRfSmFmz9aguXtTKDYsJjY1Iom9h2MF6n8Iev55r6gaGjBDcyyhCtP67dQdOsPI
mpbPQULQoKfESkRmVMVYrS7F259/cNXQ/+VQ5eJ0VNVQ+YqGNSnT/vKjY+waEjRy7lxMeuxgXI7+
LS4hJPI2MzZUItZfzUYn6Q5vbfHUVPtcNd5pc7Ymh2YywGRwNzUgFHId1BCOHtJJL9lMIZxe2q9z
m8xGCGJmBMwOzkwGD9L1MViNrPqBu4snO8Cvne3r4ByD+JBYoHKo8B5zKJktfB00ZKDuzAniyDId
+MugXzJU9ZXPRhMmdMF2gDeeAcm3VA5d5ayIWGOy4wAxgUnE5CRCICl0JrIu5ATsY9qkOUeUw+pZ
V+++T8okGAXH/IkYP9YxBpZW3AqXbRPbaifmfnVfMpb1nabNarEqinJbMeUshD83M7QF2cSLg3q7
d+ObiWoFHsHMkjuXDeCAtVrhgvFSJjqAUUPwpSF2GWZNHhoaFcSM3tMO3ie/uGrs4aPuC7JXNfwa
8WTmzeGP3mjgBKPemIG1P0jUoimtMtSNgIC+OfpsKbYST6IUctmy+IXCA523msUaxVYqFmllbzRM
LiGC99zfCmMfZN82c+oErJrH3L0EjN3vc+9TxjcJQ7M2P7uoxpPxBke76A6xWfDRasye2atoN5N0
gcLs9r186eufXLvZYcdgNgIgLlc5FZ8xzFL0L3r4NYGmI7bbDs4BK8Wix1qiQmiimZhzppTIk50A
oiUPxSYZrUGHpQX44nBveB6ci+6esr42lKUGBsvtGTpbLBX1ZWr3a0AMwKc/B2AUxqMlznNAZdGo
xzThAhGM5abJ8DLk91rIF9+7B86hFsiWCqyLmPwYzQLe/BmTs8bHag/QCPuvIn2OSn+KKoNJ9aFa
GpQDlWzUJdoJxpUAx1E7/Yr979T71DuesIj7c2UYG+aNZlhxJ+DzJcpC8CPbqFHr/nOwb25P0iQx
vi3ewYEjHLObwXfADGauDCfG/qAWKTDSbxXHjTtxKh+1eIvNLTri3HwO2pMBVyMyZ1gDCGVEdfiU
uAXXwCNAMDJ8SbTF6aWS7z3Xhm8BzfjUzJvDbiVB3sEdNMJrDGu4v/mCLZwSwgVkrUKqC6S3nZWf
BIMquDcwLSQY2lWTLcL21WLubl9i7Ke4K21m03pwSKqPMr9h7ytN/jq8GZPPpjJyEoCo7pmr2wmG
dPI5sp+hWKvGkaAtgcs+GDY9b3pVPtyOVQiMoR/fO2Y+awyUcKD4Quz23jkpXxUD2VOoQbLGTz2N
zvi0dKaM8X0YBec/0cxkzEUsz22j5//mwV1W2ScOs9Bea5SgsNktonjU2GXDyQzD2Wdo0ULjYMWX
gWs7xnHTdW9NlpEsesK7OjebdpZ17aLVdlWyjDinHN+lLwS1R3hIfFSbYjsWLzbesc455BQQRZ8s
c/zA5h13Scp9UPCmpcaWCT4w3WsA3MXFqofMY9BT+HgPXf3wUZCrGRZ8lgdTJCxCqrIeNp26U4ND
Bea6jWnFIICxd48TVHPlutAeGcoDVzFnag6KNIVZo2KNmpaUl0oshPHQtaM1uYXDBXv6GLREbZx5
m55ERspQzsBeeSNT0+Buxp9kVB8CS6Dlv1YMU/FxMbdYDc1PxL7On2I/OBjdhASW97AaOUHgP7tP
Uf3j8tw0JG7n46uHgHDyqUeH2ttr5BHFGOW0lCSrFQkpwj5a/B0ZFnLlU5gbjbVA+ZZYOI1ODon0
NZ5GPMDMi8+FfdfYBlB8egoZ3ErDsLR9cnGsa4rks9wEUt8G1TnCGNeiQm8qZ2cglHfk0lJJJeZ1
RQDSkXWpvLfhj0YaZ4H4Dvd63l/6/gilA3Qc2wNrbrZn+AgQ8Dh2YQjD3ZxJ8PtVhmUBRiOi0W3e
YlkKcGmx49LLcVm39aYVuKDJ+OoDHTkBeW/kIzYvKravUOzC+IG4coHP51tn8db6z2PXHUcBT5oo
yWbyImKE1ScatiAbznlUeGWoDplCI55kUewoN2mqtwZhk08FarHAca07T7zqDzO0PLNev5ZArksW
Q76CFanlIeadGeUPgZyHUoN+1rP/LnjncuMgaoi0Kvop7MrSj3baiGFC0ukU2HkjUiwxlQRlfJV9
su6MakvMcsbfTlXzxMcgWsbdWN089bViLGKhalLrQzPpfT4BduNB01Pq9gw69BRz8aSbhPF424EZ
YUYmnsOf80HyrcFom4+OxT9MP9jSK6sxeVgte1PCNyseatyunPVa96P1e8/4CnoytZ6lS0+wsRF6
GD6x6+pKg9emc8NjysxKiYESdSuaay/ZC9oMdEZ6sumqYKajPurrcOEoX2l9lzUgBfBU9EktRXfY
/oheI0MKdwy3EAKZGMGa+XAy1mRnZSoMBiKRWDnZ3JWD8kuRq0bF7/0SVeRgBfiGn0miHse1mb9G
8sTIg2sLNeJOmcqi4tqLNwtNZesdjQHxXjyeXO+Xy2WvGRWwI6R3bnXWZErTx9sB7EkwUZMN2QOc
Fir8bo76qBMbb3zxdO4x9MvNW21WC5NhPx5rFsPaedCGWwe3WnwM3rUigSc367PFEiRXx60Xfsg8
33Cno/kDXehIgIlEPfqSk8su8XnmerRT3ejQZvRzbtp8h5B36lybG6RBFg7gqPaqSPfcJPQwKYIk
mPbYTUHyNihtDBgkIbDKblWK8wDiLWb9Df4CBGNy1it0l9uQc6MIUFMrYDdweKKVcT8x3EFv+CEj
vWRHar7XiKrtgOUcseus0gjkcBYdzs6I3fYb4aFc8isfPybHru69O/kz2J1lp0KchpXhs4vxYw4N
97ODmF/pUEWrYFt7tziDwcCxQjO4SeTVSkvIc9kshOtSpiy4SiDvrbLOM/yi3GFRRf0XvQXW0WCf
XAOCya11pG7QLLruvdcfWnwoM5rijgtJTuKIhU8VHk0CR/BVqbwaLTZjmjCA4Gs8S4g+50F8l8NW
9x8TvQ8Y527Q5rrRboS11pR7hwjep8+WDHujjHJQh4GSLmpsGzm1Lj6sLRLgFmm5PhSY9gjtQQyF
Enn05iE+JJBXFmUvgdDo71pq1GBcGPHOoU8eBjzxrJASBIVmTz45sm2P2AL0KEMxD1vOFOWs218d
i+8Ah42K4qNfMOLFcZShNkS/1eLNe/eC90D5Udi0hsnb4JzS4mzU3255C7xzM71R3IeyYkOFFoF0
PdhqX62zqZyjNqLmxCdoZfMU7bINHVD0+zD4YS9TyE1W7N2+4I3aDBzsBmHo4O8Cyh/0zgrXTujj
m964obtosaNGjfGJK+wpCr41nND4xbWVq6Zr4rngIGP87r21Nnyj6t6NdfoceiC+Zdi9yqxDrs9q
DYUTQjhUPlyCC69cA0pk5zwC0fo15msz6jaDV+9V7spJ5FJhbIwmH40a7UncKRM0Msg2/F9NfEvi
KxtEN5+yCM9Bj17feGX+tkuL+DWiznAm4FCLA95884ZLWNzS8uLXz1H0MagZWdHjIhYUvYa7RCc7
4mtl7wb5mMEAq1ApPpJhXLHkopBWF82ExFf5u7LPPIEsGItFzoHDHJmQA1DBDOQDJcuRSU4W8uCO
thhZPdiBDjQlpIkSJ63RgF/F+BX43V7G1S6uNqJdw7HUnGe3I35m3EiS0svBPppUZ8LHhB9Xp8hP
+VFfejLTEobkov+K7aMafNY+j1lzJSoO/8FnKz4rP18WDd5+6Baa6b+MdGV1gYhLOih+Xwz7oyON
VhF81MiTX6TBWbCM1HOYI+ubZ+j0jpwCPfu4ainhqTkrjKGlwTD7TPy7YQEFx/34GeVXzZ4pJF9p
cxBPlopQGdoTGQkcHgagdKZt5ix++MVrZf3CdxPgSjRmkbpzuiNJtYV7AXjhyWUf1vPE3AcTE34f
8lTm47pDNorh0ohRvdyFuVeR67qfsdil0R7DF6+Q35KfV7015rau76P1QigO/o4pFQl1vZa9ByBW
xbvd3qriDCAqtx5DeomjkwGml4ONs1B5BVrHzWk0T1lyVvWrKdHNb3k1MF+gFXCj1TQoG1VczHu7
WOv2RmDSS/pFrL/7vCPiimW5g16aExn1EliPcthUCG08Z0U8LrhhoW3rKRWM+CVGUGh9qNN9POBQ
gOM3Am1i4x4jqyut5wEhmbpymSiqRGVP1AgQojxD+WDMu+pVK+dFsMnhEJI03rlvWrNyiyNiFK07
R4hpx3PFMDHB2C5mHSxu81vV3uMY3QL5ZiCOv3myNYbBGrIBjrKayZWaziGRELJMm3PpAYvCAKho
8g8KmZ/pPNVPQE2zK18SAWI+PEmM/gUiX8JPc55vg90zmQQLPSXND+rdwYZhzgHbH3Cg4iFBoz3W
RyR5Ltf55DJA5DeuSYnrdEKT3hp1zdQsRUrRoen78QNizT+ZOz6V6A9t553xElqW99rdegllJACv
VY20IVxpDZfSUxW9mvWhPFv5gRdpyPcV93m5VVS+wtyvKFN2UbWlC9cUYts2HNDKWwioOVN+ud3C
GI9u+SGGd3o82qJGI0F5Z/YXFAOucWyjtYX6O9pWyHTG50ogIXigbOdS7z+68SK1qxZsJz5uusvj
jxF0Gaak74YnicASSDhgvIjqlO07telgbxAB5O1zFW5tOUGouQ8JVqC7W7p4Ufx7NBl8NgNVh2bQ
+IOmXyDtGtdu9Oa1tyyeFpY7FbJ7G7+SiRL7XMTrppwNxoX0ibxGcbUfm9dykp0t7Qzl2P8U1XxS
oMm6+Yg9Hv+5ZqJCujtkdLh7ncgbfVlArZ8bGNgJnfWTuR6NTDPJAoXb+sYL3qHIJFfcM2dmA459
cg48E3jSgy7D4ervTXm3sMezwIlWoX31iosdLFFCCLnOB+AxCwWtT7oV6jNRCpha4FVCX1hZKqpI
XPZPzU2fxuiLISDHKFqrxC3JCIsDQevmc9KRncooKQb+rM5ssCOcKjHghH4WUa61+REpKMCyNtm5
jLnjBYI8Krqh3BCoYNhHVKkDN2Eynsqps4vebDBu8CT6/iLGFc1Trs667inBkcL0PoB4Gd/crFgY
8sXJ5pRmJtizuH5W01VgYCLae2CRlG3aMQPwdpX+i9mibD8VtCq186i11zCdOdWOojVz3vvsf159
NUYcQq4rHxcBFbQW7V6SDZgEwK8hrr1a4a1sKUjoMU8IKgqdQBwI47QHbb/jLGetOZWiQnmmz7fN
Q17csvSgeSclPrrY4JzoV0yJzfQqBI+aT83CUyqOhXKmQPeDb91dOfEx9Bi2bz3lCpejNsO57JhP
evvQXoS4j+ruDc8GJqc5Rz06GXKomnZpNhP9eiS6RquURWG8tXR0w4IoALQ6ns77z4J0FrAQiMDr
dDsmdMz6knKT8Pry0Yb+tygu7FOq5JXACHuYdKQVaW4IsyPYqAveAEqLjnm0yT88HEW9tZu519DZ
r/0OKHD+hHUF+DFhy3SQqLZWOWEfVHlYWZN14b4ZHo/SQqd7xzSO7lzsPbnSIGTQLetoFJ9Uwju/
Su2YiYGB/IwYuPK9A4r8VFdnrIIkiMIv6eJdb6+xpJRMKdE5xduuWvTlaxr/cvDN0xT02LWXvrPl
HmfnMQP2ag7Pun5lkZEOdypKaeMnvaPkI+3Z6dZC2wTOrYeMp+6N7hPCkJlJclSRmEQzNjEcWEl0
6OgtUVeZ6tV0rkMG9GGL6btVPqS+N4Kbnl24OZJgHfIDcXeUB6d9aCPsJshCzTpXTlVwMornIkcz
R1257PFPUauVs5KiyGpmfnMJ4HrY5jZEplTNEutgldvcOtgO439rlyZ3I1pKbjDQmIwnwefZaxv0
YCNO8AEpyvRoa3CNj8hKUVITKEeZ3Ttn3fyqQ07us03Mio0mEd2cjsxy0U/ww+RROq8dvkjSFpKV
S2Oh39v+gnVT7Z+HGLLY2oaZgQZJgukgwi39sI15xSiyXvHh6wWJ9jTN3VfGZIvau3/EyT4e3mX6
mQe/guGDShzfXDY9vLgetyVpgknzjRUq19eu2MiKBBxOJ2M5lFu9eOuGuVAfCSuZEMtZ9Yo1DqVR
Zm5Ce4fCdILCuetRYpJgejks0foiaSnZtLV0O+aH65EPN9fGuyEvLqwcyfuyDsgZROruy4eLWc2c
kQTAdsjot9heeuWDvAPw/HxHTn6vzF1rvlhIHf0vTJmTU570+npVyqOlLslSd80t9oER64myNfjT
5jhqc7Vf0YqUj9KHi7bSDX7Bc+if4wloKSDnBi8FICjRXWrjJbGW0KuwtQGaWDrZZ4spwNkMCbPt
D9/BCHSrrWMp75l5UKujYIAPuTnwrjzqxFGrnDIp1rI0fUmMpehhDU7JeEH+1DbrrHjVplBCngXp
fVQTVf7YMfeJs3mdaIwtVj1aQieBPif1jcPzb1bzFBVjVq7KDNVqvhp59mITgefMdFGenjqx7fgi
1riNEYc43Tt+zaS/Rc5Sb189Y5daj0bctH5nZZ9dHc09p2Mhh7Zt1fYnnZWhCG6Z+cN5QNmutYyV
wM8Ml4be2hIn06S0uIu22Bp9t3AhX6fUzESd9zdV2avOlDIwU968jopk48lbVT8S7+JT+RMQViSX
KAEv+1qDyO+XBsIPhwxQjehOgqINDUQiD2Z15PSHvMAYx81vFb35cFHMNWI1T1/X5CpkDCDrp6p7
AfPmdDudOMbxPoKRyfRlo9K746zLTTAs69qgmph2IjxL+D2eNBqRdsvcu1XfsxAwPQT7EMX/0oXL
m86LalbQFKt8IoWxYXA3Wbsq4AowGmyLpCk4truKDWnYIpr9jsMXHItIDFgAN/XBHbEdrXNzo4pV
GG/cetf3tzE6g7qLwZLl4dHLv/RxnYgRUduj6X8km3FRzHK5z4sr/cfIJLNGw48NbprubWB4xAC4
g11izh1spOoq6ZcmXtji4JCUmLt01yeiU7gXO+NY12i3CL3Yd/EzRtGaJTT0VhxHguJXLV9szFoh
qe64/uZ9BBZjhhUt6pYKE4g8O9XB1oeQwTKRlaqCmIHnij6lWgX4MkjH8bGNH1pzwebkKRBwXrdW
c/Q0bqCV661NVGCAXfszP5IFAo8JX1ndQ+NXkHCFzBsxl+3Olu+V99y1n+OAqJJGP26WWfGcJMsM
zlqf/4QIyi0FkkEx6xguQ/AK3+kbaIRHzF7+rsrOdnP2vG2GQl7QPusEH80ZwWrpa8aEddL6WOB1
oLfrOlkpHObRW8HDj9LW3JU2fhfiuVZhu2DEMVb6kwcDlg6UCijZinyF79snZa8bCDWDFwcT6aMw
YCJvk/Lq8Cy69tP026qxY6A3Zuicy0PTvHVefwHwjqVyoRVX+ELEsmOaep0c7wz3tGttbrkyJ6Sw
wqoLwT21HY/oiZG/H6wQN/FheGKjVTvDXCvG94iLjsfde/LiLei0dNiZiKoxuKQ7dvkl+fHWA8m1
wrSXLHXKVGjy6OopeBYOERBkBHTGs0ZAdNaxFpnV3jkHISzxv66hixk2AcdrPdvV2iZl5ZjxQBIv
hOAADDqGIUABrEEi+4B5VofhnsY35OhRi1rd/AmyjPKUrmGtKHtdL2apulXtQynXBjO/binSEwOa
nIuy4WRKtR36rLLS3kPUHgIxmoufI+cyv4FzTbK1pxlLdaRhPgXes89EmpCzzN9FMMoUDmmwBIws
7W6DxQFxA0roOZGSdkWqxrLH2oeVE+hnSy+Vn11q0HYeNtvYAlaGlwEKBvjHXnvyjEtDBKmV4xhY
TDhP5jBdeIlZhXVMRXP7IBI69e+24b97t+lj0/qWkgqZYUQsxC5xOTa4bMA/eSzEUq9gbNDMHf9H
yJs7HnVxj8gvtlo8L7Y/9xCfZYG/kF4D4vPSBBfZWNycNCzhd1NAXvSyY9y0R58RRZnaKx6JMYKb
DwnXKognPGiEKxc/FsjB4TZop9J7ydCKuduweOWxFvan12yNqYWHDEtX7D1qml3P5IRrcipvPNMK
15b75lVnob70xl1Tn5vaYx02wnwM50rFYTmeAJQSJ5cGHx4zOFfZjQVve+0BlNQOXXCvi0OIgLi+
RBKbwE9tvdREsNlsXbrP3vxmcPK/i441PABsbhp34ZsEbpFmI7KrVx7i6lfhfHJEDGjopetB6tNZ
wt6YH2kjXzBd5kAItCvZASQPB8N3Hj4UuQ9LWEU57Y5FgIjBpc9Y6BTQqef43+Q3hQZ8l7ml/oTu
OiVvEGrxE7hdEiBgLy0i/STRSMKrX/fGd9a6n0nlPFuaecmGjTD9Y5Tpq7zedioI2ph7RHgVBh+q
mcBJ2luid9xpOR/jV+JKSIp5C14YMcxjMF1claXqJHvpeyRCqR1FozmtZe0Knn6WZYUyM6QnyP0o
TNKu4y5qz7bS4iEepJNty7Y1dw19BioGdswo3M+i4L12Y43HUSdkOmUxYzBX12YIUJlu0eBbRfFN
3EuzhW/FJVYj7oSfrpMiCwybnIarFbSs8YNh3oeazt2VWee2qJe9ORz1nClpeqrUlfBvCgu6NJ2g
0jPbiRcGHb0VmGsRs5owfuL4y7fnOkahJMRYCOA4pmMJWLSJS+c0jJ5qPLsxgzLISXOzIrZDmcRF
WFkfvbUbOCtl6ey0xhb0R9C44GIqjbEgbKBhSOZJho3soFkMGwMCX+JYYn5K235zAb8YoYMX7CtQ
qjVP6SIZlRXE/ScwCjTfKLqyZaYZjzqgfPKOFtJ8W6vXtfvKoi2d/R+ERTzsFgJZaZCkCDXXWLTP
Y/XpKGvnv6Tj/1QcoqXUhCl1eF66Zv8mtUvadiwsUWBaNCP++lDa58qLKwwDabgPypGQQ09m6yxX
tP9AIf1Tj6JrCICRIgmBXlv7TYpTdGXpG0PKh9TliPvCOrSXIVKjt8IjSUTN/PIlr+Dw/FkIM/08
fxcA8VUZuSKBsVTUB7+pYBpE51D4cmjdwmC9A84BKUgVE9ehaMFEfaGk+PNXVMU/tU18TVNDkmM6
5Gcavwl9OP8R2KOLJf0dV6s5bnNyX4UPsMGyd4zsoCEY6yhwv+rYX5vh8Gp6z07cvnsmRZGhyKMm
irnuaUu3b9HZeL801QCbCcM65eXomvq5NeyXPGhxMvNy6/rAPB1AqlZakFCLR8UOKKqyQ086s9fE
pHFauJp00kMRlnj5IlUmDnIyS436K/C5171m5RN3ZFtkT6UjZ1UL9oP1mkK7JsHgKolynUTkZce/
y64nrZfSw5tKpJc6Y5HV3uuGyzxxzUcaUftgqRrNYA0a3QTHSGzr2AdfPr0cvwnc5T4Nabyuev1V
CxCOmARlxmeowit1nFjZ1jnN61NSHzktS8+FRRNuMB6sq7bbNGwbM10npGCIlhZwhTGE8hWp3JXN
sVX7C8Tlt6qCXzk62DYHoinoSeux2VlmuBBV9MsuEDS1LUVH7IyrQsTHBAtjQQB7ZGTYzLEIGxTU
sPuq8ttV43nMSaMCQmtZrrvOOYR+rJJjZQlIPdWrgepHFTGwv2VUvPqF9XBHmsQ4mpt0UQML0sRd
51L50GW4JqHt6qOQciM2Oh2a8M7Zl+XdbR4WCzJE4SvhHTIFYQ6sQLAZI+IQF6OYSSQrQV5LM4ou
DR0blhr/J07MHTaQmSTavvO/hE3556wJX9sHuKlzErCU7G0Mo68gLlnWrDOl2HXyy0UH5VZirabB
s0KFnlvtonQ2NZ91U30PZEp3k8mR+XYJ2kj26xGRZKWpLOZNZML3BGC4ljYzI7959VsXWdT7DClM
wIyMeJzGem8sZCE5gOeY5U2q5nf0ObuCh8xBexslEBaV+5/fuf9646Y//4vWDV/H6FUJZ0uKIxJN
mTCpNlIWfH/+MnKSSv5+mqhSogvXUKT/w8rQYqzXcrw/c0saTYmRxq7mYTnQRGtBUOCJYk2v4O+A
ja/o28GcJnq17/l38ks9ap2aKc+fv6V/mit0jUWTYUyCQgOB/t9/8ibsayyYaGm5171wGTdh/K4b
mLbbGLNy+//sncd23OiaZV/lrpwjC+6H6VW3BgyDMPRW0gSLEil47/H0vcGblUkiGRGdGvdQIgn/
2++cfTyTGUIKIWMfhnp55U+f/fELUD979liRAOTRvWqI9D9eQeolatkkrYm4w2Jh3/ZsCPl6WJ4P
ndvdK8BgNqzv7YsonQwM6sSkjdRm3RiKRIFR7RZ6YvZIzOxuXUVKcZENRvhsDR6vcHDDK32QG769
OhrA7g4Cl96Qt9WZaHVrlwMJXB2/nc/uRqimacigFXCAzahro5SNKpJYcHCir1bZ2GIu9KiiHz/L
J7pUXROaJSNc0VXZMmYPzbTyULUHsIAGXCVE0ab20LPQ39hBBn4j0Sx44nW8KmodPpCNFK8Py+a6
0Epxc/xKPhsfYUvowoK2hhdgdr/VqAHBrLgQa9Tjm66IG7JSE7xthuwCOIaFf/x86jT4zZvQ+xPO
mmqPO9Gyo9FcRvRQvHYhnFgn+S4GX3Ehu0TTJwlrXbmgpmCimUVvIrN2SOB8NpNuMyXlkX0CAEp5
bgFYyiv29UuJmI9qyvKr5HoZBko9Ce6ycxCq0mOhj8qJu/i7QxBXlarqRFnodAOyNdNUty3xJp0G
UKyS4g7pnV+ICzUP5WsAhtFXrXR1iw1GZu7UkiQPXaPWYyIeAnUXxFFLY5XZHYvtzvpKCi/LaUXE
Be4nzGgnHCafvV8LHbCmT7pjVZ/6j3c9Y+s2BfhZplVD2VGCkbHQC58KsyjteJOFmnHiyXwyv9Qs
y+LbVkxN1+dGQCkaDVEnzH3CWAzrWKFGGNRutNK1cHC0lB3COJCzpdDKcHP8y/r7nRrANJncMt8z
aLiz+WULeMVWdNOCmRcZjtuz0O1q5Xsoa2Ib+O2P42ebGujHz3g6m4GuXtFkQZf/8bn6gLCDIuds
aKBtUgfHkciNRF7EPJNTo87f+yQAkLrO3NlWTWybU5N69w5ZVrdWkDfWssxdiy3XEGcsfBUqeBMW
vh6Vms0X4j4LMci3UQopvK0NXrEODQIfT7S2B6zeualHj//4Iaj0k9NYaMh0ZrNeDAgOM46eC2sr
6FGtZldwQtLcQegpTpiE/v52LY0nwIcFOBSr0GwebyplicOVftmEXLbMhRZQXcsnT0uZXMpSqZ1w
Duh/+5DNtwFtajUmmT9i1nDSNgPG1gXaSmS1dyPHAJ68IKu2MCNCuNFs27VhxlypR8Lj2uzOa3oJ
jTeLG9Vp0sYMF4MvtZAmczLDI03f2L2VfRmDRuwztQ4fTdVPn0QQG69plsVQb3QZDtzQgQ9Z1Hze
tzlj4ELW5X7fa119KyWUK7MmRZSbNTVaHKmhHhubJLk2kd7u87wZ91ZW5A++nzUXcVPjsMxFeV0D
M35lmj+6S9Uw2Ya10oI6nJbIG0uqYTWzQspvqia3UVDE6Ys7lMkJs8ffln7APFEoGphQwO3xEj9+
wFpqa60ewhaqXDe5ZYWj3rreMNwKI0eDWVrRhdRL0svxj/Ptk/jQRN8Qorw7SzYnq8nsrLaQi6Cm
n1rVie9eEqwj/chSCLurhI8ayRW5sypzYmTRCHHDTHV/aJ5QLo9fxd++W1Pg+dCx4fJsceLO2q6U
iBpBKp+RarjSBY5fld0y6ZZFqX81FJnyT5vJ2+lMS57mYiwLZ6fL88Jkj2xUVnqdOYUbB7vOCPoV
S3KCjxVpdfzmtE9erCorFvRcwYCoGbNWGU8QaBawKmWMvv1W1CW0jK7wyi+mhQ677SoDq1jWux2U
T4lNbbOvO9Rmw9g2bD2n6jYN7fKHsFNaGFQRqBZGi6wuLfJg4aFdW+Oktm9LY0gkFJZ+fTVocJrK
MoGM01LHNRhtkGC68jpSkuD7WJKq6YddTH0b5weAHRIvSfBcqZ7FEUwsIGSVZokGBHBsH/quth9R
qdXR4vhz+fskh9dg0FvpTM1lrE6z6UFF5DD4Fs9YBWOC56ouwIHQ5AbtpSNJ+0bpbLR6xYBVo0wE
xVa0Z2wJVmhC7WqgspiJzoWp5PVEOWMQR6wXF9/1dioFZWE2bWtLpBiySKvjnZcpyY2Sazn5hrWv
q2SC4OTeH7+jj5+xpeMW1XUhcMQauq7h1/rYgiW5aDyrZJroCSrG0liskyGrnah02UiUgv7EkPdx
xPv76WaTxNwv+wYKPtHiUmLeKomMfCtxg6/Hb+qzswibUcpg/qtbYjb3BQNvm4WE/lvKLLR+8GrA
edTmiUYyI0z/52ZMDMVYGxnG/+b76mPLatsIkHNuxe1GMoPvvH1wPwkQki5zi02S0zo5+yWbt6xs
BB7CwpMSpwxME48F/OGYj+kfTZferkroEyAAPDmEi7nLWfEUUgGKFnUVMbgPRoyJ5CzMUGXFJqGB
SPpt88Qo8HFE/eOMQsBrkCF/69bscfdmV7llLjgjQx+MlvAbq8GOSF1C2QPNclex2YhlbXnRiY9X
EVNX/9dQYPF2zYnADi+DQACDtd3HzzeszU5hoDBWfVsGVDGI5JKLyrrMNZGu8C/ViyK0g1U2RAS2
DTEJNbZcqtuKvSVwPOyHPEd+T8BTnkPpHH0EeUpkaVQyYOA/jHmVPw6G0b+4opbPG1OT1mbfIaEh
LN64BAqGjq7EgwMth92V2jbqq3owtb1StyrVZLajLJkNIR850ZoQpe4SNHbzlQqdjc82q3aWR/lK
j0JlU0gIlZJIjSgmsQlE1qSythQRrlXiJXKkF/BLyVtD4NSyQArNmhLwWIdoPQudqRJOGJYBUNFi
yKFA8u2nrByJVDFS79GS1PyRvczwAUpQ4Yi0GzlMWebVZaAgiJYKRdpqSd/sR+Zi/ca2rSlQRJS9
TFfuWgj0B9ck0mMYro2iqDcY0EJ/E9J5g+aS7dRp07z/EnlatfFCKlExNgPgd6qr7/u0DC0nlgkQ
CgKTnlAxAVE4UQ8ON9RTVyOsR5bcrT6M3kXs+kj02KmOgBOH4kvZ/9B8tdwigA8IclBLyqrItUuV
6kOXmgnKOrVUF26oZo/kiEPzkU2VTM5CQUWUqJPvOesBt/VNIig1ukOBljkjRjZrbZk9sCRedZaL
5AFfRkvZXu7JMfI0GDGU0b2R+MmwiPZFqDFvi4NhXQPkJrAz6jZARZttofrWbRkDuc480GTC6sWu
sgZYsrVNGG3sTYJAhj12YDE9wgNKXvK4kb+5akg+iWQSJxNnYQcv0BeO2RNpu/A1hc3KaEpeyMe6
uSKgkgSDzgO/OaQl4lByNymc95KBT7JwH7w4pqLRMfeoKTQpWQ2wQbeeVIJDzEU4+krhSJXtPiVh
oN4FfWae6Gpmux1vzc9gAQMgxrYBk9iz7jxohjZFQ4jxG4F1C2LKHHhYUihy5P5dze6Yi2HFGIT6
s9Nd/TE3dJNSUk+CRmaSFHm8258a+6wzMCzDhn5gYsVR1NmkJYkw5UQlBL/Ig/zahkmbnwl4LDqM
rGHc0YEXVyXIkquua9BzVLGL+PL4JbyBHT5egyXrwlCFwhLZ0uTZ8rELJRF4hWSvUtfC62DvpIBO
l8BpZIUJVEj5Zox6JxoaVMMmkdkEgsMMdk3Sjd6oAdnKDtCixcAZEajlIXxZIjeImkCCBtnbMPY5
RnIyYelayPSghtxmZEcmhJaPCxNmArPS7ds9/deP/v94r9n1f66++p//5t8/snwoA8+vZ//8n4vg
R5lV2c/6v6c/+/PXPv7R/1zlr+ldXb6+1hfP+fw3P/whx//j/Mvn+vnDPzBrBvVw07yWw+1r1cT1
20m40uk3/19/+K/Xt6PcD/nrv3/7weqpno7GOi797Y8fbV/+/ZvJbOi/3h/+j59dPif8mdM8D8/p
87/W5XP647V6nf/l63NV//s3SSi/U3QzZb5+PO/T3shv/+pe//Mj/XdDxqfN/+s2SRzTj9KsrP1/
/yZ+ZysSaotMDgTbhZrJoFmxvuNH6u/wWIDqQJplTFVB6/z2v9f44WX99fL+lTbJdRbgKf/3b6zX
PzYLjZ0smZmAak2zAWHY08/f7TIExMTZwIwEHF5Ve40yXIYlNeFdyGrjoh/a4jUeXKyuhjkQy0iq
qr83YpKnfVdR97i23F1GOR1RIXWLgi943dtj5ki13fxMm8DCSt4DRSvJMdeqPr9oNcn/URt+sfWT
prvw7LZDHjjgC0XUlUEcaf3nFp3NtTfq8r5m+3LdK5RfdIsKlp7W8Z4qssruR5EByWDI3rICJbhJ
lcvzSowIXZo43gMyMH4UUlOtbTHizoRkwLAS4wjzlNAhXzrba5pJuofhdcvYt6XrgjDgbdr30b2m
ZekOcLb5XadA+xVEgXZeael42aWlf5FFgOla3/qeTjoRspvlrSTyiVIeTaZBCj5MabwFPoAB20+o
b6rAtvdB29TbuomTXV9DKBqDikmJl9fIoFlSxJdpKwyCq31ShFI7cYgtKLYeHvVFGWmMszZIbnat
Jzhix3TCS7HNiFB/yjIh7gs7SOI1AyjheZEfSTct+0OO6UlkFFlKU59biPd0ssYiZSfswHqRWq1b
42UcHm2pKraWq8Uw5TrSjQ16B/wpiLBkSScMRMeuBc0Y6UgI9K0x5QiPS68YCGHbiqE8iYorq+NF
AUqR5K1vQpNNKrXfFUTHEvnpTYrhEe5WItcAMX1vBCXg402zu/Bc9XFjIpkCt6GX+dZTc+XGKOra
cdsmu1ebwbsE5DWSppAWoETVvs+ZMoNpPMsKQYh2KIKKsKtxuDRj9GWqMdZf1ATepRywr2LYwFVb
gA9rHOkSmmolB01JjgAAI8P1V1nbWd8jrewxtvQ2EjKfaArQUwtsz/Bkwbhoj1HTAixB6/BTj6TQ
OmuMKlpZvTuutaqGtTkIwHadq6cbqfZNaReqlaFTQ03M4F5rwEoxuagnIVLmwQ1A6Wc/pr6kPFhE
LV/anZo8uFEZ7bpsdC8Gt5N2auXf9h1ywbJRTOtGMyUUjkOikYA2+CDVqAA2UnERVT7BJHUZjaUT
xHp8ZY3KcMOskhAT1SpeEtmnLDyOI8Yh5kYa4pkQWDwO/TS9dss0fQyivsd9FQ4PLNgRTrnUQC/V
0s0exlIBgjqoeQZBfQSf7roWwqe4L0pU9HUVPQh5xKUVNRMsB1h+dGVoBcj2lCZIPUzWCH8rKz3Y
xuwLLiBYd0vevsxEzPQGJj6qulD1HFLdUBBHLlzzou5Rlblh5ZgJcpCmSyuid3vli88m+1lk4HNJ
w8zYgX79aSIIsg2v/CFZNvo3nswuqjp0E12GoaDKjVUWlXaEEw/QGHDscanYiXYF7UmH0InGkQOv
8qSrlwrZoU6jt9nS4Cs1YIJeSk1tL6x07K802YNuUabXo5ZeSLF2xUt2YjPNX/OmBXzcQCry487a
pnaG7MQz8GYkOu60rrgSldcA68Q871IdwD6E4pqU2vxaiZB5SV6ncjn2LXKegp7NxBoTjg06f2gl
6jKpRUpZGwfXil1hogWK7EHv/Su5yF6pgoGIFNFNGUR3RYAExfaDXdVU6HtrjzRAXIZnFV3FSpLq
HDQ2rFq7716lgBzeTKS70Yo2o6c8s7GNw9i2ShieLojDOA7WBI8k52DdTbKpcEB4uQk9PPWrSeUD
8IZZx0Idmd1HrnzV5qZHwbqDM1mTJnrWYwko1oofBPhSG6YzFOmumeA9KcTbb3VFknelLg9XUj5E
cENJUEB9U50PUvgcGNPeqV7VX3z2TjG1Z81lUfW0QqbFFzJJp6ShX6YAabexiVkqRNG06A0XF6Fn
sgs7iEdzIKQg7bGbNAWeHJf4gyV7kgiEPTsEkAlmQC8K1WFCRipDX71mmW9+o7hTX+tum8ODIYZX
b8S4HYMMb3IerQ2dQJK4Vb2frRHyWhP4spdjMN7CBLqP8+yH58s3aSaZi6yMJufgeBWWsAbshkZT
DN0POZIe2iwSd/nYdnTaaCIUPep1vI+D+JpUrZkT5NMO+zKw5BtTaoMN9K0b+iVMwAHJOnng2XAf
wt7pLDO+5NPhI2KnZgmZEFOyDhRqrCKYrDExgLS30EYt7Rd5fhtnMt6ctCibwElzHZlHPwYaVCMh
IqewGXkcQ2lNSvqthiix6cmYGFGUBHR4iCWbFo+NCCSNlhCZ4zZJMbT61cgLLazWW7TpkNy0IKwQ
WNQIQL3S679neuNKK69gPYmZp6qfk6wkW5gzfC0Tw7rJ/CCT1qJQre4WEfjwrSi6btx1ckywpzza
ZeaU6kC4eAEn7L61sMIyYcPLr/gAYTdB6Y4TdZbhd1Holr9t4gLOtkWv8FRjQTdXRZNY6UIOJMIz
iIEv5WXPxKvBZa/rRC6HaFYcX5a8y1zgPXdDiPRw+4jkM7JOwqNvyGg0USmQVdBLRbKRzTH72hYF
InylBTPNxAlRHyGCxJRmJSagroq9L6UGXP6sADeNA5Xv8YJGKb/Iok2uLUIVv0mtrf8svQxSsR25
Dwis7LtO8wCQBAH8mLynPO8nMdlIJFg33yy1Hx71wsKfQLDdBLCPFa4kzc8bIzARtcBtLjsrxlXp
ygERp6nN+NfF8W1BQsiL5lb60ziguc0zj0QEv2rK6sw1Te9CYkd4N5IaSApt0wR7skfyq0ExyvMa
Dt2qaiWJeMsYC1WRstRgYmYsM1OJvhCbBTihAAzCIZtXtewN0qti4NcevoOi7V2eHXM85kQV+Yop
XncdMHyk5eNCs8b+pRty49xqcK/qSjFcj40tYWl3EzK6jEShftZm95FVd+dNYVs4yeVgp0uI6vMm
8cFFW/kmrCxWS5YX4p8olO8t4iuQO7Gk3sgIC5Cao6xPfA8R3dC7BE+ZJapqSy8XKePrQphWdWN0
sIjCpECXPLRRsLCksVt0o1AviOgDMabL4Y2SFOONJ01BGWHlbmq/1+4tSUm+ebFGz+m6xGTUUbME
jWcvVJSCK2OM6qVgB+oSAUq36BXFXVGfQsPfZ2O3z6UeDVAnUkx3KTxJlN1pJ98qWmFfaC1OfVBq
3oT6FfjXPNm4T3o/uMhlY/xuhG100XeqkoHvyPNdgpyKmOQ0IOZVIbckMkrvnP1BtITVAEVdhOVK
VfT4uVXC+mvqDhpTt54AXgWS4YKZMrImJiiXStJ4tzYlu8t67LKdEgKDH4ZKoXw+pNp5lPkKAAg1
G3/i45CuSwtwTGKX8sIu+vRqhH7GqrJEp1tmwyUWduM/C/T/v5L8zWQv4vBKkrSs+PVf6+c4ip/T
lw/rSP7uf9eR5u+EApKMpyAb0elvWKf9sY40lN/RcVD9Fmy92Zo21Sz/WEdKQv4dCaBt8qfTfjc7
D38uJCWh/k6EiMzS02SDhk0a/Z+sJDnJu+0ViQ+MhZYsG1MJ4d360Sz1uvOFbzq6619qansbaPFV
nEsbpBtf6sj6Sij8Q8ew8+4R/bGQfb9wnfaO/tpJ+et005bvu9PZriq5wlcM7HzUmAqigfMTgtWP
m8Z/HXk647sjG2OigH+tLQejD8cvzfo+M72H45c9U5D8dfRZJaUXZkkP3NsO+LHU6VbyqnFgMKya
tXTh4UrbqWegxZbNP6qo/HW6WSUqNNo8FmlvEJSwb8jNUF1reeJOpiv+7A3M9vONtELJgQbCwQy5
zF8aJ3IgYuzUtVhgtXOqE7v4H2uNf93BbLsuaiPTzf2GmDHWPR2yTN+DeKvca/I3g/S44zdz4Gua
V/vthO37WHGJQeo3lfcSE6R0/MBT+/rsKYnZtorqt0HITki0aUHA9RXWEd++B+xObA9jVa//HNjc
19ziuo+RiteC6G1yp4NIcrqCNeQQu5duFI1nZeKd61EKAEk808q+EmcGKqPV7qRKBmQab4biVNn+
Y9Hvzyc+p+56GcNm2hHshmi91xTISuHCw5JXhv2JpzLbGf7rFLPOQmlI16TCQnkrydnqGGzI7vKd
pxuXgD9/xgp0ZVn4mOeB6BdZuNeSE4XyQ69j+v93jVvJQ6bro2o5UXULmJ/i8Fk7fDn+rpUDn6qY
9RwhQD6rDXoTIS4bMXV7VzWtI5XSF1Zea/Itv2iY7UoPn3ELJWXKT6kBglg/e89zmFSDB9W/icw8
0fTf9EGfNNC5GCDtjLS0c6II5N3wmK/9tXpNOjzWKNvJlmQFfJflU+/z0J3PupkqrBM9GDrTkcjo
RUesMAHUnzsXxbShfhEpgTu+n2OrgMUxJu4A2nZwKkJ8sryknt8utLjdCa/+Esupf+qiDjXqWQel
ij53u9A1HOTjaxaOV/6SAswFG+C7ehEs4wsyTI6/+UNnmvVRXecWqZfTfQTytjSAijH5PX7kmfT4
z5YyF/DpXQed1fcsp1u0y2iTg51a1GfDOl0ZT7Fzapg40Cze1FDvmoVPFjn0X0alxn3S+3bd+vUS
6t2JCvCBqcEbqvTd0WlvgxeDx3R0x9pN44Tm4CV3zO3xZ3Tg6euzzqQIusACw8d3rt9XJUllJyYC
h4476yvgs2oeu37CqYNnPb1yyxNTlwP967Td/74PUsN4LNmxsB1WrsTGXMTsc8TWda49HX8eBxqj
rn08ftHU8kiVy3Y0V98aipNlz24DE6AkRkM90dcd+mBmDb5nd7JtAz5LSXvIJCdOlyEMmOPXf2iO
pM8ari5ZiVvHE4fI0dbp2oXhelOOSwQuy+ge/sRqCl4JF4p2Bmzh+DkPvetZCzZdM/RZ7NkMSK/g
wxcD3uJfOrI2NYp3H3/qubUmUIA7mbG3dUZSOsjjRz7wDuaOqoom67HOxH/p2vsYHpRGstsYViea
1TRD+WT4eBN/vbvwCI1CrbeDQZAoHKkRRTNbk4RoUCSoxWtnxM8a0eTL4/dy4PlrszbcjDLz4ohJ
dzXcIJg2fvnxzxrxKAdj7nuN6ZjDPqD3lF3pxOM/NL5qs3ZsanmvJKNqO8od3+c2XXsreCPwYxbq
GniaI52Ys8wUjX+OAXNevxLm+mh4fJxjeF7rL1UB3Sh/tUZYrdZ5Wf0cySr1x5vjb+LQV6V+/F6V
AM1aVWnC6QSUHZPcJQzjOHuOH/3gQ5u1bb9i4Tayf+TUa3lBRDbJuGeQ7s+okazyXe5o18dPdOjr
nTVoeUjbXKEs5pQlsgezK85JwVm7lbmmjoenSVvFwalJ/oFHNtdSuTXdqwmtEMz205DtQzra053h
9Nw/aYbqdIPvmiGc/ILahSpYZrVLEPLLxMk3GPi2yZqokhOLrEOvhWLyh7NQ6dVVqjywgW+GRbmN
dkQxPal3QK9XBJ+f1V+Pv5UDQ586a+a68CrVxrgBIiE8MyiAyuggzY11ymZy6Piz1h5rri9TfGUi
hs2sBOLtmT1VVvNMhQj2a7cwa/UU+BuEmbR60VQQsyL6K8CrGuShPvROtPhDH9RsBC+VrjZddxL8
gFOrioQ0yAuN0MLjd3BonTKXp2Z5JntDEVEcljPFwW0NhYAMNJ094CLEtdik37JSffIlgwKoV66b
3voWBtU3P7aG3SjSx15PsahTX7e8JD91VdPNffahz3qGKqOaSXa2cKJumW+TVb/BZm6dEzKxgkN2
NWz02+P3P72pz0406xoQgQ2tW1Ab11vkyp2xas1/lgT8Z0+tzAb7Bm1HpWYdUy9KfnK/NHBaF+rz
8es+8FXMHS6JbgYC7YrruMRRGLb76Ko+EGHlxCxdnR70J8/l7XN519NgAXbTdDTJImWa3l5r391d
uoVcedfS32g7/xb84Xm/AnOzpBZoXBab4/d14H28TQPfnVdWKa6ZMUNCi3++hOmCFPX4kQ89sVl3
IOVpo5t1CWgx38cg74rwKxGyx499oKt5k/2+u2pdT3qdlazpeBA0lBa+YwNkzht3yaCcmIEdWvy9
9dbvziE3LWq8mC02CKNr9bm7mN7EuEi+ljtveWrq+/b9fPbep5Hn3VnYzvVLtlwMx/TCG1vO972r
XUi6uC6K8Clv7a+tAAbrIUVd9iO2IxHn0DpqceeFlNR9oiUyeoaFXwnCU4N+20V5ujr+kA+9wFmf
IPlxnQQx/bkFB320i/vR9TdBcUoMfejLm/UEIAAitSOW2cnR1TZFvLSKu1+68LniWPU9eexHC4pT
sbHFtrGv2ujE8vHARb8Jud69LqkcUpGgHnKEVqCPlaJLOxu85fHrPnTw2TwAArjX+Dg9eOCrrv+C
ivbXmqI8G/lRoigDMjbheGayLiUMMR25o5l0om88NIGZ25BlmVywyuapQO66MYHwv83Hi24RKct6
haRmD/zs157R9OzevYAkGyQvhr/seGA6gUOW3il96IE+RZ6N+0PWoNk2WKzU8uVAS1NSbHXtV020
J2bFh04wa+qulid6QinIMbSvsk1ARdsvex1aU6N/+bWHM2uxxAGwjzRNV1V5awgSQVz/xBc0M1T8
ObjKs9aKqKokj5Ndtmql75LbZEM+zVm0Lc4lRz3D5bgNF8fv4W1tPu8RJ4fIbBiX21Ei424gcqZp
7smiz8gMGm1UdeRoxs0FXniAv8L9KpT+xQC9U8r46NgEZcdchsKbL8chvgBKipA9aCHF5F+9xPru
j+pFHJKykSrZo2D+UeP4Fh7Sskx+SQflQVDMxd/uXSFjIhoB7nHiwUup1ZXp6lde4O1z1X2QMAKt
5Q59sjyemv5/9l1MNzxbZISxXCHeotoFzHKFEBoV+5n+1d1GC9inYNYX2VLaymBcT9jjPutmpvPN
uhlcY63UtTCjXRwRWuBfB5X+i4eebvFd66Qw6FuFJjFkBE9R+L1W18c/ik97mOmaZ5MJ4QZlrsWV
5fRrZe0vtD3vPHmwlgRis5kJeC480cF/uv81nWnWwYgEj7s2GAQwe8qTZ4e7cByusaPvZXU0yD0s
nkRXNWuzTPtdBw3WtZUdRvgX3xJnSiitRE4GiNeyFXH81g+9rVm35Ls2Ittct5wAGr/Y9EZ74sAH
73TWHwVWGSH/Al2SuzqSu2HfZ9FDWdom1BSgqCYyMS0kOZ0pRsYSyC0sUnvSfdQT9JfVqPCSEFam
Gf7CdGN68LPOq8FSa7KZbziK/uj5j7qA0vwrA9R07FnvJWK5r0aJGUFHpvujvqgW2YV6HeMBs88I
T1hJW7R1x9/X1Io+6b7m+a8qvUavTXteKUz5Hq2dL9RF2U7ko2e/DE4sUg98Fdasz5BZu0OZQtRd
FPsYOrIlTlVj1bf10md3MOsfvE6E4eCmcOv84koKm+tGBziaZCTOj62870v7vpiiAUw7g0dtJuFS
66ovRtv+zBCWQ1Bl3WyE5TdDDp8k2zjPVHUlGfZdO2AgastzfYq39BNYRLayDLJ8zyT+2jeovlYS
8TJdO0Lugt0+WODGmBvv4FpdJClhSam9zsZ6B0/vUY7zdZxCH/bhstcNgEB82edG38RnhiVtxka7
MmBRBnl0byQwojt1G+ToccbK/p408tpOgOvE6lNmRpcWUDzgYytNiggBjarl2Kn4O4nd7FsChkZ3
1VXEfDWd+S0tIwe5KuriZRep37ow3+P6qRZyldzZAraDpbm7qtcwSbjaigzIHWEzd7aLzRX9I7kC
6a2ppjdYhe7cIX8Za79l2m7Jq84D+pO30XOm+3uwNehtCRNaJ7L93WtJpczA/RnNlPfUQCAwu/a7
ydo2CBmQhfbooWN1x5D8qRzbamSdhbbnVEn1WFbhQpTdRSCI4IoVDOA4r+qGyBg1QL6seB3CtOQh
lpFBsZ66GCig5jlGBN0m6InI9msj7UwCDppdpnfQ6U0iVVKpy88IDGSLxM9XwsMA0/VPVUsCfKwY
l5ndnANquw4yaNZuEW6ictyn0ETUtnupsxroP6h7rV1qLZupeSh9K4PspjT7r9BlfuQk36DcRSqs
Y1SK3eZ7pMKy5vO7iHTdXU2hK0GVeFe5UX0fpeC7XkEezfrHuo8wFso7bQChZRT9RZr736rO3VKd
uppyQ5UKMa/F1s4yMMB2p3a56+CZ9MKKz6ok3pp1D4g69+9wrvvIV/2lHYCotexvvWbsfZS4i2QA
j1q6GJlTPmDUe+e1b2+iTHZQvpFTNKKLw2S29cLxgWyJlZVbHe+kvLEACIQYsJi5lNmZVcsTSz7V
14kuxQulazeyL+81JKG0ZH0FgmovZ+Kcu7ivS+1cKcytrWYPStvfJEKPlqM1nCNDvJpWIr06/CwH
cv+O91+fblDRV1qzMdx1wzYvMtOiHx7XZtg/oYwdzqLWcHB33yeozCWzva2H4ArMH2+oMBkEM0TQ
EvJXXLZA5OPijraw9vJTMY6fTj+ni5qN/zLp4qmYNCIDlVhQ5Yv4yvvG9IzZkbYo7pgSmssT9z8N
rJ91f7MJQOblgYukmB0R8sybBXswa+8mWbTmwvQXwTUw3oVxe/xcU2/92almY7uFo4GMT0bgpPMv
Q1NdmHbsBI5rftesx745MbAeGitm43wlia6V64pNbDS5kx8gafoTh/50k2R6L7NBO+z9gT7sbYO8
WxElsjSu0w2c8LW6cRfjiYXT9JI/e0yz0Tsh8CVFk8maj+B2RfadVKtWEnaG42/hwOEnneD7SStE
rM5t0kE4KeQ89yrFdkxvf/zYB579JBh8f2xPFlUcuMhA2sZp65+1//Jrx52N0b4MckxOqHq0FaNy
9kNvTzyMQ81/8t+9v2LLt8zRx6jmsNu0JKOXvI1qr5faWg5/+uSFoGL8lpc19PDsPNHG1Uj2HzqX
fUQcSEq2HTJf349OfF+HHt/0yt6tJzqJxMnUCujkFNQz7Chu1Tg9oTA4MFEzp3O+O3YmcjuIAMU6
cc6uWbP1rWRVBpuePL1RPVUJm57aJ5+uOWvhXquJOlTZqMQ2Lmt3SZGsR2WTBY1z/Ds40IOYs7at
ZilThaSns6YOfYYq4MKyFCrzSgBotyfIADQRNJ0TS9VDr2PW2tuYfCRF810HhMeDJDe345TTffxO
DrXCWSMvlYyw9CCkoCvwtj5H4iU5tfEyNeRPXoIxa+B9DSfIdOlmdadGiRQ4w9rfyHv/xDs48I6N
WRuvisGLUj81HRSxq9pdjyWBmv2+kE489UPHn7V1mFS5n4GscwwCnwQqdEozWvqSndQyHDrB9P/v
WoIlySKSGlZeRmUtFUDQeO2dRLkuw1/bFpjTgKQAVEvgMYNopJFgJ5AF/5ezK1mOWweSX8QIriB5
5d6tfbNkXxj2sw0u4L7z6yepiYnQwxMaMQqd1AeQBFCFQlVWJqTi1OjyxhG9PWfHxpxbKbofgV7I
9Ku+HCJDBaYt3eY/XW1KrluiHcSZsatuWZruYDU1Y2imJdCeiMyoj2VJB8He51XC3S5VlWWF3gXk
QtL0hNyVJTNZ0exwJmvaOsC14CKJd+2PYVwDth3Y0NggkokRvTlntdta7AQJEiTxW0TwjzpFsUqX
7PtPoRcILnhg8AKiN7NXd3j/de8RGDs/QWf0iB7HQxptAvU7yHCzNbDn9kfRjK+Xt5MoLcKDhjU0
++agVQDloT+FWx1bkZY4AQnMOxXKzif6bPh1CIi1Fl5+oMCp8ojfbSaZStyOHDT0Hajn26zwvjYy
Z9c2+Bt6wLRRJVPvWud2kzkk0Rsfm+GDv1i1Vq27vU9jBmZadfieGRJPKgoneRAvaD+nFVdiqPah
5pYhnJwT0DwinGQhizfJUwQmwUNzFXVHpXVELpFA7nSpfqllhWo3ohcqRf+KZog7lvt+6HKg2HA5
P5tnN5pe5ldo5MRWvAVNpP5CNu358hKLvoUzb21VClA8Ig5E3S8a9O85Gou04pTujeRYFmVeeRLv
2uz63AJLRuwm1l0aT3HjkwBi5UOgR3O8JFIUzPHKn5zSPNi2Rk0X4MkRfMr7jFpmBwl5NGX/YnP1
Mm5G52kqlLgIyEsXl70aNlRhairbEgI3xkNwkdVF26eKHa3p0A4C6fNYxov6cnmNRINz5zdqY+2C
BgS4sR6M+ffGcN23j18bmrNwyFQ2IEJDvh3JEGRMIDeLBv8s6WZTYisiizQ5W6fDBBn3DmkmMy6J
Z13vV2Dr8ffOp0AiyFtlRF6Xx+X2k7JqPUGQs5z3aA+6M0R1Br/099jxmmeQKgTT4Ke3siytaE24
A93W145oHUKepmK3yg626kZDyUJ1JVdWgQMwOQcA628V3JTcGAVL6G9Y0FB1TCk5qSDq/w9GFywa
uaIBogR5DADGIKITsDbsAhq6SJR5R4vBkpCwAuFrh2hRcpyIkjAmd9hTd5yg4tAgEYSjETSoAdRb
wjzMAr0GGQOqgVky3oCl5PLeFkwhj91da83eVwUJLnStmzV8gOTeJ3CZPHK3Z6ZiVe5xJdev8yxx
J8S7LqRQf15+bdHwnLVX6BVq9g1V3gLgysJC7+f0YhmRzmTs4yKT5OG6LqHqZIzvORcTC1BEik8g
5xobIVhFfdnJInL8Bmf5jbEXmr7gMWA5hbJe0sUj9L9AqOA1JyNcEpQ3WunWEs3asQk+hBSA07ra
3r73s23II+Uha8+Zg3Syb3pToAZFCNEeasXuvRTYe5j6J+cND+wd7K2u0LqJ88Zv+4AmwLoHaAVk
cG+QUAmyH7LoXrSROV9gTWyYkCQHGlZvfFiPJQf0ChyBwR3/IyQOdorcWNxH6Q1Nhri76a8M29tf
Zw/6bQ/2zRIYIdB7kJCV8XC/G8pnE8e5gXLTWNuDmhv0iNY9Scc7miFxvoz6DVA34czMp56RpEGD
DyhHbB86PI9Lbt6jQRYCMIBAeL2qgLWCfAN7zFWX2hC7yFJoBmmvhlreZqt2lH7Wx7UyA0bssNK6
N33MXkBRcB7N8rRBtrJKoclMFTByGsqVSllY1FWy6JkFkZH9xmCrBGcmcnk8uthpaVMPhxG0zK9P
UDWLzVP/C4rj7o2GI3D8QwP792XHIdgmPNbYtUFlgGIraufa92ZHjVsK3hCNzLmkjVUO0WeAO9FT
mDEgyo2nr70yF37okLnK3AEKV8t214F+VmlfLg8sOJ7fGzo/uIOJuCgNHS6OGg/leAddZmWULKng
Kv8uqfBh6H5EdQMYIid2u/66G1/Ae+TbMwREhgK0SgoOzT7JBiO5/CHHFH9iK+9ktR+e5gAG7dhQ
yIrTHjUU6ClmP5hxnqCGM6Z/Lz9C5Kh5RPHa60VZDtA9hVBkfzKS8qb0nTsrPNLwRQiNGkkWR/Qt
nLPRSzDAZymek1ns16JAQk3dpnAlxdOeF+jQkmZ9BYcBTxJo5ivNR2tO42YZ46b8BV7exNR+7Q79
WmjxH6Rwi0LixPCAegdsstkhxjR3kv31aXstshb/QQqj/N9pC5I5BsTQcF/qf60PIA59Vs7yhJHA
onm0sKpOFRtVLEVa/h0R4HUyFmWB4b2H5x/2a5q3u9PtUxrvjfFQURe0uBBar2TlENHwx+8fhgcT
dmvYpnYkkMHoOpFIzepbDUpil02B00X5X5TaMffHfH0Y39jrzjVLHQvbzMgPsdOSDXdmq/wtFcOH
NtBVYXaP6eRcZ2od6YYFHSIT59Su7K+22V5vK1SAxw4CyU1TQ6W39HR0Y4O8B5K1ua29FU71OtXz
syKDYonmg7uGaMxBgYBuCnpXrbtuPGh28r/9IrvlCAzpPYL8MB0E5J8r3VsobBrt7C3pwSSGWoE5
sHO2qTKgt2gzcn4BNIkoGg02haoahUSxCaAyiS8vqPbe8PaJA33PDX74BGPPZi0tyiwx2/Taatmd
rpUvG2O3aJoJlr47F3Udk742rzJn/oepXVRa0+O2kUfdgtxYiY93JrQ4L304Ye0nEBy1yvSwQJHK
S3X3Li02zXNA+TR2ZWKV61U2FRH49uIKh5uXWTaUmeb5qhxx7vcNiOv0BRIIzpj5Q1onhVk+zRQy
qfqsvaH7moI0uAeZobve5hP4pGwygYxpAzilXRZvLI0NXGjAAjkgJQhmAwRKKUhmUWZWAsNIr3oL
TQXqCinZ0bXAwjY2t3lugphCbd5UxfmpaM4f0M3cTkoWmgVGnMrmR5YzMDgqaNcw13PptlegzXuc
DgHujYINrWqA3TG7f6iBRrVJ7xOlXa6qrTuNRU6ibtWfph5kP7bbFX4KP6K29V07rC90GM/lWuJw
bNw7Y+vOuo0T3m5aaLwaN6xD/qUBlCHLIVZG1f43kMtLnDrlk0ZXiIeRG63ME1Bd3XT18AC+rhf0
ZzRe3an30Of6o7oK9WbjmOIJFUxSQluzM090aqGRoFT3ZmNeNxMJhzzbPHuEFJGuPJBmA4OPUTzo
2xKl2Rbp7fSobPu3GZd4umboUXWaNiiKoQ0Gzbq1ejscrOV1Zf3TPkBl0IRKebm3QIcap8sbVHAm
8pIrzX40r/ZowtXT/ZrBvnpQ/gOfAoTTbAPAlgeXnyOwZB5+C8I6sD/aA02YvXnUaV5LYKYYZCjt
sv7/EcD/n/OEat2/nec4tlWrqUyJD80KiFhVj5ff/fNLisPjW7d6XXQo31JgXIrrrknvJl3xRgtl
fH2E4GO1nRi03i8/63Nf5PDYVr11yNg4tYJa2UungQJ0l3ZqiIY+luaDJypNpFzUvFUAQU1jpKYe
upv0fkzaUPMtbDyvvrGfL3/E56eCw4Nd2wxyUI6VKcjq/SZgGHHBUu6C4+/y6J9vJYcHuLZduuiA
VeNQGJA2sEfrBPf6mqPYt2+Z7EwQPYQ72GawiUAvLcdkQfe5Nj0G3hgK+AmqjJI4SzRJ3K2a9JrT
ryOWA00yz52FK3ymDDcAhsuAkJ+25kBliAektlXeQNkJtg3E011735yBy96vzMU/Fn0LcPuLUwgA
36Rgdk5kDkW0y7jLNcSrGhtcjkqc1fXVSPoYLJqS+P3zNUGjwb838NT3jmKNI02K9JdBQJqqUY8M
vZezIbq8tT5/eZfvjumQkrQA1EMkkFtQUrfCUVMlkYBo6MMBf7C+YljcqpvMFOjL7wyd/Lahfcke
XL45pgIPnFGUkI0tQK289jc4YDym3qSOZFJE087FvLk7ZBlkCpRYNd6W8go8Leir8jJdcgcXDX9M
2IeJAZEnqYjppmh+B3/NCc0PSbGeJmkFQDTxnCVbZetuUKXAxFdFBA75mCz529e2C2fCtotKnELh
JFIQU+cTlMQVdZMBmQSnDo/D7tQJTJwOrFcdlaulBRWmAULjEX03VlVd22vxohf6j8sf8nlOARJs
/16DynbB3T1hiU3WfK/27rXspz8pLc4Vc0rPbZW3bJqvBkUGixJUxh1eAa1GJOQCEQIUCxTolXqF
3AHUdjTn97SX16P9hpvRGSKsfk2U4PInfr4NoL72709sytxVhwzBQUFvJ3pequevjctZR5cNYIsu
wbhVbJ2Xmv+QRXbJF07S8SkfLAMocaWm06jEu9EBBF2/VQt4L43xhjl9PLPiaciWyYPOAPSeZTcu
QTLGcThz2eCl8mbosBViSNEeKVnAjf1UAzlb+Rs1s0iWVRacf7wKImm1XrUnnH+1/XM3/R1kzkMr
iWpFY3M3usXOe7caqIIuxx4MxL1n7jm0GCRm/7nHchzuiHM30CAaVYWYuUFLF3F9ezVvi2x5q1j9
JViKw0M6Wd2W+axhVzlIQM/oR6iUE5SZo8t7VjA9PKhz30HsN80Y/aB4Vaq3zs68xXj52uDcQTcU
SJqDYB6ndL4EdAPuRb3V2cPXBuesuFSrBVjyIUscerfQBPI/PvRKvnSQguzy3/aWzSydIXGTxkgJ
Rg70tdAKFlvl9gjxoeTy+39+3XJ4zKY9sEWbFySc99YNhuXRqMEBXhC/wxyNf772DM6Cs2pZF2MF
QcOq/26q1xKoEFp/b8BgJuOqE+0f7tzbhpVkmY4GvGJYI7A24/4PxINRoQ/h8ieIHsDZLyuVNhu7
g+QKTPwsNSJ33iAaNEkqqO+MIf9Nyjg2Z8Flles5dimwmowaXjO0D1npnNbOrYNdT0OFmRBFR8Sv
l8ppHNTfKaXP1Vj8gYSRGlijcpemyN6MxGBAO5WrnwGp53ejA+5pOodqDcrwxfjtWusUOIZzTRgJ
tbWpvjY7PBw0d1d1cDSKJCFVXxyj8LsZLDUge5NsUsHs83hQrQeVYFmNaTwO5xa6z/vJ1SSXniOg
+GTiCe8cTAW9SxZLIRH1wzXvHDuPgf7wpvSZAhva9a4Meid6EOco0FtiZPUG1E/7zxy1KHytSX2F
lI1uePvD7pvRfG5ODdp+URcDG9jlbSuobP9HmbmZ8VNhAV88hFqEDrMdovVXUE/CXWv/w0xpj4do
hbjIwJ0Nkmk7GDAPNQ77n97ofUWTfYVocM5/WBBJLtMCa1QAFuEASa7UreJZaZF/7fjh0aKLumm0
Bu13vK1bbLqml+7kqi++GFjwqtSQKbGpDUAwqoXGHavTh5aa8TbIjuZjB322hTnfAQGIxbA6WMdS
3xbTiSD06qA6IS12iq7tPGpUpzWjk4GS2xCy5zlqEvLYB/O18lo8aakPbbfzsZ8KEDpGTnh54wqC
Yx4ymqY6PYB4MMvyh6P93br48riaYC/x2FB9ySsFiiUu6vvjW5F76Ns7jDGLXIilhU0D09BB9yvr
fRI9jrP6QVca5OZKVBKhVaMoRlRoZpBCJ+Hy5wicyrtS4IeAHEK/005MnHtOp69eYXQ/LPzT6/sZ
CMbTiNtrNX6FxQnJGx5J2sw5mRk6uaD2oAe10aN3qPxRul0nOURE38JZeT4Vc+FoQxrnK7lxKt1X
erAkDm3nOdX0MjB4TEvGCidAIUAo5d+RVTv1mTGrx8f4ULn+XaMvL6LnGRjMGoSvM4SYvOZOFmO9
140/sVBemnM2WtCngJU0tkmiTR6MP3T8PgBjVdTEbniAWN2wQY/DE0Q0HY/64Pn3ZWlWwVWah5sO
rCT6MKFCmLrrI8QX7ve8DqkB5Rm70TxFM3/o6hqveScxXQHw0OFhp93adRujexor5XZdusNrB63k
rckDam9DwtA8g/KGGqOLx4g0Yo8e4tx7U9l0vEz1jzJAYsZ1fUic/r5sJAJfwkNRi3RZFNQ20H09
PO4ziMrLWnK8ikbmggfIX5lQusOXzmNiTqfUfb78xqLtyXPAjoMyKZOjwm3oPnAVBxXjS4+m4acR
5GGQ8QrcAHBBycOOPf/J7uQBqZkCvaDSRq7FerLeaKIlUDP0rMzfAhziUl4m0Vwdv390VRVoX4Ya
2zA7OrfN7FeuDTLCYsEJaHKuw1AJZJAppquov5P8pqI5IMdvFcqCl6dI9O6ct9CNLJ8W9ViOBu37
T/YsyQqITiMedqrqDaDRWouT1cIxdJDEmc8MkXOwgecPCzDGLNaMYJUVEUTJFB5wqrhO4ejATgP6
f7DRVjj46lc7fOf4jNz7rzVwOTzSdOnm3cpWFanC7UdajLiJDZ4DcSAZJFRwrPKI080Yaau42Eyg
oPc0C5r09tlMG8lyC7bTe+X8w1btJ7Koyoblnuu7CXrWNjjBKna3rDLKZNG684BTx2xNnQEbFfdQ
u/IrC7SFk/GmE3INgTIoqdfPuqucQK4TmyVoGclYj8FAmjv0xQ2QOGqvQVUg4zAVZAB4VOraGTYo
yeDEihpcDay6WZDK9VSGxHqxRGNrUIm3FE0r5wHQzY7OgxQfjUJMPOXbyVCmb8uSv/QAOl42VNG+
4BzBZmd9adQA25hbspD7eQfNUPS1oTkfQOGuSmippnFPH9n2T2UndfmlMpLDY07pXpnmBDEeXP4j
a38sNbRmbOcajA1fe3XugtBqhjqVqQvoFBqhtj71Vfc7dOyDy6MLlpUHdPYp1cxKwejlFpbtI/BB
4YSUM3Vl8goC78vDOPfUKmvXxb4Z6j90erZlzHOiF+dOb2WvcwAvMO3OiuukWZWLP9TFM8n2t34l
rmR6RG9/PP2DM1FsiCU74D+Nl7y4JpWpx4UCDenLcy8a/LCDD4PTlFlo1VRSAAxuRrTDtJJshcCO
eEjnsk1z2u5IV0M/Oizd6Qay3onlyl5bdAzxIM7VQlNaseBGDMWq8Oh4aPw8HiLiwSPGNJDRHIhW
mLNZc581KDkCJ2GVDbS0CwdAEtJ9Lx2Qf5BOssCiueJSg0CeNvu0O9j/7GwXQHmQe719+tr6cpZb
OWqBhs1CibXue9H8tve3L43LwzXB1z9A/B3jOhWaV5+37PvlcQVzwSM19XbPN0pQf1yYdV83+a2a
29FANMlri4bnLDY/qKDGGdtSq77PaWSgM8ac/1x+dYEp8TjNmaGsgiIKTfa2BthRC2ibJZeHFmzD
9yjgg5U6vTMUNuSK4n1+rfMwRRuWDhbkYpeV8kXzcnzThweAcawBXA4PsCC7TZD+VeltLuP+FMQH
7zb8YXAHID9SZgA52Gzzc/QWLOUh+/LcFnaoWfeXp0iUqOSBlaATm9DWAFJ4qLIeZJdpMNvee2Nc
2AT9H1kqTnQ5fccYf/iaZczYUBjobS9O5ePCvPF0MJcB+AcpYbAN4e7Nzm5Q3n0xAcSjLWcAlxUL
bTFxbYYQlxgpQSvG1xq6HB5/4o5l3mgKBgfc8W5o2am00lCyIIJl55EnDBDRCsqWWTKAO1VxzRub
1fduZ51QqPPzHL2r+hBaI2hKtuW1mulTXoBTsdEjZqgnHdrs1mxHjH01elQ521/WXAHQDt8KMWWv
NLou2Mpd9yZIbnd72cSXP1tgqjx0xUCQN281GHmr+adpdt5QT55q4xYgWzLRAw4T/rD/oIuek2EA
iMKeux1BB+CsNUO/367dMHToRpc/Q5RAUDmPALWRabVVgybHAbvp8RLPr/NZ+3GQj0P6gq0eDb6Y
nudpXjvcxOYCkHAwdumeDrmdVTEDI2v/Xv4W0Yxxh3jTKWjKPdA+qfW0Qcy1gI4YBWea7a6SRRe4
Tx5ySnKTNGUNiKOem4kxrdfm6HqNs0uKe4KThUeaNrZbN24BAIMGRI4H5V4fvHmSyfncSm0eYers
M+QVGcBt6fwT0G29psFcj+h0At18Js0QfZ5CtHm8qaONdIcINCJwVJHme/VbHSBv8Ku8MQPlRgX1
i3aDVNE91KXdL+4qMOH+21DA3tbS2sSiqMPoues/df8NMqaXt5Toe46t9tEIMzQzDKOdJeUADjKg
pVG99Ca7RP8lg+zwGio7hYYXkdzvRI/jbF7HtkpRmT0QLDhuIBi1RNhriSy9/Hni3Obhp6YBLbK+
OxC6zmtPQvAMPrVrkOdIKYE5elFHyTXy831su9zlejcbxspjH08jpMgHE0BjmQqFwF/ZLmfkaH5U
1LbHN8xR9/OQBaGh8x1oyj5cgtGfwJN6W33pbmPzINS0dNfVYnDxmfHN0n9q4+PmSsJf0Qxx4bpR
EH1vSrgqA01KI/UykGhe3rGfuyibx97ZpUPWQjnWWL3ZCt2f+9LL1TH42ujHzvpgD72iD2aFjBp4
a4cTVfXBs3YaVyqQ8V97AGfMgzbnQD8BbN86p2V+3gnqYNHXhuZs2WE9GugNYNJA+uk5EwtSE43z
mylJWgkCU5vnSdQtw0EptQecLvdwV/XLcE/yP0cJXfvZx5PkiiBa32NHfViBEvUSwFaOFZjeVLaj
6fau1GSGKxqcM1xw5IIGGJjJ2GzuTbSQLD8mW4LTfO8g/G/xwOZBc6DkzdXNwfRPfmA+bKEW9Chg
nY+/o4xgxz8tP33bTigNP8r6egWHHk+R2OvtoEF1Dq0b4L5ttSIqXFA29EM8TN7vy7tKYMk8ok7f
janN1uPMRn1KNd2AToXE/wiG5pF06zozliJoAsFcm2QbuZvzTHLQiIbm7Ji0eZY1jQUYGnnt0dfd
S9IQhy19ssg2Z745hOgh3m0iKgaJcLeeajfom9Sr68cvzTbPkNh3TW6ZRKfJvK6xaZGrzc3Dy0ML
Uu02j6Ez2rR2QRN7pJq06OBBWNCb6h8MCFWQY1OqifFdk91iRQtw/P7BjFumFXMzI6/SB2uwP083
GohVcZQF1am5LydvS752r8S14d9PGlmfl6OK5KVF79n2SNBPkf65PGUC8+IZEMnsmq7jYLVTRJA0
U/yZXqMBN2Sb6tu1xG2LthSXNdvQ+Hy09AKUWebn1l7O2+L8aHYLNeD19fJ3iBaDO417YrbFtiA2
VvOHBdTM7cqCyyMLHCqPdwNTeGnQOnfjHOyQyzOzr+j+z+WhBfPCQ90wA3mbAuqXdEA4q3hryAmB
cyaqqSWxCMG08Ig3R11cYN6Qo9vXKzTSe1u+f+2U5zXTm440DqthamCoJtmZFterDAEoeuljJT4Y
lrXuWqX1NZpW9e9KfW/KADSCvU6O530Y1y6qsptYkyX1WIBbevIYLgFL1wKTcIdGzstrKnp5zlbV
IdXQWoXuM7ZN52wBWQkyGbIeQwEo3+bBa04KQrE6hbkaZmeHtNqf29ZcQcNm/WbjqIDvfbtbSE+i
WVPOZjv8vfxRwudyFjyvprHvOo5IsL2c8iQ/G4/aGYw5V7Jrk6Dv3yacAUPLKFWKFcqvxQlAIK+D
svwRUehBdpbhzATmxkPbCKusutOx/lXX+Hb1kI4ge0oHX8mNrxkFj2TTR1LtOyjZY7suIJXymKZo
vyUSFyd6/WNbf9i+jmoYbjYCmbdTCI8UUZ6B3s+515BhvrzKAk9nHQ/+8IBdm7OxGOBDNbYEPeg6
G9L59iJrLhWdzjyADcpJqEQczR3aXfkNSgP2G6DnaAdkf6nuddcdELF13EkiL0HZyeYhbCZlkJIY
4fqGcAvXPLR/FZnnhmO4hxkJLAh6B84XJ46zecdgWdOrYI4jLgAd2zjf1kMGhRVTdu8RoDJtHsKm
00lvbA2Rt5vYd/XzCBTjEK8JULf11RQYvv3NTPRku2KxLNEnMnkex9buZB1Yg73MFvIbGouwyfpx
6B4ss4nbxryCXuCZTksyUClN/eFNPgk9efQaLS0wG3QHdvZuDTIffKGher9F4Lm4kvkAwRnA49Wo
Q+e5UTcXdLd1ZKnXYGVDI73pzdWtm0oiXIGh8hg0cymGsSvwDIZu1x7HzDwhkL6iUkSJ6AGcJxjW
tamN1UGC4GZ+66+tSP/TvJD77fsUNKf0rd7B90eDdpF4NcGRxgPUarNsFGNBPmIlLEGfYYDu6ocv
uRwejmYoDVNrQPbivp0B4/rerbWvGkxil6L7PE+LSMrSnZsJ3UDrmxa1UXqf+5DsfQMXuk8DmQC9
aDU461d2y23TCrt2WOzneoTSiaNETGOJUeWSxgUBM4vNEyKmw1x0a4GsosuW2d9LEBKPqF1Z+tvo
mM97nz+6en2dTpCKJalReu2EL84HFB0m52EttrAylCKACAAOjsE418XS+NOuZZ45VtAmKq+yotsD
V+1iw5GJcoq2DRczGJmxLiODGdgaeOgy3MJSmW8XnFQ8sq3PLIWsqEEhg1jdHnpE008A55LcL099
7hfefFP7Ukeof+6VeHzbMAx0zOlaJmaR9Cc7KkHZ2L4CQL6G1fc86iTHu8Az8TA36ubqQWBGk8lV
3wyboPN1VyO1tk41G65zVZdYs2DuDM556LQHN8mAueuq1OvYt6kFIzOE0i4btGDRebAbqRWt1HsY
g70tiLOIv+MgvDy0yJp58BrqQJ2rLuh9MGPzrxHQM/pb/nZv6KSBwlsvi+EEGXZeGh0rPTBKEGJv
K4R8INLy0lnzbdZB03Db0P+82tBBIoojSSOL4hSeSFEpnS3vWkDhl2mYfR2+PXBbJza2xas2NRnq
Sg2o2fwoKuWH1lWPHZsjBlYYb7NlPfaCQrltHFv/Q+RXFIar1DWwM/Vb+e1okWj8ynd/WjdaPAUE
VO2p34Qyg3qnofvkmOchcFkxpDiFV5o0vQdWQN9K0ti4Zvc59bZvdu6Z30jv6b4RAC/vL1H9E8w3
Wpd7JGqiNpbBVoUTz9046ry0nVQ18sQCQWdUJnuSBv+8RxvJIHFUAlvj4XIlrt6zi17OJGXOeR2N
x3Fhj27pShCQooiaR8t1s6st68Zo0get7m1/rWiInaCEpskZ4khPmMUgC2VZKEFlS+ccR1a447hU
eJh6tiIjyeMDn64nMrSGaK7420duu8SdkBe0jTEkhn3Wx/Zp2GVBk2j44/cPW3xHcEkAqAUR614n
XbX4tZPeqnMVXHZOgiCAB9F1TUGyrtOQcJ9f9RXNmTpwEygNSbyEwK3yGDoDXagpRXN/oqyutzgQ
CMtlMZLg3OH5D8liZxTMTnni3KhA49jRfurv9qsx6QJyp78p5/1PdrZPsoqcaKK4qAA5UxVZv6JI
WkLvtD2L9fG3a1Zn05XVF0Urzdn1SqdeAVVenmSm5uvkpUn/bpUhWWfB4DyYziD7qq79licVYUHV
/OnXNGKuZC0Eq8wj6jaIoM29AeazGhET1f/YraRWIHprznRnyIrVCkEcDP7YaxWSbP3AEvLFvnib
h9Ptw2pq2ZZD7XID//vybLSlZ/cvly1L9O7H7x8M9wjfjdVkWcKK+lax+8QiE4iXDAk8QBRVvFep
P4zfTpqe9nAGMetPUFfErfO9P3A/reHoZ6EMYyX6DO6WkGoVGJPbY9/n2/VKoVvoOg/lJpMSEw3P
neDNZOxwaiDkbvXfvZt6xfLDcmUntqhizwPp1hXchKWCqA60kHD+iIAj47ZPtDhL9Cv7e+HLYjyB
M+IRdCpLlx7IGZoghoTk58GNPkZFkXpEfVLAl3d5S4nWnMfSZWUGeq0KtbO2at4qskB2pXa9GqDe
OleuqxYaijbEsjb91ikGqLvCfQDMJyn/CgJMHmxXK4UJWj0AUpwUSESj9QztZ4OeoM6CvuHynGeS
S6PAm/AgOqgZOO041kXSOVuwpHPQqm+S+RMkanjkXLdt02CnyNA7i6s/7MV6Bs8z9diyM6hn2Ter
Pv7TbfXP1sYG3/b6CpVKWcwj2CK8WnptptCWLAxkIzRv+DbjsAK1+qv1OJ+PxvrirPxQ4graCphY
ydceNvRJvMrj6+zFZTSF5PM7IsoIiojU/nieQxKBWJd65avkOQIb5rF1lGxQ6jAyINjv9N5bc699
1sMphixBOET09/4XRDxyElxBOKdyHgNynmVt5kgpFEjoawk5bZEW9rEMqCT6GO6chxDoZtcZPsbd
r4AS9TX2C1kryZKI9gB3xKfIVmipVucJ6+3Or/Tx2rKh/VMXzvd9dd+sPXu+vCaf2yrhIXcQftzz
pQe0EqQUcVbRwXOr/cEhHYhJQZ/pjbWZTFUv8QyfWyzhoXfW0hTbmoJbsAHgXRmU37qrSih9BLcd
sMX/+xjt+sptdrPHeiiQ4WXnpvtrd69TOfta2jysyreSIiGq3yLr6yHM92YWXp5C7f3u/1/7IS4X
2W8GRZYvV4G2J+lTiuy4shnuWSsa5m2WflVDjNgbiaOiD603Pcgavy2VvgXr1re3ltXGtdLfjwro
MwpEMd5At0cDKtt6lbWB2u1VYpOqCtPNAhWCvaIzY3ESI9+buMsX9LY188OKIG2cs9rfltQfdvA2
5vl8xdw2LKf6t2urT5ntIqsGAeLVbCDLd1vXzUOr5Ve23T03ZG883Huu1+uutx6dtcObkD7zlbJr
/dEx7iejeqmqrApIQX1dyc5ppr/VreWt6/prs6tzleFivQPjkzbW7K8kh0LZHq40iyxqndu6S1IF
9DULHXuPFVZgkPFRhy4U2ejv2Wx/DXsWDi4bvL7EfIFRF4xlbeoBSHRtt3MyWRPwSp1peH0L5tiU
PmRsunUX+3WkxXOXWmedbid1UBwf9Mwhm7or2rnxqlSgSRr/TojCAcm76/LptdAwZwwUziVJgyU7
RnROlTq94HYWdZT9UZos3qbqjNSjbVdRta8BoqfTWk+d19g3/eqqMdW7a3tGlsQFwVDtDGU4pdCH
ZrE7srhhUICjICgZ/iE4HKCVB6YMXF870ICu7VnTzVBbyLPpahGQtLd6o74U5dco9wkPn1S1zFzo
QnFNUzvfLH6sX2tGJDxecisWpTnESxB//QWhPJghlQClRsnFQBCwEB4yadU2RGtUFQfuyxgcLRMV
lCrasHhUwV/xtRs44cGSgFq1EBhs8mQanNd92KOWug9Ma06XHYHIl3JO2170udcHCizm6Jyywb4j
g/7a7825V+vA1ds/xF2eLj9K5EiPQ+lDTO86CqmGcSuStBy/M1sLlaqXxD7v2cZPvNl/0Jn7wmxa
AFKqtFUZsNl5LgfrnGpr/9BMUHo3rNZ5AC91jWAOnAfqQSBNVzCNuPk12ipCCqakLbVBFc0mf2f2
Td7jPmOurT8pBnrWFORyNGB5u0Vdzz2hW5CVVva0r1v0P5xd23KkuLb8IiKEACFegaLuVb7b7RdF
290GBBIIxPXrT3o/neMYj0/sh5noiYmorgJpXXLlyuRedZic4aacAkiQdmq32P7Ftc0ZYPiVNc4e
Uk8/nLhvnuBXTcY67CG+LXW1KwMwLUuZ/EjA/2awCMr6l5fjWLYMKBd3UJe5DFuFXUCzZzvnv2ST
s69ii7QNZIdSFOqB7TuZbt3oefpJAe6bToh9ZYjOo67g14iCQJwx/jyapEkgIAKvGA6srUvK9Ce0
7Z/rJ8Y/X8z/OsJFCFfOJcdMGerq4Q4iNhdF/SjTxU+mbd+Ah+yr1iJBDnNKZ5Q7/uqHSfFAMUeR
mUpc9qmL8unP0mFK9uMs7vOa/9O9+VJvKg4t4LD3MENR5Gj65lwv7Bga28ehi1WDHhYDAFfizuNX
JckPNfU/F7nsK3vUkXBJIFg/3YEumbYNTLUnk0FwLZBTQv0+46yE6frtD1Hnn9siVCz/9501Didj
BXeUXTehDumXs+j6A7duE/eSpVPLs0aRN0jpPEy8+agCPme9ux61F9wsLn8NF7bNeXEMRP4r0ubq
ULSe9RTGrsoPEO7fhx7ekHWWeOi8i+OXL401u7CFs1xr5mx2+1jDn6AYNPzF5k0kl9vWUZel7D+G
dt7x2uyaCKyHvNi25qd99v9AkP/wXr9SXPVSFhUZcdta4916c5inTuAmjE13mq1OLA2J+dhNWQnf
HAsxgAXVZ6Yku8xr38BNwLYwzR3FDg4SH1NJzmTku6mrFJxQ6dvYiFfMM3WG/eH/jl7PvupP+qRY
5yFUgC6cZs/IsKXmXPyk8vHNtf3KnhXF2KM9RdysIJxE88PA/1L1A//6u8j5lTq7lLpqvaWqUN5y
GHvp+kPAhxNejvtqqmjsVjWMpLh3hijrcVTDD3n7m1TwlVTr5IL6rWvrnYDqlxMEia9+6uX/ubNm
XwUpXVwFDmvHcseAVn267xzVdt2CDBkcECf+28LmK3+2lNarYVZW7cTcvLWrvELC7rSKn7b+v6vO
vpJofWM7v/LRieiT8+7/LTcq+fRdU3+Gm5/HL99wgFj4paMuxgoaaRNRO5tOG/IEOoNN9T3ozRmP
/YwdSfppKUnyWD/+BFp+e+K+RLR5EKudc1ftBH0Af8X1N7Y7MC/tYelSTbtwFGlhH38In/+cIL4S
bX03CEFWxe+b+y3h14b+/vfP/eeJA/vKsnXl4Akv+PxcVu1lEEC40lzo4Gfz2G/+/a/45op8pdnW
gi+BpVG9M7NCxwlG6fTD5fsmnnyl2aqlXDwxond2QnZo0TC2pL9UrvvDx3+TH79ai9spHBof0O62
bocDWzeWoVodVDIHx6i+DCCukuonzbfvHtKXiiacSMEpB/GAoVMuSnFiofghkHz3ir+C6/C26toA
DCXX+zPCL0YXLF6LfVM+/Pv7/e7zv9Qu1Mydrz69PVY6vvUh/7MA+5xb/e47PxpGfhMLvwpH1q2x
unYw//S3AfAGyEOViXuo7yjIXP8PNss3ZdhXnu0UiQKFF/4ace7+I0zabuwTfKjj8L87Ul9Zthwx
dqGfe+oSQsOcBwCDc5Faz923PNoXGlOPpt2FlAQ/tCrfhd+vrNu2w4cXEXil0I19dQAmhJ8GQ6TI
IXsbwDeu8G99Uf8pGwipQQ6OhXoP0br/LroEX7qZxRn5SCZAkaQ69OTFNW8YFlBsev/7yfv8mH+o
rr5yct2glgt2xstdg+kyWsb2bmYuT2TdbVs+nNfhpzXZbwLNV3Ku39vcR6iBrG8fpoRl84y9T/KT
eN538ONXNm6O8TglJdYFxox8DJfPvimCVeinHQ+ckMsfe79vAtpXd/ISEt2imzFCNb2iMYS1Ntie
fM8D8z7adg9mHN6Utd0P/I7v3s6XuKAmv17aDqQCv3FeWRHdAMp7C6HxFje0M7Ff19m/H4Nvz/iX
5D+u3aCKGiol3nXN6MZsxQNCXLJuuuRnAdNvIvRX/m3VhNzvHDA83KmPa1Bt6A94zHev/yvtVlYS
byX/z2IW5lA36rZI4aiWzZs8Yc8/R7dvfsBX5i1ZHaUIpjW7oZjTfL4X6qeJw3eNv//lnneilFE0
4aOD66dpdJspbI2LpN2MmyDRr+vf8v4nA6P/+BD+w6X/SridNSQ42hnMJDSp1UFd3jKTFBn9o15w
Yw7mT3RQ2U9zmm9/2GdA+F9Ag116BpkdDAa6tAb+faoOzkYuMTv59yTTG711f/0oPwkJ2W9S6VdK
bi+5l49dIXdVmSNSy+CpUBXsEdwR9sjNDjPym2Dgr+vk37li6GIhgak79UTj0e+eQ4dddeieZDtg
kFGEiUP6PpbV9JuV0aVT1Dlqn7y27UrgfhzdO05VxDn102Ee/uq23XS+eWV1cwxb/77v6WnNCxu7
kZwT1tUvuXSfnVxS9Me9H8saG1Max+iTMX5w3GFnGswZ3eemqZa4K51jPqHWqw17KIzdU785e73B
kCFnSRS1sAeyPFa8vDVdv4N73XHw7XujaZCGdIbE57yXg9tCprvpEunlKNwJdXdLETzYcNzWfL0Y
SpOwkm9kXaJ4MVAHxSZd5haXqmJLHATTtRrgypEz2aYNgS1OUN+2nrlRiv9qKrGvRHEe8uWoHP+G
NObg02WrVnrlIsKgdgVhfG6DbJAtvGMif8b+2bzziNYJcJHDwocjLcmU8Ma8dmQ6WLH8Mp18HHPy
thJ1MwSjd4xAy0wIHX/D7e43fKqq7eyTB7GsJ71UYzwsgYkJaPexM2FfyMfgzIPxbUwkfLFLWu3G
krqJ1CyKVzociac3kxf2cTnxc+110Gwmlb6tJA3TsIN6LXLUdl7VudDio6uWJCLe1m2XjSAA4lj4
u2jB1yzcqxZQU4UJGHYIhvDQ1p/TaZ7DXaZ59Loxj7mj3+lqaEoGWseceRdWlPdj0EMOvhhlQuV4
yTnmJaR5KuR0gA3hcwTsTQXNy8K9v3SFCI4Jb0XkvDEVRBlxebkp+3wfefa+0uGDMP5bYIpjhFFR
7K59KkZ9P5oRFGztngd4lMGhsMqUi6TkQI5Ors5xYPJ5diAuy9Bq+xBR3NKIYrVasc2qzHaElufc
TWkpSNovQLM65ey0xEkTdfsIK8zjTPUHuoUzGL6v81iMGONMN+Por3BAA4dLSszN3BA3fXBhLTDe
rSUD6Yu279oKbPsu3S/PH+6CVaWirG4m2L+t4XQzDxjjwPoq1g6MMCG6uK0bVsAIeUyHqbxV4fxW
e+7RaeRFVPA6cSZ0oSNXTyCkg9Ngo4MfyMM664/SDZ9lAMaxyfVrvxRA35q1ivG/3wSbr+0UnIpB
BYkacphRB9Ux1+GtN4yb1WHHUVQkxgk7Cxo+rFEDaSAVHMahyxTw0WyGfJ118uvA+9QtuykmZDRp
3czvkzfs2vbThaJ6dxdh0lWaJrNS+Ymd2XvTo4kG8SpZlLqL+vWl7P0/uivhWh28y4n9jpi9tvBH
S8qGTcnMF7ibqjZZavlUqvwxj8Srq0F9aFm7Henw6tv1iUZm77uejhsHVEy9/irB+0haFsEVVTkH
yiqwEJesVO6mHaZt73zOKo0wkD9xTNxCOCHqRtgF+N22zOGPNy+YoLnt3rjtw0wqhB2cNX+cTqDy
HyhmaoLIOZ5m7aWB7B8DIz5oMWA8aE/DBF9Wn5a3onM20Pusk6L3d+BnXCdabqcRQjUMyW1Tu3iX
8C1caIs5xDjLY5BjIDxUkAW05Xlwu98QahaYWbq7XHM/bZlGs56flqiGSphqi3hsvbcSI96YC3dN
XG84V8R5bd2Cp2NgN7ItYCpKu5ec1S/EnapdZAO5Udr8XXqYxM782XdJYuV68VzvYoJyO9tqxytM
YFmd/yrq7iynQoG3Xt+VfvfhQX9jte6JEHazqvammopHNeDpkM671eG0GZ1cpUENY3UuH9k67mzU
boFn3eZ03pDee1lFi7DuOBtR1qfWlgqWRkXSVpAHE8oc8RWQA2ZIXA0dYpczh/hTXp6XbvgNe5n7
ycgnIkgiWS3ihcFNcpbdk1hNE7cRxK+FcUNYPJCzrOD14dLqBT1e1nswx3XWbqd0sc2L+qyjam/L
9UXzHEKm7mWtEOZy8T6Y8Iw1toNfeumkbYC/pzjKrnx0i/EiJn2ovWbbFQSANqbpmEzctYr1Ceq4
OtbdtIFWDAB9Y2zS22CT6/6laEyIpFruZF8siTLy2Mw2iTg1EFqy58oJDrORF6b7y4hJgJXRH+Fz
6LJTSDmXDNOu9vOQjjk8HAd2NzI3itXovUVFedP1QRlLxzNxwQUI5Et4R/B6w8aeZouRPfwGNwXJ
7wfm3+YF3a0KFq4N9Is2nW43+H33Vce9ve9j52GGI8cSTmbjhdKB570qYe0KXoK7jCQNHWRB5DVb
swdE/ZdWhWkpxaWLAhtr39/Ba/YUIRdFfAhiOhRob6dx72oKGQl78ENyrj6fvhA7PYZQOYveq3H9
aG1xMQv04WikYcxS5+k0ThlbxUHkDsb27E2EFCexR+ZXoksgGvHsFhjrRwpzbeJd1Lj0UMsJnNjz
pyqBetpjR9gT63G5pV8NaV28Y8aaqH68EHnkvkPB+BevDvOOK1s+wtzc+y1/UpCfhUbRNEMdXSYr
w3xgLpo4hBsr4f28hajYufO7FAk0CWFfBR3GKl5n/ywdgdXG6E+k5jkemuHgUBAVAjKfqMK+/fCZ
bJYRnidtlG8Wz+zoIlNXGbVbcd8I07ddwAfUNhZxpTiUPvbw+kGmXUTvbNiS1AoSHUM9OHGJxYW0
rPE8ump8b6zCH7pxxSGTt9A/wt8zFZnq/TMT8xC7vrjU03STCwHj1eLU0vnkTMFf2bS3wi33lrOE
cBdRGXSQWJnolo3lmcjgNe/lpRL8rFW7J0uHIGZMMjE/aboVB1HIac8hTqHr1cu0hrw+wafR4Tyu
uBG2Jk0aDAGWsjwFG2LPjWmHWmOo6+eIjo8jLWyyIislS+mf+ghBvLeziadW/Hag3JYYPftxK5pd
NQRvyiBQ6+omCqJj0zLUPQ05aZE/FVUE9hG1t/6oHyZG32XIn6KgP0aCq9iWDAungzxoNrzbUqoE
+f0Wgeg3aYJL14NuqFq2D9dw05YrjJ9WblLbLYd+mvZN0B3zQW8CuOMaKl7aAEbanf809NigdUm4
o173zIIeJWSzHhyLaCe7X9gnkcgz0WkmYofB4YAr7y9JvpYbrxdZ2axPrR4uEGQ+F60OUjXlH8yv
X70mfyu7/uw7k45DNbqJEcvdiIIA5hnEj6OIvhc5tC2qaqPF2G542YEaKU/9WHCkutykAacsLiL+
KLvqMDooteFCHVswPuZApN3k8nhxjBPTvtm6PduFZkElMagME25YmhTP0IY6riN54TZ/d+30YkV9
U4zBdR2Uha3G/MsSjF65Bx9o0UOMwTv2IwNHs7nCAurYEu8WVrMPtG28OFzgUb609pVU5V5FU/dW
TYuM4fmeilZFOh4kQJWFqITPDcyU6/E6Nj0MlZ35yAeTjPBOzgCNSFBzxEFi5a7j7U1R6iaBWafN
uro6z+6cTYgE8Zp3NKkL768O6daR5lGq+uATdU+H6TKO/X3EUeOPNM96MI4hC7BWSVVSqGLbly7P
MQuFrcc8udDhhX0IbZOm789Nr3/B5fwKM+YzCDxX7COdijw85S09C4fcrbl3dcfmINmoY6vabSki
Lwbd4aRzvYFKg5eoimb5PNwGk/saRohaSvwOOppCavlU0Px9AaUnFiBCYV8xNbac4moef+V1vWw6
ENJTpykFNsTkTa741U5u7FckLbAGjMVWXu37vruTzDuwQDwVS0W2UU9hmxXUr5Tiuq1w/sVXwBYY
vlhmIgfFnWhvpKfWvc8kHJDkjgxtH4+Leh5D8bCoAM0Soh2q1r0za4hLsmaXr/UjTOOOEtc7NgXU
GlVo67T0/eepKR7WZfESX6NzWav+3dWLTYgcoOaDJjF2wzCPg4XxREkP192NLnrqZRya7qHz3Nux
LX/DK+LCS74P1uEysvk2RPHqDUfw1v7QsMpCq6+L12K7kCdFHZzgadGgR+lYatZpw6iEQG2E0iAc
+zNmvdDzlpeQ6Utd9MWmc/sb3cOAa+zdZwwf1o1U5UGr7jjoOYy91X9z+FQmCL2/Iyx3yCmo0SQ0
m6kXH3k9Zy4nZw3jjNia6FTV3CaBLtBDtXSHKjjaLMK/uHCcihXrEEkFqGkO+AkNyuu5NmrTOfJY
KX+FmmvdpYMi29CMcBS26tK22JZkS7JS56xmdg2jQ9NVAm8juM1d94ObboznHiHXIdUxoMEOp/Ey
GPfv6Mpd0yx7Paooprl3Dm2/84scnniDOHvtkjp29RJvwDd1huau7GB9wL02k928d0ofyggkOrBK
/qnE+MuU3oszWJqtFFthK7FXXgRJ6dcHimlywWg2++G27fhW1VEa1eFjK+erxJcrtbfhY+En9DMF
rc787qj8xYvkI2rL4+DWT+5SPUY9VDLC6Gx7uofziIp5j02IYn2qHHQaRpZ3jKxbx0e3WpbOHRn9
l7EUD9WssrrBWXFC8ctf56tbBRsxd0+dVNdlxT+9vTRNdwPt16xA0TYM/XXt2wM68ET26madQx1j
c6fFM6geRr9hN0HtjPEyWFD2ZqePaVtlTu6ZzQgAMcVDfJUhvZmr4KND2Ffc/O6WQMcQrnwPhmkT
6B4K2nX1SGfyvpj8t2TiD0TlJXJHThP7KUW3Cud3ayebOiLiceUOH9MCLhorB4WF4CYVHQgfPuc7
0aMAY7LqYrK6J27qSzE4MGRcwk9AhifMcJGItnuY4fWGCvK267sT7bv8SJZ6iidw6VDuRIhqbnlA
s3DOLXp77YkHlzunhYOTK1aFmrBbTrBH30Rlsfc8Bsm5Yd6Cq7ApO/LXTsQka+s+l8VwC6roI2hQ
2GCj44UHDnpRu4kGdHTKS2wBICKEpgZggCPn1iZCyz71AsAks13HRFN2Dj8r9nYoHnJcnRh0Rjwu
OtKknZaTF9idquY0cpmbTpH+ZRvIAmNJnEJgr2WpT8NfqPBg1GtgQsT/2IDuTTFu7OwdZ+jdxL3X
R7FryTaYmxEIU7PpgjZri+hIMU+OsfCfrcTAw0Me22AcEruM0BhRaGUAdKmI3ft6vvSVK2M1oZiq
+Zl6Xp7pBpmhQzM7WfIAdwjcP0c8tgHYKTg/iUerPCk4O3i+08X4Mn9VVB+xhY8qOCwOM7SBk2Jp
T2hr3w1B/tKRuhuo+1Ex9T6E88PMyIX0w0PT5bc0CNcYfdyJRD1itfsg6zYrwJFrKuyDT8L+RmPs
JpEnjp3p9oF1MBIcg7eI8Y2so6NwkM6xjvk6CY0YUnv3XM7vPqHPFdPbdfCTkMVBGErch/JBOOAT
D2pOPcIfBJpaDzc2GbEh3882a2vnz2RDg0PEQTUt2/uWiJhbcS3m0EuJ380p0+yuUk1a9wNoudFJ
j8FlQJ0ZNWOeBQH6aaHUbRsIZGy59fQI7S1w513T3Liwpk7qtv5TBXZLu/DZQ24sq/WPqN6tEXdl
CAQRVsA3VIkKNoClTWQ73jWfjVtZeLsFy/MGtzxGnywTWwXP/lyfuNvdS3e+iwzHMAa8mmnNvAUi
tSgtroWYjkPZPAVTlHXusCXQGhGtvxl0cbRhcGsH8twL+sv47tbU68HtFrTyHp5t0a5ngqVYVCiv
fF2ukncZb/guL5edl6P2FfXGtHmX9IaeQqd6A6Jx9qh4AGByDrX10Ljm7x4jv0uvO3B3XKD8y5+o
gwg/j96jYWSjR/0sgtlN3co+sIE80kp+tC3EiXXFM8dZb7jVxxwlcuyhRVSle8nN1CaK0FcIsiPm
1BkEk6+uEGVMOdrCwFNPfdkfcoMeKypNFswSP0U+j0rfhmvNYwAjGWzLIMnF/Oe5q383Nd2zQmTu
3B8ab92Iui9iwuXVJwatdp5Bfq7G3FmfLdd7bcK/TaheigW0eLfYjQ5WBqP8GoS417I60qg7qM8k
+9mh5fmtM4lDT/kJaQPM5/xag3HlRc0FCPU2GoZ9KZpHU4HgxoMqYS47hB197QeKfgvoComKvQUu
3awUmpst5MntOsRB075bpba06p6amd4UOaIt9OiDqd4Uw5pCbOnq+eymnEmsIQUB1BNhMI+6s8uj
G9Syh1nD1odP7hsB+qQAoBF0sWCJP+RLs3GxJk/D5rxwqB71+V3bjOlq9BtYXk9GRbtGCZJ5dP2N
JdPHamQHYKq/lsqkod8c+wBdDLhzxeRfAzn8AUn4Rbv+rgiXA9wE9rXTAwYuAVYWWxB4dlbIXe/V
nzWZfh6QcxCuAZ32PKlXSCqizsumfnyWEeb+FSYRcYCSMXDkPuc1ykTxufxOnV0f0WxE1RdF7u1a
Dg9R3lxAgUUZnuNHBMEV1/qc+9NjU48xGFwkBTf1L8wwlmSm0VYHDjBK76GUNU/6oE2NcDDJsg7A
28gkgO/3qpBPrkbTJYBviaVOBlOf+uLJ5GLXVFhHV+VuhKqiA7+ThOcz6H3k2Oo6i2qACshbELZL
4Vh3BDD9iJI5biqeSjfYrabYDCRM1TJkk/AeVqBOeqw+ULemVd0cGLCWFf+RTAMcWZE5z9S1GdDV
66dJRrC0qVf7FmJ5we3UiN2oSNbJFbWXu12dCbLCQX5pApF1RYXz5N9YoZBU5kRXKGRm/j7x6GB9
9cutoE/I801ogg0HcIUCudvzipx9Hr6Gg38nPefZNJD6IM3GsOkofZ0SWu+6GmI88GHazogHsdAW
73Ci+3DkrzS3SUudfVOrrWdhP1L3bzCbPY+E1XGDuSea0nHTTvbiN+HvdlqPpDf7BWr88WjUpRH6
xgbhKYoMBnQeiHhRs1v1/KFUv20cugfL4r0N7c6x4aku+60A8yVepP9SGXwL7EjBFQb1m98MexfO
PKEsH3Rkr7IBIokSUSzkOpQspS6GSko8hjgkUaOPFOKDo1Mhxq7BTQvaY07Hk+gE5En6C9A3A+SV
HPIp2nge8VAx610eNIfBHV56vbzOGiUIXQiqJOvEkXF3JAxOMJIF6AggjvbTFh3n1curd149Au3I
pNM81goJzTZLMjoI4Pl6GDoMH0oHfmKOwfABVJje1Y86QDvcdgRyTuWhcHUCZnRqhoh+4mUYXCvS
Ji30pYJq3Ck1bSBvuTXzOu45aj3wd96wGlfEpkE5ZumK9RU/jHH8EVV8DUAU6AKJHjkv7xv7Rzlo
ZFuRorQ59QN+FM/Lyxx0WJKGkhBwMjCx43mAphDwxsRpeZlqHt65vXkuWPPmavNRUrqtdU+AV9Ln
yJMHYedk0BF0I0TqhdUHQYCsjblZQgGOT32pTHWn/fYkm2E7hGuHcqh4G/DCN4MT7kMYqaAN5ji6
U/nmtwHceLtt0Zr3cqj3Q9/jXxXaXuYPG9+fL0Xh7KvSOTBFtwXqAV4M1yoY3hnXqQ7zYyP6zarN
lsmPntXlhtRGxlGgLl3FX7D/vCURYij8tatqfjI1u28GoPSKVIARO34vfZuMggXJiIYBOdqgJAj/
iLaAeI30npkf8qR1pxScJg8/xI7J6ENhGs2aZfmRKoX9pnAPySodA7D8Zcap3FBn3q9u/agc9yCD
LpsoIj1dnuvZuboE0EkYYYhYcTMkoP3fhkuBJZ2oUp9B/bg23TU0/duS+6/BEp1yBrZvXUJwdIaF
tz9PZexFi4LaAL8rx34n7LCjmGgGTfgRFMWtbYM6jsIxPI1ucYTDQ9wJRACoBxVC5liLCIFNBMBW
RqL9uA9B/oKzo5o8mLKa9oyqFStpDb0XM7bRKiv+9LbGYK0wmNj000bXmIoGDuB8Ts+c+ipRjn0d
sWMVu+Xax1Og75bSeQd3+LIuPoZgsNJDV4cgau5sM+97NW1lFKAfKEsgAeyy+utmAjA2FYieUb0f
I+dUaOunRYsFq16wrM5hFhLk4a6dyJUOdo97crtCmLD3lj3tl9Nguibz+pnHpdfqzYrguUT6yYnK
3z0KVbOgNpfTBojVgz8N770YPoviIpM8t3Ef+ViM1BTIfnhXu9VVhjamxcySpRg/OO1Qk+IFqhlS
LQGGjBs+j8fe74Fk9flt2VUPxLNZUdcpi8i9B1h+0zZ4vrSgt0HJ08alb3p6a2ij951gR8fL0cl5
c4ZovKuVfG/FjPMeQIKP4Y1g+LZ1O0NhwRthi8nxsOyBRVFnSr0ZY4Fhgr7Yslb4QlqyvSnt3lvK
q+eBo90X89GZwIwmDUavYEr9zqtoC5OIt5WtUGxy5B/HQKepC4pMmGkfiGJIfKJvFVsztEILmIbz
IcfXs/08XuupOZJozQqIh1aTc7dUS9bp8VSvbappeUa4u+Mmh8ArYki7qkMejWAS8/Vjms3GTFM2
sP7GAybirfPfFYVrzIjZBIUPSmOF4ZO1W17mrzQS51XhpxPlZxPRDLA+Vgb7CI+LPvGCjOcQtuBx
NQC3N6G4FBKq0Mb0Sb1ofu4D+PvqCRWNOwVupuvmlLt649vhaeVB0pTsWPQoocqoZoeRFAkETv5M
VMwJ9p/qGFLN9YaVSIJ+ex7EfI1atA8T6/52Pkvnwt0u9Wd92jzCxPiu8RuZzJVlsVQz9jSovRuw
/RazkGP9a5F3iytZ0ns4VyFd/Y2vitt6dUGt9YJrM7K906yn1l8yBx9mWrBJeme50kkiakcAwNig
HyvM3jvfOwYEXUMxzCcUAzdhZ7aRGlNIR8nExeRrrlE4UY7WFIsOO/o/HJ3XjtvKEkW/qAGmZpOv
IpU1I00OL8SM7cMcm/nr79J9MQ5wDHsskd1Vu9be1fK2ZhXLbpgn3uO3bM8IRWwdxyG+6a79sLLl
LXFGZqyk1yNJ2wfHJ7MsGvclUlOUp+mW8/zbmnO2W5XOxh3LIsiVcUl6J9mIjq1m9yyGVMEQTLLd
r5X3T836XeCcDVyJ2D70bMwcrejh/8lGg4iqoF7y535tzk1cHOpqNgNC31YOf4Sj1RU7I4H5jdbj
moC/TBKX6Pg3q5d1u2TROfKgxqr8zNt2GbsklMhNvHGs3hHugYFhOHbp91yIo5rdXZw78EWzgB12
4+1qx68o4zfMz/xZ4K3UyTg7TZoQRLPXJbWGzewZyKiaNYmebwciFn/KvAz7QR373D202bB144a4
le6gZy4Z7WCFqr9S5rl1j0aBsfcpHdqrr3B/mMkbaul/JfpcMM49CysjZWzbirUQUo63jCEAgEZ3
k7Xz2aAsLOV6qCcVWo374yW54Bm1n/PeerPMsQ9iJjMbe2JVoCny0Mn0+5JGJ7TLn9Fzq43NzGmT
+eWB4MHLUE8iwHHwp6xjHeZtYsEhjPtuhDoo0pdJJLfBrHbZyoy1bB9cIUPmqOes9p2/mb2cR80w
x2k+x374z+Fbt/tSbfKVxYe+eFytdOvI8do47SXz6kdDNE8zh9ki9XKIJ3ktlvUw+iNztAXqxO2b
B4OY9skLjLHeOilncm1m6mKN65Psx7NrLeW+8JdsW1TmiSnHQZl4ND0/sYPBbj/sJftLZAGbTCtN
NrKxK/34PErvExDlYCRlz2ypJzOrnpNDarNmQFT1rvSiJXATntoumxn0JgQec19TdNh1vslk9ma2
8W5d8ni36PRWqr4/AAxNoT9UeTBD8AS6bFjepMyj5c3HaUVE97wmIeAgSfbG0OZbx7SmU+lBM89l
EtGRAIUa6jzYxlO8lDGmXPWil3Frx86/1netzdpGZztJtrIdThN8ciKZ+yKtbRJBvFFi/3Xb/MGu
ulOSD4TFGlsDAp4KIOiatn+hfWJg1VMnTHG5NZvkllv9T+50eaDH+uA7yZf0kvdJEyjRUbTMY8Z3
U0v2pBpPdhPvnKXajZb3vSTTSQzVpWMbx0ZH1cEzzNtcLYEJ/UevFyOmWTU/gFUgx9u/NfekE1V7
P2oBXSk77OVn4czSxdfKnb+JHAIzOi87wcx8F5oKkkDAMNYDsz4SUQHg2/vIXo2oTMUoMN24VyK0
mWUzgC7oP3pD6nBNnO98Xlmwy2gc7friFO4cpIsBruDJayunpzUnr4zJEGcOUnAmrM9R189WNCoM
2TrEyobRcbTVpjUH6PKViscGYN0kltqSd4Y/yE1/zNjfr9O674bphJGFynnBJB1dVlObIfpvGFnG
o+NnGyd1nmtRmqFaOPF9J9rlQ3+3GXtfBAF81lydCIJf3gqT0+QXl0iNRM1/rdW9eR4T1bgbws5w
bpNO67Bx8qe+Mq+ylgF4IgczWtSouA7V2ffmq7TG73GdMMYP33EzvU7TepvbgsGNtcybUswukGTE
FLLeUng9SLsygojhWdCNyXY2TTTeBANUMeaBY3XPxpyfYlvsajjbWJSXtsqelfBuirH+pqd1CsqS
/9KLvFnJSi9f7vIuv64dR0uho6M7TXNYK2br6X0QkwAHB35XMOOqO1SatIj5ZJkkpJV3Wp07vYZ7
23fYCiMn/RKN7XfUqBOa6CHOauZ2tAymOssxS8PebI0jQZJsCdS3ZnJPqe9cM5YdMuMd3qbWPtv5
moXxqF5id2YnwMxfNmSMqViWHKrBfBDr8GcV+RErUhEu90mL26vvieGUxw27qZ3mFKes4FnKg+M1
xWa06yc67BvWgxeVtXulpuvQUlwpave5d0NzMW55Fz15FIFiKneJbeiNmTQHK5nMo2HkW5HW+9Qz
DxURvP/kYj7aHf8sPizu0+e6Ztqf+3dQOr9EHhXjJJrdXL7HLOhUIM4Ebvy6aq2DXGZMwVfVwUNU
LTm3FryeA2lY17+Dh69nMPT6wuEah/n9Kx1jeXBzwc0+U1zZIJRh1nDdal7n7WxlDbIY7n/HtgEV
QS9KfhlUW2CrqEMEjifoxv80A4DFA9cpfdsN5OR8Rfn4OFXLIfOK78hgc5eTeUdOP/o56DaGe/bW
94o6qJb4n6NTczsqIwoWWfxkuVAHYwUKWFK6S8hEqeTWjxBHlyH3d7KlAxoL4nRT6yXJ3IuJedhC
GXMdzFbMFM9ZVQS1kPuY+SOg5Y8/NIjjBhD/bIT26m38RuabqZZOmFUz40YPtMgA3hi3k6EPUqf/
yTKh4ImYkZaIkXaZPeC2f3DSKkizZCuEeLIt+YCwdvFNn4rQeYHve0Ts3lXGWB5SL2Lt3FSBq3i3
rM6Yz1XeV+fHCGcNPXOU2nHoJOvVi/m5aAwmHJ2GppERTRfkcfy6YupsB+KQS4OUqJWIt1yQLijf
Io2+kfYLUsUgkaNE/liAapFf8JcKY9jGbnN1FdS2rjP+TVN3ZPdFvkmyqNksTkPCSB89DhVBBGue
bVIVaSo/5xd+8NVcB2oll+WF+cocONZb20kZEXjLFksnc2Mdn+3RJT+xduztOmls4bJ7ah3jxc+a
oDV8hDjHQzNfr6z3CoAEDyBuYWr3YbsIbGRJtHWb/MQTOIetdc3u53CkKA2haEJznO2TMVTMjccv
EjGIaqhDg5GfZad/S5MQxc5gCKIloy0+yKYVW4CVU5uboLEd11Vr7Qbf25WJ88sOwHVTqPXQ5Yhk
mYv6YJBwwqXWlBTvZXppB0V1wyG+QAPeMGv+5zLwDFXb/ElXtEXf8u8VnDp1CY8/zwbfWj+cut7/
xdb7Hzf0Qa9uHg4V4KOSjCcrb9iSB/cS+9NF6vZB6LClqwyM1YHymlPKhsqgoh3blfMgytRP5aqr
My6I1OUmz8oXnYr7AWORHtz4YZJ1gmt5PC46uWSF9dDzMjzAgr6V9Jobz5eB2Wek/hs6aKR97fLu
4Hqoop4fVDL5g5Y+UpSDFpb93RzahNzsFhSI85k5yRY0bEZJIN6sayxM+2Z8lL5p7tTYfPuie3Vn
lkV7IL1FfSgWvbMK3w8WBw4kjT/NenY3Xlsp5rXtvvblvnfnB6HWceNbdbimKfOlqLkIWd9lx/Gd
S9nazpmExO1uuiXRwyv7wPSb99gmTMNEmYx1focohqBw5rfCFY9ZNGNCkPvBlnu/zVhybL47Gh+H
XfvHrIPy4oG/MJ1Vl7Jl/m+v7Cc1FvSkcblUhKY0g3ch++FUa66WzDZDKyLKwAXRZjQ+3OxEtS9Q
jNXGmMF6hLkKFhjZc7AuESdT0sZHt1JZMBT2uI8mq/keo37ZJ5n3mKj41TGmq0rvYnvOh2HLape7
QL7OuupT3zP+nVRzksawIjf5L1rOY1jG3aln5CLm7JrOHU9l1nMHM5UrnO4CebMZZPk+SPMvIwLr
yMwMvaclVcEhf8Wzbikjl0A4MHWR9Td1vP/cqvljavtrtI2X0aSqolOSYd44TOvd//IY+1srW5Ox
uINyvj6mHt/yqP5yJLkI4MlpkNlORhMf2pJi9akoFPWA/jy62OWNjL0CHqOFDNYm1RAvURe22vxe
PAnWvPKu1gJBkLSZyzCKU7nUC3hVvVvxpy7OeGzZa3UocBBbJrcmOyl3mVx3eV2dfNt/duOYYZP8
iqfkTzR6X0WsiSGW6ozvJRzZ5Eyn238QYSs2CvaEsaizGwu8jgjh8zCGmeNuTT7gTQPOsKlRL7gA
DyaaU+XaD2M5Botd/k38iallS+m9bpVTnHO1vKSefyDPdOEZjd5G0yCf06XEZYY1p8u083IXc3Dn
vPqmeGV+9c8AKPbuK0GLCLrcQbIb1iHoEndC1RxL6sS8CQjM50dJUKJSN3oF8oP2qKM4tHTyZ1lF
wLDqXOEYD4AKhyBPaEqjwr1EizqnpTGCKaA/lEqdi66pQlUaU9jMHJS5pUQQM7J6UXbnhLExuUCv
2qDILdJwJlhmZ/pWtvG66MuU/k1a62VMjZdyrCic9C1L9a1b/IOZzzYQmRAbo0oYm91pssp+iZlu
tqX3r0vacIiTmuDD6p+7pk+903xYqPOxZZ1t+jem+8Wz5/pMkbNTLcs/urbeCPbIecTc7ezJJyZg
j35jP5ereeBdwD6wZDtrsnYgwEc9mr9UJNfIK06Mpf7WUAbGtMTnNJtJHvMKbweYLsKpG5xw6Zaw
jsxn0592kUllSLhDyrkNCVjkJdJ52V5J9DiWjd8HqZRbMaPY1XmhCFa6T20i/W+yWmAON9MB8ga3
Cz0UYqU5M3Y28+VxbqKDyI23ZKabqHgUWUr0Isbm2q3LLe56jneSpMvZuqTV8makeRo0tkDg7Dt2
k5JhHkTpelTGvItL99VoGyB0+44OI7CaRvTidt7T0vNKZ7ZGTKeIrdutGJE90qTYCC+95D6qKMfF
tF9dKqTs3pLm6LrbKXeRs2sKPLetNmZt/igGAFvTlC9EXzyqmb8CdPJdo0dMfMPwYk/JHP/kilvP
FS4oIZtsFtvN9z07VCUbikOjz6l0KgCYhOmt0FuD5VLbwckep9X/6NmUEckepCzGRgLTMGfGtlPt
sWI5rgfAtREsUw4Ky5Hndk6L0F/0oXCNdO8OTB2Skol5G22aOKJauoPHeky3gCz1fZYPVScHfVyn
fHpdKTjDFFnhs2Yk0tX6t/ZbONO+NQ6++8+35LphUia3lrZfElE+ZInzZon10Y3Fm8ih2yuyoHZe
ZxP7VOV3puTdk31JW1K6QenRWTeGJTdKzyzJTDjxhnJi7i7Iyp9Nbqe6+i6tKeItThHROmw7lIyb
FlDmXEVUgbwSn+4yvshxeXJbmN3ST24WMOgGv8BjBSoStIV+tee0DbvUycJWxBcnqf1df0/Gacty
qHHb2FuFXDh47iatuwLMOjsIPiBRalQdllHF5mo+JUL8WWPz0juLvllpZO/EvHoQwd1/daLNnT+y
ubqv1DPSzv2s0r9jaV9anC1BXwPlmLE7hhHM266k9G0kI3qiGLEBXWPmQq2ndobm5verH+qrN1Xa
Ax+0+GokKzaLGQaLHv7TXKcjAhcKAFoKiEY9bdpxuMZRolD6kDOWyL75iFewqhvm9FfVwFR1acST
OZlMJob+YC7uKe/WF167m+3LvxKxYbHsYPLHU4ab5GbP2d5dAYT57nySmJJBvlRNexiq9RTD5BcZ
QizZCdmSnIpuPrXaOXGxH9ssf16ogG0xbJtqXQNpNcecfaruUL4Lh5+oisdwnMkYrKxoF2OdDi2l
QnfQ28i24AiS/GAY0S3P1FN+h1Eat71oPBeQlIhUago9jAebvC1/rBHnije4L55ElREL88hG9tMm
tpFxBxzkDVuKjLLbWB7mW4ktpJw9kFVBxdWc8rE6ruDLbUcSZmmn70ahv9LUPDU+CKmCaJyc/DxO
zpFDEQ0os2BZy5uZqrfqnhfH7U0UfyEucwQ+mmf0ruvTsgLBDOk+reJbTcoHkka6MYT1x0LTQCr3
f/sl38Z5/aKMbG84fr6tIayO/dw/Lmay4yzVG0fej+hh/kn4IkqZwWWpi0v8wsbQMuxatqL3CZtR
M7Hg4kkfpE72s84fa8JLbDe7t271dfKcXYcxJWEC167Lp514goHX+FvnfHxUqYgRqnwrGuvkjvkX
kMTBT/0nu4qQyDq6G580PA18NhfLvqvMYOrXI0TBk+fnv9bMiWGp6SNu0n7jJBaUFE4al6V6kYy4
Xtuq5hXVgWemz6OO/2tlGa5Rf+a34kwrq0PFxxHZiN4qf+mGbEQ/mF6VM9dBMabTtjX978b6lqPg
B0jMAC3uNss4gJo8DQ3UUesdI5U8obd/xGm8c83+MPEx1Kb7GYscRKX8HOOlYFY27+yq3zussePk
MJ8mEb3MpfEuJnXKy6pjwBa9WnkU8PyQA21CBuA+Y0lX0N/Tb4gf+Zic6RNC4GAm67AjJ/Pi6O6x
RMXn+wD+GfTFxAgx1PWL4RFj33jA/YhSnDH71IAGsmrxLLiToeOOoOovoIY/6K8magTVLeOT8+Il
z6mb7OjaQqMw4MUhlSJY/LhHqyemhE8B+Lms4DNViqOOGZhhoGcIy7U3SdspuNjpPJIBxpQfkoJV
0AzCc/8woXEDxu6ryiD/R20WyxgDnFgB/Vm6rYTOw6UHZJwIK+NWyEELmv7ULs0P//99nrPHtqaT
hOkKS3Mm9a8ZyPbhS58agnyIRwYYVw9ocAfSVLZW2vFewcUgdSe+cXSG2aKC8Z68pN9BAJ4ycNYo
0Q3PzHLihmfO7/7j5XFDD1qCpRMK8ap3tkaS/vBBcIZmGISmqnyiXbc3aM/hwIFra/mSjCr0hXeo
3P6cOAY3dXm1PWdLtP627OQfNgpA9mTLI0POY+8a39k9mnDVBDVG7GGyJtJKYntftsPencvsaACJ
11hDR26FF2XBxPlTz9gj4x3AlliGY598RvOC6OFMh96cnu08OyFpq00SRSckvk82KdTbNfLEsZwH
zqgyoyoVz8NSvsUiPXeG/0KvtzUy8QId81KbtDlGwfJhn51GB91ZRMXZL1jJfjrsI4M9HuqMgZFi
+/xEXGJdFw6tjn4UdXuUyqH0qkpcGuV6Vtqhy4IoCvxmuMpc39xsZs7tfM3LiCIaA13TdRozKxzQ
jZiQum+r9C8luoJB/lFZFcc2jplncoHXBYlQkbWxCw6jQQCMNs7UhSbAgRkt5Ejm5qPbeojIbK7e
yDGiX2MvDM5aehHk1m6yfwAZt24bfS199W9VSyA6fY6s+C0jXKUZi4cIImpkkWoz0Cdw7X/YpccT
a9kfnWj5fhHB8UNtsOaEfcmBhwEAA8s8i62o9S6dmmVjj8lx8XuemirbGavezfUETjGtQe7LF2NB
LVlWNtxaUW+zFseIt3mVXpeu2QljZeRS/ktYYpbq/ILEeSpi/2O17Ae3rbe+7o+TN4ybLi53IAf8
TGrazDL5cYU292JA/4Uo1Axk+zJ7HTteICMCGZPDE7ulg8EyeOKiB1elR1czmaULG4p53zTu91y7
hxre2TY1aUD9u9YJWwEorSoWX4oWz57t0O/Wmf2Z2ubNhx5rEu+2ZDzNran3sVvP2xqrQyqYGY20
taJMPgCwfpupwcyuMpvh6LrxbVUy0QPpSKFMe83tV0uw2XyS8J/J3cHb469BN1ojxRki439razzY
dn4WBWmYYsEthXaLf4q2qMiPBGs9UvqemszaEdtylB68AEOOY9K6z0vNIbjKOCwt/SgNGrV2wPXa
9c7FKsBNHGzKGqh8aIbXFFMLVqBsw7/kmDcTZFj2tmQAh0pR6dPxkwI3Bv7UPKYZtElPMCk9Vfto
TvUVbeto9Bmg9LzejZOYnchB9TKcQE5HbdXKU144oUud0HvI5bb/XlQjgecTcMmQGu3ONtwTRqCH
Pqpei8n0d3UDpH73Py3DczU5e9N0tw3x9JYWb3K2AHMZz8LxuGyj7egoU+9UGT2+KuuS+QVVGoC0
3zm72vPsnb4jrEnzhOvu3avEl2E43zhOAGv6r3pafowY/S6pqpMp5B1WdvaFW+HJUdZE4RgPUOcG
YVQGaw4b+dUgFKMk/whJ2HPU/o4D7EQs0LdGGwlg6pJzVzSw+o04R1N77pvqkPgZrVv8d4iyrWWU
RzNJ/i0xouySPS5CrsGk+5cGDjkrvQ/a0m1dZf95zJ+lueISKQOrMJ/z1P22h4Juf5GAH8UZWpWp
hjpRYNp0FeLD5h3S/JybOS4+xIB7xPWWSxtpSJNmN7bO1tXGbZXJ0ZoQizXhkINo/2vJ31uU+luV
YMg1czP8TYC3MZXu3FtX21DQFvHnZGIwGjOesFSxrdVtHiemb2nmgBO11j/PQb5rrIbagtaBaQBY
YEosba4Dx/GPntXSJS9PzRRtRYfgE6fl7yCSwPJhCkZJE15QXXoR7NuY7hIsuoFhZtQCdV9sZCmu
sU3MPHYquj8ZasG1COSW4t6QFgXsALOIVbGOyotuaRa4MhE7LEx3WYoRO8ZTxeTFOkYOWzE97f0p
UsoeDq4fMWCeKnr88Pkz4ir60vBsNM7JmodHZYnHqgA8Tsybm9vbRlonZMLTRBcbEB07BNpJrloN
l76cvh2mPhYyFiCts+0sUrsFd2dU35KZCcagq+fISD9wkbJ+sJEYUpj3DXjWtG3tHMP+7kpoDZNc
4+Y+WxQm0bgG+J6Hw6nr3EAVng64Fq8a43Qnp0dJdonW5ruVNg/WJJ8tOYdVX6aMHBBpVV2/jUlE
cLirCwpIPC+ddB6XqdkuExPTWjRMJ+nIaxfbcZxvNcaxKobfytTHkIhdbE0Xt+JbHZO6CfK8aDGh
NIfZ02CMA2BSN3JgOBF1eL03rPYcIbdh4xw3ZZfsS9syiMNuvmRn7ZQR77wS9GXy+MpqguqmDody
uh7UEOH0NIucvwUHl5u5W99Axy6YHBIHdwBWCIRsw0rmuJlNJ+xz5WxwdlwInf/X+OqTlqKER+h/
xUJtMObYu+GVsqW7e5b1GmCuCtFOAvBKXNMFOJ/Zq52r8x9E2KBxIk7hxnpWHdXy6Mtb7hC/Ks3x
4InilBj+hFg470Ti8xk639RZh2wqftbCYKljI+howQbuldcc52fHZILW6gNrO3hXXPxKPYWVAjvf
5MIMViy895tOoQTMn1k+GoHt1VgiLB7mIjmuBrmqPvpnUtv7yululpj2bl/taarfu7g/1x40XJ7Z
b0brgPjXZTi7/WZV6n3kUiLX8mTUxZbC5kDo2Auaz7Ft6itzpH3Uxq+YVvHSNgwzAWeWOsdyvHi3
asyOrQXDluT5g1NGcuNr6sYohrBaJTYaaT7UsUu5Op58UA8BcM2MiV1bY/c+qXa/RObW0NZzTSRC
O7S/WbFcDG1023IcH3ysY3NmW1uzdz47r9riHiUyIF2ob5PoaPnmKwDdfP9H/S2N8j3r1aG0qaUJ
Odsvvpvv7KTAj9zrYQdOnmDFha91R0wNOueXcbVByQWhGAiVkI5+/wFzkWIqJ8cCHMNNzadIuHjm
c6ij9W5MMOhbKx613v7bt2hL0uLBW+/vhEyWr5aFfbLifjas6M8yRhgObK7N1i2hLVU2njozvgqZ
3ff5tE/l3R434Ku0GAVwD+FtaWS9dzrj5CYQGZ5pvhoVKQX3lcg0RONU/3QMRTf1Mp2NtMZn4pRn
PPwflnQZZ/fFnmSZadN4aE9TtGsLJw+pL//anDbgEXGOqDutW/xw9jGr5/xY9SYm/mgYP1LiwolP
uL+UNhsy8sU+LEzy/JHqwm2aQ7osXbD6jK88k8XnlrMbvOSauSpctf+mFvt59NoJM6Tzp3SX7q7A
ntueYaHuPtvVe0+60dgsnb9J3OEjt3FG9T1gICkdhYy2xBrcGG0HVduAnPTRptTx9yQW7Bh288EW
eVTHIuZPLo7JQo/SUsqi6/hvbZb8kwLgt+PCdmnj8tZ+pe64EQ76YYn2eWbv2rZa1Ithk65SzTqo
Vgogq1++XMPY5zFHSokpkwDM/pXwU4kn3P1oumgvJmd+yUT5yu9/VvjEaplsxxQTAUeb36wxFfL0
WQzuaVgZxEG2H5XdPPzf7G+a4zkX8282iNMSA77W1a/wlQj1YD/X8cwLW4TEbfUBcG6IG8mBcnaO
enLpZFJYil7+tBnmBz0v/+q2hr+wuV87P321hwh5K4nfYH+v0SD/s1f5y963tzpRXzlYUkFxag7A
cHTlTcZBn04/TcdgxejpPYqOjRP3WH4srfuyLG6asVBjZS9mvv5GjXUpcxy9VsmuFOuL1uzXE+Ji
WV5gqeyD1Ta70St+SpTsu6P8XRukq6yVesvoQVaMQ966Un9NGDDn9lk6+qT8+SbgqNuRiG61wHiz
glktO2sWExIg4ShGSc5B16g3U1hk3qe7pZAPpe3+Kcbhw5aTGy62/S3gWgQqLddy8xjjZNHT+qnl
EOoZw9ciwFek0WNBmRCB0LOSvN/G9+Nx5i+fVHmIizsHmJVAN7p7cWz6jKq2Tm1aMJAqrN9UKYyv
ie2EY4F/IdeQ5wgGTHwg8mOMVxW9bOrAVEK9b9q8RTsXT9h8tha4Cwj7aWjbKuzVhHGzl1djcTcQ
pZ9Tp/H30lP1df+JUP7pz8l5sap0p1xuBNsdwrlz8M7qq5s+sjrrJtmC4uCCyVbgRFBxMcuHWqwH
iV8RU+q5NybYDUJLMlANpPp+/pL98jpmyZPbJNvMt45DO/7xq/HaVay7XTEQN+6hsKkjXNUauzlj
DNRkRyXqr2Y1n4vG+act8xW15seH5JolyhvswG8noo4eJrKAYPDZ0aX961PvUiKoMt5qbypuzglp
Bb4xH4WV5huvYoroCkT+WAvsXBh1O+7LweNjS8AsB5NrUmrw2pxUKO1F4PETpCN5HfsaBYGAjGID
CZdzgkdvPJpdYHks7ykwcRE9dKGy22luiF6711bVl5JkiS0DmAGTR0vMTOvTNff9dS2ckyHbjyUB
gAFnAArPj/maEBtjf1kNTajZcz5W6UdW0HskWf+FzP1lLSulevVm2PfMH3UdpfnbgKybyIBb3ZT7
Xs0MyZIn26d7i8G758Q7jdX6BiT037jUoYYM6WPv16jVZYiHY10hZE7GcVjxqfQGqeuC50JVrKao
XC71hiSRjSpzUJTKe1TJ8GpHxcNspM9GPLwzIt/ZqfFTDdWuIOBm20frn9zID+5A9yMzAjKkmV79
rNoaff+iGrHz64mAA/3PVJjRE18RId+V/5lcpolE6jBbB0+hOqyDfCsIEpGTCixTHKLROWEl2fEu
h0ZW/7jIWqWJDsj846tvicVazGokyk++KYKvelYSY9NlU85Q/SZWTVpJVn+3do91KG05BroSObxZ
/9az8SpwhPX8jAfGFnekSF7LIVlCC/ewkanicc28137I39PEw3sSt89iQPHKKCPivn3uCihFv/nr
2vY1JxYkB2jgyVr361ifQZIJGlLM5KBenCSPyerJjrJIxqBt85w8puToZ8nMS9vGp1nXzDaG4W1w
5IdbomJllPiD4WPDVnHOnCf/S22+d1suPaudXv1Us1hcG59UuTaPWBHw2wKMMvTlM0xFF/OAD6RE
bSKNtKLwH2/cKqVwy05dpLZJ7QCaJwK4Xz4NSflbdKAz6IjPIoqxNNpgV3Ebox20PRrrnAVsfWhP
NizniegfIpkyKmhBm7rNu3E/oK/UZgulmYDsrsy7p3Z4BUE9KwFA1pfRu5HgKEZFl7MHQoNym0d5
EVLJI0WXMGPu2iiQFuxYegbon+fdgphPipZ9BGB5mTCUpROxHtlaXVzbejMmQKPB03/HDnfP3Fz/
x9mZLSeORVn0ixSheXhFQggbDMazXxROp1PzPOvreymfsmljOuqlIspVAUi6usM5e68tacOrlLdP
Ks4vozZsmqGHQhPfjG7yQl3cpIGEGUR6FUgvlNPioEvjPs5VvFDp5zAn4S4bkoDBLjx3cofLd8CD
Nz8YQumlaSdzxxDA4lH5alWDnkT7ONJhK2PQ1waHST178y1EnlWYvSeI8lelYb42mXyTM9lxBuAR
q9mLGqH+MwOmXVNSnhAX7mKVDBJ1qGh1pkG0qUHtKdjjzL7MdqNl1GsTiStQBmcSw31JXIttGpwT
paja4WXbxAVSzcEynkRzPA6C9WIM+rs5VJE7RP1Wp4WlJuWm1OJX+oIsFFlJ6ktxVMzktxHwdOca
g6mV7zrZouSAPaCNSxAvOTv4UAIGlJYDkpdso2fpozHOeIlVZTWl07adpF/tENwpEZ2rplBbXkBe
B5kqc1/7J0QTHhgMr0dUMgz5LbEy6Cj1WbQTlRpCCjfUmMvPXhG3pjU52SA9z3W713V28GqWzYgM
rN+mBdS9wJ4n6iX5uvGDpaVHeVykRRZ7UVn6ynvJk+Z8WNRfB7FNTwDPUUpHG7C7GIKmR9xT/N+c
qjhlvFrp9D4tTUQleyImOrINodpEdNEzCcP4xKuBwJEdTieii1dR4MrL99YNb32ILomxK3TmDWfn
NbfLzecAMImAESo0F7GHUR5GLFcrn16AnVBBSULlCLboic3c86CIv0RhObX1KrkzcfycZKgf+okp
OX7AJX7ooR7tmw7gw5hygqd8NFIV1veqmn+ZWvZRqYAVZOiy46yf2JSba3MqDtWAQErQJ8fS8JL3
rfQLR+YhatmA93DqV8Vo8d9jGvf1cDeSyEqFAaVtqiEercxfY+WjRIk1Du7xSNHOfPfVfFtwbi+F
6KCN1l0wmm5air+sNroXF3XxYDrlvHSuDQkJWSU/ZEa6nlXzdkbhLTBrzLm4pwLmyer4MYBKEKd4
14fWu56YSF/6+yKNURRVRet08XBQVWgEzdLYpX2ApyTyBJwztJgPkxygCtOaU0IpGetwsKva4Cmb
G/kuSxZN5ijW+2iu7oQ4r12Lvp+JRfAwSfo9u2zWQ2baPKHBlooyBy0fo8Pkv2FYLLa9XPUrib3C
U1UahzHIaDKX3V2G649ZY35uw8hwJBXdbFIaf1IV7aMw/gaL52aZ8ZgXERNeP+xM5v4mDgenkail
moSg0my0/QKUgkSVlz1RNaB4R3+/qcvS8dtobWaQOwiKomHCLjuWoV8t640vOwHICUsTtq2EnZ4q
yC5N1J2hveHpB3ZSKLgP4k0j58D2m3ctmI9KmnrBFN1NmbGnFOiG2W+xzOmOjkfehoc67F2piO8t
2tCZEtxIerDtB7x+M0clThLKDsvS3UgbwhFGGeFNlT2qQ/qoUN0yI+EjkS36arp6nIPppLdYlrvU
jPdNRL+0S7AFo7erfOXUpjNEtV4obaLgP2Kz7e6zhCfXKxTQNWm4NwsKbqpRlw91qsbuNAC3Sevb
Qc02BQ5xpovpViAoadU3bAL83q51vEqJTUmF/qSMkM2Ub9pJ9deziHiqG2c7UHCB4BY9hWJ66n3r
VGiGnUJZy+viS6TrsKpJ1hj6KNjQR0WcXd7XuKB7IIpMgeEx5Xi7IiP3SRSYOTn4LHJOL1TDfU9I
NR0oeTfV/JoZlyZRjW4zVvugx0s9moDb0vHO0nh3qHquEMJuOmvYFwTthgrxUDPznCwLv/VaQmMK
YXZW9zTF7wEJ3eYt7mDOYkWGYZMuR4NErhJiTw6Y9TRT3WatYZthAJ3GmJkTkYYIySZuq2dNJwxb
UEy8qNphNANxhSbq5GcdYRfDkSvZTCXqwblSwGmSKECFJ2KulOjIYGehp+FHhktOnT2gG44tkawY
vdrIEj9WbxqXrRDVAM5lQ3VgJbxXQ3EjzFGBQjI5DdYsOw07FnQaBIPJthXBOPRVPHXhrqooeVZW
jywKV4JkPgrA+rGqwyVgzcdYZd7XaXOMQqMAhTi8MSKfprD11KG5Xdb7ce5eyrh7zJha6qZ97n16
ld00BWuUCRhrNOlFANBlU78hES1uLE+v+NGqjnAPWWNEfdmyUnoK5bil9zkytPA/scHcKKlFqVP+
NBXjCZjoURQQlsmTp5nZu5I3N0xJG467G3PMH1tGaCf1H03Ur41Ef4aE85YvVUA5jnZDs5RkkwEY
A5w5g4N/qZR3KL9+w5zkuyYEnE01vceyv43q+DWwiq9UmN8rDYOixrh3dDH+lS6bmjZD1y/UJvk5
AXJs0zIpGWVLizLJ1lFg3MZpv+O2Pgu0mXzJwMdjSsA+lkklwnlX3SmB9iwXmovL6CZQKzeXxfWk
zzuahpjNYtdC5TuD+kpUSnihFLlZNLtSbU6APkOK1CZMOnk9p8PzGGOybroNeWfHQdNui3ZEJmbW
DQUOGIgUEwb2wpjJ5b2Ajs6u83mNdOF+MrQtpen3oURFEgSbRbHBEZAW+vArE9J9OesPtSbSFTIA
0HXp0Velx7TX91OpU1kXn42x/jPrA7Fz0zuKcnfQ5F3ZDV5IYczX6MOWcX1j5eOrgjtW8lnW0LBT
IqpPQhvs0UElzohO15eQ0GbGUaKAOaXQj6htH6YoWAt4A+dO3C/1o9ioT+jRt9aQ0dskh8fqeBlw
lYL5MqM9meVIdKr9GBt7qoSFDVvyKwmiQ8n+ir3AGwc2XpdDogMPDaK1lcQ7Cv4UfODijsP4R5rU
o2TVMB8U9QH728mQMvZwudfI1U0cDw8zphO7S9QRNVpyn5T1tjIQqYKY2ZuBhA6WGAc7pmHPz/nU
5vwhL/o7JKocMqZ62yOlBrJnrLQgwg1mCdIqSZLfICHA4VnV79oUjlNvPFgtGOBQovtXY4WZzQTk
BiChpH7sFGOjQJAAJeaa8jK9GJK0jgxqBG0AMAHIggL9BLcBYuSuT9lVmKodDxaAU7xmKfBnmAS2
EoMa9KPgYGq+5Qpp/kqJbIed8xDQIhzJpkQxiBowYLeWGhE6ZrSM6zyW8xPI15sQPZriY9VpAnCi
uWnBQs9UVMSjx/v0glJpcugd/ppq89A05mmWOcOqLQ4dJXT1FMpQQSYhDt1yRona+zUqd0mB+1Gn
RwJmH2Y/Ymcahkgv8WgMsP5o+MlHVa/eJDoSYODYHLRYWEpEmVFcPdeKxTFDKlECB8dA9On8zvFr
rhXvWefjjqTvEfbb0ui5/Dz44KF85Nr0YWUhnUP5EOUDp1ocFHDqcUS0n8nMadhojuWMBK6guV6Y
xos0W6oXi3gyJ/FTNqAsqmJkOTBCTQcepVvULdaWmWOUn4Yaddn8Ad8BR6Ik+9MbxBJOy5GMwWNh
w1efxz6S3C5W8cNbxe+pQp/bJKFjDAGad/NGkq2bXMBqllp7uoMHTYGMNdNCkJtyFwWZbWAk2Rpq
f2v4QU/vikKKpenqGqgppnTlMZ/RIxnCUZojWqvWqR7MlyYPKb1QICqBjZSUky2BmGDLNzxDGfaN
pTP/5fjNLaQhjRGe+krUvUAUwUVhsMmJ453KrQZW8Hao+j+qiSCTaQbS47B4AsrxMUI9bbXhu8qJ
wwEQMN0WSeSvRErBkF2R9jIFJYK/HkVY00nI1mHKQDJWVYrmJ+icUtHn1Vgrwt1kpL8C0XiNMrNz
tNn6laEoxG9+pzflWjFw2FBGtwQGtgl50K+pUodrNSQGPi9YNsT3PlI2JgwuOdTqdWoCLIt965Y6
0LopxFfAUFsN8HCRExeYYb7re5PojW47NPAYNWzd08QeQPDlbUswpjKmTjcBHg1VbQ3WinqUgTCg
fW/HAseskPLHEqYKh79A7Ca7G8MbSWWvLspE0/balxRg5EZkHlKqbYd6+Q1eJkq4aop7XRL2ScY6
a0Bw0rsjuaF2FxZwqGJ0oKl+KmBBtfCaFkB31dIkycsWzGe9baidhzXwEdl0pNjfMVa3UUsGVUQB
ZKWKAosJRUJ9Et9FTJi2KU/hSgiayBH98HaGqA0Hhy3bGO/UMs5tn8KPUlBc72oTrK7+nE35pjKs
F9iKX90kuGPU3hdZ/yi1yg1eqGeAZx+xxCkuQbGVJBrzSIUrz2LtQeZx53d+g0quRiCuHAwAvmmh
dnZlTk81koXGXzRf/cFXRjYJweKsBoWRttl26EuvxNaPLoTuWNC8hWb2kIIRyVLlVsdwtiqxOAji
dAuH4aHsSt2OEvXeCNONb87bKJEfETwtyCnjFwEb72HAHnnM0f02LStZLm+UYVyXAWadmuguuVQ4
tkYfZQquvDH745BJEC9SXvcqObYSXXqpkt/HuLon3+yL8mpjcxzz4lqhBEzzN7Kil7pOT6hHtoSB
rk3qpvlcsioJCiCFYjwVcvxoqtK6a/SWsnV7J7TayVIwSZuYLeW6Jwk2CJ+0Irxju0rVtzZfCirH
DvZYFJTjoxQhIac2aSllhXyP2uzEVloaUjtYxFVm0e6zrnrReg66OZ1tmUk8M77k0ULvr1oHUzDd
Vq9+zanCeQk5dm+4ajNvB3p56TS5YaHfDErlhLJlczZdW+VU2PqccBqSpw+pYQ1HArCOF3OQRbgw
E2b5TloyUaxDuYdbG3LGxfo89gI7Det3IfSf+ai/tgjB7EZrXBizf1Qjv2nMZC0HZYF9YfxdhgM2
eoza9Cx3KL1uU0O9FZPwC73Srszjo9GAByxbbYVF08PbU6BaJYEFP+PN1GVOkEt4SP3F1+lwNnsW
FQ5QYY7XLTZ+BVX/NgThOm+QqIfZmi6dB/G37uAvE2iZp8aCriYWvou2CJ2Z+WdvKq3TtHC00HYi
0Obkns5I9etxfA98unztrB79iVeFff0nx3s4zDhosyhyy9xEYj3lK6FJj8JyKBasRS9TpA72gJek
SA4S5olV0HJcDOSarYAZ/DFADCJZlEmLg+8xp/c+u2PFNB+0gVQgTfyNa23VKuUuow6ZMyPJqEI0
akBhGdsomtiuC4OAK6MEG42N3eo2Vj/tozDaAIAwVmKkHwOBE5Q+VyxnjH5h1jzk9vdDnL1mU4BH
Hv+83eiaW07+TZSIscO/UIXtSqj0zPB+vkgtNEhiUZdvWBoT5vNRZvEnBrMQvIn5vIR6F/j1jeZ3
60GI1ySmbmcfR7RCVXos9I/OD26TuetdEgxvVQG5jQTXi8P/81iDpkuAQKSEKqOHy26lyv+IKyta
NSjXgl49ju3Isqai5QzFp27s3vJAdlElI880xNUoIc/A8vvBrrF1BT/kuZSe3qiRKyX1uzAkzqBA
vceB6dBIRkhKJ7bR+3Uzla9T1MHv1qXHomU/3Sl/4lz5gt3yQAscmKUpVVQycP0nBn1TSCNepssg
kIdHOY7BO2kvZVTjWMiYzmGC3FjziJzDDFM3jpHZ0kqF5p9ArvIt4BnKfjbKR98XEcbIOq5dmmcr
qm7bPAweU9PayopxmjLewrRIjmkbPIzdSPgLllQjEx4DY6aPlrBDpeUQBw9yjwk1Cmc6e+MnmCqB
U2Ne2fS00Q6EpZs08vtiqO4sfensDmvVLz/RABNOAMe2aqyXBs7IKHYLOHnwUqwekC/pYbELptyC
/qQQD7NVvzUpuitfFN+zjINCO1IoTqVjWVpe6bdUSnTpq7Z02pYTtyJmN4cv7Fetqi+w2sEIN75m
62b9Slea+q+Gl63JkmeKEzoTzPiQVtgFidnBB1NlDwkyErpUSHA5jot0IdZRQZPNMCO8qHHZOxKo
RddirGtBhYemmt2JHoVjsmbbTRcqN1MbPaKzeA7VZkc5hLO1Ph2p5tyxCQhwylZ3DdJnhD3aRxJD
e6x7SOC+uGsa61OlsOdlFVwTUR6pMFPzR/g/8tbV8BrTwQl7FtZCVz/ioKJeFuGHFyYkyHMIlMay
kPFSZY0kkHWNtVcMI4VBpr9YfQvARBdfmfEdK28+s2bS12JJBTqmiwDI5IQxjDRxiYMW6tcFNBn+
BvKL9EdA8lALw64dVfOz1/S3UKfPr4+4ZupaALcnsc2c2aFWr7kY3LFXpLc/qPdJyuZ48OOHrLH+
SkxeTZksXiOYvAVDE/vD26Qj0KTzQNgH9N6+cgE4Pw9d9ZRX2u0AR18Wx49GnNFesG9DKPjZavya
UlB3WZZhLmtObR/96lU0OxA3W+BBHKRSuUNXTqk/DJObVMrYMLXhTd0vqiesByzOHNhFilrxcZqS
zxoH+M9hQ5ciWs7S1MwKm+SA1NTTeS+0P5j+Vw0Luj8///z5l1J6zlKT4jYWO2V5m/sev/7QP1fY
4n/+6Es5SepZThKu/BTHfCJssCVs1HXqBntkTzf0VD305Vdiny7doLNUxCqLzMHXCAGWZw6YZi7d
KoYKNhNQKCeqn6/kQh6XsgRc/RPL05UzON45wmIU/SbEdSi9Ok6vhIpdSOJWlr//89lh2vRzy0Db
oF7YaOy14xhNgOympI6AaEF5f+WLpGXIfJNkpJylJnFSUyaR7NaN/hTczU6zar6su+ZNeJpc0RE9
qXX+291antS/VxROKvgc2B0Vi7ihkvbBouFfSbSTLjzvv1Hg/3x6i+SrAqskbMx3JJ/4KohidJda
rJQ67KQQVGgb3S03wEyNa3fu0jNaXp5/vjOplZaOFIEvrYvbYYNMfRnPFKVtTnvZ63yDFcnaMKUt
mdOPP99F6cKbqZy9+W1odXUwmKGXv1Iw8TelC5HCNp7Uej3akl04AtiFK7PMpe86mwWUoWRVD0af
OsxBDz+gYv18EZdu3NkM0LFu+nXGjfNLYFz+UTSPGlj/WnhpQEHI9z9/y6VffzYFmH2QiM1I1LOc
azdZHm1m4PQ/f/SFC5DP33wwhEAXCjR9unks6uItpxYcaMcxaN9q8xU92pUncGmylM/mAVz4kYbA
3N8kz8N6CZUT7Ig95A6fijN5qMd+viDlQuakfDYLYG9lfQ86gLJzgTgzDH9p4fjLz6fSNStNtvs5
+2ijckB9QzWoyNjxKU2soTMbHYr56L/0GCRrr9M7bUFBg65bJ2qc4E2mfZ+mw6sK1oNGsrjuU+lj
gfHew0hdNuvAlZUBaSlCPGjWFMl06cpjunT3/v79nzc0lqfclxdMbrolcO49dBMcVCtY+39z0ymO
/3z3LiwE0tl4rotc1SUfb2pT6KespB9TGI/SZLo/f/yFgSyfzZyqOKq4ZpnbpEr6reGsCqPiSirr
pTskn0XLZTpVmaYlChR1oX6D1fSm2CPGsHEKDIf/RzLyMj19s8rIy7X98yTgDaTSXDFt+U/d2rxp
NigkYe9BkbHNFR1CDL+bn+/WxUtafsI/XzUmcU3GN7ZCzsbmhpjJjekku/pZdGo7cPwrb8yldVM+
mxzrDHjTOPE10TOAjHQV2kuodGS35t/IR+HqN116/Gejy09H2kjxEvtJVMJqHHn/rf/8ishnsyTS
ASOheRZ4cCRIZ3Gx1xHKsUY/t84cbNrGlRX6wlVIZ1OmJiVC2lNF9gzN8yuvyV5/ftzy3yH0zdD6
G8b9z/Oe6MYsOBlSpnLlfsEgGqNJPzisqEoE/R5OgFeQ7jIq5NxAoYvmdFNVvucboPobvNPAZO7Q
vOdU32BmDhX19og2WLfJisRN5G7TJ5PjJzU6MeJ8onCjiP64mzIVFVgef3Qofkku2ggpp01xjo5g
rPNV3aWfveXTAs1I1oFqiOTc3EsD3otIndbBXN/FSr0ZjMmpalj+M72llSKgph6IFJHM6mVuug8D
irUsjbddjhEtQndPm3W24yTZCIKx08z+lCQRzpv0VlTze3oprhAsldxFa1xTr6+bVwEVYWmqgLmN
V0mBZWvFnAjDoYdNl4z3pkCLtgra+zLr3sZKoeEQ+MApDe7LVFMxaWUVZn5yTApOaH2sAGVsMVSA
rkMaR2S7jUcTxriBZZHS90NtdkcVBa8sKo/CWO6JBVrjAF+HZQeZQ7TeVQu9rFoAqJ3Sz7/FJDRJ
gRzYAurnWCweOYO64mJUUKcdTTG4ZDU/WInxztSy+Bn1UN9kS8NfE8y5o8kJdT71s88a1DMtzPo6
jJxJnZG4qRKBjEhusJIc+laG3z7iTG2VAz69W1SAtwPpcFVlHAYQ8T3EWiXJ12VWY7mLbtPWetP0
/k1o/Rdp6j6aXoBlEFNiTpOWrXgkHhqrv8+b+b1OjH0UVJ5S97csabtmzp58JPFtG/P+mE2yrk3a
rV1WvGqtcdepmOtgkeI9yo9gM9FVJl9GWf3pib2f8AjKRGqgEHxPdAK2UH18BjXGslbCsz7BRmpr
SNlhGLwmcZzghKBrUmRj6cxjt27mYeEGdm+aZsZOWIiums1PVhr9BtxHc52KUxTfp3hHsUqessp8
GoRqS+3HB7HY4sAhRWQQDSptc2eC249R/UcCZQTUTXYMJXcnhMIhEyhjDODUbzC7v8YmyU9ErMQo
P2Z0vYEquLKWnSQpeI2VEXe4xj9XEyFqrjaisePwt1j3ireiar0wLG6MlEBjVBnE+4S95clJ8R93
sH/jW/+ZG+SQgh+qztATSXbgoQn7EP3Af1z2z9blNixm9jME/vq6dNDVdl+AS4nN6NpCdmHNlM7W
5kS32mQmMsSDxXESn9X1SN44/ZOjsgZqvzacn2fQSyvZ36PGPzdJySySx6oq9Gp1zSrj+ttg1xor
aTM4uHHuBUd5+/mbLq0BZyuz1ImjOURckEzYR9XvUJOsf/7kv/uV7xaBs2WsaKm6xmIfe3lG0b2I
2x3CnhjAYrOWsL6v1FF5LIrgqFoGfQD6NnJf4XmFGVwWD3LVbnpf8qiIOWJBO8svTtMcP0/gJ4Oc
86TaoPQv8/5LHdBjw3bf/fyzL9wQ8WxRFKtIrnWwNZ7YneripRh//7fPPTs1SEgp06LqQ0+S4Zfm
FgKn4ErR49JPPjsogBVNEZ23fHRvj+lXSsH85998YRMtnr1NgS5TmhsKTDajdCBw8D6LtV1RzFfe
pksff/YylWwKosrqQpRq8b6siboXek82yyuHzUsFCHG5X/+8RKUe6YraYlNOEdBu1XV0L9gpfQv0
eXD9ntvN4Clb+R2O5ZUN1cVvPHubZjmuwtrMYvLGdSw3K+3gb3Q7dgU796T7VnOJLd2o2arw/tsD
OtvwBh3rXaOFgbf035WUHl2/McPQ+fnTL23bxbNtbm4A0x8p4ni8sW50m6z1bfOqr+BzbAJnvjID
LYPpm2lCPJsmUgTVmB6Ba/at5Qg5btsB/5t+UAGQ/Hwd348zzTp7pRtRGktjJgmlzAN7ROJfhU9p
8uvnD18+5P/+fCK7//cgE0w/tVTVjzxS7/YYet08VEDVGOrvYEIoFaTWOzBGbArD6ecv/HuE/e4b
z153S6Zv0EjUBTidC4hlw508xs9NEjyh1nueRwhiAsRgt4bUM6IcxhJy7auXr/juq88mhFQRVDZd
bYCWHY5nmsnbKZNuwcO9dbnASauswXMhDkxV/XXuamk9qLHHkZ//F/yHo1aYqku8q/5wbBvpyvT3
91Tx3a86m0fyJJeEPGwChmlwgon7usSxt7/w0brRsb/pHI7S25Q3T7n2nl8aUWczS9qWUH6zWaAE
ZLzOO5fdu2PZxl6ymx17Oltwru0EtEu3/GxK0ao4G3IROoukpW9NkbwVY2qXTYnFvn1FVvugFIpj
Tsq2i5SHOgJYJjUuPeKnRKE1DJnzNdByoqwqE8uJdD+pJXvmBP5Sb5quBnkBjwmsCfKvvuba2lB4
IGJHieJV0ygmahnUAFmubzul/dQ68bEL08clgTSLQna1JvhWqcG+h+Ib5Mxc46MeMvFdkWOPuQP6
RWKpuBPUj1IYwfREu1DNfi3No85Xb1sp3AnkmZBktjbK5k1RRQP3tbCTzH6PQPnKJHlhGtPMsxkG
SLue5uTXUHJqtxmLQL/Kn4lPX2HMd+Rr78YyKX43CuX/PRGo8EgHjryhh5y8+ILHx6gT69jutZpm
NP01e6rgBGaN29AmV4GN6fX0Xwfk2UxtgNuZRhqMlLkoSChVd6wAbyqJfvShXgSxeW9o2L2LgX7u
V6j1a2sMNtNskYWb/rbk8EqL5/udiGad3Wk/RwuoaOwms2a4q5roxWis9c/T3oVXzjybxOOUjmcK
x9GjN7JRkB9MSgwOS139/PH6hZ9uns3jGf5lwCRj4jV1PZHqVt1EpulFFCNgrx5IBXmpAmx1nQJC
VhZuaaV+hl2whDI0MMRTgaQFXz4t0bspAdijqJ40v4ESrOd7wk3aNWlTdzLFCVft9EOtoouhqRzB
O5ifIvwf1PTvIz/77StwxaOetU+xaLTOwAu0MHZnwXeJxssRyxAhBEvektISkLQyo/gKA9dXMVaF
cfjeDA34q4nCgtXdi0toLS3lZtaeNKHe5oH5GDXmLkJXVZT+W9+2L4Y2K86oNi9FKuwlxSJeEdtJ
qkD7isTocxysKy/I9+u8Zpw9wIKwBGopaeBZJQb6lwSBVChzvLSef36CF9owmnH2BMtCVya9bGLP
fOpd6jleaENFWBNWjY/fAd7oXis0XhiLxtkKnECCrxEIc7LR2lsBjH5lEK3GefvKlSy/+JupxDhb
Zv1y7PJJM9nWbab1sn9MNlQAhwEnJLp3EiOoBsPScfO92iFbu0mvNQQvvATGcsH/7JizQBcEszMC
byDrYMrfFFQNV65pmQK+u6azJVMnx6tXEtrj6ob4ITfbdO641ux201yZ5i/99rOFEgNxU/QaR/9Q
I2ytAUp5rfErXfjt5tnzziNI2rUiBsTA9euxMhVM5aiCDXIaiARtMJf7zbyJoQfKoXnlhl0YY+bZ
GKh8Q0cNhudDCW9FATAfvrdJEK7smS59+tmDHhS8xzAeYs8PyPZEZKNivbTybv3z017e6W8etnn2
sPMe3pJcazTjpEjZRnjQYAOGA9I9FVaNEO59g60Cws8YfVPq/PylFwaAeTYAxHwM5VlkgolF7Q1U
+07PrtWs/vasv7ugs8U9NdUpNayMp5GRq07g0GzOj7o53oGRJBJvwuwxvcwt8qVRBWQbMqU7BThS
vUrvzVE88DJ/zFn5FqfpfkiM23ysN6IcuT0eCoF0zESuPVXzISYCTMBVRMkQwOhtLpmUIlkrMAGR
zUxWXhKAq1VAeMmyuAkmACE/37wLU455toGAn+CPDaIYL9KnT7aToALaR6umwoun1plRvCm5sPn5
u/6W+r65m8bZ3SR5FHpWQC1kukfP1Duq3e3Rnt/52+k43iB/tDZL/0m/69+ufOOFzZlxdnn+FMW5
lA+hB4DKEdep42/bGyw7buBeO4v/rQF+d1Vnm5+cglTUdP0iohmd2UkdQnIWo8iJu8lVrhfVgXCM
2ysd+wvDXT9bT1OSJMQBPgbvGCVp+U+b/LdNnH62jgo1qWco5ANPH5P1hJ6rML5+fgyXfvLZPBqk
AtFPJVtktcJ6JTSuJMVXXv4L41c/my7hSBGd6veRV1f5rRkOdhzinYBJ1yq7svzCsvjzJVw6TOhn
M2dusckYjaUr/2xu0Pt7lq1shPu/7Ws3vjL5X7qa5Qb+sw7n2Rwg5eNLhFyxjfpx0ee39UbHhVn6
PoF6V4qdFwpWmn42ZwZJnfuFEjFR5+wyDSt4qFKpJEMnMt2wD2uiJWF162azJt5mo4rxe6z2O1UC
MtuQbqpO6NiHirgxQ3y4coMvLLb62eSgZ7USjCXTOP7ZXS7Ot1WQu0S0HXXW1lwpHyOj2o1oroBW
XGm5L+PvmzdXP5sdQIMXQ9lYQIF9UhNLjTwuwwZpTfwCuyD5989Xdmn0n80PgTFMWVQwRMOx2vYh
Vq7QaKsr8/elcamdTQdVI6oGmYDCpn/Vb4hm9JSTsB8c2aHMeXttXP6VNH1zp7SzuaG1TIpaOujn
AdwLKnSL7HW1WlbBQyNnB51cyjWws5Ovho8YF1Jn6GUnb4odPALRiarmWJGWRYuQ2G8hbgP8272/
uCTjHebzNxUUNDLrma5qAAqyErttR2zFCgYLueHg4u2u1b0YHPFNp+QQYE1lXwy5gKUMzMrPj+nS
bu9vJeafl2+iV9pC52I0EPi51jSdTwdAG7ezb1cFOvBcMB+g2wfY78uOEkfl/fzNFwaIdjaHcaJp
pWlQI28iCabJ3rKrbatLn3w2aRXaqFvlAjxTTCBrVqOQvNL1KGPlDySALwZMQALLOWTMXmxg82Fb
gs4YwEey2O8wlV9b+S/9kOXv/9xbclL6WinY1faEd63KN+UWIiHhYrZ209+pnnwrHK9Vzpa79t1Q
PZ/aCMLsjVrnbmqZneQPJjyK0HgN6v96LWcTVWZNHQiJZaJy8p1ozztpVdjRRnifbcVOHJJynJ/H
xaWdhXY2PylEWyP4ouxK0FlvdyV4WU270XVk2VF0bAm1LVMy2wWjQmCDXH3Qs2dDIItHCXGhBiBH
JO105bcsV/fdbT2bxTShzWNV00KvBD052QTZrYuNcgekNv+APeB1V16GC49PPZvP0ANgnFG5u4WJ
oxmbGGEiqyB7q5qXK1eyDIRvrkQ9m8u0rhjJr+Mb0p3kzk59CN3MhhNoB28UC5xrKptLa6y6rDr/
jHkrJ9gTlG/kBaO17X3iMCkVZHjz4D4o8zuKhG0v6K48lbbRkTSsM9n4aZCvphAz5qzUeFzzHS6I
8soMd+ElVM/mGSCHqpyRUOFFs7LDEngiy+jKUF0mlO/u6dlEo8VQjKKQc5Ihh2u/792mxIInmFd2
X5d++fL3f25lF4olDCbqi5H0CINzSsUrt+RSU0U9my3QfdR6mbIFGGx/s+jGOOSrTueoSOBJ7fh5
yF0a08s79c/Px2FGvJzMSPBlLOb+qNz5JVxcySdbb0yP/+1LziaLWTL+h7PvWJIV57p9IiIQSICm
mEzSlPc1IaqOwTvhefq7qH9Sra9IbpxJR3RFNyQyW1t7LzNqcbksa2gUBMzCNRvC0vAn6quny29Y
Fu5PkyyFANKrnQIabeIzlXxCo+OY1sqCho9vFW6Bz8mGeWM5rQyYDOe3WoWklC3LqQIVRv1kDfxO
p91c840EeOVTZEy/GKAYo9dN6kNyAfZbACdUbjZgbhJr3xbz1upae40UAlKQVykvKqzbKn+1KnBt
oON3YCI5WBD7BGfeYbW6Z+TD6qNdz7nXD08KUGpKD4M/mCUIAyUTNb6+PH9royrtf0gSNBQmUygv
gi8ISf0dtyBYGr2qW/2xlSjwVUX5ts71XAlLUyDTRfcT/Y9DSp4BVt4YzLWHSzGADzDPCkyAEsAO
toMOCquxBoniv5fHZiXCyFj+pqI5n3WCKrUWfUCrBzYW48YPJ/raw6X9D0QYpR2INn7LitoFbBhd
uBCNoVBHnaXWE9fo9eM8x9d9MjW4WOmnrDYfyn6GcYLYg3t9oHrInUrU0+IEiP+bGp+VMu9yE0aL
UwoMHKT/MgrNusgikCILftOUMHvCWZ2McEFNiPWRDRq3QwvMVJ5kO4vq7yoPJjtXaz8Gy7VJ9Gce
RHdFUSGtiPmuZ+ZHW9a31QA/gSQB0zaCjkrXFb+BT38wDH7WYPkLdMuNUkYU3gQmXEi65LNVrLvB
gvglZxBlhUiVsFW1uJ+13M8CeJOU0x5U5nPJIT0wWXBJ1Mlbl1EoisHbKOqbP23OQFVVy18dHOkC
Ol81OQywCAVlv+hw71YiICchz23DIJo6itpCWC95scLhF+6w4PRV46sCQzWXWObogFh8P0LoAiom
sCEEWXRR1gJ12mxacOwg8luaFBCkwIJeFX8KQ+u9bgNo7UPnqptfx0bA/cF4QZfzJmxAAG+z3tNa
9ZPEwaHsVdgdY0E2vXlv0cwzQwiemeH8u4DoUae2bhipuySD2frQTQ8N1x/jOH8qe7wVQqOVwxJl
Z5og4ab8utDycsdrHZrvRnSG2shJyduPrEmORSPgcZF0KKBCQBJNqmbjVFpZlTKfwRy6hDd8QKLM
4QySG4CQgEG58fCvGvkPh4XMYsB1BiY+CsWa5+TBgoHtXhHDTWXAB1xJ6n0VQS8ARVtXK5PPBj6m
UEMDSCNoX7QQaosxnIUgu/xLg5cvy6AzoKrgdooucqlVdA6cLU6DMQROAPceEy7Auk5+BV0GOfZa
g+vcBEc8dJXBWOcwJLP6wZ0iDG3EiVuW0TlVTdjAG9Mi9LY3YD83JONJaxMGY7/0rxHkDDhINUUR
ZPDC3oLx9VC7k6k8m8EEXQMe3yaGgLsBbgH7UQkGN5mhJlyOJyogbaPn91MT/lba7FYkplN2HwX8
6ZpxfIVvGhQUkvCq0bKbvifuFOqfumFCp2WYd4aSQs1ImWG5Ij4Zi38XKXSsYiI+owW0maQMoh14
oJWFV0FO4/2YsZuC819hLP4kAmLo6oT+ft4p91ajbQQvuhJ2ZVC6QYpqMCGl4o8520+W+RSATwvl
IWtnFUl0AAjaM3MIBUAGMddAjGug99rMKkTXsLczpj8riycPCrEPswkxCsqeujR5G2DKC3mQyAHf
7W1IJ68qk5MCOmwHRl0Do3aI83F4bA25l8/sDLPzDyGiq3qClCG0bRROwXwPoHI30cmGSR3EuCFj
kbAIYnU8hxxRfNOL9F6r6JM6NQ+Xz4iVWgs1pSOonGHcAWer5RY7ebkXesEjLJg9qH2AAAT92Muv
+XlfUlP/b7bIiQHVxSED+ip9mcETt8ytfOTnuYQLxH+f3MQx+pc1D/00xRFtPEJ+FDYBxlax/ef8
gsrF9inhuq6yCe0yd3ShDgGtlWPgmh7Ur3bEYU7mZXcxiNve5XFaActSU8pHJ7OiWmDhfdm5Oojf
MEBw4TEWOYat7MUeIln6Rmq9Mm5yyZ1BWDpudGBxWugk8rE66whG2rBR0P85SaRy3T2qywTqqwLn
iA6bstk8ZGggGHWHiHOVq/9GjKKGlIrGk9bWnWYmvqFFV2NL3LkP7s282bihfZFHfoj3unT9KAca
AKCGtkQN8oS1V9lO9ZYZgX9rZTdu9Wz+nf+iIw/y/C0qQPtof3kV/Lxb2BeL7lvOaalq16ZKh7mp
ERGb4hjN7W7j0T8vaCZzCwlMVlK04WJ/VAF4okqQAkJoQgO7Fs/wlFKdMSofprG5zVNYUujRXQel
AK1RWhuixp9tbdwbafGmzu1pgp9sB1tWxsE6CPIUiiXj6DZ6cRXn9NqCClmZx7AmmisBnn8WAmvS
gAVmqsSu226vZf0j+IeDXQIyCRs09iQa4yo3+V7RYDTdQXYbUrHAppdQ+NJH6P3i2nGv0OIJrgFu
bOKwmi1zYzesjcry928jrsHCi0JODFEE7xl5/6eDNEJkFS4cse8uj/zaK5aN+O0VZgOx1rQ1AH4r
7gzjqQv+hvSD8XQjOVlqST+sVZkBlwcwD+IUOIsYAjqwq4+fauVvYF3B+TyqHtJu696vLYv/pxdJ
oVy1DMEDkC/8qK4BTKyjRT0PcrBTVl5B88Jr4HgLauYB1IK9Uczwsq/U+6pBbkrz6PcgxImbWBHw
kU29QbeUo8HQqchQtoGQ8e0I59DL403Wfqh0MkBgyxr0nqLSCKQ3GXGMQmUfQD/B77Up3yVFBDFh
8qk2xgeARAehb/EQfg5+7Gvkvs10Djhlb0FV1IfM2ntYIWeeh6fSItfhUDxBGG8L0v6Vd/4wFf9D
eqNlSKsKrIRmyo9JI353Otfsuurwjz45t6o2Q5waBnRwPy8dpbdesyIu9+M8GXtzKg9FpZ8RQw89
n+9KlRx4PtR2nS3CYVDeCQfzUDbil8r6Fwg6Qg98RODrp12bUPfyHP18CDGZWwdN9z4lOUrokHDS
yncY7xXd4fKjV2Iokc6GQpknQosRQNoA/cyZeGGzRcxZe7QULKAT0xewoAflF7e72XiL2UadeG3J
ypQcsKpgtj6WOOrdHm13mP+cQnCxobC0V3aXx2UlTshsHEpVaGCllQIh6MKGXFtcvUeQ3k35DexL
h+53zouNnG+pPf+0OqVAQSGwGZQJHN/nwQwPYQKXYQhzdzaYzNeBEYIGWoiHNI+2UqeVbfeV4X7b
dlnAimkaisRXj3oEcqJfXlOnceZT5Eaf6CvwYs//gnGEevhWD3Elpn/N47dXxjWIlj0DOtaCLS2H
QUGZ2hr1A9hCXZ6ttaUmpYMB1BiTpgfWg4DZGQUnCJhvzM7K1pO5QZMRQyFNj4Bt7iYY8hCIWtQ3
GiEbO3utU6BKHQmYJydoKaHc2ULJ3k1rBztxD4NyB568HkS4x2fmVPvk3zImVdrt5gIA45AZ8QUu
x/APhijbFh55baCk3V73MHhQux6CZ+H02seJq8fRLapMG798ZQmpy2u/LaHRmKgB+V6c22J8YuF5
oOcY5WgNKpKXl9AallSmDkHlEg1rjkod3QtIapU2ZD+PEM29Mu/mv82h31dP/zoN0pa3IOiBYg5q
wwO3QC297/PnjY9YnvBDMFGlw5w2qCj0FYZp3PVnw7Dbh9DrbX3PjqEzLXjYzQblShiRiUIjD9SO
Vzi9B8s4p6O6YyWAXUGpQY10rG/0CRapGmudLGuvRgtCBqibwBIoVB/1SNspE7xlQObuaHfWe/J0
+fNXwoDMKxpamsQkRHoawgduvKfGxuL7+VupzCZqNR5oCcfNeayHG2Mq/ARi4lak+tSsb3WTbMze
zz+fyryiLoUvJ6MY0gIShG3xrPXO5XH5efOAXPnfzTNHaQabrxxm1aECBWiL2GYKizEQLaEdOG68
ZO3XLy//tkPZ2AdmsVRIFFbt+0USjte47Fz+grWHS9ufwgIGrsQYGl1oezOB6vusmJ+Xn702Oss7
v/3wAnhVnkIHya/h4xiEtRNktQfHCE+Bu+vlV6wATCiXdvzc9pXCBArG4XV+jfLRERT4V2Gnmy3n
tQGSNv4Yd2Y+w7vPV5PfkXXaFAlae650t8cPRxFu0W5hgIck3V+abtw7fj4vKJeO7KGp5wTlj8jX
wGNsYfkQV7C5ircygpXHy9wRXudZDMH9xI/Us6JD0sArp/uNyfw5yFKZNwKBcpONZQBkqXGYnMkD
b8RTvHY6GDZxLD/dbZ0TKygQKqPQywYOj7TCVxRnWBTv28fIWYStslPy3Lk65HPE5pm0NmDS9l0s
8+BXmMZ+hw+Cv3oLg0Pofm8M2c/pNLWWt37bY/AimmDHUePpMf0USvcIBYLHkMDcVK3fNNO6ClhT
wuMKkieBjp4LnB8qeISEGl0E22+yhMANeAmLgxbNqJMo4V/4fm00R9c+XQoAgHvlENdDFU5RZieI
/hQCplrwcdz49rXlIu39OOWdkgs8fvHTsBf8aOX3qFSOgAdXx22KylqN2pJiQJU01GgXAaTBGTyo
92OtjH64Lw+lGz9sHvzL0/43xaAybJyhaZHABhL3lRtc2X0IFQArbmsPrWfsoiMcgzeGbSXyWFKA
oHDfmOsZ74FRNuDi8IXxq0/IqdAHINf2/ABzlX5LomplBchEpRHWkdaQp6i7V+kzktdzUUTHthEb
ueXa46UkH1YZTIkrfEofjT4LMrujYDz+W1GOytQkqNiODESIyA+J5phxgWs8PGOip6l+uTwVK5tX
5ibpSRWNQN4Cl0Wnk0HIrgbCc5ggvDuVu5yUsJ4dTvoUb5wMK9mWzEjKIhGCkoqCVKk/TvCMp3BE
7Bk0qCHB3ocby2vl0JfB4zE3OfzE0Q8ppgcKO3EgTmfzNuv/rcNKZcx4ytKBkiZJfSu4BknU6dV/
47zQLzbjt1Aawycw0QierBbtmde9q0Ck+fJEr503MjY8BRxVn5elhD45e4194gcuWni/Blc5FtcM
JQG4D23UkleuvtSQwlVPIIXPLZRimYggIhxY6LlbYB2j8Kf07V/UJakPpI4HyWiYr+awiiflexoK
aEZlr30x3k0zrH0V7m58/ErAkSHhxjjA3TODKsEAGeY9dO1tAnQntOpCbz4mz3Sn+f0Wd2EtITTk
6BZXyciheOsr+Y0+Qn81UXfWeAdhk1Pb/lJNuA/ACjbdqjOsRCAZKp6OXdXNy6IJISkFmXkL9oqG
udEAWhk4GSFOkJ3DWkRZKsghOu1M92KhPl2elZ+rY1RGZuulOpWlUSLXqiConz4WBJBQaOSMoRuD
Twb5r93lF62NkJT/tBE67oaJGB0I8F9mhT93Va15tDQ3DoG1UVpe/G3fQqJIG6oaXxLkf1Mx2EW/
UcJdO/fZ8sZvT47zCGIX4AX5xrvqEBe+ix4U34cdnOhu4Oa4ERzWfr+UxmhJMo4TAdkyI1oLQe9B
wL4i23j4WuRhUjAgfVIPbQ++5aJ6vsuFk7nQoXTHCYkSMMbu+CfzANB1L0/22rdIt5phrJS6azEX
aqThVgMtLLrxIV/giB/SIyZtbIDDc50loFm27uARN9tpfwkq1OVee1qEcBu3Owev+Zu4qxzloGwc
mSvfIyOne2bABLmAwFZnaVdJhPs3QI2Xh2pFaoPKmGnAMPMp1mc05LTklAqIaluRW5TlW4DQC0Xu
fQ4YQRzMEBiYyysaBQG0+2FqWCkCwJXm1khUB4Tz2RMcivwpCmuXf9jKhpUx1iUMh6BTusyhpdpa
HDtBU8HAcFMd4Oc0V0ZMi0mP0GxdAo8xOBwAgCYvNRcCmppNOExNLn/EGpDhC3vzbe+KuIgyoPj+
L8ud3QWGHLiwN7MxzrtiH20En7XBWhbOt9ekUTjB5RQLRK9rt+TnVsRetlU6XRFSoDKSulIyq4k0
qG1MSQAvTpUfgjyAQZ6lwyUxUkCIhNgc1EVy0HfIGO/SctgpLdrqNQwjiiT5q8Mt0tMonLdNIPtg
AwCXyqLcDSqIqdaI/1iQk2kkd7HZwtF8vsk1NXIHUqiQcKz+mK3GHDpCKD4Nyyc6mE9Tlp30pEQH
Qw+8PgJyKwuqU2yii09yyPllZITBRxycywKuUyJLEGmgPyQq8VElQPPMLd8H5nTXF0ANElLewwzn
Rcmz1tOBRsOhMPzuKwOux1bwmLXZe2ugOtJ3mXkIJ+D8sdKRqCYN9CgJgF/nvCfghVboelxeNWvb
XQqW3AhHKqYs9ksVdmnoGHdbafHak6XAWGqkLfpRxU0l0W8EmR5hcfF2+UevdMTRQfvvGoSZeRDX
OSjAXXENcOXQP+mZM0B443nGmQX4vTu0e8uA4+EB/wzMA0BnXxoOW1F/JZeQoeVkxtLRJ3SJjDbZ
B+FwZSjMbTPzZCnaoZ6yBiwaVd+Yo5VbjAwzZ2EY0cGaQXwVH8l8WykOPGK9lod2oz9dHtGVTS1r
xsN5pxSKMuEVQXlbUuVNacJdl2/ljCttVqpLKRGZMk0TJsYLvSm0WQ2H+AYmxdi1V1uUn7X4py/f
9i0wVaMAkFklCLMPPaoJxI9cENWOC58K6JVN9d61oZLiHy6o7VQjaPhqML1UoLG2Ab1l6Vbte+3x
Um5UCTXp8oJipPoTTsQ0Po/6Rl66to6kvZ4YlhrCtw/kK3qfjwIkZ8h0KNkOno3U3Niay4T+kLPI
AC5dGYrZZLj2wZcPStSnEVCmEB6vob6/vFLXXiBt/biymJZD/xQcoeEK6MwjSXSb6eYp48z9p1fI
gC2usFA1oqV9B1XLFjrCVnlTgTsC45nLL1hLs2XQtKUlatSTHHxzd5FoQcA6zPcZyGMaDBo2614r
EVgGT4tJzQC9R6WU8fxKKa1HkW9hPdaSbFnC3GwDBpn8Ep0OAXEOCCTqbuiZ9y3BLRdSsqUtZjs5
BvdbV4aVbfElE/ptc6fwltZjeCH7c/cKis1+it7gbr8x4WsPl7Y0HRlEeSkePsH5CtR50OWAaSjy
jcevzYO0pfMCDpytsYjWQ/IOpIiTEjPv8kpa++XSllbiaaJWhmaQkR4pfRinm0D9/LdHS+c3ySdY
KAFP6Accfi69YlcTCG2Id5cfz38OFDIivBnizGhqVJhT8iaKqynMHBj4gHpmNxA/LAqPJb8vv2ll
jGTMlqZD/4BZKJoHSnIXKWkPaiQqIokoNz5lJSTJmKpYzSMtxM3Gp2rhFtp9huZfTiLbZC+Xv2Bt
t8nQqqQfYRUMbzYACsrrGFaWIyQDWx+2DE53EEczdQWq/1vJzcp6/aqyfdtrAROChk2X+cL4E+lv
8+Bf/oy15y4T9O25QqsQVE0oxhP+lMCUSUcmf/nJK7hhKmOswChQYJ5L8OiHBTZOgX0B1aXzYJAH
9PAChMZgFdfzVbwzYNe+9dplB/9w2n2lIt++qNBFOYOwmvro3Tmq19ht6uDOZeeHwmtHO3T/FaUu
Q63gVTkNBMo3PmCe+Dw4up6iXWtPO6RQobNdmllBOFIZYDVCBq2NeYaa8B7GRLc4nI4DbKYfUjiL
fjIf9ljo9DvgEj3SHQwRQW9x+FF/ynfB7MLmLH5QHi/P6Uq28lXu/Da24HkkFTGjFCAAsG/gMAAh
j0xvXCODR1iwdUv5cnf4YQplVFbHi0HRBqwcGBo3s9NBPX+HQgQ8M+Dg3XrIw/btVf9MIiewu0d4
16IU4W2P90pwkkFb86DzmGtg9mQjysPJCEsoOOkZ3uUxXNlxMkhLVbTZACMOcaOAi3kMKn8fbuRh
a49eguG36ZlUjQ1iABNgbJSbolusP6eNwtdKPJUBWjnqPrDzRfxpjOY4AEFVt40X8fh3Gep/Lw/M
2iuWr/r+65ugrPSiS4HyK0DFGu6RpwrWuPHQ7S6/YS1mq9KpP9XGUEUNZCa1u3nHhWvtF7cfE/6h
HlZRYNfQQQ6ccOO0XjlOZbRWAf1WHtcLI6eEnUgZss+Zw7/cTKxrzmDcnrWwMh4LjdiL+8hG/Ftb
vFKKQHseV/BhSP1UaZx2eIb3ZcO2dPPWFpiU6Be6zmExoi/k6umRw7u5iMjGAlvJv3UZhSXK0Gqm
NM3Qn1Gd2G/BSkUwZdANgy/spg7TV3L6v7FFl1FYZsREnlpLAm4Zp1ANIZTLe9Mtu+kvXIw+IMDl
0wz+sBXpPiYyPaAZ+lET3LpNFbYUMcxL7aAvXnBbeCoVUizl0R0Nu32YDPt8zuGSXJrXihAHo+s+
4lrfknhYuUrrMsqLWSANhBZPsXbDe5Bx9stVWrnKDyjJudtGOD/vQp0vf/+2C5FcNtY8Bak/jO9U
uwK4wdZ7GFI8X96CK2eZzqWEI20gQNMVQDLBmsytSbTPumbfWxnZEZG+DQKkP7O6DmZOnFkd3ys+
v6Q9rDshiv4Rk6qxLTLfUgoWYmL4KBKfUl7sUOZ7IvibRSCEOzExupoO1yvoxYM0CP8u2HFuCSH+
vL90LkcpXrMuaGEkO9AjaF12AQPYZAuosBKgdBlIxsd+5HmJMKtCT9jJ3shOA3g7cYUfXfeKt2CC
tvfC6pLS/jvXYz3XMJNXgBdGM6NvPerNfgtKl4F/h7z2/4f7xc+BA1Hiv2+Ka3MO4F6GUPjR1c7/
Waz1kNaGaNTXN222fn6OubqMOxOFAdXkYYaL9CH2m6t4nx90Dz44GyfsV3b/Q/iQgWeZMU3jOEwA
nkHp15u88VDcxHeBy1CHdpJrEEaB+hte+GG8vbxh1uKiDEcrNAuyCLNARMQkgSIEDxcke6MDxbEr
/ralVLWyrGUoGoroXPDeQKFuok4UG17PXuEe87DxEStRRdY+hYJ428zQ/8dlaXG/zOFK+a4NtvBF
iHxZO6PlC/RBS92Ab50ny5n+00xJgaZpEVMiDXflBtMED+wTDBwhHdy5qLWh8bKlN7LSQNNlZdQg
oxQm49DZVI/BEYhYDWar8K8Nj8SP991reEu81FUUGx5JyiblYmU/ycqoZlqNDejrsR/z+RwN2kkF
hfwf50qKCjm8z02DALugExtX/wltzuom3Q8dVCfs4lNH2T534bvA3vTHy69cW3xSdBAZgzTADHUR
k6PP0j7ocK2jxcYN9+e2gC4DzRotCnoOyzC/a2qAlsvkkIbRVVqAeFFEt1ArWHpLW+FhGaMfFp2M
NNPo2FdQTMchLSATm3Ed+nKx5qEO7jbZ8Ksx6tPME6/VoBhRqb8sqv1NQM7bmDqNrSz6/1HMzs26
jQkE50g7wFKIB7eQ9dlllQrPLPOBq5Fq9zUQuVVYvhQGhViI4c/TDNewttnRQSlBQS1vk4hVjihA
84dJzxFlUTsu2ldqKJbTFA6/4onuGkN03VJ1r+jxDtLDz2oPfnYBET0buCv9HDYc9oOGx4I3Aic1
nQAKE3twj7WnuW/sEC5wSkgfkwYIMEXFU+lcwSxNr0x37vLKNYLpDSEJLhTme5E3DkGzrZ4Mdzb6
2KZtnLmqwdDkVNW3qYauTl4RFZCX7jcct+F4OxwUEC/naXDMKoctbWweca7exAMpDyKYj6NqnOZU
vKVZFdmFBohvhzqEob4PhnFms3anhtV8rFTcRGDOOtgNBz+wLn1LtO8E/nGiNJwqxz1/4pEN0uBN
QbJjPmdPSBlfGOt1Lx+mx9gqvcBC0cPoK+3AqhauGWFvQMGiRfc0/uC8fq+A3T+Y5BjmSn+GBz2s
hPSgc8qJPsGRrIdwDNN+Q+oPeHUoXZwH2MHtoPZzyjWR7Aqjehsnyx+afKf3uS8Ca/CsrrrpEssr
lOq5IPlNqLLa7w0N3Oyqwu0GGZ1l0TPJIaKSpfk+ysFgntSjQfvPsc8BCRPRogXB/upF3v/SAwKk
Lhvq0xDmKKUYY7BrmwJqKSqIf9oUBi4orcIxm9A1JhPKxmi8GhG+1WyrB9iIH7iGeNj03Ust2idG
TNNDn92PrLhxgzk8j7MCZn9lPtZDtesGdqMrSmzXJn8gFhSRIaqM3ATE6WAETJRCdKbM6lMyp3+j
KoDqx6i4Ge/32kRPFHDq3QBwnleagV9G4ikKGsumEzxJy+YzFs0+zqy7GAIgos8OAxejHcTwMe7p
ZwawoF7Cx3jsWztIo9IGiOoGohVPWhHqEBfJH61qiCHYHoFrk1qu3ulHyud3pavvtKY7JbQ+cyu4
WRq3yFPfmRF4gDOdq1Z70nPxXNHZo8oMCYtO0Y+a4K9dr13XoboLhviAzsMu6kov6lHuhuIX0Ddx
7gEy3tssZQM0TMlBU+E6YKZdh1pLuuvUerCrOTyqSnLbBloOH3XojYgaEw1dlbs4jiG6AUsREQx3
Y09n28pTHL81re14IudKC361dT9ct0NxqM3qtxhrE/du5b6Bq4VeG4+MB2jZdWm3IUO8kpvJCLwo
Fxkvwcfws6Y4zVbiKQzke92IJkfplMOYKYMLWe192PHGu3yyrAR/GTyrAH1goi+MIz9UPaPGxCl2
Bi8XYbmG4ojk8/JrVg4wGUI7lVSvGrhj+Gb+Pg+BrdKzgArU5YevnPUyYHaCm1uaVBYSwPpx4vd5
uqFOsZb+y6InylxPlpYyJBFkv1RCBsj0fJqOeZfnzvwRnP4/mA5r87CcV99ulYUlWNepKBz0u+LA
XMQSJwSdAsgp8MiinXagDwgC7YdmR95WsXJt3KQ8JukqCK4rSNWLOXX0Sjik31hVK61zUMD++zlc
JMrcKClyPpN/pHMI983xlz6TVzSsUqc38/4MLlkPuVvmxrDe+YAk5Fbffm2tSTWYusmbeUxgVTHC
PyA0oS43ZPdttZXP/lzi1WVFFGBkCg2uUDB5YsHLZKT3eSCOOGz8FLZUYT1v1AFWvkKWRgF3xyyr
akKVXhudFoGHZjekv7u8Y9buTMbycd+WW1+3Y2wFHKWcqw62Ic2+PZHr/Ew8xBy33Ahna/tHBpn3
k1YnY4rLeqI7xnKvceDEpAADmBVeYC/4hi3riLUFJ+PNiQ4bGpPi1FR8eqx20Y16YMflqrl9pVi5
osnA86EPeApnUqyrAj70B9I0dkFumuHX5TlZwQfp/wM+T6ayaHSe+5VgZzWKqR1oDGXRYnoaErIn
HJayjE/M7Ut3TofY1WGG6/ax8mcC2MamA7V7Y/qdpoZpT/BsqLXqgZlz6vKWvOczJKMu/9C1lSmF
jcDipZmWGIemvo21F1G4cfZ6+dFrB6C0dbtunHVLQ6KhoGpuj7m5C5r8PEfsFNUmJLCgRG3W8DLU
qsPlF66EXRkXjoZnXY1LL6wQ8WOcinfIdzkhDx7SWC1tSti5J+EWDXVtkcpA8UgHCr3oYLQ5svwP
i7UPMuZ/YL554os9vWXkd10HDZLYfO4UWEIMM9/qjq59p7zfgwiibj3eXCkwCTfi/kXUjatPxVHt
2OzqSYGceSv6r2wUtvz9W3CB13NYmzA68UPrdc5qW2WQP+86J2qzrZN5ZQ2y5e/fXlGNBH6iFc4X
KAjTYw5P2i7xKKyV/i4cxAxOGqUfYF9sLPmvluwP11YZYi4G0eH6hTRpEU4GauSYVJ4528g0RyC1
Sjfc5ZU3FrvLq3JtAKVkwNJpUHTlIjgNNGDzYEAuTyTP4BRvfM7KwS+DzXFFSEvRoH+nIXseq18q
3zhX1n64dOwjfJlVXC9UYthpQ8vPLZaiiDG6ZPi8PDRrEy9FCJalVJQ1Dnetejb7ncZv6mFj1Fce
LYPI55EIc2QowaKEiWtWhnsmjOtwwb38y9cqozKQnI5jqJsQcfDLmpQ7BPr3XiW7qNF+d5Fxhrzw
gWbWPXQRnLTp/LbUd3Vc3NUdzFOjqNxHwHXNuI2yZEsTbyXaUikoKJDgNtUIlXqmDgdVC49RZXlN
VhzZ9EsdW3iqo143N1sqtiurTkaUBxO8EwVbiFvzDQDldp48Xh7ZtQdLwaCfKCVwOsfZX6anRIU0
wSQ2qD0ryR5dXvktzgi9g6+TgXJVIiBVWyrQ4xoSsPvb50CkGCT0N/7tG6QtTwPLaBnPCn+mfyr2
SoaNA25lR1Ltvx+AdqHZw/Sq8MEjuiqswB+Dck8KdhqGeKMAv/YKadOzSoxaW+WFbyUvsIWKw4dF
xY+2YmNoVjeOtOfTjiQ069rct5CsQhx1bxxwodj3vlUg/Fq27kXHuLWTK3WDEL3CTkPT9r+jBjlk
kzOouOI2Vl5XcG4LD/WhOP4rgkKX0dEjyAJZHZACjFgK5V8DJTIwx+I/lxfTSiSTgdFx17QD/KsL
v2YnYR376nnUNoLk2s1BBkVDSjHAQaQV6EKbtvV3eopAyE8P43PwGW5W71eWlIyKBo1bhQ3Q8hII
Xc/TM2lyr7GOGvzULo8QxB+X1fPDkf6lWP1ta2cRCmOMoYre19bZQJ9ULcl4wjxcq+V4JhPE/PX5
zsj0A58L2BTQYxxkLoUUaxakr4GZT6h8CpBJeGXrTQX9l+BQU74nPfGysLnVBrS8DHoTzdC2ZWNk
Z5O4NeYU1dex/Iyq6mYu4ainWklgl62yQ+0ptM0YDT+hogATQZYqYacxsvaNDjdhDhA9C4E+V2Hm
DSXWx0nXr0nVPUxQlHKqdnoYAS5GqRYGBEN01Yr+JtSq20ErrjWjmmwFlUxbGAA+cS109aa57sbu
yBPh50FyalPzFxvBR9C18C6ex5s6DG4JRNdQSet2HOaZRK9VO42K2C5icgWFg1tWod2RjJPiDNnk
kzJG6Tps71WoD58Enfe8m3cwhn2Jw9LXePXe9MaVUVA3NMrGrUfEh0oTrpKh9qnR5CUzI+LWqZba
vWYcgGx1U7Pe5UObwz4v+51HMXPSxDKhrs4AlmvbP3ljvQuFvQ0ThEqGur6K++i9bOqHNrXQLE+O
ylB1+6kYICQJdWcGZYUk1L0mRm0wNmBXNlbMCUlzz2PjmFpFaCtWpEFKeH5Vg3Ta8SC5SoOBL7Vm
4fUVuAssVNwmEIBK6vQ4aIbmxFP7meOzHKtlyyg3H2U7vFalehot6ybOWeNoJVxPq4HnzpTQCb12
0H2ZZhjOxJVdm6nv8KoBcivTUYTD1ZUSyIi2sAmj2njXsPR3X9MbyHue2jJ/C3Otgv/QMNljbIRu
lEWnEbpCYCrsqprnbvX/OLqu5VhxLfpFqgIBAl5Jndup7WP7hXIYE0SWhIS+/q6+j3Nq5ozdDdLe
K7YhGsC85kXzuk6omR9lLV49hmqh0Q8el6n97Fh9mpDsbZh1UjHLxzXSbaJ9g2G2729+FeHfZfzW
IL/m4g3b+lrT7mfZ+DtdoZobVz9pvXnMg9HeTAdEmGCWzF0qnhe0qN3DOF9o4740C9tVEf2bZXhT
Y3xqqvBVLUCbcXOCTtHqc1wBIjexQC1iHZ7Qpwx5fLDneAIj9FyNtNtNI+xJ7UzhG/Tljpvh1W85
emeGDsHnyHpeHYuewP6LE/KHYeajjsvvcbFB0lf+gQWB94rY6uvSo0ds7V8FzIlJHyLlTXOWDqV6
JpB3ptDsHeH5uVop4Q0u5yYba5ZalP9lPgQSaR35MNYtyzfHk1xAMXZWSBTKQcil0kUQckcKMcgP
S2AZCET5Mc3QAYMhTCwPionEOukG5zpLW6XrMmHI0vidSvLXQjHn+fSAiF0GsQZ2XDSz4H0oT+hC
xDzYPJYMTSiaBTCJCf6CtZRkHMFFHVN+qhsxohenm1JmBn2p3DJv3IAkfTzf5FQVrnR2nkZ/qtMc
y9JzUkm2G16OS0jIriXm3kjnhanL60cRR7/D6l23yOy9ofpyeclgkq4uup9e55ietqVHc7QIP+GR
2C0VNOZuED1OVYwnxkCHJKv6wZ/6f8KyvAxsXs/0mZfhc9vSBwTzgProymyaGSCJdkjCdftE4uJO
T+VtUvPLdC+X9OcR5Tp8E0lXgYmuJZp8JqjoFq/8MEuARYIcFGtyHcHnq7XO7+YVoqJL2xiOINEB
JSbNnMbC/OuszJFce88yUv/qzj2RDr1Zelrg6tB18GOCxilo2z/EIfvedBNkVuqT6tZrswYfpFug
UUCuGhLUfVGlwDb/mlAfVKhQYVEjpAWsJUx4gU7C0v8zdnpY5Zy5UiF/H7Rauegrk0N/Rv17CXGk
k+mYX1mFpJMNkbZE4rlY8CPDw4JTpGNopFix5+kbi2mO8PRPwufvkQJsZvS6dfa20Ci1U3kKFcJT
qvplise0qul+czkOgXb9HtFcriP0yuLVTx2qM2cGQES8MrUtDnRguzRmWR3Xbzjl86Zrf9Uc5DOe
EwiNnGLBO4uU1R1ERJmLql2BSqXFbYuN/6JhPjUtK7N61pnbtymtyXkdhqdo9X+2e/kCelEQp+2l
irBXFtI5IZU5Ix2sWKLmZ567vJL+cxvG387wNsK8yGlw7VaVBmo9hFtZoDcl1XeDAUFvGg61ySXo
JeiGOHFCnruzRS2J9ZJlQjcJ2dKlD9Je+y+L8NQDGjV3sKznXvsfAhbnpJz0lJZK/0xse9QthrXB
OTfmfiR1W2qJegIRmo2gNYRocAIGY8K7oUCzX8qZaZLWOthVIRjrwvvRG+ZTrbKqmRKkm8LwW+4c
h6jMCWWBOOTnmbBdzNVxI81P6emslKWTGOYex9IU1q0fI0/t1hhfMuHeDZLGQpQ07VT0AqPZ0c73
FBSygFIYjy7BhWIRvZDQ0LGoHfRZvkhUYQ815CwybFId4YXGve9hwd5VXgAlja16BHbhUbDo9ESi
gWfII3y52QiWeYu6bJnMTzzHWdQY5AZcbSQS3/wXBuqpFBe4UwtJgn8CPZpYyTLfrT6lLwrCyKMz
e1efxo+U6E+wmLd+Rs8VXETBpDMRcVCqSBmtt70ifhIiIWAhtMlEL1+JXFMb2v1QdTtvQLaaCOuL
ZcubREuB9Vof48P8Kdr6qdsIGqH8ubANOW8hxX8+/WtwaOE8n3Piqae1pId+mPAbwbsqnfhOZp+5
jxetD4Zf5fL/RiXONSXge6eEW//s6/59qaunMjYXC1s0fml9GP12t3RiF0200OP64zrkEjog8VUY
o1tje5Ag/0FGbCnmnZ2cgn3jyZMdnG9vqfE5euxl8oKvZg1hCKV1yn26ZaHq32hJkOY9yh+3lg/+
PD2H4FP52og0MAIwlGhQx0nafFTx1ZlJMbfNJzHsGLXib+yYhmTQ/QhqfNEI10PNepm4Ybfjm4Nm
hQpu3TvZaRYYNTFUjf32OAS8iDv/vV7cfBXbrQ3A4oeSJGtHnhq6ZpI2oHwReOSIfTAMQ1aq+iwc
1AzULmKy4wEsKlE/hC8npzYFouTyzUJ0O63qhMKKcq/rNfoA38uDxIxoroEAAD6NuX8k0OgmqPXY
mXi4GlyDU8hfmhHYmpr1XmjvHLAYKrV+eYRpbofewjnvqdizeED9egBtwOohmIeZudx1oesjH9i4
MNK79W0c1h6sPZZ2dJRk68CWsw7YZ1lKiCugBq5W/7gQTbMpdoL7rFkN+wFlfvWy/Bu13knP/Pmy
+t6sP+Skc0dsuZ5Gr58WmaHqUbT+LoR6uF7Cc63YrR2RAcn49iZLyBM7qF00KTPdsDWben7x2Ri+
rpaQ09ZP6g9/PCX3k4+rvskoZv05RO+50Nd20TeCDOtuMxex0ZRLsbdW7Ts+ZZMrgT8Mp7UPq+Og
3bpgUgY58rRSWm4vaq0+EVTVg0Fv/vllSQv8GDhixntfi6twGJohM3H9HyKAoiwu4esnDlNJ43O2
l11vUjyQexJpkNAYwykvcNG+cW8bEf+PKbYLzyXKXwfroLXCLaamx3Ziab5u7dHz7q2i8Q9ro+PS
swOnEfLpmfc0EOfK2gDdMvf2InDQZ8bp/VNFOKca0FzdvjeVn+GhvtSi+pk9N49htV1KeRk895/s
u0u9qaIOIYiBwqFNI395QZVugSN/X66qTZgMkfHiz8eVxF+xaGXeT577LRZ85bRWS+4NLvo+xKXa
utuoyt8trBF1ismxk1UeAS8LRvos6iDnm7cTHT0OY/9f6VGLn1lAn7DazMZm54T2Okj7HGFVEw37
HH1xXeLBw6rhG9QuolvW2OGEFPQcmfSpMWrvLrht3GHdV6VFlNfUfes1PgD7e2jIlmuDgh93s1Ne
ivnKe3QRMTr3qVDDjfp+6vf+N5nw6cO4f3RKY/bM0XPhdVrfP48RVUCoui7H17VunNwzdCpwUiPK
RaEOCfzrbXOcteB6TC3wMOI0T80d5y0j9J/YTgBi7itV6AWmRHRSpvhec9+poPa15YOt9PtSNQ8e
2ndyZfStXMNhh/PjbNHi8yG5/4h+kO40NGrLasOWpJLTvUlktHsqLfaapoZZN5qOccCyDSnPCnL8
BC6JtB+xbSG1wi304Hrparcn6ZsLD8MVQRNey3c45XFBIvaUG8zgkU5K4SLjQmAoGCuGtKoBVSlQ
huTagUvB04/VEEWPzbS8Dv/f4aLPbiHNm9PaIZ9DcoStrqiI2AUzqXDa21+MajctQl4saHjlVf+i
UQ5aDxBIAfs/GMP/OJ8fthWjDdoBVBRfqhp6Gzbhk5sspJPIQQUItdsqjpujzPCpnwZPHmDn2kG7
hE4e93F09bFywOb7ZZ/jBXiZtvqEk5g+LAbHP3gLPS8HO8b4VELk1TFEnTftsQaXFpMm7V00osqo
JjkkjmNS1uUbGowRK82no1AU8vkmNkU56u/VNrkXd6lTVz+A35EvaLFNRgrxKJCgTdN4BjZcUNK8
1OiQIpbuevyPy9HFbeifB4YbtfT3dYV0Wewt/8pJfeFQaw7CqYMnrK71hcL/dHS1Zs+i7TOnA/Du
RptEuQJcZH547vqNJc6qIvTuoaAKwiu5wCxktJ+3Y/kA//B+8+PzxII/F0LDGu/fpBBswk1B2uiH
b+5TgzYu1Jz8oSM9zlGmVjRd/2T1+NQYUl20DFDmM45X22C/030c2XQT6qGMKnAAM4+wsfpxhq/1
19W9n1F/2zfQCmV+R09x10c7tTJvpxoe7o2pEZrimRfbbpcJndwQHj2TRtyzdaW3XyTiXaK6OfSu
kyOmLrxNMdjPNjYqjzTWpcjKg9zYl2+tSIkPfZlqu7yP6odmi068VcjXkVYkTTfsONLi5nI82Eru
0CX2YPzuB3TPm9X6sPnNbwff4sax7VceUjImzCSTf72nNW7LkFeL9+v1zSEQ1clXfsa3lgDEkW3C
9XYigfl2QucJD/q7DMuXlocIjbujHtwdcw5VpTeHY67X9TBB/8ahckM3Lc5QgUCOYULx6TT1JXZP
tJsRFzdVSy+Qiy01atDix4hbCNaGl14MAizO9NEFeGeVSQa+fbCwvvqj2LvBimyQeO5Q34GUySrK
mh7HRxxsZWpCgpY1Cbu4sN8W7XVJDyUjJIYFcZcCO8wjD8vETsOhNs0V99meMO+t8qqX0lCsf+x3
ZjwETSDfQwlOPOwvYegWg79lHMdNGrigrxCXp3AVAH3pnhaPXPtusBn4z4Oz1AUW6v9Qt577FNXl
lKblVO1KUT0NsU8yFY2fKxoLQFHsiOuegrA7NXP7LybzzVTJSpx30pTP6EXJZkwyEDOno99YZFeB
vnGbd8SlwdgqH7etzbWPXrKBh30ym2DXVtsO9FruoBQrWtlfIz28xzg3nNm5qDB6F/3cFve07YEJ
DCy+3M/Egg9mC6K9QqyAtk2qpZ6w23UT8lNc5JarTqTdHGETEGBoTISK8Njj/xwPH7drFuhFFb43
N3DRkyvIpxBeVnb9tSUbSOYovPdhRsueMrSWIN+EXw2qXY7Gb9ck1jJCPaL6QqVXB7zDz+eRJI6c
JA4Dlo0cTjCuhxRt0X2Oaqpi7slhWZcCw/duovXVMuyOU929ETNvp14Ep3itvlYrLxHs9kk7AdWb
YzC1dYDPTxN9cofqvKHxnBM7AQpwTe5YBzm1Mw2Tuos8iO/8AdV7AVydwJOwGrlfHpSxO7lsRYSK
rD0ksifXG9IyIodwHo7YalCU1x6xj71CptCnqnWfKzQKY5xDG2w9fEYOiQFfkGLgcYad/0GZ8uqi
kiy1ch5SujKLEjD+ziNw43Lz98IhEsLx6IIAm10rHPvk2/gRotDhwIgbJqKB0m+dvZPCQXWeWvun
+djjJoS+Fx8zNjMXUsZurc9z132V4/gudfwQai8LQ9hnMLHwrX9hFf0wdfuqYnzEvh2QzjeWcx4z
fBcIgcSZK3eqAxS6mPEV3+xx9IcuVwNuUTmGbeGpEVVAvNwOwrgzFLYxxnHOm5Stckwcvdp0mMRT
PIrLWldH/HD/tL+pO8Zbp6oiH3GHou+oxFUTuMuvhPgXYtA4LHTnHhsjTlzxT7P1+6qvsvm+pEn0
7WL3xrqCvbd0cUsIByGViKsCypMbR/0oJ7q4U3VQOj5bvz2TFvPS2s8T2gHBpHQhy2C6TNHMcOxn
gNStxQsn1tGBctgC6puuDVoXZ768tR4OPPyE9x1aAVtazlLh6iRb5Cck1JcBMDkdN8jWxu5qhfxZ
DWywLiDGicYoMhvyOHrpBuA+YW1zWcG2Gq4X0fzG3M2HpT1Rb9g1Ag9EDHpBydQqrMHjm3FjYKjO
1cHsPuARWeY57Tx1EPE7bR49B1VqNcqwGsjJK2hWl+qwBj+0CqFlz/z6Xxffaq9PG9LlWKJ3sTgw
RNUY7qWR6c6Eoh8PpxjEXYbh70bcJ41EMQCTrfoobQIU7QHsbWRceABK6JAFc1yMJWBCdPUsEeDu
KkOnY87bNuMBAukclFY2imVqC3eUXRmqB/SYk6q7KALclYtflHCm2P86ZFD4v3U743yBUIP4XyYE
lB6uP31cpqv7bcdXTHJfNbWZxinEoEKik+OgcNH/Xj1oEmPzBgoi6bqHMWi+QL7vCdpdN2/Olg5n
RGBeTGCu/sYOwKY/qnob4TJzd8THT0YnxD15NBmXJmkCZJRsDVrETXQLmm2/KfPVcBj6GrJ3KwbV
j0w1d5N2Xd7HmKYAdyF0ByrHzFcNjWdbfsZNc/Ckurg+/TJt/OqLMxuetXcBQlYIE/2rnQHPatid
FT7neR5pOi/jCwSdKZX0Dfflo+qhHOPO97z1r94KoLML/hsw+eEY0p8hFObjZFEpqi4taYC7jBmW
wwfaBE/MWfHkwRgHmgJZLlOT9dJmFTC4Fsfk0Lv5RN9LD81TrkRzVZ92DFQZJc9qJBkTw7OYut1g
vkgPAlB4+OT27vatBN5ePIY4IfIekQnN0H6vDKAmDCwSt5qP18J7Q0cmijJEgUsGVz3QfhzV/bRg
fuj9QxfCyEO3G3SwRcfivcTrPYowu8fyEBg7JHl38c3GGg2mbYts8AqfkLqMhGQ9NvxGzQfXQ5Mo
uBxApPi+vgVSpIb5rR69vGv6vxIBjgDv03sTgAf5PgaXU4wVZWUHrdcClgqHOM+yGp78ChdFW/h4
h/kUnTpnSLctPgyozwLeG92rQ58msA/TsqWeRw6NEz3CDJAsUieknJx0Mt0vXvMTr8Vxdv8Qgpar
LtrXLWq8DH0bUY3VmjDrUCaTSTuOSa+hAHSbh2VFQ5iSnwgCMSng3nfpu08VtPyJR/nTJMGSReOe
gXxHRcs25GKGQwPNwQkt3WKc3S+DjsvGdNDfVc/DgpO5DnYiJJfNbk06e8CPcbgfqPwZ2uV3DkES
0ayZNDgqqtOtKTHFIlmxA0yFPIQN+wPmfDw9UfdfSzT8kiUcPN/URbErfVCVgQ/rvDWfQ/RfY97D
MgKUrZLZv46tnypdP439a+V2+MI2vGr4yK2bRBBuuPiMuMf2m1XIf+O5iD88hGw0g7jEuOihJsQv
ZI56CK5l/RNSxD+EzkmB6gbO0VrcI379MOl/Hs25LW+OCQvJdoxNOOURBOr4farFc6XP3lbe2r77
2coKLTMT5m95JmKI0oGo79KZErQdZB1HSLV4tT5eL/8H42HqAy6OyuWRqBA/o7OL9Hu0DIlQ39Rh
acXnXBhEUJZjKhb/2A3At6S46oEkmFOBAFUasO27sj5GOA9/W5tKn+LugL8lfi7ZY9nCJnC3SbVB
LnX/gK2CTE8+XK3aR3mba9N4wf6ypb57GQR2pXrIKcoyRwUvgIRI5hhJ5NVF7D+DmJIZRWWGo68e
84rwaYHbGHWcwa7st7RbQDPM1xC1Zlhv+6jL4b4oJDLnVFNeB287emsFKdpHYOd/HW7xcFJ4txB4
HuwNLbG7P3mVe5qqec8ZOfAA7ZPVVUsHr/uXbW8UkcAd45lLkNMW8lPtkozWfRoAaK44wv6qJcWd
+4IDppgjf1cyWqyAV6NxO8dVjEULk6kEvTHXpxGusRUWagAwh9DKXS/vXeL47jYsKiYHNpCxSF76
/j3EFwHLV7vBMKIy7kEK1D3aKngcWnyHoUiZ/bdWPCH931BjSZ1q1NI52cqfNKARMHyJWe4deh8Q
+ePmfzbdH+2P1n2N6qGQrp/OChEZ46Gfg6tCruU0giGL/1BkAaPDU4WpZphQJhm8BDiww/u+YGM8
9vFOk+pklYMp7t23fdaNskCAaQ6/AnIVvwHp7/QiL/jjfFVhSjSA6IletgbtppWHWWkDXWUGFD4D
lWHvPvwsYDJAR4AhQBqeV51nijnJK28mjHYb8EgPYQcoX08oxukhfNjqN9f/4/gH5kXgtd330IUD
aB0OEthyDGyHrXHOB5a1MK+DyMI3AXoH1nS2QyhNvvRrMSPxblJhNuOQaadPOqOkdXhzcb7O4Xpc
ogpFAG8dLv/Y4FDwEI7eJ2rBe8kBL8zxf9KU+5WuH8DikbsR4La+5zdOJ2qiT1/omyfIM+J7sM/B
kQ2yqU2aGeeHHT/jDRvi0CDr0sPti9utBmjcVeAaqwGHF7plFf/qhZkT3nC8QaObcH+6Y1/HCkwF
2psLG5kTEupw8q4Fw0wEKCuJwQR57brvNtQPgXkwUXxAokIBRxJJZ6f/gAzUx5RRevm4AgSvou85
wjpSvdtlhHCnLsZKiSxyzL7hzqtqYWvsUPEbsj2aglXQZbWAunoLc78mj6hQ/UA6ZQJwtqgWe+p6
saOjuNJw+9f3olggLpxVnIBixmPUgVIN2l1loy9G+ywM5jyIcTmh2zyjigEhXx7GAfadan2B5+0b
26+zq2cEUWOv43F3DbiY8dbIJkf6yS8duxtH7PriR7lqgWchVI1VzgWIYLFI5E7qOFfYq+tRHXzU
SkWiucHT99hE/nVph+9wrn91HL8wT320Vb+7T2ntPOIApDuJeEQ7RLld/UzBJJZ0cn7GHvIYReFT
K9BYgKdJNNVaRAty2RvAoGIbH3CpvFAMCsPEEwcNmZZ6RYR/DiXDoPsU++OrgtWuHWDpcQG4NriR
V3/H3PXEuJ+NboAry38Z5vBt9XUxTSjZC6Y9w0i/GS9T3chTQ71Dd38MUdGOtOAUzrU0gHGsIsgO
7e/P2hhs6OZ8d8RfUP8OEH5EToANVqdwBM4synuAAhplKUknIBsYnJT1iGOAkGKS14kMskAQVJDo
+I4Y6XfpqC8dg68alw8/JEhLi7D2sKCej6YvQf96Ae4m/wJvHVLCGwxOK866QC0FRfJZIhmSjBz8
ItC/rA8dWZBVQ9037sB9p2LvThMqBjB0EeLFDUtIG/AuHdkQfEJpoh6cDg+0MwCVxfU0Q58Cmx36
kcVIToEPD+QWDAjcRcdDsI254NBNoIkVxpn7A16r+Dd2KdiMPmB4dqGGqAULirmsvyE+OCpswmg3
Q4lCZQpjnOW8whwZU7coo75J/WDTiB4ZkZDkeuC72+VxmWHzY82LRyY89HBsY8IFtD1VjcpWHLe7
MvYAa8G5AUsLdDYo6M047cUD2lX993Xd9vg0X1eJyY+CDDNIk8p7v0sR7AVFT4n5BEz+nNqaHrZp
ZHsnUK9gtoJEmGm3RB2EG66b4uPwEt/b0srzT5PwkBy1WKCCuNRBLLOL3cI/D1gRjposQDSPFurD
uLYwTrvzOSKCfNB5g3uKfHwWIizM6J8ID88udw6VrVi6UPozu+Z924D0L6SIVrpzeFRicJoPZMG1
LUC7zehn8gTmg6VZD/5IN3zXG1o9IIqIyhC8yoylqsmqFQhS6Lrf0xQ9dCu/8XDBEKoRAlIVrKWg
vILcNSGuRkDgcVg+y3VD6eAgUTBJDyND5rUC1tZOoBY6C5gGWyjyT8pg3k2Ej1BgON5VU4CQ1IP2
SIQRlkuH7kIALVj7+j8R4OJuS0/Aa1SGRdMztP2Bdiyn+ZVV0a6nWwiSvHpcw7DNRU+vrgZVMq/7
WtYtrl2+nzqbmlk/1TMcmhKEJDjXDBdJ2kTOEYVVr7Tyn5Bs+rmWMnwNGGreNx7uJrhxDWNBBjDK
YCzGyVRP5TWcWY0CjKaEphulCHKaEZiyAATGLLfKSqSbz1Lt9M9IDsyt0fgAYLJY/AAINgASWsJK
usIPDnfCAmdpi2ir1g8+osoWLWFgftS1N43MkGqZMql2iHOxIHlLUKcdfdpGTGEs2D7wJTbJOnbh
70yiE90kRAgA+Ctk4w8iL3vcD8Kf/sMekUkFeTDMmls8HqrBHpZhujI4c+stqi9sZcVAohczet+W
0ms7mx1++6yb3bdo7C9VVCscgZvz2K4afU+RAvfl1j4CssUp6PxjFdTvrVs/zKz85BimpHFeNwSr
9PiF4AL5baS94BXExNRsENYh16tf9WvfyyTa9Idfgi512u2ZTdHZq5Yrg26FYZJUQMEXeb+2RnUZ
lvURRteHwBGY9E3eG5mYUJzmgB3Z0ico1ATKHWSE9hc3XDI7qz2vu5NapkvU0L0clqO7+JmtwaSQ
SL5wO96EIECry09H2yiJDDaJeGv/QfF+oIa8T33w2Go8C4Mf70P8niW67nzj/bNxuSvt8I+7VTHb
P3D0RTt5u8mbdhGUBziyDm6ApL9Nn2m7pTpGAWe5YjVk225x1hfboHVpXU5QJH9QR18UhD6IkK2x
LgxIjagxG40WXa2Qj2/O81o5T10bnIdK3iDa8xNKzIPEKhGC+uIV+S+sYTJWlUxqvV3LpT10HJap
zW8TG5b/Bme79SH2o1h652h2X8YWpDNHfWxIEPnpMP+iQ/LStH6czkRj/IfHM54kKiL1DRK/a+Xy
k6PKg+s6BzEvT1rJYw19Evp19X+Kc4A6faSw4/HbVocSrlBAgzVOP1lGd9xEfTg9gSK+Hf8QuoPM
eEuOm4BMvvX+dAszPcjZN8gUdqHHP6eSRSmbh7PrenlZy4uLnOjcW8Uv1f4txhmEW89ykLH8Nk4K
rCCafw8x8nH0wAoEhHspDfqj3pDBbYn+wBCeupThIJGI4eu7k1yCy9bPUGWMELGQVr81KLrla3Qq
7fzcAClz1NllG9gcUFFq3onhLV4/QNi73pKg5onVGF+q8rSGyKBbeIq0bLy95UE3mMum8BCSKI/b
7VhDsd2GC7Q16A2fGoI/QMaArnLa01RjwNgmm87AMIh7vV+/vMcmIC6O9U8dDKN34YeB/Igq+yqp
QpTCeKZR9Oz47LjUMXQ0Sxq1wPlbPJs+HjAZ4AsMsReUERjnvh+eJ8N2EGaBkF5y+C1OpiLvW1cX
pMOQNbGTE8sLHNs319FPrGdrEoXyd9bNu2HlC9YJdB1agXhyyTMxKKipGM7cEWqABd0/pIK6VWOK
snc2t4REhdaw7I3IMae1xN3o8Ffgn1gWkHeUUVo9bBz3hOO9+YP4ifrgDPNosYL4TEWtqyyYvOcR
cZYpw6491bh3PXM24JUAu0ZJo0BtAGh9UHLNRgqeHmNqysIyr4KpEE1zIWVd7RoAuRPVr42z7UMh
x9T1pvd+XZ7Kqi1YtB5jb/nqGPuBOSvYqftYE4EvmSwYm8Y3OOwD77EqB7jLJ5RD+JAhpGtnHxzk
jyYUSMDJTvI1ZuQqQoB3dLmYEoxW583vg8swuTXiGETrngX0Gln2U955tClw2rQOzWOl7JrOGtrG
ktACuUT3McyPgJ57W+YKuDf8MvyOK//mGbgSLb4HkbhCYQklO08COFhCMEhDs2sxETvYP1Zb3Vln
/QVYvgH7GaPm3b24zQpMfnZMc6y4YUkku2Y3Yfbfh4H7AKL3y7MT4IDayfymg+4e5HrdSwijodHi
NS+c5hXmorScTbG021Ms7pKZZQueUVK7M5V99ZwRqsba4qE3b6CDTtOEJ3eLz+vGgD1jIeVO9bJG
4kjCAdyyg23ZBdDVRNV3f+9vGdZ7ynSZW8/g+2fmvYaBv2owIXgdtlUjm4wD6UXg8v84O4/expF1
Df8iAsxhK1JZliXn9oZwu23mVExF/vr7cFZ9jfEYOLuDOTOWLbKqvnoja9DA1K5zeCUqIR5zFa6y
wv2YpHpokF4yH3vo/PhEoz81icYMLSoHeKt7BrFfG7GGbLjNARlIyVe659rN21XokfeglM1Fy00u
T6G3Vc3O8V2nXKtqsbHVuvbTmK3EkMFkpFwVM+VJiSDnQFyowKA6OSVqtXhvm/g2m4Fbnci+qzRv
G9vOQ9TWWyYeRIv9jSK6LSX3STDlNfd2XrZcH3ZiKs6tMj5qvXY7D+HVG7Tb0U44NeSj1Uw7I/Yu
E9c3KMFzHoIguk4dqEa5FlZ0zjURqFweWgLMGkusVEGIAlpVrUVdR6KHovVbSnF94IqXPBOBNWfL
abWmHewgFXUzdsbFXjqLInsTpsW+7ruTRSScRWgzF0q0vCzy33kYH0yzv2spOmhHV5Cz594C6B31
ATm5mxFzHrWsdbMZNkU4Il8WZ5IkysCpnT/EINyImlO4zpoMGn/6mO18X8SpsgG3fBwbwq2t2H4x
JNsuuLMTpqGvLuCi5/YXMzbUde+0FrdKNEpVqb7kyxHPfnaN6/acCSNF3tyjc6GtAbQRgiIbKgkx
yGWhKOfnqk73FtyLWpHhM5XVdpwsFnCvHMy2O5tmRSAE/JZeb5WoeE8M5SUR/PeLvt5OAN4z9mMl
3E+ewygpJ97oQa6TxrutaLw1WEl+o7ca8iv1NBraR18lxFSYegkg0P5J4I6ypL3J0+J36kBPqZV7
VgYabBdcozeiB0tPrnmcOEgdzXw92OG2sOqTq+dnl+dhMiIEbMNBafW3GTXppXROfVU/uzmPJjVP
bWRu0sl+NwvlQ8K+92ydoM4Q/iydkU2gw8oe5+nrqMY3BRs/kpoHk4v4ms97z4b5xDVtxxUs0Lzu
TqfL1sr67WiZHOTtxuHXnydCNFDNexMKEdPZ9+wOVos4oIuRT/URUiP5BGi0M5J6b7vpxWgpv1Cn
zZhCE/c03MUhLGyL0pMhN+lvrXneO+l81ctpqzX2RhrzmTwOIl6jTWSrATJXwPcOrDOKi9XsuvvU
7dd5Rmalk6P27JtDRHKIVtW7ObSvqj0dNdv+jdAECDdJsyAsxi04084LixO7KGByqoHjWjmj6jSf
8y4+GXZ+0NX2fnSZGuem9UsH0H2a3aPwktDvwbIPKCMXBGdAZ9PIkxKmzdY1FOTRizhEkCtfxGi2
3dmZVjHeAHXUN3FS4DUwXgfF2BcuZERH+keH+Ji5bZ3VqI27YaMkxtOYYKGPlRtrtAl9RY/SFhGH
WlNg/HYFnOSkQ94VZP/IMpF+K6tXkY0b2xtOeUJssVlmAD/82x662sxsoV9U6jQn+bnIGWoFwsdq
XtMoO3Sm5cs2uckm5zDQl9tq3Us4i7t+SrZKqW2dFNVgOW6stnjtQlKc66E/xaRHSIREFN6shkkG
ipwfiina8qbbiGPYY5DOos8Aqh0PeW/D/ouj5iJnsB5niVomHbvAa8pbI0s8QBftoJb9IbLz86A5
6wZwZrQUPB1yldBL42vevGmdTl+NYcQIpL+1oGG1Pm3RRa5HOK5gNpHPtMj9+kIN4jK/488t4OL4
0mzVfSsgMDJPuZ30bpexsErxpIniFs5wCGx1fuImvqlDXGwgu21Z3tuF3MdTeJQWaGoo94O7EMfW
DTaOc915p7apVnK582rWWsj0eZ70nac1R5G4qD+QxtnNOoL/G5LsnLd/WgtQq8d6yVHTFGzQYo0d
7ISrOSiVaAtYEUSO3GhLIUy67GIaKz22Y2SRfYkm0dFWVsEN2FHWVb5Uy6DNlgZGZFc5583ATQSh
h4FWdFKHA0AD5z7Sg3j03TwO3EYwDzfc8ZqgMUYeyUMO/dS4uW+p/OPB5eia9rirAw+rz7DciTDV
JF70nIiQu4bYVtlrkSW/vcK7lZXbr6I+9AV0lm1YD73rvFlN9GG2KWRtRHdQvZ6bmnAWbY/ziVig
Ym/lyFiVB8RVv/tcPeXWuDES/dQVUFpa/uiM4GQ9I0tpV0c1Gh+bhDOk0rOj0tVrLE5+yZ4Szh+q
W1ynxPW7crqLCwe3wPSQ1zAyoXiYtWmN0Ae2mPSgkSEpJ+m5HpJ9MXDiNlisPG8XjfNRSLEfIv0h
LH4lwLCNMX1IemAtPeRmSTpKP+Wbjr4vJJsNf0HZwI8r29zKb100mQ0Acl442ykZNmkn17mi3QrB
MiA9DAzd3ej5/Nm5lu4rXleuYcmRUqDtY0iQ7vIcyT3JPaKpS9RALSrGrt8ZmbhRoCdG7kILfV3r
w0NTOuuhcchUfQ/z+lDE4y7J85e2QhhLyIqvdG9ZvYgKVE5TKoRy9hLd26adAWTS+gLgN45SX0yY
v5AZs92vCj0OJg+UZch/zZZzQ+4SPn2xluOEZHHhOJP3SAc7lQYeh2oGzRUXGsO2rmVv1MbaZ3zl
JJZxf0ROC6sZQ8s2vXsSi+S4J66sqq0HY2HsGwKLBgU3om1fakM9JHG2dRr3RlE+0JmvHCaMsHN/
Rx1Zh0p7NAqXcL2UPYZrRIlvaBih4/KVYdbXVJNXlPMrvWRr794t+KC06uaVltHBmpOdrslHY7of
IzdZOSMhQ6EyHZ1KrO0wep2n6SzdnCsbcxwvpzOMK00A+E9cOmp7lQqgZIb3RtY+WslNmmuBNGdc
ftVG0eOTV0s2QJRKWeitk14BL873ZUuWIekJzTheClqa4io89MW0jflLRtcGL7ahdGv9GBpWFEwc
BMIqHEavip83b9RpsSiAy66wFKFX8W6zlERWJ202Y2yDdlvHHsihrXrw9LZEW99uQsd9nUtKdYgG
3HGkO6teISwDVbZvRSmYZsoDIuVrTn+lnvqKzNMGcMu9cG/b/HlW9qt0P9te24H2veBv3ne69oyC
Okg8aGBtOHsVYlpu+ChRnuKm3edDc8wT49J49YBdqwxmJ7m2qRSYFIhbQFfSGeIx4ZQDp8FLJbsL
bN06FsohmrDxmfG66581OcFdx0GrtCOAg/nZalNglcx7c37I0Y8Se3IYc/1ZTs7TnIUruj6J88zW
LiuEkRXACM7ZrK45blDXI3sBOyXjOHoM5AE8+WOsppdcdOsy4xCVAP9c0s9jUWxM2exjJ9rrSzWV
06Qn5GV+kY93s+jAPIpDpeM7Gpo9bcy7tNf8UktuqpoJ1OzDg60p67TVe7+Oevi5CEoMg9FYNnyX
mv1bRNrD0hjd2N5DZMRvU1xA6SQbwWDhGBo6UGfjzHKvYB/UHWVfYkTTYY66WeMqAMAKz3i0hD6s
Oqe8ks+2siu5S03hm6OB/ZJGrgxo1+3f2swlMREkMZesroxdjTtgYyW+eg1rhBuy54OqfdPRTJuP
t1wf4Qwo6Jq5F0jz2LokxYSVeWrs9qo5/ZH728lywu1MlIxpImzMoJbKYpsChiYKWVfKcOtI6ONk
4AOIGXRRPOnOIW5Jno9ZgRQIFgn/rmXCt2BfG/ObGSKrcWfkOmhcS2PcNLW6rr0akUpdnlnbh6Zo
irWexc+TAdBHHpxatojujbsJ0R1KIHknTJDBqFbWvVserXiC17QHfxqqW7eLi1sETPuMPJy4sbdK
U1+Q9p3xM3wqafvWpGbJ8pngPovmlKrZ2VRca1uI4ia0s/vSaD71FmOTVRx73bxBG8XQFE8XMekH
PMAOb2cVeEZyp4RiPzUaIg9rPDIxBLXtfHSKXiGRK0GYmT8KhDGram4flcw9FFP/gkQwXrWRi9pm
Ss65OvmDAokB4PiQqBolzl37AuS2iSd1L2b7ppiGNbA+x64VImDmFqBX0VtFeIpppSToqkiNMQ2Z
gLEtMpUal5zWK58DOhxHk3mQzdZH3yinIk9/94PxqLfxo471YqU0LQ4cVClJlxFdWDuEQPeYa9O4
umRNdIvyQe4KU/s0sumjVtQHfdA2Cc7kAkuEMk6vbZ5cZs3dzCB/PElQ77IKMhS7q8xy0EJip1NG
RG6Ub90MI95nm7u/lm2isbkrcy7jVTU9RWN7RsSign3FT1SMPjL0khjJxmj1MaZOMP+4R8tTyUNS
a9tO6jCZy1W0cw7OMgpr+lM/twH4xUMJEqIz+dYZ7khFf5pCcz4Oi6O2VpGQRuNd03W4p4wH9qdo
FWNgXmZkQ513VoZQQNVB8nMkbILNRAntkzG7PrBr4PVkJk6T4RvtBCQe+xECLxVyodAoBMoRyDbD
K3FZw4kW90Ap802PZ5F+u3Rr9epNHLJ/e2F/O8T6cS4WI0LMPaC20RjbKiLJ/k6Rch2itTFr5snZ
nVHqTxV37upSLpecifRw3o7J7z0VzsQb7+ewfYhTzW8Be9a1gwiTdsDAmVAaibFgUWhbS7GKIMWm
tGomuZNKSvhYfqsO9RbBefquRdU7hB1RjXpxxVXN9SdCTTLt7NYmj4t6uUE1f6NUb2GcoLmGut6g
BLlz9PJPN6FBVAEuJCkoJouonfVNGlleIBQ1oyImZTeuWJMVRx2NKPBPZqJc+/nNGiE9i5yjt1ey
e1EV9/GoIMzuHmfRrxUowSFCnmUNbFpIPeZIWWvoNbh0Zi9eCNlh9+nFSwcYzkk8m67xNljarrem
HZ7Sq5bafjUa69Qe+VO8O1wO73Lsb3KPC75ajXtrcB4RLPwueSdR5qC3n+sX3TCOYqh2pcq+kHv4
vs3wpmpN7Gu45h0hnrLcPvUkTPhuZhB/mCm/HQC0lvmHJY/AN9Pju1HnqHELGpfjmVj14WmqhyOB
pcGU2djBjLfZ6NdlQpylSuAnQS/6po1A2dycHa6zzk0JfKN4kD21M5zmHBgmEtcKoSJt3y04XwEN
557lACKySKwIZiwDtW2ZDIv6sxuTYZXZ4VMSJW/mlGF7HbYl/OWqFSBMuTROjBG4fWvv2CgeqjFv
eGmUzl2NtkKSTZYcsBt3K6ds1ojbH+3RuNVz7i+IJNq63IZquCdBUV25XmxBZjD1aubahgKxIDT9
LOqPXezeT7X9VqrFH4cOzFVklpSGu4s7zCSgIKkMGqnlZ5jLe8NV8ouijRiXlUX6AP08Rjqa9tZY
KxmEnONMDvdckfvzLDIO54Iqy75Cmk/7WiUeJkovY/a0VdYJEEwiZxVrU+ml7bc10i4CTg91zSFq
CsDXdiKvYM7BigzjNrUxJnX6G5G+22QyQZ2QMfcV4ovChHjzygaUp8fjjQoNu1BLfKhBIe2iBmKY
YP7S5ENrqYfOBpB2xQfJcvcQlsgD026rtQtmz5CCYxF5YcoWbzrNxXCbc51G71VaP5LTQHwsGoAA
X5HcTBE5bp6BznTOq3veeczuQKu12sDqzMarkCa1CoAEcwqBFGYVY2r9oCZII3MFYUscGycsuDEE
8aLtcaY/chBE13bp76LD9Oy22BPMWrwOJSkiUTn+5gSy6PRVDcqisq0rM4Sqowi62BkB3LzXAhXs
ytL1Iwblx6Femsf5nq0JKL/nryMc9yWz0cHWDs630HttJSVEuMM1R8eskkoucPUtG+Mhld7JIHPf
s611Go8X4CoPF5D8TMLqKU/Cd9m275gdZBD1413fD9nOMCIklYh/m745GnHnywFjE7ldVoWN3E6c
Jyu0jy1OvbJ4aorp16xPF9wibWDWGlu4E3FHxJdYJyoExQhPN5xzzzzhDsTtUGYbBdNkUupgLll7
LML8PeNKViRuHcwSBSSc35WO8x3ffh90WT8ib6Nk1sDv3rJzErKRnlq3e8lGwsjjqjhadKAUrnLK
amvjZMbJ6wAJdQ2vjGRt6z3l8K7VNXtU/ueMGQtKYleGDba1YucoHQ4pyf5DhPPo1a6fVjgKx746
IOvm/uJ8cC266RQF9xwwwpgQyuPu2gS9UuYdh6rceWWHnHbaqKkJJKRLmIsI2lg5psuwl5npa8SK
81SvJv5PnGqOp6aD7ABVZkjJ5WdFZyvK1caPTWP2ixJff0mVu5Mqvl2iS18cxF1UYdhMa2ZOcnzx
iBfreYyuMVe2LrOPjuMigvQsNplh9E0n3rYtqpdc9+5EPQRSctMslpQDHv+9kxY0g3TuZoSPRfeU
FKsxyqC77ANUVh8USXw/FGXpy8h9GqXKj5H7NB0DUXVP0RBvcnx6uzxP3LOplQEGyS2wop/PzHmW
odvbUqUXpprFyRLK0SXc06ttPAW9tTJjxJoSiecqajl2exW8feLcsPvbsVMObj++hgm/1OyghfLU
eyIST3JKLk7j/J457fkBNoOC9ZaK5uBa4eMotbNpkJWhM/O4XMtl3m7SEHF7DwVvNupar8u7jgvT
PDr3EAeIwsMHOJ5rqpSg08lNHzaoLItrmtTHwoJdUstby8svfVbcy4Xeon53w6B6lvUUrnREQPhs
j6YLKTgsR3Ib7sHMsF1M403agrUIFTuo4W20vL5Ecc/MFe+8FKGcpmsX3McPaq5iimKjR++99QxQ
LnILShx503ZWp6PZeCfVpCMS/2tUlGRx5HC7UcjoMboIRKc2aakdG15tj29fZuIzLIpTb4qtrCK5
1jXEeF7nFqsKxs8Xs9hHnPHrpDbFRkvYQep0TWh4D7Vqj5KgLyWHUeXZs3exzeLZInbFTb1pD0uI
jRwOcfI44maHlJdMXTCJGDeFEnL7l5/uHJ17ukR805Ubw2rvu7CicC9yAnWBcjsFi3+NkomxHCmo
8qJI/UOkKXkxxAL441Bc9CTP7qCfASdLc9vHiB5dAbbDDc5cJTZQfGrywralhr+72kYyPbh1cRFw
P6pr75ZD3CQ6u+uAhUpCUuNq7YDTpA6KFdP0los0IQREA9KmHIp3e+YwREMFL4gEVSXAN4/Na2iq
z3nEfc2anBd0PAfd7jdmqT56bnHg0sHtoyH0zV606r1Uj/Tkpn6mDpRfKdVHji6narOUt4GQFaAs
oMR+M7kDNcwjB6whAYqV/DrCxbqFWUPdzWSrNvj/oqR8GXShbos+/RXK6K3E+xUIOznkMj6po3WP
N+limgiRc4T6iUw/LcteORgafDOLbkmftf00S64Fu7E5p1cnIg+jEgc9zR/qmRG/aICVZ6xm5WCt
LcyU2H9OYoaW1VvxmqKAN3qicSIbxbGhRMx5aseLx3iY2OOrXroycLlEE6sTcY1SbMJYFjRPJoOf
OtmVc/pXpbQv8YwcPRJrpcCK1jUfA3iX5jCopB3aUX4MeKx20mS5BAoDdrcSzXBLsomIcwSsLVCJ
umbiuDfFhDgyXhsaAKPhiQZx9vSeS5TeFbCAzI2bgcvfoImbyaaJqjbxLkTkBZQ19mERSr70BuEv
0jd+0+hZVrXkUJntvRuSS9rYcCjlFN92A5qxqdRv1W451wpcR8KLntgUryHSFxu2zHcVHJXlDMPT
xlBQYT/4Du02OIdixLDo9dcmqVQBIzs5FabKXDk8IrO/c3vzTNPSoRvr1IeqQ9Y7PynO/Iw7nIhw
fGRlhjMeebrhoeYbi4cObc66bmbwH/Ut03E7d+lhEi15/NlpyMnNm60/5MI91qaNoIjQjQGTW4J5
y4FuzNwWuwyTAeMBquDWeKyj9LbQys3cTq+hMTwQR/9bmsV7ynEQe90fLrxbbwCXICjJ2jmIV9XW
wgeaPfTJfBAiX1etgvadNmKn49XD9BnFOxCbxUYJBY4uwJpAloY0vEmFTmcqSBC2/GiVW3G/7UeB
yKsa6dezginpn0WGyz6jjWFtJMYy3qKQZXRda4jE5gwrRo0dcRVnMkX55bzMEmvT5EUvY5OduBxs
SyskCbO6koi5rVrvXeW2sNKddMvYhgJ37nYize/VmiTO2Ia7MXlobkGIYd3IldYTG2IX6Ss49wFV
9K0weUFgcA8JieTTKA8exPXK1tuzIMFbRJ7PpLdzsRf1NOLMcSd2BmmpK0dWyzp4HnRSslNrm5hY
KTVb+poliTIpX1EUHVqB2XEe7nrVdu9JF7lUo3yrrPxmUt5LglKw93+mTfQEP/i0hLt08/AytuKP
Xas0vEAvqExyiPRydOgu6U/sGqtmoFhBL6r7Ael+08hAcrF1rGKXVZq6EiAzRBHcpghOZjh9E3c7
FjZ0j2I69kOfQevpWNDbB9vUV1HtnlurxtdqbG3CtLgdFa+OY3C4pb+cROQ/xNB9FxD3JS5xSmU4
KLFb7pLiWB9rnM/DzZ8fouG+yYX7kpg4NG6kmxUte3lfnKNx8gs9ufnvH/1dLt+XpMQob6j4yeho
jkrnVBre/WzWhy4R3Q+pdt99K1+CEt04LOTUEZtXFigfsvexa/DD743q8b9//+9yEb+WTBPyOClK
Rz1gpHHS1VMbjF320HoJOVI9SQJc55L6MSurY1x5P2RCfxPB+bV2GiCwLOqKMENVkXdjYbkAJLzo
JcQNwXetZf/wOd88nH/62P7KA6zxGpF8YZdIybuVASdPiCLDevzDs/nuxy/P7K8fX2SwyPFE3GDe
PuTNts/hYuCXf3gw3/305Z//9dONISlISJtzOrDCre757ZbY+xW6mQPhgoHzUV6TzY9Z698kJ+pf
QlFDYk+rWe/yndxEd+Y6OrSb4SnyObx/Ci1dFsS/ZDPqX5Y3erNk0HsSXQeuKvvZdsN1YVeP3USK
Iit9aLCl2dMjprtk3Sn4XrzmdphmSqXQ8ONYzxTE3hAAVenioQ8J+wi7N4RuOEop9yjpgEElGJQa
JovGGnjKkCiq3AryAHulB0C1d0U0gsl665pGvcKjwjuSp0gdt67od1WvvEQ6Egk3xXKIjQtnpMJi
GIrsA47lqcbT6dstSRlsHwijAi1W4YttAEDDvLGyAnHCWCJbrV/jjBe7JPmosve1QaZmZcCJ56+T
+B/DnrUvm86A2ieeNa/cIZ88GbqxTazZ/+/X7pvg3X+2ib/eutQ0ihRpdb6b7YohPYHIfvjvn/xN
N7LxteHWzUw5N4md7vQtKUJL4Ha36jczDdI6NkSf3BE/XoNw29V62Ew7y/hhJX2zhX6ttsXy4gpb
tdKdhtxHyfwyvh1L+j6yH74y7bsP+BK67Kpx6RXke++0d++lP2OpCTyyBFd9UK8iPwvUIAuYF8Kf
Pm9ZMv+ylNQv+04aaiYeX2tJXWYuQXlYkXVlmFscR2rQ5Y7zx+2nZlc3gjxOWTNY60NzM7Q1uoTU
RpftYQv774f63U6u//9NSjpxUvYtO6w2E1An/8wM1oV559a/UHP+8BnfvJL6l7e9cjXP0VSLHGU6
jRgrjw1U6H//+to3X+XX9nfstEA7OkPHeF222XITb+rjdFmaBouNEnin/+1z/lkTfy0rEalupurA
VG7tYwjHM7gpHiVOnX4V8o7k1/LR+Ol91785Ob72wHvmUKqyW1pTo3GbtdW69BwqwXENTss9cKhI
4pjT5CqNkb5D1niZesfW0bdTBwlvg34ONhKlqT8WbHoLqUp6AYZWcxXpFtdbLkpW9aCU4eOAlfSH
p6x991t/WUVEfdW6ouqUsDhI+kVlnRQSZ6WZIFid7WM8pXsiTq/OMN/YqvnYOsSwzjnJpaUd+nGG
VdScrz88rm9euX9W+l+Pq4vY+cya13qx7fnaxvY1orBXFUakB6KA103me/v0p/X8zf7xzzfy16dx
+beRyiwY5nYiawcWKcgD96IRqrB1wfQ34s3eCP9/rj3Rlj/7rw8cuOWgTxkZWjG+qoPv5ZrfWdYq
ASz872/wm33hn/X21yeMhdaFsk4ojys+tOa559pAb/CAnskpflhT331rX7aeMaxBkjNJoHerPVsD
EE0/hMepNDZyGn/4M0zrmw1C/TKFidBQu7wsoZpwfYk43OhkzQlTv7Yjyg6rNVB2cDdUqZUjW/mK
twu5aGcPW+Ka1P2M+HsV2moU1OkygnK/OWVqey4daAm7Gl4Lo/d23Swu8dihRa18fbYuSufcJi3R
E6NZ0uBkRx+ubjz1gvBdy3pJPOtudpq7xk5/K3JEQd5jOe+j6LGn7mCtu/OjKstPV+jjhqDgTc+9
HpLI3HsxGV+MLo+Zgp7RTr034kj2Xa0AbjKFOR3xB+aIBMa7jxztQqalSYKxddektNNYuUdgRuIG
YNG3nqbpK2XAUtH3OA21cB/qzbMJP722vcLdDFm+Bx8ClcAlvEV9Bc0xmNjIXPnsViG2TMM1VwQy
V0HfZRz6jaQUaypeBmIswig+eC25lml8r+igBBHpAPb4S87dTaJI0kPmP+XYPMYNYj4d5TtJtG/x
lD/KArGpklfqltLLvYymPkAmhauWSg+BsNpK8XmnhdYHLv2/PnUcV8WoHqa2XnvS+NM72q5wtbXa
RTsw19tBGUmILsk9E0mJk10/FC45ePpYHMlNe3AomkHDnv6So6bhpx0F4WLuXR/iRYimfPnGYUzr
RBAQUR3HJL1pVAG17hjMlgSulCgr25mWqQEnzuyQj0QET2dWUJMuIrYpIVamu8TeeGPn81Xa3SW1
7GdCXUjdoA5lCWsMYVJGS9ylXf/bso2rWXafShOKVav1r/qMJCwPtUurhGt90vWtQUj3pm6SDWEX
ML7qcIMD/KbTBD2to/rP/OqrYhFK9NFjt9TXCKd8s0SygQm+9KV9NQkjzezJCOKIhLiSCOSUkL1a
w7uZ4gfRmg5Xn4JXHfxE0eUt92IsfnG1Iz5uV1Z4qsx2uusTkqaLMUPxpN15ocPYl7vbOi0xo1Tv
NRgVZwG5eMXE/9PUaWBpGBLaLj1aVvPHStw3Midjvxbth1XVGkl7NZNWH0MoFkj/XVTrfAGKXznw
3SKNDn3XHYwUoURNWmOTNC/agNREup+o5c5Kk7X+OMZ3QivPzqg5KweUhsy0C3FIdznr31dRsILX
VYfBtbcjGabAtGjPFo+YAlwSxGZHZayOWclbhI64qTCAHA11PEw5Z+RI8peH+CoQUfmCarPwjT55
Kds4C+bWKclwoXpalAdHoQQhcSlUpENXk0Qi2jA02egLbb6pwvY+GczlWIaSmbttivu69GbOYrP7
Q7ngfROhdExI2Jtls5s9EuFmM3sgCAM//Zw/K6L6ZYXyqe8zQHqB/knGeAUa947NKKgjbpiyyB+Q
u+9YMC+WELs5nn85g7u8kZx3enmJM+dDwtiuGs3ZGhrg3LKjaFHuS4Kcg1yZP4gFnHez6h3TOvoD
w3CesKP75SjP2ahgQvEW4+4M2zHe23N3TCyCjTAwJr4Q+p05wHuMbs1tzEPlIiSYVo81utZEu1bc
+SRjI2DLO5pRv6/q8nGa2s2o/5PQijozJn/f0n/VtUOCSvzHMBEeaUb6WXb8j9AaD54DR6Jj9Iyq
QLfHi912vzp8fMaIaoTGi3Ov4o4izzhMcxKGshbisUOD50ALhPiig07TnuiDu0k7b02tI52yMdIh
aLB1jWV7NfXlH1DHz84jdpKUGzXQPaI3IKgJAUkX3aKYn6AXtBXuG6KMsunZ60Pswg0GYH1pSE2W
h9iE0aIkf9Jb/FnQ7uCVhCyQZj0chT6RWCtRWfT5Nkl7Sv4cvqVWKU/1jLvLmkgi8zCAxetBJWbX
HQLup34VmSerzS7OSEmV3r5x0kjeXfMUUv1aoDn0quSgttoHRpO9Wk8nFQHpShAH7CrDQ0SWPZug
t8/76S22UalxAG4mb75pCPtb49En7ajOtoWGOFsTJBex1fy2aoXgnhDyhESHKCMvgI0DYnWbzrjv
1Ppd08U9FO2uj4xDksUj6XA9hwUS29Lc4IGC9qaBKZ5B2jVUCog5y6DlzRc42oeBTgGyOAJZlr9U
Qz3Sa4zmqOgif7TKl2zKYla7uOkwev0wpn0zn6pfhiYrId7NkNS5ZJlco8red9AgWVH8ACT+M3z9
261umUD+Gpnwl+QNKpFsh4KYFPbkLdzWm3Cv/jHxqOsrPpMLSfNDj9/yS//bh30ZntS5FS4ZdCCi
82YqH6P413/Pff9AEP/2g79c1nJXwrPn1KzAvsTbwjbQyZNmLWHigHhWTcHWYnlIfPJrPMtfhGj/
WOj1zcypfoFKE8KXuigf0p37msER7ZFnr8p7ZhOY9IfihNH5FzFGB2c/X/77j/33CVT3vlTK0C3n
6amFUFqPtAvpiGvPmO7S3IPtdH8aQP/1OeneUv7210tBtQgqtBgz1v9xdh7LkStZmn6VstqjGlq0
dfUiEDoY1CIzN7AUTGit8fTzgV0zzYsKBMZyd2+ShAMujruf84teFddSpvxWqaAu5EVmLr+yNblx
oepLJTQkt2x+azfhPj1nb1h5cGBdcZY5OXb/eL2fZhIkSNP/9Stkt8tlRTO4wUd2cSNuWk5oq/Cs
H7xX4SzZ/U33Et65a3mhvY/87r9PQtmaHNpRL0PD1yKbqe4AAnPTZojgN35X1vERBsTG2Ay2xFFx
1b2IPslUAHrr4T454xZ9phq9EDAurzEEIf761XC39TzLWdCu+zvW9mAVr3fn3LSbBAozE5VKdGFv
ap550MX6WQT0CPwBTJiZLdglXQ52sjWJDwC/zNZSwIyJ2inrfw08HB2hP5zUkxgh6rECno0YUWf3
hfhVrRZeeib4yNYkAuiKx+5boyguHp1jtE53/k7bqVuUCo/5QufPDKo5WfNJalCJDugYIdpmJN40
t16YLnOrxJysdUxPiF4GuSjxoT8WNwOTVdtC2T1XuB1AaMQUS9yjVvxHW4BsTla/FKEFrTtsASHX
Jo/6p55lu+szdK6TJuvdEsPMNJWEXL/3KHrHRF3aXcbpd2Fhm5OFnemyWpgV76zulC3H9hcX8q1/
kx/ME+TFYPVnrz9ZuFIhyU6Q0Eosw2r5hanC9efOBVxzsnI13Q3apK2CvS/uogMe1OjioIOwoTAu
b8dMcbJDiuR6Y+OEvNRVkxXsakiTFuq4wwc3sfcsCc9De5MOvxPhpjR2grzwTR91wkvtTBZz4qHI
URe0022D+/YxOSBnx9lLtoO1dycfjEe0Bw7qljv2bvTwDE7xNttJX80fKIvv8h/WYSktPjfpJos/
bUvHScZRa3Cn0cS9BSD5elfOPNmYrHkk2AFbjeVjMiPoHArxghOhMo7Fhb4zJiu+CzAgRgsl2pdV
9pan2QN+U6BSG7T4XAewhZvV21xIb9vBeuxCcZcV8Bp9j3ulEYIkdpxXcCDBBtEtFLpl4CO42iEV
DvIY9CB3DVRTvHMH1fkYAwzmKofGVv4gWObZkpwXU0BLyEniH5BJX6Re3FzvrY/c+aWvmgQWB3py
zC0Ym2tQ4A3WXqSekzcpgqYSNcULIIWdmUPJUOov+I5F+LAhu1DIBvgg6QTw4w7n9IfQFXehCt9Z
iCEPj/ccPCiuv+BcoFUnLyiJuq4qXFj21bbdyDbEJ2ys0YE9t1uI1BvFHnOtS9NSGRfChe5Qp8HQ
Q2UzUkzquAD0S7oEUbV1CwTNkFD16LlNGbEN1wXI8JbotlIxBwK/jSztiesmFhAnFKPWJtp/EmIG
vnxS2/ihKeWVhlZp6mobv8qeAsHYOMZwjIbovkFZsq4OJctwocPm5unkE4I0zDjJY/OpfwNzUhzi
DSjGNwMNl2dlg4/cwnlammtnEt4dw3GyYLwCNVt3j8zokwYH4FBtJEJF8A4rcuF75hb0JMAD/MpM
I2KGaqtm3b+i+rRBYe9k3qFwu/I20buxXmhp7osmER/LRhSxVL7IfFGpetY7YQPEyz/I24/y0q/r
zcycCI2x9U+3BBI5LujNMtoXyLVFCI7lmMT08gsKCguHk7kem0T5AW4r+Fkx2Cs9s45gcS8Dlr3+
9jM3X9mYRG7FUpI01LhZV+t2k2+krXbjHrG4usMYye7OkC0XvmKmxgRp6q8dpXVmDzaXlro8e6rV
7LWSop/myE7NJJiJcno2HOOXUbY3udJ8paj7LFuKtWbVAq4CsY9w8Ov1jx6n9IWooE9Cvyi7rqNn
XOwEF5kbEMk1cF7X/Hn96WMku/T0SYRD2SbwhVSO9la1670nXP9ONVI6CdVHP1i638x9wiQqSArg
Tq+hkSYqfmVyAkCIzJaKPveffcQ0GnitBZebbbc3TgDxcvMtC58H8ujSUmV5rpsmccDySykm9xfv
s7I745+0A0ZCrioYDjoKY8Dk5IWIM7N89EkYEFADkOKujPf+ELzDEySb1xcLxukzBz19svjFXCk7
JwTA5UUImYroBaYYNq20KEcyqdwVprYVS7KQQ4hC1PWRmRv5STQQYClTe6MiT5lIFk+x/qhmb9cf
PRcM9Ekw0HGjiTSZZ3dfUL5IfxeHcodyWf8LxuBg4xW3Tmzl60JjM+FZm8QDRBKTrHNpzBKx8nCx
6I6r27QqbxrcADFEkJ7ywdihLAICEkneyBLuQ/TTFmaFNhO3tUkQkAGZk4htWEFFufNRv3QlHT4u
cQkrE2yxWnCsBTQi4COC94T2Bbo+kOwHYY2BSgKvCaMXQMUp5RFF7RIbGuUGUL27aUrxTZKZy6Xc
PEZUAtexBcIuGGB5tp7vrtqUUxkkZY4V7mjFZ2M/9YrsFCRTAfGDAMFBFFy0RrJ1X94FCNjVKkxy
Z8CXto/WEMSPIkpqXZ+fcjikQuq/GfAGrVA9oQWA6p20a1C88xBlEgQHcQlEAVKAqX84bpP45quQ
t51OGO+B/YZS0B2mguvqSKJxPUrrba43Mzc8kwBXhiHpauCw+8GA15HXG6m8l/JR7sXaXW9hZiFp
kxDnWnnQtoqQ7B31Qat/Sekua5qFTpoJbtokuPWZK3RlOHC/L01KejmmYY3+4LbOC/qOJ7OTu/X1
j5hLu3zUzj8dP4gEhiuq4E3G0YBesG2MVbsd7NHEG4HX663MhFBN/uvWXbv6vxoxuCZZ6SYqF08F
YxS+sFtqk3DmSUYQ+QPv7x3iW2U97BGJWfVbyf64ktuLBYTxVS+1MwltjYwCcT8Au6iG/LZ2Oh8m
Z4SDsNB4m6KEd4YpKTfnFvoWPG+rpmyDBSqK6LvUTI+VlXwNUu2YauDkw1jEgiYKqWwXiFDi5oyu
3PDVT1ss2eJ7TdV+5BU1EzdTfhAaDuEAZS8dNzmqCbqY4iODx4IvYJrUpT9DKzs5aG0YvU/lJ/wl
9FStnbrfDgaaw6qyU/Nug7rdS4abCRCdM2I3Gx21ybpXXrQSp5A4R9vGkZbRr3O3pklkRhgC6wOK
UHtcTLgLbMMzhsGKjUgLFw5he31OzSw/dRJ/I093gUnRSGZaxwJsE5k9CnXSwsKYe/xkdSNQWbgD
MP+9A2ujSYMtHlbYa1h/+PaTBR6lngjzrwz3gorXpPpLQwAIlZHrXfOBxb4wWdXJkYVbumZqcGP3
SWUqe9Prv6K/sFFhqTkCEn4RitorP2y/hY38iIDx7agL3YSaHVTujRtVO0+TdgFqc7Ch8B/KFH+t
Wz7Cxqj5stEiaAN/A1TsvkPGB6reWkCxHYkxAzyvtbn+DXP9PwkZFZ4CTeGO10lHPFoQn1RYBUUs
Pf7Z4ydhA94mTFR/HN7Wu0WXeSvU8R1S/QtvP7P7qJNowSnEUvOStyd/sE2iCpAxhS3LfHck4df1
L5hpQpksMqmTMGsyRGBuuECtkq476an4asjAACJ5YYub2YaUyRorDbzJfCDce6T5zp3b2WmAiBPK
iT22A0F7uP4lc6kDZWz+0x7EBXKoiqJI91arFysB2eBVC1tv3TRKOyrerHUQJ7aaAqrrRoekXN07
YvXQKoDHr7/CzAaljJ386Q0cIW+13kxTilzCxhC+ikawv/7kuWGaxJEoRfi4d+FakzWy+/AAo3Df
oyrd4cZ6vYVxMC4sdmUSSro2BdbTAtfLXAW0p5ecMQk7NyrC8KqFksEAaV4rFu51c+cFZRJa0BfQ
SjOkpwwz42BlKe7KslBdcJvnoBVSW0cSfp3oAuwkNRJ3cubYaT4szMcZwov8kYz9NE5WJSKSU1Xp
HgGDjbIlth3arbBTKa1c78zZuTgJDEKtCZUTUFdV7nLxIL6GR2uTS+vmt/9LvYmfrOfr7cwN2iRA
qOgQZKrYJ/saDIrsPiigNBB2tYA+gF3bSO7S98ycj6YUIQHRqCQTMzCQmLT5K3cPUM72bYpS1oO4
jimfLqUUZtbQlBhUxQ4WSOCucNtS3jidPEPPXdjQrMtTfMoFMvq0CoSGRyM0+NJr6a4o5e+eW39x
hSJZN6kJqE373njxQvieQWHL8iQeJL3TtoKFSIn7270tbrirMSZrFHaolIibZE1aZoNMQvY6vPo3
3D6/+8+URGx/u3TenOvMSdiwcELj3FamexWIXVPXWDEuFC5mAtKULZTkg+MJuB5SIGvOVmLsHNyU
LEe0JV/4w2U65QsJagqISAKCDTDyWyGj5Zs6mCNr3o4TBcofZjZSQpV7yK9f4W5vr6+pubUrT84M
cqGI2JWgpBtzrTxkW/8B0wi8lsg+vML0vVWWktBzfTgJEkjQ5yYI2nTvp/5ZdrVvlHOgyBdnxYCw
f/1r5tqYRIhCQ/G8V9l7EQO1BdjQRf2ag2PH/30hls/EoH/nNeBoCfueDAaOKXJrboMGiyzFaXLu
NtK+zSL0jMoFxPc4cS/sUlNeg49UYB0oRO5MfQ3iBw8fVdWoF/pqZrVIkwOEZkCnFQ04iVL5Jau+
K8FCD83NqI8q1Kf9ptYCpIFLoqf+UN2om2GvHuQ74UGzwy1O1Usxepyfl/pmsthjM65ixP7IoX/B
1207EllwE8M+aRdv+x9LmIGPSvWlZsbe+/QxURxnFuVxwEJK+jVE4s8uExDesX7TaazKUkVVmxQ7
dn+UOcK0ehh0SEgID61DUCub0V7cwLs30I2voYLOg+DmJ613nwQuXbJYPCVS/j1zWhtrE3UV5sTH
Pg1ve2Rg3MI8qmgmrcwGyWsXPY8u+2Li69YP+jEpcmQTNO8sJf5NHBePYoBgTJ+BUFW1jZg6B78I
0L1XeU1qq0VyE5VodZSKucdKY5tpBmqLRnSsFfBARSneWL10j23eW+mLN5hw7gesZSIdRwZHyc5G
lB4LZMQjp8MvrML+DcNGS3kt0vqYJdpWMVHtq4p0G8rpaEjXnpA6Mja91p47WXpOBPm+MUcBWeU7
q/OblqUPIlZJmf4rjpYIGJeXvjRNLTYx3r+Im6SEFCCyrZiuMHR5IiewERJwuNfjy+UFKWmTNeNI
ctl0HYduU8UsAI5/7H43ED66/vTLO7b0kTX9NNd6o6ybXB54ek+qRCuNh8HLXrQWpL8UviEZCxo0
PapF9HK9vcsRQJom4wQBFfbOUDmWYrao+6eifrz+4Dncx8e/f/oSpHZD1apZnEhpdj+x29oGa/NQ
AI+xhQcYB/sldNLlLpM/YtCnhkyu2aYGUnsfHNw9PvC78WRL7XRhUx7H9dLqn+xZbYlW8uCQLled
rgSR791nUrRVdZHdRa1euwptuYUuuzx/5SkPtSslR7B6ti55B8Y9H+zx1CnYPwfPbr4Pv4EorkJQ
e0vRfw60MCWnos5Y6PFAz5EdH1f5qGBTxD/gbKDH5vV3XhE2iAK3ayEEUGjFD3JErkxEyKMz4PVm
VvBkuNJD69THYuhPugTzIQ6btyiKlqQA5m4uUyKrNcRC1VdKso/rvtrGPqjJGjOsLvsqGED+gwQ3
6/y+N6tilSI+sjQUl9eFLE5WObZQRmap8nhhcm/T792NtEdh7udwNHbiOtgk56WC38zsnfJawS7E
g2YRsypJPwbp1wgDwowkKAgQBOsC0cGXV1+4Dnzs6xfm8pTYRSFORrrR5XiuIHkUBVDCO/z1XDe+
KTuUYUUmd0Gawhr/FceCHz0+2l5Q3WEk/tAABAdfbtU7V7W2eolO2/V5P7PCpiDzGPZLikjxmMZQ
t5X4q0pf8S2nIHO02ufrTXxsAZe+fHL9jupOG3rEC/ZqwYRtVHvovH3bQk+zjEOb4iuveeIKC/q1
3DvHrriLT74FJ187SqmabkxU2xwM7MTOUemzHAmXSEG8ZRTPEvydztUqTQIUCgQJooD4bRCFX02l
cB6sz8NoeNTjqYj1g3fGEuyuVORdpLokMJGSTkIBdmySIeou3pRIn6E0pslrhFF2Rqed87zF+Ljb
Nm2JrJuBh2alGytdjXGSDh9RpbuxsFdsYbiMXhf1CkGrQ4WSf9Pm+dqLIPEs9ODlMCjKfz0EWYC2
DBGL2b2i3ujOXmpfEvP1zx49ibCpNDg59izpHs18OyxRckG2R4uXiiiXN2x5CpHvJDGJ+oYV5gnh
OiqaBzNTHyWx2l5/+w948L9PLWmKiI9iS8N3nQgl4JKtyvJjMhqXp6l8RppxXdbq2cyCZ79DZRe5
RDtVVEzZW2kTRObG9/xR7hks3E9olV8EpTxZeNEjFnV2kPmOJBVFxVo5OQEqR3J9L7qY4HTlblBg
fZl++IaH585zcPmQOMmvMD4+ulK/NVTlYXBR9vaqHq5UjztP4G28znSQe2p3aoMvvFlig4497F3Y
JFvdjb/mnXEe8IwL4ezg635bB+2vUkKa01HVL5h4vsdp+jvX+kNYQXKJdSTTQScVGTYKZv/YYsMu
jYZauQZ7sFVkc9WXXm77rQypicJt7xE0Rp1AHz1gWST1EMfvVhTeQ6U/DZKI4lxzq7fqY+nEu2RU
Eqo187mKunfECE+eFaL8GfOPeY9prH47ShZ6paCuLYxzMomZn3qkaq6P6eWNWJoyEOS0ajJsU9h0
BmebFBByMvGHkWXHBkmY601c3mBg8/91PTm6GmlWgOYEGvuPpcDoDN39nz16/KpPB6Lc9+o4xb1h
rwsbH+VclLsX+mUGRShNSQYchdJYHHh0szW+4H2HiJWt+mvpsbPbtQyFwnk09E37I17opZkdS5ry
CfoQ/mbdS5RMfiKCXh57GA2ePapNNKvhARqt973bVCSQlgqj6uUNWbImOwUpTKfzdEBKSpjt+6h/
c5Tw1QgLKGpp/eqYaUk1MMb1MLK6O7GzuMPJyEPmGbrLKQpCGNJhmC6TU+sK9JhLVDPXCkiKVZsz
p3XFulcSFU1CODt4iKKLB8krbTZI3/5qnHIfSjBoB++UqLlMYTzUD7Ion53R9w2+qlBYuCtaJoJv
IF2bNj5HufY1iNT+hPgeksBmeqaukeEECOHYTIHFFs2x7cIfYi1vFb1dwN9c3rKlaZ09EX0dLX/u
92ll8e0VkughXidZeeeGzq7E6+f6VJ5ZiNMqe4Own2pK5BOFIbzLUW/DC7q6j31xrzhivHQsmluL
k72Nal6SDIkKWpU8ApAQO7eddbaJXsVt/5HqXYRGzvSbNdnqWlm0nCyrk73+0h6bdXAPn/Wue6tO
0m3y27vt1+k6AZ9s/2komCTDWrGS8UBsYsjdTwnQInn4eX1gZjI80pQTEteCGoXweokEZF7W+U5H
PN/ubG8fbk1jJS9B+mewUdKUIZJ0XloOGQ0hQryJx5CDKNJbubXASaKDjBHCKhAW4tvlo4I0pYeY
RqoWCczrvdLAFzZs2Xno0cZb6LJxkC8cFMxJXBbweFJ1mXMuNjGyHLUkjRQkLmNzp8P67tV6o+lo
euYQIaumfhItfX295ZmQNmWQyJbvZ2KAdJLYIGBuVbewEdOVXyoHnCv3kpl3ttwPj5oRNNvrLX6k
Jy9967jUPu1BUheYeNaH6f7VuyFpjYbUiHMdQcfg2kRp1diICpNBwtZ5ldiL17ZxxV5qdhK84f/L
OGOTYMZke+8F/i5tEmele94+EIYzDk0g8JOtlGnnoe5wSqRLrOzH9W+eiSLm+E6fPnnoKfEZOpJL
7SDC96XW0m6uP3luWk6iRi6avkKqCGLa0Fh7SQJKiRU7BcSkSw9/1sQkUFSksPN2lHPKJZjMw8/O
wYHF/3394XPBYkomUQG0IhLHBzRbMPp2/s587xC/GlkH7Y98ae+e6acptUQOM6WOSpqpkLQIHXWD
VKfRagtk5ZnYbUxObHqummk7VnDb4qfX3/S5gt0wyNkWnVFDWFiqc58wiRGy67dBiTnWPhdeQ+1H
gc2Ws5RbnJmgxtjmpwmKOo2c5yM7yjPJWJsp+uk6bo3Xx3iudyYLHjdU0shg7/aqHthxIdpK8YN0
caD/0PqFJj5q5RdWtzFZ3eR3IdW6hCzVC+2ozs94vz6LoXYf+umbOVqaYZkD0qb7LQmDavdKjMGG
9JB5xl7HjLFXhN7OR+0nKxA2JoqPrTisSZjvUjE2N7nRButKxGGlidptAHC4NItDFaE73WR4WFtR
eaOmGNH6wUsey19SGTG86503N+qT0FGHggDSzwj3PoPDLQ8PisUaz9zATIJH6iFc3TQ8G+OJDq9b
YV0ZAjZ0PvK56cL7j7Pz0sBMogfWLFEkZ0TTtonQoTBqfLuUd18eDqP44fU+mpm9UxpDI+bOoCYA
U1E9WSchSMultJg69+ix0PdpYSC+7XjIypGD0zGYp76vnimZ2IhKsEXnyDLmXKIKPIPjx0FH4ByL
K72GPRV6xwrK/UBu3ti4AgpWGE5hYWxgCVIZ0TaV7sL0RW1eIgAmqqDt46bDsQPrWpWqCyLsvrn1
h1evwfsEOdqhD45tDElc8e0yPXRthnUSBktRtsPWYJ1bSwR7ZRyXC+Olj3Pl0wdD6KXwGiDZ6B3M
h0ReW1+SXy4lzGqj/i7cXXSvjgSxN2SOvoc3IyhUj1H53CO4GGMlcptz99rgAUcu2ltY2zOzVJ/E
va5GJEfvK0DpJgkNDe1r/TZJ7lGEQlT52/UZ9IFKuvTZkwDYNYhQu4kQ7WVsBXLQX4HcPYVxcudi
1EJs3IM3gkxwkya4qlE16k2EbKxdqFur1KkG7DAF/IFNHK7PumlgGDkcdbm4Dbxh63Z4XvnySuri
k4GJpIY9UCK7OxIa2CDGRy9q9o2AQn+L3llW7qDcrENLXV//srkJPP775/GEM4J5ZgRouziq1i8d
4v/1B88EpimHQxFxHJIN4DZRuJXd7GWovduAA/j1p8+AoqQpjSPI8c7OFa6RrS3a1XOyjXf1NrzP
jsuyb3NdMwl/mV9LhTzikgpn1FB/CuvNwsvPTdlJ0NM7+lwVwLEHNV5ipfIt7+o71wp/Z7F4alwX
t5Hgh+sHdhAgSJZ6tzh1P5dR/KLn4mtViPdV4aKQ7gYLAJWZ95nyOmrEzZy8p2RhtPjIKkGERYmn
4YRXrE2zvdWQGL3+5TOTYopKL1MlcCuvo0zl3FvSS1M9WuVCXmGGOCpNYelq6rmhOYoQ6uJD3Mm2
FhinAYfzUg5vcYV5sBQDYz55hS1EKtV22D4FwbNTfnHbu16obBH3ytTEeXLId2GB3M8QbHG2WKGS
t/fkB8/9XaCMkgrZunFiLj06mViQY762vd41c7dVbTIpYgyAkLZCi36kuovZFjKnMKyoq9nqttgp
6dYLV+TIFtb9XD7uI4n1aeF7qjtgR5kBReEWTl5s23G87rCIWlEAX7sYW63SLagCc2HoZzb6KXg8
GMzKIgXGHBMsDHf8XSG0vzyfUqWcI1+20InjsedCnJ5ylXNw+p7qx9EHWhEGzkZ4NDbcUbfVLrGl
r9dbUedamWw5umt2EQL1o6FWuWvU4jaTtHVYeEdTbKjmtCdB9NZqYq1KfIW4HeEM1dkNVi3E/H4V
JCjx4VL6xcTR7taTcrt1tK1T45muUb3QMJKpAudVyQOUjeT8ERsNBXIVLt3GELyW4z5PuYY0U+D8
dBQdc8J213ik7t0B36fobGByDhXgLnCpIQRVA1kckTsRWfuFz5/p43Fxf5o52TDEdSkxkoGy0Xl8
6S4N30zE/ThlfXqy7ntZ7mVUioC9bxwcxfp2eLz+0jORZ4rPl0ynw+0IMBSCeKsgyBCEk3Zy2v0R
1kr6mCmf3rxmQsSKTARtU3Gtqaco2rmm84cdPtmImkbv0xxMCnYElGNwyxudl/6sWyZBp40bNWhL
FynfHGPWMrMqNATDURAOG8LrTcxd4aeweTUuEtMZUmQbNt36Q6v1q7tr4KagyveyVAyfAY1IU+B8
GmGDVP9PKy0ct2hrRWfnWdlJtrxS3zT36L9d/56ZSTqFziPuJpqu0lMJr0IsfzAY65uFR88F5Sko
Xm1DMMqOnmKBVVJiq8ozZj5nvUD60Mh+AOl8j2LhNgMqmMj1kyRKmw7FVD+L8Mmo8ANX1005vF//
zg+E94VYOhWSljrB8duYzdoxKQNpXftS14RrUUi3VVYg6md8j/X6+1C7N6lq2LGWvODveWsoFYgL
in9YO+2M3nwPRUrJzUAJTM7Rkwzuh668V1sqfBJ0N7EcTnqNwCoosdpqH1uKjzX+U3zvUIk4GlkL
3zOzASmTsGV1WpvICeMGBqfSvvmDt9fc31HZ7K7319y8GP/9UwjAwrTptYjnF7iF4Wh7Y2r5QvCa
OZ9NGQAe8GEdCTqmBYKJ3hOcHBTMH3M4bV29xH+cCZAfs+DT6zeVaIlx4FCXab5LySETEAneXO+Z
2QgwCWASPotlI3B7aqsKmyjnXAVVtR5qc+dFwz6PrSP2tDdloIDEvwsl4UthRE/X254b9UmAywy5
a2IfQeIuMW0NmdOcnbH0462lOwuVxpmBn+L9o7YdytqyrJ0vn9Wgwcbmz0DP0hTfX0qahYEYgb/R
H73mtpY0Dp3yqpVerneO9BG0Lq3xccZ9GnU6J4m1uGWNNwlaohr1/tzw05XI3WfVi8UJ87YvJYUz
gtKwGlL0l1K8uSKnxWarin42MUUOubAOjaM/DIlW4/ZZPniZvB00bCUUt8fu0onXThx+Bfu8QTaU
lICBWA+p9h+VKXD9dV8lA/3SrMhFjNYRu6tCkGpS4NlVVOTrqBV+a635vUtxrqtF8SAnMhAft79V
Wqzcixizx0ErUu7+EGnjwnsWOuXR1cw3ZNyfcAE9q2F/ivPyRi7dr26aPZlWcFI0aEeRpN3jTwT0
FcODVRx4t2pvvgkJ1prSsNOqe9VbD7fKgMx7o/Y/AqXcqMmwI6G0wQWvWPm1uo0y8FBGvdM9BYpp
GpwGLd36UXPvRSjmcbE6Eq53TYaGr+Kh7Pthyufu2qix4aPSk8aLBTQgjPx3qbV+puB/zVy9kwyl
WVkdH9B5GGcUwiMm0TYWbGuQ/DepDgNQwEQDR+lIjI91Wr+3RkGvKe9q69+LfX/KOn3nwEavMdwh
ysY/RcN6MivpHHTZXYo1uliHB7WH75W5+Zeqwneq0l8DKSMcV7dCCB5JN0hj+A5KwBpyioZ70j3n
KHkBphNuu24Rw2y6ejOYXQVoZYkP9EGLuDQnJ0vWMFRNFl1qTomKuyaq0eI958KdGg82zm/bvuhs
NerXRowAWDWsjdzf9Or3QN928cEIThKeCm4Y780SmW3yAuGDpG3UMl6L1dI+PRMrpzB+tdEDzdOp
FTVDsZISby3o5ipFEmVhWc5ElClyX5Ab0enFjxNT8Iy53UZun811ue7Xo3fqSkyxxbWXUKozJb4p
kh/7oKAexougunP3yqnaazsQRselx88F/4+zzqcQIwyCJ6ZBjrjKvt6MMFvSo/vhqCBNscyEmgnz
U08ANOgaAeZGuo9LQphe4KidBs1gg1HeBhWmuQsjo1y++0xZSsCGdAysx0PEXfid7toLG6TplW/9
FtzdiaP5EnxhBmErffCkPnXb0ORaglzZeGoeDRXyXXciI+AeFUATu3bnb2K7WiWIC22CDQg1434I
lrbrj5TJpRU4OcpUakJSvgDa7ddNvAlV7xSN4BIYX6+SGZ7aInoOG0AbZfii+2StI11vVliCYujT
K4deImIkShqt6tLamLVwFzhoa1DUVWxdFH9SCcPDM/LcVe0I2FxLqcjNN98IWEYKME0BWIIoNzz1
CRnUUyYBCJAaBzyS8nXorNuWKjuOxdXGkFXMf4Njk3e3EcAyX+/uNSt/MUWwZJqofiuw2vRbxdvk
vkEwFYDHYY3No3uEHRzXXfkmxRyPk7YalAex1raChf2MZao2Xh9vCc6ZqoYpIWmSftUn3n3UO7/F
UvzilvkdHK67rkS03xL6l6SL+XXzpdXlNd31JAm+rVvWmST0qq00sGdF8JQ4xr7gt2yMo34VJrLc
ffqt1VCC10ztIHTVQ6h4rR103a0io2DtKc27oDfHqilQMGjhKfZJfMZSsrSzQHvoangTVcL+W5qV
YaO8jjlxVwPuDLZIuVf2oIPdUf2dn/V3puM8s8m+Zg7KlW2eNjcdZnorIRJenK4YDhJ665VcHuVK
OOg9YJmhgcBlyRhSIIChdGvLleyk0rdm5mHdjcRmW+yg6jzLuQqGrseqvXhCHeC309e3aJVuyjo/
trrhbwKjGDb41L07VSCvK6UubE/A7zB0klUgYegZWxVOi8KrLgJpKuV13VXrJoR91WahtVKTljNF
l90G0iAu1INmuIbSlCxXeg3Hg46qDXvKmUvBuZSKJ02T7xXKtHi+eyOrpTvrmRWv2yR8LevRFFne
JEO+SVNhU+r9PRXBvdGM4t2G6NpWifepjjdr5DqjtFzmrkC8/gpc9a1QvGB9PfzMRLkp265jVnau
AX0sG04uZpBYZNpSuIuMZOEOM7exTRa+S9bXqCo6plTKYycoG7NoD70lL4TPucePUfVTTLMMQfQV
l62mtCx6GNRf8kPvwoXeGV/yQtT62IA+Pb2waj3UAkoCRen8ziO8ZEVytx89/x8/u/9039P7/3lM
+d//xf//TLO+gL1QTf73v8/+zyItkaX/r/HP/t+v/fWP/vsue0+equL9vTp/z6a/+Zc/5Pn/an/9
vfr+l//ZJJVf9Q/1e9E/vpd1VH00wpuOv/n/+8O/vX885bnP3v/5959pnWBB+/ju+mny93/96PDr
n3+XTG5l//H5+f/64e33mL97wto04b/+7U/ev5fVP/8uaMo/MLFHIs7UdUtVlLGG0L7/z4/Mf4iG
aMqc6lW84mHU/P1vSVpU3j//rv9DlETFskzJVGVRlUZseJnW44+kf5BVkA3uTZSKDJm96f++219G
6X9H7W9JHd+nOAyUPPejsvC/k0LTJUOyZNOSNby6dVExJldQV5YLPZA4pnV6HqSrDCjdti11vVxp
iCvn+NW7ziENFOchHLLioU+NbKcmikhtTsgr28Rv+i4V2hrEUWO62QryI8wOGWmPMsx18n2efMA4
tr7TEHhh+4iadduhJJMr0OHCaDB+qIHkvuZD0HxVnco6DLHl3pqVXB1Sx2FbsULgoFEfnkaZiW1p
5t42r1VOe0XqW+dYgtqR+9lwRjehXaembD4EsK+5tVgayWOjTPBHNokLRl1nRwPfuG8ys9u3sUnG
lzeszXKXu1Z7F3h6bmemKgq2ZNXdo1eo8sb1Y9nG5gxP567GQ7iN1HKtdI6O11EZ3SgYHNerJG+M
N89s642ZqO2p7zwpW4sxXGYgQCV3sF4rwEc4HtoYfk13dbn57HWlelIzJ78NclGw1kHaFbuk/j/s
fcmS3Di25b/0upBGgCBAbkmnD+EecyhC0oYWklIECQ4gOIDgn/W6f6yPZ2VZSerXT1b7t8lMM2Uo
fCCJe8+Ispi0rGyVobNcfajZNg07uBOWJdtIK2XWgCD7Ei8LzgIUBym6n4XQ5lSOEhTiEvhmyCYo
L/UjLxBFlE4lkmBzXk4F2tZZOOTRsEHkOQeyf4ajbz2YsV2+0qaGyJyJJusq2eWuLpZd2PZh1m3U
HWvL7QFJB8E96u88eoW7MhtlGO4ab6YMKcqg2FFy/zjXCuTFHJRvwBztCb8JzS9luL02c8S/VMtM
UEY+G5F7PbpzYHh0q1o+5KruAnzGZfgWcrQ4J25waY164CxIUMqcekZjNAWvKElBgP3N0FG368Ky
PTZuKGnKFgQcKfTc30adC56QYY4tfSk9CkB7srbIhYg3cjNJjV1VE0hRahTaZAjMiu8QiNYeelYi
iWv1STZQ9L90Tb+dFawHN2Oru892KIbvbkWDkSKrRwoV3R6TusTq5MIx61kd3gYLd9m26ApNMwKz
EzRf1cM0wLMqGTh+3PuQcEsUWLTdoOJ0bNcuZ0jrxSdQ61OHOtzHkE4aMujN9CnpSXMgUxB+bpCp
nfcztt1+CqqbuUXgTxNP7qLCVjyXyFK90RgygEgkBCmvkvqHZIZtlaPA44J4//UbFCRbtsKOmLfT
tt6PGvDVVG7bCbOWPJoaxFoq1pFkmIymE5/r5mMTIj7HOyyxIgkbkwZTX55H55NctHq8gIIx951K
5NkSNkYppNPtDZGyvI34YN+UDJoCo27nz9ss+NsguuEb69bmiXTJeLLNuj2PGLK+1JAx7pM6Rqlw
CNdTpucCnR79QnI2SXGgiNO7iKChx83EGhDrgPDBURb+dQ5bKJCKNvCvFQ38c0HW+l6hRkaloIln
jgCQgH6mEQrebRXD9+RKeVuoyq25ITN619axKT+Sri/6XRtp3BWIApA7Qpeo28Heg2pUZEfcR9CZ
owok4ejYAQICYadoShCbZBElHhxcnz3f0MMcEHiI67KsD5TxSOVuTmCLhyi9P43jGHwqy2C6jxEd
M2R2buMumxxiZbJwifDfSzPoCN4OXZ3GsLDwm5jGoTemj9wxKIIy3is4geNUFsS++qXjL4TTwe6Q
Tw3JDmfAHW58ojzSekOUKtlVGfJcNsaQ/SKa5HGA3e4RZuj4UzDOFbpSVjT05oi0gdan3ACYuID1
H+YqaT/PNXI+MzNpO2YMwQHbjiEU0HxdJ17jltgCpMT0COqyz2HSExSjrY+BUC4t26H9xHg7Q8uS
DOYZakeBZntUkIhsLMvqxbiKvPcrIjEDjaC1LW5wwXr4oE0Cbt/wXCbsnc/kyRV6SJdRFW9LR0PE
tY6hyYNOsBNeif2zD5w+V0rNZ7UW7x2kZahEwovcHrxApXlN6zOAIySGk/CurMWtIuS8TSg49jUq
wiFSqIhJBZlg/0vaJzKRYt/X0zsbRJJ33KOgpyav0A18ojPyLpOtrgGnjGjZxqWyR2yJeySdtsd1
FfKpZRs7w4n2BKd3mKPuiV9o25dpZLTY16FBEtDW1TTIuoGRu5kTf8B1ou5MH+PJ1oKPB3fd2+FQ
bAk8onTzaBBSxWfR2CIToDryJqHVnpnRHIknwDYGRKsF6HU0LecHUVp3QGW8u7s2Rh9Xy5CXwRUS
fdBcsi96M6MCyLf36KiOzwmVzRH0/6axS4WnSa/7frPHZl1349q+bry4ReMmktAqfRG4MNaVpVuj
m0u00Q+hb25Z725LPPKfqEdZLRx0YFNqPV3q0B+Lebxt+mU9qUQhfxYqHR9d5lkdFy/ROg6p0YDo
OB7PYl/F07nU/Z1E+/qZVteFGOfxjuHN56SCRy3p9a635ACRc3l2cfGgmP3eKvfQ8/oU88KnC119
1qDnp2zNJSrtgePR8LmdPNlpVEynvCUmC0t81GkVdJa98r4B79M1bL2SNNWCCWKi7dtSTUGXwx+n
/aFhA0QlIxR2sN6uQXCoGqiKcBtvKFGL0Jq+pnxGl1m6NDFDYk0VoRSiGqryYvXgTdoyuKSzdV2k
SSWrzZfYmuWlW2YvsB+NyP9dN4dbTwbReDdEpJLwVnXxxwqxoLnp6hht8DjiUyOQtryrA61HdNq5
6OBQHJlPArsYCvYWBOLTEUgBhxzGooqM2ga0dQcMYavJ/Tqhxjct4R657ULPEcyZrE9L8ldBvdvC
u6Retxc0QHePpG3qDV17Sf8WMQmfhIwCODRbgV8ouN2X1cRya4r2AkJYXULIPR6oRfG8gJzvNanh
LDNYW6FmQ63HDXZxpAhOYQ+Yz0zjw9qECm1a8/ZJ9OgSdh4ZtabpkjXHuVt/2raBPOsAfbm7wZpO
3EYIW8AhXTG8moipMZVxUEdIoIN1OvdJ2zzpBAg8wO5k7b/Q0BdlTodovEhdie9FEKNSra8TjBFh
ReIX6wjcoiOG1gn3djFyPOAD3aCHb6vKY2GETl6Udn2LW1YONG3RW/N5U0jWg7uwxxNalNB+Z8wG
/r6cNcJRgZwBdgD9M1yKibuv2uj2bR0G1CxQ11CS+nDU9z6uKgCquKZ3Do+1LhNhG7w51eLhjkGs
fxtX2d+Bluwhe5AyfguXDW9zm+EBZmUBPHYqehRZz/hriawQYQdtVXDrgoh83uiUXJZiUe/ClRQV
FSO41XQpuuR26Ldrbxje7gt3vDwwOQMCnxAxy0MURYdqVu+MqnU323m6l4GUXVYqQnHlFEvysJJW
39tFVadtbOGDleiUPIVTw3LJhTlIG033VWnksaIMP141/RtAtwB9UmXETe4ii7fXg3p72zx+kluB
V7OKXt+PvhEMAg/Vs1SrBUY/2yavOFVHxNJiyU0nha+PTZTdb2gf/Moa2Z/akKooq+KmGuGMv14M
piy2t05e7cPE9SZ5L2roCPKlCRtxGKbtyjKgI+5tAb/9XrYScTFULOplG4m/TCYUO9G5LusDZqPM
OPYn7v0+U0ie/DYG8XpPw2gqLhxLCtK4vXki80BudDRuuxCGlQeDUfrY223KV8LkQWjvBuTWXqcx
z8UN+hhZzsMhOllegKuhm3zekg24zP+s1ZP/51oN8OP/v1Y/vNv3cn73P6/V+JF/rdX8DxbFgssE
liKw59es+r/XasH+EBzdCyIRSFROkisa9PdaTWjyBxpqEE4Kf50Q2LmBIP29V+Nr/EMEIoyxWSf4
p4AS6z/YrH+GcgSPQvxVEdqaIuBzYfgruu81VlEnSiTHlPCJUYZTuQoY6nHr5Dewzm9+069kqHGk
WmOL35Q06h7HJypVafQU1vHjD1/A39jBj1gB/0VBKPBZwy0asDhgNAnANv1CihbtOJBkBG7c+fka
aYD0ApI5QTqbV219/UL78BroWpTvcVWLGa33lUEUPwxf865ekV7+7nVjy/0cGMRIN1G4qlxA4DDt
WhxKxQ5Bm7FH2KxB+I2IiubertsQHcOOVuuZLJtv9hE8mfVxXHtq7hRybEeEAQFuRHaoH91hQgER
KOzyutqES7+gOH0xIyZujsyXI9FTR/e+4KVFzNjC5IVaL+o9UrCFyBfZdTSPUCPiL3bFznrSwtDp
OMSll0fHFof65oDYds9rixdrJvhon0FxryhKiOSqLzFrISqHn0Ksp62yftvHHsmQ+YCleDx1CFb6
7h3nTebMWE27UrFlPmmZBCPqMKvY52xzpdnVzTjIp8a3ZgPBlVTdc4xwOfvQiAowvIAbR196HdgF
8ald0CFChdjBdTeqDlc441djlt3Uzz350tlpxk7Ve+YPCd4qBu9WIt4PnZJh94Rugpg/MC42mpa+
Cb6Jru/Ffl6WxedmCZXJVNutCCegSI7EINdG840KbEGzlW1S7jvdztOOFJq7G1EZlINDAfgQTC0K
cDFG5Ne+mwCKjLguwchyog7FmiT+ANv3TBH0UzKxi6WfXyp0ievdEiuCWF5bV09xjGMpbTxv3Y2K
XNHf0GoSn5MG7X8HVYbzfBvHGpu/RYBSnXUirt0H7K62/GBwhNIsFrqYsGK5yeclKID5hKs0IJ/r
MQ7j/VpLdVNEOLnS3vQbeURnlZmeCLSEwzmoPd2QKQBjz1kCLOiQegwYBeWjRLQ3XAK0ODeetN1D
1BTo1bVL5FA0AtwBwESBJuM0qVDCmeKLgsuZBYi3wKRnkxQZesO4txDxfJcbp/pSLvjXcdYtYi0w
ogv4m0uuEFJvtgkOZ9q3KxYkQjD59y2mnXFrIkhsw3g4Ro1Gr084xBkAOIQCtzI81V0j5gxnMFQd
IFywlY6yaV62kG0vPdHiI1D5cUmj2lc25bqyEjjLOraHeBy4w/0i4SlMtoh+bKwSU1pUgdryqAcL
itIZQXmKKD0x5SweErPvpmT4TnEkongv9BpRBWaDR6xFQoHO4qDZ1A0WCRnAZM0TcuY6LnGirsKr
O9jAA/pcc9MWWQDaxufO6lngr98cqo3HCMkzspmrGsW3JQHWtmx9mQV+Qft3ZJEPiOyJrcCmXLlb
pAkjJgHxOhHZi8k24y6xZBS7algD8+zstEBkQYNenWbZt7j7adyTjCBAGM5xFBNHaSQj5ZEBJSa6
CzZerw9kKonJSze15jCiSKbbdT13kADaFYCIfK0lEvG2hyYYa4+O05aFPP7ejT6MEWsSwZXyIBXz
fr4N+FABrgoVpuvTrEKGbGWw1FBb7QAqIjsDye3zmMfSJchxC/QGk4aNCv4wQbuKZExjqvvA4FuG
zKIvn6auYA8jW7nb95LCP6VbHtc7ZIgEISpxHYLxlaT9nx1sNhUsJVU9wTxTcwZ8ypE7um3xgN5b
GOUvlq1JnM1tvnXNcoo85f1J2tn9OcHu2Z7QgAU9SqLW5CueIHOHZnJhlv0iQ6TfDkiweMGivDZ7
37RDh045OKL321RBx4Iglo8dGKo7aqP5iQSIeEprFEUju6xH6Y8uAHxnsa5w622cb+VDtUI1DNym
Kbq3niCtGwHjbTUAXGnsnCNMeKjOfFs9tJdTGYc7vnD4apBKVtZolYWuOR9qiaarDn/ZcIPLUX9j
bT98R9Zjh6+4kR5tLMBbwgfaQ5bs74MSLOQ5FtZj5qczntKiWyIBO+sEajZ2zlS7eeiMvEF2ZIAe
x2BEqXFY11OchrNpsKMpAIFNPibl0mTbtKBjIeqStzqpLVJUTWv8bYtgoAR2JtK+4LtoTg3gYHG3
xFQtz0u7oiVraw2k5BFK1KcULADMLsjJrhTIRPQ5oOwbCuVM8xbSpqJpVZy3dZd0O6qbQtxQiKJn
5OU03XtpFbbRQMETU4XqS5GY5fOooLpNi7ldYUq0WNvCPWEK2CSOO/uakBgp6NYWYzarkg47jnzx
Iavjwtid7Npmxb46+yQNwF24vdyqZEuTCXDy3vOa2P3iq+gBpEUNIHmZUTU1qUK3aWzHKcHBI/wR
fRhMpHVUR9s7HWbjMuUY/vYWTAf6nrCLQw5FJT/wGQbxPXTcZsqxIjhxAEnR30GmoNnOODXqnS4k
ro8WNRACIfW4ilBnH3OwwL1EnBvo1RF4iykjqCa48ewUR9WGfivVOvQWNytwLcwsIsZ65xYIyKsK
HLqfotYDXA02n83JvK2HEM3vQ9rQmmBbwNPwFqCLO1OFvD+gXAU6NVoU3UaHYB5D5AlvS2OP1VLU
qIvoxVZdnFLNkK8SRuVzk8gKLQmRmqvjEoyJmRBH4Tb5yKinycnY1llgB1sbg2RBoUb3uesDQ24J
zg3oM6ClqD+GoeqiXbQAArj9hyc88gW2udwNrMZVU9VIhd5NIw3R14whGDE1M+Jn31FN36i0DnC3
oh0+WPTNPwrt8F2ats5VFRiHCBqT3K+RpvUbeml8efiHbnU9itCqvE5oT8HLw0Sz88oX8DTi9aNS
ekBc5m+ozr+UJ/8mnkSMNuUgQWwizg3GMXJjSv+J80TEz9jrpM63KsycN/NRtiz+hOdSAlwFBaoo
D6G8OXd9E+EVoGxkuU4hXrmDgNsks8Eq02IAH/Pfj7m/jNPX1wV9sAwYdosrO3dlUX9gSznyQSjh
tc619P7OzEH00Gq65rMr7T+3u5840x8n6p9lq39/BAwIcxgFOCJ+zWFYwIJXvK50vmHsvl+qzaZY
rvUtAkoxXPUep2Nl/44E+x+mFkwtPuD/ZqX80/6f//3zPon//+99UsR/iAipRBGoTiw2wXX3+Xuf
jOkfiFZiAb12dGGvu/Ln/9ongz/A0v5Fxkp8gRKH+7/3SRr/ge+V0lhA6RBzbKP/yT4ZXmnnH+h7
EYo4RGgwYpxwvVDwCWCLf7wwpzmCRtK3C+A0UkgAW+Hc+1vFEQz1zOogSeBrJaRuz8XaDciZSlqq
vzrQAvBNjpzGmF392GhU0EfdGgCYxnpTZmTCfrzTZvPIR6SKkvI0VGJBCGvkZQkZkI2c+KY2wqs1
XUI+2iUNthICdaDMyxsp+gShip1ydqcwt/o7qjfU9JwlYqMncBqIxIAlr7ArVIB1Wxssf/D6uAB7
49jIb24Mqvg1sX0/gMutcLjuetrP0ZOzwPZeHQeMBilR2Q36ve2M8t/bqG/jjzFQmLBLQwNnoEp5
Kfj4ZYw7C87KQOowBOniAFQ/lmhFAT0e6SBpw1eAuCZY84QqYj72dUfUV1XhseMgVlLx1ZLcqKL9
QF2g66dSlTW9XWODpSjjIGUjhHmNSs53eDq44rlgRi+ISFymWJ90T+Krr6k2I87PwPmp/Bhh+vEf
ysaF4q1THPjTLVCkxnzvx2XqHgK8m/l5ousED5QaePKhqNE+Wt43JduE2gUNyGoIjpRioc2gMFgx
uwS2swDHEDLgLjgFN/tZVLQIEgwSyVp/9GBj531iqi74EIkmjD5VCHsB5KqK3spzPagqudu04ePB
b3ThqRok704+duP8nUod9k+QyfbRWXjP5D0OdwjRU9CmJTaXpmWruK3juoBtimnoeQV0VusWPenr
qbrX3XB9JmNf+RMLmcHppgh6gt6q1dcoEp0nu5SXKRkVsDtqYsowskymHvaIwKr0cCiLNaJn7KwF
+dSp0tt84yZSl1qvFdttyRjPt0sEXhJMq9HoD4wB7jMUFdbs0ZAB1IXWHXieeALNnlchMseyqltL
9RqoAr0yGtppwIRtYREkt/G2MTeTjSt/EhNpJ0zkiHWDJTxxkHkLUMg35RZ28I0nUDBfoK+Iohcy
L4oeQXbOyTuY87F6i5lZ3Ye6dAaIo15V/ODAohV6F/blNkE3gBV0XNONFGy5CEii3C0tmzWwNFVo
Ld3OSRkS+LONnMrbRqjNXwSyqbsjLr5IIWHA2PguIfWCYdYETgUZCbTi+4gIaI+7dWqQUhhADJax
BrkW30vY7pJ90VjX4JjfkLoTVshy2K8UYRuHevElvWzhAPlbOwe1vJnmcSgOUyi5e+0KITEHw85t
zwh9b9avdWS28dCh4mK+xHEVlCmJ/Fxd87T6rdjhc63DR9IvIZjUpeGWZQ4UKe+xXlrXXgDdxQvi
fG2/dregBYtlX7BEsZ2NscBk3mIP+xMwKmtvPbDe7tDGSKXbVcuW4FchLw6hYZgrl5ZeYN1vEp2W
cbSGe/R/FBquBSG+QjiIfZPZKXoUpUeCSOr17NYH08++syne6OreTdhvnKUiwoR/iXCjT0e1FJE8
6ADVKPvNTV3zGZ5L1X91FayrFxsOZMzKIR7nhwCT13yC69z0WKQ0Q1JGygom19fVUfcuXTWymx6O
MR3nXRyYDZ8OWm3QwAso3eNpEwtmDhvkFQ6uHhdCUyN4iUQiHbIu2TnR1/pT3FtafBOu6KI/r5gR
Yi0nxmtA1KJcGyipMdMHQj9wsVpLphSzAta1HTjtsTEZoUaakwoG4faDTsboSSbIuN6N7RRd8QQV
JOo7sxrnw3XJRgZYCmWqxcHApIKYxYqy2tp0WzYd7KthqvpbMyLJ/InWcxxcLGpbdS6Qo6IfCZXb
hLAhOvcDWAw107HPJHhfDY1vLPG4SYFokb7d4yxBw08WDUK2kEZuI9IlrCAyvjOgmFD41K4WValQ
9cR3lgvQDviCQq5ewOkJNJTgYlyw0JU4lePbmCMC4NnVwzKOt3CBm9LmzZCU44iyUhwMt7Lq5v4B
Q7V3NqdmjQXKLCYIQz8XcavIsSDwmT4PAIehr4xRsMLPRVNP0wQvAmSMUHLaBJwTPZQGRWTbLgGX
NoG2d0ukdhOCuWTwqGlcIeKAcS7DnWORbnjm1q1U93ie4+2lld028gkPSOxra2KGJAeOCKTCrByY
jF8s8hmb1TSQYkcDmSFWlw0PIfgdYcXRG5REwuDDDWNEK+HT6AA5RljS8TAMU+vqFbLmdTT1eMDY
eFSuHAWUzuEKb82wtb3Z9qRv1uFMwPNgywkRQF0ctGyC8gNWgl7u8JVpDcH8yIbojI+tlG+QHFhF
EKBuTHyVMpmyiU8YQsf589YDI1dZFYHFwZkyIpUZMeVGPGkVe3Ykktf+VPguDt8JUYgPGebBLZew
WWf3YtsZqEp7hfDOBYakAZx+US/mtYJOx5e4Jgmlxa5SgeZ/4kCulpdGT9hbevwMblwGyAaelx6c
5dTueqH0eAi83GJ5iNjsR5qD7pNLi/c3Q1KBY32+pU4Xvjn5qUYZHno4ykZ9vV4kEo2ImDBslHs8
AjiEHCHzE5amQnb1N4blBEjwYDaEaEVCwImfB4Cc6j7H67b0dyLPv1wQP24+YBiigEH9I0FP0OTX
2JVJOYxUPQqelJYAJZYnSOFwsTIVHBJkYmS0ltVNTRPAlPMpxqpjCjHuqR7LtKjlsuNoYjwaWAt3
jpbL2Wh/rNCnBUjrd6FfP+tpRYxXKhCwFYNkEQlO1l9GzgSAGucEibxVGYxnCi3gTtKi+UTKBmE3
LmrL33AMv25EUOfEVx1ixCnHb8XI/NOMq0bWYS6s13xZsSlT65RJHfRNZcbnNjkAEZ/uqgLs3m82
sV+WPsjDQNUwDMESvDeG9euf/7D0Gar42DXlmHf9hjRItdZPfqbDxSRDfPhh6fgvaJRf3uI/f5XA
GwTFxCj7NZalbUbVYcuAUypU9rGtqi4GhJ5wWI8UeRjqsuWAC2SvfrdwX0XEP1x2//zFWB6SGALS
EFr/n98jA1s9d7qwMGYg2biaxxOFSlv68U8v1pfQzhnynDMAQCBc9ZIJtXzpY8SPb142v3ktv1xX
4JFYKGD8FCGygyMsVr+8lDlazFyOZBeNDc3nztuHIabbQ4A2yZwAXPnPLqtff9+vHk6E1AH0imCF
IJNiT8JvHgcflKEp5FPNxYwT3ZvZ/05G/5t3+av3fehBywglbD7FY7XHrEf30xrxfbAqn9JSd/lf
V9b/bPb/CxzUDzfZVeP9kwb7g51/5Yr/+ol/ccUhdNYRnmMyZuhPiq6ZOP+WYHPkmyQyDBh+BIrS
f+/2IZZ7LPTXP8R1inUED4V/ccUhh6ob/Rv4IxZcH1fyP9ntr2FYP9yZXAZAmxBlGIsIShc8dH++
HXwA9X816DCXnRwBeIrqAawuug9xch0K4ODPw8ymDK/nd823VzDr//nNoLphpAlYIn41UIPNWTh3
hOWEe6C8FAJDjArYD35zw//y0PvrHQLjAoDBI3Dsvx55iJsdvUmqMPcLcPQUXCCs74w38wG7VPuS
tD15gBZYvfxwGfwXz1ocVj+/wes3HuM7gkAgREAIjvKfP9oinGqj6npDzK+K6msDsQwxp1RLk+om
KOoPrpPoailh7r0p19584eOE4mNoNfnwRM1YwARFDYXsCnEQrEklHyXkwoPPUfiJWOYY8wbX6C5O
o5KgnlPSNphu7Mgx94CSqCO4kmNElBlMPemiV1g2XWRewsVKaKdavtvsjEgP7eePVb1hr550IMoz
Ikri+X3EQA0ccuDApMmsnmYFCd3APPlSL4jbQh8I+TiOU49SFrAA72My0ecGbqLoru2XtjjyEXVx
hk/iTtv4G3EShqtGu+3D4OanuVzyrQHzK5H0LP2OKAT1Lh5kBCsU+uw4n24q4arPZrLJB/B84Q16
Zdt8hqTwIB1g78wu2Cl3KydTc6yu/zzAAzgmx3Fox/lDZ90wISdnGPoECrEueS2GuSju2QBJEoi8
hGcNwu3e7FpaaD9h4iYQDEE8+469B0dOv9RrmU7zVJxmMQWPFfYoCEYjqKmGZjOfddANn1nDo2e2
9OIBM1+8J7iNzp0AK5HCvRV9l+2KXaep+XTWqxl3FPXWu6BP1EMIfg5SuR5zJAR36PFhArIhER0t
n3pkPJedORiYA8Z0rQFjpEOw4eptp+BSe4MkOVtCvIceyGOtl/AgNrBxsIsm3yAi6+5K0nTfAU2h
UShZW2RSAO+CP2rJIDoad9EMDrSXHSo557g6oRkaKyMfwhAJleO8G8yi9t433QUjC83BMbow4z6I
94mf/XmAdmU3TmB+OcCtdISC6UBIMLyg0aM+wX9eAyop7UVuDLn/qoY+Iw164u/rFopH8MRYYhlU
Eenk+v5P7IJsF9EAIxfgiBobAMh/xCfIGbpIRWzwtgzt5LBiQlh/S+KB3k/EhrdVscDpEC7oYzBi
u8MA7x/BdSaZmgtw1A3UddD9AZ1AA1YYwd9KyxGuoBBKEW0prqTJfKjDcnyKojCAmp6xE07huElD
gCc7XDfkrSnlvDNB4Y5zAPQihcZwvFlMPX9DCDh5DIZkfJhDu94xwIbfESg4X5pkkK+hM/1ODA46
X4A1S0oh3jxf8dRDGPTR3kHuAAf9EK+HGJjIDrG206e2KCEp9D0KpggX/SnUnn8QJenOhYM6BXln
1ami8ZKBkBnPDrLLDwEDOUUr5Y6DhZMvdHO9U70Rx9Ww5sKQH3PbNlyetsF0ewleJkfrVXGPx3wJ
pTdrvo6SucuCOuRjqwv1rRxAdIYSwcEhbDAPybbh3inD6iYoG1zDHHrrTA9LvGPTUlyYZ+FdJyuW
2U1tp5Uz9bgtENcaPOvvPbL2P5eziXNH9Ho3DpAfdQjx0qkuo+bG2AAm1bXiz9qHKkPcKvssdTDe
VcMAuIbxNULGgRru43GbD4pVCwAbLu/iIRrOTMzwCVEfTWiQL7ZLMsn57JnpDoKt86kJR/KKryZB
l0Dl4/tRIEcBVKVIDuNYxsd5jvo3QzroHqyj8AWqrbnFStsedaEhZbEmxKMN0o7uHS97+iIAH6Ch
dHUAsQdiedoIgqxqzqNzu4Ac2cLR7wf0seYCn0m+uVjl0CnKzME2e+u8wI1RUfU8GURqpitaMS6A
AlawjQiNbHAxvsgJnYZLvYVQhJjwWzIBzlGAa/c1mLrbFRKau24Y9EOip+i1xhP/AdcaOzfQ7568
B1frfYyntMAjS89lcRNK3d0kIwQ50pczosf7JLlc+w/2LqwFZAB4BMQxgbVpAlpdhRPN7FCbjHe0
fOFj/DxSZMuUIbW7jg0tHKYlf6hZM+X/l70z2bEbybbsv9S4LGEkjd30krdvvHeX+4RwSS72fc+v
r3Ujs94LecQLQTUuIJFIpBTBS9JozTl7r41HyjnkaKfWNEKzd1dozpacrHk/14uGZreiriCKXj12
NWEvEzXHk3a142Z5HJ1cd7L3FJZ6WIzEeCkauNs4SfXXuQmzNdaz2VgpIFOr2Qz0I0aXCfZRpLwe
l8BWGX2NEGq2kJXHMFoXYQXbqNX6l2EukQsQ+rqpCQ3KaEqQxJqjX83nryna6b2sS8ysQzUB7NP0
2Eu7WuxC2ha7OCyNG/y+SJg5Lmyizkh8m+P5jcnx5SHWA7VNMZ153SRJBo8mWr+Uur+hDg+8js4A
yFJyfNpSF9+tTFSXNi3HGxfP35PSRuAT2N63HIP4QHFG+0Uh3e2cgaUUcaIIW1PtaYipWlSEcOw7
GHNrc44wMmAe8RJldntTN4YNcrexI9kNu4dYuu7OcPs08qMpvy6yqBAQEKnwqY4S7MoNXX8NcZeb
7inLNTxkSjasDaNDxOSCfEBjrN0LO8lvUCdZr7UtxM7RG/eSd5l8RmtVDV5l9tchsEDNYF9TPrVG
1pOCE3cu2SUNBVhynHEUDSp7xFWAj8ZqcKEhZy4tuUvCuaaN45bqR5s5xggGqTGTtVtDZ/JFZqoc
Nd6sdyu3l07jJWwC0GRoOekqhU1hEKaE0X6M8WL0/oyq+kWaINXo1YT1rQzL8lAurX6bk71MYS+g
sOzlQD/eyakNnS2x3VZNBKo2aBtXGwr2NTJ1Nm20NN87gvI+QAKnfqNlrjosdmg+tkRAHNhiqJu0
qQkQakO63qscU7qfUw+0V7OOpCNkFuz2+RgFFME4VlIHN81i9qxuKugANX3E9N4I+9kOa/xpUVc0
dyD1zEMjoHauqHWFj3Ok44Vy8dctpDgznfvs67WNXYxO7AWwZKvdaBghOhTdjpkNgOGQ8wdA9V63
BveSsZPD74ZIaVnXLl8mqoE2fMTnLUgrr9A2eQ1KvHFNHHl8FyZBtjfypTTXvXLnyI/BVRLjNQU2
dS/ThQoyo7jSfP4RaW3LqKU4tpSVxBNksc5uEunk5wZdOHioTieeQrET5RUPUxGuRemo14otTM60
OIJin9FeS/ZJ6E42iyMwc0gbHFXPltHCeVZO+WrKs+KxTQIYCX2XhLR3miqWXqrbTeeVjYuQR9XV
kf1lJb6pvi3nNepIfYfKTYRePycjmiiq0LTzTKlW2GMoNYlusddWhD9jZKLf4AyKL/poioObyfSp
znQEZ0vEgMCZupwm8YcLkmF6pIJt39BsaY/lnAwDIjStXdeDZW1lhRWkrAYEI5Xe9oeibE20HCRk
beNwyc21hgLLvkr6SYQvmrKYNm3huBdDudT2hCY7ZCzd9MG6vpyIWBxnckIw950XB9XkyjRHU9t1
eHqurkMetzDqlg6o0YybMHSEjYfG4B11WrMInI1ieM04L7j3zHZJ4818OjSrrJLBrywnGFd2GQ/M
C7o9HGQnJBiYorigVdVD3+jMcTWmLd8anqg+IavSaZ8TdkMC2nEWPmS2AaJAEqO4RR5xV9h1vh+U
3r2lnVsd22iUREsgeEXxYz6gKOnwGyR695K6XfF1Qb+xazWHJsnc5xu9tLMXpcXqHjkXgqRVo4ka
yeM8gd2VbukOaFDD+GzjBb/JKvxAq4i+VMfYs4AbUDTWnhXyNPgReoh2hSFFHCVZOl5oB+MLssPk
RuSyvmBPBbZjJt3ZbbNl9Hs+OW1nTXbHBALj6Z5VxVrVBj0+RnqjfQtafApeL8r6HjmMs/rfNn1H
PSh6e23nM9LbbnH2FbAHED71rxien6p6Nn5rapY4nMkCogb0ByP3T1W90hCBFEbBuTqcJ/ZlZnDm
kEjfqVX/SWX4/7WX//WH0OB/VlU8fxQfS/+Rvf9ZWfHHP/N/qy/uvxwJdhBri0WBAy3kf1VfbONf
1y/TdhwTizzFV17gf5QVmv4vKuM2NQlLoo25kn7+U3uRqPttqrXUoynoIOV3f6f08nMBxKScfy0I
UeNxlGK0yGsN709DJGEo5rSzTS+auuCLSMOQ8PNhaH5R9P15JFJ7spEY2jRcuIJxLbT8fJmh0sae
D1OBLEcTBSHKGV9rzqL9mrjQ5Rcw7p/LSdeLUbbCdUBhijtDNvLzxUA3tCFmccNrkY7ehZV5QSSx
nRAQT7WavU6gYJyW6fWfay1/vUXHRNKEKJCPjtd8/fM/PcmhQP5bxDkuHpskRLsNkhFVmtk9RFGR
f/3na/1cWf33HTKYHMRa6vpxf2oT6NcuIOZHcDRYhW6IRm5X8WxHt2LRiCMo5+HfdIv/Uaj1t/fm
IgqyCAXhmp9GiV4it5xokXuWG0IiBwaC/oV9J20+oEfZ99+/O0qCVDPY9prqc9047FWGBrA2PTN1
gnBVLm7zDiI4vScdVJ8Qbdq/GJ3XIth/VwH//TipZiqC9hAxYY75+dUVg+06vZ5AARLZV5zHvqOL
ZF0uMONxFgPmjVsO5hqbKfQYv7j23z3aK7iMFhN1SF2/FvD+NGy6BStHEnWE9RRaz34H++NDNcXh
gS5F/1tVyOt9ujqMC6Yci9a7/Tliq2uoDAEPNjytD/LoiHwfb3Dp2tdeVt07PYV68sI21pjFTHf/
NSf+TSHyL3fpSCX5D18IMjN+x893Cc8zrGpRQFTg5F96zEo5sWaNqX0g4/5l2+76zH56n4406fHw
Nl1UUObn+1yCGdV6wmxTd0l7hwUaByplglPkmu3eLFLblwXK4N+9RaZwpjZdN68X/zyTjuTFRr3g
+7dptvkJ1JOVGSftqW3mX3VQ//o0TfpG1HRNVneFuu7np2lNAlu5xuevlBYaxyTvw3I7dTUN6s4M
aKf/7p1dL6foV/E58rs/XY4yCnUPh2Hjdnn2hFu5dLYB/sXxKa5Mlf7mIHUllBhMKDbdT5Pp+9PH
OHQasElSs7w5aQy/G9rqmdkgJ8NR6Uc0MskDNR359M+3+HlC/XxROiR//gpRWsuq73XHS3A7bTIi
fzyM1wo3SOVsHKTf63++3uc3yPVMy2DFRSpx7TJfl+U/ffWmPTBpD4xQzjcEwxQ9CXckeZ4GABe/
OcH8camrZtKh62hpn+fucqlbO0fmS6XJtYEfyoDqvtPfOlHZbP4f7spxEbGz9OqO8+kpDmq6foyx
8gSpzqyDVhkf0mBcFsABer7/54v9zSsD/3PtqfDjnb+kXeaxC++hlOAC48jAx6RMaC76EvkmFrN3
4YCS+OcLft4qXR8kfTJLIcy/bmKu244/vbOGQ0udV8rw5jJSNYgTYY++7dSB9vuDwwEmh0QCNhF7
w0+PUTb1RPEkNzzT6rMGub9r3ZadOb8rSlW/YNP+zUDkyzUdtqX0op3PNxU0NsaM3gLAV8UOScLR
e07WztrMLe23Mq44V0jlGGxoWQN0y6F0//PjW8I4nTI8o17CY1zrmFmuCpbwreiz8K1Cq+uudKf7
VarAVZz801rAZWl7sTeh325KpsufL1tYCukj1WgPx8OC+tIQb+h75V3FBLsxHOA3s9Vc4Tc6WJC+
Ss4x0+kuXfBv48fW7dU/D6K/GbX8HFvjg+S7Z9X/+efgBZQ4JkO2GhAkbkZRAiNNRUA5Zta/GhQY
f4s7/8dTZwrlIOForP80Mn6+Ht8ga0gpFdatxe58iZjP8cY6DjR/DpIk+cU38pfhxKKkXc2/NqMK
q+ynp93natD7bjA9PP35S1y73Qmvx/jdtqP4F3vST7t8JhgT0YpuI8sxFF/j50sFbVJadWbjYSoI
8nX6pgz9WAxp/9JpURicUhK652U1TtUy7fs4S36vqcsSxUzA0KLigzKdufX6MP40IWC5qecGVSfU
qApMSqo1brdqUY0nnouk5K5kkMc+LEkAOv88ij495r/c+6ftlDk4rYaI1/AWs+fAhs2x7vGeRsWu
7Qy5/t2LIYBi2pMGM7r5F6OKGZtzpkqOU6AqpLWmGdZpa7sax28IruaPf74YgoTrJ/Dfuzceq67Q
+KOD4lRsSs5yPz/WThcLRAZ98GiZz/GZsh3LSFXNgVzNrmY8p/zXvEFx2bsbtwiKeQelK/qiZALv
M+UL6mNLvBqoO0GOpoM0sBUb2XvTteO8kkiP59XSjqq8dqkHe2+61GE86t+mcaOZ5SzPuhlG/b6L
4F/f9rPlFP6EbFUAVMjbbN8YqqBzYqQlziggR+qBoPQa1JocyFmd27DPfDRW84jN2XDN6BDzD6hD
hca7O4xEKhkHGiaZs+3tearXhjURyD22Fc5Irc66b3kbtn7fw1FSyNTVRsi2tfB6arQmKEoa2qbM
Q9VtRjGEo+egWSLJwBpoWYGfwBEGAY6aIaHyub6NBc65IzrHPNyi+ZxcPx2Ga2ZnkHwM1ZLHeClG
N/HBxkTicWABl4dRd5PlwHPA6UbTSD2lcQhZjraFaoi4BDp3MWRh0uVGD10fKz0CO0U/S2JEzEGv
+Lq0IThGLoX3e3dss3iLJU3iXxLtNHarYSrN/GYMuiz2J2r2zkdW6S6KJBlwgNa8OKz7/oX1IHf3
dTuknNzpkQCQm5Oge8bwHY/3aYa3M/aWGf3eRjkjaJCCatiwoaWWwpLDMzXMuCMnkW7gVcMaKrAS
VO9ysNUT/mD+vovacfQEQtEnuqnsmZdpaqdjsShU1mNu4aoo3GQItgo4Jf97tBP6AGkxuIxL06zW
Dm0kJA4Vw2SnesJOUaj2IjtB8cmbk4jLgS7SiOB97+hWaPhLQin6Tc1zFBerJR1S/Qa+k7SPfLZN
ehOWVEkPahyCmzLG7rtuG60ujgRNRYaP28MEz9ql/P/hMk5f20Y4FwLCcgS4UWO8jnNmvOYukk/h
FZg9vreZUk+gORbO6Y0zfhg4z68cdzOSfmXZWrNLKienOVclSkHXF/sWb96pwIhr429RzZcWWspy
N7ajcy41Yubvlc5Rkb8WNOO6NOap3AChTbtLmmSJsVaN1ruecuPpUbpFa22dPrHlwV2CIN4g6K/6
rRN33XQsUTuAvdGM8UMlJY/TyDLeBz47suBloVUIR1JH5zXiou0B1FVRlWHdiemHoCDKQy9XSx1S
VA2HLnf8YGR06ztEZXgwe9q4/aamo7XcM/UUtyqVyR2VcvkW6ElyEyb4NNoUTwrFIdxEK+yEw1Ph
NtmHNrcyWcsyDI8zLgS1bUI9N07dUsPts3mP31J3yQqcnJ2kQpy5y5l4itJe1Vmp3/aUg5HEYFKl
KL6oc1nwriCBkV+96scECyS6Fzh/U+c0P/owtPVTBHKl91UlW9MrpFbdycmy603PZxKs+rrWjL3I
kjI5Bbqol6/dAEtyX9mJNviZ3fIAiimprdUcOmO0kdpUQEc0hx4VSwxZa9UKXZOrWuO78TVcPCD8
mlHV25ldkrxv2wB/ShfymfqAHeNkBURqUpseonruaWNdPTVxkLvrOEfDt8YBM7zmVmnQEtGTA53n
+tKKWLwuuZ6JjWjD5VvozORa0u20ofPWPV7idF5iayfSytmpogGRqQ85keuZ7YaKDMKC82pB5vOH
Jfu6erT4s46DOkATKvLN/KNIVVVv8iAW44UTxfQWpbGDCNZshaAr1iajP3FNM11rJVYi7DBLcmvm
8CT5GZltDl+pfWO80YZQflsqJW8p4eAXZ42Y6/seb4B6qBc9y1FnRIZ9qEFuuAfLQO2+ve6Csa3O
s03fPZBTiyIXYTw2IzW/dJgL+m0zzYWAuj/BCkUtpWx4Bu38PldZ1KxlXFFU1Sa6ZEVT598iUevu
aqkdt/Eyo9NvQ/QT4740BaxJO7zCBBGqyIORDGG56Q3nGhGqGdrtIsgu84y40ob9FI3kltuVys5D
4YYLQMchJCwS5fTVVBHQ2x2mNHkqQf+FoODRevuY6ie1X+wxFLuxNetdAN7BXKkFE7KvjSLv11MO
tOGYd3U0bxcCJLd9pPrDTBuMDKcskYQixLrQD9oC9XBVhwb4rZKeT/yiIfHXb6KxHR5aMvc+ygq8
N/S3rr2dB6ty/Ax32WXSq+7RrtFS/KC9gs9idgfjeQL4iFCGHwOrRO/UtWHpmCVNybTHymeWcRNe
LL1z4xttimx1yKltZUTBuBOdIGGjwuHNIKE5mGEf6psqIHx00+aaNV5y5DcVqfWszyRLsGZ4eQ4h
1qtHm9FiURbWLvEYJnnrgU0p21PI+kQjVDhODmwiw23kj1BO3tNmFjecmhyworFGIzId4icUR9l9
rAbzrqpEo8NbjxgL5mbIe/Bic450ARzaVGvVMYYcJi4okfqZOCywbAdRxn2DMq1hUUfowhSUjb0K
b3MCbcjOyNMynTdxmGIDUi5cwj2CtVS7A7PkhvsqjJzgPp5nC2Yk68YXW9Ir5BgBAMpHvz/G9zOw
EEDbhrzH2dd/hEYpBxwwyajGZ/5oymjj9s78pqpCH344YQoPUiY9xv20ZMrYjUTVgFZtUd9cE5yR
PxdoaygehLRw8VIw2EdkN7HH1ESHmxNzWx+EsSz2VsbtgCgOOq15KWZQMSvhKhV5oL5mPIpFJ19y
uszVZgoMJiuXXWz54pqlsZyEDHK9PIwx5PfW6xaoVZZHvhnrt7RaByRt0vR4yvUh7NdtkJOqMLWD
eWmMIY9upOUu7iNkzDHO1ohbtmEW0wdG9TzVT3MPSzXzQhfOQFlYl5I5CXLZ/KFHeroSU5r6vduV
IHKiW5znhU+NbzNEoO+qCWKvlWQewZ3xqtJKPkwgRiuSEQ5JFj1NltqXhg49Igu3bSl3YQ7rdxyx
EOnOKTI7LFo1MwoMcIyGPcrzXGVr2OEbJQVfponMkNPRTnfoUmZFWmwmvT1b1vBExqBapa16ySUI
1aSabmtwlMhG5c5qi0spwg87c8c17rMIVvZ8P5ZW6g328IbHBBxKgo09Rj5iDlfvayiObcvusQ1Y
uKVzgf6yoDLA/ThIyHCmOitn2Jh1fZhqly2zdpZLfTfaxfMyD0fdrExEJs29O4TdDobjCZfhszvJ
CbVieqbm+WR3wW2R61ByjeC9HkJa7XDMjMl8MeXcgHoTezk0H6aZ3UNTuKnC/L0nSB3wXr1yB/V9
LKbXuegRimfgBgBSHwYaNrpVbNFZfKdGslVNHG9oS/txrwc0lIGtzWPE25nivTm274uQXxkinU9c
Co76IoY9FwENtsuhP5KM9xCSgO3bSflBvMxBn9MFq0mkXSfQeBW7Gv2TSLx1pfaucNYMNFZZG8sf
YeM825V7ptrJXwt1dHwu5P5OGw5tBj15QQ8amezPhuSpZSStUrNhM+/InRbk79kw7YZw2gx6s2mK
6Q387ZqZ9Szsep+QOsdWop2hclJsTIFEbnE9PY7hPL4EdAv/kGmsKJvFfsYu2bNYRh7mVCj4nvq3
zO5uxjy0dylday/QjU2XBedMB04S8J1P3U419YbzgD9LuDVJBncun1z6GQbhgQY7kScElmHkNQEM
Pg/Yslayw2ZTttJza4Y13KV+1ceHq4/MJatXVO+VqaUs7GwttLapd44St8hqsVlhDV3DXWF7yRrA
YbRrvSia9pSoV7Ds9lrQnoKy2yJy83sjXDPwLpXA8ZiJbVaaW/Yj20ogfUv64XG01K0R53fFuIyr
Vk38m5yNXlmnqbYPeSW2V39YYOs3bUH4al9Lx2cQX/ICtK0pvjfO8nY1laIM+ypl+IOiuKeS7Iw3
7LEVxR3VgRsi+fx6Bp0EDEZhwXJIghlT+WNanNM8pZC6DIraWocePIwSmjEELCBjOGZlROKreQh1
talr/dEsm9N4Jd7U4mswgBws8IUuQXzQaiASJZ+HwyTqjhNsTWrmPpij9SyJ11myzSKjYcWpAQEB
K0OX1ERnm81Wz4MvjRz3xtRsOz1dd3b5NLQBaikBOVXPCClNipdaq++zAf9v0CDmsqdjEOTbmLxo
CkFnx+52la6dc9N6kJ26NKI5jiW7ldR4zRL33C71buiabYP8dhy1o5G3OxOUlqfL5KYI9YNpo8la
5m2oBr807PXQTiA0s+NcV/sC4SJNzXyP8CZaoVZBlzV7pL7HXpeTYjk6ex2UeG23GzuIjzSyvRKv
0lTqPhQlYkphg/kWR2+9GR/IV3gG735jl8FLpAsvSmaf+MxXMbekMpETl8vg3YDCHbqZF6G9UjI7
jTL2Q6TAfafvliA8phimfH0o7uDcilXdqoPL2Sacly09oL3Tl8feAgnSNOxLqD4WzNPhQdrzR9ZY
t/rQEwiyEImhTeZXdq63bFUjr8xRUwuNZJLcujT4sADTNCvdCO+diBJTV1+gww136LpArKih7Tw8
1tk6pvy5bk2SS4Y8OyUjSE0OYSdZzm9lGh60rAeeCBlg7MJNN2dAxLqCVhj8E6BR8T1E3WZDwfE0
hZaHCZH0j9GwN01YbTINqw70PLFi47+v7WIvsL5vC4Dzq8loDNaT9iwLAJtBAM+mUPKpg5cFh6tv
vcwValOaEqksstTmlFdW2a1EbnTIUEmj1Dl1ummRrjk7MO2BH/86MwYZydMDqqjHcLGXJ9hM1Tnp
EXsV8WsWxvdTtuQ+lt56VXCouzQL+boDZ/PHAnMVsVMFIlfXnk9ab277gXeUiS6fOyTjFPPRfVMx
ea2LpTW3WasJ50uYiji8sfNS5feViufxEDOKJ55sWw/PtG2R6K80t5myHxH6oumbo4syuKdWOybf
kLWRhCgwrBnHMY8D99Vxyu6E+8jBTuW4gbFrSU9+DbXB1ld2CLluG3btXEDrp0PIuaQ3rfckqFL9
FlqAVp0GoQfpJQfcH91qwN4SPzT7PFuNsTVoyBoLlNqFCOpXSxK9grocVnFnBMuCZK8oGh+1axFf
XE77MM2qhf1gHqHaA9FDPPVq1qhmrdx0IYpd5ZHN5t0YRL6l+1A+aVoGi1urr8cbBepsRldfTuKr
7WDMYAJtArGWAYpZNo7xXNw2wXw9oOXZ8lQsOZNN6lJgLzxXFmJvlAKtISEuySvd+hzS7BQKuRUE
Nrw5qlO7PEmwgixkF7xW88CcmzdBsrkynbwkNq5CQkGVMSebz89xjPEJO7zJlTK09AJzkf2ZkefT
UddcrfcjZ3EqIBpgQbU4bMgIkF9SOWhfCqPNOJWD/XfaLtv3o2a/D+6k3/AvaHcVwIf3pOvCix0k
ywPbS04EMa1Bnxh0Eo6glz1PyPB3Ez5l8utzrN5V05ziMm/fey0LZlBJgyIfzS3iedXoRvqul+gw
/WJhd+8bHMiusbsohUGYchDmx6ee3b/O0PIR8+nNKmPUun4VRVZBYQAjzgZumvYl0qwCFmJXbVMz
k15fG9YWCHL2WLOjf2txxF8fU5ZBkUUCBlpWE9UxNBB8D9jhPXscoleGG288zVFxk15obCxNxT84
P/deGFsEStB5vQtm2+ZwMbj1fpq7bMGBiAyBujJ5EH3TlpeoMIznVtVfJPEFmVe3Ufp1IMHB02pd
8wOLVEm2zvFTHNIFPmdQJIO10SjAQezhr4/Mdr20zWG+qQTqeIbJ45zA2yagAO/nRuUBqZu5cKLk
PKXAE3YaxsS92/XG2R1l9BAEmbgn7nP6UfU6MUs0++Va52Pe6p3p+NhetKfO6r7NtsNWh5gYSjZN
apcrelmXbNTWNVvXyhl2IFVu6co/p3kEiWKgQKOi+yuV2UAVXiiw8Omswfcq1nSzX1rL/aYNpr5f
QmvdswuaougUp9pF78M9Gl0CFhZzzanjG3znJ0QBDwbILS+IB8sHdHhq45m1IHyRETWWkZH7AIrZ
H2KxDeWw1rpqTeAD5pIY7Sd1IgqduxqtwoZFhRCFgmwOFYYebpYHPPzPQWXxFTiEjRDBtYKutq4r
MBZ6RoA4QeJiZc9agnDTqC4iCJljrUI7Ul0Gwi5vFap1maHy77sfolUXJcod+a0vVm9zdEuao9mY
RBqS4Dkk7vRgt1D6OtBwFFQ6Xphh1siD2x+Q0tbRkBMgNB3ThMiBIMFRxWK8FL3uFVFF8OFcbmw9
f3YCsatrZN1LGngYK54Ni/rWMp2QVW5ywCJHVPfflzzN8JzHN5ltw3/Bzr8KGXKreKjuxMgtFsWB
Uv2PMOzwYy8bgOwVNvhpQtyZPiWqoOhmafVbSMTu2VyWYFVFeLgF4oUVGD4fMQQ2q6m9A8rigYp2
jzAK9G2jV/x2B0gaLoXeIqyWBEj7QYMyXeaexS7KyhPKq4Z73bxCt6Muu6Mxm/qOnYFp66sJCWd5
jqeWviEobfhmbGG7yNoYRn1fh+oYkrNVJtkJnaXXUqSV/fw0p9PdIMuHMq6eaFXvbFl+v5aEAJYE
/gKeQ0+ygkSycJdJ+I2WOoD4fzbd4NHR4MfxtZxl6dxgU7x0c3yKK47DaRNQaIfeUEMNIry0A5PK
lnGw3GBNJAMSKSISttdsHI8GeYC2Hg6kzntOhx4Yi32v89G01vIOm8ibymabQzGtmuSEHnWjmckl
bjmGO1VzRjznruLM1SlBKzixQ/VmtPBuAmu+awAFsoxM2yDo5hW7LcwCJls/WbyFNaM0FNo9xpaP
a/KDVui3jcwfWddeGk4SZU4JH9fDM9PEtnCNh9RogUS05nmwyguv97GLhm+B47wEIzyGKCA/pLUO
TUGale0kx7ps9im4PxT3iVdn8zMlBtLoYvIskkLvDhBqnuAzvTjNFXgZkcDRIOhdMbkvHt6vYVtw
6jJ8HIqcUksbvGHlkLXW14yd1mJ/BQblqWir7dBqOyezNqatfWnw5WyMVBIdHZu3InHL1ZVCs2rR
M527VjwJkx4S5WyxgtKJPoDjcMZvzNJ9FtWvOpYNb7Lze5WxOseLeIqb4NxnMS6QgO04RQN/DL+r
6a2tyfLRbS+m9R9BTbDV+Jhlzhex0E6R1m7BVSgJlVk4fYmIqFdaD0v7jWruKrgyyFkzQQwtVb5l
jrub3Ph4NR2gtvPcyX2aesMbGmft8OENLvvoBRQhSaGCfWo4otqwKJXaqQ9q/FQkuEzS/Jy3wbCa
Z+OEbXY3jbO3yGrjGE9dAFDRbZHL175T1k+TQbwAw70g93IwMXtDVUpH84bCZXVxLfuDnFWi5FW8
M8cSB4/aIlW8q818Hbg92QnEbrBtLqp3uJE+2jvOJynFQUCj1beawjYE+jspJF04drYMbyOFxYKw
2hfTgJ7lYRlHvDd3mqV7/WSvejOG7Vsg2R53tjn9yNKHMJ43MrjBF3R2p8CLXfmMZ8Jrs/mkj/WZ
KdwkfUDOCSe4ZCfkeQJNTu0V4BXojMdCp8ItCJqtk1NThFtRdLdj+8Ueb53xpZ7mExpur0jvmrx9
HEcCRYLuaBcUoyIM/qzzjyKGBxvfM5PSkGfVNqKDOY7HVAaHcCDPKA12CPnxrZCRM7BPMxYQwqju
MY95cnC2bpE+kMNAZSmqMC4TnIchRWj1vukfcF1uOJ6vWpwGoGRx66S+bif3EewDSnsHfSKuUy9v
zDK7ZGVxEFJ8wUt40NqOCs/WrcetUW2FWe/HLNzlAOkN+U1gQOtR609bUgFObkwJvJ2v0FoQIQ9p
y+5LRM9ROnkLTpLELfYWWOVleq+WBO2ttc0DxQZt3sGvQWOPC7apbyZ6bLOwLjRkN2waj0QgnsF0
HZqg3sVXIFkabiN2iUlYrJOB87EwL4mpMRuaeEci7MSEOTSBP2gOS/p4QImwTXD3rWqGS0SCASE/
4mSN09UvQKxRVBwW/ZTPzWNmr1mIKIFqYtmYU3ejTEWbNb3rW7Ed81pbG3ple6oXw2amoHU3gN0/
tCo4yMX9Yg4FKTlU04K8N7Y4NVxJoTw1qNrqtOx6O5bbPOQQgTMr9e260vcAbm7TQH0xiMgAj5kY
OlpA1lZcNiB1zU1Eae01N2HF9an+JLO533CoyA/ZQPSwbU850Qp5SSzliEVgtaDD22olzB+vRcZ6
SKusWVjMq/HWlhMbuGQq3fYouzHAWzLVlt9McfKmLbpUPl2euqR7p80lPE6jOsRyHu4sBtMGax2l
95riFBBiIwr2bN1nc20AIJmpapaBs84caGCeQewtqGlfxMaxNPvk62CK8qFFFrVzxGhceyfR4rdj
texZ/A0/TRsBJolenCrY78L/qamJ1jdL1j65XeDcdH0Z3XWNI8hVmfL7cOmZOnkR7BPieD6bbpLu
ls5w17SkmnNoc5xHqESptHIYblZYviAp3bGD0YxLlao6OHSurYsbXYOdtY5nSqXPcoEe9QyhqCKE
ZcnI4gU9q6XzA5PwZHlyDEblm/L/sHdmu41jabZ+lUbfM8FxkwS6GmiJmizZli2Hw/YN4bAdnOeZ
T98fHYFMS862OnFwLg5wCoVCZjkclMjNPfz/Wt9KkitzlOJEo389KLwBvcJ559bWwJ+QGymnFwH1
fbr4bhwvW04TM983Ee3otPyuox7IMz0EfkjTxdBXgdVG+xEU6aor3frWrzMNVDQ1FvrOHOFfefuV
y6zUiKvvR/JEjcrNaU7Yw7YEPbqFodc/co3ksfDl8dIQAyfyKuPIKti3leSasRts62Jcm1jeiPp2
PWnTUnRYYOAV6QwymrnTCj++HhkBd3RFY4cD7Lg1cql+raK8eAmGcaQFAU3oEJrTaddX6uZQIrBc
U9xlanEbzwjoeppsHmkF76Pe4JXKwz54ijuX4SnnKVAi1RAY7aP01WssKuqjaS+LMNRDipUU3ARt
kqkoVSQXNETylVxAKweBFF8nBZjswveiJUD7SXPZ/iTu5bHulb1Vs9CrgtOtBHjJ8Q3R0VgkjqSv
LJc8HNe/oHRo7awOsC2g4GyGpqvAkCrp2B2VF83raG9FmeFQkfzhJrx6id34TmhF6kI0mNbsNOSF
7RMqNVXzgkCrXDdsouatV/QXudvEy4Bso5Uv9/bc8M1NXLUm86zx0FhROreszmNTg6DArYyKd17K
eCE9daEmfkYcEVE3jSCuA+/mjc7y3awtUUXBpRdySIRlZvVzU4uvtV55BIhy8BF9z8soIde8kLep
Tb60B7CBw39NaAu3F/PeT4X8EBuL/qpOyou81Zv5IFVXQMHvep+WQd6zFQoUAE54y6k8uQe/tbMl
CSkXQcn5FTc5gyRdGCq5s3KsyWs/wJ9Pu52FIiigCHr9o4hd3cnlpFhqKgn1CQyohZt6l2FFB07U
ymvJwd1BTA1wHFfo3B/pkbjUF2eJhrKFSw8zU1XnctRyRM4rPECa+aiTIX0pvHqTJ9U3yc8VQGJh
850tIxavZMI2VPku55w8MxV2mYbLiUrY/VOvgfZCI4wN137TPWkXR5xWrNHDCtnKCDRs1vYCEccs
SOznNMzdrW0X+oJzJvhzoAqcDIWY+6gaMj+4bFq34JgwsjkxaN+Fdf7TDgClmUozM1oSYlB//uhb
YHkZR3XXAvurM6XPw7a703KS5OTIBUhdZLhvhTYLRylYyqW6rE3q+l7hXUq1ciGM9klG+jWL2/CF
zYwpO2xLe2tlWTF7oJL+vPA4SPQ6Fm6J0wgnFpy1BwpKl0qr4geNQ87MQb8i4e66gR/tIKarKSxQ
fwmbIZrVFBvwz/0I8+IQ55qHrrxwiWiYNYiXWsigOPsjUeEyxTyHc8JzvysISO6Dgs5EOmQcR/Xi
qaE4cZ1Wkf0Q9127GjU5n4dDY4LDTuKYB9hz7CtwgodJEbDJs7KeOnRpP6AiFCsbc6Aj06CmtSr1
lKYIR3I39OGipdoW0sIIhhDY9dDWB6115QVCgubCCzprXnW1sUbGw0LeqtaBjl55b+mJuIHyp4GQ
ZBKkcWg/G9ag4G8X5FDhTA2/NWqHrXLA/IEBGD++zQzo5xxwRMuJLcG3yxMxbabjTLabb5ND9MKy
4+47mAyiBNgPCCKPBfI4/HI6qxy+uYLtATkDs6Iw8i1EmGQXUpp/8tVR6MvYHySA/7lGLdLOkdPg
5idHErmdlZpbXM01iXlgUrexMRaU8UPidADdh8+aLSkbU89hmpRudC9RK2YbyyLKqdFCJ6y7ZJDR
tRkXrREba0ntzfUId/yVypu9Fqke402NXfeqpJLvNKbHipG3MENKgx4jWUSU7FI7CPwNuNIAygBx
er1ep1fM3OM+GmtEQl7eK0ztZSIvG6wtF1UilzvQa9EqpwtD0Tt1gTgkJoFyai1durYfv4VETm2T
rHPpRCT+Tqadfi2RlvUMhIRaXqKvYD0mqxyhAaIQm1EcMoKn8RhrK7wPxRw4nMQrk1nLSNODXZcX
AxFbbrtLis6+zBnCz8PYmQ+pMXIYczu+vRxX2nWYGsVrxfTCblXIrxzsIzaxaknSNmlo4EXbJpgj
JiP4i+KA01gkQNOfwEYZqclPC37Ba6+k7paU0IEFg80m58yR07GhzoOErA07H5TbKlLVddLTPCPc
iCMNnaDHaXGK5jmo3op9bAi2bkTwU1JB1Zut21r9xtR6XFEHVYREgy1DDUAXtShyxgo2qmImuEub
xGrqeu71Xj04Q+66uHZMadhYiUVcp1/55aGAmoGYcDQjqhhI7a7USmP4GWOULGvQODs1Ci1M+XHw
ZLtp5VGIsaVbiBreU5W2UPzLXrPuBi2vXj2LIULJtYGAgznIfktqwr3o3fIKLnNePg6ZbdgcZF2r
Ht3UlALHiIBbtkRdSTOgMNRKojz3tuyqQuR4RWxc12xw9RXRT3U4J1Y1YU4Hyf4jVa1qX7ZKR95J
Rjt+EcglFHwzQ4m+JIqzovQL09aYVkJaDZhHaKCmY8b0rXsWDUwdU7egpmxQN4zSwN0K0fGrWt0P
8Q9NCsvktgCuYLwZvV7ZjyHqjm9aVkXJgqSaLF9KseqVt6Pla/WbPRhadyFHGe5buW2DYhvGvKjk
4QYZZ8UMkv81ZKWh+pnLLZ1qi3x1TkYg7/q1b/YZTEg0svocYG5cbGtdQ/Azs628YB9pJcwAS7lB
p4VZObaI84xoYDv0jvvoEEdyWS7YGpbomlRjDF9JMmS5oFGZ+xeJCPDnbCYmce+AB/ZfBinLWftJ
6tQdrxhbf63msrJpOz/gzWQaCx7Qv1YWpnfTpN1Nhqd3q/V04C+ACmnjeqjaMl6iFZVIf0lLXXb8
Ko6LNcDqAvYsLEZxMRYlW8W2srv4Si18X6tYOZBArCmGafWaKiys4DYIlGwu5YnX0Pu2gUuXZJ80
+aIK0ElwqKNOVF65orPdFZpBcnKyThVvkdd37ia02ECtjDKTGDAUFQ8xEe7yZRy4FDA1EeF4HxsZ
HSMNt3SO/pyPEKVCkZ/aPE5ysBmVLa75YL5yxohx7IuYZNAyvjITdxehUjJ1nGO9bl4nJNaqqjsv
1N6vrszOZftVtGEZnbnQseJ7utCkt8ZbwkF0ymw+scpJY0rRsgZ+4fvdN4qrD76nP1UmtvwKzeNc
r3285pa5/1qRPH38IzkyV9UE9EChokfWTv1IFcd1ADQ+usoerEelqtVG80SwkjovdSpyCVdZLIlr
XSS2E4xGdkZ9fexl+/WlBc49BU+bTftPO767XhdnejySMyXXQwYwMM6iR6MUGuchSkkAVKMezLMu
D/rh6+/9+cIqNlZ8GhgEQEOe4tbjJAq6oTPZWNs+U2AqUalaZExb4be+HzqxMK1K6uZBVtvi7utL
H5skpu88XRpMmoJjWLaUkwc9jHEGbNn2nAKW6o0xEPCyzGQEFrOAquuVV2ryGZvE5zGsYk608Ilo
ymQfPrkiCCuUVXbvOznMaCrBg0JKVKt16L7+6VfDrTPx9EDdTanjJ36MAYxzhrI6diy9JRy0yyVD
Ymuu1Zwqqjz6LkVuMV58fc3PT9LQNIHpUldwnX3y+Fhuokc92BEGz0Bqq1/d8wIN6LRDkC1ewUIS
iPTMNT+/q4amT0Y+XCfTnHDiziCxtJKjVIsdZLsm0hktRMUxBksj9oxZqxskNMm+v7VRrJ5j+v39
pbEYMR1hxZ5ohx9tGS6zldkoXFrpYnGDAY+6E6oHJyaxdKnZ7jirK7Qdug/s7OsbPTkTjqcKjC9I
FjSDLraJE+b4ymNZDrpv6bEjs4lY1hSIF2yYMopulXZmWvi7S1lYTyyBr36yuR5filOJysvhJ45C
V5YmPFyROwpPMLsVqVp+/bXeORGn34u3ktnA4JXEBX58MVS8YFrjIHHksBe7UhTKFiELkTBg6S4M
wNwHK8Su1owqoa1VLl6mrPiFKCAdfv1J3v1DJ59Ex7msycyI2NCN07UmaWyNZCGgUAUgsQ0LRemv
INWm+Zwzl5aizkjbR7kII4pv7BUpo6W57dtrn61LP6tzJemukaAm0Ry9mpUtEZv57SbhYPGktvE4
vo5dntA6aUNCERoX6M5ObUTWLD2k3SlQ+0aj35GCPnKor2hnJr6/eaq6Rb4ghXOmv08WQ+j0dVDq
eeL0tj0iKyNkSuH4m1hPZLilZ5bTTxcziIJkYVEINVTghJy8ogqNEi1HP+nYfRpBeyHAD7ZTunIp
an/7+rl9ml65FARlwLtM7ExGJ7MeveyCHC4lcej+J7emSPxnuSiDM+P0776QzXwzeeuY6bSTpVKe
ZH3FWPKFMrPDaGJCM88z6owz4irix6+/0jTmj0Yi8xtUVZzK07IMPvT4nUiUWsMLN+SOqgZDDa6s
x9VoGF1kblWf6OyNXCXJOY7vu13v41XZH+sTSgNuNlM6DvfjqxqeXrV+nOM71ekY+Dn5GFFuwFEX
nsqrmNgFIQxV9sDJg320JEongizufP3V1elGHn0KGQ2sjEdVn5YVKtvHn6JGwaARpxE5tAVX2A+u
MelNVgqgEEaSMt3r/gHYvktctbemxL6CcLmh1nKoQsWjvUzdRh5wTphptm17Ga2jkt37vf6An2Vr
DFk58zwNB3Ze5GcmkNMhgvt0unNs6UDWamSkHn/ylNUGxfMUcR4Qj0mpx0Sfieg0I74N5XN95k59
uhytLTYwEEHAO7DsnNyoQCChlkdon72bSIgE1MJ6HBVO2auwzAfpn41/zOS2zkmf1CZVEewvTsY/
PPoKiRVcTolS7WWdN+5zR5/kNlTH/vrrIXD6QjMOVUzQ+rT4TK/a6ReDElZRqGsci0yAdRd53bNf
ut6Z9fT0HZtGOw+JeYPllPPFyVX8VhkTIiBaB/hH6Ayl0WwTJG+ebLgbQqXPmVc/rXPT9Qz2ZLrG
f5k/Tq6HFA75J50CtrxxjyK6rZI9nMnhwe+0ZFuouvFTLgLjZ9W5w15NCZIk/iDCL5NKlfL29R0+
/TDT05w+ApML+wmm6JOh2gQ55gGEhshVkNpjTyvol0i0bxFWS5w1W0t3wJCZdPoq96XH+HRXjhK1
gUgezzzt088CZQLcHBAigYeatAn9ZHvsc9RJFU4D1O+F6VgySpF0CFY+5aE6VyEkpIT1QW1GIb7z
M3FXtdXwz18lxoBmKhyreTynZlv41grIMjRxqa8Q0q114VLXs2KepXVzZmH8m8FNF4ANDxbm6fxz
8m0bCZBkU9V8W4GCgejw4anAP/Jy5gFPo+loFlXIFOBgOZ10sDKfXkZC0miWYdE5ORZbmpE++Wqp
TUafKsPFZH9JbU347g/NCLIdH/UiM/MfFJCou6bjOcbHyRlh2qmz5cCMa03Lmph4Ux83zaNZE1sV
670DnLDcRSDvtjm6N4BwbkrXFGBawahffH0LJoL4x1vw+6qcrWX2B7xyJ2OcYCkEJZoxeUbJS5Hb
ZaF3V2kW3go9eg6L4d4co5+1rTiVZLHkGfRW9WpuEbcr+wOwE9d+TbvEyad8IiPckyPxw2LTNsP5
dk30TjBT+/RZ6nrodOrN1599Wmk/PL33j67B0jFgl4N9Ot1s6BBARwAexNRKyKp02zUXqQ+t1jO/
Ccrtc0sgGk0GJOFRlUpnJsaTEfo+NwhmKggRsior4mSEykoKtbtDOGZTVL908cM5LA3BmcrHyfTL
4YmtFIdx3N9QmGDbHI8J2Y3KEO3l6LRepD6XVLlXKFcCJ6fHs0x1G4PjP7unuszaxctN2U7hn+2T
BQyioJ7mMVMebBQFImRCHomVGws7GwLCGYOn1NBWBNI9qkZz5m08/a7TpUFpUWQRXJhK0/F39ew8
bciWtBwSXpTHbOw9ulAuGb42pWbHIjL7Fw7j/wPz/n3atP7JhvqUVXB4TrLnf/uv5K0MXp5TFsU3
gLT1sHn91/sv/obmKeQRKrR+YIkqEzJPYz76HVnAsfoPOB5sdD7y8gjL+UPW+Q/cFMGKSabBn8Q8
SdH/MFhNwdKwM6IgoP0TYt579emvN//94KlRW8B2JAB4sD05Hiq5EFg+UZIfcj++CN1vLmpuh74o
Us0ydcpAGWZA+96CwfuRDQpUXrmdkWSwS+mJ0cacp2qjLghbIQ8w//bhVu5/fYiPgZqKfAxP4OwD
L5CxbPC2UufmYHfy4dqwc40QI02emC/jkCKL95+ZqGi9kG61acg5x5+k/PSUepVopE2LQnT40twH
z7MPaOKtOUKvdIlY35hnkj1l9LQzjJGdk5SYbLoUqzCxTLiasV8FVvFNb8AhKDXuFUW9wqvrby3c
hmQE0PL3IBGU2naEFjrXh6BwSlXslZhbBSXsOsHvjzMhfSnVFpFepeRzUsRR6g1IfmC3c8QCzDDm
dD6RLygu8Qm+ZjxqB0GVfy6HsGRsV7/i29JnjdKX1uxBJAzxTWw246YohkutyaM95YF7epQG7SK1
QItYEXgXZ7Nekf0HUpdnSUMolZJF35Hrr+yOdLPSzduNauEbQe1PmSMPb12jkWmdyIcaxwAtq4aN
yOD7q5G2K7bEKL8gphcybHKwE0wiCMczDFfSs6sEDeo7NV2B+7Wp8oGODbap6l3lQ2YtJm4o+VbY
/4xUW+Fs2FQERDimT/4kqT9nqpynMJz30THVdHkRWOtJ9zgeHYKEaGNQu/quNsZbnj4IVfNnge4q
H6sZNvNHU+RL8OAd1qI7niIKwlQ5M8m/H/Y/vj8WeAGDRYV+AW8shIbjD0FhQwCT6JM7MkPVhW21
jzC0sRS03bDseiSIiKhpEzaT5O3SjmyslzC/54NNwponj+GFFY47lPE7e2yzlTlvW9wOYPK7jSib
e5POG91+WpQhXRVH7dwHvZLqpW1na616ckeddnlvLCjq68uv3773c+/pN2OdpQCI45RK68nt9VF0
FfQjkjtG03UdRN3aymmBdulW8ojBiSu5W1TWo6Qb9VqWAqgeUr/X3WChwL3OCrRKHLesZWcgLMz7
hoZRAVJZ/iEnFiaMOHou3OonWZOTrjjdyJo0rKs2Jfq8IeESZcA8pXumjlGHG8tOyKxWJcKywvkw
TDxyEuNss35DDJLPSr8PdvFot7Mego6WK5NXXT5XiZ2+78f7QVeIZygokhB6gozu5Ek3tR6glwmk
gzzE80BrtlmZLrzy3DHxeO8KI47LABWcyr06WxUx7ZY+cniaMUClFEoHRU4XNZvD2iCd1fBmiW6s
Vbf6hcz6v7By32UJ//2P6W9+yfKhhDxa/+d/HP3bZfBSZlX2sz79U0e/VP3n+4+9t2xaT4/+ZfG+
fN40b+Vw+1Y18a8L/P6T/9sf/l6E74b87V///pI1aT39bV6QpR/XZ/XLhX32RqTd6/PpL/xe0IU+
YWvpo7GfhDlFL+3PBZ0fkeMCwo3WBKUENn9/UnA19Q/OnlBcJ8YSVbZpQvuNweVHFAV0BhjPXsYQ
q/6TRf19x/xhqBokCxN6zfmWtByFrfV0WPswhniDUPD3dbnslWjjGygzSAPs6DXqeCtUVLYGMn3h
tNFw5VnRWkmqlc8KV49IzH3lMjSjFVarGUcWMiTnSsW7iFTNj+x5Uldrt2IPCbSCcEHH1l71+sk2
iTIsEKL53vc8Kr81Tbp0C7HEcbpWSnnOUotbeYl3zKlZ7CSyyL2QRKTa/04N0Omp7I0ZWemIlt0g
xmqC6KPXdtEm1Ox1KTAmWqKb22xCKMkRQKym4R1V9QfXbm9J1F0BkFxA0t4KY6Uh76iZQEBkzRRi
jL+eFI831hShTm7s6Z6eJFlB/wOWUJFd5AimOrHXG8SSIJO+vtLxoejzlU6mAYqFkd8T1rO01b2k
PrbKGVTee8XleIyAbJPBYE4AQAbkyQUKUyIxPuxwaXqXgcwiZR1G+EKKO0ejT/nFU7O5nXck/kRX
ub/VyACNVExs4TUBaPOyThZazuYi9i8qCSlk+73RKkdW7nsGjp+5s6p2kQp1sxAawfR31cWws5nG
RI3NQruRBnnWUPQK2TMQ1bIghodwHDZiurcoyYIepWidZggwcemlRKlU7vzrG/zOyvt0A9hZ8o7Q
KSVK7PglmQ6iLk473OyTaC4LVgTkevLcbr43WbuOlJR1h8IFez62VZD3ZrHqLjk6Lb7+HJ+HFM/h
w8c4Of3CRNDE4PEcQtud4Z+F5oAnnW0q4WJnxtTJCsboPb7USVkky/Hk+V7PtKCNDlUFssPZ/iJl
/vobTTPpx5Xy93UosXGeMDmCTj//MP3YfpnHdcSdrdQ7jKIbdFrYO9kDJjgA/O+lvRPKOK+RpMjN
7ShdZVm7qMbvKoaRUede5/IscxeuixH9HNf2uNAxvVbTLfjro52cKPSq6VtMRuWSbgiUcJOOAsqS
RiYrFRhVVaxaIQHd8G6/viV//5D/uuzJhGxL/cAunIdcCBrXU8SXGmLZaJexW50Z158njuNveDJF
pUYQ5F7DpYgLmFUlgtTkDJH83BVOZg6/KeXILrlCNzyV5l3VnJma/v5m2TTbuWFA5aaffxg+7L3Q
V5lMsg3xVMNLYzI66LPb7svXD+VvXweNaiWlacGae/I6BGaNBL7iOgVnI7slIAw1/+Hra/xSlnya
Zt7pfxRkYBydvN+V4XF+SRhxSRkxw3XLfGClC2ALjLJTRwikLXdmoUZvkm4ZiG1lyLPRQ0dtQhXC
PObl5k/VCK6DDiZUmSPFlfpvLUHfMxHgbFRAx82sgDQpt12TCbNL+m9hJK/1OCWzGZKc71/D5HAS
7O4xvG85f/XqbikDXGjs8ao2X+TiVdL5fTO/kHL5QvGvWkS3k0LZqLu5zgmbvD3ttdK/ofcay01t
ALfAugg7Y4NJ3klN3m50uZJE2keQLr3RXXYTOmzMN24P84ISmBvUTjneF5JyobUhdsRmDRo4z+UF
0TpXavomX6Am+xGU5k9Db++FMR4st7+tzVWtXnVBf9PE5s+wsR0fkU6rlLBiZDTo3LjQ3yLZIpbG
3I60sXWiKoIGZFcio9IzHdHtyxhYX/eE12Ym6drK6AwobCPHsAjqEPo2e8EQ2Sd1dEW+xy4qXhu2
EFgfburiBS6By9o4fYUuhYqoYImXbpvsORUv3vjU6N/LyL4osmcjSPZuj459AII2kQm70RlzrPOY
TmvbXgy9WHZVeDn21rbp1VXnf+uKAv9bdiFsJLz0EJtiznnwkoC4pVpnu2m4SMFrEbDuWhESOumG
x4MTLiSuhnP+YDheZuzIwnm1mh5uoHvoeo+TCcDCmadEGC7VS3yCAvF9d6W13SEvCF8zq1VfHFw/
BpCyTdTKyYtggQAaYoZ470dN3gBLrOWEise0PAQ8bSoRZmbMNdVARVA6PTAko/4hJbSxCF/TpXlQ
vPb8IUKoJ4CPY/3Aab8QXreARrMpan1jetuMt8ww/U2IjJk4JAWyEPc8xfvW1pe6/GtHEIt5KDUY
q0M8C/lcBbSY4JBJsgR4NlSk9royQGQIxx4qp2LbVzc/VH9BhtzMVq9QNnTyXgZBCeduHlb+bZa0
WGh1BzW5I2ntQ+jprH46wCXesogo6mbywaY4ZakLgeDEwHNp+62DT245WdlKU38GuvcU6ON1in00
G7vbqrPgTqBR11+wjVzQzJmZbELr5qXRkYun5b0mxY5rfmsLgPQ+daDsRz28dcCjZI7Geh+uS0Bs
oh7mUlkdwCQsvEYGbVE6/r4JQBuFr4qrz7Sa9VBRFgEf36QjVXsrvRPch3ylCHbSdnDVS8CkItTf
BCiNCKIVaUEE2y7HtlQCeUnwZPlqftl76VPO39aoKqTHa7IO+ASzECiI5WGYnVxxDapWGnM0iZZU
vZwhvI8Nzg5wChqJSJraWEb5kzvkexfhnI+GPUN0VXrkedXhJSLmTs0IiDLmxBWtWpB/g6EuKqmc
TZtJderox/gWjU3XNfNg0DbIQBdBmS7Jf5sbsnuv6eVaoOe1GP0j7ffUX9BuWOgFtsDBvIZLyxZN
nhnEIs1w/0EkqDY24CdpSNYkm89LAqGmbxhZ9UFU/apVn9rOw7B7MCD38XDy7qoCiYL2Z4Mt9Mki
czCoy4u+mtL3FDDO3aqXdmRMzQvMO9X4FKqRo/EUDKbreigR1FMGdEmeQ2bDhZQ8BzTQbXQ3XoJe
XWtus+nJO5LHdqk3NqAZbxZl9sKC00eXUcN224lxFkgqtpRw7UnO6HU7iBgLCy+vi9DCLz2KdtpK
iupdov7EHDSrCBjFuzrgsJVEARxxZwTejam2V1rxZKjebdn0m7a9zC0AVYO9kKJ4QnYsyxjXRLpJ
1RybUITxkouH/ZUUhvelm85Dxd+Wor1WzORyjKJ1g5bdNQJscPEmqA6ldy5x473hdrQIcqiltYjC
HjELqeAnS3rF/J8A/mDLgGUoVDkFTL4PFXKmZc9kNV4mKUdCDOf9AH61iRz6Ggvi6rcQby979kpA
U/d4QctQnGk+fdoQnnyyk+XZjKw0ZkNWLgX0TXAk1/iJEH+MM6O6j3mWdoWKvo6dr7cFn7YeJ1c9
2XrAeqBmAcVsKfXAW/X7uglXOoG0X1/lvcX06bYDyWdiVieVzUlx3zcJlZLViC9n5jPRiLUhsdtu
6n0jl5P61cl6e6Hga542AKFfLQYVO93YbNsCiA2PItYWuVrM22EijGxVWqgGMSLTGR3E8ixEfag3
+je9gLiuTxyV0QGf5BTyq+FTThjEphP39W0d3NWKNuttD2wHwC6YZAhpsnlrdfhIsMBFMzmDe6k/
5IA+0I7L+AEaLFuqygPQtFUlBuB49V43R5zhb0Hk7X2p2k/vHL2Le8NLHiTyO43R28eVvYixYLht
urS97t4XysKyu5sqV59SzF2WcismaiOO0CUMdeylKODbZp0O7j064Ie49m5HjiYw+4gCU8Fb2jMw
pT/7gg1TYzkehck6w8GOuw8WMgZBXmhfO7OJV6Zd+hdP7v2I9WEPzBToloMcT8PySmZOxOehS8up
jGMB9mq5x+N9cwHUEu/XwbXP7IxPapBT2Yr61lSMonOBynYavh+uXhGnapQ6VydzsQqaJRa/K8KA
dnXa/Bqi/6j8+H9SWDwqP67esqvn5K36f6D6OPUR/ue24qbK4rd/OzzHWZIddxWn3/tVhKSd+IeF
nADCDoFcdCF4uX81FXGk/zFV7c0/I9L/LEFKxh+IE9QpIQuNBX9wSuj5XYOUSOniwSuTvtnEs40c
9b28S/X1d7OOwi33+69//9i8Oz7EkeU01UCnv4fOCO320zK23vuDaLLB20OdVhZU83yHnWEAH5mt
XJkZZ0Q9x2fSX5djluMfEDvZ2mnJoZfUQKLFRWhUbF5nQ0EGaoN278ND+P0dz32nSaiI+E2gIZBP
Dr4xi9SoR7G/t7TKnLEfNWc+ogZ6+9ZNGmvN8uvLKcerxK8vZSLBJtdMV7GnnhQroCuqFtHRwb5U
ECQnbAyW3gAXxjXphwjSq2dqW3pOmijxRYqB9JIw0Cs1H8YrLyuxZvXhQe51+2Iww/3XH+141Xz/
ZERRmLQoaEUj2j6p8HhFLRR8kcE+6EJOfHpzF0KGNYemW4toAE9g6C+SaTQ3xfd/emHSPQik4zSC
WBOY4vHMJLEvqFOiHuiDEt2Vg252ahOntCv6uZHHsEqs7DWW83iVGvxf//zivDEspdrUBvoU+hFQ
AaxEBaOoFcEB13vnlKgqNnVUyE7CSY9GnbKUWoOKdJefmZM/3/LJ7UBVn8YBQrl3MfnHOVng6TdS
C6wrVgMcb6kNe7Br4bHGSxeJOjKhQZoPtXwvB6509fU3P5Xq8jrzkKfIOyYOjCWnVYwmUek1xlGw
dwm3Xeii0Q7UNCCl+cXCUHIOXJBNcoOGq9l0HqfETDvzNryPqb+WxGnMTcoknWbLlDii6Cd7pg4P
uuGPEKK6wYDvbEL3G4NiLwwZVCuAuyWifrgAWRRflnqUr/TROoRdVXAYtjC1s+VxDL806Ylo0c4Y
W5ymLUQqctFvMwhGuwwr+a1SuDe+GOND4Jf9rmiHS72LHmD4hfcGLLHLyOgbBycuGEj685ukeuP8
jJCTtgkKmxYfazbYM4uCDwgsnW57GG2VVqrWdtjve4uI7Eqrjbuhsx23jtJ9liTNRWsZO9GkEZDR
fo66HPOZhz9bDqm4G8bFAMRu1jeuv+s8fzdYMIpK4KuSjG/elan3iE1QWyAVTJBLkdtIV+1IAcgw
9nJc1DPACdVKKShcFxwhyQA17F3N5p8yDhxzElPx8xNh7ZH/qVmAnf0MgNBorRSbqkAI6OpMee+9
sH76IOlPscQQEkef82TyEIME76/xwr0sUwl1m9FYA2K5iqG0bfyYWHtZ99ylsKUJztDcj2beXfrk
c89oLFOBqstsjicCkkKpAfTSyxvg19QS7MFxeQcuoi4w53JKPoyQ/JZCWKPNErpL+RDWuywDOHjm
3fi89iDemfbXSOfEtGk6npPo02c2GIhwz9ksH7sI5DbCk1GmwKEWw6YvY+CBermBREfoXiqvOgin
JqKsVUaaCrV+6+HrT/TuHTy5w/SRwRfIaN4mUfPxJ1K0StZTIw/3sS3HhOFS5jGo0mhp2y+7mjf2
lsVLX+hKAwO5LK1N2pC4Zm9UnZwPGFrlFszyzQgzlTSLFrTO2DkwQYwV1FkdrYla3cV2fSNF0cpF
aLYaiRqGL5VAV6HtL7TDwLDeaj2QJb1Tco7hGz8Iex6gSL+34hLPtrSWIzPcQq5trQWqwI2W1/Wt
l/vmAr6RRx3OW5V6w2OLskuI/t425hSJ98qDbtdlteOndbZQTIjUAG9iJ6/luUzVbzaC+KaWmptL
6ruYukFhkYS09ab/6ZW6I6ypzW9SjNxSGg1zzyirZVW29aLV6H7yTs3TUhApYA0/QMabjtkDBrfL
6KriEHUdchIykFPvlZQdjbo6gIJWD7UykMabOrXbOx5+AXi+RosxrI03sFI8p87jtaiFNQsp4W3T
zN8Jg5ICCFzKqV3sUPN9LVvrx9fDgFAqnvPHcaAhhGV11pF3TXP3qeuRAqgk7FhXbky7kqGnlequ
bUi8J7T6Ehvmkt+CXMCkk1rqWhdlsKqVZlmaZbQcABxTevPKZdxbcJcEJccCbgNrEHZ2zHAzgat+
p6rc+qxQdrlFVrwcBPomGJFxG1UE4cqCl+3n5pPZFdrMo492O3reSKsYTkCHpWRGVMmwM6xk2HsB
k1Dma49VHYWr0rJXciaDnK+iu6L3QKcKrXOIPLwoYJ1dkGdAZcObtQLCCzRJ76K3AcXpfXkZ2EF4
a7jbgDwGaig3fWetWxPyV9R5+U4bIpeKMOEFiDlg7BCbrgAbJiVHWijSFlJqGsw2wh/fotaCVFKZ
l43hkhYOh20pG/S4s7bCm2zHa14Pd6mRkwOAMrpCRA/YMB0PgSS/QmIjVR4jOZkX1SIMy5VwLbh9
+UbTUneBaeKxCu3/puy8miRFsjT6izBDi9eIILRMXfmClehyNDjKgV+/J3JeprJ3K237oWzaeqwy
kgDc/d7vnmPyOFkQ/Rw95CajeMr6LbR5lU8OuPopnzed5YTx6E4bhoiLrZO1FFyV/nPq4iOZuRfm
IcaLa7S/0LnIZe/5w94Vv4O5EWAvgmDd17QAoOK20dS8zglsZtxcdG6KczOq8ZrUIDbUGESrqlIW
Wa1XnQ+1HGsgbx5tyW2XK6qUlgsm0oTQkY3lqkCTwVan0ddDnq098CMbv7P0TcpUV9nm1tKbQVx1
LQwOvvwDWgBH+nXYIcvZez4OI8ucd8zbjAcYRMAGXZ3ytPNuFsMPw68yygKIkaBZZeR9tHxd470I
R4DPRdxzyxBDY+aF6WGS5AtHJM/lxA+aPIoHnl3uUy93ljMdtbiYXxmAIaziV6u+orAipv6Q9fyW
QJuGJRHCITR5Y5ieRFOYlSdikM66gxpeZ+0b7BWZ0wMAL7sYaiJblpsX8ODimJYXrA3LyIdtalY8
z3OECyWp84XnzSuhIPkXfUI1FTYuBbu5LvG+CihicWc/kWKzLnp3keQY1hNaptCM1Q07SYCi1abh
S/wB+a3al4WV7c3ZlAgOPSrzWvuN7EO6KMvhUjkZETJNPfbQHp+nuN7Ptsagoq2Px9JxfqS+uRe8
xZ5c4QAkMKcwG0f/1nTlexB4Avb9ZK8qGzr9/QZzp9Y6NPw8Qp6U3OEQgF2ggr0evR+zFRfrvsAf
YLn7ugWYDXU4CqVuMCvBsWWdzhYSg6EA96C8Fz6GXBoNcndY+8+AXC4U69qDNpyFW5zcnIZVNnLF
82jNQFb/6vlqkwpp7dygkmA0ub7Se63S+uDN1b6Ik/x4Z/cBMGV0wfB/NiOl+sob4AIZ9I+r4NIW
9g+9d2kSWr/RaFC8jjJQ9h4DZA6vObZcLv7iPLsN/ZDg+Kym58lEeaWZ7XvtwxMgpSDITT5ovWWu
jMr8kbfiVPEs0llo6pCvVX+6wyPXxUy+DLrdNk6hQOu9qB9p2V+HvK+X/RRE6zl1Qe7EwTXlM1Bf
9f6ZXFE/qH8aVQfrWqcU3WMlEBn06Sqq3wxRQoydrVdDg3EZdN2xzmAHcWRGVxOk4E9ale1Va191
BdnRkQ1MtxZJAZxWhWuHTUSandx1naJNS5QdumVZP3fUo2pTGQuQFP66g+VwsAe5GIhxHK20n5EQ
GDD/HYBJAMMWVa1JWmJ1Rl2naWnlDOvYN+pdN7fBApXMqyF855qpwXtIRXZUKSDGfAzqjdPW7Q0i
ApCRWANXCKtwbDx+xYF1uc2LH1pd/5NW8w9V5e025tZZVvmT4eo3I3GHnQKMuy0iY32fMzjHhXWm
I9AcObiWC51QKTN240sPRSRrguGSZopA6QxHSMi9jm/qELUleMLAf5m0oDmZYzeuE8Xi7TE7BLDR
H5ZTtIrmgaCQNI31KKbXmDlxMsOdQRR3yi7IWk2oq3q8YuT2OnbmvAjGMblrK5gdpU92rBz1I+Gd
pvMj2BVMK61rAGJ2ulpwp7F5T4xsw4tjaw9duYqTGIVI5HA8IOrQpz6xzIxqdmY5Xpj3HkChMi9D
vTLXE4f1NT4rna9F/z3ME9RXOoBCb+dVqQg0Elg5DLZ9aXqATY6pRYdUz+db3r27fv7sRoV4c121
z9lXbGqojpI+AQ1btcjIUpIKhifdJfrZs+rXkiT0gvyr2ExO9Tg34Nh1YXawrUS0BRx1NpybF8UH
D+sSMK36d9b56tzLdOuSb4RFmecvPoYFZCaPqbDc0HIBd02yKZa+aNQe1foq0NlEzSBHSFxZzcau
dppmZs8BrZ94nuSj4S4xHrX7VJuL473uvYwN+zKBFX+LwtSmq5gJHZmPkL+Yy9FWvS6IFefsNXGp
N8e+dCgzc5F6dYbUVi8CiO9hYMT6pkI4tyha7RhDFnunHIuOclnOKjjGxUtKnfZg43wKo/z+1+dd
mBpNh6TGqLZpn5+l4/M4ji4cxNxf30EtjWbrr1pZXc0kO2YTtybzaS00Q+fRZrN+cevOh10zRWuD
aWpZwrTP+yDeanbbbpJ0+IkXTq6FwZsni8RxkgUcV9aYkVNqGPmRfGT6FI8bL6h7348Ns6uBfTNB
j6LsaFF4INNrpO4dC4N1s569dZYxXNnC6F1xtLND1DNjKBwdXqVjvvg9rfC8qt4qWMleHuuh1pYI
0+f21XJY6RrTv2CrWpmj2/8kuw7ScFYhOTt7b3c0+03gK4sRqsoS5koflYD7Jw1GWDfN23qOn/2s
9dZ2ykaWlmK+nPQaoBTTwQvdSs5F3dbcpsLAKkW7dbDpjDtVsIv85M23O1BO2Ko2sYbBRq/u0TB9
2xBpW2kzzbu/b3M/5cCZR6U/TwGUihBzV4b5Ock2a5M/+FXj3MwgX7kCJg8k6zys7PGpFrRv9B6U
Zh8gUuhLHhkY2JXKeuAN/88KDZ+DeFEALoGQkQnF/89TVxG3hXBSbbjl1nTkkZiWpcGpGl2EKPN2
TYTxTRXlkQfJ+aKdhKfzXzt9xiuptfIPsxmMcf35s2s3hVFfFuOtgVvG8A8rqE3qEn4aHh9joyo/
4mON4mh05cOoI6Yq7DpaDLmoLgl0m7WyJOs/TKSLaZrFJrI5TVuU+5FiZi/s/u29x5QzfXVn2Yjp
Lq9rDdYgKLJJBLq4J/FBv1H8zG31FHnKeYH9OOzu07bQ14UVcsxvv/vGAbhR8165o762okbfwo+c
X8RgbT/+e0SEgpkTszpGbfs8UcHe5eioVqmsvNAau/jEtnY1gXKe2Jad+z51woqU5EZpwIIBcbKj
svxxIeYshTxbVozK6RbNbHdXl0O/g6HhL62guwaJexNZElwrE0hmSs8TVxLPO1wjDVvwBkZXR3gi
WGi5NfBkeucgJ8Kg6VmzuA+o7aJeTefZGkPcQDj8/M7YdWbD08NTgimunF4j7ZdTieRkjfnWofyg
KeXdjA/irpmGGmvOk+QyrHh0bkz6T/wlevbaZwgsnd4VEIS1Ydda3qNtD+ThgkvPK+RhMGTzMIDN
W5qTRULSSKybban+DO5hPY+xdWXMfoAmCEPK6uTWSa38lqYF+FDFJEepR+Oe6FE8Nq9ZO3vnKZBY
G3jDXiiu24uJnQpc1SL7QQ1mweOLtqarx41Hu/tQM8ix6lIwjH7eu3tndPNQOeeq4cA2+3myzagi
vpbeuyDTmXhJ9GrO+a5M/Q6wPY6EINKPPmKkeCFCdFnpZWwUICKwp0tD1PbRBkHKSTRvccCXyyjT
ID/V3nDMNCcIi0R7sYOmpA8JSM1I21s0J9p6xH64soa8WxcQqnjH16AychlcuuYnURVtW3hTs3Jl
IE8ff6QGpgLsMUeYFx5gYu+h8IN0p9cNc/v2mG1hnFU3977xxw8ferk+L5l5/Q5Ezo2r9KDJCCKZ
ITcFwMpIJxE16rUM2UG7K42qdFS0iFSdyxS32qIQgzhWSj+huSoAnMGCT22GTz2p2Tev8FhblHgC
9mYg1EoAPuPCtKLMOTqCo1oQF6HOTfojAeguqge9Gqw91adq2yB0TfCNnQUFyn3GSdtLrF2pDcOP
Rg7NAibwVlpUbxrX+JaPdXzMrPmJ0gwnfsd7lXSVKDmYnKqC+R8JzNARpf6YOOwctVjzt0y5ZOcB
eUd/5/FnvFG8cRRrN+2TDWyWGtoZNtQ0MQ591sfH2E82pEGamxEBo2ZEiEb6KL41lp4d3VZxN04O
lDkHd14F/mNR6ySBsmqcoFvm8gTZgi8n8IDR122O2odF0nY5SSM7bN1BQsmOx9MAm1FT0jsJ7MDh
lJgGq6vqw5JzdelRUaH4u5EON9ToZ/73+a4OKYafWB6nLdR2ZFycZlKf9IMjKByQBfG3kTWqS2rP
bYjnPSEvhlKjAFO8cVhOn2pO8rwuKYcSfNef/r5oWX+2WO+LlusxjspCYQFJoTjz5wu7ly68yThz
bloFRW9IFHO+QRAcmGjGCZTE8X728DI0OM/WpTA44cXjdEBT+B1VZHkZbcxzlZW/uQKq5eizU3K0
4BBVAZTGmGg15kxTb6pDXAz+EryCsW40zq8WKkV2lmI9zLZzTXT2jnkmGHJzF51eymOc+tOuaexr
VMdAnOCDrdFr92eoS89/vwKf8tcfV4BJacBRFCiZcPw8c5ymsyga2/JuvUJy5/DAVoogX5O+WIk+
w+OXvOALiHWEHldYp0+TLyEEV9M6l2P8qFNE/qLL8bnFcv9OPGbXSagwQAuo4c/vZJaGH8HIA7OE
03dMPWvNugoNRUhj3ZYtDX+3f9Fs0pHsLl/+fjk+0qZ/1uoo4rj3yV2qbjQx7zfMf/V3+LFl3cy1
e6tx7qxN29LRyjrtzsmhehvZnVWqGkgF428ArAgi2qTcITIZ95PGqBNdVdoLItnUBmoXdyLhkGtg
1920uWZp9l4kwAbG0SBimjP8HqMwavsHdrz5MbJ/G/ewod/0X/nq/5cLCqCLa8psucFEzKfKOK0Q
MTiU42/1CFLXDfpumfS5fWocDCggfD80dNemTynb+kb6xa6IOVau2Z/X1HOAAtGDhT3Bjzf/vKYT
w6kDM7bxw9jsvcHDs+q4v1FxIgXuNGtlCPidH3s01dcdUopkL7O63Ge99W5VUlsNZs7IWjt3e8NT
j3NV/Sr7ImzM3D21ohArkTn9EniNuEa3CA34ox11P1rPtUO9cZFbDGVza8iwu3xx+GjkMXXnS+7H
yYPNAPdTXUOPlGWojL7Z6EEmD33iUS6kWsHmtdxRwSF6O8QHNvdkZoqCtF00WM8x5y6VlPP9ZM9N
qen6Fumgv40xRS6rGOI2FQ7NpPhKU1y7ms9jUZR7J6p/OHVylU0wv1pzqu+UyA/gIfqFmY3DsSwU
953Rfuf46K7hAQxo2HBlR3Y0LUeu8DWtGwZlRybvSCkeVZZKjHrBK/93Mnaudqx8r93inU5C5eoJ
8iXHPPDYYMEJEEMCR3BCiL5h3M4HAsPfqQzHlwEf1cqWZn5QWGo0rbbWZWWjmaZcu4yH7/08RJQP
f8j5raLqG2ac15ad36VwxFUb5gIssDF33iVwCwjNHNGY0fEOxJMQXDOhsJiKAJG8V9YLvfaqzd2N
tCyqCU/F0DNaMkh7y7PGS76Xr17q2cfG+zYLradKZe9j2Y5rj4unO7X5wIkoI6WW7AbdTN4mn9kQ
imjevvHrdRuI7DXRmG0Z5/45TWV5M3x2VV5mQmUV5U46mnEtgC5TPnQkIcsyjE3VXnR9yngWEhFO
ndYvCYUKp8O+e/+joHtJLdRfitZs92j92oWp+eYalSdfNELjnT1aS9OE50JYqDhozTX2IiKhkJue
ajUaR/SFv4w0bMe2Y9w0IxNYK2ddDJ2g9OEKStEjB7oM21ONiDpsggaz8r1JwZFVi92jsOuXJvOT
i/JRkox0c/ZOk3vb2HXac59Vx7yl35nSUaD9qaW7vgCE1eW4kkQXk6Lq2ZQlPT0xKMI++rzeXzr8
vcTL8/HgGG638/zi4uJ72ekUzcMh5ICWAxFmmFrWHjiRlDQuGLGeDlZqrfsJt4+m2UdD63BmJCAO
utpZ6a1+mR22fh71PQjEq06zsUamd5B0I1EGEsEWUeqjOeNNl8T9WxOBLi4rjI02ZdLU+t6Xvxxv
sk+eytlVyOy3FJQLCZ7ps2OuTBR2O8d/tjOcHHkUvEVOvTe0wjy6jdHc+tq8sml8GVNfJ+cyouay
ymltayNktaSpVrKqCPrl2cPgZ9NBSwDsZqrhrpNBjuOrEKHXdjyzmX3yW3Y6XU3PoTMedF3RZfb9
budKOhNjY9mhYlIAD4igAX4P2JCJQPITkwLFH1D6QbFTSGnCRnfPuIeTzezM9gpRVnf4+MNPT50o
pkNvMohFQ3mkJQR3mMFUimptbaxwydv7xDceUPe1WBcTY9U4mDpb8s87mT1xHoExPtD3Maz3RlTB
Hnbtx/7PLNzvgd53h7lWu5F80M5KM8lkc3zBstxtonHGNyvII1IuxD6alvHONenZVWoOblm3MIxS
3ytFZpvW2ffE6OwTo/326eN/BTlKE236aor83xsxIg3mfRCOdrRFu/TPNYJACf1BSHUPlh7r735J
h4ng26jbS64I7+CidInKO7s44ymfYvjaH9b2Oe4PI3ako988Dr3X7NltGUjknK+6y//u4bF8UtXg
bE87F0zKn5+vM/y2gIeWPCTzN3LX1lprdWMvy4uIM/InomfLPZYc5W2gyICH6y9W0Y+Q6H8vovSQ
2RIBD7LvuSfGSf/8AHE5BWbW6c21oKyqhL0xazROmXSxOCLc3nlJvQGqPZ+VYS21IIG7rYUJM1XP
hmmdfS14dO2CxLoxvnV98JBxgsBJBXTl7xsoBmn5IJ8+KIOMjJux0toWX+mfHxSboaVrOdIcQzQ3
Gm3w9C3jZ9/n+cHzamPPB13oxXzW6BnscytyiDfW19mxTxww052Zyer88UcrGDyk2QZ/Iejih1Yr
NDqSyNQ8vK+umW7LVOp7jV7dg69uuTST516Vw6oV0XyNHH/ptTrCmXsfnQ0Bsfyyhs5W6hSCzPjS
0HumkgrG303b5ACtn0h7MallTwV5OUv3h2y0jZRdtjH1Se4qvVGLpJbDFq9eyuHR9G53GV0fo3yd
XPlSal67NKXxk9dIdjLS1y5z+6egrqNNCx5u5c7F8DRz4F3adnsh3kN8ZtadAxsw2P8VwHMTG/m5
wnByFxMtGrIMN8tvfCrmHnlgh3Sv6RQ7fzqKvOhOmiog5rR5d8TawkBukhJI1bslHWWbIH1qr+So
qYM76HnYdSQcTL3KyQCIF5wVw0oErx9Hw6IY4HikmXs0cnXLXMnwrtKttWM4dThrA0uIrz0kKRJl
ZDjtpQzkz2q2vbMIOoux1IBXX5tWX9zun+Zi7zEjwhycAu4D+LCSPyedzCGdIqU7HWt1UZxkysyx
NbflBqBbt/Ly4j6qmFNZ66v60tTFMmor/xDJlGZlQykoN5GK4XOkCl+YSHc6YASxJrCWCOtqgxeh
TJ3S3nBTUpAohvJEdx6Y1XgQ/hAd215nFDvu/NcB/EbgeaHfiXolovs4Sh/9dJNe47RuaXs3pRvk
+I2B4JeqrdfZC6rU1SWitrOKcr8/e/2wd5LSPpWa4+8QLRwnrTaXXzx19y30p4fOY07vnudx78H+
T4VHg0p849D0ZMoBJLlSzpurGr5kvV8ahSyv7bnphmkDJ4FtifzN6bY7sV8bvji6/ev4xNfGlhnY
EV1UoEn/CgbqmtEQ7umvPisO5bibV03uaYzYtZh2/9tjqOFHmhOgFRYmyM59yOrxErfZT4VQ8H2y
6HTzd6/sOQC/IXPtaAu6n/MYlnP6bIzT9GQIMzhXLfXwj+oE4YbHJrDkUUfel8ZJ9cVv5H5emCD7
skt1PUofxP7+NQZZldz+tath/+pyvGJuYW2LtujW/iCbBc+VfsADQb2ktwmiRAPxgpiGf91G7S6K
0ZiPghhUVBuHIRVot33KR+yNHXUEfrct6nVatvKX1Ed/YbZmfNZkctUrlEVtPkzvOC8e0jZ3duCx
xAk3CatMZ45rn73TxqiZ7rMZZaHbkbyO2dyHZqKMS4Qydl3eC3RmSnNc9r56sSRCb8ZshXT2GuTg
pcos9is52jSeJo+XjTEeuiphwIC6+FGfMJKb1hyd6UxbS5IQWxpYdyOejJ6qVsYLNEYPgZ3qa63I
5m1S04VsPdO96HR1tvJA3QsBKrXfK5Gt4YtWQ/D5QAmh2AO6CcaB8j532afNAuLhHhpqal6TsjWW
NdB9gieZwwsvcDe15BMnkDA3EvPZEupC4mlLT5+1sNYybdEDVN/mhXYqat7ouj8UwF9+D0OlSsTX
wVJMNYYUvsUNqydTYP6tHWcZTin1QbQ5rC+VeiwsTTvlbjjljGUq2bbrhuXw2c2V9p9/LQpj7Uak
P6yx9le9P05vheCsKCevRbNGXifx+gY1E23ogTvKqSnMzt6xEtlj7wcvXSleLYVUK7L9eivMWi0s
RV8dU8d4SDQnJguT3YUwJsK3yU55AVrz3hztPuS9GYcgF5nRy1G9GqnzQojm90Q1w3ffBC67Kmvk
ty7vl3lH58Bxpf8uu/LNGqzgQQw+o4AWBcIIg9dGV7V37qr0peptfW8OY7fE56vK5n4vZEsK4faZ
uipTJ8U4buyWZlafqUOtRMKn8Zv/EM7+zzz7v2oJBPx8Tu68c3nPgK39VEvoq97npFa31x55rMYb
hu6fy9yXN9Qn4Vew68kkiYRoAGNQ+fNUJ8cpIU0WEUgv2cWHptNZz2USdCtTs4kSIHtY1CmiWDv3
nb3ZoXJA3PDF9vG+Ofvv1/PHp4bzYN5fIgw6frpho0G6SmlDezUa6u60/byF6aostHHs/X0l+N9+
EvUrcGXgxLhC9p+7LxENY4Fkub3WMn2T467TcEBKzfuKOX//ez7/RkSvqdCBfQKl9uk3IkcSRBkv
uavTWiuT0OAivduZ//7L3P+STz/kXgf0DXDI1h3s9OcvU9B0yntDdNeyQKY4IrLdTMkESnWGgoSj
2PT2nVsGXyRjP0393Jkw3h0GyoZbN+9Uik/3GFskwvOd211nCQXMBG2zzyKKO9J9cXiSbgWr/Exb
xI6N/kjbHIa5hnlSp8Hcd7P3xUX4V2P1/nEck9w1vCPg7J+HkHJ3xOaUtf21U/GOah14yFHrNpbW
tcvSiW82+6SlYv53e7eOcuB0jqXJcbpM2tvfv4/7WMqnL4StGEcQXsA23Hb90xcCkXiKcqdRV6x2
a8++38sq/1kXnX8r/Oz7zMc5SgY+3HiKLnPl/mhsfd45CWmquI4ewboHm4kmFAgt5rmgqRRO/Iqe
UF2dbIy2hIvSRZQn9nmU8k3FsX2y07Z5ug9ms8f64l1ifa6LcmE5n7CymzRAGbT5dFJpMtQvrmjV
tbSg8bQjbf2sUu62xM214EPZB+kGxTqQ9xRFVrh76r83WL3BJYMDl0QdLtsSP8iczaDcTefSJLF7
GavkoTbadzW35lmHr0DvbfpZOWi+jFHlN8ftccIO2GCHbs0+0b60QRMsmzhGKifQZAej5V1mv/gV
syHd5HXQkJOf30VqJQzbGicZmNH2718sUxOfvlnLuPtPTLrm7K8stpF/Pmrs0lxba+fhSndb7ZXh
5CEO0Di1+2PmYCUW1cqt5/7InkYcNePQNoU6dNG9JaiSh0DLi71rUYCgn3RlQE9tVKrcvQZ6/shG
+xLBJmJRrePvvbolLfTVOZ5SYjtw/nxHmqGWZtT8fKamVbE3U8O6+iPy1lhazOHn0XgrzIF5/bkl
MUGZkQ4wnUJC/9vYyhyiXkzxI4jsViQ9vf1oGNPFToIxLFrrMelR7WhQF7YzJeegD8az2S/KPDCW
5aQ7JKMyd2v1c7Bk15avcjvr91M1c2CmaptrXodmsPmHtnC/1jxsCCMt7DxzDqqMsNbKhB11AF6O
CLx/mKWVAH7goJ24pPxGqEFoBVdVisM+yAftLiR9Jo4O3ZA5eIpCJFpq+OGL3K6o5E0a3p1Sr0NZ
Q8LpWlw8SDW/BSMA+tGu0nsZVVtj1V5aI/mdGleegLi0bhSO7CSBF9Dcv7VklEeNuSO+Mmp+kWXP
h2iSh4bWJ/lRmvWVcRBZQQs7KEkLZgFZpNq4MMMyrhKy/Nv0Hj71PdGFtZ4emJpmQnRy69PHH9pr
kXnNybXTAAohN/kIXQM6AUkmPWe8Y0o3tCint7kW08Y0SYBXhrGZyT2sZr63FSw+BkAjUxz9IBtW
5HCKsfCPppRWODp3hapV+ycmqfaWSWk7SHkn4IqgAq55W8013uCosk8lDsNAPvXwRrUVbV1CWETn
rPvyrle591SuAC6HqiI+M/KC2tOWgZ3FrynGp3Eshpuwzp43xPfsJNGkxn2q7bShrkYyle7jxKF5
DPVubK5tkT6rofQxoA8Z50UzWGc21bYO56/RFw9k/UxOgjmFwcBQi6Gxog380PwANqWry443IeAU
dmm/cQKXhyCmF+hnIl56fjSHkyyzi5sNSCO7YeBbLCUJeWuB12tYFkbwTzog/S2kcwKbo21K4xur
IcKMut8NqcX4zGKy9eyfoOy2UZE/pqadPaiYLKLmNxfhsptryzxlYDcpQx/XxDEj77wwsqQ4lRT7
5l4RLIwIZcVRRWfGc64y75rn3KyeCEOCDyA+F/asd2u8cvUqtYN8nxVeuayjoTslpo5+SmvcrarB
nKCe2mgMop14nieyxwHrlHI8GKUt1VtShWVBe9zRSVulTs+5mmkr1IHAKgqjDB4z9XsweQ/inb1P
Pkc3e5hffD+ubhmSu42GFvdQMe9/oHl80SySo3kxT0+m1gxrd4RXUHFIKcyeXu1SmUp7KRncu3Tc
QZaP0aTuAvEQ8zyEYvR2IkmGgy+wKxkgKNrWaZeW8CLEHRRE57Fb4xsbqRh4bWhLpq/LIjg0fVQ/
iR4lddokdyMz/zpkxMZ4Nx58I5qfNLVtVFA8pX3NFFGsfo9G1q55lO9TPMmwrRua5Q0dfvsmbTd+
rK3C37E1vIMW6aG7cf3adOZBu9czxADTS+lqXk8HOeb19eMJjkntrQY3806ezSqSXYcEh6udVt2l
LJzylNQAolsxE2zuumDRCTb6phvr+2aIywUWL28ZDK559Ya0PUW2c7GmYVgxwwgqvHQUfChBdqc3
kjN9ICazyu7XJEp1NGcMvxLHvI9gVZ+5MXL/ZSASFHsu0e37hDITEEzSWKl/cFTULrqh/aes421S
RcktN+3k4JGLWyWpeaN5hoTz11hrA2u/lYVV4GBQ4IV4FZ7JwiP63Tx4LtGhvFvIrgkNSBvbuKjr
ZRRpmMTTejjQR68POoyTuu+3fQOWw7I44U5wIzdWTIYQk96D2cNzjbJDPpQozOdx11fuRk/AMnHl
496Lf/hZTEvU8r4naZBf4jTYtSSpvqgkfAbes4Pl2EqVm9lYYIVYAf5cYuPcaGaviaerLCjNRMbo
bJoSU1NHtOfbOFKho/302zS/5wVkXIbdCNo6gfhiD+d8rs9+fAzUEZiUXFrsn8U7RtFPPp3A8RqR
GgFPZa4ym5mYmoTmzk0AAFkRpbZmuDYBgBJb+mTB+NYVVZBD5yTBqgLlhINo0m9TxUvW07bRkLxK
9um7ym8A+EoTVElDRnzIZcyiJs6u3QXntCX46MSBwem7CM65mNMNDYl30av40LbEvNIgmN6aKQqF
hgvRHnZQ6+eV08UEc2eyyIG3n+UzCbvpIS+JOsLOu9rk+G+uEmoJLrlaFVFMD703htPYWb/8clzp
EWZH/OI/J4SZz+TxVznHjf/vJp2r6lHx5pTiGQjVPif/CA/PqhJqunaFUsTowEeJIqi/1flTYmMt
R+4Q21zG1CyiVXcP1jqRkR/8dIq/OGt+PpnRf6fHT/WNbIdN8erTyaw0vMEarSy7kRT3Q15DRPI8
kgZ/3zF+FGD/+2xmUS3AX0e3BsvAfbDpz7s50GTutbaX3ehRVQulYm8j4kijTo6ZJE6GcGgDKyTW
8h7cEw0anUfIyozUoD2u9709YdWtxmKXJqnctbx7pNvbX+zwP45Gf35IrgTOBZdxWZCen0+pvS1F
DHrRuKHZ83naGA6DEJ8tOdVOx6bFM99X5yki76TUXRudk40N2kie0fo2Z6pGjfNTmoH2KC2X0oKw
Q3IU4VT3FUN6if7r79cUg8vnXbjJTcRhxOUfDiWfXxEj1Rayc4l7ndr4PUu9beEO/be6c921N7EG
GTosI4dJqFdYhpvAz38Oqpg4UiVbOzG1PeLJbtfo5rgECAKtpi+ix76KclarKDtOEyFIM5LPMXnP
k+ZG54/1JEvEKyEomFqEdveEuOTGk5NceZZWbA2ahfxl35nnpduUNNraLqds3TkT84Z+myybkmlz
O65cDktHFkuS8PF3zn/OqiTEsRCx116DYugXsd3eJl0f2CQW/+iVYBB2xHuIauzK0Eux8UU9s4zG
EzHFJlvNlPhOdf9cFhBIBs4uVyBQB011/dHmemw7fJl0Xl0S9wHRAg2o0Mx2282ru0B35sVQadPS
scSRc2j33KmXjs4cidSEeIeFZjz2W4B2tD1RocQbB8LXsvHnNdPN07JqRLzNfTIZ0u7E2UJ0yWA3
JdLEghSOofsG/CQkZ8eO38XU9D+Uncdy3NrZrm/llOdwIYeB/0HnyA4kJUoTFJWQc1y4+vMAtE2x
uS3aVXt3iWg0Mtb6whuakBc6RctsmaVpulVz9eg5xJtZmNTbTvONe+Oz7+eYQ8ehtvOAHa14Q5q2
howJtekuxCXsWofuFMuFO66X9QgAF1xuBLmtrZRFp5byXdxF36TIMjDdi/q5q4P0hsWBLA/idbu+
7sJ53lj6wu0c5+jWubrIDfcUNU1P78cOr9NHgOwzNN6D7zctAmRWslNCX52hIDCnG1heO9uGKmNG
0d5u1lXR1Beg3tndNGT7fTtch7L7pZnI05mlwFC2qBc1dK2jk7gojhnqqBNqxRvHU0+Rb8rLoEAF
C8MiGBu5Miwqrav3+ZB8NelY7Zs2vi+ppp/hhOSo2pryodYe0lRDyytwh6MiunKfdvGZpPUJSV97
nlCQXqVJ1W4wsbZnwMeUo4CyNIsjDkeHORSaiPhkiNT1dWrNi1Jr71JFv6cXFiyi3GhQ9qyHZdwG
1EbZakNIMvc1zYfVlEBDrJLPDTHqQ2DaJ9uAy0CZ2L0vFERoaiPPcoyQ3G+xPMtRk79TVLFOgNYv
wkZPgJQX5UqXkYcLdBm3KhQT01CSj14T3CH1Vh/zEtv1u6EK5b3ryjC+7O4oBS0BpRmte0PFmnY0
uneTNllZpSlmInCKnUqSRfbnA8FTvDmQQ1TGijjcp1b1rQ+yR7OJuzWkfSq/vtovjcqE06PDUW9x
GNm1jxPOtepqQu7W/GVaTQ8SWgl3teftUq8OdjoPC4DaWJHbbUihZMlkFq5Fn0H9CfJNTrdu6fu8
Vx4F9LmD1dq+qDRgTbWUnTG5RaNQCB9ErhpJazs2rI0mIzsblqW1Ab/4iZeMIBEyxLKV+2JFWfhL
3hC9JXL8Eom2SBoPXagfYnGqlHJTUTbhsdfkveiQXAt7H5tdCQMUPdLjkeeZ7AoSqznC6PXeyQZz
a1u5syUBKWqhn9oqfQZP668o6SKsJGnWMStMYx/H8gtCokCvnEO2Sb4SvVgXdgTyDTmCApjKjvDN
20UQ4Gd604X7bpDPTE8RBtvxpe0CcEQYsi/MLGgQvuCiRH3THdpY82Z2k2dgP4GQdlV3FzPBr5JG
zmedrhd7VEYbMYACpFJeV7AgpXMZBP3V6p0UVNzWAhA/L7WiJfzLzl7fi7lcymJdt0cZCiBwiLz4
7DTJvGtc8wuhTr72ZZrTtGXSQ6ZJPsNm4OxCUqSVoB45N92RREryNMvAipcQiX8pRnalBJSsBtJa
umVDv4pkccLKm4hLCVeZjp2EFKMJl6fqCY9icFup7K9VyTBPQ5XdKXV/rWqqY1Uumwd2I/Z2os6a
QvPvE3eoV75rmCiJycoYiOGnABX0FIL5mGNQ6EImVdapXORHSQu+RG447HJLrPygjhZuGkkrhzOa
aQZ9bV/xaHlbRon4bHkqfIToKiopa4MuzEbLwxhpefqEiYkvMS9och+nUnyvU1UL3PjY+kJhTrKs
DwxIpzr923jCojjG3EzwTJ50iwIRVudFoSlp56HJsHirEGwLK/wkNChhhlxtawRO1+BHUR/xug33
3byiEF7Q8HN3USv0Q1uo4N4K2dzGVbj3sUhYd4aszEiqv4MhFrPeBgvV+IZOfzkwl7ivDTM6O81a
xTBzNtT+Oc3Pilsq9wNZM4WW4l7XNrkZDJ9r218yaxZHx4n2HvNaWGgnb/ywUgjkagW3bYi/eTEk
ACqt9kJB0jAX4N6sGlm6kYj3UcozBoE312skxNCRJjzm3MdG3m9o2rqmjR/anndJhugxxiFnDgP+
MfHjrzTDkw14u4zhTYLQFVJLJgg5O5VnzZCVuCc/+gBjZN32RmAsUrwGbULr0FAJYN8ejVy0tQkO
0jq3suB9mbqyNvxMiORGuNcLE+UKuI99nZwSgUQ73WQTO3U/W6qJIT0xsFbLFGMNhFcce6e3hTLr
UkhWaYGOCDTWu4bK3szLcsYKw71gLKZu5YYe4rSnOqWm1rZO8+wX/VOuyIDJ8ZPCh64IHhXUmTTN
Xdo9YAdQ4LFU+gclyFsKo1QCpQ6b5jTS/WMcNyhnaukV4k86r2SYnU4mdadcdRcaOdkhS7x1x2CL
UblXnWAvcnxWwvtid951VGaAvk0/Q/OUfSTTgoqyYFfZCvxXyDxzx7Mhh5vls2R0zVa2bSilDA6e
mNdqlSwLQO8HQ7I/x4ZSLeXQ/ZwGCuxE11uVrVCukVCe/xwTv5O84aYhNcOjMUKY+bx5hEoRKSQR
mnWWTTBWoHNp6MbKt1JosEglD2qwSO6cYcwGSQxXA1a1HyRUlJzePcb0O8b83YGay/83KZXv0OWo
2zS61HZrHTS5e5CCvlnLRWksKF2SYHE3z/DCUWLP82ble00xA7umriODudluYATLEJqvgabvfeFs
HEkptjak75e+PoTEhaYk/bxsu3yuuPYS2bmd6Zv9lpjJenApSXZ5/WxqFXbxGToJQrFXjgKBBri4
dsgb/1eQZCHPpBks6q4qT9TFWphg4VdFaopDLog+7DHFrock+lJQPYYDo2h7I67UTzaxX9sa92Vu
1l+knoKvKjePZRN/kmzjTKbdfLEjQDCmhuxvr+Td3O8sZZM7bXNhcxJWPvIpKGT5DMbQB3PpKBD2
YwWi7iwo2vggSZJ80XrnnprMQo695Ej37qHoyh+EvM9NrePomWowmnXI+g1PVtEPxkq0IjhXNVDd
SvpkRkSinWrv+zpINoHvQaoyoxGhxOwroJk4WajMYVXCpSQqjk5u0Nn3JoL4gURX2KxRH9BrKXzq
Otoulgji9fQn5j/fwoyEKS2RTEUCnpyrM+sN9iDeKYyzhR6NRVk9cY7IkNSrxrDp2gRXC4WzJaCV
eg0QUDsKl7q87oUPEyJBB93Shqa+9YMI8qaZJntLbrFOsMutoqXOBh2KZ0klV2oNmHtp5W0qt0uP
pRWvZB2We+KnFVybpj/H6iXTPIHoMwRjtyg3ltY+R+Ch5qqfAyiFbHjM3B9NbEcHv+4hoiAXRMtf
LHEAtLYDIdI8D0Lj2DvlrwqLzY0t7B9Dp+E5AYx174b9YwQAJNDApQ+u/KMiv7irNaWaGUGrHnQn
6Re4pzbj1rOTnqsKqun3mhM3d4wf+nZAsMKuhvI4/gMkDO45Uufsq8cipvyBIFS1hcYPKgZWLvxe
dQ+iR9tloXpExE2Dj9RIn8jhJVCMSLVGGRFrGuGznWG/7LUIUzilTIiv1WLWlbGxSDJJmduU0M6m
3BowZi2aDH0aL8K2TQ9W3ucjL05dCpcLITc6jPCelXOK0KmKDkUJf2yLN9BJ7UuyDUcky1h7rmwp
OHpjxy6KKKa2MeLAXm8fgj6lzTxE1CqFMGa2Boiqs6pt7v80VToziKQeS035VDVq8AulnTnbKb7D
oANuN4Qatas8WCNiNcyGUNG3ttQGF1UvvqPcfSnabtnWw7BNDT29C8GULQapkx4TCUgC2GFQiz4S
25ReyBQb/yo38lrL1fhokZ7O4Rel696v4n0Z0H7xgGdce9wf51Fs6KtGEj9taEg7TNNlfLOs+q4O
mprabo2LoJHcF7KRLlDKqtei1S8Jxe192DfZGQjqI2CF5LNcdT5QIR0YZRsmn3NFaZaDXOmgarT7
tsvks/BGPkWhNUe7tnBeAk8J7DD5TsvuM0Dr5LHQpXAdWV6yRRchWxpJUu8pWiULQp4AdigyUkAl
lD1wCAr5wYBgNtdNw8HraOVq8XmQvXkKm/VRQOjfB6SwpOMJMGVIbtMHiPkao/v8F+J4iHMWYXYH
3TZfB54THgudBqNTWUjwhzXKNZ1TzQarcx6MqFBPdiwfuYHOA61yYt5WtxYIExQrCStfLIUQYEFH
DIaCZxw6HvmiTaojPuzfUFEulpKMDEKja5+pEKiLxtdgiZFIhwBWVoMNATEPKnOR6sonRrV275pm
fDKRC5xZ+hAdqCM8USh20caTzjSLknvPzPOtYwc/QVZJB8X/ZVLryWzNPodhbwAa1IB9ZkhayFaZ
3QWp2i8Yt8QmSbyjZfgx2h7tN558dV/1ys9IiTdCZMpDHcfWNiRu38lW59NxpLbCyPpdou+20OKh
2DaQIfDrTmaRUkIyNhRgpaFS0xdFQoIY1rxO//JK/YFyhHIX+YiScE20BW9JvQBr0m8CBT5ikUI4
kLyfUuhrV0+HOD8MT/nQh89196AXhFBFq8dodiT2XIqMbqsAVXAH9D60OtuKUvqZZqn8YKixdvbk
7yHFi2Pu/8hrxUM5RXM38FO8vT5gEdEacErgyVd7w6m+GVLazzurr3eD6s2NcCjPcqMgai9VV+EI
k1Js6dwJo1D3aAiXaK2FDv5vEF2wFS/AiSVoc1d6N6spdRzL8SNujtwiqiqWbB1Mvf2qwFzcFYF9
EBlOAHgVRCsEeOqlZDZQNWkMPzrNF0Xy+k+Zj8i2X1fkrLkXbEVfaBunzcUpFvkpc41q6WlZsLDa
rLzHVrncObnzVBfROWjC7keqN/ce+heZdNcRaWzBoKjw9WkGaCHDU6Ub9RHdnWLhxYjU0UC5WKGM
sFHSomqfWBaMciDK1jgk6QE5cdNuew0pktT7Jdr0SbFK+zPqdN+GHFEmZg5165RV+hQgxi50U9p3
Xu/fOVaXzCq5SK9x3TxoJlZ0mQiNlQIJb977XnvoKnOf2pB4SosClGf7l2Bs9+o051EhunN7wBRy
K3dr5Kz6Ted4NKx99RIjLD7zUwqFnSVNwg1HJJasmdKZMC2oquzjcCgWTdj4546q2AZSxLYCMnJt
ixrGs4wVjT3IayCUxgUivXMyMHnVGKnN7Fokfv4FcOqccp27jQydsYjQdBH26cnQEBLMkeJcxQIN
uD7UiWF5doX7FCMbPASy/80r7EdLjo7ViBaWQqlc7yZ2rW7m32RX1xZNq8sMlQ7SQr5XzVKWXQnN
4YXpu97w7sHUB4egcRdW4HQQSS35avYKhH6vPeV9rF+k5Fp9G/w8eKqs1tkrkX7xSgRqNNLxP4fM
7xsAcDmBTZvwBPAevYVOo14TBbVvJ1Cz3WIeYti++y8gbZN71dvcbqTN4toBDlPVzVvECHo7lVS5
bnKpTFT1gIhWC4Ay3iotqm6dBSDUG2mQeJgr1CeEpC9zO5XmcQiVE4gyfcN8CerJXxhmOSwaJyPD
H/mSCY3ahZMa/YPHKFIoLXSYIfogMdXeNcFgctAYsIGL0yLR5ZtenAHEVgD0oK8sa0tAvYciiZWD
YQbdrOwQwYeJ0C96hKuWGW2araBM0Qz52NG3ENmsI0J+FHnWE5JP1F8UNe/3dMIWSeUUGyWDdeiZ
iKqAUMnWQOW+1lHt0FlQPo/+GpbTenNbTbIdck+fHCKgedFSzu2+NzTtT4kaXqWqKO/ttPwA5wPW
8H0qg/s3/0HIBKot36RTWqbJCKEk4SWUo5NulBicFLqyijN1BL1uICRgCA4QYgnowEX/yZd2loi2
qRbW27aosAfQe+KMQDo0FLgORa+c1EEQr4lsw4Yeo7KEpQty+4uOfr4Da8DAEmVhm0AtLbrVNiQn
PVU7ugBgBk29yBZZArgV2vMMnmD8EFeSt0hgVeW6TCljH/nKRijonQxo2IDK8e5zBUcoR4/hAVSx
udd0/ZcFj2+jBlK07Dp9BzTbWwZJguaICzOh9AHttkEJoIDhGjD5PfgVBfagtG6rrEfsBTtHSDUT
gjfU8XyqdM1dtaX9gLSAOU6L/VpDhK62kdf6ZJaoE+HEfC5G+n2DGLteB9UOlUtA0TlszXCgA9mi
niDrm9Lur06v/4jFAOA9qqszNL6VliByF0AnnTU0QRcgYxDJi5tgBQOr24RJ2c+byktncDOSjQa9
MUs7+oU0RRCcPcvesAys9OpCwjno0YG0V10rMRJqoeiHObbiCu1XEEOOwmNFd05FEa9FTt91EDL3
iALlonYA2gftIumxzaB42i86K7KoMDvEV4nS7DwT6IaBhenMFijWZfglrivUGJc2UJUlpe2jAoUO
/sk4xMRGuNTUpAJVHqV38G2f4rZY/3lUe4fK1LAYpWozMrAcXca1/W31xjdESAWrjS5NHRdzx1Gf
0jEdUoAVubncADFBUECVgJKAGABU4hrDMtSUq1LY7ULDA/2jA3pfFXA0ikk4nip09kERvj0g2a4N
LisM09i3O8DwdBPdPulmRl90q1iiN0ZnEsMU4CiId2W06/pfaA2IRSW3X+CZx3sXSBhuIZWKAQHN
qgq8+KMUNR/1pv+ihuLgq+RYOLEDRQPA//ZIQbboCMumxUXJscD1NIS0Mjf7phWpAw/UQtCNRlzV
mV+1KJOebKe9J/5eEeYdM6Xo93rtlp+rkV0bw+jwrFDaJ8CMoJy1mI+E/s/CSsBbaOFepb22y1P3
UjtFslDaNl/3TXWfWH1+QCdC3YO/+mqSIuFGojtXOVbnShrGj+ByHoUT32Mngz4dxZaN36EQ6Vuj
bUiC5Q/2qs6WigLIwvjUZFo10ypNjNOG81XI1U+bgXMF86TeIwSnX3KBGhnFZ0pYEXpuIXZfvF7x
SqgUaducygQSK58a39/rgqFG75p60Sm1vDBE/ZlznuVeFx1KF4cwhWpcZIZ0oBARKisYtgVc9pPV
u+Gy43av23aJj07LmI5CjZMe8TydG52VX3zY3cS4RTZ2R+SFVA7FKvIkyo8ITW2QvTlVAopsH7X7
VIKfZpKEollsmBtYZl/DOH6SoMAs7SGRQSaqK7UxvsNJmqkjfqyP/XpTDuT1JWDKojDVk94bwZE8
y1Ysf9NATKWf3WiLTB7MD6bPqc79Zu7XVGIMhBKpYMs8TzfNf2oZWuSFTXXx3HRYM0oBohP5LO2q
dNZJYB+MUSDFayFnWl+0BOWsSdyvLLMfsIU7fJfbepRu/FKan8HonKJ+WGsO0L8yTb0F+tD+loBw
ZoJX23hwu7cIK33EmXr3+lKYtsD9UoZTrVGd9e1LIUnYZMp+2l4m0a3GpReL5wYBa4aEtpOtoCgp
dFZlY/vngexdeMaYAa9NnwDtIG1vrp0HSSiwh6q8CLvr4Jjk8bJv46c/7+QvTg79Kbgx2I7iqngr
uaABp/arRDQX6o8oEkEkGSWkvLUm77z6LnTEcILDXS/+vNdbeDjDoc6ZoQlvqIiZ3Jb7C4B6TlWo
7QVVngGLEbeCW1iHQbcIc0ueJUP57c87fIeX4PbBy8V+YQR46BNb5Lf+glHguQI8o79mEsXhpqkQ
S8HhZiZF2Bk74deoRWmg+m5FzUc2xO/uInvmRRqR8Owdzc63T48hNagfZIW4uk217UW+FTKsqD+f
3fspDzg2SSYsJxV4una7kyHK3cRHEB1oQHm2aS+vJIDT8HKWSmGlmzhILhFFKsnPzx4Iy2XZwFwh
grkPPMQr/nww75g3moHJ7hgsU3cYY8eb6c7sjIB2Va/SsUweaxI+KUEava114K32CX3O/jMCJt9t
dKQ86rEeekR73xydwwYDiVYXC0EnjSj4qZ9qj5wgA6PE0GxIB5ykWsZz44NuHbMwN+HNMGVQPmJm
Bk8D90y5FV5OMI3HoCDSeTzYoYpdnYX5V9Q6Ozxu6e/kurKWQ/Fp0gY3LfSYjGJLZ6xEfCsulqUY
GBOcRCHLSzRIHvSEUetzDlYDtiNtKtz2NPpzFFDATZsAz5pawvM2C9yNEURIq8XViQpVhYPRQ9X4
NVWn+IwGprKs6T7PEwu4OTIgK7nUhh+lnj0hBoBEWGWKVWAb4RGF2kfeWhvJYkec0IubOynSDRRg
+gfDVI9mDtzCbd0GE2CwLmX/VWJwoZHfHim5A/yufngdURHQDJvJIEPNZ8BPZ9CLOSI85TZN4Lqm
BNKKPRz0Eo85V5F4yIT+eVC3Qa+JXeDL8b634zMqsz7mF0q6oJtpDntqSLSzTDzGwFTY6wgvQXq8
xbdEUGVKPA8Fu/IpMkKBAjOFAYqwErai5kqmvbUrVKrZlSz6zSB5F/huMPwDSdlkzmMve5SehBFt
ck/a+XGnrIpRJEKr2mIDJZySY6ymSynLqewW7gohfgyUkAzZRx6jnJEW9Rx+tL5pkyHeKHJ4B9rp
UAMRPtij8mh0KjsRHIWMiFaTVR89c+90AgxTQ7qfjJI4lcH9ZnQ3ctGGvekb16wbccwiDpGKFM/0
58v5pBMzEtGMNO2pJg7XEnGWD6K990MiB4D/iopgPc3q2zG4zyRVBftjUIVrn0Rrf/YCEq28D7N5
7CPlpdrFXDLuMDMwPhgh3r9tpsaO2b1Jy5dX7+2QmHt16CRUya9ajhKNRezngqoph+RUe9sy0J8T
BMb/PCi9S+MhaZn042A+a0zht405yiDQgcuSWkulRxsndnbIvNJgt7WZT1/1g0trvJvfDHskV491
FQSNmAHeniFumm4VWFQ4FSsBHjfkRx3nu4XW4Lbl5Rb8eynb5rb6tW+KR0vINc+vsaHSBnIa/wrd
QsEqMUjMQPG5uWMjoIaedp6pWArawy/fndOiw+sutqS9CXMFdihUoeAxpmO+7GzZf64VqZ6DyZXm
XaAMS7M0YCIHdb7DifMKaA2j0tFDsK/05GLntTjZ1S9PH2AQpUgDRFXBPguV8JH1l65ZIz7bY/sJ
zWAFcoPJ2kV5ZvDkZd+5/WHKmpSE0LKNq12vR8+QYEhqHeuDFutfXViYkQamSIYGwmJ8qH+bxx0G
F4BCQruawtzquTxaTkbIElTlvpX9p8z+cG5Vxxfx7dxgk7kRNyiWwdwq30xndS+jZYjg+rVw2h2A
XO9LUzhzHRiX4+Fg2veluSsTJgD0G6NZhVTKTDjoBtBsmQ/Swe60r4YWeNvUBEsZJdLSDmzz4Hf4
FRoDjREvw1YNagBODgiBfxBDvn/VOHiHQ2dOmxhbb68X4v+uFcamdk3CCjEyl1qxDS/S0395Ja0D
uRMXS4k2f37Z3hkh8YoRKZN6E+Yh73H7tvlukrVq15lXMzE6uCSpuw4yuqMuHICszP2LoeQHs28G
2IhJtwQpY8zdFlBnlAt0YA2aDn3Yrtyads8Hh/YXF8TAO9gyRw09mGzjA/bbAxRCxqMFx7BbDAJi
oivfZ7YKpUXO79tIa66wng9uGGCeGmfeKtDFL+DnRCW+DNotxTFdV8S9gyJSALQvhtvZlG719MFB
3j7lugFmWsU2CGssRARvh4/IM/U47iz50mu6ueNwafvaw9cKNeNZkTUWHQrl54Ba0MkQIl8VJA+r
pociRJC/l8GgPAwDmmNAde2Fn7TIzySQCj86yNvIVjdGJymHsJb0gYLBzQymtYodVpZtXzQzcI5N
4dOWrbGe8+R4A9hLWXgNDQOd+sqMDrK8KfrSuB8sjMIxG0Q4/qKYOQpSfhesSzkFhtT2w2ICUXZy
sE1LzTx18EVKzGYuOk+OZGrmcwNTEMiYvQ0iyEOxC7erVPz2AVqrP0epTcXCFs1bg2jurJJawA35
hITYFzfNm42iDPoc5Gl+Vq3866Gq+59Ol+vHEeU4itB6CHp0AbGmr2/jsqvXZYmEe25pX7ucWl0u
5GGPTDMUdxHe4V726AN4WVeq2czIrZDJFqjTVrhAf7UDeatK+Fq4wy4TKADA1tpTGCRn1SXKTelQ
Mw4E+ENU4bPjdMq3PGwutayaK9wQ6at1sbSbPgiKH00nD+5KlJ9RY0VeCiHXWeUq7hY3yiUmDdqs
LfXye5TSihqkXS0VDaYlmCykShLtaspa8yInEoKLve5VxICVJoto80ZEd+a5D6XsqmVDukGvw98Q
k3Q7W1bzXY11ZNpm5h2Jd3xCEZ2oz7ebnRxBc6XOkh94ya9DDG6gaNpPAnxFaJTSXhLiqBbmDyNX
tScgeFkzpz8QHqyxKUb0jUZHIPCjkO1lbynBwlcqdMKj4KAYjbPp7B+T2k3ZGT9Mo8c4bWSThkW7
DmEyzHGk9t3+pIgCWHTmVTvDtp7Uxka8263nqkjzQ1mYylzrAm2lWGE3g12IMpsOsc8L+m/BiF8O
3bTbgiT66QRdurRaELG65Hgbv8+ei9yuqGh9nfqtSP3jtZsjuwm24CG2g2aJHkYyl2wx08xoW7rG
o6xnOfrzANw79HZzSawcc/bDG1HTcRAlH4QWyru3zmI8IJkFX2SNno/j978NYKWAA2mpdXQv4zq+
18p2WFhdox/61FoDbFd2ZiDKbebJa7V0nEMVH/zBM3aNgUurr8NaczHG+GBUNW/DK52DUhQV3ROd
edm4FVvoGt/sakx37itEfmcxEwO+SWG1ayk0ou7vHOVJAVgGfYyFDqJNyirzIXf6tjGAT9HEIRwy
ec7TltFd26nCc/Y16qegXlaKC2zYQW9YyTV30UvtyM3Syq2nISNQoSUL4gLzD4ElKwyUeMGYb+1a
6Pc7M/YQWsq0+yKTIVJqcT/PbS/bWxJWG6EUC6TUfIUmb7kqUV5ALBu9pspK9DvbrZeikQPciMNd
6TcSncK4nKnIoMxRySzPobB2I016juEGpUQK2Y7F+Zp2Tq2xLhf2197tDYC5oBVzR8Mty9G2FM+t
B6PI9bt/2nL+R7WLd5Sx6QYgQUBxmSoV0mhvn4q2yNEebLTonoI9Pi1C/yFbFNxpT5ZGf2Ce8VZ6
l2+kAtOPlj6VnKsfPQR/+WRibklGoyoIENzyxbogoD9Ot+g+d6RZKXJsoyr5zvspB520V1JzFcKB
nsFhX8Rj4Rb0JeqoBv8Y+gjBrP6Dh/I2v6GqRGWLApqtYcQHgf/tJcEmKA40U1LvLbn81jfqObOy
jW3j+JSIOyHKk0QjJgvMj0QhxnLg7/Ei+0V2BEqVSQw01nze7jdwRlA1tZh7ov4C/PIZGcwzgtX3
rUpynfsQ+SSdSoFOolf3xsXIG/qY7YBwtUNEFKr03HlyP6piTuf7+3ExWDikPkTNUL0oZ948Imjq
6ViP59IV9qjauuGDDaJJMTXUHO3oC/Txg2FI3RExiGBnpOLc+lmxcfv6WW3KY0O8soFTjhGaxzxf
ojv+BcExWw7qWZs2ykrL7LOMP8QsCXJvW7Ei9b2rCAJvZxLNzP00v+bJoGxNTC9RqIFkC4aj+MhW
9F3kxEnCmRyLYAYqKtbNxQ8NurWZX0rXBPrCyJ3tD3nyRYCrXBhy6W5iSa52idKlaJK2j0wNwY+8
iFChcVYsFNu4oSXjRirNLfyVDxnV3pWjgvNS3W8GYK+1RV68byx9G0Kc3dY5aP3QCEB39kqyypKw
32CSJ2YR8IJ5XWU0SPpyZUD/hYCjQZUn1FjW6C7tOif9hGNf6s2Gz5JwsSmJcNVAzr2mH40larTL
MnM5hLX1xTGbX01HnfzPEdz7a0UvznAoMEN+H0O5tw+qqw/CMCi+gaA2tV3tHHtQ4LUWwkVIUYLL
/pmL/E/ewf/J8peR7nuWizLw/Pr/HrKE/25dgd+scgwwg6qyX/XtWuPR/HtLGOD+8+gWz/Xzmz+W
aR3U4tL8LMX1Z9XE9b+8csc1/9sv/9/PaSsPIv/5j799R94FF/DrTy/IUlx/p6+2P/7xtxFT8J+9
g2dZ0/6sb9d/8Qw2/k4iQDObaR42DbhmJvt/egbjJUwGQ3IwDm8UXBn90qys/X/8jcnr77gBy0Tm
Ci+7pYxJcoVL+PSd+XeqTmzSHMud6Jn8T6bBhnzzDFHBoXQyGmmYKv6FyCy9fYaAFma5Arhjlrlw
wRNHSDtdFBJC6BbyzdPHtJAynYfrJl9Py17Wef17Wpj/+ydYNw2g7LCe+21jr9t53eztxn5b/XWT
vaq7/zyg11287tspkJ3tC5CXLyu+7ud1nddlL+vcnM7r19O/zOkKTPu63XchYXs57ez1Nzen85e/
m9Z5XXHa/8u2/+qUbg6vyQb6uEwus5svfrtcr4cz/esvT/N29ddLfHNkuUOXEvL+8PJE/NV607KX
DU47nP6+ObybY7rZzPTnzSo3O562p5V4axRNZGzruiQ7GD8Kx88PrpbPlDInYfr3IsVEOpXyjZwf
Xv45rVhlPrW22oyW049tMx+VBsZNTB8vf09f4UjvQuxznn9b53WH03ann7wuy4tiZtcUsF8Xva72
uu7L9rTO0Sgz/etAXo8bkNQQL15XxwYBlDnH8XIWnTIIefXbcY57jTvN3d0e580lmraYerH+stfX
HUz/evnxyy6mH06nb6Tet5dvZDPkaqLcOcir6QeUlF9Odvrrt4Oe/n497+mCT+f5+oUZ9tUMimgL
0LFGslNI9UopNO8yfWQGGntK3WYLJA79l2U1aiN0vkGGT6tMXzBktvvBGe5ff2qaSnRKAvtlrdfl
SJrOEZay7iqv+udeUPR+9FQ93b+updg8G50n4k2cQvUFJ0qXpKwGmc4bBzeMHxH+vCu/hdT/+jtZ
asqtbWKh9tsy35APFfTC10VJhndpAhr032c1fVfYwzq0BoHc8r/OVuqan2oYxrtphWm5TlllXgsn
W0+nMC1zOzVYaoiAL153QgkLDUOFnttvywoCJc0Ivk+/evl9o1uwd7uXy/665746wAWIz69L8nQ4
IrFXHV6uCVJgxczsy2j7uv3UUA0CJPFf3UQ9xWVyupTTBt7exGm39ngTc1zeX/cwLR9vYtDV1t20
fDqNP97E13N4vZGvyzRu7G83cvpiupG52v43NzIVLzeS0DXw5uNNTLCdOr4e879v4us+kTlMQQq3
2XpabboK/9NNFE38vRFliJX0eAMrtI9etz5t8w83cPp+Wn26iaE8RNvX9+H1Jr7sYHoLM9qPvz1c
01s43cD/z96ZLDeObFv2V9JqVDVAGvpmUBP2FElREtVPYFJEJPrG4ei//i1AkXkj9G5m2LWalJXV
hEYQpEQQgLufc/ZZe/4z84d/PoG5nsdrO46KNfXIEDKVJVe0WOUPiEecfTQUpKmmzaGwnIMxZiTb
pk0KryThcmQj0xZZ6O6m9vyreUsnxr04Nj0C8wf9Nn/Iyp0cHdq167J4MM18g5rUvB2mXebo31qk
js7zuwU5fiyWMu8477TQc7OG062PvywF3L4sKd3dvDeWJvQcE9PW+bOaK2jq6slCznu71CChBjbi
43iCuP1+PPNe8gjuD8fTe0o0Hw8R7ffj8dvgMP9dB0fi+XjmffNLfx7PvDEdjzsdz7yFi9it8fPx
4EbvHeed8/F4Q21dzb+ENCf/1wg3inmvr4EZUafj0S0n+QiN/6MA4G8X7j+u2/9fiwCmWPvvI4C9
LNJvvy2LL4X87X8evn1Lozz4Xz8GBNPHPwICz/7d4zxoE48HTdK0fP8eELCHl+EoI7yYInybdMef
AYGm/e7qrM89BDfUIydK7p/xgKb/DsyBMMLG0gfuKB/7MxC6+UgeEENxaoJvxfft37BMuSmivJb/
+398xqhM6gmTjmdjqusSgH9mvTRpoeVWbGEjPqYHssJXMLiONf55o+qsbKSNmawgqDDym/WVkZQ0
jPtrKzJ3OTbLmWmtqhrrM8BeWz8W28gyd4EYH374cf/Nl/wscpy+pEfIC1CRNAHZqk91i84Vmu/k
tgEkMDy1NS1CGRZsXqa8ta3/LIoXr70PJW2AEXaAv0hKWVOW5YcszPzPHUMzdFQiJGNmcOYP6VtN
yzriKWFCTYjf24HagxEtXHIEbgW+xHXpJrYn+JeYxKpnz1Jebd6Qj3R7GI5/JPuJHKXwb9xS3SPt
QXWrKLvcbxaJWoRLdEDfHPjGWRusVLu8hXz+MkTLIaDTT6ejF/HhAn7ksdKVaBHSHTXiMLdwPIVG
BWQmGG4MvnWxqDVnTrPxGRar/k7EFulLtJC1+eL41rMnvLeUf0Cy8zGYfqJ81LJFeJs6iIvSB2kp
b/HQYeSZyYXTqb/IWgDd+Tc/IQUDSyWdhWJtNkD44SdEVT0obtabW1JVlA39OyeV5J0CnJ5RVIAr
MJxtoZtfyI0vkYaD7qkgrg+D7dDi8j60ZQBEoLidDn/o/RO8iB3tbdcj9VAa2LpNn4uvuHl+cwW/
aOwIsL/tNyfA/SNI9RfDeBij4L31qsf55xwNdJtF676B/z6qArx/a1zRzHqg+riy6+wGzesEwNlW
KOqXqvHoIgmwnfDJIjldptXeCYrHepC3IM/fNZ0z2pTxbszqrelxriOcqwb+H64Ox4rmL7Bhpy7C
O3mkc7UeHytjakQ3N2GjEXnzDey9VDISUz7Iim8tv5BVyatAt1bDrh6ib2pLEzQYWHpVJo7ftjKK
rf6e5DTIYl+WCrAUk3BUbC3u1ukfJQhjprtUCa1V3RTbEutvEwIFDPBF6LTXfi6fpo+qhnzUiyV6
YKg6xakPolvFoDKPY+EyqsUts91W65xDWRXcbEp1O9/V/39uGX6RXZoUm7+aW05vVfSW599+u3yr
axJTFRmqtzT6cY6Z/szHHANViuQS7gBkkFgiYRXx5xwz7YGNZoJxRrM5ZX7+mmN09XeKOpZFgRIF
InoD/tz3OUYzf0f6Tgoes1WSThYs4E9Tyj9NMZ8hxyAiUOg5JngGB+ESsK6fM05a3eVZ1QzdjenQ
MWuWnkdNEHut+saCbgVhBFxm2U1CYsdLl/OD7BzQDUn7/MMv+e8mkk8DEdIp7BsNigyTuBNl8DTW
/zAQtVqcYMultTd0SLorYY8Su2pE4jaR6lAocGwtKC4xnWFmhB8J7H1j+s7//C0+yy35FmikSRFS
9SEPiMz652+R9Go1mLKpbvQqebCyBodvC++QIJTt0sIXG40c1rado0vMn/Vx7cUK/aXTQxGFJ0cv
X3BF625kWK9xBwpwl7JfGihsWwgbnbmg1J2cnUpVfzETziKGH2ZCvjfyKKSqaI6ZD9XZIveHX88M
6yCuwVDe+BHOdm1DddkP1UPiT6ZDY3gXUC2ij9WGbGNbGCoMWrrURSU3Ng0/S6VwIwwm7zvLvffC
+LYwG/c6YsiEqePmqwZJwjF1huyWeYxgy1zYeoNzU0mqXtVr2goh760RKUZs5h6lj1aFXNGbC6e2
w0VX+OFynE4hlQx84yhQ9zbuXUoFop9hE8N56IT/fCJnvcTPPwg6YXCLrNM4p+Tkfz6RFaknXwX4
f6Omnbuie9DD1KL9I7fbdDlmmAMk+lQoi+K3+XvMDx7+OMXkr55pwa9KzZ+Kupwgl4KiNZUTaeYm
Xfzz96HTCbhCFSc31nTYFV1NqyECwzxfxAq/9+oXP8B0pf70A5DiRoiuc/SwM8i7/PwPRQPSLsyz
4Maxg0WJCy519lhfcCG/jzkLFjl9ha4KsyXmTeaCuVL7hSrzc68iakSW0LN2z4Jfzoj181dImzFo
qx4/WjOlg9QO4njfojvZTy1Fa02t9xEWZAsaQzG/aqR+q43RtazSHCRcUz8kmnFWELU2sbsBk3lX
0RxbOkBcAb7uhF7TXMJK7jDUfPyff7v5t/npt7PRtUMmZxxgVcno/fMXV9sSZ5581M/oIHEbcc1r
JxC4gE8nrBZoWLsOunbS3HXZiV822FjN2VVRSwxqwH0x/bLViFWdiuU9M/TKsPtjbCT9JvLN99wZ
xaID6nshNrlGN4gxhAg2FPyf++l01OjyqPWrV9HQLMMiOxWuO1xG2Y4LerWy+0FJLoWq4kMG3+PO
dPcBRi/UwpLx3k2LySOewj5oohV0n/egCugF9GFuWbGfrZAYheush/ddqvod/otrbBODvadSqw/K
DLVBFZv7+ZaZr0nhe+7RNOARp7ifY8v7y7aMSWHx6acGmojSnqAKBMJnCZmKK24qCcWwo4GB4+ux
WHV9yXKxE4vG8Pptr7XdKi/H+mvm1+kxhyAJpnGJyk0sTXJIa/TAwPDo/R6M6uglfgF/In4IYPfv
ew+NkNT5rZDPsZiyHorWvIsDW5lwjumKjnAVzRTg1EBr/RWW9wDR0IpPF2lX04fUYvW+KYYepz3X
z9bh0OFXT9s6q3XmRIvLU02KBvxB9S3VvWHjOr9gaf73GRppCgY4Oi14Ggy0z/7uWdkXTtcG6jk1
4tOodfUqVMNvJvS5LUSCAo2Shc8YXLF5BJvv51GA36CJMfnFdzE/1afI+tDWwSDG5YDoDz3iz7eF
oYpIVby2Phf66J+MQWWAtxGcYS8Po3lMinWoOPo1S45l2bKT+QpdEUipBXXuai+qOqGTnlazEI1J
3eKKErXtVVnVEVIW+viE3Shb2y9hmZVwPYCt0o+U+UuhZCcNNAsEZrkPzVe3pwUA1SBohfaM8+8a
yFN3XfXVRWjVu0DadDU49lqkJDoxQPWPaWEiMRK2fW3koAiV2kPYFnA7xPV9rsr21Hf1Zh5D/qMl
9P9J6fWnDM7fFXqnb/N/WX2WCuoPg+1U//1evL1+y6jrXjdF+/bb67f0Lf/69uOSef7cx5pZ0Rz7
d9ViJYNO2Da56v61aLat30nJ0EH9UcE1mFL+TMwY5u8kAUjZMJbAep4X1H9mZiz1d/I1GMHYJFMY
2fncf7Js/tTIbpEAn0ypEJRS/6Uk/Fmd09DRqHd2ar17BU1zDj0p16K2T2okpYTLHhwUzejORZci
DCmyCLxC52zFtOmgWdjHFle75/TxPc3y0R1RwGLeOT9kVv21rShefLw/QXDuk3Vaz5uVWqRHG0+r
Hz5Qe28wQ/S7+Q1gPmws45ToCom0tZEGRglmWspzmFvBPrbbr7nvUa6r5eSGYS6osCTA2dt81xS5
vkNF0tzSuKUw9PXyKyS2VvHtr1WewdJqwu9vpXNI36nq3rMyfUvGybkPcQXcBE2uTgkoNhuw1I6A
Ijlv9l6bnaj1fC30xL23vHTcYBZJqnQU2WF0esXftdPTebsZwp9etGpYfLlv7ecdiujylVSsTD3r
zMQUxMLhKEZ7akKZns4PiIGHI63+fEOg45/fEoc9hCnyeChAXQSnGc3jmfbkV5AOfQPlCE4gxaM9
OSVUafjeU4EnKqr06zoWzsl3JD4K0w4zjHdx01dPro8JU1BiXBhgvPbYJACApjekI+G6EyiPaWmm
59htaVgdaw6uVIJL1or4gFo9WXh6Aw7lX7ujCqCiPWrNbVFNTiwNgJoxX+RY/t7rIxUHz0CsWEWN
fqKHzYIYkyhPdWXdBm4nftFz6hJq/jA/MzWjIZ10D5NwmgzRZwGWXXl5iUDNfFM6Y4WpYX1Hui/b
WLk1fGxmTV/faW3xKrWXgB7hh7oCakCAFGC7pF+qaavOwu5xfiYLuuwdJfT2fiZxlh67bwFmMLd6
rxTrSoS6je6yDE+hW6+9StffLQEcE4i9dvE8WvW11G6O2aB8A0xi7KzQaGuE46TUkMftNIEVvBW+
S1W7lt1TBJiJHNzUvK+YXDWqX+y0vgL1hiEGRJNYYU2sNuNaP1qRmwIHwQOz0tLwqjSCbLL68odi
LXUDTpunYTNLvHRWIs870HiNMpzAp89L98oaa7wOp82oCtwrJdCv2gDfYacc0FO2OqxTsDHmQrMi
7boGP7Kws7RaqROSzJMglGQ9Fts27YZnQ1Ys9+7DAke9WeHtoCtaww+zceL27Jsfht6bj1XWjxlm
4+cYgZNLpI1whdGMkNf7b0rTLGy8RIcZ/NWdRFyO1p/UQFe/ejwxk8FZO6JPdoTkEjzxc6uYzi7G
RohIL1mkMlopRqfsI4xsnyMht0Gf+hfFYv1ktMlbr9FBgrx8iX/Ti474huizBMwl01MCBu6HB+o6
ycfk+7epc40Eyufr1iQ3bxsabUOEHly8P69VVK0ATNCY8i02Ib29xIHUQO8241l1Gto2XJA0Jl11
On1v2EyN/hQq+wfox9+fzZuZdZXWUrO38K02mhlEFzsPg5XZ62KbYOmwxaVh3JgFtvMrJ8uUmrV4
PK5pLNTQf7fuYX7m/fWsg1O2q1lBLQhqChq36y5ZNh4BalIBQk9inE6WQ1J8wYrgxuzcMlmrpVQX
ec1IGukQw1VYhZs6a1qUvG3wpHd9s4xlgmfxtLeIjPsyNp7pknW3OulX2AiKwHwnNXFeNatb3Arf
YmVI10mHiK/TvOotHg18pnvlCWMCl0S6XW6zKIlfdILF+Q09HNi1U9Gvk+q9vfATFLkztGOCUFuk
ue/+2oIj59y13DEPU6xhBguo3lMCoAXK8NczdXQezaFzX6aXsdsWj23o/+GDyFiEVuDs5wGlcSLn
hqhvMQ85fWOucz8Zr7C7gDnRRJF2TNssZqWP0rgPSkTJrX8oRIkCfn5aKtqwiPH/czfxgP96MgQN
8aJyITASZ3o8vGPempCpkjxt42XghZvKpRFLOMmFO8J4iCKdxq08vTQjgv56un7L5g4nhurKYZ4h
bAXFfxxTdV124RGL7exiwnI917AYWODmWOhAs98mqb7g7qm/cdR/OPgmP/gK2WQ7UOk7waTxOLhh
uc4ZKR5DVXtKtKzdljpU5qXZi+QqTxs6GWlUuC11+6KXVbDQdqpRNEAKuuEAwndYgo90NxhESc6b
j4NW23RnZKflmUZUGoJNY3id+e6xEXfnTCo98Ag3gaYYsMIojYeG8f/Gq/3DvKUoXXkwNX/q1glX
tOOpx8pKtBvbyZuFl2rjW66onFg83u+gPlcHLRjMVWg33rKtOB6EuAtVa+yvhs+vW1d1dwnohIR3
kWGkG+f39I2H1zAa7jGZyu7N6aXJB5ApETKr1xpZykwXb0D41HfzQypPbth1sN/V+s4aoz8iwy0X
sDBxIW4DPMvtVFlhxeo/prZFa0pa7oYgs+VGlXBlqV+4APzD6J5WEg+epxZ+PBun19Jpr8swdf/p
fXKsvf1gimGtlfe2QjegOT2AzVjJPpJ380tWX19MGTvX876s0igcCV+nVhdheRHiCN2Uo0L5iU1G
qHodxyXcmb4/6VVuPDhB7K+9gl7CeRP2sbf2nUmJ09r6x95/bWpVFa0xqlty0RorAlvnRmsSF0j2
GOORXpBT++s1X3OKa2fQVlFmOTfzg9GZG/yphkPRZMewbbwS9KZCQcIsw0Mfq+2lJQewhysTL0VI
OQ80mFjaWuGhnm2qaWV2jaraO88vzQ96whcZSQbyt/2AdqU0fM4iTbcLsBSYIbtdn250qzYecE5I
N/MmjVTEf9RDl3T1ucumVWJ3ayvPgys4VU6yb9Q43Lt1OT4JSN3uWYHx2pCCMdXjfNfjtxmAU8SZ
QUaWTs9Z2Vw1oxGfwy6dnMTo2uFqLbeDDVgqHfWxWYC/MFf1eGgPHR3PVwzBERx6b3i1nHKvGLb2
wEqsX9hFrGz5e6BCgdgx+dZ3augnm97Ux1UXZ5BRQxYFXhQpt2nS8XdLSG+1JXxcknT/tjW0dSZd
H995tig7EpGOOJLJ+hqSfPoWWBPOvecOnp4V2IQ8m07tCMpUdc7injsRo7thYdGufZDTJt68w8KZ
Nj3aZO6jggrgqD0piV4+9W1p05KWh9eR8CXOUGq+hWAOPnS0KCZO521+yDrwwpbkPxpmpwHjHAqb
SU8oq2clbuXtPCuUVVjdHuauksTsqqUtuGrNYazWXphEtL5MF2trVWuMevBsyFXjYd7bIbZfpoHx
PA/S80MC0BHXmdt5w4mtfagPpJamQQiy4r7WnOHBq7AigSsRrC0oszbQhPvRiaq1E4fxdj5yny7i
NfbWMb1srv4g6axeD+ukFf62MM3hmQY3Bs4svigmMmtzjLETC6rhOWIZu87UOlgHJQ5FTm5dhByq
XVpWJLlj1bo0WObtw0a+2b39StMM3MymRnzviFMCuRumLmEJKUv7GRj7pYQt+YegZsldpn/NWOVi
CK7vfKPAA9uvvvQ9NKZFBadsNZqYlM2BVukm/dYRFBChMYzZyuVwL5+fAY3ZShuz4MQrspU5GOLz
W0iE3oBv8fexHvnXgU5BuxD68BpChV3U2PuCR2jVFR1mzb5OymgXCy3hulMpUoaefP2YReK0ug3b
/Gk+A40X0/NlhOLY+b59J+hNi6W+1sLUfaogW65GEbbXXi9DcMd5vwVLlq6GETzukEb90sWh8yWq
mnvPMrmMKQ6zhFX+EG34XCV1tvfVWMOqeTQWwlCG/Yyn19XxlGVluFKKRF4xyIpTlEBgLaPcvtcy
V8KPTv13O/SvXRjfJ9towgvrumTv0cNSVKqA46xx/06EwNIkmkth/62KOukWTi/ycKUlnbfV4kys
DKcurukXSJi/zHQTJUO38HKczoST0qbBsis8qQ1RGDeEZq57QYt1V4DhBJcuXqJGa1YR7UlXXc6c
lAMCC5RYX/du4y6iIUsHcOnhjaqXAmxd6ezrxqNdY4qI5hWLUlTdsrDsI1dsuS/shL6gthIHCXp8
FN6AV16jb42hNEDRUn3BGBoLrD5bV6XwaCeM+rVTh+HJcCqOTWuDEzegtYioAR6dwZZ3YRK+NkEx
vOYefBdaWtUjpE15Z9b9VSOshW9xi68UnaG/M6sTNwSDAZFJbOfuRYzVQp+mlbi0m0094mZBYto/
qGFFQ2tektFM/cP8kj+a/mHISvp4e91dZQn1L5rQkx3Gs+Sbh6K5lfFTYitqBmkvVzfQIitKJqmx
SZI23+joMNdm7w3YxbXqWQnGDIe3IfsSuerSDwokYt5wX7egQPB7EC9FZJqrvsn9vSiG4AW7GDr9
jCcXh4/d/JVtnKZBSRv1Verb7X6wXX+fKs2y88viIqLYeJBmuwQFbLOGS1l1DLmGfpXs/qmb6uWw
R89zf+/8zBqVEhtx+vINAzOLvg5u4R7iK9nTvdRMD/Om4wfKIvQGEG3Ta0pZv4eia/B68aS8TBTd
QzAw1Zl08F0AnUYnpVL28zAe6Im3hmHTbD6Wwjg9rqWkdDYPZtAhv+81YMOz7lEYm5viq5NUyrmt
aXIJNW/f4Mb4LOEw7LTKDte9WbIpccAt1bA4xWFrPWbJ6/wyAVByMPpMX8rpQ11aMLHaOV2KvRNs
EP4aWy04ddOVMybdNkii/CGwEoCnXVW9zs9ovAWg6mstzW0VTavDcPsR1LKFQqRcAYcLr4qa7LPU
Iigb07Ogt6071UehG2iFZM0V45wiJH3TY9Yi08rVFeuu7iDtjI7PvBnOhhkG+ORx1KDEQlQY3Mi5
tVcqChUDaBIzjcKvwqMLaqK83dtxCVMBteZudGNUTkF5k+VtG8KJzsHwWJhvks7FzSQqkvsxVPtj
l/rFXQIhAPKw4vpM8YH9ntMAeZcDxTymRoMfTpFsR7wwH/sQ0PHYdzk9rlPewXKGZi9dBy8ST1dW
dhQu8cQrDjY+5NAmcsL6WsiNMVTZF18QrLidAi8s3mH0kWygBsGCQWF9caK4wco938+Zhzamm9ZI
lW7bNUgooeCM27Glpj0z6DsqP6f5WS1ATBAx9HtI6dq+9iPcbZUqf0pNcaw7kX1pglguZKs79KNG
FUHVT2/rZbYKG/E1FqLatmVbXNd92O1ah+lXyii5i/STwkR/sVx/wnn74bYJHbB54xgc5wtz3gxK
zaeH2NFgpw9+uA9GM/c2hPgW/eA0vRp6ZR/nhzFDXWX4qkEjpx9teo8chWoN1n0DlnyfJ1a9bMnT
3YfkM0+KW75LJ4/JoUT9ljxKepwfaDhMj6RY0+P8bH7NGKC70YqwhwjRHUMQ7mQr/fbjWWgdvEz0
m4b63a6UbXUZzD5czATsttSx1CycBy8JsL0MrcfcTd2VORXNcsstT15cv0DqcTBwpr9mEB6WpU55
bQRudGuk+YU703jCOgNLZFlbfJAOrrZ6CyUkilyxvpZVJcnixMpO1YiEgywerjohnNV8c3l2eohj
X9wDMg1xqr/uKu9hHsD+2jImT0zwAfaFS/tVKl37RFd2tcLcpTnrISieznPhno60VGLB59dJIVdN
oD+lH+tqtBcW1qy9ed0JnLLSvj2kvmtcm3VuXtfuwdLs7qSp7bDvqhwuhEx3qicGDHymu8iFarD1
8i3L2vS+oMDYTfOeoQkLlZZabcEMlC80/G3HHvVX7afaKSQpvDOLSGwN0RtP2IdtO78O3yPLIMWp
nNVpSnFbkr12mBt0Qv65WcvIWKqR9VhbcfBQSHeXWIn6kllYzxaUvPY2loByoysqzpNInD1Ljjdw
uLkP3ZxGfDvsvybqaB386ZpNdf+rZXM0rVFr677WkUUFPUQ7uHtNoficXgKaINLTKzEtGLMobxeq
FS4hKqPU9Ybojh7V96IpGRLGbGDRSqtgiMCGRsa2ugWTJG/1ABAr8P3T/NIwFi2yDztf61NWMZIq
iVaMCpaELORvYtN9IStaXyeGUqwMVwFulZjjowCib0Sd9qL5abUFF6JsHGVUXwzQaE6T3lCTJ/PQ
aLhPDdEfme8Yx6p1J+Kz0rKGNBvwSOwsI+/SeyENrCkI8fnE4NK4gwqo3mtB4R99r0dOUSjZVtUs
byMSL19CaBiOYaBZD5GmkaKhqzSTer0ztdZYz5tyjF9ze4hvGYrCHcPaqxeXwcYRkTzYAACuaZdt
VugU9JeAFlXMhYnj6xrToCp8lK3hLhiOb7kK0zuLe2FJEbV/KdX0LjSA4y+6Zqt5ZfuHl1evcdcs
cfZwzondJjdZqH8F4ts/c6ek2GSV2tYuy+HZ8sZrQRJrwyJonIa/8NL2trkUDe+YN6HoVGcbE+p5
K5wcvuKk//6OqNe8Kx+gwsKqsuwGjAy+LkkARyRN5dqF1UCgVZpURnigYXYJ5qK++dgCSbIbfQyi
ezPL1zTcZTvAnMO6YuVyJYzKva0qcnQBtNF3z02eTKnV986g2jtbkh7xrLTekDgw12knuZYCWGIj
Cxwg9ugtRORs/MKMv+QjuQqrMsNHGhTIf5ZQ4/bF8JRgNHrt+ywtiYZqBtgSIKaXYEIRKPYh9PTH
MBXaM/clfitFjh0c1X6MsJlPdatSD7FTYtdUNvqibiiTEjo1C1f60VdN1TE5hUlmlwl4tJwFt66M
+jGzkZ20rArgDmRnPACjQ4n1EOmiQb2bH5xsauS1IgGLUWh3bc51YmF+TRx2TCvQudYUVYoJw1mU
siEYDGGqT6/NOzjPa4Ca+OdA+P3XX20TJ1snEzVpfi2d1pAKXiMWxPtzJdtDHenNdWexvhzarl0m
PcWZpS/6qzHvKLlUebtxR9veSuOIfUUXL9Lw9PEk/vMJu7p+1L94frWPKn+rp7q4mbUSpcGsWpWj
v5tngRgM5s6HqN/YLBPn4b4vRLPyYrvZQ9c1nli7nYUHKdu1smRVT5P3PIMrPWaMVurvpeBEYQpG
Ai33SEp0xbDvq243b7lcRaABcrlIc6OD28E8WJHjy8P+lHY+C6T59ZAfM9RhN/SqAnRCK/fzEsDs
4X2MFqLi1O4IdpINnU/li6tkPaNuwEJ72oR2dSi66IkqlnPRBH7niAzNoyPDAWuzajvm5beybbVb
bdCKE9QT+CdT3JgbyoOv/9E73JMlsNd7B0s/NKfRc5YR8GWRzFfzZm3SW2VEIjwI4cGhTnEvqSKq
Wk56ptxP+GSG1kYNzH6fO2ZwSuiaOoHvnBqS+DZ5jpdeVXr9VMxo16PjtjvbK15zcHwkbLOSlQR1
FFN68de/noxFg2dWXVNTe9N4/vPen94275reM8aDxNXNqK/JdEQ7qTcDAHwmoDzlLLMehO06coxm
alW7IW5v6nqoXjtYe6SlpXapfbtb502pnMijRZhltGI/GFq+yZjLVnZfJ+JWx7QrTyJ931tTk1cf
iRcWZd+qxlLhyWaYKBvaH/NpSUrWAVJVrL2fptlLs5pfzSPWKmqobmXJl5BFURznZ/T55n//bH5f
kpMWYk124yimuKp6yzm6oRvAoxXJxasGhJkoWl79JD8FhLpniurk3KgRhXo9PNBVmexiWYxbG1H5
IxHnUfPN5h18tLMwsbS6UUMzPIpjX7bxDnVgspVJ7z0Dy8MROx/fko7VeRX54oAlW37X2SXjexqp
6zSzxJU/giH0HNHc+ZqWXnkMlWtSDP5LMOAnnNjNu5f0/pLMnDx1A6mqMFRHVvBSrvK+Dl9ADZ2q
KS1etv5xfqUfQ7mC1NBfZ5omr4asDrYgFstVmxbV2jCadFNZsXbMLaO7cggZt7AvM0oEkODS3Mye
6Ov/hrlz90313zC8ZTpy2+baklX9yliTLLsgclHfRw7+6BAJzAF/an16UIAfXaPLhFI0BuisOuYA
p//iq9jeSBKWiEMU/0A4iPd223X7scnlPrUDFu4tlJSmoMhYMk4aTjNemU0olmVoDM+w8TzcAD2W
DVnH9JW66jHylHPfts3O6Aaid7/FObsf6xUNX2IKNhNIQ7Z1MdLS2BqFR6UpbdvlRwkqLyTlICW2
u2cFeSVCxhpBO7dq1yck4MmYnX2TUraj5m91jRdGq6MaDzzsWKjI44oXpP2tGTO8iMkAUxRdf8I8
/gXNGDC72ElH1mqdt3Tx9oAuKdpmrStm9WEOLp1WOX+EBS4ll+XQtSz+50xFoBrBScvyhT1oyXpG
pVPcyrgzvBI8e/pMsiReZGiHNqYvdqmTYYCrY+SwyOrev9YLwufRtvbzDtOgl9aXZbYfczNaSYQJ
59jv873lRcUuLTXnBti01Aty4Zxk6NkhM0iQn7umDTXUqp26GoAR3sLKXFSBrl+0qZjz11ZLK8n3
8IYMfgauXpTDpk/HZBcmyq2uZN4qIX2yZHlJLbhv6xU9p6R9RxtrlkiU9A5oSBCNoUbhWhSg65Ta
usSwBm/HIVu2k+msFFdOk9tgJnGgnpajkV88oxfp9zbRyU3hNneGE5RPjID5VZX29pIKT/mUlxh3
UQDySlJeiJo+CooW3iZnbAm+Pww9+H9MuFcu+boFxl7K92NQK3QMJKfeK3fglwiD0lg6XrmLzTJ7
ILMl/dZ4wLhnqYiyOavjlC+z3S//XFCesSc/qPk8+NSzHTdwPxwwIMD+XHUl8Pc6RRjtq+03lC7j
bi2bQN2rAjJoPLj1ck5x5X73JWlifEvyKjzR4IdHqujFItNkfoO8LUeBt+hGwzlPgoIV9S25y0ao
+h4M7qs46cqnqNBPetMZt2aU1Pcj+L+4cf2FXpXoL1G8avBK63zZ0Zu3JMcXras4lbda30drk7j8
1OVmGoDOqTrahESzTge0mm1WPGEm4NKiSGH2bFQ5vEhl48pAvBpTH48Yh/q6xLn5UOAF88+/nfFJ
CenpAJUMGr002DKOqn929hBjHZhZOLByY5GADlm9zGF5a2pPehy421ksO6e/DRVOFdGRt8lKoS/S
OrUuUWg1R7vTvnQMghdLRt06lJLzPl8OpVnfGk1i7uaFxvxA0lc/tkY6HKxQuwusmMTKbPZkJI6+
sFAUbfFBVu5bTX/Segoh7WjpdNwSnf1Cbmt+0hV6VOmJlTh6mugNgwrRz1dNRyGpQnGYvbVlnqyy
ECuKoCE7mjEF6f9F3nksN45ta/pV+gVQAW+mIOgpihRlUpog0gLY8N48/f0AVZ6TpXNvZVdED7qj
c8AAQSkFAtss8xui1E86DlubPE61XRDJp0kS7c023EQg4B2hk3Nsg+Ea0B7c4M42uX6vj5cxjf58
gbgUYzh0GdTY9/o+Yo10ktec9AjlZN/xQG4bd4SHWP8ZOaymcXooK5Hvkbm9sTvmZ1sq6XiPtHT1
1PqilH71eT6Yfh7kAgXRSbNPXAJrgQOENVBJmQOkixAWs1k+/n6oKPpHVM4stuiYKkomGrrQEEz+
eseSCIVlo2elj4sQmjygmjs6vuGxUZr1wKQ6pLb63PdT+prN3oUxEK75TIQd13pIFWvTN5mxDppB
O5qBM91puSlzI2C3JSIKKIO1Fb4yaQy0eWAhSRvnHg81CieKf1DttL5Rf8ge4YNTqiuE6bVZ83VM
MDuvNPnPFx1TYBpWIts6zpShAiyTl0yzlRJdRPzXnPtYKrq92jpfl06VmPFFdXqOJlPsVEctngFU
HDXKlV9sraVQ6wc6nbThScoTkjbgqZflJbSaGG1mM9+qkdDfzyk92q72UBRwwjJzG+KvwNrrpMc6
RE5u6WdhzZTt3iEAQ2Opm3CZAHVQeD1llU2eq8V6mHwzptEvscyn5o+ob0ESyRS2es3Svuio7huy
ke5lc4wOrQDSGpUgrp0BR8k88e/tMPk05k4joYpJuGcRpWw7exxJdomOK3idYBgqF4eG6VXK232m
ltb3+SDC0PZ7b9Z7ScqibzhVrGnjjIf3UIPOzwQMp7s5FLfXnTHRZjLj4W4yqP0kFe1zyZqKXenI
wx7nasAdczRCevBQ6OU6rqvoy5gFdzjohs+FneY730rYcbjMs2EBGNA3Xd6NT1OSZtd2QO10VY3j
bqqeq7knmfjkGkgz5H/ubEP0Q2DqfRomm4h8dB7UUKZRE4/dfVUZDxWiTb9jdpgfBYFZI/CBBANq
U8NHEdicV9JfyC7V2KIhbrUahvd4tva18djnjrLp6M+tMUMwHqNBODss0JGqxu2lCRP6LXTqINTR
5NyBC0iuuXgZZxm9RBrOLe5bp6X9+a9TjTJRdm783oWAnu4Su8LZhcKVvMke9Vaot0BWfsSJFJ+G
eb1tJBnH+Mj/4egVq/UMvJED6vZBUqJzMiNvgCtg1TM1pZeoXgog+Qdcnteu0KYXakOFp+XGeB9W
/oSNbOVWempvAU9oz11RHZy4jL40iV+t/LxhAyo0IEE1zjzb0vf1O4UW39zJ9IteXVn4h53HIlZO
sAqQ4tHNCiIlbUiZvIfUXH62rIY0M/B7OuVBOON8YMRMFKIiOZ+eWjVfg5UJX4ukKXaJP+cNnU9l
l6pnGnfhtTIlsYrB7dycIT9hQpQcLFO6VzF9sLyqk6Rt2SpvFokLchv+9w4ByMq0hs+IgZWruE2U
+xivH9uhGYYyFo3g1GnvwBi166H1/cemkOlbZZH0EDtV4uY2qWaSg52horIc/OvMfED/RUbasjLF
GyRW/wnb1WjTzrlG2hGNx8WzWOoJ1OYcz27lGFgLFaTWSpWd0dj73JIyxB77Z9GUc09OSSysxFCW
o2nwCWOX8uhEVnX146JaWeAntoUvs09mZlyhyl7ArC4SsRe9L23GqNkpE1jDSmuyx2SgljGqwt4t
K2UHBcMN4uLJyOm+8kzLXW5gHTT860iWRblDAO7qGH0KimbSjgMmlfXQ1veMjZpOZeis1ACyc94V
mzS3p1s+mN0Dg+dQt0Xx0lZ9d9SiKmWUc6t1bOcB5bOFdnXc75f+eKc/G35+P4ShMeMNGdL2oOSg
Ff3DUEvt1lapYVuyMR0LWi7bttCMC9pXkUdpKXgZ/Blva86dmaV4azdagu9sI23hS/jH0OJlOdI7
J95qfviyvIst3OylTsOJKYJMESTt0cQEnpaaSHHTNeigI4QBCnPuumS9wHwVdFAUk3pm1VB7bDvK
rc7Ttw5R2v8OUAa/7U+QmY7Vn930xnMLSnxt5n5yGCYzuiGa+bXo+/E5zBwkJK1WeTRrS3ks8bCQ
aEue9fmdacJx1ApgCstPxDSW107WA5owu3u5pixAq7iO/DUSb6R8g6quW62VV0t0vsTpfV3C4RVB
J90qHe1joCNUiwZLNKes6j1DFTpWMXMe5xv9bjT78hTK9nCJZolA2cZap7cmymXL28jCty1DrgaM
iwk8paKIp1KE16LP5VTkz30a4tTGHuzF2Si5llnUr5gguJZentO54qMnMt1L0VLpw4nqcT4/Url8
f3h9ZYR30Qy9xSiR7yBV1ga3D5yriMbM7YhGxy4aJWtd+n0PlidSVpMyYKUzl8oDuS6PaVC+YAw/
7MDtYA1J6fjBiLNrOgM06rzsvTIOlMMgUv++M9rGzYcVy9QPqXbiN7Aowu2jxMSUTsX/p8MPAmQh
qU/aUUGQ5kZMrs2hTexnp+VthUT0iOXxOi6KZq8YY+lVpq9djBqbxEBWu5MTJs5elPQaQkPD6BZ5
xnWIpQSIRHoTCsYG2yKLZNfPlOyiIyC+SVr8bZS0zLD5AKorwsDY6spc9Y07+1w0UfQ4OOoubYMX
KVXU9BhHunFhIBVnUyo+L/F5I8AGGipVOatKxCYeRXkYhzHfx6mq7TAut2JXqbuZCuoMqHgOFLBL
VE79yDokBmc6BNB9U66PGLTpzwPBzYJHSIOMvbmgPD/kCqAh0LWYfibMlsyUQf2pOZkutRtMWssH
pQatuSD1k2bdGOkzEz+4DbjeUDUpLOw2avV1qPcLDEQVnb8p08HaIsUnxTalFAfoe5DZgAGnEotM
O/laZbMxMFiTW6WaupdI9nYphAbtcJcxu45tNKQXqpXWdtJVvJ1bKJPtZKZfJWoSVSSYiQRRd+i3
3ulDnV8TxdLqjY5wAJmMQf9NpxXnUh2OtsVgFaAzK6R0+6kaLzgUxYWWfcsjfLOiLm7B+UTKxh7L
O1Q9B6r4zp9d0yWT6UalcBurk/dTn96HuWGcxYAqYhO2Ag9PmBdLLRhO5xtDW1+1uj7MXmraSzUQ
8Qo8Qk5h2TQvkb4C6UiCDzBjLlrJaEkfRVwWV9AZIJVsu71o9BzcQrWe7cyJngIaAFvKgtT2DDN6
VHFiQQk6/Sr3/hZm4TvkIkU44K6NwIUu/bHlbT+/FSFj2qbSdbWF9r1tqNBO0LjWBGThXaYPtIGp
RcR3TaSIo91PyrGpNBF4Cv4r7+/NuvsTwdoZOaDsxGq32J/Qgw9t6TlXKuFNWTjuKyoXL3qlf7c0
idwyStQTEJi3cSz941Tb4VpUhuImM/p5eRHzEa548aatwGgBQ5JUF3aa4kEXpuBm+do5nYpi7WAB
umaLRYdaM8NrbSqvwtJQ6YfYU8WH3q6sbaaH2aqcNbGRJbZo/Oj2Y05svHS1hSx9NikRPcYIEHP/
qlNs+qz+VvoYzy9OgYHJkMrXAqT2VUz+Gi/DtyBt5JuZTMYedjuzPK+6t7Z7HSKoALaaY+ksK7BT
EvOr4UszoDQpbwMLx87uyS6MaBhvCYkaaC5+BMWHAyLk6SeZYuY6M6038oLAE33BVo/n+0Nd5M7x
w9ukBUCS4qT4pcNjlMR5uCTzsi31wzmj7TIbJ7Owzy+5Jj6bAuKELtTdglfpepF40lTBtykzbT3l
WCBPo6ZRVxvGkxJI3YPo2tfYlsKr5PjKuih8aVv1uBbKBl0aXETS05QmsOu6KXvhhj4AiZw2WiNZ
G2Q1sYovfOuMS2t+8utmk+j2xaFG/g6fMNNJv4MCvWqHjJJ8J7L2PCXssUk3vgndnK0RR5pQFobH
7yiywS+LV7ajoOjUtQPQE2vmBJAdcG0yAz/Z5X6Ei9gCvqEbgKD6/F/JEl0RnkXdkXhMfc7SRRjU
buDdZ2uoUv4ucLrhqEeTtMrm/yCzg/NoY8nbRxL75NR/k3Ln/WD8eWb5CDTXe+7UALk+aENVeupo
0DjXpqNFkYYsxMkeSju68xtde7GM5vPyFXLSaVfvDPp9c1tZbrvhXmQz+l6TT7FSKqfUr4GMGoP6
OGQGltOShXNNjhU1wI3xrbGG3uVKgwNGOD8w+8k3jBTqqsq8pOKBt8GDpn7W0+6Kidy0apUhuFEP
6FxlhkTbwwsK7s0aH68MpL11K9C5vjNnyFvdJftBaS0gg9Q4RVZV6+VokHtpperBatk4cNmaDpgJ
4ZRX+uOu6CbUP3o7uPv3S0OxalWm+ZlOW7sZG717aaTi6CR+cRR6Gm9TB8nvoLBfDR7BusL2fPUe
EchW2X2eYSTO1PmvWQxHvFNaiheWmVqek1Cga+F7bUQcS8KdMpt9ugMMG2DBFxp9eXkfTjaNky8q
RSRsoX1xzlrr+/sgwnAFUgQGWlOqt94yD8pEznZR57SeKcfnvovxblVVYBA05Kc/AxUIhRU9HBhs
dpS0ayj/gBRE7DPLQuux1g4L5grMmuG9p/NTk3zL/Sm4S+ZtoioBvDpaV1CLz1IviC2cg4O2W4uy
kC9BmNMijuf6TtBIDGM9pECfHXAMNq65PMRHCedoBitmxXq3hiiVP4PKuJRZqZF2Z+Y33HLtws+/
mSIPVklRbJNBEijYZ/E9ZsmMm6kf3xbgkd/HEYvKlK3eZxCY58Sl8vylxyH0Gsn1uIpFlayCGrKZ
Z9Ll3RsAmnfKl66IRjKqNN8mCdhSTBT9u0kmT1qSkyUiw//oNM/5I36i3wxNtKvl29OdBSURa53b
Lo9S0YaT1YGwbjEaXeU27AUjQr1HtcAcDGJyAUE5B9VP8VaHtI4AiBbeoqSZy2JBtVfA2Xg0h9WN
X+XTyikj8z6UfGsf2EWyLZUJlY6FVaFruuNO9uDcqTkOKT2lqNfcjPZtOgriBanbtWZjrRTFDo4E
qOOnJNr05IGKZuvPpS5XHqgUrMZrET5meXsZgCOskBpP98s8MDLFDbIpucrVk2Tp9R0+bOG5+KZG
OBeWfgMnwKgf4C1Ypz6Tru0M0lxORX1zEyKa0U30127ppKSMSVldy6kjXWrQVdUWZAWq0oH2g8Y6
8y52+nElYQHS7POyqo6Tn5tUi+TqHBg4gIv5KE996kSxnuFLDurMiuBjdLb3niC9zy4a3Lqr55K2
DlBPPZaGReiHDAc8xKQlPlMMLxrD/Nz15UOsx+1eWUzn51MxdWl8PvRxE4su2NghjcGpMOZtwMdg
TDjyJwuwyUhJYewUgM59toEI7R+WgTXpTrsvHeW5Al5O20vu7/xRdm4TluABzYZX0ALJymjBh8VB
k17LdIrdJiALUhQ0xabEiDYLRY++B90OCycMSWPWYrnjqjOsk+b2xcAJ7fL+oTZIzTYuh71qx8V1
meY8s/d3o983d45TfFPQ7sPsXXxWMX5YBeg/PUQ6EHv6L82RRmx6CuRPWC8FxwJP9FXrl9pLY0rl
epR5YiFEmotSRNcaAPG2xlPGVUfVOJcS4vg3q1FqIpTpZOD1fFakiWbAchhrJnUx+aJHPSqm84IM
u61WMucrTVRqGiVBOpAXlJnGoHFxiUWvQfJpdL4/QX4daNyMZNfZCnGyBr+v3SEyVQJQV4VLJo1e
mPCURi2/y5h3uHQfII+MWI1nYLaO1A/7U5Qz2uAIjUCgTdvzq/lIBBgyqPJw1Jq22iSaGjxqNdKM
WR1J39BnCGLD/479Z+jWYzs9Act+yvxJdSd4FlTyxLRX02baKYUT3DtRYHiIpulPSonzWFGH8GGK
PNyPu2xq/a9TS2/QspBFl3RjPHRIfW2qJKcEQug/oHDgtU1j7hOS+53aYCJZzAhbXWKXz2LXglS/
ajUTwmrMHpVM0Zf3hPb94Q/C1i9GKRt7u66DVdU76aM9+d3VSAvPSgb/QdcSF9CkckzTIQHMHQ8X
Ux1zz1D68pkBnbtWnoZf5WbaooYdYZoSjG4vwvF7lRlvcZgPn6SSVlBu6c1DWLFuKC32r6pPlDvg
87ozxpERFab1NtaGgQWW9beMHNmV5Sy7BwI23KfzB2L+IKSR78qSnd1nit/fWxlaBb98MP9Gl8l/
/sYOLU3KeX0LYF9zyrfEFLYHi7Q9JayEZz0gaLQCX/0y9HuV1PKrkivNCsZDc68YfX7UYthicsE3
GFgKK+bkV4wPUjfGEanS1JueBtImVVsKfnmlnxO5Tz21FuZrro57YRjZdy2MbsICPpQD+F+nmSPu
cjMwj2nT2ij+RcbTKJMf9uKJ2KSvjmi6kd4n9XOmWvBShfQs5UBEchs3+KjkxxSeuUbd6Muw8Ook
Pb9WibHGhcw4dXIWH3wsF9pE089+EulnBJHKO8PCeSbsOqPZsib1R7zJPJ5zt3lnXY0w1GEjhsBY
QMM+UVYTaxFNDZY7eriv1DzeC7kqz45uUdGxSy/NAvlQh+NKBET3hVNOezOP1MdKyFewcdNn/ARS
pIOslnU2VM8Jlo8ruY9aj1o5giBpdwBLlO7MhYBZJTGkyWXSM1Yw1C7Dc1lpVKD6gfZFArFWSHLs
2TAQV5GfxJ7TwM4HPW9+y8OxPmSxH576pvwiZ/3woGFUNI//cjoNpBqPekfSG5LSm4Qz9AO5PH36
pJl9ehRFTJNKHR6Dova/hM70fiA4WMLjuinMJwXhPzupv0thjbZellSPRiQlwFlPUOvk0wKoWV6m
ITN370Fuj1sQfc7IXkeRqVOTlatXIJJ63EivBH7RzsyHdmPOb9m916DG0+cYUSBUsLPBW35MKNZL
TBjuShkqsAgWVueho83XB5b8qgSYm1DmMU4UqaPHqGgppRTKq0+T01PxXKKJqmyW21CRFKyl+W0J
OWmH/FIFLzWmYRuXexWW3okWGHiINpXDraiGaFVoXXZZfkSM+nVyhuI1b0vr0ism6J2k1s6E7+2t
QzxHmWAZSwmUj0Qk8mZ5yzN8UDQjfcBvybxXFAyllvO21hdroyuTbU+2k1o07+Wmm+4QKztWqeFf
l1N5KdqdHziOqw6Nf10+aJJcZnuAFSuqYE1xy7o2TmxdqzACGlE4eOEMnFs+gAdJiTg27pZ3migm
NrlXS2+Vfav4kCZIjq8SLiTnsEejfUkYM1jrm/eu33v4/D4ue1ox61FYwyboFfAmqUp6EEEDA2Qu
zJWEgOHVmoJPcexfJz9FmQHFnByoVVw/9rpEZSKpqsdcbqCsajANQGdTb/dHeud0ZOvtpFrE5LD5
t0ldvjXY5S03fXlZnoGtpfYqxH1NH2+5Sc1sQcOK8tIVOmaJSfNVzseQO6XVRnxXROnDAlkpCkFC
NM10uuW9GMfsWMe/nlJbPB+piZobZPGdmx4BS4GvFswvmRESJmhgzOm6SOSFJjLpZfWt6A3xeT6A
L/p+gIseIyH51jw7hSZ/t4yucO2wHolLQZoCNjwWDN6nsi5uS9gxaYC0ljq0EnTp2i6sz9OI13Lc
V0XqdWb31oPdPMhxbOKXE36KVb+NV6VpRht8Swc6I5J4oKj62W5qhiXm2FXxKKD5x5IOYqHOjcNy
1Kuqfugl/Ylcv1xNM6eMmjAtUiB5q6Xjm814jCysDS8GPlbTQEyf4tHPvNive0DcZKCjbNgrpzLr
w/LW6PdS76+yKHB+BKqyWQ6inwfAezaSaNj+ibdP5pTED+gXvBrQvY6FY4iHJAXmNZVvy0edEpwj
s7CPs632pTOig4pny+kdx2CKPtk2bUZqMmMrEKHL9mVAHIFeh3NvByxopYKPbWQ4CIRwCvJ5cYoS
gP96EO9UMKSrDiDSgyVDGGntZvo8FGggVYFvXpR+6E6JUcSEG1H1I8aXSJGS2+zkxIyHQj2p2kvi
jMqOjhn2xFNzmOZEai41wXbQXmclrE0sWQAh1V67k5tmdBsBlmmqH+SZhRkMYQt120a6bn7bKZt3
UIyUkHm3gZmcC7nbdHP+xGVMu0LKxQpOtNxAzmkYNfC8ryJDRrqrq+EE3qo4gJ5OdoE8pPCjM8uT
Cls8gZ8/tb6EtzJFwuukgKwaFOpTRC8mhnMXCPZrlBTMGiWL+ErfHzGScDhUbUvbsekkbQNnDKMh
i7R0ebGazj/XowUrCxIq1mmdQb4IQXdnaGi3xMiykHVLiK7QE0CvD36GqZQbGbbaeTml1+qwn3wN
4KH5sIyyZeSZZXehaJfBB2zJ3bDk2RBBVW5WlNIdHc7upXyEpa+9TK1tAQ8CgxfWotj4hZXf7Dy0
3Ajdoy8aRD2MhLQfShpuQ9TGbGE/xUUgGPK41SwrQ6aPO12GRNb3WXOoZxyTEu/9DNHDxDCGg28a
7cEI/W/13N6MTN+c0Wr0s+ssxiDDdB7tpW0JJRjWqVJcjK6vTn2ZVV4XoiMr5FwcNLMpNDyk0C9p
W8FGpqSPRaOti7k6K/lGcowVGmmoSqU0OGbsaZGMyqole7zToLcDsZ0ibwgxn3pHyVm2yNdIr4mv
FM/EgznGO4hhRKulP9gE5Kz7ky8bR3v5z5JKKilvWNOhMO0/qQZmp2+aImy8d1mW1MT5dVL1S9rB
rvXTIthmVZkeBI2/tWk7lxGtnYsEP9jtY7N+WY6y3mk8fmE6D7mrqpb5BZ5wjpW1fBkhYa/fO8TE
flfg6tbaeMcBqMYW0lHo9RoMNYqFVB/roT9EaXsKKLs+ZwhKYonAURBgjiCJalPnTnFW66sT+i1t
SYN6sloH0imvsnhbgEjbpBpVN1jp5+WlqpQ/JYT/kdDV/zEd8v+HhK5mMerfScWu8IX8VeRq/p2f
GleG9QfSghYwHrqqEKr+JT4uQdj4w9Y4BcABK3ps6P4tcqXYqI+bwKUUw5xlsX4KXKnKHw6mU6pt
gY6guIKk4T8RuOK6flH9QTkFyUj+OkJaiL7J+iKT+gvCQkoTO3BiHPAavKQ7OzDoScTNCzT/adMm
KsyY2NnlNQUsSNqdm5IYzdEHtg1hXawmaICeNP+sFlaay1qd9bZYt+rYrH+5qf+Ngs0Hebz5QgHM
za82cAkEbD9AQdpkKMhjpvCmylXiOXX8aSr5KwmySV7vZyvRAjm2eyWniTB6DV3CTE7hfhVt/RtQ
1izg+W/oI/deJrjSuWu2NcvROB8gWdqgZIkRhuFNR3fDDUMJFGE6dSsl02sXAe0QND7iIOQrnPz7
u/BBx2f526DnVE2eddARCvzwtysR1Sp5fngrzc4NgAdu8SrtSOOIUKTeC/CH3WRpobmVlNH9h59Q
jyaCHVpdv19kjnFqGE73vjpdTGkq3KpLNBfcauIi3H2S8+qi6TzPuukATJoVfhuVtIocPfZATgcA
M4H+ivgH8YX0my+nzo/ww401geXKBJBouNmLTP4vY1HTrTjwmTMPpS5C0J/dBhhOh+0oF9Dl6iF3
aqgzmpg2mcVF51r2nFL4HWo1Rs8FHJtKxx/BUTRKKFs31LpshM6J5ZbBmc1McjWSvJg29+SAevzN
s/nPcaGB5kQyEW11k7LLByGiQc4i1axC+eYTq8Aecx6dLFRnSqOCVjxe5TVXbrN7eWDZw20d9pes
75N1xNbkzKcD2nXuXNmo4avKxAReMUjf2rIRbpvM5D5TQ3OuFhk7NeDz2taO8J9HqlaVAL20C1sL
LfIJ+XXGREzzdFjj1OwfxlxaVQ4ohbiy9lR6JqIErhBc7kbItfObmfqfTxEXS5n2KiarLFEfFfOM
sK9TmXj+JufJqizTVTL+5k7Py9+HgcKf0IAZIbKr2aY6L2q/DJQyEFOVynJ9M4YAyfX0PlYz6VEC
q74CZeBZavNDbvXSg/eO6Mt4yNJo8Eoftiqw29iV83qNKXL3lOn8Vi1T27OcOxiYwR50AY5GcTht
YhOv4RgPin2lSwgfo+3s/v2AWRT3fx3vKks+/whN0YRh4H/4GhCEqTNppfMwteWsgDDN5IlmG/Zi
DW0LgEajVm5Y0KgRITTNeVEVRq5tUkF8Shu42kMpnTZqmdBOb5reU/PC2DUW0Ab5y3Kt/2jv//9R
5HJGHP793v/5fx0+I9NX/7r7z7/1r93f+QMDQt3A5hdxMlhCP2XhJcT0/pApaSiA6QkB2Nn+vfvL
f2imxh4jy4AHCBxm19ifEQCf2TJ6ywhgarRXFJ3/85+EAB985xdcpc4wRJ6eBoiK+t9fpxM0iFxi
m5/u2wM84wzjDA36ho76202aG+zPvf7JL2hOvcnhva4xU7516b0mXfv6ElTHPN22qXCt+r7zd5qC
2EN9ypzPev+kgMPA+luA8Z/ru9KjHyKIHG+Nalu0uyy516bT1F/65FjXTyHeRNEVcKmob0n3vUwe
YuiIjpdH51C/60HuW+g3HGxrm2S7sLoFzjMYgyzd6v5uzJ7mH8h2OTrb490kdvTnasUbGvSuNpXz
4sQHs785d2Bfg+5TUkVub0UwKk+0LlYI1Lh1KbzApObko2p7LYpLlRzAcZXPFUXf9KCkh57lYDzq
9g6BeGd0YU8Pyb6Lt2px6Ksb8Nps2OTVTU+2aGXl6d6y72adSMqu+kW2Hvt0/8+n5P9eOP4//tQ8
/b/+9A/9v8P102IS/M8TbhMF0a8Tbf7pnxPNsv9ABZ11e4bLL5Y8P00/LesPGXlyHX1lROKXKfhT
ShYjH90i7nUwRoDiZ83WOz/nmeL8oapsZXj/GLOwII43/2CafdBIpxbKGg9KnCVflblG7cMss4Wq
kLs3+nOhj8NlMgMAW+gfAPZ5y+u3nI4mxDDJP2mi+5InunoCxXME5DtcpMD2ogKPAfo46lbVUJws
KjqW6EQCAhq9UnFegFgqz4jI/SYmU/7K2FiuGkgbFUiU9SEMGx+uuggUBaK5bz3X1phtoY31K0Xt
Xn1r1trvImwRaKhB9VRXtgjGNVhTr25t2StxDu6Fc5rClZm0NZbGT0WUN2+/PP3L+175F13Lv3pJ
zJeHPi+sVwMzV5Ml8cPlIcpKATpS/ee+r0a37OJqawb5BFZcJIep6qq91FjfnAbZAkf+LvlOjm5R
CRRkegjC0Fn3Y617bL/I0hSN22uYB6RG8qNus341qHD6qVvsykTS9lDSkMVz5GCz6OlHRF97LZV7
Cu3tA9EYeB71eex1I/P+/jsuAdMvYcL8HWehY9SRsQPBieqDvn+jdZHapZn/3NnlteP7nAUyol4q
tHNXUWTB/U3Gq2ik4KvWpwEBtN6G2BeOZbSVZ5eGDrGwfIubqTj9/aVpzI5fA7Hl0qAxAdUwZdDC
8+b2ayDmp6ISWOv4z82slY80YH9SUy+jcdzrx0wvqhveBNJaoSOeiih2YSDUpx7ZDaMfH0UKnb7I
UBJGOeiLCrV0C+xFWcPXU1zJAK0z8xEQsxfbAhu9FeDoHfQP0wUPom5RJm7dEU3ypiArSGc1+zHw
r3nQxydBhvGbYG2xt/rLU7CUOe/UVGOevPJHi+xWLoykCKbwpdYc9er4SCM2VLs/6wMwVr/H+Xp2
niiUcjWYYG9LQrMd/bZpRU8jA18jHhaJfcyIo22swnsix9ktt02MNLQrdMFsgP6kYmeQBbZnVG22
S02w39io7sPSrvY05EFC8A2DPYUuCn6DUe+cNr6hKaUjDT9+s0ZD28M5cPuZq5DALaxC1KOm2Xxc
a2zUdgkDkM9ydnYUmN+QuXq1h2Mlp/m3CiK6333qazNZNQJFEMOOiuH69wPmP7L4OWXmNsostCaK
kotJ1S+RO9AbC1IHhKzlgbVxqmMvC1aJ8YzI9gbZzGiraBggyIiEBrGwTzFE2U2QN9FvHuh/RD1c
CuhVyyZjI4dwPhq7i1YKg8aSnGfKDtoe0f/AbaVi8IRRHlGFsTnIGGu6z+Ir2sy1J2OHPM5jbIlk
t8jvy06gH1gWfjfh50Xrw1CD1Ml6a+ATrdIe/eusshul96OmpYfrJ+qj1ofxpo9Kc9W1eHtgiyBl
poR0H7gcMrtk1c2mLaMChDmqpis8mmc83Gxwe6hl/P3jm93w/uPKVLJc6lJsZ/LHjAVucK9imeE8
a822UAr/XqVsbMUDtKHSLDdl97pcjDMPw6wpIo+mj73qLGU8VOqEn3BQVYc4MDdTJ0WrxQQjCrLM
mypkIzCOWQdWQWtvXm/roDVcyuTjYbENqOU+hHxWDdumvkU4Nrz2dgvCNwaxx5DT9khTuJk8EoFG
NnpK3QANEMTJqNmP3VTp68X3KPA7TOLgeWSwplh2hieljtqDyIa1mY7DVQEJCIYvkmTtTUYVtTHi
GpHTLiFlxx8jGYTlIvgENErpPElE/QGZRQrISnuDwBofhWElv9mBlwrcX0cDDFGZXV1VZGR9Pi7/
tI/FJLEHvOhtCxW7dBC61Z1kDyBuWUxSSsjANGb6snK33P4MPhQsxuTYS1mxEliOKApyRO9fwWhy
rwfz/j7qdXsDKCj+jR/MnJ18GCfoDMxuUwxejURlHke/TPNmEGBctMaHlGM2G8jK6I9K6qyapDhY
1MD+sPP0hCvfKZ49oMCSOG4PMGTbxfWFRXhmqsi/0cD+YBRErEDhUOFq5rLZXDf4UJ+x4ZTbBu5I
L4vrSZIp7DJCQ0phXm7bsSTP6fD5WPbNDu7hrrPjxwp++DW3U8AWY/2b7fNjweu/mDuPJTmSLMv+
SsnsLcU4WcwszDkJgqAIbEyAAGCcc/v6OaqR1Y3wrER0dW96k5IJIAPuRlSfvnfvueIT2RgIqdrI
VrRMkTD562Wqy2Y2QDfEz0CotIemxMIcgx/JxU7i1XgB8iX33XiK13PJZ3TBiyDJgdhpZUfQbeZ5
WSAdli3Keg8pICgL4CoRY++Nlmi3xDIOK1kAeGoD3l8Mz5pwejuG/D2BW3Qp3j+fVNCaaXOzXZe+
6MVqFU7mPLhxmz2Py8SsotKeHZCC/ky6w7bBkLnJY8vFehVxuBJy9taL+82isO13WnYni6kSvOOR
VJU7Oou3TH/YA+IPc5Iuu0ZcbdOBFO7QM1fBgzoXVzsIE4vKdBqecyh4tynq0weCZl5TawmP8gYY
RVqvLDuMVwRAuutOMD70ipDHJkfopybGvAsWb1N60auBKGAXFVhOe1h6VZ/fqemiPSQL4kUcVKux
iDpkDkZxjyYafe3v12Htr9ec+G+TF8FQGR+4lw2wuYl1d8qM8ll151dLIXMBYI2z9PnBxFJy61lh
vFO8edzqqpP7auI4e9PNr/Xatq8bm0LWFhcZf453jtn5aNxH7irUG/3fXwiozC3UIfACLNe4vOZW
XwV1kBfJcxhZ3zUPS3Y6WnTTpvhk0o2810HwO+MmS5UvrNb2SpYfcnO1vcWfc83+IOZAv+jS8hSQ
bSN66JQfYkG4sKDrWVdhhcuL597SML7FWKto3SRrucuEPCGs7T0869zS91liXSlgsbY12YC7WIei
BKb4dVz056hcluMswr9tLSPGuCV5dFIjRPlQlPwWWS1DOcybWg9J1tSmY4V91Tfi18Vhc8Mietem
TfWWFPy37+K/+m70k2iNOiTa/aWBDg6nHBiK5/gEOGLKda3s43PpVjT0RUmDgnjZOmVyngKKyg8e
yr+WLbZuiqLK4FYzyxKf7pdFPw40Y1GUNH+Wh8OclGvkpFu5mauI7VTEcjD1vXNtISopVRMK6vxC
IhznKId8PxWN7LamX/T7j2W8r1l47JihUawgsNNtllv1cn3iTsHgUrpHUI6kCQnmKSAq3G4qcgib
Algs/1OdpLhbEm3dZ8TgYYrZmbU53UYccDZD4HDYFtfPnFRwcwNcS28OickulX4TKPHPupiMQ8yC
LW1KLEFv6y76nbWBS+cmHhZ9U1gFY7PQ2GVoj86IefMPlgXz/R2QbxhoCZ2TmMlDjrLz/R2oMIdi
/3b6JyUrAzKyl4V1wa9RmK17IpmuR6ecEH6nN3BWu12BumjvLNNV3TbrrkrZ/yBvr0Z8wdIvbM/1
jW4G3l1Zk1JidPHG1oBTNgoTIhfgJCZif+4wk4bLYuzSMj4irHXQIgMjXWoIjXXq7rtRTQW0bPEL
w/oBOMfaQL0ANR+gw7XUYd+I8r/tOMgkzXieLfWI0NY7q1WHRDBzPrhEF5WJuEQmtBOmpuwE9Hu8
i9dfAw8Z1ejOn8x42IQtB0lZ68s91AVVTi2YO4BpLHUbRgXVQG0/FuIENiW16vfj7MdCOPz7Z/Ti
WCQ+lcULS+wXbWCxQ12UJjC948rDRP3UidfBRCnDDg7Bs2j1h97WUkEzNtYN/YYVgPAajrF+Y1BM
r82wUj8oOC9aPm8fhk4wI2aZsaRePEVJXkwtiOHgSWr4xmCu906NHkFkATje1vHayU8tDeIM1q9V
ExXaPi8pkb20e1lgs4cDahZQka9q1Kk7Fzv376/WxRCUIoOcAioNGmlcOI3myPvHnHs4DyZk9ie5
tuhaEeymBHpBxxykHpDjZ2aDjhOAJGU1G7KN8Nkqc3sr83Yix6ipTmpzYylT7uejsaq5pbuxXcti
FNiD7kbEXDfmExmgEV4+F8dsF42rph2R5suK1bqVqS0lMR+//3aXYeB8O9LSHJkVq4N8viwK8QGr
Y+aIl9hKdSRmCnT+oHoGhkrnu4LSkGrlTg2hDMu4ukZT7FVP6tp2QAmCGyU95AiV08DUVmVmMJQX
nRQZdFd2lr621bL+4IkxxRPxnyWguCE8Li5KBYfALhqtF0+Mp0emFuXV8LQAtFnbqX5T0TW6ckV2
nhtrluAMNhSgYbYycbWh+zfvmlBqfFIXvhNSsDy1zB2MWcvv3zJIe9Dqmjqu3Wy8s7RUoUtPJqM8
8fSqo2GyTUzcGklLasWWMG8A8dNaZbbr942+wTQ73EOVbVct5HFUOogKjQ5/rq2XBy3FZj3a1ks5
wVfoGzh3COQ5MLvxJjXU9oM7Kt/e95fHosdAgWw6liXe8vfP62zE7ZRnBU0PvVsOxDqszaZ0Po3u
uLYJI98u2k+LnDOySdSVpRg8rE2rr2xocOsGpdcmYzzkV/zuUe5VuYfY3KuN6VWuWsWER30o63lX
2EjuW7XX9rHuBT4JMLJzGQy4apbmBjUqMFbqPj2vNj1wpGt2xldknusEB9pZ1cEXi404MCz7VFdg
yimiPnhU/rK48Kg4Kr1Cl1upk3QvdutfigQ3qeyiHqblaTZbpvaRg9MibTpOhj3eOmfmfIOIT57o
ZYs1YywK5Vh/QbiK/ZNwJZkaLL9HosIZHrpJ/WA5vmjVi+fZ1vgreJJtg3n+ZUIxvCWsXUiCn2BR
DDu3CSbsZFOzKevwc+LFxm1aMGkvYG/48NScT5wqIMdHHZGeZeDABMpi+C/qTwYPUOKHnieZdBil
aT+NSlycEg9hShFA8BYKlt8vHxen3LfPLipuAZkimOiyw4bjCnehIZpHPctw5mX7ytOidaDkAWzJ
pFvJQleuB4Vaxqui9T4rY6qvsAToVyOiv99/IA6Cf1kdLB2qkhi9EClJVOz7W54QYcpw0XWfRruz
r3tnhFdMxy28DtL5xTS16ih7M0rSFlsFuSyfheQU3vUKc5xdRognBnPngLyFuFo/2mj3ofHTVCVN
dLglCOR72AzRRv4/wbTR9b4/82RvXGKEtKYqjriAsdp3irsd4FQcjGX+UTsmJnaROhpq8TbS2KhS
9gvLHCYMJyQvOWHBwclL5q08jchWlVz5oU3ZNwkIfbcLzq7ROr58KRWrV9eN+apYiPexZoy1ErH2
hSJrFBKdXdcI6xdt2MknVx5vWdTsDW281Zywr88cLbEl6k9Gmkx7+Rmmqv06OEQ+mRam+MA61h5s
CVaw+y6bye8e87jyh16nZ1UZ1ipucVWSQ99+N/J8QbfIbMBLVUxUU3DmXHh01Xo8YOA+0ounDhwL
LKbDSlbrwEdI2rHd/l6HrljqyU9DlL+Bbs4rtr/dSCPvc5F2+tUM1mM9utawMkNt3NDizU/xVJiH
FM/IKSxQM8fB+KToE1zvMr59O1KJrndsmMnWtCYbsQ7Tgs5CHtKk2anmqfwuaw0xeonqaZ8CjdjN
ZaDu9LLoyYCYM9/BwnGQ65kNENqfsppkmES3kY6DSylqSnux0bXo3dZ4giDiqi5+8H6ImVoN9iqK
YmTDac5mGRspSdRBtVKn6jYhBye0EIWm8WeHunhVhxPev8X51Gcshm5vJSt8DyDuK2+84ozqIJla
Mn9RuLcO3IK1bZrMioN+8HVE0XHSoKwpsLkVC+BHr2SD6VGA5yadeecwxR4YelaPaoYsy59JN17O
eXjMDkRDaRuO0lBTScIJdOM+mEIKz7h5oGHRvW3kFXbniP4wXBGQLLoH/vqtLSy+qNw6EQ95PqY9
QFqqIAWQ5Y4u38PRJWaJZWrBz55DpvSVvp3EwEsuCGKKBlhiYt8IIuxfcH+gKWgqiWFBcpOkxo1r
Y8qcA5SA8ihUiS8UadVLmKKILU3vzlVj89BX0IfdhAQNrFv1uFBU6fk30EntbqoQRJMF+BPPFnFl
OHR2WWB5vtYgHYxRrofRHgZDeYiW+obmqrbKrUZfzUWnb2ItwGRD6lSpB2QamECG4z7cJqHuvi1o
jVGah7I19mY0aQ+G7bemOhymhbjjIofACRdurYumEitmt2mT2fbNdhKFSb2uu/6npz56+vyKahZf
qYiTLdVm3JDwk/ndnN/JpiCpxo/SaRmpzLJCkCjnsbQIH1o242hdjXGjX5Nz6zdjdm+W6bAa50dZ
sHRTdkyXbjzMDRIDpaNP1ngqsPxiftLwD2zGXudwGWoOB9EiwW0F9Y8D4kqGNFshCH9G3hhFiny6
cvC6bJYpU4EokCOm9M65nbEa58Rcyn0zLb1pq3hJ7i9eBuu0zgtCnuDiiJdQmI9DDDAHjFsrtbfD
tRXq5d42FVRlwP83ZW4R66QX0d6s52ztBtmLGVATtwvY20b0KRlQ/1hsh7DdJ1UM7aJK+bIE+kOn
RMqxtPuYII5hAoaqDcc+zMqN6X0bVeXTUM/us46xjuRqYO6rkPHeOS3Lbo9gfJtTBMofr7Nn4Sg3
RmRwvt3Oy0b+chSW7LZLTjducPFO6/wVTU1wdu152qYPQXSI5k2QJjkw7DbcJw3rgjWR5gLjEfpG
awPJMpr7qlSmQ6WQJCQvrHyY7bj6AlkC9V1PuKOgcPiYUN0dbNS1VyvuGbDVw9DlYDtj3aERC78g
bQ+tZftlmuEaV4jeoD1L4VWuDB1Od6YAmW9JoQhv2RyNw6DZAf6d9tQ4jnumS0IEWnZOSj3cuG4+
bnTU8fK3YAh9HdvlJu9Tmjap8RMgkn6Q+zW0Xn01DMt9TXtptGY4hOXCpmNXFB+ZCOnBOpEWB61x
gPFq1rfCq9KVu6TaAb9MsLYdpXqp0tLEj9aydHdZsSUUr/HfFAme0qyMVF235TTt9GEcGGvSMTFC
k4vsNlTXoiuq2QNhzWIwlVZLc8qZIORgVD2xVMkJZ4DWBZPgjdxrZyQOrMv9uvL4lPKX0jrRVo6r
VOtJWdyNWxh32Tiah2okBcasLAAvTr/JQ6x3NWzI+7ZyH0mUX1jy7aYFQPBq1CmkaUU7anW6J5YN
HxgwDSs0P3uC1K0bH6gM/tI0oB5ECYIGhP6RwfHsomkAWtgZCcOKmFoq1oZF514rMX/Cy6a5ssTH
2s3OOS7BwIvdNWMsZtWyo9Xbn7oGfkA9xB/VqIwC/1pWMcMg/ViMCRGKXRy6BgZecNRz60lfIKfT
3cdN1xUnT+9ymALajTwc260b+pnaJUQIBN9V/WHQIV+qdCtv8xEIdKyNnxIhZVB7fBcOVI1ayU65
bdSHxcB8KUxQtaOui7k+JMynoI97JDm5y7JfBp6csVQV4BBsivLhgOb0FKggYuI53MNwNW7JS5xu
52FA/1Qq18jFA3/OPABqiv1pYlu4daAbcKq9YRepNnANOqhuKd5grFfnoVb2f1ZXbO1Dkl/PY9Jv
zJ60VtOzzgp703oCmkknLn+ZEzhv5mJZa3UB5N1Em9LxvsnOvilgHENJoq7WZ/cSplBiI9r0/fIq
J9FLn9F8bqDLplGTbnqHRbnRjLXKTT4Pa9S5MPgK9qaEKveM36P7Bg8AY7VYcloNFG1NOscCDUzN
7uo2CV+YFQ6rLgjTOyjzPSkC4H7ke6apac/8S+Udw2DEVBG89Z0Wg95Dqi2AtG21kRcz0sipY5yV
+man+xM8SRJqACCxecZpQV6dQcNcTkuSFijhWFfg9Mdq3pdkD8OsqOujp1dfxMjrkBQ3c1f1uwVz
2M5OieTs4AvGU/YwdUjqzPibXWVXTZ42x2xKvxS9V8JYui9c+xuEzfnW6HI6n7MYz8uXONMqtO42
uX8RthwnMbuV2qnJLklIrZa7VthFRy9veB3Feq7MbFM0TE9pOL8uaq8wGYbAN25Mo6te5jb9KbUA
czc/MzOwd2kkHNdB9TRb0U3nFtpRt7tmKwtHZiJsOsOAuYnjFFWr3t9NVXYv6yB5ieWjX5qc8vWh
M3auucBPsxcGZ5n1tbSHfCUDhAN766S1/hB84lDzfSZ3cdePjQb3Qqmu3n6a2DKzxnN3xCdW29Yx
vtRVlZF8gKTDVUhEJHn3CuCwD4qQiTN17ZYwI8rThOW+Zfdi87xpg+YuinXrEXzNnjCTL3Zvq1dx
PkONhgxBDqytHKqps1aM2VR/nKOt2rTzlSaunBY75mY0AOkoOsPoAaX4VjJsSYNMYd9vGmIt9mO4
2KAM22sAl7kvyzqtbu6j3j2R3mPu3M5kqlU7hzZrnG8Fn3Acpl3SaexMNPR3ToD9WXxZbxRXGQj1
nCPL7MtsOBKO9rJoC3+8IHYMdwhsdn18FmvM1HshCqsC6FVpX82duOI0mv0YotoDyYyngeiXIE61
B9MlAtkhZW7q1f5klOXbvWRotu8FegSLGYQEMFNEu95SY8rnOr1m0smmzJN14FEE+EhXzx8iZdN1
DTfPyqgRUzXc8yRop2y09mmfPkrqa5DvOrc0N8MSjU+R3d2XAIcXz9VuVZodd14B8xSzuYVo8KYP
G9ao1nlslNQf29C+J6FOdPy8M5Hkh06H4KS4NyaJRit2zgXdKJ31xM2+Vw5dtnQg8cpqCwEcKkl1
EY23Pq8OUBDyfRcrz2GoI+7XSucxo4dR0p3P82OqKcG6s2G34jlM1mNUalceD/oNCWwk7NnZyzLy
Zat2GU/u3PjM26m345QNnWbSTp6EKigyVEm1uooGImRKKy63ad1623ZmAitPA6ZaYQvrfkDQi8Hc
IpKja7IHrOBuAh2KqtssyzaG8LUODE7Z2P4PoVX7yRh/Cek9raUix1A+W9jJ905hftNpjh4JPyY0
LkkVYXU0npSmJJGzfyizJb/DRXpyctVDHuVlTICYsMshj5Qm4Np21wrHglXcO18V24JcVH3KAGyy
2SPOk8cHSOBdb2Lg4UJM7r23xPV6ibMflQKwm8PJRJ1r2sR4cGqenBtVIboSL2KwVt2CzlbYvFh5
+DMDAnooSQ22GrzQo9l71yQo+nK0i72ceCYzbg7yoecMa+7HrK7Wug3mzVGj29IJEvo6+teI2BM1
m3iM1QpijK3uOUULICGUC85Tdh0MW2bb7aato2Q96N4tcj77RPDGdY0net+l2ZXHjRI7mn7jaARd
SWGeGBfXmXXASJwcTXX+guKBGVJXXxWBTv0+m98LbbifIdVTiXMWt2PSrChFPuk5TQpZtsq9MTGI
vrJtiw/E+BxiaaevCvWfdas1JNtwGG5dg6U7i0C0J9cd5ODOwZ5razekOHJeZjKFMZ09NtEV6PeB
BfehJ4OTzAJSuxp32xrWss4ZHW20ft4PDZo82XyUzZF2Ar9gtSnUIC/eIL11mQ9wDG6zqN5N8MfW
SYPuWnVMkG2wbd3eI3LZaM29fCZSzlx+khBsSOS9OFel3k3hrmzgPQ92jKBGLsWEWJA8MfJHy7Ca
VlZOfJs9O9+XptoyTwtvTKqGoKXXlgHrzzisbrMBObhcSAgHNPtcX2P9jnd0/Ne9TchfG1wPregs
EPQYNnt5vswNMg9yPTtaeq/7OHDXUkExh1RDBSrMFfIoqKHIW0sxY1VAyeyCIDlUSeWRTePAoFfy
69AjLCQPPqdm3W70gdfDCmtr3ddZva7IngFoEXOMgFj3JjUYUzGOV7WvJEPc0i/o1p3mgvySl1fx
DOz/MCPm2r5p02U4xaZ3GwjOqmpfaQo7sQjL29u13awl495s+nQzL2e0s0DjkSKfqsoE9KSHt6PT
v7RRN+Obn5qbRePUzbgupi3MIR8PGAvACTJw8EHf9/1kWnQlLdtRDQPlGYU0s8n3PUCT4MzcYqTz
1BpNtZpNdhwt79Z2H+i7IFaLVRFBdfQ6GHlelC//jQ48I2D40SwMDMcv0wrysEF16PTRs0GM5xEq
5wBmNSIwOSJsJJ4tuOdEeTbBbK2zujMPgQ5g6HEx8vQpbBdu3BAHnOs8nrsWHK9jFH7cY56L3DTa
q274qqgtffUmufXmOdobWHBJi2JZVxw4MhW8iqMdL5MPuAWV2kyUO9swkWemdj3TaaInRPCyFIpo
Hvb7DgDQSv7IMCWl0Ylc3+2U6YN7ItW57+cSQjLtGjZTNKYTlyqSKdDcLCmG4EnWyHjKzG2Ykyor
SzGCL+kuWoVlf0o4E7FuVvoKBLuBlwNcjVWxJyHHP0e9chwaSyOTXX0EEW+i4YjDLeFAGBRNJoWt
05wN8A1vK+8SA5sT2RlkLPlKNPs6I8PzwjVc63r1qoaUk79vQMup98XXRKGELc+BIu5ol938RQvE
OclOnseOOJW0VZJNZmgr14sPmsrRO4z0J7mSAp1ZSOkSL5Kxm8aUNFzExfhWxmlnLz2lHxuN3D/k
+zpmzV3YTiANzaXezZb7EBrTR9NYSwyHLj49ngaLmYvHkYZD6Ps3p6cLqpH+mT23dG0AhnkHWiL+
n3fHyg2/cgFLWfq3oYu7OyNC9Ekrct5WneeC1406XxbNIdKwT1EI5wUwXuFLUbGafIlRqJ0qq/6c
LmF7I4D2AM+oXqMWETkNPvlth4G+NVlxb6NPK06/tbbZ7jI90lllonZb9DUjfK9dLWwn62ZUUrrx
8Td5ihm1fjkD9tFoNB3lyYCeimNMznNfHiYKf7W3lE95FOkfjPovlD5yEoLhgxkxyjoauJcH5DwN
48hAFv9EnGDaB3TQa3Ovh9646wLKk7pACd1V2puKsnNjb63AwjoEiG+3BUAnfwKLRr50gaWhTpe7
NlLux3Yik30Kq3PUfakWtTk0zUJ6T8JiTQlmHhwm9mhCfR4cqEzcHimy+uCJFkq1988EMmoskDSO
GE9xJnj/TLjgIBMnUYMn4pNpuUbFNiJZsXTKaC2nYwgL6XoL8UBtRQ6Ud8F2FNWKmcdgkAmUa6Bs
y+pf3mBZTMjpxlvTppzZ/2MO9b//3P9icM+HRYYjhNe6YVlCv/LL8M8hFqqb8iR7ll1RTXX0Q0mL
75yKXBMqLxys8W2iTNCVyu6Z6LXg0Lfxd7OhDUyd6Tc9U2H5qgZ1+jPkxx3GbLwRsRyyPJ7GZp22
kJ7fZjaVhTsDsBoC5OhVwz5JvKSYeOWO98FSqjmX0hu+E6YjfP6WiUndlb//y1erkoiMvSJJn+UV
bEILscCEApcMz0NU6ZsgTvzYrfaT2OkjGFxAtgu+5tdZt6otBbG5lQhZp347/COesqLK2BGHDbeY
Bg1wFPYPPSlpbNK8Toj7G4APrTLFIp6xLX2myWG9fAuRN9BJXNRVCHAQigZys6KeVMh4drw3AbSg
BcKt1y+HQfTqNcPJ1rHhQIrRw2s5mMJV26wXkI6yPSGfEOSw3YE2XoyWd6U3LeLtmHE8l5PQhUQ/
oZx0/BKc5aYsA2NVKOl6LFd93h6NPrDvR6XTtwS050e5JihCXqNU9kk+rYo1UZZ39r18bOOqgctn
zAc5jFFddLglIb+B2GBlsd4UGTzSmSKWlUOlzWw1KxUPhtLNwcPYu6sEar5Ud6Z2rV83BjFo4uzU
p9OLUbGJ2YBq1sSmOlsb1TEy4AdZyqauSvxxWWjMTR4VN9fOSWS+wFfKyHeJfkRxNm4TL/0xzOOV
fJmUfn4IGTjWCdE8sd66a88JUBPa7rSvp+Cl7+blyhPzODvsfxoiCEw8BMlJ0x4Ho64wPSIpa2ej
Y5u1vWv5n6Ru2xt5aJP/WYWje1aTc2oRA2sxM/dzDjqbrshH367Ja3Gs4CiraK8jxS0Y1WM9L/Uq
8j5PWMOZpClfA7h8PsxtUFSU4vCoPfSJVeTDu8G5GJ5iLzW3kM6/T61ZrmQtkE/xtWHbzXaEgLiJ
yJDfJKKYVpTwx6BTrjVuPN4w5rTc9CxnoyqjtU3iLG+iFFcYAEyiUnEl9+ckIV1G4RH8/XJi/nUZ
dF38s7RAWVAAMVwIeqMFtf1geu2boDvtGXbIo0LaKDqTSKtaa9G4jolo8c0aMqaZrYNyFseCbiWF
Vs48Plg5SSgtvVEp+XWjJzcqFIaPlOZyeCgv7qS6z01gmDt5U+bwLgjp6TG9RFEyKd4N0r9vi80E
ww6beC1LmgKhFZxjrfHDstqV82Ldcc18GAeviolLqBJCpd9fkAunmNjxPMRtGvI7jzIbrM/79RVI
2mTaZBg8d/ZondKRw2+rIPmbbbV68xpNE+1dr+zxH4GWEQ6b+iC7Ra74tW4uodsN9bA28o5XVzSx
5Uf8t3zkf4d++dWM+v/+J2bz/4W2VmE2+Htb6333tYv/sf3x/Ucj/uV7/A9p2S1+tPHXX+2u4qe8
2V012/hDIANwLQoSiO7y7I8/2u7//h/NcP9g46TviALERcKCHONPt6v3BwJYKn4L8RxGQmr+/zC7
Wn8gjgWt4eomIm0DB9i/43W9LFpVzpUU2kB9mb0ho7ksUNI+Ktu5c5urlsKWQEaCBEdlbKHPmco2
VdPHJnRulyqxTu3AqjgR5erNZno2Sv26NNsvEkFoAW21tYhtrr6elAb5h92f9dYKccUayydFqa9D
Jr6+q4TdRjFsCCddcJ03qX5cnOi5nDTrE6hUcKmuru9cDnyfiXlXv3VNNHNWUz95hGQRPVkCiaqb
bx1rLYbK2ts1S6z4c8P5jqzFhqwXzn1FkLbXkxk+Z8vXLnWqk1pqywfCxktxlKoLV5yG6hLGFjIp
qe/9pYhIqrppCM/pbmTeQxlU8zoKK8dPCB9Zy6BCSIYD6YrYOaOlb2DRGQg4lv6ki/BDnGl0p7K0
YOfq5t1Q2wn6JAS+vzybt2915m9MtzS9HIOjNPoi9H7gi6Te7ZePqSxOnrhOTfug1g+aabW3KFOf
Ri/2IFanz45jhTs6hGJGn/0UvzXXTnu03aFZ1SrUN4GvA+UHJ89MOYiTJUHCmyZ6dGO1UoyYiL+a
uUoMFth3SSE6PWv5GJw8jeZ4pgXMVZs4P9XTzKi9IQ4staP67vffUfQjfqmw0b6Sb8gLIdRqmK8u
GT+emfx5J5KSwNTR6ke4SBTQiTdXK08pnqYw/v77v/JSBCwvK/ZLWsYWjwEGu/ert+eVCAdmq71p
sqxi9D19lvP+bqm/yhqM9x3Hkj4Fa7O2T7bSkacZgwHKiED7/UeRkqxfvz50fBdbEvAW5opcB/39
R9GU3pxEIPPtVKSLbweWdRrKxD5Zo73SARdrZZ09UY4020JR2i0a7/DZStpxxYxi5Zhj9sRcf/Pg
NFAzk956xioWHjvi2Cvswjc2jJ5u1JUDHEq0w/PnWClA0XXjt3CTcEb/Zqv5KzYRj4Qbb9kkaE8I
SvUHOFkHvSRgXihwl6x7XGjEb4qqSc+mO7wqczRed8h60NhB8oNjmWh9cTRTGOkkP5ydUTHWmqI0
Zxco5Wke4Cs3anBI7OcihZ+qDKaOQE89R3a1HK1l2NbTZH7wjl/aEYCiOizPXFucXyzPl00XZZlq
im0n/iQnVV4WM5Szw/tOhVCYqNa9oQ3zGrXWfBt3aKnswLlPBq+6GfK8WhkugykzyZ7sBbgOdnaT
3gsrlmoFRGLSG45mvOzDWNfES9tkHDQPdVVMz0z/n8TRPFYcQn+N8vqt2RQO0fOcMptWTLt/q87+
rZ3+f7KJv6sG/q5k+N+40/Ou/P1Oz/Iay239H9vma/H6o/3xbn/n//0nzsIw/2CUbDgGO+SfCLi3
DR5qnPYHDxEeJvzoLhsGzdZ/8iycP6BfeAhrsalTEbMN/8cWr+jOH7YlaEMCoYYEl37gv8GzuPRP
Q6zjrEspodNjsVRd1Bm/HuaJ+skXu+7nK1k5m5ipfR311nVFA9fvW6aA5ZQl9+GiPwJ+CK7fhhha
OG0mK2r2XsoGkTrul/a/YJC7OBrQz0Rpzc4kMBuuaPledEj0qfVGe+7VKxVv6VZOBLMieQD6Ar5O
oImd0XHumyUVNG/rq1TGJE4YAneP02QrAf0VOU9pcc/7iB1sTuxz6cx6TyLeTNMtXdxdUpV7ZWEz
c5Dq9H2WXtluibGHIHZHn5qnwDSIetKML3N4zkQcVFlawy6csb5YY/a5UWdr38710+KY/RUhgvoW
49oxEkkAFUE8H/Qo9PctCnlNXE1YCyxmbhgLLk4Hy0TEVNrV05VmMgEJFS1d0w3v7hpaCIe3BSFL
zccxSZwj30FjynbVjvTx7JZh/OL1w2Fp47Vn9N2eEJZ5zQq90RpQvUMWfI/sEs4D9x85t1hQkuZA
IummUN2bX16Yf1F+/IvvYWOIRpbNJikstBcPHm0Sb0mIpriKTSvwYxHzJw7SRZB/7TURY4LSZF4B
+VIPNOCa3eQuxXoqlOXQB3lwmjqmvDI2ikyrwmfhrShO3Ycs7UOGVK8aUTbPdfbQ2RMQn1brDlaP
wa9UtQ/qKOnc/s9dVtwQjLPAZVwVmKMJ3uP9G0TQBM74IWWUPHjmWY29g+Iq34es+V6LJE+3je7G
KbAIQxvGYJuVN7WApS6UIJu20kogSEx59a4An9x67jWx3E9Oovlvsog7OpH296UemcEbIaMVt19p
UiA2Ofd5loI5r9VvU12ZFIrYKwLMFi+t5p6rufwuM3To+HJw7mfr3imrH61RHAgFQWGQLatgTo9D
HNVridAvk/hTktMGLcrRPgLzh1IHld43Bjfaa26CXpvDQPnR8/x+piQuHwUPPl5SlF0D/8lFN1Ep
NXsxq1m9Gj3c7UHONN3NH4NuNk6tCh8VR+acjPmjqe6lxmdSl+hUeuiLySQj941kxjyPTjEt0UbT
UROi6ACtAlAvM0mPJv0jZjoD3iaoy63LrOTOGvTiEJvET1OPtDeht7SgleuXDx7w98ou+cVYXfE1
gYWjw3EpN5s0hYEyCqGr9slFj0Ik3Bhu1NSAl1UzCB7pP6lLgj2LzDQwQMbc5K9lx6hP+1MSo4cZ
J/9c1x8XamQCwaMrdY7LTU3Dfoy/enZUgrCytVPf6fZWA5rtT/U4f1DQ6mKR/fX5psfLvM8zuTkC
YCPopr/uECCWibUiPO2T1IfrRnlwJ+GXTFkkUND7w6wWJL/Q7kXDsiIebGgtonBD2ArZnPMJoX/1
vbPsCIVBjJ+17YGcxQEHubasBuP+g8v+14/L5YZMwq5KvA9Dl/cf16mAmxLJGsPYwSUw2B4z/QHI
qY29EdcfEndFMwFuRugO7GGOnuWOpphxsO+1ZT4uHp3LXuRIe167np3QvbVt6jW7XffdYl8TaZB8
ZG593wKzOLiafGj+qYkkcUPug78cxXBRVhVDrPBTGzsqQGajuhmbodiqHGt3DBrTfa1q7aODaoYU
8JXMVBqttdd0LUEtZvVCvlJ9Ig3JW0mJaYBglirTyUCxDPojl/zkGtHOY25s2F+rtO02IG6W42D2
PzGLvhCu3WyCzAoE+Wn+HGbL4+/vyoWfxeJ8SSkDWki8EbS25Jn5l2/Y5Wj5QtyriNW4A/+fsPPq
jVtbsvAvIsAcXhk7B6kVXwjZkplz5q+fj555uecCcwDBtmR1N7m5Q9WqVWullRF5QqxhijBGSDNW
kT+QMe5QuRndMVnrQ2HNn81GdmlKczoPJYTSf7mif56jMgEWwRWyfCI7EKW5/5wnIX0+FFPj5vZ3
VwGwLR0VV5zHX/L1PP2sqkRLSjZfK4gewBnQBLI2Hex6VKcd2kW6G+W1h+77v9UK/87Q/1hwGrkj
AJBJ6YTc4p9ZK3hoqMudnN7hqaqxHS11CXdw0N3MilV0TNLuLuJZE2RLfBOBTj3sbSuvmvqf7XL/
Xndcjtcq+ZbCsL395emtk6l7RZt81JWCsVlG0WzbhP6eEFoqZU7RtVkQE4jZkNH+LwLQ32M504K/
bmu6Lr5JXA7+RSZVsxyfVLGtw38r8f9nxs5KoOmJFbDFy6BbTJT/fCrm1sunrop1Q/40Rf+kccvf
CVaOhkuLQP+tTRez982ZyIx6GLi5rT0oWYifdOsvl+QFsn0bOgtiMqKjpIe48KyR9o49tiWCDv0V
WpGH+oaq0jnniKZdmH4T0m3jimTq2GDODqVVg1696JCl/3LS/YXL/vO5cm8wPWXiHSpn/2RPFBng
VbVo1s3M8GOxkSdAlzGTAotyi6yiUeRhVR7rO/6kPNMqjlpgI+VFT6tP1DLhy/DNzZV4zsFMRFVn
sFNKxobT1h6SvmXtQhO33pppr6OI0Nmr7NI4MkoONkkVhVIziKUg6ujlhhp0NX9PwmHJTibyOL3f
3/lYumtmB6/boXb7bBuR5V+erv5fa449YBNuEGEVIkf3XyNQrLhHJOyoRGcPC+28ZXDV5RAKT3ri
FHyDm6Gnr7tB3LVDMBWeZOCBSOi3a3ofBSX6aqxf9XrL+0MffbWncb0M80f+WkS5u8TxDvbenkDq
Bs8Pq+R2V5zqPyLBZcY5Y7cqpS2nwEARInSBlM2Q0wrtll2xM2hpnSbLzmPHS/m8PIAUqiXBEjv0
MdrGusv6w7h4lhQkFBTwZamWT5nuJIEoJP+XgBJo7Z+hw7YKJDg21FhJG9V/hpQ4cfUUAXXrJrdP
Bi010oCfQXkJ29NivWHSWwt+lMDshW8VjL0LwU8wz0W66y17cwSJmB6OkgSt+RqPXvYrrLw+OWmU
nawVaQT9ONFKArE1v3XSe954iunXWrBmWOvakJagn8EBFkQoCH+i+i16ovEQkQDNuFdIJOw4Rqlh
zljwTfdJs+WvCVmI0LZ4Op2vqU/qwvHpMZUo0WPFlFbXruJ9Ip/uPsyEjMEpdFv4XYeQSqA8OWrj
SDjbrF5iHukEhW/d6bZEEybqyypa/g5+NHNuz6MDX0dYXa6z1PfdepdLb2DlR7801gMXQE8OnUnr
9qWXHh9i/KbDWMH30nTwUunNF4DJnuLNaneY+RTO/N1L1N8YFYy9XfxA2tHHH3BTA8Gxe7WbxOlr
e3lZXpXa5mYhmQFbob/B9CwgLbrzw6hsCU/Hd7wG2tCOum0kMsqq5h67IqnzJs3PqgDX2lXlhjYL
T5er5b5Qqxi/TXRUO3qYt5EIsVHn8iNb/FEK28rYpOzcpQMQIFWQvM1gRnegQFq1W1ie+sXViHel
eWeOto904/gg9O2YAiZkThe5lXmFHVMWvgkHCWDdsJczQyi8j6fuFYGcpX9izwSaWm8wEkPzuUAa
3qZthsWSZkFGH1Fv6y/bo0JJrrLnGr1UStTvKm73PK7cpvOoH5xacYbaqVq/Dg9UErkLBM1g/hYN
OzHcaXtAjAfXURre0boug7rzlsbhonhtle61HiqOU6l+R5ltcDBFWFVkhWBtaE9sYBFaHIib905b
PMjyhKfwW/ilfvEM0m/6dBOE9r5UzcZCkw40vqPtbkbaowHoR6XMHrLb1lv8MCdvme1WYpbZc7FN
KyYXE82AUEGiSU8MDYiJQzubbmtg2Zib53uDHjqdd3EEyVmWB2RcR9kkpKd9CievdgXU2/A2Hl2T
I8O0FcFBshn+ZpEdBfq1TDzApYCTNZU5mzZZWRwAjaxFl/rdrO35rvJjasaf+OX1Mffv9Dwjwa4J
8ni5cSgnH7yaz0cpPIqYbnaUEy8hSO9Mf1I4lQ7a6Kp8zTqn+Io/JGTR36bIbit7Vd30RfyVpp4R
BYYQdJ/auxR5aI83tZMjmz54Wugv1H3l1278EmTdox1qZiT+zvn5NI6BABUBuKBzY9ad7DLYwmAL
WIPQVsYDYzlB0li3EVRwsI4vheEQlswoWPLrXms+taWPiHA4O+ZX/L49xO+Edddc6uXYCV7buhVi
Z5oP15xWs3Y4EMrGukeSGYPLMNdY0yOXQLaL9rfNJoQPieqshYMeHTWb/ttqXR7hUribsV7sNQ38
AXuejzrsdvqIY3hAm6fZvaChomw1O9VSW1FcPHlL4btF7m3wRsUxQlzVt/ii0jlX6S/YVnBUvEE2
cbgSlmdeosDg8VSB7DXTx1ZUwHGxUugeQv7RthZOGtXG9Vn7RGQKY0HoWgzWH1NzRgJZev7xEBNZ
V56xkpQaB2X0M81d6AHp2HwWXPUGTDWfq/YFXY6Ee/ZIAsa1I5vzpPE2bTZguJVrQaI76dQcCD7d
pFdtSdlp1WHpXXXYizfph3fHSPGPhRQyhFTTyWTbKDykWzsFKjs4s6ctnl7ZORIgr+p7+VW3dhgh
B+MifNpjGTvSNMeWg526yslLSx7bcJAXLmKf7+tBvmIUDCdqSGz1fT7oeIBdZPGPMrp1EXTvCRyg
wY6/6oW2IX9Qn2gMEXPyEV/DOXQtAgx3IKRI6xk0Pv2ztNeGGTuivuo1la1pdjfgP+jKA63ANikj
4pqdhRWKPVsurWYzQQyNFvLf37TsKrVbA0kmCmhUue3qJ/XLXzGFJsLS1IUsguXv1/qnvjSP+KsY
bePQU36xt5ZDYj8on+zlZ+GnLux6Z7Hnoh+0R0Gig2r0Jay28Bq/8X/EA4YGS8VhH5Bd2OMC+wvb
22MaGaktCEPbA0HEZbDFZ0M80KVYM20mnESdefZI1cLmXVF9qTyGEvp4bi7tR/mMVCJttXASke+H
QxAj7CrSXmKb75MMSnCUmQS/0syG+BRhd/iJOTmuGNmtouvqWfgAlzu0TzlP3paeqzfKadgh0C+F
Vw763GhcGj9xa6PlbeJjvDpZ4mlEKjRgvFNewN9ZIUIE9su8vr0Z6z2RLzQnWcq9CrfoZoStZDj0
A+IZZFo+ADAtkm196VIPiQ5+Te72eb7PMsw/3T5xMuoWnZs0HqnKLGDQdmiRz5JelO7C/GqBVdOH
RGtJeAqVg2ge635P35dWnGs85AXlRVBze5j3mXLkZ5WpOOPq0pYw/TGtU987KXbf4CNHM/1mh517
RtQWEypUtvgH1JdtC5OwM44KbMSV5cWRmxW2BMSAUbzixTJnhJPRUSUd22o/xRSEnuTqJFfI7wdV
6tFbUs3PM2Imhbv4TFGRAKZxNYwfYdCnQSEd9fh3hR1JeUhoDFhco9gjMk6rLpxMg6Z+48uog2E8
zrk7SOw8vgIru3LX6aQYHBB+u3isLWndG9VNynYjjVvyzBz3wNctYngVbjeSYqxagVbeyuYrXEBz
Appih9ij86YRYSx5PKMQ7A/nPw4oJAFQ2vyMDWfO3Hq2e1qKVod5Tn90ne8SEcdbW5YdLUOG6ITl
ey/uY5R4dVsRr1NODZ6GO2/kbJm89J49D4KjKNDLnUX2ILLx4klkhriF6PYWBoIBYDd0mzb3GoXg
+UiHmzE7Ckyy/IF8gInFE27jqS//Qqsl6UlSPXGDN1Fhs5lTmDm8tpmL3wEtYzi58CPmDPzSTIC0
Zje+CeMI71hULmY3n92+8yEDoNJjLE9ob3TggqVvtZiiOfT84hjmrFTBMOuCodw7puxXGuRN0N0t
XjIzL0bvvg168hjLBx6jmVfZWfIvTQssztjaXhHhjvlEhIYiTgB7WMm13Fp/Yu5EoysmO2z6FBrp
T5jvpses5nkwlo5YcLJxc77BmTudpeIujD6flw82UxWX9TB7XUNY5ai4tG9rBfBMBOmKP8slJPtQ
fIhlkNMHOgclB0iDdFWcnHR1TQOzs490GmkpRL40kBlZooowdOX0VZNfzOquvhvY2X1GH/VXQRSC
nWmK8IKrzF75hirFqp0xsLI1dlGJQ0mwjQkbVnZUB6KuKTh0AzVQWm32s5h4Bx5v6SKeOpe7ugkG
CMPjdtx16GZk+Ff4GhTr1E1rT5XAvcoXRQnSDjGbnTltFz4ojlS9AimQMUyjNzKY9Ggg+KsJXiHZ
2LsRAco2fUqRYKdvKiVlEQdodwzteT+OPpFu+Gd+NHgL2OINgxco28WDV0SyzfljvQwC8K5j6jdF
ecnFgKsuvlFZQZEcaQfiQsI7dgDF4R9sz9RD5ehJO1fvbexPgo3Z2naEGAZszOMiBA09eYPPqYDv
Jt1OlUa46G590og5VNtVipEbNrTfuQY5kuhx96vhyw9SZY0YR8Dl1EktmkYom2Px6NKDErGBo2/8
jpTs2jpC5ZWSNxb0lHC7SRTINL8X3tZvZO7YUZnw6t/NWAGgJmfgzablmDyw9+3sXtqB70acSkr3
Gklvi3xT6HmntZ2VVqsEND5O9ZF53r6MK7V5GBXILw7DmyLttZfoXY6Zs8wJd/xsUBFq7HJFfWAH
smfWuAq5erUr2Monr9CuWpaCJfvK7Azy9qX91E8VllAPq4VeGNqFsXr9T8KubGqYozszkNPqhoZd
iL+i9Frkd029qNm1Mw5SdVpKtmPmPsxvr2DmRxW0joBzYJYCdfWnZ9E4xPVTg7iJ7Fn4ZpbsNZTI
A+wU1nFnitAwnkK4k3n9palvQlTujFh1o1h7i0slECIiqBqc8kbhzgi/G5YCmu/tm9485xqT460Q
n/TyHOdEZFzKAts5ZlkvMq0O41sYXxfzMSAFcVba0h6EjyG/jtoHrzDHif7b69S/ydGLMp8X6VcO
itYKkb10z2r3phpMzfkHo0275R0tZcLrEHF5eWvKLewOsCUufm3/zXWn8mQXHDmT9NKrTiXtiX4B
NcV1J1LYQLBb39Xti2ko5FF+HRChhZRZHJTp4/4FCWbyPRLWJ8Vwi+JaICVSxs9pjH10+MGYK8pF
Eo99dRcK+qOex/m45IcquhcczqbMIVU8m8sOg0o5vZb6pep1pzZusbRLAYUFFxg8z3wlfOLZDdlV
g+EqP6YWXYOA3pCWBKbamSlU4J7YG7NMb2q80gSMQr3CoctAFYNmwcv1Bz/cmRB3zj+G5C2iT6S7
lMmxK/Zk+ikaPPmZxL+AJa0GlXbOxz3/oBn0/wduMVz5L4hfgzEHqQXSqIam1z/FP3Wln+NJWrjF
9TYTBpQXpf8Y45fWOs/TMZdPdXhGT32QDqLmb4Vj0kscRxdytEeYfjcsbbzsSabUXRrt9dqT56vU
7pbwLRZv0/glmo6qH8lJVvWE/k+E61B1mSamLUcmTiaQmjlJ4OdmykGJglHzeuXUrTt8G0zNHxN3
xKhA3E3ivpPOa/YSF6GTqqfCuGyCPleSObRQVoUuL0cNvXR6zupb2W8/gbOpKo9cIeRBgMp4r+Rg
EpAlcWPUTkrPGG1V8MiLeSUv4L8iOchhUoEy8HmoPHT7RTlQmrGz0qO4gQrDGZ/X7To1DxgAu+FW
oUWnJA44hfPOwD8K/l3kt91uu0cS5+RLiAo7EVebButPc72Sb1aMgHoYcs+MnvUJe6WjhjEn/Oht
7kAM9A3ZZYQFbMgjryi8HJkYjumtgO5SkuOatVOafzGUBDGd25keIWCn++A1Sgj+8aFKwWwR6W+A
RKEFFUIiq7vpow3OpF1kxVcSl6eC5h3q4ulkE+w1a0CwNzcHzfLBUVrR7xOi+Y6elWCU/ZhsXfb1
0LFO+h+GJU99xjeV3fi2fSR6PU0QTTsuX0r9Ivf6es/hp3TngeLhXiy3UVZpGdHoyAdLIxi6lm/l
4tYEYIknwU/H09NHy980vNS0ezY9QmDZB6SJGw89vCjbYgVrpcdqt25N5QdcZys47bPT6wGdncn8
0Q/HoUWqMyCHVsagJauQXXhOhnWwIm9xMlqk0T6ojpN86KQgo81R0rycHmwUqNYgHS+R9iamN0Xe
i8aJ1JJHNNJp0LjgZ6rma1D5NqVjuvGCfgzOMdZA3T0OUV93N1I/hPHUrjYdRS79iIaVJIK3uGyV
ZXwr0LGk50ex0+gSt/uuvpzFDkDZOGRDQNa2DpdSsvMRkM8lEFNNnv9BE47LGoB9lb9LBfdV8CE7
mr+U1W8ufXuOu0crXUL5zNWbGyX+FfGDZUtZ8ntRfUUmpYezPAdV9CPl514/9PmZNcPbIxPUh2xI
r+Gwr+qTIuDO6fXmjvevTK8WjnHIQXlA4pPfZ4WjthLnJ0vzahqmph8IZX6Y/c6y11zZLdIzZ3aE
ct58j5Zgmu5x9pD0w8SOFQ1Ol/5Shddt4MbfzIxu+kBW1ZmPK/2uMaJVJR7w8kiYdpDF4+bM3V9q
alrRiY8FnFTetJ4Q4y0lyFGMgzruRetFq5Ck9QTzSZd224oAQbR+r9JlzhE6wTDjroKcKTkH2V0f
zgK8Muu2akdluZbr1ZIDlEKn6lyYh948xmIwtkgEHAv6uWi3NGgF+TDEgGHVwL0W8yVqHkZ40+l6
RfhSj2+WAkTXB0p6T4aPYnxo/YUPYuIg1p2aH7rIrDymIvI2hwYx/OKMMCw/1OS9LlEzB7lyx3WH
AIEkv1BZGeU9V4Wd6TLstPDYq9dYOPLsZOVNt57C5JKkXo8n9XBhstSSR5o0WkfC5n59mvDSFn11
Au2M/X55MrKzSd/xEtCMVWcPxnuAjRqfGKqVZTLtqK+N67XG9HbxaNTqhEM3HwXhpJnPYQU6y7rP
z5ns16mj03ZaJGTju2bYtfoR4G1MjKBu3mTlYj1F6e+Qrt3sIkZQJ15zeMLSk4xwrvbIxL2ce5mK
YBVCUKozp49BeWN0mmomcttD7wuL8zC/tp9YuxWRp5Q/5hAwCiiqDHRNTo86vzMFBHWHltI2I9V9
NLhtcWfsqpVuBR8oOTdBfp7C+kFqU9Jfn0FPOazrPhkPjH7RUvq5kFF0so9KZBF9KeCG2XOAKsLC
0VPQvXcUC6fTPBPTlHFX/uplQqTz38d2FLWnObun2j4i+JPRET0X8we/NVAHAc8DltEQe/Mi7Vte
LuVyNRCx7A98teJebXeGTv6sO7p46caA91UKiiB+uB4twx9Vv219PobHOIx3Rgdt/yYNWuVKOasQ
mYmPVSS1Kj/yCjkZVBxYvbWnEOGG30V5EmeARHUPgYYQnJoN8cYtSV9hStvjyIrSErebD3LvRptn
IvwtS3pZkleWtSodEWUOcdLehNe8Lv9Suw+TOKNp6O+9IDaN+nATPm1rPwW5PkvjK9nUmp2j6mQU
97Hebat8cGfoWiU6zm5HcF8Q1LvFJ3kPnVqcAVTWM3oqKX+NBNreKHnEdWa6nW71YHc/dbgXs1tb
70jdKgAPUMbhAjk74jypjvIVKM4InQaBJDwahQ26B8IOMdJGZQIU4AXcQ6r3nGMjNUccNgzfmIjI
Nri/IoP6pLJBxY5KwvSkv443vOYB3hGbRDRkk7cwKW7SrZsAuIwbQB2+ar/kn4JVSc3j2v1R/4Sv
5XdHqqJ6OeS3vUKWikTeTFqEEp5N7ZSXjzKSuo5GwS8BfLVR0qVgkw/kJ14G+oCOZ+LGm7szALjD
L3DnsQg07qhZ0BM3yx4n2FgDgqIZg2SSvX0Kc5wDo3a5MfOr/SaZjhaHIdbY+vv95sYycy+g1w7n
I0tguMso4TRHAWyRjBOkDO16N8JDqFOCJd/L0q5Fv7XlDXx52mWfyMDy0Ipo37zgVaolPugJXKkC
fTpQf05YdVe2HJM7SbwUl3w4MCwNUEGJ9bKTiQeChFFxtd7bIrLNPhVCY4Xfqz2TRCV+NNuojKmp
h90s3pDsg9yJ1B9Au7vXvkIjy02pF7Ze2o22olfu9rfFzqafRQY3m85J7feCa8CYboMOIDgCCPil
T+w9xqEybrr8FyHQA0XbJSU7/zuPkeoIj6q0glrj7tDpgBFOMQ/yr81ILdk2okt2jMkxRFf/odJI
GWWUbR22Pb7ulZOH7jI5muRxiUYPhpj5iBJgMWHxkClBmQ4Iu0RLKxUv8unW7VBoSRzFb6dgCznU
Q6x41EbiwZtKJPUcBpPXAbyPnUugxHrlJ9b78CUCjK1OXKL34OZAaLQ5Kj6jKMkeYxOy62egGTYz
uBxs3lEBWuDJdm5I8pxT1YXPAukfhAtJHI+O+Ix6PlFchgca7wtivR1ZhDy2rh8ZFCpF3C4Sx310
QSKbqxnp9XPUNiZLJ58nKysORe8zR8FsFG6u20o1KuLolEG1PVdEyxgjwVgSLwt8gayiGsPKqx0K
Ikz66on+6hw9BiyA9A8mLOtcJJfaTN5to3ek2Mssh2oqD0aZT1T9es3DSLTEpHgmLvVYg0Wy438Z
dOhmlBklyY4Mn30gAs3NaUu/CLG3yOhjYhf+ktbolNghC7TE5GqrEOJ8O33yoGMVZQD05DfkmqbO
YgBx4CF6wFCsogxtFJoLRQdCoCXa6QBrYKtfU+kztKsRukPmSkRPVAsbkjePr2zeyRw/fM7nwLpb
AoTZmy1Jp/DrSG+b+S+GBt/NF7q4hb1X4KVtSJPL+LIL8tW+UYKaJm/dUwOq6qe43jZGIr9qRgLF
zXDRUbAAu5m1n+QBT5/lGWkuTEYKJHlph7uQUgrlRGoyEljybu0DAxfX0GuK7ZGrlFuQF69o0HRK
mBclmlPbn4A0y3cN8D+/yxN5iA/DiTunaZh+RtG4ZdOJdIKabKZziDi1cGVscxIMrIn+LqGqxT56
2/d0dvDU79YACqsR7nPkL4FQIjyqqLNcFkKz7EokTi/mGrrVgmQH0TjsASJYQBxEI2W/JG5HE5bi
DffaEMIS1Qex6VPt0fRDXO718c4Zw7c8NA6kyWF0MXdKQIqJPEFAsTtjOKq9TqWmVUHZUDYNOGQM
ins6SiL6Wf5h2o3P8os4381yW8zVHQ6EhE+ynemSrdKXOIYIMoKu+6w1qoq8i7GcunhXZNRqHYP9
qWNAHVl7C9NAr7Zf2+gNAAqFI4Lw/c0qoY5E0V5Vqbc5XX2P0LAt95SyqPuzeRGsKMY91c+zjtjL
cA2FHe3J4UzmaVH3a2yDAtZaI6RGVzCR26FITp14ZIT0lJCJYw5Y81ROGMNUrgLq1kKooXYNYho6
LXDw50rYA0KZnXkLCNEdy7oHokI5ovIm1TUHj+onOiIUhFR2MDHQk1O97tdlJ5e+QqZY+rVB9EQb
GKyHygMM1umMZ9dKOXcJBcxTl9G2irC/w2RkewSuZUYJozt8/2/ANIw7GnNs9Mc5cqho8sEl9tEu
EdkyIYVaANXXtpC963nkEvQmiLAnSFMFUGgqnoMiHKcXtmY9O7LkeJKI0SN0uh2IK8Jp4ILE5y8z
4ufjHSWr3PL5NcIA9adOfVTYpP5IB1IyoU4CKwdj4IOcBGgKwkutqWARb6TviwyZN1gtf3td6Qoc
QrILJpUYdi265C10rgrKLlTo13X0d17KWxo8hghhBDcFgN9kIVis91bZSaHDyBCUQJWH6Tibfmh4
XCiTPNeCWcKZwEkmMHuXf/AtYbqOPZZTILaFpwPiwJNDcshK5Gp4XQW2DCVL3vFDZmiRX/C8pg2b
CaenrkipeXH1xMOPfDD3lkTENdki5PronFe3MPSpn4jdVaRqKv7CjYnaZmubeyF9ILljS/m71d8G
5TnPHvJaM1splubvU3LB91Vu9kyARZe9OD836cVCp6+eX/+3zE4DdKoH8+jHhF/pqSv8RCcYQG/N
qUZnpRIXuTlnkFAwy0UCPeORJ1dmmRhR2xkhX1STW47N1yx6DC+3i+ShbHh6e+Ce5q12y0BQIEdG
BGf2KUZKiw04iMprpf5Ot4ds/aQ4ejXRt9LfFPBlwxvnpzR5WBBosvol1j5T495N9yb+rhJ0J4uz
LDy14pMVfnAbw3BlkwDrBUxPxaAsfhhjcdgr/Dlvj1sVAj4y4rEAPsg81yPvFWmUdNXnVXlJ11cm
BGoEFFSRyo3rQy55RMLMsDCl2A6VDVAErNgxJTumEq1is+vPQQ1SQES7HMT6kC6HxPi04P+R7Wq7
Og/6xl+7r6Xfp/ngz83FmuBnSTIgDcQ0ilYjlgtaGcCHWqlnURhi6IadVHv9r/4XJXADQD52KTtK
Fue9m4zQDtypwYxpuxO5ceXwoHbYrrnrPdztBTb7yaHFk8L6cJWm/dAf6XOSMm8rMckoTeOVEUiY
liLY1Du5Zuv5KRKudX2pCb/bHY8+7A4zjaiCP5QnAYgOFhksAmk3N8cGoUqRkdvEXpt2L5IQTUd+
OQWnpJARUro8sl1QoceFTRh8NojC5OSiUY4DmRL+yVx83pn1ymWy5nnsLNksxfAQPUpsH915cSDj
obeiMbWJyviHsmM/ztugIQqH6KR5suDBZiI4mjhO0yPyFcn8zE2ncqCC2z2v1KJMZ6Uvr0UJZNfm
ByZpJRyKhvpIun0u4aU+7K31I88POYov3Dvxj3ynkGmWp20V/AYZwzSejQFB9rraqwYR4oGZWZJZ
/p3flNfYoSfhKZr2FEO78dyMu02F0Hiq6a+tr2Lshd0ezKGBXJy+9NOLCpgmltek3ZnLba5Jf9Bx
P7Jvsd8xT0uA5xJ0ftt/2HlWOmWGPXtBj/B3szeWz63+uO4QytaNYIwfzIOiOZOfm9orhRHmR5/u
e05LNXlhmUEoYOCIJBsw8Mhl94ONxVszBN07FSwuriBDIMBDmjkhrzuQ4aJkKmSHukegwF0/x27b
NfrR5zxvJNIBl4XJPseSLrOzRhjSHlRI9OR4HG2RM4OQzU7SevMPh0Q/X3o0rJFMR6FnobwAaWMX
y6cx/ZwWRxWfBDBPEfzuZuiXuHQnYXVyKthCY6vqL4HGCu0F4Y+cqDRcnmJAejzKcLgA+czja7H4
VNOF6paIt0ySsBko7m3/pKNPZ+xG+YDbDpm5CRkrCrmnDTNAhaGIidWr1jWIj+i4LE4tpNgG7Ppc
iwHFOcSkAVCi4leKe0rSIGb5XMNrEZf2NEzESZ1+E6s/CzSLWqU6fx/ST8rT8BY4dqFQcJKXlt/o
l0T5MVA/14O4OSEKCcYhSWcl8meKCdKOnipgI2PXdO+Gmb01xWclxu5g7ZbUb8r3AWhQPA3CvSXn
0e+QDPr8l6BexNQ3y/Mc75OQ0ixsCKxM96oVoLhN04v6GrafVBZlctsynMiCsVBeHtWy60HM+pMK
cZ3y85I/Mlm0MyLhiCrPnNn0XdE30UtnWB2l+FURoiPeNvnIqkvQe7IjHAWl2sDguaWrSXkfiwsl
7qxjY6HV2i+03aDuUMqLzHuNQeVwjUhkuoho3wSkRqnN2gkmqvySnfLJwvwl9zRfDHazGG5tPCPt
5Qz4iG3MFzp9J8RXBPk9HT6LIncjFJ6SFzrdTcrZBBAyBTV1uknCq9o/KxtPQ/mlKSh3eDLXEB1E
/TCMyMHd4tGdzE8h59B84Wolo/WbgrCHTYxCvxRD1YBwl+o3oTrVpIwNUXxiQa4cAdyyxwxCytG6
spMI3UAmC8MgLz25A2tXq+YeKuiOgFgNBT/Ug4Ra0dY2gIEBMD3GViTjS2y52G8ibDc4/UuFSrug
U1qQ23NRU4Mw39cvXDbdaZ3dAq4O9m7owVN6T4luFDAYeNVqBjk5eozJO2KFfmeca8wQTAqu2Buv
IeErRcYshktEPT42pCc8IBwFsRukgVCCnezxpWZwMaGgT6+yZeonGa5b24BnIg3peh5kObARmM68
pNgG8EzM0hbhLZjSi4rYeAFii4abbfJ3GoMeye8VG31TSY6CNVgitmSc2/JHgthwdblFum6bIxeT
+Mbsp11I8KrI6OvHnZ8lj7Eq7XUw7R3KA+nQUQ3GrYAbHq2ZguNOJk6Y13cBjoWckIOU4F6FF2vx
EQVYb7BMd5gth3YgjL6pdU4dynEmdBnUdtheVoHcqxpgJ1oOwqpQwiRHxxoibxYScdMO+9afmWX4
BNir9D5T17dIUzrqrd1MFf5zBqoJ55jiUGk/W2SgLJbtZ1bIDWRrEJmhk1O/p4/ZrkEBMUMIIefM
4WZ1Vjpzudoxhc9s/M7ER0y/1FOl1XZFzK1bb9ZARRpizETnJDRHaoIRdQi0HRwJkGtYvsbsaem+
ewsVuDYBnYTU0LKEBwRqQCAE/p4bKFlBspzk7KrLlwb6MjSF5aFRVvosWMqthUA/2o1zgc/k26i+
Lc2bXh3k8jZCPhKU7TpQmFKtx2pcMvO7Vi5UZmptg9yF5rFIj1kIUjigYnpHt8U2GDWl+mKJIDHk
KdOjYWV010l5VESGY/KFU1kpM+WXCPonrmZhT4/cakvlQ4MEpGufMaPYQUisYbTFXzJD0Uj3Xj71
6ZeZ6yj7fknrW7m+RdNX2Pg1O9Dsd4TKckHVVrzX46Mg/ttGS+G9DXkbWc0i151PpYoQxjcXjARv
rOiQKelE6k5r+LlqUBG6rxRG2vImpK957ika+JVEAELnic5pQPLUmdTGQb4n8BbzZEnfm3R8NUcH
dipvgZIVx18w5DfXUXk4LfJjGb7QJSYpgraLaNt3XX4J871TPpOe6ozyKLK99ZtyXIEwK9/yCi0W
qYsRGUNKyLqfpnj7H/LObDdyJNuyv5K4L/3EAGcjgXvvg3weNLjkGl8ITcF5Ms78+l5UVFZJioxQ
J7obqEYnoioR6ZI7nTTSzM7Ze+10PBYa+srhRRn3QXrdVAGkh9tIohLWz4SzbEJ63evBOZPdrfAj
+LYDdwywunU/Ld/CR4xvJhQwzAsWQk1TuXXpyDrBcYiNuSG3nFuM+4F3UHlsBXQhwgWy6b48WuZL
mb0yCnXj0PSPEKSmb0K7F4zRSdny0O0ODitwZwQAPY3ah5rCZG48e7y/yM+aelvoh9AI8LjQNDpH
AFpbFz5nzzEf+vbACSR5Yc7QrIeDX6698UUvt04FStZbZf1Dj3/SEFdq3J7ErCxvM+OQ2Ge1fesG
55rK3QwePr7Fd6ckW5CvRb0fxqVkpYvP5aTtph+O1CMv9vGWXUKBTKFIjp51i2AUtkkuGP7joeQu
Rn7rTDnV/YtCkZ19UMRtYr2k9dTtBPnrIVqJQsTa0M9eM7WgM8/OpjuY0XkutzS00/pQloeh37b1
LV0tuziouHaGY43CgDHd8italrBiXA79Xm9esvDF96YJ4pjbD3g/T2wq+zXyofrB50M8k2oQK3AR
vfINsvolDs6cYJW0cFaPAWpwlS1hlqCt3pfqMRI3bfWgOw+pclRQTDTsPLm8nGS3o4zJ9ha9YvHI
Gc6KR0PJZpybzDrTJM+u+tbk8VVTlc2zKUqEa6O+uB3nj7KUSe5LZ6BVje9CeSuRiQvmzw4RtqTU
S9NeW073QbFP4pcABcuArNezAkLpbw3GvwfdaXioJJrrktmKx7OG4qfzk5NgIfpjaBn4wg9v5yV4
nQ58GlcWj+MRaMaAlJ0BYsv9dNfxgqDunaZHBDAdqpXpl6cfb1gstNvpPbr6LMouOdlcdj05rxEJ
hSxM06eU8i2H76MZo3pKyOrJIKDf+HgSX1DXxP0LORrTGXD5ldR9aMr1UBxV+5nBaLsU5l9956Sq
Z23MGnYhUZixR0admK09CYJ0FU3Vq2Wf7RtwMzwI00kwkItdLzey2/jDy6jv+AFv2uIt4TiG9RJT
Bz123kTx1/TbRb8qcVKfGt2B6B+/WIthVbRzsiQc4wYGIyWu3YDcacLuzPhQgnQdZi+fYvgkoXXO
uuYmyS+19hR/LXOj3y2daMmwlKTDsV5m0T4uHfKVHJxoOzs8j4PzskaR3217ZdOgUgl3Rb8dzJ0E
m6HRKLhq/ctSOzbhBpXccJEY3zVtr8udXu1EdKGIfcRpoMvf7/mj0S9CD3SrCGvPmzfDhOo7uB72
lUkokmr34Oo4Mk5dD77IRlQ1o7Zs0uoabqENoT4ws+dO7txpqUSBW9AW2fD2Mfex0rF+YeVFDXHb
FNOHIpLhlJfRucIhN0teQgWj0NqsLnRGvqWfWe0h7VYGejMko8OGCZSXSzbQk2N35497/kTxjd7d
CLHIhm1WPaTQijm+sZ472eTySU1+YcEZL4azJEcaQf1tKognxYaWPHoTZB9oRPgxTqqlvPAxWbcG
VEyPWM03klWivxXthpf81D3xrFNz2JPJwtWZJn8vWDZyFxkvaGb8Cce+RbOS+3cyP2fI8SWbYDl4
FP/33GM+TMNunzSnrvedGaTgyel+vxFSnXkeOdfrId8m4Y1fXhXZFwnbEwrjgwVZTJgi3VI1rJqm
CvSK19+5R12nVDHIi+SymzApw5AycxMktyOzd0+QZnbR1+D06M9TJO2aZieL5KboBnnQ1GBlxC3x
EkmeniqRchMOhU/PVAnZghXf32ydv9cn/UTUENjZaWQCcTMge+oWNJD3ByskEWZVaimHYsThyYKu
UxBYohYPW4zp42UCM+Mk0ySQJy0iZSrs04ueTWMagLFQFUlBJUORk8jsq0B3ffK0vncgAs81OSLA
EcIWOh6zj4eWJoOI6zo1Di1e391gjepuLLWXHnwBZpCaDawgChZRMArQKBDZvMpMeVCd5qLiLU8t
Mn/xl6jqLplQn37n3bdU7FrLtTBNZe0Czxq+3jywkLXmvKXm9F8wjX4aCoRlGwSmGEDRLBX6xSfb
rgaayCd82eIp6qlPXsfCqyvzldkOhCHYTU+GAeLZN/6QlZpUQPU0P6sS1IfZlGHiS58rD8iSpVPd
bDHXkXMkEa8pg5Iv1SESl39vOLhgIVQc3YYJ4GACUk2eyHdjt66MxjFgUIOfJ3cnGFUVBbciEeyK
eClqahA13ty9Bwd/FXW+d+olxqEfyu+17ZnPDio0anAbsja8Hwyj/9Non19Bez6Qfd5Ad9j46v/8
wPL5749/rX783X/N54/144e/LLI6ZJZtXuVw+Vo1Sf0n02b6yf/VF/94fXuX41C8/td/POdNVk/v
5od59gHPw5D5Ndrn5DF+lZ9//E+aj7C/gePR30h9E9DkT5TP9N8d2/0X5+efKB/1G9wxHZYsNFkL
xo5q8uyqoGAF//Uf6jco1i6OYJfsH0A/FqS4P7/2xY/bljPGeeaE/ePv74Fu9kd3rUnkMBwfWMnc
5EDdtM+0HLMuUhW2jXFpxXtvPJXiWrV2YfZ97K9aQU0ZJ0e9hExOQ3ZbokkeDh3RadZVVV3Hu6i7
IIeNTQjVLjr0YZWxEIGxTm4QltptPTxRvg/ZqHZUIFT9qi6ukuY6LU5N81XFLRipDy4hj67enMxo
1JE17VApIeymKs5lf43a2a8OFkUFypJEbVHExV2gALZdKHgd8WINQqFjntBBIFAwZK7KEESp5Q/b
/98a9L8crP/PDmlNZSz8ekyvX1Fe/PH6x+nzPM8eEwAgP26UzQugyelXf4xvYXxz4App0EomHtUb
/fjHCOcV0B+uZQqhwy/X37OqLP2ba8EjEs6UiAbm4Z/jW7GMbxqv8aaqZqLXRaj7aTz/bnwb05G9
m74gQDGRuBN72ibyW+V++vQo9V1b8Wo/3jrKfgQMwTKZPrcsA9qD5aHKqDo0Me4tMl/wd2CDdszQ
mMe+eip8m3qQMtAbxo/Rdwl7HC0z0LR3GrLu/VCU4JOrNETpka7LMdp67khzounQ8ytYsaIqwchA
GNEC0DOlHrq9Ps4nSFTdIhn1tS7x6iithrnZI7IvdFRqjxZcZY9fSewE+IIaAnEhtxkvNpUnljv1
nOgbNrNWe+5mOYXKqUlIztssZPojK4LbqXT0FCkLFVGr2g5Kfx8zSxUQixW93SpM05is3Y3pYPrM
AxxfpstS1EhRiflyK2ps0qQuYZ6lgFZ2nof83k1mrtueOWng71qSStS2wfKORwqC3EmWdARl+wZV
5K6l86ReVgVxKGpv4o2X41ovJfKZwcPLoi/5Ztnca4tz8pswDvkZSpn0kI9VsJD4ULuoRwBiWlvL
6XqKJ4iYiR8hurlzT/Osxq1Y0tItsgdfVnvNzulOZWdZScvOK1vMjVq36nTtvlP8SUFCF9eeslzh
/qG9b9JmBrVnEbrpmaOxYXX82OfL4y5R0fXnhf7Io9BaqSXrqtaPSRX31SfXJS0Wpu6d0mLmauap
ly9d7xilwbpZ9JWB32JI6JfJ0zwgLN2IEcZa6DtGNjlDizVaMan2dW53NIMU++yOZFdM2cEMjwwN
+3Hm9/umZieEsqrhUIriJorqdeqNq8zS7nTS905kqD6Hxm0eSnQXCzOpUN2FufLjKwWi2uRBMgsT
Azt5T6dIZNiVI7biBjX4GP3bSNm2J7WKOJ4kkotuVBZVpd7HKEBUe9yodUs3Slm1KKxICFzlHhvK
oa4uLQzqTGxXDqJdpZwP2FIzSk54Y7TkFrwxJVFpI0xJVCQVdBxpbvoFv6sWxGoY5JBURYJSyrG3
Xo8LRvHpe9k0SsXawjGb0SS0xjt2xGcUjWl3jHduzzXC00Jf3gyHkzh1zgyHLqXVnVq+OGRuGaLG
xukpcwsdGP1l3J5dWZ+VTYfj5LK1fPK/4+Q50WjXJ96ZkSir2AXjkPrrioZaM1bLRtQ7hZ3umCor
ITJyy6K5ay/c6j4Gp15Dd4inxpzRswFaJIm21FrOXY6wo/GRgLFBtKOrMvN3VUMrO+/gLTG9Locs
RwynIKwJR+2p5rIKWV3D0ULUPZ7G6Yhx1cPcDNUeW213QoIAsmlII2qDRM2UOrq/cWpabFkKrysF
FSBBl4g5opesoAcwRo9kpFOPqLFsWkDVZ1F/4DtW81JHBkQI+yKGgwasm5d0bwY0aG+4+CtD1u6I
LJk3yf7bWjHPucIR48k4LWOVol1Z7vi9Krsf5JL/C5PmMU/583HV9/bIf86LQYZ+UP/3L2ffDyvH
f4+lom5A5vj1vHps2sekeT+bvv3CP9jOwmU61UmssG1TBWr653JRY7VI58JUdZMF2zRn/nO1qFjf
CFYABflG92PmtFmr/mO1qLjfTIOXmAL1KYgeJOnfmEy1aa7811bQcUgWtzW2JA6L07/YR2UJSPhA
GOZVhm0gLgOedVWM+Djd5WZ2KgfjVA8EacErt8ChqTrmrazxjr87XX+xZJ2+6k9HAT6Pf4CLsU6e
cEDvNkee0xlDMjTWVZ06cC0Y3Y59pjnwTIfKXBTocihzR48Z5CUMf/hVbWU4ycp6Pvm0jMQ95fSe
xgPP1CKfZ2EfztTUPepGtPaagWkFMopfIWsn8Sejph4ie4oH9wiYbacZ3DMefRsjaKIvvtdUj/h0
cqF3soiiXuGYhvMJmSZcwTNbVb0rJydlzIeshkIDsbpd20ei6hDDtTyALTMpv9gemx/JMVxWQ8cZ
BT/KAu/l/syeboJWI32nPMrSOjMjdR93j0IvrlRiZLze2iq+Sf0TNGZcXI4RXJS+w+CuTY0ugFO5
ZYCJMfCGUGPK8U7msrghyJHyZGsbs9GYSDMAGcIEdY9MnKPalpeIvU77vLwcNX3vUTMS2ZOQ+jHo
4F2onr4FL44+WqFOhf/GpQI26Leeb21Cm/c1WbGc2GFyXzTVvkB6OzTMdr8fZW9+sA+XwzBVdarF
qBBOWdt+uhxRVaRuEKTxUYFg7ld0rohG2VuAD1JWE7UR7ZIi2BDlfdcLY1mBLTYH8xTk4bZqxhV0
VAwtqAR+f1QfSVfTlRJAAS2OSCX+xVQ/8S/rSLer3GqMozNZvzN2O5lL50qtaSdVA+qQ7OL3H6j/
dLPxiZDjxRSlQ3XqM5BQxqrfDbplHBvWpIaLm8e5tZvoe67jHLUiCx2vGlt0Zoqt9Ct71fj1bZyi
vx71dphlZ72qPBC9wvo6orUlUszsYx5RmncnoWHx1fmZTsDHq8aWQqOOJlSXzKfPq/3edbNysKV5
DD3l2AFdQll50Vg0QrLIbqemJUp3M107SoM/ZlyaqshnTtqy65Q9qAUVLb7jtmufzlRMICbOVv5z
PvB/lXfVlemd6TfuYgxrsHehgyC8D7Hz0pG2QgfDmOMvZG1i4hRIQbSpveagYJD6VZY72TI0fPz0
9KwRDbLe7py7YSDANAueXHLTU1HflLUnl0aFQtUPbzW4hDNppR2KKH3TVUjStJrolUY612n36kcx
yoMMoFzQI61SBnoSQTWsEplcJDKU8yExXsc6hl+At5GrdC1YmcOPMKdwD+yoZShpDpKBd0LEHKZa
18eGTyxcKldKraYry+iPvx9On+C80wCGWGjYMIiZscigY6p6/+xuQ2NMPJ9mYddET5CNn40y3CqJ
swmsZO3H+Y0e8hQJcwtvWrVqU+M0CrRdlCtHoLUoSLW9WhR7JQm+qyUGFwBROd35BPN0mN6G3TrA
gULbHV8YLQKRu0sv12ix6s+ZEyMvHK7I0d7b5nivoyBsOzSCFMmQm2rmvsea6uGBRN1XPP/+a7Nt
/TwuTZuZk4l9ilwT4g0N/m7OSv2802O2XteJaRuI8a6Nytj2afcyEue+Mpvwfkwa1sIpxXTyRmxy
bvyyICmIHFEog85JSNpOReV/Rr6onBWm7WD0RvWkBi86UfXUTolxNZC/JcSaeUl+5sDdj5PxNp7U
BjCMj6JMAT6puPhKWV6ZiQW5AqZ7y9IcWCBaUZrvy7oUyNSwuxOPpy1bIJ/QtgAl0FFvRwe3iYcd
KrFmPcG4J8Eoodn0EDI9FM88Q88Uvavmuob8Irej6afKuZdhdIvcVa/iKRAC51fHR+S5Gc8bbkJY
PKO27PA21GLv96qONQD0E8GmBItz2SvyDWc+6jS9bJI5OF4PVRmQqnpo8JGhMPK6aBHYlYn0GjJK
42rQ0HMcbERdnDlTHF3lj0hUbJ0wYYUuk5de+2ncbShq39UN6B4l0xW+Cl54gqBJk6rM59Q3zdWg
VeNSOfeHdNq+E5ye892kHU7c3cZZgQzdJyk8K+HyHKmC+iXRyFGBGuzQFDMBa7WIz+q6RlghlAWg
VWMhI2xmcapxZpoGYVtjL91KujPXBycNZXim1Yq3MYt68tJS5tcq8j2H8NrxjbvB73eCVDIW9kY3
rx3alb2PJwWAwibtEceOeYkJh15YrAgaBsbR0jwswWqNU45cab8L+01aIydUjYM74haO0lbQY6OT
K4pNGE/4Nz33Zx1EYXbm9FBzEL+zJuqXCnwHDCNoCRFsVhblvhCTYdqVt1/cJx97Njwe6DGQX0Mg
iTo1HN5uo3e3iemNmdDjVl7HQ/LgBehtRFJcxCOSHcNFHhCY3slYoavqSUWaRSnaFrd9SrBpqlm6
aCZ+R+o8JRYQRCN6zrIh29BOGL+YZd7COD7MMtNhsjq3QRAzM74VVd8dZlTnVhYIS177PeqNVHcP
YVkcnJYsgz5CnJESGTzk41XkYeZwpXrapjisoO0Pi56dV+dLDIdFfKt71iXnuARvEmULIutWviEI
TYlTYFARDdlOZeIxfHndEat1EphjPNdRdMylGwPJTdsJcokBOB4bwbY0D7aOod5avfeaZCCncq27
1U15yTC6CWugaxUlmaJHsCFVhBa2QZhApOw7r+l+QBv/1ubvf2db96Go+qtmwr/h3k/TWJD8Zu/3
KmVYk8CX/0HRpn7MsvA5/+PlNUn+x/nz62OW/7HJXkL+/X57+Pae/yi26t9oarIeI+SHRQ47xD/3
h0L7BgBVGEBp2UMgyfqwP2Q+YlPBa+QGEpn1rtoqvpncczzGpw6ATr/hb+0PPy0WaVuyWDRctmQT
kNVxPu3M4sQb0L+gldSxBGDBjbE0RvcGqy/BUtUlsEcNngwFEX9y9+48/tWm8NOT46ePnnZX725J
q1EVO9ejivw4oDqeXHk9UhPwFs6AvdMr936drXuSfCnsIe3MZkP54LDBcAPMh9IibCfFy59tOOcL
H9nHQMSQa5ZrRxunwhYZ3uOMUu9JQ8Jcgt1iULRdpRroqmOMs2t/8qDAFBqDcElXb9djyhCJflrD
QwnCLxbln/qZzo8vO40EdgKg0D/Hmjai8hJqtNjtAD8pHqwktVkINEFlcCeQiFKS6rDletgYI3Pp
VOapDJ2tgh5taLZ5g6k3pOLUYMUuv+q6/+UQsKbgGJP2FLCNj9ehTYMqMbIC/g+ywRy1h4KGqope
eo5pgAopWns+asqJHd8zQX6xhdb+6tPZtpGgY1iqTefs46enYURPNSwrWFxADYPLaIBPU4NZGQ66
gZ2QfawSV7jbwbSVylef/qnV8HZZ2JPpJLXC5ramrt37MZiGcT4WjaxY3bBEC9ulJETNrsRRYMlL
YW0GmLpDO6AuikhMkZtmcPaZ38/jpl6YBEz//p741Nt7GyZkC7hcBB0y9E8hA12SgDv3GSaqpWiU
ahTzpD0vArx0Vg3zs9a7RyPFCWWqtMIh1wVWiVjYM/Dpgp0TpKKOQ3jRjfZrWGJNFT3gUzdeekXz
kpigw9hW0N/I1HVv5ecIjDFuVmhR/HS4FgF/CwbWFLLcZJH+GEt/o479RsPl5QNSKCntN6q1Khu0
pOzuX7sErYmvDN8TYA2TBD0ecfHZecV8SYgjhVa8PIO4EUV9H4w2yNKW8eOL5sziqTPvYyqvdX+v
VKY/0xEdVgnqxchlNTBI9OEjoqW2bXqWD+02VFjyNf34BZJd+7Q9nwYAm3NY5dOtyan/NPwSvyg8
ncyDeeQ/epiEu/pJkadGuAgEjt9rKziWIZNv+ewfdfGsVdemcwivFGTCv7/yps5Ie7dA+XEgU4/Y
oO3GzmN6/d3TsCqj3KGmw0iEyREXpsXmTn3muYZBieiAxif0nRLaSjY+rMDCe1ab9C7Na/zdt7oc
XnqpPSpJfxWKcCuUcB/gtbDD574jnj2p2Ex3E5vIWkMI30vDvvCN805T913j7xo7vTRGe520xZmQ
Dvqr+ki3/aRwO2zlrcnuDqyhI7V7xege8rq7NB19+/vvP826P31/WxempiH/IW3201OIBN9Bk5aB
87YUKDzcNYpq0l5oAIDe4fmx1DpC0pqQhpkzq+Q5nbSF5tOMkdXy94fyST7z4yYUUyCjM4mQKNx8
vBT6SIJb1hMEELpAxrMR8k3zRGHsPK2TM02w1M/q5jRWq/u+bi7U1lkpKRqzdNiMPq0nmfOcGqGR
JnBST6IRPF050MoJyCTG8Is77ffH+zn/623oOJaKeoq4IAI2Pp26ICG4JEoYOrWN8FAN2Ce07lmi
m8D5LOA79gyl7JWZiqdWda5iFw2Skl85paIAMx7kzMWtXDnIcV2D7FHdFJPWfcBAQf8PidJMJWeV
dgS+B2jM4Whf2w6zUe0Ppy67FJ1uapsZu7AKVjnhZjWPCicAIVwWF2WuP5lVuxyxwtipQ1mJZ1al
VA8k1ZEFM0KFDO+TwX30OhCXyKBVlYpJVvoXfZWsqhCEXclTBuCzWATpMJdJDMEhR86MC+OopHs/
z74IrGGw/TQSkW+w8zddlZolwYwfL38RFC09MnjbJTJ1AGkUpLAo90150vs8QpPMp79n0PgZwoOd
3bgWeqohxdEQmlp+clq6GOS7Rls1drdvS3nRGPE1BPwrglfILTUxtLDioAMH/cIot/nEmqzCh8Al
T71GgC802Dr6AOq+W4WT5QWBv91ma03KM2LC7lkdvfR1f1Nj9Ct84zbQ62O7EmayClKIOAaONBDx
OR8Rsy/Bw1V33h3ssaNS0NAiOPzUZpfbs56rVVhwzjTLsWfbVaM472wqftzxp55DfWfsdqnGXs6M
r2shbw0neSlC9Ty9jFr10syNm0w7i4UdACsy4QuZ1rlXQYL1lctcAtpj2giGhK1M910pLmy8015m
vJpBCHOx9K9917qvBwBNrbYWbn9eRe5Z7Pn35SaNjYvU7Pd+pMyn/xWZ+djybcMUbR/G2yazv7jl
rb+45hpbQ4OUToMW2+dpwPRHGp8OrXqzgfsy0j50A/8iDwFFSsJpbKO9GtwrpzdfLKU6lvZwGyml
gJucb4sA7DkWQ7scQzjJKT3OqtqyuN8HviRiHPAsWgWjzrDjS1DFY1zed6SrxB4U1dK7VvriWOfD
jdqSF1hfWo3tEWuQ37NVfkpMdx+KhHaIuIw7hMGmhVGYmM6tOQBCHtKaSaFQz7wgOdfbfl3UAi9v
mVLaz+WBgUdTWJk1mXXbEfz4xZT1ic/Gc5L9BwOX7hURk9pPhWaPlHa1zOnSoOa4a0MCmQsYDRXe
rtLEBt/QMk7M6KH1omAeTGus8sUs/a1Ld8aQKx2HQK15p6bun4tu7ir6qd9nK+6HOyfBdaB7E3in
3YmAut8gntum+26yDwffkJwnrvhqhf7TBPT2bSx2VELjMWpPr7+bgA3F6NkKAowm1BFfqDWL8gE2
RMhDB3VzuARBY0Vbx8NNRCXGCw3Etx1akG7++8f5T9sijmNq2E31cDqHn49DxaCeezasBIn3KM2o
qfUs0LCWFe2zlLAPAPB4iMx//6mfmydvF3NS91DwJFeGzeDHr59FYVebjgk+oi4uVKs96/h2rfNg
Rtaic9y5LL1NqdhLWwH3KO+ZyjFcF0dbU19S5S7LnNUXB/TT0pzzQC+HVTl9LnbUnw7I8kgNy12B
wy/aT3RFlBQ6psrAksA5troTbjXfBkEnoZJVU60rhKKcz5R9Un3Vo/h5lWhRPXprUiCX0lBGfTw5
kSo7p625JqWPf1mD1hPMhUK5XSN3ISq3XdEvwgzJG0iQnu6OqdhXsoQUVvhXLhipNDs2SvHFQ8ue
5vUPS0ZL8MSyCSZDy0XT59MZir1qlPjH4LVUJWo/m06BK6Dfm/0hpR8Btwc8a9AtCxd8CjWk7wN+
AKtLof4KsySsEjKbQeIENXdSCL+3PWYiFSmeSsuj1jKYQ22LSkULXpKUd1Lta9Iw/ZNWA2qi5M5Z
jQ4IiokPOxGmxDzoPcy/1pM9qK/kCM4QNZUzE7lQejoqBfj8DLO3XE+KikwnNbN3Xi1Tv/bEiDEr
pxUSy4XqTsTltKhQz1tE31GkNlrru6UjsTJ8lEUuVG04cpbju7wCJRiYRBUMF25Soim0chpCyiap
9bMvRuPP55qUGp3uFCmNJiK3z0+H1GBVUmswdkNzlhbpplGBCwhMqvRMN7oBJBHBuWGchljKE2CB
UgMkGZuHDpkGEp3NF8czbUw/XHsbQSlyYzTohtB/kspbITr5oaiIyWinQCNjqbMK6ScePBCQfqHy
cA0V7A37LFon4uhUA4o1YL3RQ1XfaeXO8F++OKLpDPx8RGykNEE8i/250WkEydDbmhznvbgOvGtU
N9ALzRCoH/TF04C+VezvJGBKwBn7LLv84uN/vkdtzaDradFmpdRmfQ4a1BIUDlJzxrnKTtGR7abH
+6uxyz6JSZk1fbXDWWTfxb16YffDtYdJyAI/bI/9Zdr2h7Di9gWT3/vBkofR9lwv6cslwJxw5w9q
eJ9Z6ZpJfNWFqLfMAbYK7soQprOGH7/FjVeBFIR0EMXdSQbVoKncPZ0OfO/Aw4gKkK08rxNxXabN
Bv3QYWgxKNTpocyS70mDz9tSwjVp0qzYosJ+Ub3q3K75aLwvftaT1OHflap2HbJ4zIzsYYii3djd
+VpwafQeosJspjvDHN/yjaUvbHLYCMc9ndJ0y/LYd+JYduKlrovHoknY056MankuPbqRYBzaPF7m
MHrQhuLIcsAItYSMsYj1Dl0cX5U88wnbgKUQ9jDBKmQYinqrNDkhGeU2SLAhe6E4KUsgUTn2+6I2
yf2w4UPr2k3nBx2eB8x4EVEw3lCQ2KSw5LUJ4grAdRDG0pyPLZ6xqrnMgXpa/SOiqK3Uill6YQ5Y
qv0vQ8F+rrNMgwXfBoOV3HMqLgzmd5O9LWOWUxrQLctAHipVEEhUc1Azwr/QQSHLgoxPH1/utL5d
0MH97vAE6px+U8ignDUW6He1tmEEi3RSAg7sZEiiKMGIuM1Vn7dskZX5kFc3WsmpKuAkHb3WCad6
0rmjAEtWrLUQEpPx2tCqYzN4837Ubp0YK2DU6FdxrF04WX1Rcy6BriHcaHQT71KI7Yy/EHi2oAxz
lpOKjnoUr2FekzVVJO62NMFlK87G8XHPJZ57VbVcKcOD9hkmZGoM/R3F1rmU3c7Q2Ekl1HobLdlb
unGaYnnWsnhegt4wwKN35nAS+u42jsP1qOgr8G2xb4MoRrjoaOlZSTvDrd0XpyKuygOoMMj2SSSC
RzPgh/yIi3vWDHW7KKxexaYcP4R6tVGAFaZyUSbxPs6geuc6W1BqwIMSr6QyHItQQoiFcBFaqT9n
0gLi6UCPjkK2qeUpIpPXxt1MC5GgoyxlAGvxAsBUoIivFJdNpG9v3bi/1GMxL12a1PbIXMZye2Ci
IDZ2MbYmTNt+hzTlJAvdC9HEGJk1tkch3UEZg2kRBn+zA/MBg8o69gVFyWq44bm3aHJ3HmrAZ1u+
cqNen6GKXheKuG8jrDBqFiI3HE4HAZ8cJcXeboq9Zfi0hJnK5soIxDjO53ahLPS6WIegeMLIuzd6
8EQkBL9Gjjz1MvcoBbE18C8ip7kLQvNH7f1vNXt+KdD70Mn55U/9O7Zyph79r1s5V8+5n9DHwQvh
p48fvCJM7X+q4xX6yt8MA6eGyUaQWOJ/Kfp+vMRSyGSDiGLpvT4eZ4hhGAJvhsrkQwGPCfsfij77
G0amaUuBIolOr2qKv9OxER8L5hYCOvZak76HQs90eJ9XIkWU81z1kkM1+ofGSa+iMTz48NhSGptC
Te7LOFmnqOfrVqxcQHwE4fgDlJOgwNVVDHScXfiQIhhIlNvq2I9LS0Kki60HGblwzZzgAAjKmm5U
gD0VHg5fJ0cr8k+iBJ5WS7FZK+FMlqYH/S1MIF6JbBbH0RrUvdbeupJyUU2y9kkQvYYFUTyQo6O2
Wyr6sNMhaUjq+b2RX1vphNUNYo0dbTB30GCXrbhSx+ya3Pl5GwFPFPDoUAPPA+4mW99Xyrnbr0Pv
Xg+rZZhp38OxuQzLK28so5PR6tcKj9W3MfL//a1CBeTXt8oulOHTYx1+aGpOHrw/HVIWpqapbk59
1MTVNPUuf1hIqKJ8wwBF35Jb4O3++afq1fwmVP6hoqazwcTk8c87RNE0mpq2RfnbpgLDDutvNTWt
j0tRbhE8KIatYW5Bk8n0/ml2LwwrrRzs9BdZkd+JUFnHev086MUcPn7lymVu22foiLq239jIaIZy
KRJ3V4vhXLGKa5InIxnfG3554cjr2s9pvoTKMuys06C9hvhfAztM+mXom5ej3l9Q77Q6k0g4A4s9
GdesveYE+G4DzbjKoJTG/bKmk2Wmhx7tumsX66LtFmlFnFXJe5UriXdjYtj4GAf4d1X13/mdUCte
+IHRDZvFu2t58WNN/t5Bpn3cPEznx+bE6JPE2OQaik+PEJ+Q2NrPRHyhy/w+JQJtZLmuYre/77V9
R9AG39PzxpOEtc1AyTPz1b2gJhY75U4loclOeUw0X/Uh33b0/9pBvB2WpSK14smLgxXh2cdFWeD0
0nfsEVzZuM+wqOtKv0k6JEbkg9vDbDoS1f1u+Dda30Ggdxedy8UbqwvLfFS171MSWYu1NrmRCpki
9bJJtK0tc1ACy5Zry7+gsSyK+jCa4jJCCOUO4Ij05MyQYpXa8sGqSPaJl/yqml8bwVOWZVjk2Upp
CsQWp6AeW79UcbUzBBERVY/bd6jFGWOhIjoonfbfrAs1pdmGQE0gT4TBgTomn4iJ8aQYxh3ZAHkh
l4powJlfDGTPj8ZzSIHH9Z+GkOA2E7DSAC14UgeBdMvt60a77m3O+Vj/T9LOtKmNLtnWv6giah6+
ohEhQMIWr82XCrn9UvM816+/T8o+t0H2gYh7u6MbIyRV1R5yZ65cuVLWixOhwkXRHuNSwC9po/45
p5nKYPnPkYM8WLvmL3aBsgFzFLXuQk2Qfg1Q7A1JUVRrE8KZNxoIQ586aWeDanCvoWGs7plzXqxD
9YupZLIODZIaLKVVnek7fPttZRXfFNh7FrqhshrYQXGVHlt6raJsIxuqzqpzXbQ/mr69T5CEq9Qe
Eer8W+4eoMA+txGPAd1S8/eyIfDCdrU/PHJXedecGrQQpMmZ1YJOe68fL3kiwHfh6a/Fpek2zAkK
yizIuO8XVzz1tValId21QkTaU3PfOmOwUivSamWCkHkSGdq2UYsfzRDBRKp/6qX6b0IoqYwxEtCD
iqDruml1SFwts+fHEjshgzro0VNkTegvInqmnZgwFU0JL6E13bAfvRNrOURSZI6DSz5oKtBYs6Pd
FJxdVExZbQy955xMne5IdvccFYQbjFOVIPehI3WBsTop6l4WAuVkxXSS+Q0VGmw/MxnxON4ShCGC
uqeL8HJU6LTHdHb260QbQHCfJW8322gnH2Z6baYWkH6GY0snUD4X5ujxbnNzzwbiTrIJRYTB0naF
jppqjgQ1X6HozUqp0/PMgzF3aqZcrMKMxoV87ei+OmS8dPaWbp0yqpyG9GTXZyXXAMly8NSzWDjk
9eyOmA9gqolhK6rTwkph3NLgB5I0BTnOmiVUoNsxea8svyg/6VnFfhyR7kNSYd/FxCg22gt7fq/J
CnUz7Y+sA6TRZx6FwedTqjq9uiN3I/fa5sdfFls2tVbfJXq56eb46LXIv6h7fTyVZklQUyKDhsRW
V9I7jn1XrVWar+Z6TheI5EcPKJAh4VCAOMqW6ViyoV0+26O16cpuxRkh8491+f1Ddp7Wl/fsxZpW
eV1NwSvfkbfKjzwxYiLpNW+Oi5kxaXT02eVMca34qJknquAWkUmBRiBWSE4T10NnG3nUyJadrQM4
6qGxC6E/WyVdJIP+zswgvyjmIc+fh8k/2jr0aCeQpTPqeU+xHsVeelw9q+ZpRuSXQVKUQn50o2N/
drRcH720/ObAJaa2AQvIqV/xiSaEG/A/k+7R1Yh/7HA3jOfOVm55GqgxmyoK9y43GBNJqgb6StTR
SQeeFJbgxzv+j0Pu+k7kEHwT4puJO5Zxk3ePFTqfecJK41r4thFqwfLPXCnvLOQASwSMM+OVaTRp
z6ERc5HJ3A0NS4VzPpg/VWe4tkSXG6Nu2wNHhHKjXsG2JFkTt2tR4I1ZjkyDReNP06DToa1HKyae
ZRBZiJEGssHnsqQTrjRp61eyItnDBfWBPYe0jGFYlLD53cUnYye38PYkvtyikHHIhoF4elcOQjJZ
YzxGWfcoh1jt6pg7fedj9qByU8h4sukjnLEx/dn95W7/r9Xtf9hpLq1LZQsFVRds+2ra9DSwJgfR
hsce/U55NDm22ddcuPWsY19XW9VAxJP2dWzUj59b/MKrx9ZZvyCIBGsU2EhK4s2S6Uu2lxPpLQxi
ZkIl9easpvh+ojGWxmFo01kntA4fX/M9AQW0Up73zTWvnjcrND0yG7N9nMjDFriLhhE9DJ6z9fyX
og8/oVnIt/35hKiWUH5AlGrJ2nzzhJqfOHoacjWc052d0N1Wl6KC4VHXD5xCLqP68eNpcq5+dMWr
pVS6cJsDxWofS3RqwbJXPY0Na9IIIWlylnpKKiBvC3osxd/E8s7FomnqT1bVXycWjiVouUncfAkY
3jx23fnWBIu/faxgY0TYH4tzEEWZpRwy5qmo8jsHMaqPH936yy7iipS0wP8Eqb+O1N08yGfqy9tH
sqf7Kp6/etRM+85XHrO0T6WyGyYUP1NkTtnf2ZGOoD57ir+y78UH4EjuSOf0JPv4J2e0a2k0BaBI
vJ0WuMHyMLado4zi3nmds5HiaLvcT9qr7tO414Iehk65pzgoQPpbAz3fLDurdHBz/WJDHe4djy4H
CZcb6DXNqS0HMOfyx+NwlVr87XoZNlGi41AO6V0ZPKWlWILILz5MYYtYLqbXPOC+cJwNiDo7eISF
SUvPOaeYZ1wEHJ8TbFBObpN233bffsL5gmV7tSaJfygtgO5KoHlJ6rzfBUVQD6VrKfTFwV3Xe+9o
++0mHSCqk46X6uX8WDF6EtDVOEgx/LTJeJzT58KhsYYlw6SM9sadqlUY0XqMpvXKi178mBNTDmkx
4Pmpm72VPBt/LarmZLkJ8pFMYXxMaTohHoX4hCwEJrxpHNFW9fCLAnoXWuNXf9hHuFDIWCM1RxMv
pOFzBz3G0G4TMqI9RUvcBJs3sMis/I5yOoMWB+2aWS4tdPcpTh/QBbXb+k4OOe66y4iBeU4ikh61
fTkGJbs8GNE+78DgnR5149bub2dKka3JFqfKCtivvwKqJqaPY2WXd6qoX2sVrTdPmrtNXUQX4nvs
B45ZxIIiZXLTBxRmEPJ6r5AENg6bvfIRMkxvNY4UnC+XrqESfWBQLepBxfGR8ZZHYCuueEdUEr1Q
CsaNUgHEKHEMTLS2RQZ0ZRKp9dSCsnR7cF8eiRtgxVR0UMWhmnOC/IHmbSXyoX1OcQSxowRdOuSx
TiX56bcUcjD7PcFW6zkbxWX27UPY1Bu4QZSGH/OsuwlcavYorlROaUzdqvFqjHvxUCWoQvoIlTeK
fLSBzpoOneQ9ehrGu7FotsVwmAHBGI7cpDENob54XZ5/p4HJj0ZGRc55iD2ZLEZ41v3LN8oYtKPI
sDVbUGlW6E3XnlXgYgcnUIJun6DK5S9EDuLk9qIuEBSrgtn2WQuEGwyTFWu7KIU7QEs85hzHhhGx
rH2NNrpT6st6fGHt8BerPnfzoWBpMAmFt7XQW2w8OlNFaOZX60ifv8AnOeoF1lqczTQ7IxyxsvKY
RmH1PW/RLHfleywgOogGHnKF1nNT73O6mkj8HvVn3vOxMbki513OS41jgjwfDQE1/eL2vTHlVNuk
gV613WOJrqdRuFsJjjsHRYZzGp3F7S8LjmrWDg85swWQVuJcJQjGV5dwRFYZ9WwCYBRjed8UR9Wm
cXWhLj++0ytG46+TXVchcxqOqQvo9d7K+M7oJFPDyacSVFBmKBmERZ7RM4ewx2v2DdQ61q9V7iWK
krhI4iPNtz5hUvzt8Ht7H1doWE6JeE4etH1MJ4IAgrfLjJkvMhBsqWxGUVD9DMx5z9744+Ev3KE3
09RQRxhFNq6U2T4j1FdGLom9fRawikAukCZ0jByNfcAAZoxVglMZ+/sR9ZWPZ+Eyytf+h47UDZRq
ym8B5t/PQuyR6HXTqX2s63AlHnamIAf3qoSPYth4/h6Sa4SGg9a+Js2zFd0q9kugzEv2BM42E0Rs
7Vr7LCWAx7a7NKAhC4uFEweGsByA5+NbJh/wp8v09pavJqz3bQ8KKX5Dq7+O3F1tRQ/1HK7i8cCu
HakestBSknVfa81qJmJHOYJ2GLSZIIUpRrVt78Xa268ZSy6K0DiFXCb3LK/iWfj+CzD7wgWlEGSH
8e+MYeGSAg7oDtiFFNn36a6dDzCAEYI8NHSSnItzb9G3YjpMKko65os4FVC8aQeifeKlXqkW/M/q
+b+T5lx5DJS2k56Ab/M44dJ4tImzVHcFPHgX0HJTIlfuMEbRhny0BMcq6Y2P5+CKTfD7DhBBsjSL
ZJB2fQcufAU9VVk2qQnvCKyHlYK1Zi1ISCQWm5XBnQSs2IGUn4ViPcM4wcgw6Ylp6J/d0NWGoj5C
tXBWLOIxIFuYH+/XcYW00aAbg/80Bme7ag9V4C3kOI8AsL0GlJQoEgHynaxogkN+gLoBey4+D62v
DAq3IjELRQoibUEaQNbvm71t+r6m91FYPeHo2Oh1t7CGSZYvIjaE+K0Ge8QsP9sW+hVFHgoW1zXg
5Aq2T72UenVdT2hY1BGUT3HJ6aSgxOmG+8qt77QiOw5xcmyy6lvodSeBW9RGZSaQQ43hZcxAq4Xm
+eidx9/yVPspPo5R+ke4cHJOOBOQRIsQkE4tgJzKpRMecVHlRxtQwYzVJOWEwiyHMZ6GmxMYdnho
OhBtxQT4uY0c1fq3nyRhHL8BzNKrxguhOsftv1ymw7/7fTU5iaKw3AqEmCOosjFrahORR4/T5OjP
eGDVeqQRzWUuiQ+GBmFtNnDb4B1rrw2S8S2zL3BF1Wlf8L063XkYY9gFuA1B026BmWRxxirAAdY3
bnX6sUknLqRogUCgbQNJdfe5ChiZnM1w7dEkPeJM0P3Db6idZ+jxUuAJL9J2fmRNRcgjseEi19g3
g/3kO+XBCjjZuENueCa/0ToHKAZfJJwKgcWqCccPx6MB2JbXxJuxiFlKWsS0YUfHv728TTDvUEaT
TAtalesoLpb8SbyIpjOexIPKc2+LANBNRCNywRMHPpLiUhUW7RNoM8fpEdD+0glWQ63QW61+NNzx
a+q3t1o23k54ApDFaSH2VLUO/TXgruFcMkjxXCH/jJQqBAnfRJcaIBZVz9HT94kFdo3+KC81SGTc
aGQhZtZV7nKQ4+ToIboC/M65IPgcrlwMCuxU5X2rmg9DHK3E3RcHhABom1bVswQEehTvQofuoH7w
Ktg9fLYXCeNYGYUaPDDoalH8AzIpMCFiABCKfefIv23bv+tG+4IDhUN4VNpCMNyysyQYEM9Z9Qoh
5mv7vKy33A4VqXu98sTN4GsFEuZHQ8MKx3Ug5Gs0caCR0jSbD7LcFFXkw4pndWhJ2oKohnSXwsYh
Fwb7D5yWf7eZKuAsJKHzZJjNMk8zpBl4KmYrqyD/DFawT8bLF35skq90LWT7myaVkNhm9HTIFV5t
/2Jg6Sb4hk8t6Yw6o22K6lAXZ9FzaPgaEFZSdyeZK6ddjyriyLH+pJDtlr2tBeVdx6dk8Us4zYKH
jbOy3NeP7/EvJkru0RXVDairxLzvTWNtzyrldAYrdjrj2JkBhMuq+BY2w22MOFvBbiips0SDwvj3
stDSB0vunLCAOWJCLzvB6I2bhsZVBHLMl9LsQ7O5z0io+0hAQNEne0BIJdUT9CvrTwbbujAPGe2L
lKilKDlG/0XyCqwAXJhMI/MDfCYBzcePeymFeONcMSVS802BHu6VruLrvn/cqlAsJeyz4snwKGSe
AXSc6qc+lkvJzPVQvVDxIqqnaWEGDdLR2ns5NctYTqlibgeUz42dZAACU1l2g/VQeYB++gsmRrZk
YpkXo6FMavcA8ffOpEfr5+fZtbvBY3CMcaaCWHsi13KFirVJPJDgMdonby6WZUt/HsY4pnvbEOff
ZddIgkKSLrbVnWzId0TnH4/ktb8ht2DB+UYGxaa8F3nP9yMZG05TV3ZfPo0jeUkbvIhuakpa00sS
EIK+WNqrjaFl0onnJJJrTHZ+M94SDd9eAuiw/iTUEg7MW+iOexJuKUKQsMEtJvlqMQ9eb6ZxDz+S
4DHNbJpu+oTiRf0Mz3MpkA1AP41GarrN+eg1sdrgQn/LmvqOG6ambsVgr5BBPjot/ZZ82MBNTVc7
EmK9pGrEDo1JgKA3p5Lmrdyseg7oxVxAsgaot58U+ih8MszATe8fSvBWokedBCB8HJ0Cr/cDrea0
TdGasn7UzeJO89IfhsGuE+uocKAQsrZW+J2GCQ+IANIQnbRQbQ20pEmSRVl3d0M3cq4UzU3U2THU
tWlEIUdDtg2mdBEftAq1OiJray/JIAwq7JVYbLeHieTHMFsbvKY2glHJzzIPd7z62y9wLeii8isZ
Jm5IkhP8FnMU8lavjr7xoj0rNYfc8Jgp80Epv7AasBJVV0u6iW5CMvTUe6xzMCYimjxr75iUlE58
zlZP2n8v77K3/ODQ4r0D/IMuKDa/c1dysUtixK+2mFRaepSTFOGeBGqyJFFjlHd8+LeHI2/nS8TP
4EXCXSDHOX8R65OKEYJ1xKDqxUl+iBMldxegZZO6m8mgxCipDiguAFIkI5EieRpqwsLBXbVAwBSS
Uv3nTDRJGS7uTDSfPZvmnuLOmF31QiO9KrA3AijDp9t0Ywgc0p+KztoNKcmdNkflA3UnoNIRFY45
P9pdCgly+Ba2ypFUKlmOF/1eqwMajwh+Ai4p8GTPFpy918jgZOdygrSQN8It6mKO66nSH5VS/VrE
eBoercZawDG1Ysj5I0fTlmf0ovGF/izFSo3yH4qKSISafBu7CKQu8GiKrO0YLmKc75VpbdKOIiPG
xfXvdD1/9ssGOeiTjSPU0dKSN4beRMMRoizelfTNT/46gMtIZrAFjJOAzsuw/d1DqWZfrRD4r6t+
jOQCZSXonC1zYh+79MKE8FAaFfc1h+LC95WR9mUAZOYy4kDY/PDgNtRu6cp6LSKaA4Vp8bOs4h/U
R98SxDcWHMyuhTSAtxRRYEvZktt/kd/GVqtoljD8q7X1xs4eakvfdu0pojt3Sxq0NKq7sqKdQuNt
+6b5Z6B7kTi5RXWSqFXSnb26FlRSIjqmgLvipMAViTVyUPZL6qLwBhLVxGB74E7Und1VkX9jGABg
/ktU3XpBuOpw27lGczBVTU7C3k+fs9hfOy7NjmPSqp631aWunLLqfnCWim8fpcwzwDtQZ31pm5R3
wZ7vg37PTraccO1W01evfjF5NU8ealf4O1RJIumVKNC+KdnKVfUGTVFKFYEZ0Gkt5/muJlRM3Agp
TtRd5/i1HTYWHJ/UtdejNdLC1fhaww0YjX8qAzQXvcdW2yLK9r2J2/t0RsQMsD5LM9F2eU6ohNZL
Wrr51k4rXvogW6kmfUkdKLy00dWoU6SokKludj58vcnrVyTZEIijVw9dhEbfvq3xQtvOgnmxpZrk
pkXrrQXrS3El6Yo5Uf8tmJSkEQRwBBQq+/qu87/IKxH0hzhz1gGxg2C8CZ2AY4SmOarlnyP5UqaK
rcbH2FotMWibX8AlsQ5OMz76ufRRCFdAwjTwGr1vVoM0anZk13EajCTZAKjuXVZNbT84w73iljez
Jy2T2AVU9kRTcxOUlIkPB7f8bhWU3vQl7lRx1xGk8BUCVMTS9sxf2H7503SwEOHKTDT0WJ51667W
aaVazvtoJjQM+pVX0WgV37xhD44/xY2GlRG6NOmCWDhUhwnRYF+A6+673j7rYI2xIrlj91Fsv6yi
DH3R0S23IKOCJrHWxNk3aUzcJgPBAIMJBbJtd5c0Ls/RsqPN+NxCFxJ8msEDpNGKk1CE8A0TgeTw
8+ipsuBpLv4dNxAl3pNO7MF7hVyg6+V2oNmeBcWcHPy6Z3Ao61rUsX/DesVfxPcTBBSaM80waX4a
yK0Rt+a0AEq8ksYI6zpJX8j4sMnmzL9pO7JDlBJdQCKwOK1UXylmWMgDOsoDWQqQLvGtgYgVblBI
YnI+CRiCusK+dw6yRZmErA92gkc7DlbEIWCdaXXWARrz4MoLczJq4OqCree4gVBkYpsQr1kGg4eh
Kx+k7/bvYwWyl4nnYRpAh1gGPlfROZAkgPkydwCJ0FIkJJbVqdXJfY8smd/w4Bga4sWiIAcGJiZO
tYXV1axgFQXTy+D8GxknXCx49u7Cp0mjRK+yfLzXQnvKJuc2jvtbE5AWGapl2LxWA3oJhn7hpohN
1LOlCy6m0ZGY1nXpaKK4tBeuCmmKmIPAihDzxckFJ7ScdoXjjLek3CStvWmL9BjOzTZN/K1cQWg/
bJiKOmrfMCluOxDHokIiiDaTKHwNbKCE2JFCqb8PMUur1noCCOnsZV5bWnKWsHY96HCSXjSNFwEG
1YQqdQOySJ/QEgyrmc+wWIq9wInifTnFUr4Qk2qHDFWEs2DThxvk3OfNdlxtdBaOzVMGcl1gW2Uw
xa1xfG/BhpVEj9HesC64S5UOxO68V+k5XZB/YWvJchsCkjaoOrka/MmZdsDzoa2QqfOnnZCK+O6d
U9AKsMHSDNNCgnfXO5QTjJq+flZMgzJD/46bVTva85o0xqbdo5wYAnBI6rOygidhOLGJWu8lxvBL
xCFQKIZIEl8RFBToVwkNvoUnQZYXtWXAUp7KSF95BDmLcvhKao1QHd4oC86NTxqMQP7Fw3a1y8DR
QlzTH4WFaPUZBxTeIndABedqLi7Ju3ovV1NYSUEAIMfhJowpuVzbUqoGqD8N7a18kMGyYsAcix69
qC7LkpaQTnag3FWeEAkBqLljsTbIWrnjN5l6VsBMoZJEugAsAx9iyfBizS3zo0dYXGC3KKkWY/tC
V9NEae8o9BYMSR6RrSucNPGThM+H84MvtqevJWGMBG0tmSsiYtk4Hn2+kp7WlNh/38akk6PlGQL3
VRwjcei4YOfSu4TkZLAmJy17VQ7TxIMSEmOTy5nO4/AzL4cBuBQaqRvdPgjLJTEv7BG5ma73Nup0
GIN85dGeMHZWKICvOi7fFSS525Mc80YV72b8A3r2LSQYkN1eEOUaRXkn8zU4ZMYzF+6Avo/SGZIY
qU2tWBjUOXJ9HfZeQBfkcmIJYwCIM/SO1W6f5KlzaDQNXUOLOtyFrbUWjEkuKtBTH194ZuTHBe8X
aFXwcTVg5BsfAIwFGECOZHcKUibLOBl8yHmoxGniVWsWwne/0gv8JgUfrCbio6ywaMU40+sSwAqD
LvswCOHswdfj9I0v64lNJYM9++ZGSh3HGrbe8MIXCNoPB0XQC7HBHDo96w4rg/FCNYTiTUhOcEOn
Atqyc1D8F9xW9NkoCJWb6jQiRZgDmIgKPN+ObklTaroua6jBh7USFi8jLKQ1vlE3v5GSzp3gOMb3
Jt39IiwzTnAIjiExuHBkxPQKqKiRD2axzYTKsMxcVMnbX2eRHPEzJlFz+0fOnzGiatc8DSFqlhS8
GS9ch/uXFclG59lWaXgrR1K374H42S6cyGLMJzQnZSlzETG/cAklLpbVLFD8qBsbmYzSpiBLfBVv
3+jWOnK+9JxftnaQBFsrx1l2ln1RDniT7bwQZlOncTCh/SfXc2dQVRL/si9D9icJ3/gXmAKMIuEL
NylIpTiq3HmDs++CEtTGKAgbBoUPiH3moKtRNkiC4quScLhKmpujhDmgJAnCYCcYqtgMsQlqEO9K
PFO2mhLFD50zX/i7PIPwdC/8Dtt4lc0ZD3TejLkv2AUTZ403JQ+RWf9gt4ACiM2VrUs0txBwF8XD
VR3GUAnZylTXYjMEpIeiy79wiFiOXkezL4ZGcnGylECk9AYEhL5LOVlBn5y4GA2+mFvnokYYPBrz
uBQzx9MWCRMLqVDfSwjEW8QBubwTfsOvGWJpye6T8E92jjw6z5kqJ8nM2hyO5WA8xCHcRpgfMk7d
eLTqdoVK39qkjaYdzntjyiWmAiCUH3F7GM2aLrySmgOil62BWcZREH9E5smdn0pYclDH0umFzc4R
gEfTTO629woBl735lLNV2GczYUYdG7sZ5JAzXOvrrUUjof9JC8o5YhvCpNSscN9pmILJfpITU1ze
qad9LqtQaKjCJ/LYGDk0gbyLHxK9XrvzSd7OxpUIkhEXU6VVJfSO/WBXdxZWU4ZA8K/Z/kVE7KPs
BzN/2absK7OznxhChzMBcy0TjFVlcbFuZ4gn7DVWJK9xh8IJEHpq3cxIBFwODfxKPmxz8QaEfFHY
6pKpd+g8ZTrVpm+O8iS8Qzi/Qhjgn1gKzyKfT++BKUYVCNc2WUsSkGyHMLUq+CFDjbyn6R8aUpJ9
7dDeXc7z2pp2ZjI8jiZes2wghy/3W0htYhjyktxKnv8jp+hkK/fijkD1l23jcJjKVDIVSenf1ZW+
C6kdXFI3awoNQUYs0eelEsK5bZSlhlUfrGwp9FFcXeoz6AII8IvUjZZVL62v0OMADE0pv2E/uH2W
ogT2Xk4Px0swKba6UvQdqjhygTnpbiM65zgDLcRpCyDRhPAcxCPRu+KnZnW0lB7OaUDjvvKM2UXj
eymOtdiaWDnhTrIHJI8umY2xuRXblGkR8ICOnIJ9CVnZpJKwkY+0RFWzpYjP2c/5M7witX11M2eD
ZU5aZd33uMdtVRmynHO1vpONwa0jF0mWqqJnaeIu4zT/btLaThuQxFEzonB02h4K11ko1Rmo91au
JiF0OD8GhfHExYq03PTURPBPLTJoaMKqqU9yY84Bgs7KxliLO/eLA+2Fe3QuEGW2blLllYNcPBSJ
/Hov/CHDJv0ysqb/klenbsRBn02AA64YpXtY2c2U/LjUiVTrKuHgnTH4XFg2jAPVlr3Kd3RVuOvb
RqKQJrktsDuXCzgHM6gkKIzggPn4WsQS/JbP5TZzyh8ydpFhfzNa4yc6ql+FQmDn1Y8WnjFvk1Eh
HvEtiOJERQyqO3AZEBP5Rk53QvbLMZHBWOclOfvaRLnLO/vBoJOFpD6EqwP5564xJY6kGQpnkO7p
0OLRW3N7/k/wDPw/+YHZRDDj1nEsuqjL6KppuJMv8V8SIyGHQ5mP50Q3jhZ9lig3/sjF2qhn2/AL
qXh35L/v4czCaAme7LD4QiUcNAA4ClWGlHL1Ukz1hQPA/U2cXDYOndaGtO7LjqaVksk0T00876GX
WUrfbnLogLwkCUyHlSh5qs764k22IJH55Gz5Y29Ya0Ob7+PGQ8EFxFdnFhXpA4PXn/HYuge9kViP
INHHFcvG6KHFYfezeCUxjUBsalhvKG7SO+Khcd3TK0fCoNFVn/iVgnOZZ8VMCPD2andAuO2SEJGq
EfkD+0I809kHU+XBhMQ1U5DQvnbFfWXNu4HCHjQ5bswGFxbza9EdOwwWDenC2aD1dN6uOudgVOTq
OJF8K99ICj1xlGXf5990VTkEcNHwxjif5YjIUvKLIykJc8+xFeJWxAIAhVIzAZCGLpBADVJLQHkO
6EFR3Gh4mHPWUePV7ZCUF5eBO68LexPTaM8RLBFLbWP7sBmytIb4KBGTl7MKVfKJnKYkDrEy8kdD
o+IaC2xNXwrDv59M/8FBD6pPyMzhWA9LvbQu79BZ9Ep4S7ej+88gc2HIvE/ykNMS7gGIOZIT1zmt
IE/1VAtS88kArOksuKolqhL1wfL7ExGbmQD18T/wis5on+PqVk1oLj8T+e+lLKpQCSvI2Uo4If4O
irbIAN9yLGK9bbv4JmDIhG6D+Io9BSxqDeiD5WtztDzz+p5D3yO2Elj6dwbTgb9KsUbadKeuap69
uRQo84Jds7yF52d2zSEHrhe6lXh4FGKVcstEUzqdOrvku0TJPIg/nyPV3WjhDw3OoLA++abO6m7F
wRfPdQRo0YHh2OTC2wpZUvJUAlOooI4GrmDpaEsJwDhcY5PIw6vWQjRC0AB5GvztQFkQSQgbDk4g
p5FQH2c1Xc/mF8vfWtnaz2kGFR6ZcwnpMRdSaXOBzJtzgbCYxD4gs2KYkSu81H/hNYNJDfjTl/I4
6pVkEfJ42hRKMpd8hEFvx+E1LCvh98gI4jN5Nv1HAUSatH4Wt5VwG1ShXSl4wwWgcWOaD4GSHucU
mPpXVleKRSSDLma1ytc+XYJuSLGqlNrxvZFDl0vqan58suqEzvLHoiMpRrqG0mndusqH1XOUoIlq
Gk8yT3D7Mm6a8Q11e00/KuRJaUVFJNijEnGJoMdvzvCJcb3SjP6fhLMO/Y/Us4PA9XvbSiFr2/bZ
aDyFUwVIDFSCm+EdhFIg2LtUErFYSsSqmRwlcR+0skCnzup+EjyQtTCl1y4a0HgLvz1rNveI2vmc
0+aKrFE2NncVJWcVESG4HgcpVSsrTtvMmulXdKnTkXhDaA+MtYPMwc0FXfFfOOTFnPYE53K88teP
J8C62vW0s/Qow+RkIeXuSLX5+4cfI2ieczJNj33R3aNJutLUeabtuL8u/eEr/UsBNjZdh9CfHlIM
GAXWY1QZ/xkB77PmNJnjP2F/rnx7ha7bmsdvIzrRR2O3MSHFQlOj7zWArUnlzyHJflou1Ga83DBV
RbdlpVPi4cDqSDXyUIi6+6UnkBiM1SkBg06m5Zjpy3T071N3ggqiwFw5W1KUSMMYvH/PhPAD5YI/
OsiOKGAxcApWOvprke1/UvRky2J8s1gpk5GSEXqPwBMzSC1eLVbTm/0ss/T6keKVDS3btKUWItgV
Uqs5TOkNh0JAxiqqthwryaztepoyEwTgf4F4/+RFzlixL5jEYC073GySagty2uX9WfUPiY1pqgK0
1aVgFTp1O/f/NpAaF3FV+svIRIhQqUGlHdTRFGjRVL7+p60Lfylk60Q110KE4Io10q9QBZSjRHuV
gzYGDkqwagIaKqQZyBF3IeuuMbahFgl+pHJQyzbHbYrI1YOXr/oR7q/3WeHPlQSfpJghyVJ3w5KD
U4D64vsFF9HUyzMyzX7kTOgWpG4IFbseu09twk2fhqRX2KY3FeWzcUbhlGY95ThwVm28qo5KC2+O
HPah42UJ+u4BPlsP6aJWEyqvm//Axk2A1cGPsLASQnRm+rON1C9KXL0qoJdmk8ULp2njddcTdNSw
ftz0KDaw53y5Cfx277j5qsyQaGRAMhsjyQ/Vn1GmVO5iOOuCJol/P9IhZ1T0mxKHEpvF23SrOs96
+omB0mUPvlt3skcNyqVEXULU0t4PWZOBsXpKPwm0wmJqaxs1wHvV34cGUinzC2fBIiovYDITa8B9
l5LOMT+W43osYnJY6dJJJ9kwdenRaiKJKElUDrgkH1uTKy/1lzGh/Y2B+oXF1F3NLW3x8IM7lfp6
p8Pf9rZSbp7TwqCqNpZZLkI7/tlV/idVP9pfbZhIKVPLZQpn6P34ILBcePHgT48cIFMU7njsZvpe
z9320u/CJ2qFRE687dNHA0dSdmKZfR90ZamgVPXxGPwvdwO/w+U/5q+qlDe0ySKiHMVwKURnt0ce
QKO3Z1ZwwI3G34QwjlX7UPTGshnLhQ3aRz86H4eXzrKrAkjuk7u54pP+mhLrv3dzNTZh3U+NOnnT
Y4rWMnlGFoG28CplOyrNHTflO6dWJJgkG2W/Gv7exZFu1WdW88d38ufGl1X83zu5FvrL/Fqzld5i
llQ6Avp7rkV/aSrrgelxjOfiHsPIi6BGXN9UVbFSDsGoMRrLyidFUx35mDXRA1IN6UW1B4Kj48SC
voOLiYYJNJ9twnsjpck5GhDynfJSXjjbEN8Uv4l5r3OUSDk04tFf13xWH+WSBelQdIYWHND0IZI6
5NohPu6JtLq105+L8lbzwk8WivHXbf1mQK6Ok1iLGhUNo19TE6quUDkbOhC13pm9a+RnCMtL1rID
ikzc2VGwrtjTrZmfk+xMtNBoJ3Z0KnL+qOlzDDrZfU3QYjB0LibB15A0Tk9pGXH+9NsEuW8oVzou
/GdzeyURilGXuaXaCjo74mzetc7WXCToi8dAEDU6fVEDtFMdyyz/V7GHlbQTLkqCn2ej6VetjoQi
tmpm2tFeXchPplICpkvVAMXNpCfpbXUjdczFPREf02aKEkT+XE7uhlbsyDEo7eHj5XldR/zrEd44
QlezYY++qZDcnx4xHejTLlT4FDFPIZmuut/OtGCSgWW1SK7AVFEuzY6TRl+T5Jae9RK+DX75WXGJ
XPUP0//mroTm9MaY4GnOXlVruGcs+cuStvYybHoLSJ+jCdb3VGqdIT4uuZ2Ph+SPWdVVjyOVlkjQ
sW3431eggz3WeWHRavegZ0Ch4bygLMoqZkC3ho4GkZFukjI4Vl66H1xl607ELdToS1FFNAWPMRJ1
JYJbUdttWNl62G29IFmp/nBvxpg/2370wiNTzHfU9LbysuYYmtFtbFefjeL7nSYtGz1NtSFrIhTD
yXRx7N6MYmbFbWiY6fyUm8ZOMFwUwr5KrkG36ztAYzaEU9WSlv2FCVBKQz/W/pMNfwkk/juZf97G
1WSGju/CAI3np4TcYWQGK1lcEvoL3VpoOURuets8x3r/VaroRbuExd8Kut/s1cjcJVqhryp+b3yg
Q+COj2f8/WHx6wY1VSMSIBazLU/+/maclFAjaKQl3NOAFQTxlEp0EPf/v4vIaf7mIiEw1pCM5fwU
UnOPIyzQmuZ/Zl3/NuVoFVt4myrN3C9Fu2+ukvRwpOlnNj/RSkHyOEIx/394jjdXuDIYBgTDOIqU
SZB/UCPOF5zAjy8hG+x6wbx9iKsF4xu9V8VaOD8J3+YXt5umjOoe9O2ThxE65EdXunIx69DONTvl
SjgtNawroSoCBZIQFgbKpw/214X2Zuxk9t7Mjts1U0NCYHpCZmglGSMivsR++Xj0NAncP3qoq+Xc
q8i4TBVXMUhLSlCQg+dJTTpPxnAykKB2Ddjkx9f966zR1hx5Z4tCHufK5SJnm8Z65k2UTdCYsa7u
pdqChmyLoIz+kdX+8eX+ala0/17vWh+4S0s7zTR3euqblZOh7Dj+x8pr6EzOqqRMgoeVcknBmYSd
KtCTJJDImHXUzwQRUlC2vpOisA7YTnCIj+/v79NAByTQRQJn+1plIrd8VWtVrAptniOYc+QHz7m7
CM+WhFa88vH1/rqU31zuatbzgaw7HdTnp7akuZEkvgYyLLAHyAp8dq2/ruM317qyZQSv4RCrObZM
re4k6ylBeMx0f/xIn13m6iDOckXJDRonPslhAetOss2fOnGfXeSKMd3WvjJXFRcJ/g9p57kcN5Yt
6ydCBLz5S+8kkSVRUusPQuoZFoBCwfunv1+CmttkiVE8Z07ExKjpagPbrL1MrkxI9rbNv5uxP/Xb
y//iTWjposeDgMb0D3JtuT2gQxUyYbFZnXH6VEFEXvD4IK/jwd/X2ItB7NfWZR4gE/JdBmnz/hem
uc2yB7JKe+pBxwd6c8peDHRoxvx531cuU4ZwOyw4uD9U2Ikejo/y5oYOA3HEQ2oF9+Tr1yl2KNfN
NRcmoFk2NKdIVE7rhgZ6eXyst9/on7EONgE6mDsCMsYihSnwgLe2dRwf4+3l+c8Y4SExTlEWy36f
MkYLpRjel8Bdmjifgsnxkd60xPDaMHHorEVrk8CLa6bZms3i7Zr1ViNxYg3GlXAQ5WQo1jo+1pur
9GKsgxsUJs5uXyftOhZ16LWAQghqlM6FT1fru1foe+92sPeWgRylYTGLpePcybgLXkFPglL8vOvx
l3tzyV68nLbNi4kcQ5QlnaTGzkGlLcSbb9OZl1xMKPMcH+nNDfhiJD3Ji5G203637EqWTEdqgK4E
z7cF8vm/H4X8LUkE2FxRxTtYrGBstyBRBkYhU2B34MQBaCLT8o61e8sJfTnMwRpVQ4saa9uh+Wl7
d+Ici6rdO0GanIlDH+flEAcr48Ar1JsVQ0C2agpzTl6cegGMES0SpI1uwP/b1B0sUNyH03Y39ssG
qIBbGBv5EjQYbY6P8t7Mafe/2Ab+6GZN17NAAy0k1vgopN7xEd7a0i8n7sDSJYhk+HC4LxvPfXJ2
7qdp/Fe1u/HH4p0FeuucvhjnD+8MSR3TaLELNt1+IeJRgoiByFNZp0jeYx17czTUm03JtlDYOQhK
ssWLo8Ty5g2wP3gEZgsMN20uuNfv9rK9dVLBI/z/oezXSxRt69xofHveKHodoDehhAAW6vgq2fqU
w/3tIH/gBxzUgJLB61EgdrN3e4KgjW/bZ/5cXtbJljYs64xuI7FtlvRE4MvLAGL1BFoMKQ8J5VcC
lx4d78s+2p2UufkJb2Pq7BsoX4SpOv6Yb21XaOaheSMDhmNzcCgKRG7gZJ+XTbCNNngcoZG9p0yh
lftjIl4McbBfO7rvZ6ue2EfxfcOrcfUbkEFhHn8jq+R2MgUisDj+cm8t9MuXO4hnoKmZFi42zqJX
oY5r3/W19/RfXTH/jGIdegVpVkyeHzJK6eYfa6O+5S4DkfruvXl8qch2vN5Qc7sPZys2sV+gItk5
AqX+X+bLOvQ6PJOsP7zwy6ZJfiIL8gFWkRwCyOODvOVuvJyug6ulNJx9Q9pu2RgAQ7rl+9oN4NxV
yV+++wQM4fhobxlLWn9Bh8DIEMAG8XrStr41V1SoVudGc9aQsz1FD/n4KG9Gii+HOTApbjzO7aS1
wcd12/9cZun+bkzPQHYvn8vz4yO+ubVfvNeBdckyow8ROcSvGaEF/R/dl2/utxdDHCwUn2/Hu5gh
6u0HYeS9uX2H6OzNEdAQhe3PhKX7ULOGPr06zWYXZwZUDcoS5yUUfP/FPL0YQvP44jpuFz9u+h7E
rdDVuOzhZIvR6/ggb27pF4McGFEjDMZ0jwlYsSCce6U/p/4OQ6/e+S3tosfHe3Pxoci2yXGHJrpP
r1+qioOknqetqQQei0866N38wNuv9M8QBxu6Dme4VTyGYEPz4YNxyv/wz4gR/yvHDI1bkPwBkU50
6Gjsg8zPyyBbX4esMa/zbozz1k57OcTB67R55badmZobGMhatNsmvOfja3LQo/8cu78c4uC4xKHf
0eXJEFEpfxbwE5GuskWgShr6bmHo0DF9d6UOOA7+MzC8E0Taojo48DiROgnTxWlMxGm6+8V6UrfH
ti8vxwwUxJOAXmt7FsBYtssW0DNtykqe7bbJdWxvkbf8wZSrqVVIrd+tA7twdx06f5OrsUQsGl81
MOupd+P4rL0VBLjmP89+4BtM27SL2642N0s0XIPMU7mbA7QmpMr5TvwBAYC244O+uRlAJERwbQeI
6R1MWDxH8eQ1k7np9tmHrnU+EFUfH+GtW8d9McLBa/XlvG+ynBGyMjovAHaY4bVfN1fv+gRvWYKX
Ax14OLtmv9uF1mhu0M78RAMEsrybdx2cd+brEGaW9xGQnoy3IXBSyNmZ710EBxXl33sYDlJTxRsX
UqPXFs1pxg6aooUlgT5GVCnzZN1gC0T+aIzxA//Zk39eqQ3n+3KsrsQfYCfz3Ry7/Haoln42a1EC
qDWecsu/hF0KjkJ1u6gNDfSiD/JFbRHMjzCTrEVe5T/EV7Pz9+/s6wPky+8XciFXRffW5n8HV0IP
dNlp/Y45o1shqs0b4TEZGfpTE+TNAEqVJ1Z1ZO2Uo1wBoJTvaH79GDTa7ppcDIBZtH4pN/uXs0/D
ifPecx5gPv7znCGG15Xuu39gGAurse0SKqoNqjBSHiAEYKoMHrivbvfeiW3fhlTn1TEsy9AgTtFH
Of0NhGY0Ch4/Nm9sNBvMC/wmjsmjHGLFqaibpVvP80YtQWS9hcU/PsIb5+XVCAf7rKu2dWoMy7xR
UYVNRS3hvzmTthOBeXeIZAGMHbhm45BasTuOM14NSHByJ+zOHI6t42+yXvIHYdWrYQ6s2FLF6AAl
DKNqV/N9B4GOvI25eFwWCkWYc7CfajrE6uurPrNOc/+HWhzFeaWWMrVCpvtrJ4BcakWBswF35GHU
wqiuZEo3cNAnN/YwPSkHbaT99fG3eGs9ACUGULXB2OY5B+sR9Ltu9AZeQieSzK06gXU3HR/ljdwC
XEcKQaVISCX9tXVpOnD5XJPzRvcKAb/Oos4arWRqYD4+mL0KCR6uDAUj0OgO17F9SC3ptX7lZFU+
bxrH+OA3nsiE0jFEMMW7HN3mhyB4LArRFUjH362y866Di8N+SqBjO/H8CVgVhkMVf3VvoeXL7O+8
S7vI7hQw8Yl5Szs593YOimapP3TwtFGP2KGN1HsfWXo372t1THUURF2Q2Hn0kNCDTXoFO7lv1N5k
n5kZxT0eR43bHbj9CrLF/T5KTzD1KtdkX90MBUG1bnTJx6mH43GHFF2PIoF6xvgkmtQmulzVCwDA
Xr6Hei/1pW9YKsr2FmwyYKGa7pqun3P1+Kj9JCusmy76kOegFffeBlXhtRFLTGl8aufOn5ceEunM
+7i4/tUcmwrc+Th1yesqUH+eDpj2qyyTqCJ3pnVt1l+CtENUoKDrClyua9NOV9+4nQsbg3laQ2s2
Rf05YP37JaM9EqqS1keL0qLLAZ0dYberZHoS1n8t79Ldo57IFpplta9mU3GVwdEftP/2CqA0bdSd
A6i7qiPrzkurX1E0rPRjzp6qgAl877kzF+OeGeUt3WbiYovL9Ea0IgGoZbpABqe56DhuRWKdmAbN
2NYTeIq133ZubiWbEZAZimBhwVytPXrj4zO0W8wssDUknvFVPHiYTC7AW8fio6Hv86bxrk8CprxB
6GH7o8zpDB/qy3SimRiGHm0ZdZrSbugZX0CYX9DwmvILu/Zra8AxvPtZZdMjREVXdDCdA8k9n2lm
lVVeJR7go5uK5KOY6lgbUU9Q0cXXoe+tc3vvNAUCR/PW8eP11lkW/JYcOJac3Nrrszy4/i6yUrK4
gFk/cYhR91s7NphWNSwfH8xe7+nDs/xyuAMrm5luOroVw6mJnUOrqsiasaBTojTv1Q2mLWPsOSX0
IaXto8duJfsDNICWxGWg68Wxzk1+T8Znopd6T3cPK8UDzyno78i5+U3f2UzkW2jFKZq/xLER+L0g
1k4RXPBdRS38M3HxRmH9F2fN2hc/7Xz/vY5X4p3RpUOssT+HO7TNpxnt7+yXCAZEfqB26rpBCB3h
ArTKKPniz6GhCZ7aBsNe3g375t6ZEgJwPzyZ4/AzEdiwba9sUnenuzb/vhjFdzO5ilvzfgHm5rMJ
1qZ4a4KzGRYtzqymhs453JaEN4Wv5tMWCdMlpPF0XmjBD84FIUB0V6wM6hhUMXhrP9bLZxdEM3U1
8RsQitATczbacJFYn/d7SFy6YBVlUUwjvrpdjMYk5F1GTJdtXV2qF1T0RjGqMdg9tTjCszNM3vkg
ZBJtX+R3bbohXfpZCcuffS2mH9mKU3Vmi56OnbTSDmB6eDLZXdwg8bBgyWHpEKXCvZhDTOIUMhbk
wemzWj02la0y5OXrOrvQgtpoNSmxCXO1EptbaC31KytzBhwRyYN6fWHHVMNZpzbWfHev9IoIrKox
OMXZtk4NSNKx72413zlc1FPab9zC7k/1zmqBT8HDqoNdJgk3Bj8yTot70UGIwzLHn5V9sUC/6WOF
hppN8wYOviHqr+VFx1wm6ootiz30RnwjyPsvvBAb6peRhjCHQfy8h2qbfvysqG75MkVci8aQH9LU
wGoJfjJYotdgKll3GBs0dXyLRaBX+TkFKsulpiUvAxQKgUUSP8hLOX5MV2bFV6cUsnyqYb5jEv5C
anjgbadtDAOkP1ubcTRu87illg0G1hxEO8Jh4thwZyY1VyvOktB+eS/3WidSrhGofBk1XVbUhOg7
RkJmVTVvnDsxAqgvso3oDeTu0V2o1vx1AHwuTmgYdiLKwTowB8whFXti70xwQ5qa1NqecC2GSFeg
paA7q9s1V3JAM2intJoLR1SLobZcgnMxoXL/Mo2ihrTRN4RcX83jHDJyy0Nwz7Nrb6njH6eJmIJZ
Z6OzSONin+T0UmiB4GvhsQT65J88r76uSlgESVu0ijz/HHoLmysPqhENzu+I3yCAaWLIshuTpu+q
Wj5n4/SpGWm03YbDO86f9UdlgI5T5SzQQnYstGYOlq1q7HrJh67Z7IvmMqTBm074kRWgX1kE0FvA
R3R+i8hUDbbH98wBoSGRD3sGAkFUL+hNoFAj1/RFZnBYGq/1shEfhdm3qxiyFFrNlvaDiX6uVmKt
zFARYXMMjwkgUmZopWlJkU7IP1vVO9nQAyWSP5/oYDryeFdFxdBbmy6j95kboG7h8Cgn+Qg8BaRP
IuNNuL0V3/beI53DxydljbAODxI4J8kcEg/+gXJx99XW94PC2hg0tCc5j4GZjMKNLiCI6sKImNq7
cPfx+ZDNP+FNlw9Rh/fPT6hZq3BpxZWgNn8sXZA06enQLRFN1VyVRbUeHDby8Qc/aIXT3AVEDyJ7
dkiIcmO/Xk2/MIK2GMJmIx91lcQL0dDCIN4WXn+Vevd0fnJ20LRbz2J0L/aJcsdBkzqATj11uCHx
6WSQiBn3F/eWeguel3874WxzRdAhy4xYAFphjKGgZNTbO8Nvz9kaonLC5ssGOj0tLTQwRUDTiKnZ
PnPRXOlkTea78G85PK+XTG8OnSt0Tg53w4GH0ntLs6uHpN1ABHSjxjWcxNJ4+h318fgU2hTpdFyG
Ykh5N979M/O5zv0/T3AQxI1xGlVBxhMonFEPKMdYlDKa0hBHWBTRTJ4oFcTi4NLkfHz1DyDwz6tP
gEfuGDQ/OfGDObBB/2y3cdZu1HiA66IgV8B8mX0RJrmQbuSQPC03CkVkEUVgk9c/tcLcYOWSPGBW
33kqndfDlXn5VAfzMu0Qpdp6zItP5YRpV91OXArZtZwijpQwD6Jy4wpQT7BNHO7n24/4CPzw+MP8
ibVkkWCKj1wb+TPnj0JYm3S95263zWahq0GUG+vdRDqMfmqRYJ97UXwiirTMeRRR5AK/oniFto4o
PIoEugbaFfc/tZXeX0FNxeFUvXw6+/XxLet83FP/bzZcenhclyZUdAI8eRCVI7sQwBt6fD7eMLav
5+PAYDT5VLdWnzZg054x68HkbYQ65cQMFnxMzpMoubFU4vJWG2sAKeXxh/gj+601QWiWNhSQPL5/
YPC7alcFbcqahPC5yaNkbHWQ0/si1QNYL97PgL354n5AjhUqPKSfULJ9de+19F86VVU3Kse7gSLD
4KqHaARGAhEsDQE0WagwEYfKXaeCoONy/L11tR6uNrQQQIzN0FNa5vUjWH1ZGL7VN5sS7pDfZtVC
c/L4KG8dv8DiIiO7GQSIKb0eJU1KfzD8qtns8MDoLd3nn1KXKPa9GsbqKRy+zsuBDpLwbdU6RZk0
zabDR1SiQF4L9pfrbyE8Ii2v0IL3jMmyDAksRb80tR5s6cff2HnnlQ8zT3bRZtNolNyCGL4sTH6w
oeiev/YhYqTqcV2btujbpx3tl3A/wKrKpSwenGhstqcTnLpEEkgkK1KQg6m14U5vSG6I9s2fi1Nv
IVPkG2dQLdRefBblXws//akgU04zH174sKxAvb4/jWC0uTz+hjLkR6b6sPJZEAw5Y8Sa4naXENik
kbWeVOypuneOD6ZteGywQ6NUhWleD6xrbgRXogYsIPk7PsRbdu/F1jnMZpRNve23Le8DKQ9sSCQO
tgWhZyd+kjuLHMPx4d72uP85E4cKxntUvXrf4pW4Epct6Z/uswOTkLbBtIWuKPmkWJBlF9XN8bHf
3psUd9wgINN72EVZR9E2qJoWgwtjFzSYsG8AczyLiVWPD2S/ZV4EuPL8ABVBeqheH/wyruZ45zCS
UqicPjGBi/yQzSnhDUVevKG8E0VT+GmEbdh5oQNw2EiIq9apnIW40wjEDDiW7dnWRhPHxPGnfdt6
vAiCDsxUO5vB3DQYQ47eviAAalcFC9GBCWkn1cUxgYHGLc/3eHc8qFws8hhkUY4/ylvXUQiegEsJ
qnnwDK/nra3KuM9Qf+Zw3YVZCz1sdalSQFVbNzQoE2BSDHg4Pqb9RgyIYcBxjXxbUOeDQYdo2hvp
bqg3PY6zsk4hdFlk0+Q7kw4qEdVQWCF/TWkY8QQUUHyLzEp8Uj26ZpDfAEvAZVrMH31jv7OdDmSy
5FxSw7OoFAO6RbEhOKge5JE5OPQSDRv8bHip3BvH/R7Mkk6einsxPC77v/zwh/I5LInsJHvqnVD5
mU/ktTGiCQU6KJoaLViFDk17lnZRY1tuv1ZI0yL7KxSxLghJOZdjS1mOQZkDqNAlBxqSnLWrSf3s
hDLb9LSr2ott6H0rjFVaWCwdKQSp8j1n8uDPZQGpwTOV7HlI8MnhyPjLK42W5gNrs7QQ/iAO8iyA
INgkPkTBpWbU323WbYuI40K5cnlUiyJ3CGQk4rcs5/ib7kQf7qKMdV36cVWskYQEDl9qFFDHUSsj
pPZJpoYDonbkT6N41boXJ480bAi8UMXmIseB7qpFnMkDVADc52ERiv9LXvV+6K5KaA30OQrjdOZx
buTYipRO+Mu+wrecfkrB3M77f4mP1TXczyLYNnlBcTeEtDm6vElIBzU2v/WbDwR7JHX67nFIo42w
SqaR3UB/d0muUZ1ZOqsKLlRsJiEzGvdxavygL1vZsO4nHChnRYWHlzyIANQwn3mfeZV9Y52N1fAp
DLPujKacPeyq/wp96ETIxJH+pExkk9Dy2vy2Nx5koWLH+sxKa+n4RykJ1gaDQIiRQILd9Sbh7BSc
OzWkgdCCxn53X+TFt6n9aylZrPZurqwzvrnm65x7KC2xhySulM3WgaOBUoTG9LPviruc9VeFkOnH
LyXRpGABL2aGr4rhubLAOSnaZWW4tFTwrLZ5uqJZxS6kIEeJJytwPw5b76NSOawKT5FOm2A4Tadv
He3sppFebIdse+kQYFCZqWDnsq0TreMwcLJQm/Hj/QdrT7ciVNGkwZkYQUYJvUW3OkBHW5kx+D4T
8toU3AXSXw91c9OSfVSPbF1V3yPWWnzB0x6mBxA5wPP15WprAVHBIWKLRDvo/RPXAKoKbu1p5xKO
4UNheKGshu8XLpnuPux23/hOYiCuPexvo/36C61Zxu/cD9SM/3BDpFVtRrjqRPhkOV+b5chrytnn
6sSPhbnQhtWbhbbJ28PNVOXxqVqrimj6d5Pt/2IjSIjNy3kxt/qGRO92DD7au+FaNKuOM35ZOh+m
w/i+AljsBfblXGeff6NyaTn4woo2JKeTfTCdIEi1Paus+myfXLP60htRMYLm0QcLFVyZFy7QLb5t
A/8a1Q61/up2FdWpk6QP+nop66+SvxTbrFg45WqIKlxUuGtZGk9YX9ewlOtK9iUXBuqjQ8OIZDKE
fYiQKpugXkTWGr7XUTHqCECEhy2Ta9Fxcnd7e7s4lxnREwx7QKxIWGy36Znnd2dt8t3ZVidlUm26
sRcXibNlX0hnwISCBc10GPvM9usy2NFFP45nBlzwnHcNOFHOaiblAUU6RyuT5C/kxED9KuUpXVxO
l/6ots037IrC1sYsview86lQqZcXG5NNpzDVRqC1hpmdQEjdnBexezJG0SraVXPulEXawndvVdxy
MfyQu2LVy5C0wpi3Ui/lV8Ycqs8BYBn5BPLqq7AVgXlYILxEgwuFliuplrcuXNlMh2SooJuDVRnC
2bGHDnNOMWAJMjz0ttcR8uzku7cfKxaghJvP7IqHrCr+qlksf99ckeG7tbbZT29rw4bvuldJ0H/A
F/jNviWOdyHTjZgSYIUCWWJChWQieGbWpMl3MOCQtP8oTeNmH/himE64m5wxfBj3zg2+yGWU82fb
shap4t/i+kRR4FtXFtOZwiT1esJJNlTBuS4tswyr88zCQ5N6ltVUFkzu0NhA0Lk3c2SzaJ7c1kt5
Mo0d3E7P+W9+GhtGemb11QU7WZko5ShnoiR2Dq3z+kqkO/xQ4a5sA8eIvxbD/VTZG6zj4m1XRp1p
/zjk6Xcn3f3NnlD3Oya+DtObAnVd2Ue7vnQSqIioukSDvVFEX+ftFZQEFxL0xGxobpNmVU7NKJme
pSXKG8cdK+8PxwrecgsuGxs6F4zCoaR0jK9QemmSb/qwfHSDEfq/5lcBOJmnLVMH9qHkXwa6fJbR
3bvTDtrk5kraylBaVnCW9BlE1ABJECu9TUj9K6WWu0SVDUeG7RV45YUwIWKpZjcsUF6K3Y0JZJPr
hEjRXkrwDuBB0zKuGRalT/iwZ3N/aqT5feYNnyXVoTuLktrN3tn9UgxZ7j7tvN2qHCbvTpfS8anB
ufzTpJIQcEIyxpFLE5v92qQSMlTh4EXVpi8qalVAgvuH1aiL5arCMehMf93goXi3kUARtx/eqCiR
2RS60tZct/9Y76DR58Rr15AE10vjKfCuwieoUsqE4CH48MLKdVVWjR9mRXg1Rskm5SQIgiFOZ1T/
VEnTEB6gAyIkqZAKqpLuzvICLwRuLipZFdx+znDVxF/McYdOF7dl2J3HRSYpLlnUOvPQGoEJEPZD
Hn/tG/QfeTj+mu+JugE/NWjre5FJTG1wkYz5ja5dUUOqPiURQeycdDFktosGlrsI6bQadGEUbJGl
RV7C6ezTJfNvcrjitn16Mu5vsO1QbSbn3d7Z6NKW/iYeMVmD3kGkZ/uVV1D7rOQBhNuo2R7SBV/M
9po+a5jHjZOOyZRFJQbhYSW1wx9FbLweqZiVgW1X35J8J65DTpccl34zzriDxicCgnO8kMS6B1P8
tS+Ha/HuUz5WQdTbI4mDR4gt4f6UK2ruMCKoIiBDJB06cRrTM3QOy5G8JjeD5NHbX1nd6ej1Z+5u
/ymn6kxF/NSsnv291mi/7kcwN5R3Izh87/a7CKw0zIc4yfZsnKEetdK1L9mnwH/cb79aUJ4Ja6NM
WxQ3qthJ7NbJjEGWyIJUgPJ0G/2QgBo//G2MVtjdcC/8wQoXlBZJAiX93Axf+GWdx8xGA2/abhd4
2ZEpNO39t37YraYOPtyNbG7d1V9lRlWJaSgtyRMDJanKdAv4b0acOn0ArsOaKdwqUv8qLpCx9iQH
sQq+q0RW4I8yDx1eNSyLPI8ECJHzE0gh25LNnujrSGrqsLsLVX8Jhs63PbaFjIKQo91Q/Opd9yMn
DbFtj3RHZthoLN4LbsJp2jZbGiigXYcmDq1m2fxqF1/YZg6RX/3QdPnlyI9E0JvXZU2B+3tou0KN
80drNRVT9Jy8IqQgRhGJdBFaIIYQBIPRmK0YJCnk4Zh8dFMRnWBnrjToZcP5t0/s7VdV34ikuoHF
1vls/Qv5H6xID8nOfo2/gWAIWC3JA/mh633JtCHaKIDAjNuSzd5Hd0ASg9IsJSYrXIkvl0cyPfIm
sQlMNTU1ZZZVXya8QUdBVNsq4R43et6fqTO6iT2CR7UT08auOtKLemfawkCWO0u5McfHzLqc4nLl
2JWbguvGm+HJK084zcmN+NMx46m33m1hxW0rv83IQGzEo/9FNPWOdZ3U5olb/r3gjMxM+tJUXzEz
GVmXekIgcCUWtkdPCku4Ls/gDvC6l8yHkEtlNH+m9M6+57imFKbcVaBFNaKdPd+EWzAqeLCWETu3
iiz2FC2cojpRQAcyNs6uBq7U49P0Rw5EtyaoXdv0yA6Rj3g9S1QQKXa7+3wjsVE0JJZwd1+G6LxH
Aui2NibFNt4rFK0wx1fBPaPa4F1d8YypGP16VFQD9+lu2eabiaMLAsADKqG9hflqpx8yydJKAHmw
23e6P0SgswMUHMgGELfmAMoSx7yxDGronqezle6rXxwIFQVpuGut5gdftZw//vEyWy0WDb1q/BMC
VtFvcvfzlUeJlvDg9zeFEiXVGkHryK/YVv69N/r+pp7DlcU2IkMkYaX/pNU8/Mzf9w0q1oXpXCgc
XEkxfwpmmMSPe5c7saTv0h3OymWGrJgbs79zoDjOEAVAOkfCikJlE23C9k6cqHQQdNpXdbzVY49+
olqsCs38I1/OrPBB1+CcuSGZl2KQyT4sbouEVXw7Q54fRtUFbirAiaBI/7LM9irO6ls3Lb+jS/WN
zxGSBlPg5ztByWWU63LINcKUQKvKp9J2c061bhHxC/4h8JcKwQfMplwBefi/IRpcWyis/loFJvbV
13QoQFthN8F07vIHdYevHbSgGuyRQP3dsqOcl1ebifrnS+dG8eSLg763at8srAClRrR0BLpZwS+9
f8E0y+YwqTKPzKTa+1nW4yfoz8bXg/EP4lXcXns7l4xPTilndZksmoh0R6WIKOLisA5KlrmkGMTv
gimUy6Xu1wV1akyiDd4FMypXAFMhk3z8Ed+ogb2aokNeysLdz7014/+53f47MyBAD8cb3+H54rhQ
G/pUORem+6iSugj5jz+C/WfZ/vUjHNTAYLNMoIeWC6pWANAWbGBhKzKUWG2dkfFOsgZsJt1p7DtQ
er+3vOjmwBgxNUXrXChswRnCQMoZOv6Ub+U+A5OgjiIlXLu0Ub7eS1Y1jmGnvQSumEHUBsByapK0
cjpnYZ1eLhXtvGCP5uG8tIOrys3eyRI/Q4H+2NShrVYKN8JvP3gQNwqabdHG1SaeaO0wnrjfdN9z
c7OPjZiUHduHyWIaeE5V2uNi/CQ4l3QbYkxm8xf5ezwoTPwVvOyX/GmEUcBpnkkzwwOs3EFVXfsQ
eigBoVMtvIcyYXyw6iKsCUC37bK7FnRSQEPlGsTuryPWwT7F52uvVN4VgGb0kK8UP+LRgTuRr09i
TSkxOfVZCwa6ITqcXTWuYK767TXeFJ+gD1qC6kNUtKdC//JOffFpcbZnsm3RCrPzp/3XdR90j/KQ
eAtmgy3sdO7FCDWNMrfSSuKjLdxc3yn1n2qPaRC15j/59UQIxO21tI0mxClcFLx1saCsfpUyAXn8
I05/SmJMVkOeFFgzbUaMaBctQIircwNBv0qJBbJourCOb78D8YA19Y7HTfc0tyP18fDgXvTisrDt
2mD7hVJEDM6NvfWFFOpvx4SJlX2IntbagfWk5mu9DRMmtDWGjjuEtQP+rnOEABczpInXW7Bh+b0O
vbvG6s4VWZjtzyzIPipI4CeqshgGuIhsuRHAfEjCd3b1Ye1D4SesUhE5ff4fotyD16usyWzSPLU3
0orf7exPFXTQhAVX0i1Uom9P0K17JOWxeF63g/jv2WLy1UChKNt6ZDFcSAD3urYS7z0LAA7v8DqB
+Bj15IAMgmeZPPFrE5AFfl3SQF1udFLoUhB+hPiRGaLXcE3uVv25EXJIaNRLkvEsAy5POMRGHpGz
kd1nkdy81lrxh5Btkvy7k0QJl32AohEYgx0KfPostX5JlKPtiTvoR+AKkfxNvad5gZy8Lk6HDK0C
MMolJwDVw+5e6Sf7jntDEAqF3qCIE9Isq/OaQi8/bGPlaDJv+iyP3rev+CoMyluZA36W2Cgysq0M
yTsSREuFlU0+29zatac/5YEFGFN4rbtCp0tHXxEU2CNZIrNvTrugP8V7M4g2g6m6QkX51LMMJXyW
DofbIstVIxpNNLCbVXF0ahFX2yvdGl/KQ6rnn3tj+8MR75u0CEDRMWc4CdmQfeeZNJXOfLPW12M3
+uAVCvvtGiWCPLrdg2SOk0+UpuaSR+SX7aCC63y5EWnjYmcP9TYhLlQP6IrZrmrvalTGjX6QvZd8
rH2I354B52pdxPmSRp8UtNQ0IGCqYqVWyVDemSIym04TISSqhCxMwgB9zXHjV/ihJAnUS0AwRVxM
gIMNla/EoWXydY4HOnJXgnFOM8umvyTUAGt9uTPjGxY2IldZ78MHTGRWEbVi6KVDJ4myLGcXEi65
yUVrV98IIgVSlto0TzfHlDDweXHU+AH7NbKcj/Le4On5KYQ33+qh21DVJkL7oSMwfDaMdL5QPDgZ
Il+edNgHZFBxi+PsB60fLn8Zevey+NK+khH1nPlMxB2/uwDK1LpJbPcjcNrrBaH3Ca1fCcLCb6AL
Seu/ClYxFVqhPvtWuOnf7DLc6Q9r7iW3UV8Gl8Uc6gNSJ/6WZZUWn3u/QxbBYQ/weCJ3/ZE0RgeC
q1XK5jnmWsrlTMrN0ihcrO1NNHjn/kB4gKvA0GrioFxWgXRkX1c76v4U/Lk78qcKYpJ5bB53dZOe
636x4vTvImqscz8Ey0hG06hq+8Kvi3+bcJH09c8+e5aEXvxbo+4UYOP5G5nAlKDL60cuXd7st9Xi
jVvxzhf1yc6fKYY97xxqV92OQC/6as3FVw6ySysCRUZW7/iFAs7gLWtGuxmUAzS3Q3jy2ppNLPLk
d9wo6PScVkFyR3Bk5g1li/qbSAYV5TuE7NV4X3rjadENZ4Nv3w4EsWW0YsK96lnQ0o8RpjUeq+Ep
6r7GeD8GeVU6bWQjeGPxUGrzi3EfryIj2U6gK1Oytn1yGFjcFBu2bqKh9E+k7ktNKyXBylFIm/56
CucbXeYslrYbi1XSB0Zr6Cp0TbBCM2lBZU66w88zKepEJpmdxgBMJKeJK8/PkW9KHlo3+egl3mXd
fPWc5Ybx+xH3PBHfN0+l8eX0KJ2lys3zYZXGGh8kvHijDhL+W36p1A1zVD9I4UhbT24Ov88Tws6v
QJ2LN5juK6XCaaAQPEgaIQJbYMSUgBqS7t8cQPV7kW/RcSRNClfXxolRnOoBv2BiveJHl+bfyYWm
tHYl5ndd3DK+v2kcxJST5sOj1LMVuPqd/2GJPwD3HZx7xa7KRSQkkDEjKnbiRiteFLhONUOSCxkE
PSoOs29V0ND2ndyPFkm+NHHfAaQdhh1/3Pf26823hEGRsbXtzc5INnQCXoxB/lEkcrJ4251xHWwp
eFS+uWJYSapbTwQg7xwBDfLCk/7jIQ7yQEaTjtSrt/ZGwZafxddIda+EJTiXpODwrYcC54+7WqBQ
Nvnx8Q9z7+v4dATBbCzEP57P60mYrLGj3aW0N/KE1aCUGMWtbHxM3mecd+FKQ8AJEBe6tpl2CTEH
7WW7trlPdsmP30Ga4FgK1I8/4GFj7eEDHuI92qHM69rY25u+LU8n+ilESiC1tCWv76X1+HyIteW5
kqz+fuGisawvucIyiNq5snUFcu5K/1dd8T5kZmbacZblMg1vOCOo2u5IoZYVzUt8PnfM8VdQMPRi
iWlrMAMsnAc5CImlyDwIlsjSWfGYuPtNXlL1LRaPZ0vuXGr5XoXOwPRrqPx30F1/Rv2M6ZtWiIOI
xAhSI6+XdYZPq9/j+WzqyP4yRTP6KdPdrr0KPML/BDLjv8fum0POcQc8sHbRE6IStrXPx+3+bBat
emhezNbHODQuguzJkyRn1/08Pi9/0vQwIWB4kFqIUPEIzMPUiLuv58K38w1c++cr0ANXJMu56pwn
ldHxs1geqSodH/iNBXk17kFKJJ/sYI62Vg5DKdgPTB74HuFXpHWPrNXHOX1nwD8x+eubkko02QeR
6x6M2CI0tpQVbzqjzmrSp2QGAsQ8lqTeiELZuLbRXOFaomZ7BzvZO6dcH3+wA3nhf4Y/2IH7IIi3
5s7MN3GPYBXnR8YY65sgXn58amnfPj7WeuW/yHcFRIhlsl3yjTXfq4IEdGmk+MYpBSDh0PfnVCjA
iVjEJnm6CDeHjmOji2hVw6JsgdNIlfSXekFSJ9lg/Py+XZ1Ioav40qlp4I9K+xf/LcVNvIax7e7V
KqSfcvUIjgUHX6AcakkGc8zpedEH8vVgqMfzXsElX3k4rvwR2cmKtOE93R0CMuAN8yvU40/NILWo
eIXuWTbVp1GLrhllU7kUghFxw8Ijxx+YCyJszw2hfGjuBiQrq+3HeEJ/0ae8QsIa5AKWk7Tfb73y
oB6+PMMep9OWZBMCMMmpSpLBPHwRVQCDRPUkh23N+eO056mHZA/X0wpj4F+ak/Vb3JXs3zEvbwsE
DuXHq27gp8atsBL8Eg6U8qEajniB5JYywTYny9yW9xKJ54UlI50jty0IVGGVaqKrY8xB9MRFpMbJ
ov5pxeEpeblnx1ypjtFJT82dBzrlkdzBpT2qcrC7TPotop3G3UzeJSrrs4q/m6rqKXCX737QIi56
z3TeRkZy6vfpVZMNp1TbLhsibBvNmT7L1Rv47DIhmyjft62IdmfaxJF/68K14pVxX2EhlB6pxuzb
6u3GKQI+D16+9uepLAVu352j0z25TwErMoprTaQMCsRQ2c8mdDGA+0G7TNgt5YtQQTpPeV9mioIc
r/VgufmHCilcLmV5LFbdf6GEsrgliaPxY0fZmuTIV9U21bunS1Htft1uxHSOT3nnNIplOHFyudgE
Sm9rL+yzB/5RQyr/KHRizh0jy05akC+3aRruzophT94V8N/k1Kdk9qVKqQxQHwWXwkksLQp7oMDV
bi1ndwyeIG/DtsinRcyDD1a7FEUfDI1I2BWMG1dt8hNnpp2odKN8S0qGvMKp3FrXMG4tWjW3lG3L
O5ecNGW/sAtPt4qfFVoRr6qcLtXUiWB1LEqlzGxAhMOA2DsbxJOCKvi62wHEEP5knT7uWEHAwecK
75697dKIrwV6URed2uiTETCwW1ziYFC2EvahMx+NCedWSt1rJZ7ZkeVK9+3Jkn+y++isIfqqEDEt
guEar5KXHbjCJ4fKOTOd7dIfplN+CLarVK2q50RVcj3bwb0wJ0NtltJXVOZAC7RfgfWld2VTCyid
J/KL7s46k3/bFd0XrV6cNFfN8DlAKuW46XwjGAJIinsgdmY8BufgOnRrb5p3zlCuQGnLL6/K+ac9
Bldj7NyNoOhKRHUqYqFUYT5Bwn+Uktm5NUQwhDVYGVXSR9CGNsFlh8Sla+/oWOytz1rbksXJBkgB
wsa7soqYimt5pZAGf2muwCnCnnim4EX3hCwaaI9zJkX4CwCv1xmAPRLQJ9jf9Do1WPzGbXLZ3JDS
E1j5h9pJbkCcq3Q/fXXC8R1v8JDIB1UYiEJBKCFeRZdqtPo9L24XrxsXv7LL8YH330GLnyz0+fmt
7a9SHEuGnLrdcTcMuwwhx+2vqcv+Av/2Ywqcz2bJm2fJ7kFNxP0EtnbX/VvKhTy/YLUqfqsnBKqo
6+NL+ycp2Ov7/xD9E8xVFO4NJ99U4DHk2vw/5s6suW00S9p/paPu2YOdwMR0X4ikqMVaLXnRDUNl
W8S+EwDx678nIVe3RXmkmZibL6IqZC3E+i7n5MnMAwJN20Tmxdy8ZtdRhKptxdqUArcop+77B+HS
oOesgwLQtepjmyHSiWp6GrVenZ/3EH2TIZBLBaulFri3L30qvryMHUyY++pC4OKe6k+E+V+eeJzh
2QQTLLkVRdBHgs+l88AEGLIax3iYdOH4xN5ez9KvSRf/Wbr7cqWFd2IuOsmf+EstuIkJBiFe1/pF
YTuFraQNa+5ADNS+pPIdi6rGNk460y4nujvT0nVgSDw37NReSHmesOBPYAof+N9/aot2s6yvYMfR
881l4rIVqiHzmOsBi/wxMR5B8me2al+JmW8XbIFqXjvxe4zuNN8/yN09w3Z/HOaXdJQFMgQnQTRe
O86i34VnbAVN091pAfNJ37muJoMXwHJV7pp7Y7O7D31ijKq5rgtdyZDvFnOU8JoeYs6JcaFkeV9W
1/MOAjWLt4U7AQvvekZr2bff27RaHL43PwgoE/lmgJ3PQWKXjG6VhOGQamOb0DHWd+GXPcxcscfU
oIGVXU4/SFkXzvxBBKeSFD5wqnPOdKolW7sHQITWVSN70DLtmJPPgl2Od3oi7rPUx9qbqscQzwkP
A1qZuL3wTP73dwU4j0iculNgzt2DQHpI+7zqLDe/ZdLwCnVd3AeycqGfMQWkXW1qrLAS1ixFeFid
QUgSvUHbVkFZ27KgT5SzEIVAeUz/W/jp8xuls9BANmCmNE9fEkDsEnoAK3YsL6J9tqZFr7OQbkyx
7DwDMXv7xkzvdYyOBNAlGeJVuRRXRBj5ZZ7BAbTx4HZY/Z8Ng9iwuUExtYQ5iqelftsTehI8sT2t
BKaw0wrD1GIYFscxrE4bYNAyQJOpssdaobWcWzZsJLb/MaIsDmvJzL/w5MQSn4rlzCK4ZVpgnr8F
DjLvtSQJ/Zx+vB2umGuaMJyqmjXsGASjhEqi1FpEHgofeXAi5vlpe/dXiPrXJOdTmvP6QmD27++A
/G74qIJdwdDTETW/mOLcvE4/wde7Dib0hFLroxtihNxXL1UX7xa+6OOzMT6KizpcFogmVGrb4u1S
VSPd37Zc7c4/Z92BimUDrvdim8szjS/CDQLqPSHDxIxGEIZqCpnK5g60Tq4fsuuICrKCjECfIc4K
hIpaDgS8oqSqPkl6UPnYO818SNbA/ztpOsqlO3/QK6Pm5C1MuyQS8lxdbhkAm4kqPk+jz465gUU/
+EdOcKOu4USr842HzoDymMxZoBJ3Zb6Ej4tLUtLeadlhFVKQxPPmZg0W5fmJWpbPMqQTbuzRbXm4
Ym5afWeuQARplizSSc70FoAU9JgxBaEEEjSzFmqI7u16AzP47SF9uFeDexDP2O7UoRMTAOcAg6Ai
kG+zPMhv9yXVDvdRbxf3aZQE97E/JzjDRKEQDZLBbHp07ks/iZyo7CXUYkUErSI3qO2WKgSFHILA
rvrBPb8Xeb1KWblQB76PYRFd2IcQU9rNLKfdbnIcKMsHsIdsU13IcODt52G+VsLpgVC/A++2WMMO
W5Z2XUZ5ws+o3cXpJfWC8zgjFNhHmykCSapHRN83KebLXfgp2z8ITpVZC0DX+STcJ7KNakM0PF5/
Dg9WWzJTlS6o67L3z4WGheaXzHqq+vEK4F9znzGuopF0NVoXSiopYemLTCWaK8ORxyrRANsEY1fU
dNKegWsSkykpZTMGDWeatJxYdFU2VVXit85MoMnWy9ftfH9u3SH/CbwCMn3z0GxYFnitWdh+24yp
+sAM31UZ/Vn+KVCWzD5F7v2cquLYYf34yR5WCc88Ypme1Zdu4sG/s9dK/DAfcU0uIDbPGP1tmF5T
BF5mFp6MCdIA0OhACanihwBSVjAPHnk+StVgiVN7CR1ynzY5mW3oHNcVzKVyMgxS6dMjzVPwD9sN
4kF90flru1NJROYj/ZW59U6mzZMM2ezxmCLVwD/9w1hMApO3B4ji+192bIaGq7gfQwCajYGJHcyX
Yhe7fs3GcCt8XmetgFvz4j2uy8FG8/M01PANsTdekUjarhiRoof+LT2WKgbAk9HVJ01XT50E3r6j
A5Ij0TrzyoaugsDdBfw8wJ1mUT22M6+rb1V6+ZnDKXhtgbRFAXv7bK8B/el0cwgpghQZzS+30GDG
ctQ3IwL+gCHyWOeTJZ8iVRJKRogF+REWgkJnZZJkg29fwKsXeHD+g9vN+mFMKNdgmwC8xbamjJYk
++2THKKmPx/qv+7y0GHEC2aZm/gD1hFs8fIuosaNV+FUAVf82oqsT81HKMbbp/796/z3mQ/ubxaX
ox9sub+EshwoEI95m51qsxVy8va5JiLDi9nw8mEe9gDu+pb6aGaixRbzOD+W2paYQGycJPKOw3Ii
hO64WZuOvf1seymwgQJsS0NsRYJCckmJWP/OEjwQbTpfC7shYYABCU+BAlnhPke7UpGxuCnW+Omj
yN4/h9HZlsN3SjCjdd3DSWDuHm3HEMbrfCFhoejgplUcW/vNSRR7K0DLxVg8thQqNMbkI4WYBV2S
1JaqlbHGCkATtvT20/rtm3EwbYK3Ys0RDL8c+X5LcFKZvBlFw+CP+1l4mduUmluC/ff64R2mFs8j
EPkbFXqaIuLy9fJseORVXpq69W28aXGgnHzegnHSESoa1Z3+DCBTCLLFBixvw6YGJwseSQRJQLvY
pnemNuMZZDst784GqIdSjAg2sA3jwFjPqYUryiWREwvFp9DpWrn4ytIv7bbvoQumGD6vxpzrUgez
yZoQ2L28sXicbZ1x43FjA3QQ8vHczS+o/i+Vivdj/Fla3nK3u2LwCwt6+yX+fv1S3+nANniT5kFy
Y5ZOwFPZMOQHhMTIU9nDJhDAvseuU5G9+rAQeasON5jltSC5d65BI+X1I/j3NRysobntDX6ym/EI
yOznIMIRW+qWTryMXSWI8qQEDPRyzHoeZWuZt7PzXfjeUjNN78PrgPFNqQTbVgOK/MtX0ReZmdpG
09wKnmIOT6WE+kM2NOcDKRgrgQJ9IhbiNiBk2aNMxEANvlkxGQ2KmO75yde3n9BkT/vGlR1Kv7fB
pujyusJfCZWFHdJ5dfbAYi9RpK8lA3GCtSE2AzwmZyFj4IUpCIMbSVJKvIWWWsnOzymiGcPHlZoS
tWRUYcv2RnUSRWpZgiyOZu0cpMseWLomZgEUSxf2g9GfTqwOqJBhcbYJz+O8O5XtIz4Zyy7Or8f2
xlm2+RloxdCcBYjaJH8QGsx6ugXTrAiZmqw90UNj/ROkjRaCbSWI4NeAZFNzJbi71jgIR+8SKpdg
A11Os1v9TJFDVJGzkU1AAnYVqxU8vf3MD0GoacXBpGICMjysgw9Yb7ado6EI7ea2hvwDOrCck1jh
GTSxkXlsGzLTPWIbF3YDUBRmkaJrKfs03XTJ1i+VuTAhYVISl/Ae7Li6l5idf+YFvinOh9aF3NPm
nywyRgqoHzkwse7eClfTskaxYVttVrxLauOrmZrONcGaeTFNVdh3hOHM2Gn5y6/n1gnEJiQyOyda
+XsLeRZ5vDAVjqkwmHfACfi4NKzh7oqs/MJiEEH9W4tNZXrXFAzIMUsMYZ0133YZsiRifC3yAqif
Pw7lnVvO/eaJjWEt1rGMv6gJL0lCzhwjP8KYbop+AAoQDTdpds22VDjvxl+vdiGqzaAz/yJQHryl
ZNyYbr6BQLn1dz9yuDFo78T+msGNIYOr2muJuqotk2S/PSOvkA2IbhWXiQuVRCCOvT1wsJo7XM+I
dz1b8acXqEfbAanTKF3PCn1vdwugapbdkVnR8HDvfJRC0vKSz2Ll8w7Gqv4qEB1Cl3acPsnubMMS
eQfqjLYuRkmVwIiIL3w4krP53Xx2GVF60QLgg+aRyULzCaWWYoDs2xleq8ETmPzoPEybcvbBoHUr
whGOFDdPiV1fROOk8Y/aY4zL8RobsE9uPvFxtCWr7Tjaq3lILb7x2h8sFpWHGmVfD2CMKYQ7Llo8
W/469soVjCh+oGUBv6Gv/LPN5vbCb7J4pbQG6kqORYd4X9qDxz3FFbK/NupPA7ZSMdw5kLTdO3R9
XCHjWFCLMzuFBH5L0IzQqm8/MCC1EPNY7DDECBFx4BisxJuyYTZqJmGipcWZP+TzbmDrYDkcHqvZ
z2HmDU9Mu08j/nsieFKJHJr7fgSRIx8V6gO4LMm5IrFevi+sjMQw5+J6cDwWSX2RE8XgVp/7/k7K
OA7DD/VpY+iX8x5+Z36DipDyp+zmGvvSSAGEWXWheLE2KWuW9l2vhbtu8j1Vq2vFgDw3XqJBmUp5
p1/Gn2W8VW2xsDOquzJrfxB7GKV9C7qi/MVyzGM3qqe6YhhHX2dwgJVNihQpu+Uctllmlt+dIk9Z
7+sLITqS6CoeSvNvBKJ6ayEa0hk33T6GEL8zSlkS+0nOy+yX8C6qW9Y3zKuUwcOKkMxctxxch2Z5
wtyet/NzEXSjwTyKhNdyIcoFNLm20Smnk5koLhgTAC2rCCJi7E0W/IhHwHoJyeZCAmwjxvEaaCxh
73JKW9KeWmK/IqP6vcMj7Uhtw3cp6WO7MRfhrhyOzK6n59EWBR8eU3+y6iCndq8FlFOi+sHJ53VB
qXe+LLhprMGnCnuVpwVSwvAyYk3SUyCPpxpo7DbxQqOeH+k3shfOPGexsWpdC07chZUtn+cQ3e8m
kwgeim2i0wDmIHLkr2RHs5s1dzwjwY5kAbJS4TkVRXHi2/cd2vkZ8LtwYXz0wvpe28VYb1aqfxtJ
M3maK0LVOGC0C3ZlCnIEJoYqyZyEo/IbtW1hJR+z+bIKQHbsBpr4B6Ik6Yv5PeV+FUt/jkB51mj7
UoUC1Z0TrobgSdcljDEVhVt5v3AWOAxRVC0EaiSYmifFkWdeo8Va7yQ2M4fLMmC2sDvBtqZaayYE
pbD25klwwjPQPKU8S4rDsTiZh9ttX43HVrs5Z5i5xfzYL1ZScnFy1WoY16rcdqaYex9aABVY4O/x
PSeay4vQiQ1iTms7MgfsTF/5mcbtFjqf61i3LlaGWkhEVFdFV1b42tFUoQXzE6NMrMDtTtEeyn/i
XUAep/dPeKTbFg5nftVXV1Rt1ESU18zT1LO1x/5Oj4HVxCh2pxIOq4uOZrSqvgoZNZ94e9w3n+Hl
O3ustKn+UTEncUJDy6xqy/ccg3BDf7UR4awbKLoH+4ftdLARbewgywqHhkS6537O1Auope0eLRLC
nKhvUyNm9LQeaHXmCrkrTeFJbshHZHEhvtIYIr4er+sSri9JP8GFYeWns7pch1270vcMVC1t1fZi
2nj6e+248rTepPGZplnwQUS/Pvb4yL2z26HrJHwTF9+PizOrrh6McL7wtjQsCK6ZccqJf5aLqL0u
xdWcfEVRwHsPTO96UHwhXo92JKJUtacE/eZfctbhlc2G+qZpISlQcxaerlGuGBeM8jlFbzbDnQgq
VcHVyP5DgS5X51ZXGGFSpZNvn5o857tktXG/I3pb5Hm6FEk/hS2OJwp/8DwQprveX2vpVnlCO1rj
Nd9DqgisGxyUgc2JMQPiKYMRYlhxwr5jGvEl241FMUzDU/ZFmtia8hyExUw+KnmZffbwUQeOP+p2
lRYbjqkrV7Ap6HHwo0s0OJcW5XRFnT/RJsIIjkYN5vmcz7LM+CxgZHPV/NCr5zeiU2DCfCTLoIgg
tB+/qFwH8aSH/2QySqfcfp4BUwCapuOVSiQFXiV6ZPrKu+dw7Nfw+Pk3Ux8FObzoug/OK55xIl36
xkanbSJgyXjYnHobYfKFK2OJ72pIuw+opqrSGhtrrWPq/ptS5vAKZrQCO9dFtjuVzquriU/wwuep
6uFjS8PU5ZBqIszqRGwqQpMiHwoZiqOUxfL5oSVfAOgvd9TdnbXGjZR94hyYnXuJMzdPS+OWY0nr
xcHRa6MaG9ndOsk/KClQGUYiSGpOZwIsF45Tt9IoEDo1KaDotIIzgkBirRquc6zuW8Qzaz7JNbg0
SiAqCNN+1Rf5N04otwSJZxkGnFdJGl+IZhRbCMJU/KT5iC/UuT9cbLoGuuKVKOO0feBPUWYvgsT8
Ir349IZJ4dK4W8U9u1NEnzNOXDvViYzp8Y7HraSHtArCzfzmnFylfBbA0qCYq1XSDjpAtsMn6V6u
2xQo6wGOKt35aK9OoZIhCNOj39R/Qi9caqfbUdHB/8koKeywa/FotEVgXqC9cZaR/CGEYMayygRp
+iCO9TwlUPH4v8qjB3I9D1ZaxLiIg+Z2F3ZXXLI42MortB+3eLUbxH59FD0wRrR38Bedvb1sAUSc
sk2P1G1EJv/8HHObLz0PQUqhjNpg6UmpJKoS0b9ASuwSdiM7vu2jJPcK31sNbvM9rx6AV1blNrkR
MUNSkAz2HPIjAi+vIf5CGFGl1f3efSwyfGXIuTmgroLMRmvTnLiwdqj4kuVwHT+3OEULnF8UHjqd
PCSld5ZsP8BxyYfj1I+XDYQZGfV0s+ShpIDG1mAZVNg8Bh4jfEPgGGT2wuizixxPnK3HQh6teqh2
zEsqbfJemJVZwnSxYQltVvs99UMBl3xlfMiYgC8OaIE5eQe+ne28xq98QKM5zgHI5U0LQcVL0IRO
MaPlhqVxW/b5+Ybkam7HlzXe+yN0RI3158W2bj4VCRWat89+KA8k0aJ3kEFhazL+h07+8uy70CuN
xGuM2xZqGv4tmw3IkFoSIC3b3hZBswy21hUm4Io2xC1DvgpnS7bq+bg7mVGqcYrdolog6PR3Kw+A
gtg1yebH8Li1fZv2iT30p9LQ7NzqPJlnS2NU1ig/nPhMoKCyyMn9ghkIcPv2HVqv8MGDO7Re3qFZ
QakO6864VQwnNik1DctKL9UUaDJyYeEUq2zDrheDhjDNAH9UgKZ7ngSaZIly82GpUYTOMv32BU5k
nJcB1stXcABg7upuwMCRC5xYrbOnEqvYJC4vqvpuG1/aweSlxJbH4uCVYFTPwnlAn//jdRzg0Ubn
Wm3iDTR4JHoTGM0SpjWeeGfqcTQ+Z1g6P9kXJVdlTMFmh8nXO/1tX2MSPBHTIuKyiDxpOfvyleGD
te9bh1Z2UWo9cT48Gk6YymQjK0Lcd25b7//V4//lZAegZTOkXb/x9sZtFtfrIAkmjoYoNZzYpGih
MaG0SNC8hNDvdgx4DSFrhGK7TxANQ8Z51UC6jqttvTPo4NjBX8lx/YImWH/auPGRVacnmkiOt+b1
a4hKCZe+N0kmkPz1Q/jrEqgxvnziaYK/ZLOzeAg15o9bYlRmhzE0FxCqFTJQrupovCSNidz+fgYM
EjT7NYvFFC8Su0bkgBhucKlTjGuD8FJX8RoqCHNvNYeywbquZZTFhFWGsEQ6pndeqCpar+4FH3vP
MumuhqDi5b0UfV+1/tanmSdNOqSAIaYSfLDb1vBQTsS7bVyys9m9lTRXsstC7OlQq9C1sLbpCxf3
f7yqgyccxWa4d/2NcTuv608SkSuHkKBdUaq5dRbRxpUN20mErgE0OStAA1CuE40N0Ap5dJLmDiXV
r7ev7LdJDvylfz2vg/WnxfN+2wWu3n2A36C4Qddq46AabCrvuUwaS+affFnrXXDjxpsvYmaRKiif
5kKBPKIuwDcJIx+P6HDqh2b7J29fqfu7Fwvbak41k8ajh7V2I7P2CTVD81a2y3nYE6liG9Dt7t4+
zW/kVczHX86j6/iF1cWIamidxXmwbVH02XvIpuluYBMTEXGzQZA+aDqGF8qWglDCcoFaSlmlr1Wf
F3YZj3ri25d2qEl53q5dEFGbXhG2OT+o5u7DbYoMPjNvB9o9TZ3iKHRh9bHNGLrPdAoZYHFxAArg
OW+f/rcz65ezH4Qqqb2lYWuO3K8mz597xRetBQRvVVp/f57Rb5/v90Pz3yc87DpIJbmyrITbrf3h
o8oIQu2lJ1NXnzZG6c963e2eHBtr2D18o3o1krYQLPNuFL+abOO8iajvVhIJxAGsVghjO+M9OtKh
xv/wzfgHq06wieadNUbmbU97KJNIR4avQi6JXTVKInyQCLGr/JFwGIxH/M33/db1Bg7XPtjoLgVl
QAvMkF4O3Xqwsv3G7M1bCKr4itDMGKEyNGN1y4pmKeZH5UIUpbff0+viMjvYL6d1D4oIOf2At75V
Myx38SpMb8Y0PDebteF+m9NFLaLAg7YHEs4Xj0R5LHfrZja7CKqIGDNdGrDmu42/Isk67pINIDf1
Z/rsKQvCA3msbHI0cLFUDECGmfppacsJKGRGdfXnPrQeYBPee4n73nTTdb96nKYo1IgBoYMfDPim
SYsCLMqcyBOa/xpvxc5YCg8RyU0gV0ksXHTd6u1n+nqxw6wWutncoartWofdeAbTKjOj6ea3ngdT
EeWDCoQsPW+fRZHUyxt8SV862JVA65PAqjfz23Zf0XZwwjVpnGb19ae3T/SaAXNAlDrYZezE9jd+
tvVvux26YppmsNPq6YnRQ4QTGeNpt4X4kF68c+LXpBTOzLrkOo6FYhYjjpdzwjIGKoyz1r81g+pb
VRgfEhSdKUFNFd9nfgJdD3hF0JWqK8KhvNSlGkEu2J5OqFYVdXgWmlOzvdJF2Q2Jc6oWtx51wO5O
BuGJYzwB02UAB/62bJdVEi3SKNhpa+gtQ1pyOxsx+3WFEeoMNomqMAq+FcSZ2BYaMywr0Ebo5Dqz
qshswKAMfmM8wRuHzeyfA1kvxOUDRSZSlDqIc0iVFBl2vBh9Wil19eOU+k6VSrAPUnioJh+EWAu6
EDdf1gUMJ933zMy+yUlqN4+O827/KK8KL2jvpMdyCipPXnPH5pJS1565FX51e+9YWXdV7aQq8FPy
6LhcRo133meZjwlMe+611woX5GfEn5QeLL1NgugKjxxeeJNVys0nEzPTuwTR1e3SQ3lpt5sbOb/O
xt01Qdi+Tm6k1FIHDqY+bQiEKkkIVLFaKLDkEYSs6nlMU21Qdgcn42lIxTnR8+Z668wvuYBg+ycx
SljvvvHlGdBThKo4pdg6Z152ut1Nnio65Gz2tLNoAuvGNzmQGbeu/jUBIpTJHBggxUF9MA+2l6VD
JWf3oc9AUN4etlN1/GBm+o5hUhwCevfMQy5FhahlPyTm7Jbqo9F+H/uPeZku3UygR89aGmPvTfuR
sz2AjB/9MLb78x4ohchEdro8JN+0LmVyIMQugGksJFTQqiCFrsNgso9Ke10MW8SrGPhP7ZN8Ql/p
0RSTjo7/ybybMcbVJ9y1m1N/8DvVVNOM3idFn+LFMmyxCg7bp6nNkdXd5dsNZiYOMF/+J89NzsZ8
6Ur/JjFG2tQGs1Oe15jA3TbO2v0Xu+8u/QxdbeevVXWmUj6Hi2CezStnjyaEiuw8Gj/uIjJScFaG
gOv3V3rBqqn7+MxHiJh6L30Mre1tORpPQ2te0YFtPW+LG3lhquTHFpzPkadwKR54w778Yppf8iqB
Qgrr5O0X95sQTY8rsJCOu/SkmAKFX6JH05nZGVxituA9GhGlRqrxsvV2DpoH5PaedzRGtmQQ8Az1
KN65gNeAx8sLOAhfGyvynXQwCZOtiR0n3XxelVBp/+zGEdMXR9QuCyR/BHJ85+Svt62XJ9eG88vd
p5Bhd87eMG8J3Ba99ZXEEbvuCugPPjhhKVb46P+eQ2U5Ond5vw5b+MeZ8d6laF1/OYO4FOIKz52T
MYCsvbwU3y/SmZH6z7HQPuwmDZcwFuBmwkN4Dj9Jb0J+VTN8PzA67KknHsOLazjYe7pkbOHaeeat
bKhYqsToFilSeQSAkko64kGpBbKKlABhPKOfxpESkPHQ5NvVUjVqXcH4zJMGnjTWP9wIAE1Pfkug
JDKAWWEtVNFP92fJk9zMpretSxXAyoLzuV2tcdpVVVSWPdhLyd3n3UT30MXg1S0fhKBDgYEqrojE
7Dk2OfYasjIOaSqC91Q/deMjdYdkahmT07IZpjj3Uc0C9fxVRjf6D+wuS2Sc4v7qHb09Rqd+KIcD
49eK5sEEsYLMqlEdWrda7ngLSig8PNp8KJ7otZmYROuFbz7N4dyz+Xb5tTvgWLNzV4IF4ZGoNYj4
9yqfDbjzj/1DHvfVVH8ye+DbGc988I8l7ORwejtKBfa7/QeZ1ak4spnRr4Lzi7FYeOXjEB3DFcVQ
rl/JiqVgxuCE32JQtB+9dTPExyVYZO9mS9BJ1kEO+5OQpCIjNRXNKimP3PFB/koDvFZl8ewEEgqJ
EKVLmPBbatschA24y7ofAus52I6HMMan+nOKd1LYPFvskj1t9xh3BFPnzKpCFzBk8Ofa+KGLo9UO
/q7KjFQ3o+F63F8HCGOOemN4ciI/xIbe/LBLyvXbb9DR1D18g1NHB7iGCDMO02By7XjICmoKRJXU
+I/+Kk2qFK3KV9JYV5LuUcifmOT0juUW9wAa+W682jdnbbbOo4i2mxXNLZ6otyugYn6yQwzR6WZn
Hkk3piZSsM0QyIMzzEGONw/yKmUhi1FczOqjsD7af2eeSUS+x9TNeRegxx7u7Xs9NFovoj12g0mF
qw91WOWQCrloxpHWbjR1adQASwJC0D79LpLuQOmo6SZ6gJrM03Z6sR9xsep7fdQZ9vfh3l5U5WJX
zm5ZEdR9BgSMaioMBDqTqKrFEunOkGG5PzRomBQaQyI30kF6Ic9xVU43QfIQg/RzVBGVWmvSuY/7
WjQi1irCei1lPxtq6gVQlSuuqATKnmASAoohqTlPpVVFQiIbNbNLHVySWjrbzKpHqtmyCpCXkUa9
8aHbN5+8Tfmdc4gPJvmfG+Vria1VcxI9PDHstZosjj1imbGWbu4n09SHa4OvC9Qr3Gu3lB1Yi4mi
Po4zi1cN2UdBK7hJQNVdcLMak0q4r07MvqMapLsN3oG1nN9t2D5d/DAw9j3PnFoz/7JnNkk7mxsj
o3k7+kfJ1rza7LEMLh89qFpTuDWxBpD7i/qi5IN+G8eSd3NfkoLy/OFOhPvgUiaLvL3JKsz6sN+W
j/jxHWcmPBqip4B2rhOjAjF6sr/iHWszELbNEVryjsqlLXhcfs7D8WPZJsvQH769PXMnWdbBzPUs
h1ZV4NxoSw7v1QiLYtNlVXBbhpRdHRYOGDr9PRfQJNkD1d3ILI61lCl0dSOYbF8QV4kgC/dsnz+C
UktMD+8G+hdjY25OEpgpHUMVF/Hktjt1OGJPEZA7a++Lmm62HxoVm8bHvJpqGiAyBIVOuJ8Yc9SC
XTqqwiblg9oVh3ZDhfxH51DoplgKOCB7Gya6KmDwcKKthZIdTIJYWrwlTsbQIHGu0DGQPsgakBcY
mu6a8IAS9XttL39TNPJ4jkCz6HSUIBzsYV7nJLk98hyjZI9OIrtwwzu7jk+9qFhxnSrY0ZuaOcL+
NnoYaqDgEfv93dKB9ZvawctLOQBJ4v0uKqjOBrdyiddewSSVCQvZF9LiyqxhnLBcTR7xvGehlnSn
jjd/GqNHzofSYExzlKEwnO1tpLGI07uM68x9eubDcLY9LTEyJ9thwy+wgDKDNkmNf89czjeO0uyu
NPQTUWQCeNyOoy+wULCvJRdFvBBetKgwk/lwl/XubWXPTtkFCaUm7snEnRSsOKnPWIsYH4RkzL8M
sL7sr7sWxSaMBlqrVpEIoZZagPATbTgAejKICS3vGNmSduSOAoq2Jd/FkD68NPGEoCu6spYUfSor
KvHnELKNbI8DD/txEHYq/8KVVFwJTbiHEBU3+X3u1aRz+J8kwxftb3wg4i+0IA/mZrUt3PBIjdJD
hNs8ctesHyUVZ0U30YjxE9U8ObwW/u1ud4e9Yyrqh3oPFTNfPp4plKwC4qa4JLZT3oQz84Tq3KTq
3JDm+t1wh8u8EQOUwCk8G2CnKmDu7c3UktmAn0s8Sbcz8Rh5JIGCG5r9YGdKhV3bJ6kOra5Z9MkG
RBvtHuEacY07ppja61D4Xm1G59QerEUEAaTLPm3M+QfHGc/7mQ9gW17I0F7GT2wDHUaBBi/CIhdv
DDmIb287uz5XfTRxevXiwjLj+uc/fUA7ETQY+70/qnJpbbOOhma+FLc8miCd2UvDji5Sb44i93Fe
Im3GsXzfQYjhjTEUmm32GS3ocCRCKXNdXAmtIM9Uir+YivHmZjer7uqBVYC4ic4b5GB1VNmLtqNB
z6aozivP/rEJgnu3MFMiTu9z7u7PkyDBnLj4WvTeZ7OIv4pjUrsPdmkhhvjcWP07W479usLqW17g
ETlp8XilJ4z6tq2L0ow/dkYgfGSemR8CJMl1az+JcxWO+QMPcR6zIBMAaNzlvbPWTGm98px5k2fV
oOJfFLNp2u2qLLBWpOuFan1QQpWm85ja2r3lfVUNQ2C/CeLFvoDvxlHkJBygvPCHzYkoIDPfeE+7
6/zmJqlrGWC3NAaQVPhlArjZW7FhWVn1UXKYyIKWGO3hTiVEx/DM1hD3ZvPM5U3Rbo71QdQswR3O
2F0aoYd+vBTpsDSZbVro+7D6IqGIEdLhGOP/ZZ3uEqwJAEU0ZYuZdTY3u+2ijEBTxKeJS3xW9kRm
4FumvwnJ0ADVWDSsvfNBXo5iDfPw1eeCtiCndgJnF5lxfORhJrWjg95RWTLNZBUybcP/8W34z+2P
4vp5w23++V98/62gVszTbA++/eddkfHff+kz//qbl5/45/pHcfmY/WgO/+jFZzjuz/MuH9vHF9+s
8jZq9ze7H/X+9kezS9vp+Fyh/vJ/+su//ZiOgpfNj3/88Y28p9XRoLflf/z81en3f/xhqibxH78e
/+cvdQP/+OO0KdLHvy3COoKx+Ni8+uSPx6blIIb7d3gH0r0b7CrU5P/4W//jr99QVPHp+myb/NYj
I8mLug3/8cfMNP7uQNxhMlmUCHy6XP7xt6bY/fU7NAxqHuUYaEB8ctG/rvHFW/r3W/tbvsuuiyhv
m3/8YelQvyY+bLQeVtKGHAkpDcDJfTmkzY3r9VFimSfV3P42b8tVYyvU3S2sPD7dzT7Um6umY4Nw
04tZtbsZ99uLdNvhIfK4Ldi+nnwrp8MNtYvNfg3HCE+GDZtWtbRoY0U746eUTbbxy6Nd92gB9oaQ
+x7HkB16DJcIP7CN/3MoTof+RwWDPktIQNp8WQPVOQO1mfliSB4LKzmpyCVq98zZXow+QrzaXlj4
h82db6qSzo3vszn7vONehtR16iyGe4O1wCyhDShZ72U/HxbxeN551Xl9Slu4p3A0zqJtepIlPcyI
8sQPErywyssGL8StcWOsO3tpbq+D6N7IP82L4ig1Pqe0wDppk+S0ir8ZX4N8vMfX5cQLg3M4vKt5
cxfEmwWCq6NwcJdxli5nSMe3foGXZnfqxd4S10mqbEhQqoeYem5UFhe7DOhu6TnZqkGjOfMeq/3F
dn/nzGenTgGRdrtucNauqmGN4HY1xrh5PELY8YybzrEW82SEwsr+2Dj0bhtXfv/Z2H3Br3xtZ+VF
v90uu6bGretrkwbLlhpC3UWgp8nKofXg7CRiQ6aX+6KswRQc4P8yw7AJgnDuHFX8u4/QQV0UVbww
dsM6CBdBVuHQV33ygnKdztKl4ycfNqn3eUNWqz6Qu6ald95sXA/doz3brrPGvUzw9ybyX1nb+j6j
DbdZ2ZduF6/36XDWRO1Vbs+Pcq977GP745hHl1DXvzowA23rcZP+aRvR5dYKflAL/NYkXsy+XF2X
8RUWqdBr6R6KadcINRZEGjuwZeP3i52Pf54XRp/LcjiNhifLXBVjdBTvN4tNk3yPB6IIpBY0l+K8
8XJsqW5kGS7B/lG8mx/11YVZRUdhEJzOk9NxW332sn61s91lMwvOzAbPMYuLJhne0RUNe8zkscuf
KpLfWVusc/urTeu4rjTXVpIuS1q8Wiy3bbQ281Xjex8NShv7DkQ9lS37zX4efWiKT11CipWEgN1b
hss8P83c7uKT4WxwKl6Z19t9fBUrfMu+zt30T8NvLk6cJruby4Jln5kfM2uG5bxjPM6tXX2Ep2UG
shCSv7vfmtDGd2Eb3GGnPHMukzyB1LmPsPpEF+MBstDkhq6SjUHTTrc9Se3irrOM1f9+d7jALbto
iqf2cO1/sV38D/aQ//ZA/z9uIqqX//ebyPVjmu3rxxebhz7xvHnMSN//bjgGbnCwQ2g3ql897x7T
ryhBOq42F77YQAA/tw/37z7KYYsSM8GYT0rMp37uHvyKCYzoQtQcuk4B/fwvNo+DCiyHgRNAXybo
nh59+4j6X+4d22RIYd2X4U1w1WOCaEJiL+hjBN/0zt1elJ+G+D0bsheb1esTHoDflK/mXbTnhPPq
xgT3SY+p8mfhrUtvANs5mr1HZj0wr3l9Qh7lr8WHBI1ZsLey8MasTsPkQ9me4VE7cKsdRd7jjOlN
6ZF4dBncbLojy6Qn4HJTU7g82eE7CA2rW24GmL6rrfUccL2It17s3C9RvNeXdpCvN5bbWOWmCG9q
53tqf6rxi4ZsHRw9pN3Cik7L5rTYsPLRn+2GENzbPbb7z2F1whrKihvubudcteEuzGwFk2NrZJ/Y
gCIL/+Pnuf/fXuj8JRj1+kIPCjg5eUrkz1K80j7u66OZvUJgZB1dtF+iz/Q9Oqnvww/NHggG0Hox
quXOqq4WxalhU5s+Sp+29+31HsOxmqrhUYxAh010acwuzaWF+SEKjTXGIo/lSG32KFjRfZGIfO8c
fbNHQIwfxkfK50fxOUDOx+D7vllghW5+Clbfhs/tmffNvysu3Av7nijBqNbGZoGfRPnjlyn9M+b6
9U2Z3u+fAMRBD2QZn/sDQmjoo7QiGwlv0Cv5D2a/btJlbX4Yy4t6T/8GBFyL+GvwzXCPuh9FfpQ8
YcPfD0cufuhH8+/W5/i+TRcurXrLI6M+ogEbIko2EJR+Nm0UnO8b+gLsk7O2CzCKySnGX+4+jglb
2RL8td32tCUj0Vp7zfEQNwsjv7SKb1W+DlrAELoeLhIXAPAc+MNKl/GHZM+whQUHi3oxq78M+dcm
W43lkdsu0/06ihdpfLn/MyTvya6K9Gh3Ft/P+7OuX2QlXTEX6UBBEIL8Eo6OWZG2cD/VAFaygIwx
0KbEWo39cWcunOph5j5sStw6uPGZsxyQZ5Aq776HzpcaVj0NDupwkZprt32M05Pi/7F3HttxY1m6
fpV+AWjBHgCTHgAIzwiSQc8JFo0E7z2evr9QOjGUKXZ2T+5d9w5KlVlFhhDAwTl7//s3EUHG+jGf
nzN1hFYBTSZ1Ml8A1uKzUqwNkTESfbKbQyGtmkB3Jjt11Ms6epgjiFo4tylND4C/GBEQ2Ujo5Bv1
gjxxKkcLNUxNbXHTB15H7nWx6LId/5yUqdtaL3n8Pa0Ct6oovU7DeybPrrmZIxVzyRc73mkNwYTj
tgxuzA1aiV8vn+9N5V8A5x/vz1+r57QR/ADmGkZvmJFE1lPaMRLYimkjy/vcWgUharHODaXWU5Vu
gYX3YpD3BCkHxUUuL9v0OsaGSfjvw8CQfXrFwXT8JuNfh1nrZX/tF/SsjugX/qbBLLdg0uc0j3rp
gOpH/Bv2oGRyb8t8Bd0jYACPyRLP3HSYd+MYFCTsNxdEz7SHsnFc6PZu9Bi+5IhLCDhTF83TlNFD
8Bc4eEDWK3p7oDj7q/XaHsLSrT95yb7PXn91l876mHFiOqbE3CUDxWjj5Df2Q3AQDaMkL6lWernw
GYGNi2Jcl/Uxs9+Z9rhxhoNMuKxukzdlWFja2ohWbb9DF5IPjn1bYAk80QZ4hbqWg89CfM5GTj89
1/MMHymCooEbQ3hdHVtpxwI2MfcLsPGk3Gb3WygkOanrUl75/qbGzah5sqd9Pnji0bjPJOzqHMnw
/BdeYYV01ze5WGBL0IyXtbiofK9Xl2bkqZSlEQH2LmQ5knVaknC8ghQJ8xPJwRnD9bcvA/RDSUHj
SiT62WnU6m0ZTkMQXlvPyYu0LNZR5mUvLZv67GqgG5Dundx0RgMbAjcLuSQvFQ7DzPzu16+Lejbe
+vlSzs6bVGrHzrYlcqHt/Ri/NuQeOVPqZYMX0GapawiBPuC/S446YAmGlaFbx26Cqo4cGzDtXczu
+gLYxD6I1EhyR/1+0G9b470jE7lb2givsTgkOG+Fhtlg4jDck8PLempN5/TGPZnTPdS6VlvUdFDz
YijdaRESXlqxHMe1OGkNG3La2NvIf1a2kb9I7jvqlxa/DTHtK/9gV9dW6in9Gt2fWpLCDNl0adVI
r5dE/Zbv6bQbVa+dd3W5NZRtaV/ZPYte7CMbt47EKdvdjAfUfGnPlCtkQ28YiZF0QGkAv8ZO31Ra
tgB702dp3mBACqvyctKOdrKhKwsXkPLhsTlT8hwWtC3P8bgQmVuPeFpvLXnXvInoLp0Q2T8N1SKG
6wBMfydIC3TSr+lXPDN1TE9taARE2sKRoaWGjeZAqhpqCOAksdGjeL3bxd4ou+DYCoHt9jK+C7/y
Eb61kbuFqd6pwRrZtyKTkn5hqY56Mt9ZqrehtoYkrFdOq7jW17DxQsONdIejQuPMWCFDLBCpRTA+
3aHfa8O9Oa0tOGdkkpfrrrpQZIfHviq6VV/Bj/e0bFExb8wWXLRhLQJOI6MBPHUof50ksp24v+FJ
qBWjaRc02iaGONv8etX+7fb14/tzViKMQZFqdYIC38KT3bX25a1cXchh5EAn68lyprGuxscqWEDF
IoO9lhkiul3jNumaWHXBxlzsew5PaS0NrjXDPryIlmNyKI1DKy2MwGWo+ckln2rf8x33x0s+O5f6
SBklvw3D6+S+1kGVvRHXvABDf3aafpk+bUDPVUrRCyafGFDkUBEejL2Vul3mtgEicwxXYP+72exM
C/MGHrYCz5/bvTAGp/vkao2/v1qD2AUZN9yfbCgNKY6KarSC62EbjZv8UqkwGrzCpHSOMrZ53zO6
ZqVOjk3xErQXNqlDJ/fJ5mhWHuYgpb9LBre8RrpX93fNtNT1o5G/a+OMWzaaYC8rnI5ydDGpLu9c
E650LLszClrHmBaF7sY1qhWk6PyAZ6F4q1wOWfi3a5mMVfsizjAQJcpo9f0h/Q6PfgD8/oRcz2HZ
f+yXKeH//KX//Mef+j+xqz71GP/cVR+ijurhN5D3O5J7+vE/W2r7CyU4jTH2ispZS21/Oc2QcYk5
sbuYZfzZUkuK9YXkYaZLpmXT7HK6/YnH2l8UwxAKc3ZTyCrSgn/VUutnbZ0JDIv1KICwhbs5x+lZ
HTMEwo/NXirv+jr7CjnGDVL12HQ25VM71E5iNFdhcJSj/CKYswszatkH0wl3fshCfaeYbhCr22xM
W3ciAyAyJwThFRYDoXYfxMIJp+ihCOO3xJIZ8unsiSfICc5NuVAl4CbTeMrCaROaAvF0sw1U4dUM
DBo/wwBl3kUaWK1qEk+E+cJQ3MBt6Nr2cogw8JDlpRj1rZyOl2Xor9o4Xouy3xvxbR2FntCSQzdg
Le3jvsindlm3TBqxmfJpp4c33RyyGcTBV03xMdgsi/sgT5y6GF/tmtdFSuJFYKQXVbCVSHI/DQ+h
DZtp/jjRYwyWzli2wPPEXsxtSgZ6kTxZtXY5+Pk2Ki4hD9y3pd6g02U2m1/5A615kOZXrU1KuhaY
y7aN1r0FCRUD4MxDIPJUJtkqsMzW9XX5SZXp86s036Pi2zMnd2rZb5yRUSMtdEsXloderOSqm1QF
rvMjA2oVz2FbjmibzDhxNWhp8aQtw0owNAzfMWpoXLuEItLFTeboXbL1fSsCCU5LPqR/UzJjYefB
FpqOp+aj6VTJRVSmWyVRrlNooGaEn7+UuZnVHRsNQkDQua1y0SfIaOYQQnl2kaoGvLzxEGr4VOv5
eGh72TVHyIGaCN+jKthZhf4/2G/+NxDehy3p/6Zh0UlI9Isd6aWruw9b0unnfx8RCcHeAqsU41ek
GYQ1/QHy4RDyhWEjQjncgjmyZCrZP0ZE8hcklQL3c8E8ksSM76F5f+xJ/J9wfwDkiPvRZFTgaIf+
Bc73E8WGYRMfgzgMQFIz+e+PHaiO31YxhLl/1T7qqVf0mgPXcckvrEDNt50vLyE0RGN9g/ckVeWw
GsN7M/N343ijZP1SqaVFP0pYFSDlidmQsmEtcm1fhsHKVEGiYxglhbSRSZuxmuVgqd7A0oeLsClS
fxlZ6kGpYebd4bLp9uOEnD+8hGS0rGI2LUH7M0B+xLk3vBumCtiiXMwdpFDq4FkvH2rFQEGBUUaR
PftyflQC5SrTFGppi+qQOOkyxuOIuF693ViTtIzeqmk++kH11kkw1/0su7I9STF3Rqc/jrRb//6I
/n/zlWE5//MrQyrU2wtq1Y9vDb/yx0GuWl++H5CsfmwyvwPgf2DjmvwFkzuG9AYugaYwfnhvVI1X
ygZL57VSCbozwaz/eG1U4wtvGgIJ4HF0PTZE5H/x1pwRqk4vHX/1iSiASMg0zPO3xk+6ru3naD7s
LQFh6TZJag423Bfr+yLcFPrRwpJhMBYNW35t5KStLM18+cM9+xvs8SxN5o+L4CvrAs0XhsgfX11f
Lwa79/P50PThPrF71yp8T07FsTHIrS2j9RDbq2RKFjAA8QK6L6BYJIz1Cn88WFa7H2af2fIzTsML
KxGHIi82g9RfD7QWRRbdJHmDn8DajpEcFcpSzqO9ZccrWWPG2EUetfg6kZsFLlBek33VYSWEjlHv
GoRQTSjToo3rppBRzVgri1w63Y4P+sys0W+8MU8WVlkfzCa+j/X0QpMw7DeGT9C188br96f01w06
q7e4a1Inam6QfPLx+E3j6CW6sQxGew2K6GJNCgP6oIm3aIRkAjKzk+2LxqLsOOlV8hsGLjh9vAwa
tGtcH+QcxzE73ODXRfr4Ok5vmvrWkp6D8CqQYtiWeB8F02+bCMfhP8zxTyXoj93YifrILJ+NWmOv
PtWoHx/00AyN3kaheqg1bxKwYhaArgmGkTngvqPgZ8bgEUtoll19UVf7IIFOtyglLyuvQv1ixLml
3ybSoRnvbCaGRvuU1cdOXyM/YwaJJbnTdfcdlgnEK2n72Hy3Qd/1Nb9q9qizV3m1Tdud3S/thFCU
rbbOMkjAYlVAumxcZb7IlYU/7lIH2/97MyXDC5N3x5bxiNuUCTnCD0axRdRSIX9sHT/xTqCWsZah
L8mvZbNTtZ0KuAginrfkr+0U7dJ+Ji421VfxfBwbt4SNaa1aya1tr0kWhu2BNLWFBwqOc59quFxb
gcjKcgp/PefbYtrq4bqGMKQdBujA2G2e8tucLlmV6rpqN6xBs9750YXIl0LepQ316iIaH8IRX7ZV
mG7zDtG0F1ueBe7eeXLtwYLOyJuX12YWOZ3x5g9MjC+4FOLDZ7pin0iZ5Wh59bTIHnVtAQmqBe5r
sT12ZFw7DbwN18HNyS+wdbNpx5+YuWpeJBzpMn/TXrK3THc7GBb66fG2M7FZ0B6OobKzu1tF2U3a
Zh4WQsGP+YopPq9Qpa675HHUHjT9KiJGsdhFCX+uyJWHPtYcAcdAEkT7CNuZQjuZYBEsEmWvDsR6
YU+bvfrVwlDWmriyBE0ylNltHK8Kc6/qsCFW8VHtdmO8yg1mJ6tRWiXxdWmtYvEqq9vJuJzHrTXe
F595nJyj4ri7n+JKFVySbbZs6zyxtJjKOTHzojhMXbXQinylj/0OU6D9mFWHqseXqmgQWKY2karS
lTyvhBGgC1IxqVKtuwFEpKAgd/QIponMzRLjhdyQattCUZEM89o3soUq6KAy+yruaBXGb1XeuzM7
Q6Mnq6RpN6KNj6Y1XJuqtFNN5lCifzY0/y3S5mc8M5dTjUdUXN0qzXSpvWAjdNU2zc6M5Zskyt6G
qr9OGuU2LhZzLwMb9sOL2is3I/BflrW7Qh4XVXpr5cNLnafPoV+uBxldkWIUx5wpvVybx1z3yMHh
d6EkFM1a6cqFXSX72mdGEmVXUzffN4O//v8Fy3+LEGZzNvxzwXIihH39j/1LTWZemn4oW06/+Hux
b6pfFET0tm0wNlcgEv5V7KtfYEJD6aLslwnbYgP/vdhXlC+UIworHWkKCVyc4b+XLJDLaBoo9IVA
hawa/6pgEZRFPxwheLgrUNTwHNcNrCAENMOPR4giwqnOxiA79rF8BxjyaLcb218hKMzWQollJyvG
zdCmm7DclpqfriYZXD2M0rdMYBUWSMrskYm4s/X6rTLxiq4paaLJXjRB06xGXSebCLmvFydpf60+
bRrDyvehnwNythXZtN28kuzuZKVwPfBXWkN3mLRundS37egnvJXdtIwyxYOS9xTXhb3CGDxyCyXC
DzBP5nWjPw8yCH4dcFplMG2g7Jy4Tlg/xgCCrhAVMVD69RAks2P6huaEZAh4TauA+n9XBwwuT6Hx
kvbELw5tzanL4LZm2lUjJEaF+Bmh9MTSOL/lugLig8s8FSwUwY+3vNVo1pt4So4a/O3sHnYdBPB8
N2NnvkGPDGrd1O+9bl5mRP9w8fYSZmyyxv1RcrXhyh/Zrbp43HVNfS1i9SLzm2KfJ8pSYwoAxFrf
DCK2NgLLOYRaMNtTpXywtTx3Qx+0o51ug3Kjs1X8sPL/puxUflpKTIDk73U2K93Acfnj98ogHBlS
ZOrHEXo0wNFrKyuviR5sCtW4MERx7U/SeuqsN1u/VJX8MLfaRW92uxYSFfSkwPVDxfv1NZ1VSCzv
0zXx/KBPwlgBZft4TaaFn4ZeR8ZxKLG3w9y2WohuqF0tNG61Xr4Pgvii0ktYbtOjXmm3Q1+6lFpu
wOFiVPDo2nhjYzpmKh0YvD69Nlm+Q3/+qGlUMmGbHk7evBkelL++cONUgv4FtP924VBEOW0o8mjr
z0q73KwKvUYGe4zK2Mni7DFITMbWIUdXUuAnqEggZiTdA+5IKD7jxknn7LWpvsXt6SUMXwaRv1dd
EbrJooBL5gZNp7qGqO9LX7ostLF2J594UVN9jQHUUIm7ZicsEtmf1bHlxU6aFYqM7ZQj+dU6JuTt
FicnQuT88arESDYxa5wjgwx3EgBBU5lgsnf9lWQzw1KnkcnRMOARoEDwKAflSh+ypyBKoQqGaeV0
duShfFz2k7IKWvURaz1H1NdSKd8Uvnwvyd3u1/fzp2ziUzgGYgOWAQiwBjX340KoexVzkFiEN9gp
GChK+8fATmRk1G20g3jnSLajKTpVpD2NiywtnoTQUgcsb1wocf7WB4zq5n76WtrDm+gtpjEn1yVA
Zyey0m2f+tIiaEEdEyrbHtRxFtGA62qBpw7orZl6k6Tf14WROBn47FIHBGyZ5Fr1i1/MV4nonsZO
pr34TKZK/3q2kL7nWfAOCIsRLZqpj1+8xVuvycYxvgmVeNnmccTXsA91MRwtEyFG2SiT08SwXdWy
Iv/JLY3Iy2Z12SG1IQjEsTrasrJ5Yg32rkkErxMOYs8QCFlq/zSHyt0nT+qn7ZELpkc8hQedPEv0
swsusC8Lh0mDuqOyxodSvUyM67ncGEVw09XhSjGrjSlT6Y9Ilswx2NWZvBd65Bj2fCix7XIY8V8G
xeBhjQk+Xs/7yI8JmMz1Q25hK1pXx0auNoqmra3k2pflq8ZKD1YNn8UCWW8SmPy//k4/vc1AAnhN
Qb8jjpHwQvn0tv9A5xhDPzZaTGBu6i5978cQE0xdvKI5OUJJtb20TS9nET7FJseOlAbMNkF/g1ZL
vADTBdecBAnWObmWqj8hgVd3cRrWKLG0xC3Nr5GwK8Rm7eBZPnL0ou+26Asv5KiGOtwP2GHE5WMf
Q/ohEp7zEY2ZpexiFcYRayBx4/VYC+w39al1JkkdVrVcXAVGhyFHjvuRmOIJ9yozgS3S1rsEPVBd
FcYm1pJlQm4Z/zPiYIBBJcpvgtgQTlmjhcu14Vo1V1OPW3ylelqke75fXv/6zp77MsoG0z22Rzyx
AF5wuDg7dCZ/qEWTKdiOGcZzb7ZXdo4+BEhwoHIpdQ/33AGuL7IkddbMpa9j8RQh1i6DrQqEGNTS
i4XJ6UJJzIegte4j2wxdpCW6m0lwWOah/CQm/TzehCsGibJPXYyGft36Thz7YS3U4ejbSIOUY5pO
Nwwn3XhIYOtCQ6G3cccwf9THqvJEjy0qwD1Mge66kNqLFn54jL+BPresgQjrUyYaXoSZr9HJ2Sej
07+9SuyqTYKNDNCx81bL6uwpHypVORYTE6gGWx88KuqT4c1rpd1IlR+ToV20bhuhk1SGPVfoaXBV
0OrD+4cxMQqkWxmcbIf9cCtr6Us8//vd7XQzbWA20tMohe1zll2TJvkwqaV6nJOIuQkcbwUW/moc
lQtViQ2Qgi5wsuF5YrA0B8Eu1RP4MO24j6g5KxsdnjixzTLV9QMsimt5ZNPPWkhedee1pv4cBcFn
WUPax7E0uP73i4aOy4EEoP898uSHFdBOURz5makca+NEsAdlOmkvoqBk9ZVOqiD4qqzJYqMWXBv2
nTFdfDqD70CAK9KllSmNU2kYSCF2QHFRtHSH8BYq24IWJjNsHhoZfAaXcTkp15U97sXJAqogP30O
EQ7pQeq04cR+UELOFCGh437z2Yl7Kq1+rGD4lrZKIIiGBTP0yPMT186JL5d8AfYUlaWTVMzs8Hwj
DRNRmhUlizLzb6SoaoHwx5Dok2sjC6HNhszWooBrE3W/UvwKTx99QcGx6jptKxcBhmz5luyBXRPW
u2Aq34NOhQfK7TF8vkhSou1rILIFAcwNmzPdm+N21RjQUBOYuVlLaJUaGCMUFUGoJFfzyY502nE+
fm96PV03NVmwK1EHf9zrm6nrhVyH2rEbqnXG97PH7n5gAS6Qx2F3rNzFtT47mcEkpGuLjZFBHwgm
iDKqP+47iWdT9FG6Uq5IMVI8TL1eihbapzBpeXos0fj0b2H/W4P/j2DiufMci5LLpg9lnK3TVoqz
RlBvq1ChaNGOoZhXsjofQq8jt8GC9DQEppP1nefrzWtvlu9FYtyJST80pK/pvvJZH/ER1Ty9Hni1
miigcG5lzH5C8n88LCPU9aPlJxoZY5CPDNg91kUmAFz7QF2nCtNWK8D1cpBRlgxKdNV0UuYR15Us
Iv2SadsyKIBl//1ThTuA/5cKAsVOc3ZRfidyHacC9djTUKE9dzGzXYxZ/4B+RfFwjm69kLzxzF9i
F2PDsuR689gwMHewsGBvH6aZpabMTQsfqrq31SFyOB5kJ8bVxsVwr1iU/XWqf9IAnftCn24mYwh8
LlEG0HWenza0YX3TiZnHqllHOZEMZ1DTb2PQvFtmiVPSRCwHh/8KTs+JuGXC4dLi/8FF0MogbGOf
1nXrfG0Nfjmao5qrxxDcPySLj8joKbQidEMxZOJOLKR4uDYCg0TbmtgG69snT++0eM/eSZOJEY8P
hR8ePqcl98OOm9WI1yeUeZi3jTEpoMG1DaU2rm3+wg7sUzO/YWKS7BR/ZUt3rVoKPNjSBzsx0aEq
yRW2+V6u9xM4M7U9gtB1nE86DC0scGQTfVuc2HusvVwx2+pyNpv7OYvFUosmQkuHz2qev3lBEO0Z
yENYjuD+pwr6x29jyzXtPodeNZwgbvsuSKbUeY3H9LVK29bV6vGgGGDIKqpwjayfHDG/WOQ1rtnz
AO++SOpXVc7e7QhRXh/XwC3xVVPp92OdLFWlXoWBuvc7/TMnRLywzx4E3hQ6tHea2lNhAYj78dKj
GRf6WE2jm1ZTkQqiXa7hpODNBqEC08cc3/a59/rhIbbb/VjGhzbSY4h9BZSqVAUPYq1jCI9/iR1N
j1llYF+UNOwIfABzwZfKDK5jZP2+eGsrdPNyiwN5GoOW1uPJbB/oZKSewa+QjInJv4Kgf5tE0mHU
8k0f61u9gsjCGhy76l4f4xc9CW6LIdkPLfPu2j8kdn2A98oIKNiG8rCeZCjzfrOqhE1Emg1RHGQr
P0Vche269FO6rUx6r3J0vMmJYpr3r2NKmTfH/CEJ41VJ7W1ssOjFqVj1x4SboS0yFF/ztWnRt5tm
AOWx7byxSV9mLZOdueAYmad5MUfN49xU8Mg43KpBPAXKV3808aTBgd3sls2kPBZ4JpTRw1RGh0hH
RFxO4slS7vTYyFwpxJzFjpt3v0/XlQbLEMeUiBPqojSDypnaBDYy7gEjA5iYJOpezTpX07tvkcxf
GBTYRejDnW6XaJiZoeTr2XgdJWK2S/+oZvalPMqPOiBA2Ve7PuZpRIN0nCvrzcdnyEwv62p0B0UZ
CEvCTjCQQxKSLI28IeVgNdFLk9Wv/hi++DP8gGgiSKwN3aGAjTejN8IgjKC6kIpISNYhUOoHyD8h
icHtvswlzHz4Tz9XjVebTepCvK3cQTCujPNhadQDfODCNFxf8hcKfquEZaMD7FQCaJKcbL8JfDFo
RULU5ESBUmoukR/bfML8tJFtf6v7BmbUarfsRUsD1Q1rGFzcssBnnhRdyXpNkl+KTEEtym3bKxtW
3lui4Sina7CA/Gy04bb236Khe+0Ky4MJupwndWvPxcJ8KaVu0VtIWDRxTPX4q5YbVxS4B97gpyBu
d1AUjrqAuapPX6eSlIIg1VNX6sbYtb0oSG4ivXajRoKD3FhYDYeEjNexNyUYDE5NTmhrGnARsXDV
fr61YFekRf4a0ZE7fSFuw6irnCiT36ICUWbaDAv6Fe6hxfqZcv+69G1Es55J3JeVPuSqfQwjhm5x
TpfVGeVG9gsSU+cAl1wcD6P6dB4qwb1iRFslbd6z6fXX2/v3MOEft3dmoCejZd1UOO1OjrUfdxWj
4yVp+7E/yqq0MrXuPgt50WNbSl0l9B86ZKBDULpDY3qpoYROJQACY3mZq/G33tCfU8wJ6lp/NATv
X92Nn1X835nwZxcogP4BfGEu6MxrP17g7GsWwZrNeGTNESJrR496oe4ThQn7HPWJa+4qFQKv1Wrv
RN/SgvhWi1IBhAm+wF4Kq51dkk1d9mTwyL1+XeWkpwc+k8Jy0FZ6agJkDTjlFUXumUxEawlmdK7H
l1mYWUsMRHkMrNp8xrCxqab3capPetQdjojMAQc+qJm0VwDPwplD8xHtUuvZpjRjFxe8jEU8LyvM
KOhAtS2Iwask5Qc/nArPbuPWxbPBM8ORcBZDe9eNDj1FeTppwvZdD0YmrEJbGDO0Hx+HEkOEOjQA
iS2DhqAkJo3SrUTeYuxlE959qEoaGZR7w0c53cUVBVSrigXy101QkNNRWz2E8ym7sfzgm29r94o/
3EvDyW9pFoLvUtwYcr8K6mTFAixW0cgRpxvp/SdL7vwMZslRBlLgq5CuTHy0Pz7RfsotWZpanug0
He1cxqJePGat/jipdI/M5N3CsL+mE15hgfpUpPJ+bJq11uEAoaTY1ub81CeXdN54cEnQXxSNrAPN
0n6qm+M5TyTbHPrj0GAiBNAXGeomg4NfT/MThxcPOUi34cAKxA47ciU8Hml2H8tp9esr+QmU+X4l
JkpU6Kwa6pCz5d4KUcvZ2PdHRScORLI9G8y3rawD29ElxnfAzQPIHuL0TtdepewW+ukqkHAZ067j
RrkiLC5yJ7pAltxVR3oMdtsJzIrPpJ7f6Thn7yWuSwwtVDoNGbzj41MsLKsRac+FNnFwgTG4PdBo
5dFSCWKUEFG5HSANudhx4DJVJ9solHezgqfeGEBplw2kAoaMQ2/ThthjG2+/vo0Icz9WrafbeCIz
wegxTz4NZ0hoDKJYzaM+HMNaXUyDZ4sEow9s94zJjiHXYpVvqsZaygY4CRzeOvq8sB2bhR9JX9nN
r8J5jFbaHNQ4nh96bHXguUoVGCfFGXT7/sgnJo7QkxdVI2WqHeb7lJteh3lKuzmu8XOwF7kIcZvU
Hwwi3NB4JGuc4wEOR2ZxRY3Qqklh5BUXilThN/RURjqaQ8Vta209qelLzqHtSL2+k/TOgivREkPG
UCKUa8lV1PEtGJN4GXXlE/v6JrvMWeDO2CRIh6qKBinZZkFTObkd7doyvomMkipCxGt/LCRYz+03
JuN8/giAY8/l5JX5vGhNsSnCbteoSPTkMvqm2mnr+fl0kUOt5otSXQC5KwtFyz8pzc+dOmWB0aKh
YOBB6avI5nnvqmnqKEpTSW8kfYG54J4t/EkPQVm0Rtpn80R5J93qEvnsWMVt6nEyl5waiRto8rPa
a81F2A2Orj7VCooT35Ta9RAqSHQjMDh7vCm0/s24M7pauKPfoyVgRcSjtUsh9IgmxNCg2LUaLEuo
ZaMZQmRMma35vVk7swTcO8ydhGFC+dQL/SvxnwTkTjLmbT5mTtMcboU2Y2dRWJ9sCN8bvPP3jIk1
sUQ4mSJuPzugZTvs066bWHBRHrl9yhJUtYk0T+05SZNvs4GffRS+lZZwYypoF5ffb4Nkxk7sb9Rx
fkuBqYHx5Cslz97kpN2qs4XjCKrGJMPqKdZoEVrNg785YbInuz3z30Xty7gTZMchbtYCcy9Z4UOK
Nn8oTPLoUh/TJaMyLwgjvOpnRznlkjUi+pbaKMNUnLgmXglwrdTV2/DrmDJh8JPWYjhibNpCz1zM
iYhqhmiapMNl2JByYg27VqG+MHwW74Q115zY8MtG5HAaaLIhaeuGACmRkQMtl8pN45ebWgEVzRTJ
XybmIFCfjp9AF6d7++HesyQZeTHohSuA3eXZ5CuTJs00sPm4aSN/G2TiK+Pyl6Gq76wYx9wqCT5h
1/1cjZ3eAYKaARugYeJM93FTDQS+lnj5pzdqMb8NICMuBvy101oKClud/UZrPNXUB6ckrSvzU0we
I8IulK/60CIXgONOFZOgnXPHjElnIvmfDcV+QrdPr6kgnsM04T3A/Ty7J+Y4K31jtumNbxZXTYzx
W5y+JtdTVzw0uXboy/qFOV/Y5JfydKhFtvXzfJEI+VAWzRMkpD1DlcQa1moRfEYPUH7iB7Dlg5dC
IkWXAivkfNsHP2GvCk8cwrx7scKNofoDSjffctQhfhNjuWz7AZluitY2htrG8BvYt1IAP5XpNt0k
k9kuNHlGCf7iJ/zzGNevSTA8oxfBdjWBbjmKfUODmgKYsILTwAtzy53VOPT2dlzfxQ3qEqV9TLQB
MfoU4ppi0q6jzFhnQXvdVeUDqKzhmK1yUI14JRU5K4o5IqsPyRojo6J8yMoA1cFsMglufAZLvuzU
7zHuMqFFImAYekAx0E8NPqc2lENb6Tu66syZcJtthqek5TczTRucMOJL1hUeBmTa6DGmAXFWvlTY
sjmxOu3kgXGaZFcvscC3JeQXusBHpK28ThXUPpM7Q/OT3uP8nWCuoy5Fb6CGlkbStEtN95QS+54m
wKvN7C709DIfcMXR55tMYvExWpS3qhgbjC4C9NbSfNPI5SYNi4c5RkHeqbWMay2+ekiycXGxCK1I
r6JAu8aB3zXkJ6NDrm9YwBBZkB/GFrTDVwRsxrx4D4bpWVcLgil99Y7a7CS1LA+2b7+R8ai47OVi
NJizVvmVOsjCEzkWl1O2yZX5xvRrInhFFzsnRYisfSZOJLrqp33jZCUKvsSAQhPAsR9f43psi8aS
/4u9M+luHLm29X+5c/gBCLSDO2FPimqpJjMnWFKmEn0baAL49feDyl43RZWl5+Fb601sV5UrSaKJ
OHHO3t8O0lMa+C+WAMUwEIWnB/t2Rp+lvfpZNsVas/ndQaIuDeGR/BZyuhmibpmE010lfHfhJtpR
tDhgmb8v4xrpfR9yysjjEGRAr621Ivxtavn3NCNNO62dqzikKdHrUOpbY9wMYQ5Qv0eOG5QaZh/T
+1FgoFqbbnRCnRTvcim23ITpkLQtwWuYv2uaoSDx3PTYRTurGFA8A3M1zHhcaf7e8KNxoYs+gWSg
X5fMjpiEbNsgfmo5m4HhdBinRjd1itIyk896BFIiibBbhl11M5RiV5rW2vRypglRXS97v5+HYT+j
5nfpV9+TlH1BWdldMIUsHwuN+nGVDNyqJh5OEYtvZeqvEzReGgfajp4oUIj2eoJnvlUFFbo2lnsj
43+MCbghxetnZrTlKH4hQc7n9g6v0VTMeDjrVmcJIuquYCznN8955m3SwHoudF4iTwuZGNjVswR+
2pGwltQj3v+spwBqK4C1fEQT8GLL1n6NUrRTSU5Mw4XeYtgew3LceM5E5gsEwiQiSLOzl4Qu1Hi6
Qqv7KSUDDI4bux4wOe1j1X7VMT7TsHsUUujlINp4c6qhjujz/dOXoB6h524x8je6a+4MOouyv8qT
1FnYVuvuiU8Bhl30GKaiaZWbiFqlY8O+AqRVztoY4XF6mCMG/LG8dSMv2LrSATnB6dpujJOPzPsg
THohduJujaY41rGZHup8Mi7WdhlrhyTMCKlgxkDiZnTR1X1P87S/sKweLl9Mn2rwEVlVtFZGG1hG
K4Z6WffDuqTpD6z93o2ZmLvkn24SZ+gI5EqLVegQZ/mgOLpvvQ5+S+O/xiU5rhmtx6CQzSH/0fYp
1bMeYetP6RYVU0/yBx6UDjCK4jRLiHaV8xSOT4lrcmeol1Z+9CPvwoNBAiMJufGOM1m9TIDYbaa0
3LBs3ObR775/NrhgG1/Hk0Dhnrckh+Z6oxao9XHEN4a2igU5IVjpl01Y2OugN19EoK/M8AgYEPZD
D319ZH5GB1LAS9W3dteVq36EU1X3Gr3moF1Vif0zHqJrpWnozPvgUcfPF6CsQC00+2UnDwAKchPf
L/N1wt9f+XNzKQRt4JupSdizAW4ivfddPPuNIphpwg+fZe1rkDHjBLx3BF687Lr0p2WG0SbqkfwV
HRziwF/pTFu3Wd+Zu6YBxYlmK2CwjxV68NkcjWSt+dMPNiDSSkZHbhseQFJxbvSXjqyhjUCUt0z7
7hVJ/4UsVHewGie6iOm0WSUJRNro2evcmGaoYrfVDIPtS7iLLFPqi+d/xjWdFW1M3R2HgQndoo8n
aDYcmdaey+OfoaOLbezS9sovC9Yuvzfo4lr1wqAP3QfDljAvVoCaNSogp133b7UEwDGIgiByYNW6
34iL3Wa8QUYhukXvXupe8eKJ6oYVdVpIFqTqGvfpkW2R+YHzzUnYMbXpKTViiEbVvhX0VzvnGNDo
wxJ1X9Eq8k0IAPMfRzzFMSnSVye3HyKhfHwIw4uypxcVgl920wuyxalZBLJ8d3opLDTyEh6dTF8J
JCcHU5vPkm23Hey64HYzIuYPrvK14via2cDR2zqzSHRXv0pfIXvxD2HLXdJrEgsC1T6rJICqngY/
g3oeLDssjW7LkbOdmmgT1NFDXBFkOyS4/n2lYJpkS3OcGqZchMSmPz4/sf9d6cYtQ+xLdUlHUpz1
E6YgVgl3IjzZWmBuBtr/aSueJkNHU2XVz6MXUexM/FU3FLuqhkJB++oVnMRrGFY3VWBe4251TMkp
0TqMerrPQYyubAVcdgqJFjTqeRL6a4DHkGZo/QltLzmeIBry9Vs4rwV5avD8Ju+LDuu5GhEnomB2
5lHVW7ikxdyp+GPipBtdHqUNKpsQ84aRN4+JHI92p45WHT/IpHlEz/AWuPL59fwwtnv7WE4ttE2F
gR3x/ceyNMoC2I+OYSE45W760ArrDnLhOu90XoK4u2v9r1gif/OZHN1dgyEhvQbfPCt7gjA1a+H3
+l3jut8oBBr7Fv3xhTnLQzLp79uh/+KA9jb0+vOE9ubz/OMjzw5MmmuHhh+05MPndA3AJiiFPDrV
LjJXXuWWWNXhVY5tRHI2HMHXdMVXZ8SPkhTE5HNrGv4ox0R0Be+vdGbnQWl58XRnDum6GCnyIraq
dDoECK8WrcSfZTjbQWoOUTmYSqx+2wn/mxVT6xVWB+8924/6vm5mjHhhblPHfO2GJ2B0ip2lXeHr
ZNLImXdpOoAZpU3zI4qAd+kG/F/VQvh0D4ZSxbZIy9cezbku2Nc/f5w+aCG50NxTHidj1mf4s+v2
z8e4jmsGnLyfd21WHrps6+icve06l4wH/WOb1vx38nvImd077ozYuM9a5id2heGtHI7G5Co64nhc
tWpNU3zndFS4ykc7mtDmnMz159/3rf149mCgaeMQhhvYQF919vyzt4cyyeV0h2hi7WThfZZDScs4
NjNQQF+ghY+utI6T2163RrD0ZMMJW9yVNXMegladZTjVd1mTbT//Xm982PPvNY8yWA3wTUIXfH8d
A2GWOqsBT0sGhHlIAWlcSI0YiZ+D1h0bv3qUvb6I9PDZY5cNmLCEo0FkgtGjuNt3RNIsgGfKRWXU
ux50Ma/aDUce5OopiSfjMh21B85uKexY9cunlWZbAQgY48uUpQ9dfGgQUHCBJpKQh0D87AJb1YiA
ohLTKc7JKZD7piIKTFq3jTecyuLYlsXBS6ML3cg2Q6E/OcDZs2Wha+tuanefX9QPN9vhu9CosemZ
CEuHUvH+ogrFOqAP7Xjq6nwd6jEx8/rRGeVOkQbgVQ3zFUK2XCO+kH7CGtDtADRsdd3cl2m2blr5
xRf6OKvnC7nWXDI52BSgZ7z/QnFhosemCD71bv48hjCNcgCHGmkHphL7zDKOBcE1PuP0Iuyv6L8R
58IofnJx8CkbX6GlM7RX5LgAg+lKQrjwwvyKqWM5dFw6ZbxF035bSLE3PUQ9OdJCc/K/z2uDrU/H
TIIY0q6DynjqXJQNufGk4y1RsntWBbp7yHNR7gIVn77gWjnzXf/z8ab5ghQKYgiDAZu14uypKPqo
9LthKNhyoqvSmHUqMO/0KbG3gWRgFQ7fwWBelxZjaNNkG/YUejsLBqNrl/DwwojY9WSSKKXzLUUb
AWE5tCMfjqzC7boxc0bFs3gSuWoj5bDqa7TwOS0YsPCPtC35A/NLrcP/EpRy0yEPMLjH9IBK+oYa
XkjOTAcox9uisa+CChWgn1anCH9uElZHd6gvDOclCMZfjpdBu436g9cPPC7NDz1OmxW0jfVotzqm
SwhnnLPoySFZXFgGqL5JMYIerHFvVc29SvLT54/5bIM6v7hogRx79r+wepy33hDSa0XUTcAKv+Wi
ey6F/ToiaPXK4SSrCuJGRbJY4RebQvlkm6XxRZoQaJ2OlYSkIYAszziC+NRYRUaDkLogtV+rzk5X
dhFu9YZmYdoqqOgVQpfQ50GNLZqINlMvKPEcYoZvfWV8122oiJzc7010OlmQQnsuvABzjP7kteo6
HK5VrVNWZ+aT2eHUVMP0kIluE3bZjzpNLtrMuKpyzNyorjaqXk+cCEDz7oeGz6gL/qPLwd5ZAH/C
XhD74BxtCeE69m4zxE4Un0zgc/bRVcJLRZ7JNhTRQxF6JgjR6snxDgP5NYsp1fmPkKVRLy41atmF
5IMxkz1NZvgUNAXDeDdeUieRf2m4L/TcQMvHhPk5wbirTfeSiUSyDrLOWEEwnNa5Ano2Egidt79E
2VrrMasvc9nSbM1OHU1Hlcv9BIyuhi4fmeYXMFfrQ1fJQBHKhJKv6KDS987erRQ/rxXRf0cont37
Ca9MWjHqLniLHHnX2gPuU+3JCHRz6XmxsRkq60RbZyGm9DoXKHqnOLnzYGI5Y3WIOx59IeCXhy5K
WcY+Q/8Yu3s7aIc1TeeBlFrnxWItrzxvx6LrcGh/iPIZRuUiOiVD4yItyI4wRNQs29ZZKAQ6Vllv
neGCv4XqkWOr0ZFwAx46nNIVqYl4R1Ne6c9fi7ff/X7NgRGKrw9MAU5BtqP3i62fYotvYqc42Zm3
j+1kX2fmsiYrgD0j3jrt3CrvrjMPWmcrNY7A2qPZhg1NMhohuMl2UyguBC2JhVdXzpo0lWyZMvvp
gPQuh0HfJIb+ogT5ZNRgpV8whtYCa5PY1cZvnGeaX8OyNoND5qLydsr03pZZwamjqEkJ5YTFcTu3
1JMiTAhuDtQ3qkM/2koX9Ztp05z1gmpVl4yVbfqiK4vFa+lcuR0gU594kHEMf9vmCXLNg2fTIO4G
eO21cnd23l9Fmk8uC6+MhAsAPMxADIYWrKTXM1nqF8aTfIHDuXejepG7rFGpnDZpFADYig+ZRoZC
RaTEhsr5WVFNTEI8ewnZW2N4Y/jJrdbpXxRA1sdFbL5bcxog038qiPO92o0G0tZUcVKV94pGUMsK
fqf16Bbms58Pv5q22VXjdGii/DJV6V3WTQc7bpeZFu+bLNqmvvmNuTh/rT9bnvrV591DlrcwWvON
PmdO9XTzFjZWcE9BupNp81CIDDJujXM9uuAsMoff7hryucgdPjp440dP31iGjXzPe6ot9VD72lVg
Fc7itpMu4MKMCz401tYbql8TYMYQINKiEd0XR+A3KeXZg8wJWFCtYt0hLPfsBQ8ydz7Y99WJ9hd6
drmN9eDQmXOhHaUg46uIH5YmEYtQ6S0wcB9ljNOhBd+4KphSe+FhiEKGLAWt3LChNIedGNfOdURw
ykqP5I9u8m90iVIxFzQqwvKrw9DH6ZABkYvpizX3H+di7P27iA6r0sLRrk7mmBxUgOCpHJ7SUNxz
3QBFxpeEfi7cCglh0ceIWOrgFrddukjYA4a8uLJjclLz/GW0o4PifC6/Cl752JvnKG5SfyPyYMz2
Qbeg18rk9J2UJ19LqZ7kizDQHRp9xK5Bo85onduEILd1ZclpBbEBU12xiOEult78DgXMKQuiI/Xg
dozrleGW8Blj9FyZQpbsk3QMHABmY5+quwlDzZJUsLWdItr4fNUzPrS5+B2zTl5QhrP2nY/LE8uK
NS01ihN+h4sBfwLngpFu2+SSj9f9GgKDlnxP9s/UX6uEhwaOQlhPNKMTcKfIc5eff6G/vbAC85lL
vUvZ+8YG/6PRkWlmruXkMp6Itr2oG3Hv59OGNgSTgulHcZEG5qmq0++h7zKGZlkaxQmU0GOa6jec
uq67ykcUDmKjaLc5fDA307ZV40tKN8JbGvlI5L2/cZggdWHxxZv3tkW8f/MA3AkH1QGIG7QjZ02a
cKiY9pWqPlVZddLD6qrS4ttKestRgWW2I+M+c2q+0rKqfmB8eHIK83cHSSkIvg/9QNpHDioOixa1
wfA9NpofYQwemtMxW58g0mJo5vLFfGgT2GK5bn3D8HiR2SkpukV647YEmA9+wbrbDK/xYAMgQQO4
6Kyo2TKsuqPXri9h6l33sgkvaCk8hhksD3rnKy+WCYBECwhFx3nHccPl0MJlzDTniDd+0+nVyZPp
3q7i49RUpz4qLhsvv7JkcFuY+rYIsx/OgOg/6q5bTc1KGQ6/iVrYmmLqg9hzgDSznMiNo32OvLdA
7F7ogcWaBBt9GHJjMzG3QtgfHaJY3jaOGOCFGCWtSLGWVi5WBbvUKv+lWREpIb6zd0pbkafQw62x
nRVhhrecGpDs6php4ZVUVUnbpN3imDQWJsHRxrDKHeN1yCD/fP7Qvr0l72/8TBjXBXhDfGXueXfO
T7yk8pErnGrhrBQaKjuT48pyqmwxOBHdb4Q7QzqKddX2VA+txxwTLKATtdcJ48mtCORNEnjOgqQq
hzq4+066nqSQMDg8xMl3G90DxUTerEi6fGi9zgA0vSuymhQ021kgoGfwUta0rZjnVf3Gbd1vwO40
xpIOMYr+KVAU7qWFshtj+sEYe4ybeJamqfqRInWGYViPxJk+ZV19gaYeA48fXLqSVQma3r7LQqI0
hP+KAHhkCo9UYhi5a7l7GTjlV/6dt6t1fjXRg80+TY4oH1b/KiJE2PNceZJp9uCEm8YBodzNecud
aNql0mfED2JMPwxfE0+ebGiAKFC8YHmnIx5g+UR2auXJjVaSP0lZBw5BBwPEASRwWJxx4kfLKUMz
qdJ8aVQ0TusJ1XMycph2o5Ut8RGoJPbIyhInu0t+f/64mOLDCYyfBi3IRVrmIM47Xyf8sh0w2MhT
K9GhBAGhIY1WbRCWQReGYFp2k1hbabf0UsTbGp325cSDU4A5LkZvNZXjtiKKOw/Hm5qmqIeTjNEE
5XhdVdskDPfG1LqrkIb+F9vFW+1wdmsw+zkC2QYSxw9u/iztkcNpaXMq7P4ud6jX0xrwLYEAKit/
hzJ4bT0ea741MzKECJzb+EoqgWjUjBfdwF0bY7GULSdbE+iQZ0W/pdd9Vcx/aOg6tP+RPtK1m51v
bG7vC4iAFnJueRFr3twfY9z7kJjd5eg31Kj6U4G2BXZdfaUem6p+DpN7ZftfXKqPNcw8gWAW4Yh5
kMR56/1XoC9ve0objTtF3bmAiXELIAMJdEkf1tNjVLf7yUnUpo6ajTQJV49t4ivd6JJIKWMdey+0
GrECRMZN6tmk3LVIdLrkC4+gPVdS724o3xIDJxASQCTwDM8qLSdvOyOa7ZtJpBM2hPDapcNhNGqT
W5pEZNAso2lOd3KM7IBAYu5WIHfwZfx7TNMX3v6Dn1Eo5kZHsaZ+1ga5FpNX4K+m1CXE9dCWJM9D
DJkMwKZldxlL3C7EGcnYvGhsC2ODinbsm5ejNzaMGRHC6WVeLUk4Xgd6clPolKBSedruqu/0cF+B
00KHvHR8bWOIccsb8FN4UKzFHLIRBZQADgcUFew/f2vfNLMfLhWEGFLAiHrhHXh/Qwc3AnORYEAz
ZpK2nT7EXvCtnNRNk5jbmhg41w02Zsa0uNdWUdNsup75RRlvPv8eHw/w9G48UJPgdG18+ufqLiea
SL5FEno3ghtLWrXthsReda7kvSLrUFv7mti41rgd2RpC1d8MXQh+K8ZnPppPmpqPisnwS/b00j1x
07bAW2o9g7LdiEMZjOCThlgD207Po50NK2xXHmpcT7uWwYvnKaivDLyYEz4IH+V8jk7cdxLC9cj4
QmLHqDSQ2BZqN147rfZt8rjJepD/SBVp0iWZZaS0chr5/LJ83DVQrHFoQGaHUNf9YGxyRZp3lW1V
J3+giqL0C2KXOf4YTEt/9G4wLF6JmFSOeBj7ZdYGJmT0AA9GRQ1rxbOGGOi/9Geumo3vvo2v6ZKA
1lIkduX7UTYWjhbywEP1yzP6vUf8+x4N7a8h0fpd7MffjSb7njArXSauCBblV3bej+3p+QeiX8W8
9WahOz/y+n721w90rUhfinT6LZFl1RgFbK+/N9C1ez0t/bDUv+uR/pvj5dLUvE1vFcwt9WGjifY4
hOP0xYX/eN4ESgS4aJby4av/YO2rcrbavHLLk2UGz36rULgJCTJ0evSz7HtZk9iVeA65xmqloz3b
irDYu6q9KhKL2BKBT1haxCX7m8KhGZr6+XYokTKTzIdGdSyrZeUkW6uetRwlQT9G7D9//uicB0xi
IfCE74MKmfc2xC5nu4XRWqPbYNI6IekFTqBRW0PiDzQWXRmsi+GxB9sDRQnGcap2mZp2pNg9YLi4
bkbtG4UFPDA7WUx69SIb7y4rzTvPrrZeRf8Sz/5J68dVPOZbTB/HIHSP7WAs9JSqXmXJ/QgRg7i+
606/L4R8mar6GHoByxz5CPLWYRApnO73mKELjomI5IbHP4p0PMQjLfvYCR+Ltt6OdfCfi0hnXhYg
XJoJcLHPlxk6//3A+gMk2guaBQOC6wBfLQMt7bGOEL4HhqzIIpB7ipSV1zfrQfPuzYlEJCsv9sIq
n0Br0eFt0t8o938n0PI+v20f9y52VlK6bJcREaOjc4USFofAMzVm/V5BfIRVrOGII1dwh10PacNN
APepemsnzY9E974jm5Ro7ZM65XUnLUWmKGETHT1WrlMG1rXAtKPHKOlrtG4xbGsNl5/d1taqbz0S
3ejVResoLzfoeUmMtq4yAcuqJNHFTqEfmm152wlMinnNbh2MLyOuq9jWH1Cqos0gRtRdlq1Jz4il
1LBg9WtJt460aG3WLREVZYNGekx2efTXC/p/3jnLz/DzZ3/5fxMS+m9R9P+v0qHN+T3+9+S40+v4
M3rNslf5JzXu7V/6ixpnO6BuvflQR8Yu3fJ5Qf6LdWvxT9hpeClsvLTYaPkn/0JEC5JH+WeMtl2o
zTj5+RL/Qt2SMMrezbkGaTELDrvVf4K6neuNP+oR2oizfZfPwqvvfiRrJU08DblO/lbhtD5pn9YL
eooO80CyN6ra3NA+F1+s9ed70NtnzuBpimtmtR86HHQRNMvoGdM03rPVTsRagQFI03hv6IN2Uwfd
pc7ZbS0y4BmVINWoEP0qNRSVhCx/TY0pVr4+xMsmD76Ya5wNkvlmHMAx6mA/ZIPUrfmf/9E3GmOy
3qUkjI1iR1vjnRQrzfYexzmt84/H5OavK/xnsti8G7y/7vNnCICBHCwFlcb7T3LrOup4j0NAJ05z
0Rflb1+qeheY8LzuJ2lcqEZPvvh1Z+1ufh0lus9xkc2JLcqdT5R//LpSYXvuI0HGUyemvZXs4ybV
7pWHoyR1Eaeb8caviNTULHP1+a89NxO8fTSEW5Tw3HK6Q2cnhMZgFhXHPh+N8wlvozN3Kul4C3zt
cWs1+zAMf5QhQlHYvWsxJMY+kTU6Jfp2pMWS0Zx1u0EZ2n6k2T0rlU/FRJH/+df8mwsEsQKzFqdp
D+ry2QWyMby6EYz/pXSYBRrNdwzr5so1A0za2UDPclUInMF1TN7t5598DniYLxA0SPBmjOkRiZwT
cLq6rZq6EhGzY9ZuWs8Xnc8nFkkIa0Sz5SJprau8SJYgm7ZC+Cb9IFzRn38L/+PzP9sheSLRDrHu
nD8hRVAwOxzIRlR+sIsiFySyXfnb0AFPIICYBEW1Ck3xYumlfzG2+d62B8J6/RBudFnddVPoHHis
V6mZageh7L3pR8me9qPDWWMFVeGu6nC5mlaMHG60i32gDk6dV/eNUwK08Ye5SZicDNcrtnrL8aKw
mlvdicEzO3GxDxEH7q1ev9HIk8VR1D47ot94blzvTRetrIMiNAdCsPbT4C7JShuxe/pqVcQEYdy1
927ypGJOzgMepmXqBPGSDpJx50b2L4+1jp51uRQ9PXYtqLK13btcdnh2tWV8SwTECCfBBdH3dETF
TdpbclU3KSnm6F6lUXlMFcNwh0DiHr+oYC/e56YyL4DQM9nS9d/6/AhBFlsyjmyxwkePemAS7GXk
u8HhvGOwFq+t2nzRk1FtMjn1S5B99n5qa+x5IT9GMtP3ZA0MN2RpLAntLKdOfbFKfNwR5j0FoCUP
o4mEzHy/SlAjVYkW4IcscYLUI6lVuj5dkLqyDOrGW2l0a79gaZ3XYPPDTxuLDc116Nnz4r3/SAXS
w6RXi58wF3IrbNgAlpkdw8r/ZvQ9/nOjJ39wCjGSJdVuFMVKztPydJpusr6475KWflxugfj1QTEQ
yox2/pT4IIhyh50NBiMPoG+gdXZNsBrGKaNAH/srUbig87S6XHVmmh6KvNqEBg+bg+5z6QXBQuuA
Dfc8oddmSFyKG98hNRyXYWHEa4M8FsaXclhg4n2qRs58qUWiEhzIdetjoSbPd+V7oL5Ej1esFrvP
X9YzSD0DY64azHve0/k+gSp/f9UqTjqMN1it7KYiyTGwHmqHrJnO9zgoaK2NBkR/aiu/v64DkvKc
JjwEEWid2tE4ihuchAhjob/kfLGKfNzaOAWxmrHYs5G6520zOflA9fv5MAyBPT/VdLf2YVXhFjOL
cT9OF0V8+8WlOF+4IZuxbnLyIgTobe1+fyni0LH7gCoLN7JODKTV/wjU9MvTOhNFslFsedXBArYE
6EW2tfEkQFxnagFPR6wBsHfqdRG6D37o4cOBZbosJK1PrQ9xV4fC+mKXcc5XWVPHQckdm8H+FADn
bxjkEtXG7sB5lX4ci31ubmLztlKZ/W2Ic7YZt6Vj3wtSK7r2Rk+mX8qunUOtTeNl1DDXQZo1tas2
TB6x9ioiHTPsKU5qsWyX1WqweuT2hGG4UE1cP223QC6bjVnrapmR20Xfa7joU/yisS5J2ywZx7na
FbWAtWkSS6GFmRZ1n8vLki4+ehS73Cal7C6jIbXWls9B28/N5DLU8LZIe4BVn0yAvLRy2bWWfvSs
9ASGKLUXRgL1tK8rfVXA0VwblbF1h65etrTBuCeutZ9Ec6Eh/6IRUVyHHMbWjXL8tUYS+Fr36+MQ
l+q67v+ZdfPuMPNn9fXh3Xnzidu0dHlKrbkIf//AZCHeDXx02qKlq4UqI1sSrP3MAk5/V2k9DQTl
L+t28vDLdC+NpBpEumRC+ySmfDBpkXmx81Pz6DV8/ihT9L+rC/libDmspnR8/2YIJMXUKo+h/0KM
HIZ9NBuaNPKVhOZUh+wqn3/a+Vo/fxqiU8tFFoiV8nzhHdjIIjclX67rEqLi9QrEh69v8Qr9HIeE
DE6r2H7+iR8qQdTJVPyMuehr0xI4FxbMTqxKjCMCem+MwajUatP31QCjFflIz3ocMrPcR+N4n+Yw
g5KxZfSl9m/1V5VrcufaDDBllJ3gvUoCaSLYykGw/vxrvlX6f9bnfE1EkzqVMv1AVtizxRVJkUhT
lpxFnEfZZjToonTSRzEzZMPWFgqxiJeQNBHO+sZxurTCwVqXQ5WsMU1ixITbBHmxf3FH8hFne3iT
+yc0JRdZ71QHgr4uAUrA/42wLnMqTGhx2OOuFQ79/DG4iO2jHHDKNUblXzdIhFCCiZtGBeOmFgVR
yI52PbrJRtKibIzG2xbgvXNQemlnW3tchjWW8PFy1oqB6cjsVdZM2hfr/Dl2YX5OObjOMjAeIyrG
s6KeIhRVe0+WLdbW8bJ0UTBhn9bi6XcQUNKDr6eFTfZCmUhCJu1xOIiOgs8WmU9cK+CaCJ/giIgl
duHuAhiRXzze5wrnt2/IlGxeZJEnUNO8f83D0J2Eg7x1GQ6xf8X/85csK7VC1mYfxseuRUgXZQ5A
lf5GuhlOUseGnZN2MNS60brNBw6gEacPApSy75n+QkU8cs9rd6lnsQkXkzNzpGz34ChCOewWDVss
ncM0kBfoTpTRbdxudE3dfP50nk8R+F2eRzfBxdDJvIX53/vflbqY59MpDpdxpuP+6lRwirIGVynJ
ZWbEhhf4mQTkSSR20Tfhqg6capeRAjwhTKRAb794XT6sWrwu5FxZsOeFgQb7bDllEFV6TVpyCZzm
aOZCLaRhUWVMlcN4xf9C2fvxttKgp01M4clLyiDx7OezPA1pnTPeGQQltR6SpFF3ol7axsRrB+GC
h8ndqZizQzHED5VqTKDp9SWZExb6cFdfVWlVrgBl3Dno8RfVHGRTG3kAKGBqDoEbhOuhbG5NR06I
fot47bVavYcWQmHq9Y8RTq6dCBPyOHTni0v5YUnG3j/PH2j98FqhBTi7tWlT6H2sR3ijIBtYfbJH
1rkpqtxhxfFJSZnPLp8/Tuc2NXM2+s8wW46+lJFzFsG7xkButVkFxCFeyko0e2Yx+TKYDLCrxmBR
8COP1V0j38+DO15SJLqj3RyrNBVb3+kot0XVr0TgRDvJhJkU04vO7UkNqBtInyY5JkVfbJpYaRvs
VDdQSQ6RcvLbADPrqkibfI0tH3sjEbxoCzgi1UKxLnw3rKo/tlb/0o9NdTeJ+ErN+YK+k71Snlda
1pJjYlbrJuznZOsIBVTKFi0wXSIiNojb9sJhjal9b5RBsdJ9CeUclMO2xZE0z7ujy1EXt3FoN9u4
dPN9bhfrtuj6XdIO3yK3d+i3j81KDml+23h2vitwdzNpT7oLt5sjPhy7AV1d2sdSZLB/27ZBOKbv
uIHRpkBktO4KlBa9uTWgrAQ0nI6DGT8ACfV3YjKylcqyeDWSVHiZmMM6bIyI2J/c/uL22ha3791e
xmyFchzMoM66gVrj/e11OQNUhgvgjInOuEpcEASSjvoyouEO2qS66XNzL/Jouok1bxtaTXit2+Yq
MW+AP2k7EwDecmzM7Ko9am6MCGVQ0x1sU2hovAcI4+8KqWW71hsJOg6itdCIWUxHWS2SMpCHHqB3
a1rVRVR0kIaHfF3YZXqAowQ0Ll4lAebHQosYPPZdv9IKFq1A1isrS9AveC9mLcrrmN2rDlJ5MAcf
+q2oszv0DXf5nOtQ6z+lnSUXzFrimx6W1UJN37Dz/DM19/+3wO/H6vW//+tn2RVtM969hnFZvOtm
Czb2f98Cvy/T1+y5+/Bv/CvszTX+Qb8PnS1b1rvYFEym5j9stgtELLN44F1IovcPDv0687S5BTGz
wf+3Ae7/w7LQS+Lq4G/PPrD/LLZ1XlD/9+3AH4J4gT8LSgdTIIrhs8UPK3qDeLzWTxMvd+aX116P
Vd4a8qNn1/Wi1HHSmcVSans/751FYPePbTJHdNanpJ/1Kd1XytW37fLDVxK0DXR3rsrP01xy1xcp
Waz6qTX1llTrZha9VVtEgEfZToS5zON3zhC3rOoxszziszpdx8VcUFFy/FqDKiCUFMm4b19GRWmu
nUEDDF8NvNRNtKgc/z6Y6FhFmnqqmc4HTso5dPLClapNSvAWXdmg/0RRdwOa+4gb41gkG9/+poXO
tMGqC5bEXEp8hOvG92OiV7TnKjz6frNK6uIoG/+egCesGm32opR10Ya//3jEbv66Fn8e4M7UT/Nd
g3NszBNjmBbzWen9mtZNyqClmOqnIdWHhWrIStO7+n/YO7Plxq1s2/5K/QAc6JuIG+eBJNg3oki1
LwhJmULfY6P7+juQrqqbUrpSx/e5wi5H2UqJFAjsvfZac475qPmSmJWjzkxzyiGTmf6Oneriy3AC
Gvqdv8yk9FLVxjYyvWWOW3PhiWnaCFKrgd8wR2aAU1DT9pEA0iLM5f/P+8aWxDh08qxN8cY/9+Ab
tS96c8zJkerNlUikaweRr0tRyBR+4OaDMeCfbK+1grfIkcn3laEOzuIr9+7cxohlIPxFV9GpUg/y
FXyZYUEcNY1uG43+bYufICzrx9+/6V+fEK71T+/50xPiR1KjGhXv2Rjszehx7zmRcpbt/Cv23adG
4D8/VQerpEILmsXiUx1JjIumiNgbL6PRQm3qOHaT7rPx1OqAb4uEbw2GYTamN7VC+Fnaha8RmCJ6
5sN87MjgLugB+lp2geYXz/oeoRjHoYQ+BDl2pKm8CooJdNYzuWwPQYoiaNB2eF8PHtxnKZKuwThg
xTQ3mV2U+EX5TXso8qg1GgLWnOuPYVjXmd+Er52qhGQRo6rdGFM3Vqf8JTabGbFK+lJOTWOOvZ3O
77FU/W+aVU0AN/P6+8/l09Dgz8tFl0ADf0Sb7pepCr9JH9ReIF8GeuJletP4JmeOOHvWneAVycRm
ykZoZOnJ6tBk+YX1FXlv+jw+LFQaWRi8MH/xBpzPdX8FyLwPorHn9IFWOZG2JKFcOl9nRUj5FER6
Yzqx+/vf+pe7cXrNKTgL6D7DGufTE6T1QvFNresvMBeuoxm/FkO69y37i4v7sQ7n2n56mU83vY2i
PUwFL2NzLKCRtVa7lmbZJP+sshvwkF/1Yv7iWmrTBkQtrv6AfH1cGTi/CRXjVH9B9bwx1X5OWxt3
T/kSUh+WXfyNHIcv+qbGX1xLDS81S9F0PX8xIIgyaSsnlfuLhTNf5HK2otTGCZTHryXsHypEav+m
mLWJc/VRys671vTJIJpovRElmv0YZnTiO6VMcbpv0kDaSj5nYpxVYhZG/V1eiI1OL3FWabkFJQjP
kaQfCOW7SFa2H5IC4J8D7KG31KVehwSU6C/cQ/Bp6uwmIeNaydh9jXJbNAkaT5PoJBM7pa2vQqXG
tVc0t35mLdSgPxR19WgiE1S08iKzfc4wU9CQYDkv8oogHLl+DDms/LgZ/1sTflkT8tj9ribM/JeP
FSF//t8VIfIGjZaRgnmQbWXCb/wpiaAiNP4wmYLi8GdWzVd46v6liVCMP5DBytCmOMrwf2y2/H9p
IlTlD9qJyIymbKQpG+pvhWarvIEPyxpw80kVxEHcBlhBJsHHR1EGo2yWwWDcFYh51pnalg9EzM5l
eyeFKk1p/svKlITC7RXuC1UUDxH5WIwwgxulUe2zPPazYnB50qULgvyLrAu4ZHrdLjpMHTdNH/pf
tFU/Lx50/xC501Zl8mIhq5hWs59G+xrkXLUsfXHXmF65aYqGeOIc9UJZkztUt1WzViwcOYGT+18I
qD41dBla89JI7Dlcmtpf7AEwpbx6iIL2zlCSeJ0OSYX4eKiX0aQctfte3nWF+tSE6m3cUs1GkZfQ
LCDktKrBzA2l7i00spBcL56O8WX6HpcRkR7J4acb8C8qxk89M97nFOrMJ6tQNmoO//x4idKx01PC
CPP7QU3HQ17ZwdFCd7Uug9E65k26DJRcXrF7Zq5fr20aLi58yBgrVt/MAR93X+xjnzAW0xuaRlY4
1PkLJY/1aYfhoiXGEGvDvVbl5sXwVZWY3GITKcxA66l8RQasurDCoAUV+bGXIvWajToY1RoS2Kiq
/g5u+qourTfdr4ZHIGY5fTfDPqIZJIqBkVdWasUqE1L49y8mQ2JyRvjEyfaQPyslpKatuDZKf6+X
dYsLN1FmoxIATYcT5KajB6e1Da5w7neVGOsHMGhru4Xyx2azcLCk/7kM/8d5zo9D2s+FCGc3JgqI
L9FPTBHh+scPN2gVb0Q/Ku5RijrbNgf5VSE06NOkemsLWG+l5720reUsa63J9sIuBNpywq48mth7
4Q2uEcK2Us2ouE9TqEKBoeXzQrEfwR/4ezuY7FEl8oJcqknUU1P/VvJIqCJiriWwN4TF1qnWjc8G
BKZaclaWJZRNTE+aW9pp3UG1w82Q1g9lKeuuGUfXstADylht5/RV9Ji2400T9uOmcppVOXZojg3o
tn5unX0F7eFQoY9U6tTfaQShCaw7dOyqvWzEX92W0+H+4+LHpWT5+2HP4Aj+WbJpgwtTa3Ns7+1g
bJ7izB2VMJ38qt0yKnqa3or+FoYpeS700tic6ZXWjuxBTsGrXBdjf8LSa8yS2AK5jMtvWZj6CYj+
uFbH8tB66MkMXxufFFu81K1CfnTdJ2SjGa4lvOJSaHmw6KwUYGSpGLs+/ap7/MtSCYxmkhrj7mIx
+IVqbYd9mESeL9+3UjsuYseIjmGhiz1EjB4bvVcfJYKvfYE+6osV6Ad06ONdSm+VsZdNUis73+d9
pev0Ss6l0bknXQ3dS4zhMHKOemkARJf6Q2IQHyqlO6GgcjZzcAmRBT1TIbGGKaCZ7QotqxZxFYiZ
DoFRgXhyU/etRTwUjGA/SBElqBXxNEZERTVyTKwViFkgAIC0dkN17sLeWHXqAGmyQdKfVhwPbNgG
LuPuaIFzHb7nQA68SLIzEpiXQR2aXTcqT5JiHLUuJYZPkUDXx/arAf/qdKu3xM9XplfMcwAwzNSj
W8NEIOV45RZqlxsUOZtOxvwybEIiWMTCJrhxOeBRcivWDeFX25Hg9QooPI4rX99osrQpAlKoW2Pc
KEqFGTBQ9GWc2dskZKahF7QVCvngV7hekrhnFh20V6lAa4EN+FSUzK79SktW4C6NeSnhOq1GHlTu
ttugDUkBl3Ny+QiPBTsimjWDqoxEJIDANpLbQ1zl9cKJnjRQxTcS+SS234d3VimtaRVMqNtSYOsH
0uMNhDZ7qewDxA2tfTv9Q0qJojTS8cKRrcKvlLo0Qu0NgdXyhZnXgf2nezKC7CkMYmvldyYezVHq
Zp48bpMkmjBYIC+FWhwle9+3krbQ66Ret2bzovQ8YaWa1nek88zhlrq+A1Pmixt0WiU/3p9sSIrK
wzFxdX9hhTZtKOmO1Mb3NrGot7D0mn3RWmcd7JOb1iZ9CHRRlOZ2/oIpWqYYD4sThtN60WkeeQDM
iLYOEpTfv61PoZ9slLDKGN7RCaPxh1L1087tFFE5DlXt3KdODyUxih+p2+7CLso3sZS/JB0IAQkd
vagNe6u1nb0tYvvWaQyZsIJI7FF1ir1pgFkQBQomkVrLIGFG5eXTyCMDwSMKhmPAB+gCiJI4eAea
MSkjd412rkXSY0aTw1XrpaRlpL3h9rHb+pL31JSqsbBGedUCU71Idr9TKhQTlcGN/PtrMLWzfvlk
2Gdp47PlYhD+uL+1GXOszMvj+6bVpRC/MsupDpryEuj1tjSq6ivh/i8lMNMgimwdGSzx1HhGPr6g
iBzqyVGP7sdG/W4IS9qqOuGn8aMfdfptWVuGq+eYKXOC+y6ZYz51X5+IPw3hpw+e2vtHOjaFLSfj
TxUSmN3pXusiPngv24OoPzt1cGoIb9/0nS1gbXb9jT1Gr6OhVbc0akoZu1HolfGJwfRM7eV864l0
Y3aDvsOiilc+tzIsw0oNRkcP3Eit67nNCrcrB+kmshThRrRQwi6DmmmSeRiIYE8DEftoPGwIDpuF
tZU/EKCd49AVZLFQBayVUCvW2VgPq0pz3NGBgyaNQbxLFbX9PvT5OrSk5Mnzte0Y6v6fw9D/nkC/
OoFOLd//fAJ9IMg9rP/x/R9L0Yjs5cNZdPrOf59FzT8UIP9kHE61LLFTP51FbQYXDJqRldFhBmH7
01lU40v45yaR5KTZnaQR/zqLKvofmglzi0XL4C+K0r+jz/+lWuEUyovjR+MN4pedFoafDna6lTYF
GIL6rqolt2k0bxEsgZb0JBEYTw6m5Ipg358u1F+clD53vvidGRhO5leEHRgQPp0l9Z7QSnB29Z2f
6+sYDUeaoWGko6lm2Y1sV4+/f7lflrZPLzddgZ9+w4LgqQKNVn2n9Ma6lyH4wpO2SwlyTP6VbuKT
7osVZXoxHNPMDojRQ7Hw8cXiAGmuE43NXRJaS5MzfYmWgvYe1uNAP8dOfgOe5ltgeVcnQ4ed5DbK
UXYX09q0ngdUrr4zhXEcAQ2PzaXV9A18dPZkfweC5NoUfA855a95Nb4JevpV43DIzC/UJ4c6s5e9
nOynX5NN5dmhVxVIxjpuFHeUCfNNxcEPtcOolIeQVcpJ7U3f2saUwXHOE1IMIt2+sm1DV6XFL3fe
1TCareGFixYjpJJW61Lji36QPOtUWnXaPibMfCX5RD6IOxbcKInUznOtIiK3a+dqZ2x0TEudbDEq
sQhKrfV1C7xGAPZxPNceLqpkvTDSJ0Quu8ks5V6Yniv04uJTgf6I9xKH2M4fMzv8JlfJvrThBZa1
m/WGxOCs2yFmO+WtvyMM+tLEJmcHGAaxzIUwIrdtDCwczWOqc5C10LaNdnP4Eyec3GAbm+ukTdnN
exa1hyTwl3Wq3sTRE/BZrj2sbhTCTIM39cRF+P0t+UsdpDHh0afB4yQppUH68S7JYviSnTbWd71j
rDOvvzfC8PX3L/FrO0IzUDoDLdQRwU2ZDh9fA0tpBKzJbO6EKW2H2jzKQ34TFsacIv85EvrKH+tH
b6gfKaqOXkzqk+q/msVXuJG/eiLQ6yD8AJXDUMqcjoM/PX5A0Ykhg4N4R6oMp+TodehOSqUt+kY9
R4RsM2XJH6f2OikXF8Z/lFzh3BbVLBThe1uYX9SgP46XHyodzHiTJhF94NQH/Hxdqgg6Zw7E495M
R8RVec07cJSzGWXP3RiMS52ajgKu0HQS5rhpfMU49OshiLsZiM14AaXwuQtCgNK2S7QbzBag0LNi
zC9Za21snydkbHuXZO4Uroi+9uOS/Ey7h/+vSu9KqixGDAQRGR+VyJ5rrt2M1JFN65QPJiKqtMWQ
kbd5C8qMU64RLJveugbqcO/HPOND8uol5mt+YuLzzR4YjaadviJfAqhXf49yfQ8QHX+BHXyTpeqx
InltjgOQD71YE66y0OzisTGZvtpBDkATlCl58vci5FdoQnsTxMi6o/b6+3tR1/iMP19zzI8EfUyR
U+CePt4DtdXmeU/X/T6OiB8jqbBxTS1by7WyjnNydssxW2lpzZhUM06x6jPkhQfrVOksLxCTaLX/
jge1M9W3TtO3se6vWme4T8llmKFnWTgZuDG1Br5Ycfj3JH2lyczXQtxPrZ88tJCNpqEbB/N3L6vW
RnwMIm2VISDL0+95SwphFb8aGriaaeiuq+M9cwm3ZP38cR3+W0p9WUqx5/6ulIq/f6yf+ON/1k8I
K/+AKUlfFR01vfepX/9nK3/6ioFAw4CcMSnyf+rkK84fGioEjXGhRo3Bpvzv4okvTQ08BPI/uvio
Mv5O7cRrfrixJ9slnV42fZK3GCqbnymVVqpDgwRgePWCeSVIvyQYcdbehD1oevA/yxyyl74JSlfE
i1a4GjdivgnMjeLvLWnnKG4UTn8mEUe/u0IMbtQ7VT827Xsvk0GUMP8NT3W0k5NXvbjLjZtIHFt9
pUOCbEBOvGrpIwnZirhx4rNZEkK+5fjcaXMVTKW1oKXYgAVVoYISQwy0ApzM3NlHIPKihcHNXs6g
YKYxkqkZqYKjv+6jHZ0dojljWsIr74V+ZPVcfIfbT2J6EsNsAIoxfYcgY6HYBOO5HO6dYevoMP3W
YbSkXRLEJLasUp7aYlmqLoYqgaFMXdalaym7ttsgKAXbByUoHFatgguKIYLrJ8ueQ1e0Gd+xnQOF
6oAJJjNrO1iuarnD1S5crYVkRzeIdXlVEbQbrQodad+ii+Yt3jFtAVXQvuMQFisrnYwvoijHedoT
IbgsO2I6wADuMm2ePJb60kIX9wiuyEvnRGUMzRxtaa7MS1b/cGVlS1tmf5zDrK3XxBaiwidQ9ad7
/C+qYDoev9w8gPaovqdh1GS2+bRD90oxOqI15KvVL2s8+OVJaeimO/UGodkmCMMVuoSNKYJVUOjL
2tLmsa2Q++pDuHT2eay5BO+gvPGXoe/NAhhKA5DHRGU4jgyvmbLih6OS56SX6nO67fAQu5leKHBH
n52wBnaKfkc8cPadN/FLqBtzbKIzgHkWP1na436aC+ncR2Jupu0MuRxzWPSIGqWjeE55x2X1oKS3
tb0N/BMZTln9XOn0AEGAZTSpJ8jiTCFbzY8Pg3cWKQb3qy+dm/46OOtC2ZqgUHCwB+JZ6t+k4EHJ
H5AZAWO9b+yrpD634YM88D6F0i71Tp5p5OaihLCLq2nsfe0hpg5tVnl7DbtrSewWqEOO3m+2VS/a
hNRgDH/EtzgL4b1Zzg0o7uJsdvPGrBYJZ/AYzJ0CPgOTm6Tz64lrlb7nxptP3lEbAJg55M7FVrbM
hFtBb2aJUw1rH8wIHAV2eFNYZwEkwXnqstskPfTOOU5IXz1F1kHtrn68G9EATWEKKx7CttjZydKD
J1TdZ/6S8Ylm3XT1Q84D7Fzb/MXnYZTaa14+OPqxs5dJd7Z4jWLfZntT3KjSbhwfI+m2Sl4hSOXR
KdQ3WfpqiSf+Y1w+9B7cOLcvz3130Z0LSokQKZI6q0K3sDa6dTb0BX+j4a6dswr9k/TMFwP2wHzA
b+jrrBMRvlnLtdqdFd3347SSkZ6sP6TetTYO55ZlqTl1SbBRCxak1nP7zKRa8VyNkHmj0beqXBPp
Siz3wPJGQpmcrAup2qqhtaIAhD3LKOyfCKW/taP+75AA//FPTa/1lsOkgLfcQCT452svXpqXD//i
oh1ohrP4PkkYOT81//N//hwfTX/yf/vFf3z/8VO+3C/pEvzn/fLykuafGg78+X83HBhVI/OATGZQ
6eK2/deO+UMOaeOOmaj2f37xQ8OBcwLjGDoODtOL6TjxU8NBtjj3OdNEgXaD+bcaDsAFPqx7bMcI
UGTarAzofxihP02/LbTMLZZP5doFjBWMWlsUnXFQHUKqRrN9UuiCjdp9okunIsIV6aXJWc/z+1hY
x35sDqOxZmN+K9vxImKDqrzU3mqpAWTyHMv9rEyg8Y31CoLoTJjxXV3wbXH1nSu2RyQ6J6p7CeDw
aNVu1/qbodPrmafzD02mkiROgK0Tb3JR8g7Qc3eFK3fxmr14Lctilg9oZpJszndsw0rbg/7DcXYM
sTz6MWG2snQKVP2AWXNHjnitLxrNOKopARG2CYDdARYjaSu7IuOulS9yFs24UAs/QnzfETjs4wpX
CHQEBdkZdTn3h/A1KeJTXzwWbE+4Rw5jrG0bS91BXTxXQ4qgUnJHoV7iQbiq+pgrvBNJIsMxqeYQ
+ViV7YE4CNSUJXAvg69IHLZMabhEXnWb98pyuiqaX2484hRob+AI08etrRdrY/BcWIj3RaK+KUny
WlyaNF1UgXJJdfOaIVgnsuTBDDng0FOeo124abynVCg74FID3ljpPRtA9aOVfrRhISu5fpBMaTZM
kGpU1XISn5NYP4hW3zas3Gqs3zrRttSicwC5PIrKe8lWD43urU1nr5bZrbwGpr2Tc3nb2ZT8mrQu
M+fg3dBlO7bMDoMhvS86dZkp3topU8p+PqoK6pGfLUx7EediGejlLffAJm1ApTcpEaadwUYlYYmL
C8gsQybNVA+Rd2RqBD3k9T5TQA+SQV+FynwIlAMS9UVh+Au5DHbkjpyGUX3rDT4Rk4EuUNLoPKTs
ANU6mMLNS7KYBufFNId3LbOvoz0+ZK267XrdmkkR547irdSkeStGOkHZosya76SpzbNEB7TWhsRi
tAtZlzgv41xoYpihJTF2yqOaAoDPtXw7/a8oKj6Y0n6XVI5CWifmZWRs8j488zk0RfUIjYqbtxLb
kWgbkpzIq8L5sqswFE+3Aq2UHnP5rNPlmuqLU1TTkmE16ksvb4jKCWXivqLoKkoy4nNvF5WagcE9
Sij36uVgxI8Aqt7R5j9NzTXMp3dh3a+0Et1kNA5viZff+1V1W1V82EZzoaYhbVp/lxt5qYp1khdv
rUEk4JjdBzlTqao9mtGU4nX2IBNXqf5k0LACjj/MSkVao/p3+0AhIm58K5p4A8LMDYZq5RjCTZjz
emTIi+DVl7VtIDwXEqTbFd2bjxiTxeU7to2CpEJlV/cMLkuUYUpF2EgheYucntSYhudSr2/lUoEF
aEyaEfJh2ckqDZpOEQEeXZl2DewpW9mEqapKvepAqHY2l0NPZRCnDBCTtTc+xhACGAtsDD9Zx7W6
l2KqJBEqM73sd2kRk9VQdM8Wyayhpp1qpX/uVTZSy2ZEIJV7WfZmpVQ8JUm+SlV4dqH2kIbaloHt
NRg4qecx0mLVJ9CqluZ2Dhi+x4WuacFTFzDFoWBOeAblwX6P/PBVr+rlWCSPlWWKmdXQksyspzTo
yQoh24wDTj/LMh4KBWnyzBu8kzTFtuGPJzQrPYdD9NSF8gOM5rUCdFzGYov65hlY1tPIpYpkae2X
WA7VhOC+mKac1an7nniaYZfm1sYI5Wdirdf2WH6vBC+jW2KJSdzxeDc0UrYDnIeCLLzWv6mUeD10
tET16OxzkvJYjRtFeu9UxU1yyskIlYqUa2+pUd6OUfiUpRUDtXTXwRrHlX0nV8YG7d5K5NoOHt+e
4FYIY+Ta8iyGwVI2lCU+bMJXycaYaTo2wVTZR3Ww6qFvmzm/RZ/l93njndp2U+q0OaOgIhNP54Kk
IbUR8+Wk6OeVr+090s77lstrexTm9hWpzzWQvhU1Pz9Vk7N1rU0erUjxrnHfrHyjPsKyX5C4vgkk
JLT444tYXghb2U3fSladSN20rY/T01J6/Z3oYDfYw/MQ+ct8jJ7k2DqqlbeWI2Mrh+0pVO8KWzyP
Dg81dQ7qj/EBEfEBgdAxa6O1NeKGRbYTLfTzqKT3jlrddiUL5KBvnco+wak5TLBWnLqUt8j/20y9
kDOyxsjGRUnXQ88+4CtLqXAOabMLHXlZeN7FZomQQkFfa7yUkkUODg9pZOdbWTSHIjnKlPH6oG49
mqpWah4fC9YTgFbMs8bnIdD2o5BOfVORwBueo0Q6yS3ebUSo3Xve0PlJ361ees8t6eqT5BfZYiWX
1iZBGSIN3B/pRhAEb7CU5z6CJlnbeVp52yr1ntdGerevZTQkNZ9lN6g4wCcg5PQbq9l9TletTk5m
woUU2r4ctIMgICfrpqBj++TQ3Y7C8As91ics0T/rHuxvCIhAWTufPeHj5N5tskS51nK0lSvrDp/n
OkP0Cqd5Zuj1RlT2nmuz3feUNVMb2qxRhtECJZHC7cfoiy70Jyben28I7rtpOFMDAwPNx7acnOYm
VzhQrm1bn+zC2DYCPbyU0qowv0mOdshwbpsDoQB1cGtbL+Ub+eFLI0pu0oYiBIRHGHBO7KtTxmPT
KfZdjlpJI8FTyW59VV8H8VcTFgAUv1SP9HoAS6IJg/ejyJ8Gx17Z9Sq0l/6KW/JUFsmD2jYzZgNS
0j01HonNfZ3vjQC7rGWqDM7xcCq3Yhi/1yXrgJqdPL4vRvk7YK5rfPp8mdig4t1kcbccPQXMcbwy
VDq4I+Hp+P3CzHermrpTC87CH5ZhmV39eovxyC2bB9ZUe8yQFpGRrBmrcTQ4iVdugWkH4Iftuxm4
F2UKJVwpxIvTm1oQD4lNZtggGWPSf4KHs2ghLoS85SigZonGReQzHmlYOI5jSNyLKZaJA5ndTxbq
FLFJMIji8x1StC1K/OkBPREQm3EhXC+3yFi/C2qkZMKYSZJ/dmRBbkKJbEc9BfFmxHXAxOBgJcFt
hXQmkNWDQfxqm03ZCdp2kr0TQEddkSwihae151w3JvsRU6PCLqSn+Y3vtIi1xpuy/B5QQvhOs1PH
mzb7bnZGwdmZ4EZqIPTY1C++vK99FO1FtSnVEM9zdK7LckObx2qdC9kEO1nm3XZy6TYxrSIsnBLo
yEhlWW26Vwyh6Oyy+sUIX/Te25sASUZEEBJ76gRNsSEQq3G74eDzUJo3Rv2q2M23KAS033XtsUzQ
WkVuSR/BTDQ3qiFiaVOnua32vM+dWg7s4smZIPmTF47oM9InjICLKNYOhjUsWlPdjplOj8zfJn3r
KsAbPLk5UcXn4qpk28Sxr1YgXapmWGmkP2aOdtKs6XPngXbMYsaKt40z/1Efwes58jW0Tcjk/kPf
EmHg2LdlAkmFUClu4CXqj2MT6oew9K/9gzolr1aFdVVoxzC9vVrD8KZZMLXrudqQhuDnxD3JbUsy
sL6ui9tY1Xd2kCDLYq8hYmjMtb2cenciam/i5jFkepYMWGUd8eqMr8Lq7hqHu7jiMmKRv3dCSEFU
9rYB/Q/cqjpcEjKIUU68DRVcF/tOFZukKbgwylalqlLgsUIDCI1lU/bHOMj2xE9fFStZEMJwoyrS
0orSm6BKbyKdABEsNXVkcLa6G1VtjirtEDhzr+0xBTj7UZH2LEeLqYBMJH8q6E65H5+7sZi3sn3E
zEcsfOuafrPpOCtJEENnuSGdPaFtzRRbsf48Jq1baDhFg+5YEQMBE2seR1o9G2J+qKwdinTZoN0c
RuNQKsvaTLZW3xGUNayMcVyxD6wHqZnXvTH3sXNx7iEhslshub7PwxYuV+2aV3YyKTO3JPVOX8Pp
z5EB75Q9LtTC3mcaYbpxveAWPXr4WqOiYaqxIw9mm+TpPozFWvte2qSeKBfQi3Zkb2KtmOXbuHdu
gzGjYkrW0/+UOOZOXdsp05CU8IqRknIgWRsf0tZycEwn0lkVYkEEMT0cAm+kapcOxSmG2Zzzq8fA
+wPXp3c2/SpK2x0hkOyCEEmaNhz9SjpPC4BIkkUAmkbPnUUtiAzq4ROMvNz0u/iac20C7RASvud7
J/LtDoqc7htF/zb9zLZ4l4W/Uh2dhB4EpaPiykb6AtJpN1g0gLN6iiLRaQPJQEAjinNhiq0VJUuj
LE8JxTvP+sEw0QFa9n5qDir5KZBPsVzuLDWDBE98cl1E8JKs7rUjWzD34n1VR6+4f4mByaUXU212
UGPWvd/xQ5O11eUvcG0yO3v11PAWqlNVxd9TW18Lzpdx3R/rMbxtfPVg5Zw5o2FLyqerFfp2dCrG
2ETyMlIbWe1i2X/HF06RdVHQ19Zqsrapv4JM3yowwaI8cEca2JHBaY+8p+lMaNN8d/R4/eMO9lPE
YP0x5aNQ7Og8T2ls5ySR06IGQ2ElnNDik+EF22EcYAgxGEfeUw/2tZK4skm6YMy+wKa/zSxYzUl1
intEBNppRN3ZJ9Je0mka4wnrTf2QqfE+UsTOS/RDYDFp9CXnMtn1tBzwKShRR1QTK2xFTM3SrBSm
AYFbC/uutJ2LYfDsZWLZxou+Skh1NbdDipPel65MsK+5l7pDfAh86aLC19cl58HQxC5iQQuGldVq
UPP6Y1L6t6JPV5rer70QQyelayUC11ZgHXEbCgR+qibmWqcfyClKw27nmV7L4hbd2Fo+6+3cxF2P
3jlg3e6D+BG9yqEofHTB9SZqx2PI6ihFyptI7LtMgU+kKW96Je1BIOGqhZTeRhVjDKvCZ9ecaPZs
B4Wc2PY18QGAEEO71x321tbb4PDZOiV1yzAuhi7n7hwOYYegEhYxgizpDH3lGAjnysvf+na983o+
ezZEOeJWpjeRohUIVd5WzGGDHxQN6dqI0nX50HjeLtakxfSZJV6/6rjvhm+EmK/asN2ZHhUVQ0dz
JFWZWzIs0oWO4CEO/QOoSbdTWzevL048LItR7FAGrQ0NDPZ08iOBi5gOCFJqSFerPZBizCxl7jXj
LjVk2vnerlPt3ahK8zr19vYY39fR2jQ7t+qKdZHErEDFkaAUrJXR2SsEOpIDKLH3QGcordsvXZ89
6kWzbZx3PL9rRkK9IP0ptpOHJNFWAOdcye52UW+9yAXIf/1CIj0bF2e3jkFNq2nPfp2e6LK6jkFk
X1R+M/P1GTS3PtOa4rHy6WmxASRFssvAXAxjetIy/MSiIHy7IVa5GM0dsW+c4stvpHUv9VbZiJ56
k73CCu8hqD0Q9kFcRoKJ1lzj7phpdkLxo62ClF1d7fnoGbrbRcg5xpSu8gAcm7hJuA8W6c6qUuyc
QnqPJeMl0B4MRMYWyRXMzkmimEpJm3aIRbwMvw44qm8+wqEvZj4fJz5TwT3VrmA5MRL8hdhKVVvD
t5Suv2qNf8AWvM05eslDe6qaeP1TS/gvxkuf4Dm8FnMlbYqn0Di5k1Q4CTB/0l0U9VA3NTFYV59l
y+5pY2TNue2qZRb2S91j+K9GW2rBXUcOoC8HHN5rOBJTdN1aHvQNEoxTYXW3v39bP6zlH6QA09vS
FBhNFi6ZXw5BQoHVgeGuv6pkyLHPkIQ894wHYGVNc+Z8zD3yHJdLdVVVj3X5zFdrBe25aDZNvtLD
fdmdpZByjOLcJ7SoqxjPED9f+cU8WXEXzrPg7cdb/lszhmue8veP2cC/ZwU/+v//79/+44Dh5/nC
/6y+58eX/8vclyXJjSPbbuVuANc4ABx+Y8opMqVIKZWSfmiSSiI4giAIkuAi7qbext6huqorE5UM
vg57H9esv7JLRABwdwDux8+pfir7U/8LqxAAbDhohQOibX5mQSZibvparkr8n/8pf/7XHz//a1tm
TfOzhebpy5r+mx/7q2ThxP8NUQI0+vzJU4xC6F/9evi/kAAHlS9sBZA6Bx71Z78eaIrRFBY6aNdD
AR4VfRj4nxWLmcEYuEKwLoAyHQ0YqED8Vaz503P+xTyd/hRvetLsKi9s1l6HyAIsxqkCFmnu19DV
HadgRnB/zlpzFDLrBDkX1zwUaBEddkYirD1JyFHW+5mpgO0jcFdBLE+AgRv5ri2iuCiuwx9QrKPO
TRw8Svk+SB6m+KpJUGBFpuY50sc8/CPrxbY2Lqhrf0h6cikI2T/i6OIpuPu2Li6G7FvGP0TFA9EP
IRRVvDsVvBfRkebvewUlzPfIzCR3E8AD41UU1dsyuUOvAzTzHlqQfoVmwhPqIQQGjHBwvH8P6+sk
eRxi4NDeCfITFEHQY3poJ/CgQTO+7g9NeQ+lGtrfBMi6JndM7IP6I66KBbAGEmH3GoVqPnxDIyME
S8ERAckCtBtU5gOHGppzQ4pnd/raFzh77xN1XXU3gblLh6sW3xkOQD3l5RWuIQFqsVP5KWY7D6CE
EenNd6O5CrIDZe94fHSHfV7eqeZ65Lf+cG/69waMYACs8tup/0IEKE2RqO0Pfv4ejeiJj9P+up0+
71h6Tcbb+X/iMNFnPp508bFBQZnkd1V1X7OHln6Q6kNS3uf8mrBtXuw5wF0AcktoW++6/Mrgvk+u
wwawjvvGPXjNleT/QsT/fwgz/wtjA9ztXCx41GhMfV2inP/BX/4exDOoB/DlMAyQ2/obEw14DuqM
6PdzQE4SQEbib3eP3P+OGA6ymULccd3f/+hPd6czAUwwt7YDdot/+B+CembYxd/eTlAeBd0Bzuj5
8H5xYOoIL4tC0fxIAf1H/kVkracokDsQN35O0tEj4MDk4TcXkiO4YYgwboF2VRNVtDuVNYQXv6dI
3AVH1dBy/Nch9K8K8htB6DVi9O8fZdVKR7/sAhE29bEM2uILKjPeUzmuJdXmj7w1YwuWF7Roa/cE
iGhKpVu1S0GNPUv5tO4uVzQ5vLCA/2AGsIOXyypIlHjKoAmSV24FQW8OpjNQXskE9vPv0+aN78/b
89Yk5u18sW1VqOva1EV1hEJThW7WdLrKYgCTaGlOaDFZQXgvjTIfES9G6dswz6ehAhEE6hGzdsbJ
SZkGlQpSQ00vVgCTSxtiYWVrMQh/AmT1mOdAwuyIh7vxdTKAAxH9ogpvm4uW7Df93YvJtEjgT3Lg
JTiGTO1+CN3aqYA1Cj0XBe8xQMIybMC/IDbnh5sheW9tkU03pBhp6xQaFMdepQFtt2C9m6qrDoUf
8i7nMid0Fys3AqzL+KriN/ivA7CchCQx4z2Uemhndk7QG7oTWrcsXGk2XvAtu8d4DBOV+xWaqsDJ
jEbjagrFtRslLLo5P+8Fm7H7HNwWnfT9KIqjqNQDBKLirQv64J0GQmYb1Q5f2c2FafyGmb3YzXJy
VIZceHRHDH8eZnpp8NzG2/NzWPq4FX+S0IA0n/bF0eOU7aDOVNzH5aWxwZtHffnTR+VJN+HRHXqR
DTqSI+AhSuLSFcnLBXf6zfH04vNOmPBeQGHlqACWkT983hmR731QU2f7PK4ligOXrZIVg7omzpzK
yPyINu4ZdZnwqgGVP/JeKy60tA1W+PHGaCzdZsiPYQhhyF0UNh2o8/1xjSBpyVTtwFMnNHHdJryL
FeJOJSD85kMUK/UgsMjD4cv5ZVrYj99idC/2o/KQ/ayHIbyrA7BjUiMl5K+aZpeVqBOcH+J1j9G/
z8vfZBIvhmgA3Ggz3y2PcdmyjS/7j3HXN5+LVA870YiDB0zE2qt+YVN+v8BfjOXwpvBrNpbHhtTq
KhZF+rlOkdQ/P5OFLfldTXzx9cYD6WWq0c9T+ynYFkaI06HEEW5TAXRDn5rqcH6cpU2xPLx30wks
FX1451FOAdtUxVUS+nqPFGW2wqu6tFCWm3dQm4GCtVsf43rIPwyU8He6Lz6c//1Wo8nfW245n8c6
5ThjzI9oZCNoXvag9hkcCJ/i4WMbhnnn74UnifuRD37a/Sp6FTlfoHQQgti87ICcaiVekGB0I+Aq
+JKVBJoN13psJ/c9EsK1XmOoXlpoy4fRR+WVEWBPdyRSwHc36QfS0c+gYp+uzq/E0gCWE8dF0ScE
vYR3AF24KHWCSDovXPexQDnlsp20i6+xqXkS5q13ZyCkcNMSJr9GhdeuTGDBTv5RIB+8onaHujv6
DtivOFpmP7NJZtVKbHiNP/y3oTjWM16CuSaCcClKxaR3GVrsE8ingZGAJyjAcKdO+m+xQcv/H+Ci
dtDmP+SlNNH+/OYsuPOcyHh51MVtQBTxSg1ZQgflHh2lP5smPvkqTB9lwPOV9N/SMJY3Q9IOj6qk
0scmb5Nt0LvIhwZTdyML+YW0XXLZgWf3PeBRknLHqXqQN+S5vpHQ9EBDAcDuHkph5xdsyRj81wtG
plaOQdkmd3gpGgiSB+1jlYTtn7pj/+nDCiJXr/aDCogkRITEyGhnfQBZOGTVD9WQlCv0RUsbYXm7
AaW67qC/cPS7KO0+SZeWwPF7PTpd9mxAgeqbGDpvcFf2fcH3Hcv3h0ADvTkAkFPlqoEAPTNHmWTu
KStBC39+Q96eERLLr1csIt0YSEdOdzTWzhaAR/Br9I2G0klzMiznK0Hg7Zkg//h6GM5wR65bmt03
snoimn6MEtHu+tS57PWDBszXA0xZZSpHpPk9JESeIyhb+KyZ0GiDl9wAIYbD+dV623zR5Pl6FMAm
CddVyo/5GKgjeEbEbdg6qNmf//z8Y//56g1jy89TjlDvgzzssZjGp6iu0AXDkz/AUU62ILvG7W0a
dudHcmcTemuoeYYvLiKDJ3mSQtX5vsycT+A93+j2IQvBHAqmcqCmq/CTW4BLE9IgoKqFwMn5YZes
zXL/Kp9qNAKW/CjKhG103kEeKFbD1jQjiNe9Nbm0pW2ywoBsCEogQek9OtVYvldVw5/DOHdWvHLp
61YQKAdQ6/qDz49FbQiwOx6InK7C0QOK8PwqLQ1guX0K2Lbfscy/EySuv3p9jRVqU+KtXNgXNgFE
yK+2HgJdfJIT50fNK3LlFj1ky02XgSPenwnsxWWRxcahJXHrTATcwvegqQUJyNi8Yxnq52GEBq1e
Ak1y0WLZafw85h2aGwAfjbgqr7rcB5YZN9+VuLW0VpbDczaGLSRR03sciPE2q8s7AdbiwxCkQMSH
4fb8HJZGsfy+5RGpAQMWx7LXYXyLffEnKLaWGPhA/SrO+WbC+5a2K6+QBQOzeWG8cVJUok/+vh8g
0AU1BPeuRIb2cH42S1+3nDxC/TX1uec8gqdp/AY+biDsQV2E7Or57y+tluXdYH2oksBtsCe4FW0B
q3/2ijy4g9jBZzBQuyt7snBizTweLwMkj5owxj0IFd0o5Vca3Fz7lCsoLLuQvj4/EYuW+q+7KxBX
r8cYy6zwpxJM1yDpiX0kUHXhqWlfDiw24bXqRgE1Neb6hf46gtpUXdMkRwb0tlYqBN99O+WEXUVB
UcpsA6bWdhiAOauiTO7A8Wz8vZ4Gicr+oAYDoBdKuLdxVRao/eeDA8wOMnhxCGryjrreBuwddfZH
0tQ6WpGGW9in0JqdW+K5BakEfhxArrTr3ObeSUc0XPgA+pMsii8zt8AKZ0rXrYYkevOoNIo70GIE
L+0ADojze7RgzDavnXRVEkMuRTx6tBfHKK9BVOhSvWIB8/XnjVM4sG4tST2qvic0uuMxsDc1iIFi
xW58HwKEv6ohZPzLCFm7ELLzOauBW+QMJAdr3H3zAr0xeGgtXAEgUO8FfXkve/HJa8vHAo1+huj+
lpbd59IHD5ZGva5O1Nr1fMGn5hbulz41+HmIvhQAY4RD0Eti0p0HJaltLJtmZUGXRrAWFLDSOiiH
mMzkjOj01STfJUTlV3k76ZUjYWnZZnN/cXOiwJSPVWPKe9W5v4JZTd5pIP06SLThpgydyFi4DtxR
m5qwYCUYLVhhOE/3xZgDWgL7rEkAjGq78pGOvttvoDgnLnrWQEz99ee9gtEs5ml6b4JUXCUkfF+Q
Bmm8CkQ25TzD8760tDnWwTDwqQUUm2fHAdzK1eeY+0X/EOepkHw7yjQBkPX8QAtuFdonBPYdBZe0
up/v0Tp13yVpX+8LV5/UCKBdj+RDPP/l/Gizbb3lR9ZJIZuhGsqJkaNo0CYfSBDUVAz77+SRswVx
t79tG/Pt/FgLhvCbuuCFIUAyDxgk6OZB5F3xk0Z0QpIjccaVq+3CDgWWnRUkdIXfyOYxwcP5xkPd
pt42Kgf8vk0uNYPAsjZw5DAB5p7uLjQ+xB6rnhbiyoGkFgeqOsn93WVLZVtboiYWlwGWqhDIDoNQ
SNyommUfLvu8ZWOep4qiKJv2ETQ50Q0ohKGU02jPmBUbXrAqW2QvZVS4pnTHu37yot0U6WjLfGag
uQedsUrTLzUO/pWQtrTt1klNoWohU4OuqyquAa2D7/ONP6agbqB9+OP8ei2MwazTppJMtAH1s+PU
I4fx0Y2TqJhrBF6ES0vdwdzOj7PgIcw6YxI/jDMYbvuYEc/swWPly22TV+gQOP/9pXnM+/XCAw2S
i7r0CuiRJmjAkjzuwFvfK9Ax+MWK5S4NYZ0wHuMDbk6xfjQGUr9VmCRfi874ty1HkF4xr6Vlmsd+
MY1Mj5y1oaseqwjAVRH25K4pgBA+v0gLxsvmUV983aGCdCaFpt0IOeqi2MGEBzS4tkE8s+t3KQNg
N6uCadZCDhzx8/yoCyczszw+IyUfx2xip4mMXI8HdzAlIK8l+HD5/MYF66LcoVM7n/S1GrMIaoLN
NI3hO4bzPKhWsum/65xvnAe+ZSEZVNFFBiG0O4cOsh52/jCkwGf1qazTW0OdLjmiLp56IDorhy4H
GikOQB029zhAMgWY/BRyoQC2JvVEAIOswXJ6lagBIP1torNy2irQWulyF3WDjJ9atKPoFImiBm1G
GzLECZR5PI/k7EqNOmYdmGCTsK7AFKOqnIAdijrZl/MLvmREVgyshiJKoH+EG+RIORK5OrxGR1q6
4gazub+xjsw6V0FXOHUmiIr7DOZ0QLffARpL5jbHLbXvh6fzU1iyVCv0QVI+IckoMIWq97YpyI3R
AdQX29Qxv0YMWYdg+zo/1IJ52uSoNKy7RjS4bwuoFICjprnVAoeqKHBNmIfyTPllGgE97JPp1/kh
FzbIVloRvgSoCb0ld0mEgu+NcPvIe/ZlSOuVaLsQqqhl6zWoJzoKXdZjT8ANKAqgCg5FYpx802i/
X5O5XdgkagVE1RuYek/5EdQHGczbaSOpqtuoQ2/4Ie5z5vwc0OLJAYFOBx+dAedXDzoQb1qgraqI
WxxLi9aoYxrXIuzANCAhpXQgmR8BSVgV6FHiwBCB/9V10kEXYHgUc5u1bmVWfmahp9gOjXZ1Gq+Y
0MJy/87mvoirIZijhSC0O+pcSdS6Csk+p0kp0d4N+bEVv1swGrscaBp38rK0adF0JtF5hdD0A8Qf
w/vzi/r216l9NFAGEwcld/8RyGGxS9nY7cqY/3HZx60TwKtQkC76yj/Rgoz5ITAiqK7KiBWfLvu+
FfBag8xZUej8CRSGWXivSZ3Iz2lDwn6NTHK+pvwz6IFb8fXJCWp/nQ14rnx0JLtLGb8uCrAGBgVB
T6TGKYImtWA79nTtqbS0HVb8M2kLkde2YqdKDuI4oNf/wQ3ay8p91A55KNonvtew+rGIRr9BrItD
okH/L5nO65UL2cIM7BiXKdchhBMOCW4QkgUMzQ4TqBXOb/hCnYTaAS6dGjr26H2BekKDw7s5UtRg
RIpmWRLdVwIcI8ab3rG4+hJ3/mV3TNCXvzaCagyYmfKJnkCpXx3wsgDPSS/NIfRys7Jqb4dU6Om8
HmJQIkJieSAgxECzs6A92YBqAi14YwQKHbCU51nvX3RIAM77eiyBMxzviK59dIibvEPvX/ELDcXy
A3GIt6YttrhRluunxVQlCpI5H1F+fQdWHHZtnI5sISD9zegKqbsU/bBJ3ZAtVCVvSVJfFs+oFRIC
IIWd1OTuKfWbmUbMndz+kZWsyS8CNFK75WeAIJZKHRqcvCnL2kMggIHZOzpaKwct+Y8VAQbSViSt
NbCvowKDSzoF6FyYSKpX7iBvn1lo+Xi9+xI+lbReHp8E49O4FWjxrm+jwu3qbcv8Yi3bvDCN33IA
L45GEfrAmSjQMUe69x5Q3Yg+gk9grco0e94bYdm+00vRhCUNR1xyKbIhOH2DfcLDrzAx/liXWbty
41iahOX41DjIjDUyOTldqKdDCqHoDG2XSdOsZPqWNsNyeweQAl4zpLNlBP1clcZ/QHWlvpoGZ2W3
l2Yw//3FNiRaupwb7ZwMbtAxOL1A2om+QyqnlcC1NAPLz00JiTkoU4OKouXkG/UQpYoOhfhNKCvn
8/movzQJy6fBMjCMpOfiKYMS07RJYkh3b3owPq7MYSH4zk1OLxfJFE5XiNRnPzIFvu/qAFU7PF43
IO7V0W3MTJh8dlWEa9GNzNBiVe/OT2vJiC1PVzSjXdfU4Qk45W6kaIThbvkD0leO/2Wgnko2THvc
WykyLmyUjUd36iLwnGYUTyae0PSc8RTsZkiGTtEYrYTGpSHmS9QLYwvcdMydehxPiMLVPfVAaqJA
cfRtTMJh5QKwYAo23DtzobLlDwjvehw88VxR1sdgxgAFw/k9WZqC5fFgzA97VuXOafBA/nSdUWhV
fHKiyQfbyJREZsXvF7b+N2nMi5UCTzPEXlVUPGVJ5N1RCL4Kgpt3xjJ5CAWIN87PZmkYy/tp1vUg
gfK9k3S9KYwOaZqA62UTtVEndlnQK2AN2p6ZbsWil3bHCgZeT+lQhG75BIhXGyI3WjKBUjbr1zKj
b7/Zqa0losfGhVZV1TxFfUGqzRAq8yGTgc7vk6nit3zQ+WOuMlYrXJ/QuX49dGrtSrNkGlaUkMIB
h3KRJSeRVx91IdMb3rrvphiUEZftlhUPvAFJ7GjGk0VRVRxwyUh2g4YtpJBi/dB7eiWazt74xtlp
A8QzVVUSMPf60fjgrTIQ2FWgqSVg5H7Hc6SeT06RUf5goKyUbXIyNqxcMccF87Bx45hQNoVA6zwF
vUajg0kn/UfYF+larnlhh2yseJLlEGus/QDkAWNwpKoDThKtrfE193sdXTgJK0JAhKRx3QyaQqBD
6dleVjqX+1YLsxKnl7ZnntyL0FBNUw/2NY73Uznfl5t+3EQQYlAtKDWrtOh30DTclTgkVuaztGhW
jEiAWlDx1KaPxtFTuKEZ6gwRePRA8OmBzfG8aS/tvBUYNAPbSR8X08kD4xSEzGflgGlL8iCs0v35
IRYaoICReL1wQQea1ggVODydk14+Rp1TxVBBz3AnKTdGd251myYgDvvZKqCtwO3Deo7WiBaafopU
VO9YlQCZlpE47g7nf9PStK2QESGPzHQCg9eUtCc6Co30txeBPeay71sRI/UlGp6aNj5J1UqykxGA
PuBcTp3Lem6onXvSqYxzksn2yUMF8labQO8nKcbv53/+gunZUHRFofVY5x6eUilVyPayDqSGTieB
SINQdTpeZuE2JH1oBy1cnrKTmiAzfExEQ34OleuixXqkYNi+bDJWXEhl0hWmFBgFDZ/vUjQ6bE0c
sqtOuiuyXgvW5FiRwaunFm2wKT3JzkctLW2SahY1892V7Vi4Ldh4c534aVhAp/IJVGH9tYIsHFhb
QQTmIO0KQtq+XLljLc3DCgZQ3ub1rAd4kkRm3iHLTB/c5GMNeYzzW7Fwn7dh57KFsFrhh92TN6j2
LqboQ9mm8HcPx9yEtlWOC+Nw1QQUfeeXjWg5uuOZME+YAj8PGus+UzRcgTzJFLsUDTm7LGmyI3HS
eGV6S+tneT3O0MRB+YmehhJ6wDsUbn2xS0KoupyfzNtuCU6I14EUDx3wnThp+hhUot1iycw16Fog
84Hze2WIt6cAYsTXQwS6gq4n4uxT5RfgqK8Mufc737/oCIUo7+uvFyL3B07H+oicmnNdNZ68qaC2
uKlo4+0hMjEHfNAWQZJpLUNo6a7+BR30bSR6AJn5ChQaDa42LemuVZ4b/qT16ILdGKQ3kIAIKnnr
9Tp76FRf3E9dduNxJ5aQ+IV2z4Z5YGOLGrfc0qAu9l6HdmcvjrJyEwyO2FVDK4O5rTuW9wHpg+mg
p6nLwbyfZyEkOT2Q6ZMhDEEUBTYA/jAKwHrvnT6n4kujAyPR25xzR12BtzlLrs/bydImWvGoCKXk
rZf1TwNaPE6DBLn2DYEEqrfynHw7HkFp5PU2Ckj9lDlobE6FVzqPBp0c24Kr6N5MBaike74WuZfG
seJR5pcpUO91/+TQ8mNmAnWtBYiiIQ10S/xyen9+tZa8yns9myLI4qrDzfvk4bXfH7JCSaBHUlxa
Ny5aSVbex0tzsQIRyFqBsglkCbgFqaAkEPhXBQWVuvIgirpxi0FsL5uOFYScDP2Lpck8CP+2DKyy
IQWDZAGAf3MF7bmhu8zGbHC86pAPSyA8BoxaabZVGup9p9ZwdgsGbEPidSZHdD9pCLNpqq+yxoAm
F2qT6GU8v0ZL37fikAdFuUm5ff+UTEVwYxKSthtSsFUY4oJJRbMRvHgqeNBdS4cMQWcQk28OEOVp
IQSD2o74NKFpQZ0um4bl57qXjcjTKD41oQMpcH/InkvQXK9Y7LwY/3yO+jb4PaBA71Sg6X6kGZ46
YhoOqcJTJ9V9t0O74Nb3s7VOkaX1shxdp76n0VrRP4kRJEEZj98PBK93nvrPl62U5eOon1BvRF79
kaZh8BWk00OwjceJr+GTlyZgebdBixDNIGP+WDDIFikA9Q7JyNWm45PZn5/C0hCWX3sNrveqQvnB
hKJ6AIcn2mgcwOGPbeeJr+fHWAhSNtLZNF0dtkLjfha477LMre4VycCf5I8G8gU+uez8sOHNTtyD
Ak1huykfBGq1kUeaZ/BVC3MlZJWZbQ+ODpas3MreTk3N+h2vnLECCLhkXaKhc9aCPpDRAeSr7Kco
xfsAbHkbKUAtYpi+Dsv6x0XrGFjmJk1o4iarRxCNc2jkJXFXDbtAlWBGVVlgxi0Bg+i0Mr8Fw5h5
yl4FGwiil02TT6c00km5pyFvNo7xUgg3BbFz2aliC6WaRkcEqiV40ELAfo9M74Mp2/KmQYPyyjSW
bG+e3ouYmYITGgLqSf5BBMK7HyAwDlGC3C3vMgAVINuZVO2Fc7GuLxipa2OOhKTqgC8SU3YtkCW6
IVO0hsha2hLL5BTLcoEjMTqpvOXjPgi7+FPWMpdcTdk06QvnYVkZHrZlqFzmnxzG2N3gBOyuGNHV
kSpeHM4b8sJBGVpxLciaEe0PZYq4WRfFFd7Ofjpu0RzjmLXdWDhm7O4XsNCD+yb13G+ZIa0L7csK
lGe5dqEj38sAMvaKOQnf5GgnvSwb7tudMIUfScArQJkPATvyFQyQU/eJoxmrWLlRLqya3QtTjCNP
4iYCJT+03aHF5YBIxD+CwnlcI+9ZMDC7Hwb6BkXBm2E6OWEuoKDTDt7DINIMwlMFvaxS7NsY+kg4
I69qqqBd6jBIEiQyCW7aLOHd/iLrslH0UQmcrtPoFO1CYQlhtkiKajtObI3hayGk2AB63btTn4Vo
opceLe+A70N3ZeTuCuScDoRVPy6bheUjHtoaukgh+yPGJv/sODj7oz5ce5Av7bR17OdQ4QAbQzOe
elKqbeXV7V6rzHmXEb3y+xdGsAHnsm1JXWeZPqX5BLn2qK63RVu2xz5KPl20QjbU3OGcSVrnzZOC
O+hdUU7Bs6C8a1aOjoUTnlknIEirReL0wjnRXLfHwA+hiTgIPZKfaNyiAe72KBcWeATFfYHeibBO
s+cuFlKtdVMtOPysgP7y7PIoiLlAodCd9IR4tgH0PXwuVB+tFCV/c3K9cRVn89a9OBtlO9b96Cfk
BHwhCCcMLR31i4IUTV+nw1Swr5VBkg5tjAxCb5CeDNGZhCIFiXaszbmLyxuV3rAHuZdLCYQHGt6v
uPACnAhKU69/GiWDyB2vHx4HMBpuKzB97J2Y7UUa38vY/wnQLr+NcgpxKEd/KBN3WDn8FnzbxrAH
BaSDjTLdqcrAWR9Ecbl1/N7Zy8hzNqO/BpRcGsY6Y6u6IFIahbK2aLQ8eSA3BL0zKMacPUDdUN+a
0EKfrezzmxUmEDr6r9dScD2pGDrJ33ERZ1um3S3pq8cYXUCzKFmxVRynIaUX1RAwnDW3dJQtr6rU
+QF47O1Ahm8shE7EBS6Pb1tBUUBZLIAGg/8j6IaHoRnVtjNIE132cSsmOhGNvIwJ88MBydgumH81
8sprF5I3nRkS5VaWNZPSJV7c+z84r+RGRXm3AU/GJVcDfNzKr9b5aExv8NMnZ0jD3YxRi/dVVKuL
2KYwgBULdRAQqAdMEAI1rn8DfprkuphqfknWB1+3Ah1luP+xmFS/Ih43W1oCphK6a/XvpYW3olyV
x2NqaOtAtE9030q0rj8oHqzdZt4GqeO3W5Fq7DkFpDopfsVRBwxMfB/kst+pEYjOklSg0G+Seza2
9xo6hCDhZ18lBBQuMdgwthw7MDV1BhMF38Gl3O2rPPM3me7XOuCW1s3yY9qWkFHqe/qdiJxuHVn3
26RML6ltYdUsR/bwXomMaOj3qJP9Bl1ABF0F2Uq+YemXW47ssYxK3Yr0lymCrthUpkTXRdmtkeks
fN7OUXaxg8awqY1/EigdbvqRubNWwo+L9tTOUfo8iOvCBMF37rR6k7id2FZyXHvUv3mlAZ295cYA
NUfxFE7edzVBrKCOwp+BO05b41dfPF3l11Mb3CQT9IDRAudd5tx21rIRoL+D4M/4o6GsQO9kOsmb
tpXi+/kFe/t0gxrA69MNbPq+oA4JfvaU3GdIK+HmeQNCxPscxWvo6txWvFqJsm++KbF6lqvLqNEs
V0P3A3iNry0AtGXd7Z2GPsZFvzdo1jg/o/mX/+NahmEstw5RppoG3P5/xLKIQZFdjJDNDvr0/6UG
sjSG5dyEOVlbhcO4r6Z602q0vVVfPXNJwRcTsJwbGFf0r0CoZe82UEyGpKggl0U8m7GDQLOGmXjE
l4t3bnvo8k/nl3zBpe0MpVf6rptCeHHfMuiViLL7hlLKWhfGm5c9hqrgaws1A1R4+96MexJAgHGP
/vdN234Sw2URw07U6SprR8+V416nzQ00pr+nci0fYAlM/FnmxE+3DuYqck2fUWfchxuUZPbxptup
PdKaW5Dv76Jds38Idnz38QfduNthN+zGPWhRNsPmk1gJHktrZ3l3a8wUewPWrhBgFG42OvzEg4+Z
XrtQLviBTb0A6p8JWRQsXivEu1LXt8Qxz17Nn8/b1dLPt1y5LFPZ51M77mM9q7Yl/Abn0EPt17up
rtYSdkvGa/kyR/q+N2DrRC0Lwru58BoolNOf52ew9HHLl+UoY2irTdjY1N10YXcIvDVs79LaW8c0
AcErwNV6jkFgvIOwZnkSg/auhwBCiOd//cL62yk53iZFxzssTc5+1PxBQGUtbqAxsWKdC4tjZ+Ti
uEjDrFFwj9FU0Iwdf3omTXbnf/vC8tjJuFrrSKkKtuOOwSbI+o2PMZiM9+c/v/TbLdf2NNBpARii
9kR+FP0z9Z7Of/dtXB4L7fQbkiVOZkK41PCp/ujs3TsP/NPPkP32duV9vU1Xzv2l3z///UXygvS1
oYrhBAtzaNnpGo2oa0uztPKW1/ZtIYKpxgzG6ql1IMcsvrfRp/PLs/SzLWelImiykPXjnjay/xWp
blakzmu055///tJvt/zVh6KTM0JuaT8lelPFvxiwEwma3M9/fenXWy6LUjbrSgajqcObVEOR2Hk8
/+GlZ5SdLmxR256gFA5PxW36O7t/P267qw/FQex0uLI0Cz/ezhdCINYtQ8gj7WsQKgISthPxhb5q
pwqn1EhHmxrONB7kcJMNzcaAVef82iz9bstToTQLTbpw/nh+MORrcOHFwU7/tQMDTilF9OLhNTeP
MVmJim8n71hoJ+9U0seN4PAfYPK2ma4eC3f82INZCwpyP9wCDaLa/+AqMCkQumKYC4HeztvV1E8z
J8dcaP7cu3KbFvs8CzYV+X7ZHnivo82Ed6SfDiWiDd93AEXkKyRtC08Ku99Y9FzWDoFNBiYDSJU9
DqaGUqd5oEVygybDlRTgkglZfmuagDE6Yke87piNt2V22flqNxibWArBoK+6dyi04Bq0gIS63fSq
/hBl9bCytws/3u4wjt2oMUOL50Ru4qeUyBI2Jdfal5eM1e4wrr0uQR4FgSdAA1aXNAeoDmxcNJv4
tLkBN9xtF5b7dgy36NZamdDCptv9xWDlzAKvx4RCaA9Xgbup8kPGo00SvBvC03mDXTgH7AZj8BE0
XT/CIcYBGHRX3bAgAji+WsFaLO3J/PcXp28cuSD1QXJ3bwzZVELcjY6/Ej6Wfrl1+srB+JKV+OVR
B9WgU9DeNGsVo4Uo8Y9m4RYavqXCp/3M209du+1Zu+2yYsehX35+3ZcWxjp/eR8R1kAkcx/VOHt/
DcXHy75rebADNmLWDzgEgNk+SD/5EJZr6oYLP9nuEB5BXIlyP4JDWCZbNF6CkXSNTmHp09FrMzF0
CCIdwkya8qvbPo5sJWwufXf2rBfml9bKG7vZ/Bwm95JBpLK4rAoA7trXn9ZVUkM3FBvo6uwKlT30
3qwxPi6Ynz9b/ItfPVKjBlCC4gIioMTZINGgvlGHbyEquXJVWPAdf16vFyNImlWeH+cYwf/ZsK9F
+bUJL0vq+JZbtn1euwKYX3B6JVul5G5M1zA6S5c/3zpdQbdZ0YQgIGptdk39aXLrQ1MH25ohrtyX
pLxVUbOb5N0QN7uL/MnuAR5TN6qIwTYzdP4S39/0nV4J70vGablq4vqj6CO4qipvsvbUhvuLfrLd
0TtQAAujCd+NiQ/xVTnn7C77suWm6GLR4+QhLjbquhyP/oXXDrt7l01NWPUlfvH/5ew6liTVlegX
EYERArZQRZuq7mkzfqMYcy9Wwgohvv6dmlVfTVO8YNURvRAlk6lU5slzqubRlehAfdn3ew0braS2
ALEL1LGzb6FeLrz0+rhrb1ezT1fhfLllhoH1PX8ERPjhH+fZT+6tJzB8bZyOFSdgyjO5MrQXEiKS
pPP3GbCLyuviIDjNaB26PomV42cKNHll3rrEg0gxOu9ioaMkyLdKQn/6bt9JTZv9uHWUsaFeCNYn
oTdNkh/KtHkAaUXMPuoPZ+/GS5I8fr31rJi8nLIv+yZkXKl+LyfIlWLF6uEuUOc53OfRXMNO5ezy
Lqrg0fzOvYMruGfhThdg9txeUsn1SJg6enVwmAN1APHuRni0cn7Mplo0GM4AAtvqCA6uh5AHX0TJ
jnYxQ4d02XLIK9eI2VjrdY1PZHfZ5mhI0GX4ELVR4rZbSd2VE2qqMKm+ygWtcK1q38tigE6qowKx
1j7P/kfS6M0dSGuGCoqHBWqix4tM+eK/7jqHzmU6bwbmClQ9yl2wqRHYoIJbDhd8feSVB4EpmieX
IpQtoPDHeezvh2WMkan4NOMliCzdL3/ppo3w4M8Kv2O/Zs9sVLdeVddYG/rcptV99j14nOIb65N3
36TlffjSnG79j9fntLbJhtVOVeC1vcCnOn5siw/ulntbO5uG1Yo8EqHVZ0gvci8uoThU5l9H2924
AVZGNxtgQZARlFWI0Rf/pah+dQU0LL5eX5C1oY1LdqGQyHJqDD2hTbnrfhD07spi5+82AmJLoC9Y
RPBlFhFHCJLflFomYb7zuWcKLY3gwOddj3sRgO3HwONHb9olV+AHZpcrV2ghKhl8jTvzGIiAuC+9
DbP64xPfOe5mh6sPGSI/s7Aq/VeVgMX1dry1kuAYJcvjEz/zs588B3e/+c/rG/zHu7/3OSNEnie3
FPbltWM/qH/Yk6ti+gRdKpWKWP38lz2Kh/bBuisfggP7sUuNAcvn/tcpycziCMrhSyP4jrgEGDEG
+dUHOl0eAZJvMVNfDul7UzOsuY2YGucaYL86/JR1Zx5Gh6Z7Zs6nQt0Ahbm1YSuXm6m4ZEWNDYoP
Tx2zQiW+v9zJiN24iwT5njxEofuhhcF30fTs5fNZhOzksjBZBHS9BdoHqgXS1tbx+m6+/1Ooiddq
HHB8WQw/xZWfyuww5E+Z/dQVu/Av1ARssZmXCA06deQ2P0bQ68ZTeVeAQE2o1ljWhZQZZArQTRod
Oss78Io/q/Z+pm27cZG878uoCdiSQzBaPbqSj5lFzzTPO8C4+ckus135SmoqMflZH1gQ+kEWJUxs
68bfpf8IMWzjCvdBc9FZHNYCKggXDRrZjzI8ym4j8l5bFcP+0biGwhEoj48Q/kyyvv2gGjedRb0x
/Ps2SCPD1JuiAV1Md7lApsRxUL04+1rEdDhZGl3DG0Hx+6EICKH/60/Ads4dyK5g5cvxyW3Hj0tH
ICnvPYDE77bpnMN161pbKuMWb+uhCFoUTI+5BsP2uVjSotwwrZWhTXhWBeJrOVcznH4IJhuOAlga
aFC0XoRaNm7b92MbaoK0EARqe5rw69X8PfAe5nnfqpjwrLYUNajTMe5MXnT0WXUPnbVhUWurcnFz
b4JXMP2PtbhchcNwtry7mj3V+zJD1ERgyQbypgxcYEc9HyD9MeyrroPC/78/uZjLoiaXVXY9ElP2
K6C7sofUBFjVYeN31oKB/cIClH3EE2RfNENDw0Y5y4WaZgxN9LH2Ptj1rnw7NSFVKkPPmkaP4bHN
eOqEzv0Sbkmorli8iamCl2XEitBPVrnP5XJnRbdW+C1Qnxy5lQVeOXsmumqEKmxtKQQPwm6+kmJ5
HBr2r6zmfdtp4qvQMH6xRkzAZSzJKYPi4BZVwMramNgqXlUMkPMWDzO0EDFLkHjs3LiY5KMqu4MG
d8PGhboSbZhAK7BCllxEFT5UgiGl1jeUfnKKJZFbNacVl2VK2DQkyKqC4mDSfPgMKgUh5o+7XLkJ
oWK2wwO02CHf1AS/R15liV1U/HF2ZP3p+hfWFse4VykkmphEjwdKNhSqzbyWtxaA+QeaieyYz5zu
c+umbo2ry0F0FQJnx02i6j7aauNeubjNdkflAClPKmyuCzZsJGmKLBl9dQMB5YvMx9NU/ry+Tmun
1bhUxwqS6UWOdQq4fvQt9pAFbQK85FOTV7cFnzY+s3KUTFAVKGZ53zkSeZAu+g7kOYd4WVhsGMLa
4Jc1fHNPNZ0bBoMPY56cPMl9GY+7lJxBFnpZtTcjs7mYs2CmoFT3YsjVH6LpW19vAavXfrZxvbZ5
EDJ3xs9ucpAaBFWMZM71TV0b+eJU3/zsSfpKQUUc3k2c0JjVzxsL/T4UnJpdjA13oYXQFpdxh7he
zjlScSVAxlJ2h9p9rZ3net7inFsxYLNX3ulHiBwyzMEPVIKKV8yrj5F/Ilvwm/flyrG3xrVb9zyC
EOVl+T//RLPh04t+ugkezvZBx68W0ODx9b1YuchMUaCZCHv2sMPHYLh3h8/gDI2p+Hp97LV9Noy3
BXUm8wqMXdl32Xyfb73cV8Y1gVXO7Hl+vWDcof8VQRhi6rcYENZGNkw1GqiFdBnHG5aXOPMgWPKb
DU/87kKHgUlZjjzZUjhMtmf0T9sK5zIfb3hPZz8u5za8ub7i72dD8RXjXpmGDHKrQkWnnk9QFrgN
QtrJ1yrvWvK1idB42SQ0X0gNSUgyStrGY10SLWNgvcBoeefqmbJXDcZG/5brBUzuNxpU0dXXuRJV
O8bU7p3wuOgG1IQb6/Kuh8cvNs45NPtYNHUCeY5cVg25H6t+8kQCwDrLkc4lFpqfD90E8TWS9AMJ
hy3s3LveAh82noV5ZvkhGtey89jN9izSvAyh/QFBn8A5WF0u7H9JUIZ9kbauE6CI27gjZzd1F4a6
u925XYaFiH6pRl9E8lR4spy++lwPk4p9PCNVk3pwv8UdKdtxGc6qzlx0FIHSrizvLxzP7aeIlpD0
jcEGUwxQWVah/Bfsz2r+DWYP3hbHSgc22qf47GzKprxrH2Fg4iouOJZReV7+Ug2AsccanA1NTKOG
bjzV18Y37C+zPNmBDLJ6HdwlOqOe0tYXZMGw5VXXxjfutC4PPaT8FjCreoV2DxX1GUHuYdySIlkx
chMOIbvZiwqIkbxmReaDXMQT/udsysCZ2duV3Hj3rliMiYhQtcBLKayKs7T94tDoPowrH607XjOD
QSnsHqFZuXWlvp8Axo4bDsV3c/QYQkr2vIDgwPNTXxbj+MRcKt3wbhj6CdnJEM0m9nijA7/lN6wA
9uz3OHbcfRjnuQ1+KlVANS+uA6uyxWEq7ShHCoyHmfN5LpXywQDZ5KUv7zVSpFb1iIwB2qHHQub+
BqZvbdsNH9MUPJLL6JWvkqmCHWQHkNQpmCFttXGLvhsNYJUMXwLqRGegQ1Gc/awhxyYYvogZe7NI
8tpAwWcjvlmbhuEtQMQ41A6X0ckKSXXTt2WLptJycPLDdXe0MgsTjZFFYTNqyHaeRzajqAAe5XAh
zl0WVnee02/Buf8UF/9KvIfBn86cN+Ff5vVLDXENoOhbTtScMheA0ZuxsYLouyBTIehBzbMcnLTn
7SI+RYMugjLpinyZ7NgJVFR/4sgaihY59dmyx3gJ3C5I+GiXWyw+K0vxB9bz5jeimawM9cj7E9h1
aypi4QITnHraDUGP0I3ayfrEsz1/qw9vZWtNWEkps2GoAqHPJXBrqR0yFNTQqaQ+X9/ZFZfhXqb5
ZjpVHiAYcJb5bGkdfRjb9nXypn96p19SvrAmCbwtgrKVhTPhJkXLXWC7RX6mvV7wbpi5rG/8uhJQ
UvYQk3i3QEK1eFFcn9iKwzWhJ3PeSKewsE+95Xp+4s2BUyVVVoV9EjRLt5VqWFs/wwtCZbrSTOQB
GrbyeSGYCWKg37oYECKKKCpBihQ6aHF8BpHKUO9CycNQDLdFO0agxqrzlyJidv+l6IcevGx9M++7
bV3Da3EZjghpWHQCl23/6jNv/tTX2cd9O2M4KzBYd/XQ2YhEAwu5n2K4C0fSvMom36IfuAQF7/gR
E5GiQXM5ct3yk0VFwx68Rgbtj3ywOjnHZeS0zj38fpRPcT5lIfmCMnvk7Ho2QX/eCFTykMyzHjzn
pGriwJNRmkdgQNBF91oCJzCl1xdxxZpM1MoIoPgfas8TQYUwgSLjJ9QwPi4l1tC1q9d9HzGcg+9A
qTsDF+tJhxOhn13l8aKIM4U+2m9lLiLvCEkEr9zy/39gp+/t28WW3zijOSfFEKG14V5QMc7/gFpW
Ljdhw9zldXYsiB10k00DN7aCrI+muGN5ORXJOLeK/OBkdAN0BLLOIs8Tyl7T5yWfyhASs2CirWIl
NFqFDiVMn1Z31ZRpO6m7JqtRUw3zUD/rxcvJh75XhSsgejtYuFnyVvAa8jvFUGePziQc96fyq2k6
LrSfLfFNWlq2/q9Gs7xLJBvCIBEtxak4OBmU27+66Mtuvi6yzUqVFBA7m+6rXtBpw0xXmHkDk2Rc
sgWip1nYnxfhV76KgZksikcacg096rwPdJG4QVR5Zxt0Sp57sJRn13MMVptWQsM+5OIryBscW329
cIUSkljCZuK50I1dSLzpIkGOuNhkm8jOJweEL553VyKbzQewAM58fmj4aGFx68KeX/kU2EueKpZD
43IgfT8CqEXaisRVjlRvCZXyAct7XApwJFoQM+u9cDleP6rvoxmxwpf7883ZqTLRaOlX3cmyWYg0
HQGEa/lA+sxbjr5qW+ACG5yK+Uc1grIwj3PqUPLYaxTnbl0wwLefdFhY+jsr/ZzsY+cKTKyTHdR4
lyIVjRW1swd0ChbODXodnV21OUzavAcqlHgH7oBk3oIEeRoRaNF4ynO7jbhv5RI12eXJICLltnI8
C5A+fArw9k3IBMbv2Jd9u+HJVgIcE24TARyHao/bn3AJzNbvxsU76Qdtx+739ZPx7hyoa1apKALj
qPIDcoIQLvhWGif7XE0XbaDazj5d/8S7U8AnjOuS5iMpm8ixU3fEQ4vnBTuW5RZ6Yu33G9dlBh0t
5rWWPgHfNx6rtusOUan1waFBebz++1c+YdasOAgKZz1H5ES4DTnaaK4SiFeUyayCes8Lhbpm3UqS
DOAkGSynzFPNs5a6+eWPrdw4Q2sTuERnb4zfJVYN6YlhOSkBgfQQasunZmLf+hAz2bdExlUItuPC
6YrZSTOdVwc9dnioOiBbr+dNeuuVU2RWrRiEXAKlyuXUcVSwzk0YUvmMxw8M+/oc1j5w+f+bVbKX
seUgWnFSgsNJLI+kExQFN17Sl4X46+7GBhuBcOFrx3XrUN1oPNQO8Hf60GnwjRYlYnCPs62Ae20S
hsvjdRaNI8CFKQvA4RYDGq8TJ9L9P9fXaO0kGabsNjbXtIqwz4y+2LCHw4StT6wh/H39A2u/3zBn
avHcXhzsMvEsdUAmTn1YSDZ/vj76ys83y1XdOJCorXFMVdkMKbPrLp2y5UcE/fg9BWgKlZz/HqJC
gHnQioiTYod13AU6PE1dtVW3ejdyx+iGIUMPGImjTLETGZx/NfX/UfXyQ5bykWVoIRpc736EFvKe
JyI+Ztg09zNpE7BLn6BCDLBPpJZc6JgEEimDfEQr11bxYMU2TJaAjDY84sK5HKrsO6u4ldK6occ6
m15nt99Kka6tnWHeYLVzPdee2QkKq1/t6lcmRHgESvNAGU0dsCskM4cG+PWD9u67F2tnmHs3ZqxH
TlrdVF3Zx64lPnfD+Koc7xRBOz4qptvr31k70Ia5a8Y92dYUGhO2JaAmV/ruMVo8dRe5U39z/Rsr
JmlWupCVzBEBCmARLDBCeZTd5crf1RaEhTLsnU+CgXs0807gk4aKb1dPIm7rMH+6/tvfrVVABOry
/zc+PasXyVxQc2dxRyHyXtn6aEPOJubCzeKKTgeb+6DKjibExftEJS7KU//9KIWXHIqJuSlHW8aA
18Z94ZdFqhZxI4CE+HZ9aitbb/IMNCDkDuRE3NQray0OY7D8I8kC7rTg0nx9/RsrW2+yjqoi6221
zPrEfGf4hFq2vnNy0D5sWMna8JepvdkdPS3DXDChTw0o/0rQpnKnOlqFtfCdHzBsvmCXC70m+iRB
dRkmeP6BXAONMuWvfetjmDklHR51k/BOulZuohvfTW3kVJ6vj77iF33DuDtW+ajhNN4poyJLIShT
H9COQOOCUOcQZM6/1z+zdpDMO70fZI0qq5tmM4h5m0zgwS66g2cD4nT9C2v7bBh51snKVUULtmop
f7ql0sfJFkO6a3CTd0CKSzNObjknzvjyqEhR/Vu7urvbN7phy3gzhyJbSvz0uvkMd+sflohl+7y3
yTcARl0wzNq5d2pK9sDp4Nx0tHOT0ut2aZpSMBH/18K6PmocPgROevlCdvnl7eR/h7D4rhZpfMAw
4SwILBK4Bfx3N3lnzRHudwDJ7Ts4Zu2/yiCg4UEmLoVKSImutkrGXoZre9/eGtbbkSisoHflnuhw
ab4sguKrg+f8RvZp5dCb9XmXqnAunNlNZRVNfuwGPLATq6vmrdrZyt1m1uEzXMkSugwRDv70yD3v
ixY6ixsrv5Vj/0BGFsa8HvzYYcHGbbriKYhhx7wL9SzyMjoB7eiWBz540x1a1SiLpxIwmOu7svIR
s1QuwdWirKHElY1QFmX4UQUArDnNwZ94t+Ez1r5hWrXteZHXh/QGGU6ZNKgKH7sMHJHeIsqNo7sS
AZoy5XIhyKhyx00pwlhSOB6elBQXG6RAciidYFKoJOmt/MHa1ww7VxCWEmxBMEAxOp3cL7SDwFlW
kRfg56BnxcKtB+bKqTMr9eApXnoxoZYKQU3/hJJ0kXQDzrcO65eq9l/kOA4/qbQEkDpko3B/mcU7
j2ezcN9FI2g0ahEhASPpE1/Gpjowtui0mFXH0twe7Q2jXTsYhksoO6olzoSDFgTXW+LMcQQI18TS
neclaz5fP+Fr0zHudeim1xN6fdy0m8T8I8A18NiiNt6fVCaj4kER7m9EECs+yCyv0wYKp/Ps2WlJ
8vCc9Ww6k8D6en0aa4Mb3qArejdvZqQaKjVE924DZk+WuVlyffSVE23W1Ct0XOnBxjmDRmRfJ8yt
iyfgBgcbWhe5/cLtrkHPJGi0vcP1D65svVldhwQzrBLgi1Sq5pt2GxD8h9Z4CjzdfLr+hZUFM2vV
EIjqwZWP5Enle9A55Y3nvM5jFOwSHaGuWaxmUzs1U9NFp9DP288AfJX/ltL1Np6Ba+tz+f+bYN2d
K1cz+M0szpjMb9Bs+AuqM93d3M96YwvWFujy/zefkDwMphD1XPAu5cNBDaRNRrw+Njzy2uiGbbPG
miroHC9p1wbyYSqjsIvBnrPT1syis1Rk0ChyuylM2bYPDXBS1pdlsZphwzet/X4jTm9cWgLdEIYn
NlTWF1oRZCv6sN5CR70PgcTxMewZAgetP4YqBy+zdD64bPwZZijOsoB8JxzqUpCrf9Xj+KpR/wl4
c7ME4gbkT2gyBeddbC1Tmuf1y+XvLnP5q0wdUHvO2gW/B+I94G/rIYYZTfso/qlrVqJDK5tkjZsf
SGpex24OLbUcpr/hvlauSbMAHUaTE7SFG5woETylcrptFIB/WQl8LPfHoxyb87R8FGzIN473yq1i
MikQloF6GoF9OuSk/EFJ/puFiP4UBYvLhZ18Y2LvK4Vg3Qw/QFmkcsj2hCeKsJPJYji4Q2DHnd8/
gLjOA6qRfNe1/xH9hFkCrtLyZkKSEorCZ1HMW+DXtckanoKHXT7U/uSlg4YBdGUBU+ZL82uZuxYs
oE5JN1Z1xejMEuXQ2sM8NN1yo13vi/QntBdnxVZL0drgRiCAxK09uDWDwNmf0B2FWQ32qk2NsPe5
lLBVpscYlmkogYMpYib9LCktMYFavzqS0UdGR7420fJvp70gljP/bPf+uSTTRuSxtkGGM+lmsjhF
CfbvOMz6G9sJv+kJAUIZ1VWcd2TfW8GkaLAQEACTuECRBuXKIib1EFez+OWF3laJd2UeJoSAhn1N
ZtynGDysIMbbe1hCwR6UP7FnYKa+X/d1K5erWUkOg5aItr8sl9QVEsSkuJ17+1xC7nnDblfOmllH
5i3k4gEtwxcunr1gCq+CSW/V/9ZGN5wCDhKKNnK8bPfI1IF7EMFyFn9jddZGv/z/TVzggkKnEAHD
6EVBAd2YAaJ3Zdbss3FTFEe2wQwaqRrYncaau1tE4exA2p2WYLIyuPVgMzA8kpSirg5LQ5InaFRc
teIJFd7j9fOzEi2bYjidFgyE35ykkLn4rvkAGJLwX2xPPle19W3K/Y3vrJmDYdaN51pzMF6+0w4P
HaQOCFWfQAz+MCqIbF+fy/u77ZhsCxRy3TY4C0iKHs7yyDroMfej9fn64O9PwDHJFuRgZw7khEna
kOWHysWvyxt5EsUHr1WHfZ+47NGb08p5OOliXLBGU5gy9LomqAicwX/WJnM1/Lz+kbVFuszvzUcg
LOPKqSEkxekCI8Wlkt8MW9yYa4Mb1qwUV0vJJUmzfmzBnRT+Dofa3lietcEv/3/zy7nXWxbaMEha
LOCKKHL+rdybdXFMGRzQxXNpWRZJIdBx7tmYVHPzhBrix27qf0bbUqJrkzBubrWMsuYhjpG0RRVn
tf7RopK/0wCMa5uEcKV2Dti0thEa2JK8OBOuzX0Hx7Bg13Z90ft2g5jAroADW5Aw8sU+T+2YhAtE
TV7VLJWFJBQaf2PpIvmE9Pm48ePfd3OOSbYgcwIZpYHCen2wwWo8DW20D2ZZfgtIfBKMm/fZ5aT/
nXFyTPYFLaTFJHq/UtlQO4amjJ1AgK84gEppV/bEMaVwIJxryWXSwKxH9ceq4VNs1c20sU4rx/Mv
GgbIxtSKwjsUtm4SRtry1rOtfWULxyRjQMEuA+a0g++xHO8A0amPnAIG2o/RBsPB2uobL3VVobHM
nhYv7UTr4CT53/XCmzOEiKyNZMbaQXL/64S0kh70gagHEwufFNz/0KkDqQF/jMakduwN/pG1fTAs
mTJpTUsT4O4XzWc07AFT2wPesMuSTbKGpvR1M0N3NM0EMAYST3GEXHCp10df2QMT9KZ8OvrQVMAm
M84HXGFlOB7caqn1XT9Z+wRaqWMC34rCJ8QeiJe6rQ/V7BIs8Use/d43B+MmppaQw0xmkoa5js6u
VSzPqsv6eC77LUGflR02yRqKqhucVs5eStVoJTrKvXiwww07WBvcuIcBC67B4iW9lPktAzcRl+mE
kOX64qwNfvn/23vY9/IF9wwGt6oBHYm9HwtH/9g3uGHBQ6DR4zFMWHna3PAi82I0TG/hhdZ+uWG8
lBcskjP8jwb89lhJANC0VfTH6z99xTWYDA2aovsCi+Gl1WBlB6l1dtcovMltv26eGcKIaQIT2PVv
rc3EuIxpXxE5eSNJGTBQj3a4DC9d222dzRUTNtFuUd21lT87XgrytyGpIJh14C6iaeXnW9xNKxMw
4W42auM1JM69lI+oPdIJRafeDr1db1Ygdv97RItJ9F09D14aOvWIFxM22hbWt11rb8LbBpvUrovu
0kvyRb2qPBPxOGxqza8tjGG6mvaeYG7pp14QOLGjRjfOC7lVXFzb2ctX39huVloA/6gQthsg95Fl
jb63LzEoKZddOEbHBLC5JTJG4cLg16bmW8jUkPjDZup1xcRMigZIZVPQFLYwsYa+FE79wvL2ntr0
KRvLj9AL2Sgbrq2ScfsWQTRM6E3xUlljleTsQzdZ8F9lbZWHfWfIsN8BusQCoZaXZsr+MSylQFtp
tRXsrhyhv7BrMptd0WRe2hTqqyoWGv8fAe7a4EYFPItInrGZAq80gmczq8SvsONbeJ+VhTehaeGU
e14vtItLHY8Am2Zt3A2oCFsKKr27Vt5EptmQs+gzO4LYNmJRPwltkd+ISf+zb/TLxN7YV8OUr7xW
1Fk8eCAPsBs9HuDbtohtVpIQpiiOBCi7FvV0KTVOr65oz6ytXhiyKKCz3fBu7zf8UDS//ncKdiPt
hY/TksdqbtzsY2YVAf0l5VS1/5KMeWUS+Kz8pUUZLU9aePl0aSevw6D8UDVOWeTJiL4w3SVRa+tI
biRs146dcXXbARo/BqvHzMe+TLjfqdhTO8HvjqmgkwW97YU+wNed3T9UtfIOM1Lq+8Jt37D1IkCT
NI0AkwOe6iOAAfUx9/C63XXgTBAbCCtsSrQL2DheU6i5AN8nF3lzffAVczRFc/oCDQCcIIwcGwjA
dGr0Yz4g3KvsfNnnCE0kG6EhHpxR76Qh0moQcPYTigaEjafIyqExQWwNz0VTSIDY0Azdx5S07rGF
WtXGLbE2umHrcqK5kn4D9DmoZWI9VP3RyestMuaLP30nkWAi2JpsKrCRaCqRkU7JEQXuZ1n2DwEK
SeMQB5G11fO8tsmGvYdRpKZhAhrjAqJvxpkdlFeMcd/RXRLT1DEBbZdnf9t0IVLvGWI9rdxLu2i9
VVdc2wbjsh480TnsgrxRElhIJ+oPc1Sz43ULWBvcsF2+8NyFbA5O0NA8Zd5kH0uLFXfXB1/x5n8B
1sa5tHxWYOWrpoTWW/UyoD039obooW432chXpuAZFzajtYU6V4evuJR8IiUtTmE/74OOOCZaTUtn
mgY0gKY2n1T6Z/lbPv68vkBrP/2ycG9uUz7ikTDXWCCVO0Ni92D6WCBrvc91moC0rHOXchhGJ6VN
d66oHBIHmj2HfT/9MqU3P32Yc0tPHM7BDoCNDlXXPoIzw9u4DVfiYJMjplkcwnoyRykayV8qQu9o
aKPQ7P4T2uSl1ruISCmkPv47CY5QDDIgF9eABg5ZommxncdiY4XWTr9htxm6qdwcepvIhDsftANp
z0o+gp34drvJZe38GNYbouZUib7FMi1qQQw/jiQ/1FGrXq5v8soUTKgZLTi0TwH/SpsBIR6vp0c3
WG4uGeW6DrYqdCuTMOFllaMZs5jGRWDZwyMYD9pLzwZKFOn1Saz4fxNcVnjBaAt5MYMwqpMOr8+4
YO4/IHTdYu5b+4JhxmAMzdDW4qG1EBIDAH0i7esAyj9rslHmXduHy4ffGBtYmGbkuQQ+QKQPVU56
bpwpdQvkBEE/tS+YMIlPbAhRFICyEeTdIy/ppuJ3F9At/tyV297U21F15fNwRBhEhH9v+/ltNuPF
A2K5m0g2p7H0vwudb+SW17bDsGo3G0fZeR1NiyBsHXQzuV3lRWC0cguRojzVdhupgHe9VPiXKsPk
2eWMBgs0AY1ShQ9oUxbDEyVhzmjcRoNvHxtqlV1c8glaiRtu5V1zwUcv/39zFkYhgZEVPj/nzYXF
O9banYZzXuise71uMGtfMAImOlGrV0s1nKFc6byOLmioklBU/q99wxvbU4Yt8cJO9We/d76MrRge
F78c90ABsTqG0xWDdIifL+F9EVjLF5bXjRsvU0l3PeAxvuFxnTzQduux7DRznYknf4q6kB/srCqD
RLldXv/Ys0h/CSugODWzmZXNCVp4FU1AhtHTpyUK834jg/6ukYR/aSsoz+9b3ojsTNsOSWgejAU8
vOUULJkiIPSO++ZxMZ03p5WEYT+gYMheZFmVwxGFw1rcAgPjbmEi3nWNmIfhe+3AD4u2sMqzkOXX
uXXt41LTJlEsugfRyLIRya6t1uX/b6ZBQR4WYQbspeO4Q9BWUhyQRAiPTbVskeO+6yExEcOuiZ1Z
btYP4ym/dIU50KSA+t4v7vM88sHfGEXTraRAw4GXkYbisyRN6Ig9rj+kZk6TgCez6GpSniqrrIHo
i2j+cQBvpThcPwVry2d4FGivlADM1uFLpZcqGTLQp5MOVBpWU+2SlcDyGV6Fgbu3olYYvXRsmXDD
BPn9n83JHTwo983C8C0ZtwQ2iAQgzxr8pIrQEYN2bB/Qvc3emPddL40M90L5TKqF+tUZtEnyqZxl
PSaWVLzd2OiVjTBRCIVlDUM5h8ELq5FlyhbUXW2CxsnR3lyllXNsIhF4PunMw6KfgmaIXkc0xBS/
7Cbs7dQaRyv7l8wsX34tvd9kD42IqL9zaoanUd7Ud3Ky3fuot4J7PMLd5zbS+d0o1JY8xPv3PTWR
CZyi6XeeRnHvBN6caDEd6s6tD4GSOoHwNboXpi2N0pWDYOIUKnthVoaz9uyS0fqnqXv1CVC5Yuda
Gb6GzqCiKv2Rn3t0F5evZcWF96XgzB5u9TLm9VY15g+o+68kT/iXiARuRe513VKdxp4W4p9JVio8
ZYiPWMogFr48+ZbK8b4QS4vHUoyeImv6LFhOmg8+Q05riStFu/IpHIuM3s3lWCngcsusJUnZ1o18
KPuoX9gBbKB2RzcenytGYhZh7J77bTc76n5UxQz9McjwlZEXZxK0uJ9wT7r+xh28tsmGzxp0a7fj
GBDwhUwuu6tAEz/GGdSddvpdk1/IpqM3cpBYvkii9PwRqCkR3aA9cg6PZdX4n6/7xbVpGE6ry2VW
1fDnz2g6a84aGapnyEHs6mIOqQm3oOHidiGIEM4hOOr4F6nL4H+cXUmTnTiz/UVECAFCbLlTTR6q
ym4PG6Lb7RZCgAAxiV//Dn7fwq0uLhE3euOuBboaMpXKPHkOuRAqu+l80893gRbEH+Ki7Sb6AhGL
oDgJVibsPAuzR6+xQXjLXH0M7nlFFEZF/Ngv6Px77vOBsOWkDMzlyIJo8Q9TOE9zfgDDHH8MPWVH
c9GE9DUOQ+CthJDZCPaaA+8W9qesbVCLAzS+4Iz+aFXYJdOnRseZJ1MUgyErkeakIvHHMdch6ASv
L9LbzQ2cRU4EhMwma+Zwih6MzHT0YYpAL9UdWBXM5KIyr8Or2iSDBC8byG9i06Cg2Fh6B/GXiZdp
FLVzc7LSr72vUd574SVWYRyOL9d/3YbFulgTa8phrOJMvFYq8d6FPJHvBTfd1zLM7c6rZcP3uyRL
zRxAvwN4uscxXiEDWS4uhM3TA2RAR8jKDd1hwkPstkjDVQsJF4v/Ruk/AAIEt9cvPmAiWs0PVUh2
a0Jbi+YEZaBxJ1PVeeq1hZ6HSWk9lnFqAH6Z0jhadgP0De/g6oXMluZ9Edbeg4/Y0k8J4LPDySQk
MzuX2cYLwIWlaFKUfMgK76HsggV24f9ED0z70CUZyPoqvddUvkEyzGLHzTEyNl1ke/Io+kRH4Hi0
2gvvlEL95YlCVza5U0QmRKSTVir30wyEjjDJQTeUHT3tFXF3yMcmK+p0TujMD432mVXHCIyHQfl6
3RI2FsNl6x/a2vIOzbrvwcDWp7To6UlMqHZA6vgzutjinTXfODsugIZFXZ4I2ZevGUjr5BHA7viO
lGsxuFBdfrk+l18h4xvRg4uhaYzvC2DTmoc4b1TCwfcdRv6LYTrpqnQSEZN/6V5Ie451XrUFPE/R
sBT1GaNFSsWwFF8p5AWm87JoOYqjoL6ZjrmnIGue+p7MltPcglKuf6oQ0s99Soicmo9Lw+VQ3oVh
jmb7B+A9WP1P1MqMH8ey88ifeH7RZTxZHtY5OwvJm+qMN/QkPpfhUPmfS5C8ldnFi6e2fp7RVpyX
B7TnRe2Zq9FE9NKP1TT9recQwozvfT5V9TMeLeAlOjGjfPlTLoT49NhkfVd9Bd9a3rPT3Jg8/wu9
1zl5loHXFn8HMU2Ke1Bjhuici3XT0o/T2MdefWxAqabB+yza+oKkWzKCvrDSwnvfgHu1/YLXK4BI
UcLjVh2yVof5XS0TP+rSUoKo5WEBNVDyHsmGJrQH4EEB4rsE7SDH6FEb2TbfFY0yfmn70A+/xHOQ
1T1aUm3n3xdYADway7BGPJl7IusfCCmKjEDyDKIQjz2kS/l7NNsE2blvSW++GMUL3Z46tMjo4YCc
xzQeTaA8ig0mUpj2EM+9t9KiosrzTlW0yNmxqsamf8YrUtbg5YWMAbJ7aGJlRYkOpKIuds7fhudy
6Z1IAvI2dNraR84kM6eYYFZH4IqGHS+/Yasuw5OAyMgQ1H7zOkCA9cAUpXcV5/2B8GK8g0rRHmp+
w1hduEwPoQ1UyLLxIaG8YeciF0nytZ7CYjqFS1HugYo2lssld9KNBEqimpqXtgbU/TDVUIyAipP0
/rruDn61KrzhDlzwTGaMiXRcVS/JuLZD31eqNIp+10wJUR5rIF1WrZmJtK3u0kwMXGN4gBNpmijT
qgtqnR3ieKv4XPwzjBnnD32juP44ga/WPxrcIX7aCL8I3uH1PeTnKkvC7GuDdOhzmJXD8hjbAP6/
Bec4PXIZjfOrjK2gn4lvxfwOCXowdaeSqibK0zBcm51lu+rLHnQ0CvrdDiBdQuZmhHrQ1MWsf0Cv
eNF0l2FJ+u6PcJ3QK5gcovlrRvOwAu14DyWEA0f4F3T3iO5Y8Rgk4FYOT1bbCe3GJq+sn1rdjfVy
nHAX9eIEyZnV5Ri0JDdpljBRXaCGMqDXoKSkb48t7qLpbIJiIQ8STYjjQSPG7j4LyDKIPp2bZQ5e
KsBkxKVRaEE58qSmYPEVnET6hOe1RIwpKvD4PYRxkwT1fcarSs0pgdSIPoPlBrI09x3vfe89LTv0
U5/CCv0nBjJkoWq8RxL6GRosuDVQtDCsiNXLNE51+RNxcp18VGPF+I+ptSTusZqJnwwHRkIApQDH
CpDcM0021foi26RqPscIjHx7zLmKVXTKygmg7LsQEWhxiBrL9GnI+TgYaE1FWvGnsR+Vbj76QNlk
ZYq7O95rLUiQC3zjeLqYzHW70c+Rk4ceXVP+Q5FMln3F+cqre/Qz+AVPC0tCJg9Tb/H4TqHMW8vy
FNTQnPx43UQ2TNBFbvpgWW4oNDEeWZO1B8MRBGA7NdmDvm99f/Uwv6VBvZxBOhkNko8RzCcG9YRX
gNPUz25qlkQech33t+/LIKSh1Mp7Dgc2Qe63hmACltBUe2qZG3vkguNo4eURhXd6kQVcLol5clA0
eaeWPD6iJ9CgIwS9uH7nf0jkbql8a1BnVjPy0cIEZf6EarB5T2lbdTZV3iBiGAFg/vzO82iYyWM3
NQYZJMoWOjMk45NK5Ds5jY2dc0FvaKnRVMu6eKoCk/dPRSXnlWu4Hezp+tHbeB+5lGxJIeekgiN9
LDpu2c+y9yP5rREmq//oTMQKC4c5xi3uOYg11LdVSVxYW++NEyC+SCkt3cxzqLLVHhpJSZbdVE1i
LrLNAGI9Lcw3r3hG8OPg54IdPJ9N2U4E8KuQ/obPcNFtcOJRTXPwfOsefYTRuyGPez8+sohaoU8W
sR1KpSQJjRccxNhoTg/TbOMXUrVTBZxaELX4E5NgU5eXwW9UYI/oBzajSr1ANPaC7MkY/1WO0dyM
aYaLBGyCRd2RrzMuoFyd6igX0ODBXZBVNKWm6qEMl3jJNKQL8BccL93Y+PdhTQt5ysO5IA+alKX/
vrRmifdAfm9GKMx3ZSMorzT1CMAkarafZTSwhwSkcrX09pBIbx5/DOC83fgATvc2RgFdNTL5yiOd
fwF/402RD/NdPg46lkUyUnzdzlKnKmkgPb3b4r2xNi4bBxQx60l4DYiXBKhfoH1XHis/Kg9lciNV
ne9SciDUWUhWKSAkknA6cC/xU4oW+ON1z7Cx9i79Rlb14GIdJ4AXukJ+1KZIHqIBDajXv/5mEI21
d66kioS9yUwDuDaJHjlQwnAzz2vb8s14AlchAFk3DzMQAG2jbSoVdiJnM45QfgTO7/okNvgofJdM
AzpEE3TW8uhMKSw88b4NS3xmDbhRVpxH4h+KKHoplvChz9FN3qi9BPHW3tB/X7iZhQhDo4GNmSxi
X9qAOCdv5N/XZ7X1cadelrWh55VVBGDPCmmWUx0dQZJ0UykLG++Y9DhQkKotK84dSWMwkvPKexzr
tki9FWN4fQYbtueyaMgEKYhoAMtiWZBPJukKJHXq+w6psp0BNpbIJdGYCs/0YHim5zAvoZ08lUPq
07K6u/7z37yTme9yZ2iDlmCQdITnyR8Owo4Q+xtXFjz60SOAp+7jk7amsRrnb3FbNhskWOq2uahF
kTsC7Z80nhFSXZ/G1i44Jo64bOoir4VxqKVFZtyj+SdiUFB6Kofc7NXft+aw/v23OQwc8QvLluic
QWjgyTLUldKaIAK7cauDf39f4xWi0c4JN7jY+mSBDVNyt/1768c7dqxBqU28HEBG2g1otqTxx2nZ
JTbccLEupsaCeRXP0bK5DGHwJdNL/6FFk8yxg1hKTpK9hrmtXXbsWQIVhEqVBEtYkr8MEuUOCgYE
yKaJ0/Vj9PYaAcT27w0wDPCsLjNoOTbRT1OPX6kZ9wKYt5eIuOQZsi1MZ0YRnYdwOImGPQ2BfoKd
5eo2/gCSrDb+2/H0AJafy9Lzz1EWQbcpgHWFSNfduDaOATNPL8zmoP/ngWxSC20t5AKjn9cX/m03
RJJ1x3/76bLuDO63EsEX2l1/YHv9A/fRtMU6ST5QOlXvOuif7JjZm/ADCA05ZpwJvID9FSrJFnXO
+Pj6Kybjy3QefPYRotn1EfJ799dnts7gP+E7BnNsutKjLQKJyKDqG3aqZkifTHPyvgTz8s4IW2vn
GDZbSJ9XkCG68Kj+oQZ1QgfuPVflj5VrLpDJzk2xZRvOVQ2FG2YSiv4gQA7Qc4vgu/I7sTOHrY87
ls2XOkhQkQnPIZjJ7kQ10R9xuatcsfF1F9JCc68pPbLGxxN6GacQXYaVDfcKHVtfX4/Zb2eXiZDq
IMpBAR7Z+STCgB2KYXm9fny2Pu7YtBARacME3YBtwX5OEYi/k8iYy/WPb5xNF6yiRxQxghnRF/FU
dKdLdGDIXE0vCSS1dobY8HouSEXnACWWPbhezNDS5JFwXbcsNW0DItp0luiUkYfGj8LufNuU1nX8
fTNqvJVZBRAxbmV9Ibh7Uj6C36fJ8ey6PsTWljgWPYGTYjS1Ar1JuMgnXnrJM6RLy9ssgTvW3Ego
Pjf5QM8NAFeplWBAyka+V6Hc2nHHiJnwe3CYA01T9Qt7wFLFaehDrKcAUPx4fXm2hnBM2QK/MFcE
WH2wIqy044E+DnMtIP097T0XN4Zw8R7xUqi2tNw/j4l9Vlp+YOX0SQfht+sz2NhgF+0h5OC1Exrl
zqQ0y0eQC4gPpZ7r021fdyw6rHtBIEVKz7qBIFYGmHM68BtJ34kLc9ARONK8DLe00mbEa6ESp3m9
qm/77euG/GZdrb/SV+sCEP286tNhweFE5XrPkW5tq2O7oR5KYA/RpTX56BtuEX8dQzL1x0btMgts
DeHYrpI892QOnk8czu+GLMGRWMBzvSDZ443YOjyO/VZoah+gKdJcdNEUqdIgv4iDfu+FsPX7HfvV
2RK31YRWM7YgDYPq8zcU6op0TYVd3+H1FL4RrrgIhraLIL+Heti57Rrw381RYFOK1ow6jcOw+omE
PH9Y2CJucxb/AQmo2KC+ggOVtX0ELlQ0LUqjVOqvbuP6jDaWzEUIoEGaQlYPM2rCzDxFcfwznIU6
q/VkXR9hY8vdqo7qVaSJQgCgLGyuUtBvi2Zb7nx96/c7cbditZUzav7n1uJGA4YgQg5DfkjWRMBt
v38d+TertqjLzeGI8KhqF3EvGLqzQc9Gd27k9Xe+caLcgs0wZz3NGKJtmQt14gnTf7BBtGme9/6l
mSAqdNssHNNuVlY5g4DiXE5Rcjbx9Nmv4vDGj7tW3bGs7YA0OdNi+Evn9XiY8126463z4xi1BXHy
XDRYIYhJi4Mq8PVI1rddZv9BEMzWoj8AqVVsRHmgA5nQvLFHlLBxNl3YAOAJEWhX11++gDWTxsXK
yD8F9x7qCrfFQy5koApt7PUSz45JFmjQAi3PqVPdXu/Jhrtz8QLE5jGxwJzhyknuViIVaaCTAXXZ
JxVrelgs//um0+lWFRVQtsqikH8RBZLRx5ZNY/mu0fXi3TiAY8ThRKumgwYUauslgMhCyFMDjdjD
bT9/Pbq/uQhKQAnpd1xfwlb/mKJCnQPmmduMyy08krnzFzwHQMijAkgZrymdNfd42y93LFf2SsSi
AYdAVQ1/GR+SdfMY8eNtH3csd+o7UPk1ExicyqI8QMvlWznLvXBo62w6gTREpS0Y3uCWVRY+IhpS
aYVsv00EWGGW4HEG6O2mWbgVRiasnaFkj6Ci9fyLoYAWxSz487aPO69j3fizDUDTcpl6n5wmtOXc
eZM33gKPB8DDCaZVUmVlD4GsMwHyOB0MKvO11+6RCG1cXS53RtaOpQeSt+wfGU3vw6X6Ydr6I1RN
/uiym+AYmIBjthOUDaPQ9Nk/rJZ/T03/tR/AMHLb0jtGq5gOOMBw/7tXBk2QRZtzeeOpce5bxrkU
PtIqZ5SlAGVKRAJ5y/Dl+k/fWnnHanlCbZh5+Ono1/pINahiJs3vSt1NaY+06fVBNm4vVwOKMp0v
FZ2bS5vFMUoejTiJblKHroUO8vUh1qV+I/hxRZ+yLhMQD1b6wgvU3FMSxHhyxN2NEmXEpc8IIYeO
oo5O/qnUAsBIB9MFwTdyXFzsOdANN+RyZ1RLBFmLsWuQTBHfAdO4N37+geniZZLjeQa0/6aVckk0
UD6YGQ6svgxeYVJeTs+0GW8jwSHBesx+u75UVdR+XCXkzCNgHCZq/5x8UNbd9stdEy4NmjKLGNmm
JDrphhfHYG72ApSNM+qqN1VxVAdd2OHjrAy+GdbNQ6qjLvA+1DKKmh1z28iIu1waUoaA7Jm+uZh6
OhN/OkpCLuj/fRo89LkM4/sZ5aLbVsux7BAI/JxG3v/2GcAcwPzyUnjfb/u8cyPrSWi8A/rkH404
OgUhF2Scl2gnFt3aDOdGZllfhiNfqxSg0HySvX4MawK67HGXTX9jBJdNQ5BEd3UDK/iFzbc+iu1h
AN6AEq1rz9dXaMOeXS6NEFQ+IQpFzaUaDT8gDK2PIquGb4MPgcCQZxpw6Tq7TaWDuMwaDOiuRuTr
6zXAaBUDP2c3iJ3N3lotx6zRXNMFtvT5P61ss1SFUp5sAOGU0bvV/ug69O+eA/lxg26/5gKu0eks
RrAUDqsMB7q1bqMGIS6pxpRPZTVDU/uCm39k75QRgQclDvCYPTXWDHsNncnbV5FLryFEpfJhAdw/
s5wDCwtqEz2iBU/TyLyASw+8Le34MAxRcYIQersTJWxtkWPubbTo/y+9sCaA+BIazu4EhUBqYVHd
u36gN+5YFxkmggR4IWTALjbyyD3x0YqQT+p8/eNbv98xefTyE3TqiOYiOyYOWZLolzpGa8Qic73j
VTYM0oWG4TUVU7RT4G0F3hM9DV8RJUzH9XYFBqo7+ivi5vpkNlbKxYll0aSDhSOqskBdHikboxSw
brnT/7dxibgQsWyohioyXX0Rif+P9uyfplSfBr+971j4mOf+h25X3WpjV/6DFxO8DAmBVWYjRCKB
UyUPo5rbV+9W2A35D2isn3USo5H7MlVtlAPfngf9aenj3aa3rTmsm/SbZyFj978QV/hBeWnHiZ79
eXw/CvAYX9/urYPlROg8VPWM3kNyFuH0zAPxperUyyrYziF2MUIe5LZhHBM3ywLjY4m+KNvbBzGF
D4b1Xjo1SNXkZLLnPFB7jIBbi+Zc7wykzIu2cGIiDh8rCtXRBsqScQODuT6ZLRNx7D2D/AIYQkay
KkZfaOb9CEh+Y6DoQsWQZ6pVrqf6sqpkfhClCT83oLy4jdmbuEAxneUjH6IGFIMZnNUPKXS5PAnT
l/FOiL6x+C5WjNtOmGbERrcg/0lZzj9KGXfHXOyqDG48+1ydJSAARFnHCKVXGAOTJdCy5BL65Y8a
bvH6Bm8NsU7uN7Nj3hBNM1jd4NDLF5qRC7pYTroMX9aDdNsQjmWH6D0C50tMzlpDW8D0qkwznNmv
UPoDDUFLyh2Hu3FWXeklUB+Ebdji4hOJiO48DZk6z9uFdG3ttmPWLOgXAKJRcgAGTR3FiPsaXUfz
XY6m4J0H+NYEHGtuswBtsoAEXNCD80dGO3MpdCluu7ldGiaat6AgllV9UabRf1kes/PAp+wSaKGO
N2x0BLXrf58lUKxLn2ZRfQm1vmQL+cBB3deN4QPIKXaW6M1dwBBO+ox1Dej0kDy4yN7a1PbQXhBj
tnwNepN/uj6LN3cBQ6zXx28WgXcSZMKhQHtRYyPORLfZB1Ck35QBwddXO/zt69pPNBS8JKLbSn/L
BCQ2Or2nR7X1yx1brgS6u/CQx7cZKg9FAMxzo7u9pd/6+vr33355iNbLPkHR81JFg5nuLcQq6oOq
YnGTmBOWxrmfwacz9yOkbP5hfjPrFD32CPaLeVch8c37H993LBiN0Aj2ZvDzVTQ+6Q69bL9yXGTN
cbEYBHSqXXZc0ZteFUM5lmytAQVVhTzXkj+VsjjyoA7TwJLvtYy/3HZMnZuZenSsSe7BnkH0cg+t
ZPAoei3Te2DxjSm4ILG2McwU4yowTtGpgfUq/tC5+YMae4CC0R453JtBMvqnHXtWUOKWEjokF97k
Ci3ReYmcuPdYxWV3QDu6PQ4q/siY+Pv6om1NyrFtMcglmjyvuqA5vTrMTXZQOQQ4kM4BDBHH7XLb
MI6RKwBb40yR6jKF2SHLp1dehJA4XS6LkDuMjVszcWx9UEM7Cx8tnczy+TIN80ENETmWXTKkLcvH
020zcYzewK+aWOEgiwFoOAGV3oy27/CE/eDt5vy3puLYvZ0SY72AknPIxfc2QHOWUkDUQFsnNurT
9Xmsv/c/iWecM8f2LdItBAJH+qKt+JIZQBL8vtxTedn6uGPt0MYGsJsaBDjJYg5WQFu4kbv5kK2v
O4ZexQvtOMd9pMPxK5+R1AEF2E2Ex1HiQscqn4LTakA+lVFokzGOVI6Wuw0nGx7XRY5BajlfFvSO
Aoo7PdtOj8f1Pb8+5ROT+cd9MO5GWODyBS3jMudgiKDnRdAvuve+tfMIVhGUmdObzo+LIwubdsjD
HudnFTylZpWmKfy9PoqtX+/YcgYoINcTVLAHrxmPtDf1VykKeU6y22Jj7PN6uH67vKfCxLNXQqLD
qrzKkNL0Cpa23VDw820L5BixaoIkBhE3XqJVACQOsbEI046Q/KbiI2bgWDDJYg8ZzQA1C7wWz+AR
0gcNND94lrM/onJPCnNrKxxTZnrmYERJAGwRw0/ToiuHm/E5GoK9/tWtARxrXouEikXQnOViFckg
5p1CoHMs/dswfVHiYsh0SAcFFoTqwqB0eiCQJvrGUfJPwZgR3iT8iDGca7v2oBA+VXhqzdCVie67
ZAFxRZkU000AIwzgXNQs7rM4n4oAMBf7ixIDbE4xu6lpHl937mfw0hPB/V5AZSqfwcUDsRc0LuFd
epMtMMeePXDcTLyvfChAiPCLD9TsgXr+TdIJ+PGOKesusYHpfJJD8aHq0px1+hyo8CYZMXzeMWRr
QIAkzLryftG1iGCq8W4ZwVF5ur44G3eCSxUIaWoZ0HHxzpCSuaycFGuvpiXFeQbfe3QbTz2m4Rjy
NI1+3fnAKoCCcE7DSYyHZZVUuD6JjTvZRZF5ah7AjR+XF2Aoj3VWnUHMuFMh2Pi0iyEbdBUQv8On
cRmkVNWXeTdNvPVpx2ppjY71muOWFL3/kdmWHmKT3Pj4d6Fj3JZxFpeASZpBXzpF7+axImkGEu+o
2IVwbHhPFzYWtmOrpjBazsyif2HqYLJMAB8Lhoa9d8/WEI7xgmGkJ8FklnMej+2npcqmzyLJ/4jH
2rvt8ATO0SSojqsIjFFAiXSs+HPNQlfxXH65fjTffFFxUKf/+6anAyTI67qgz0wB5ZuikNLNBA2/
pMA6cVRWJNTRlBfSe8+AePIRuruy3nMeb4byGNxx2zgANRfNZF4ZUIoophb9vY2Bufeh/AZo/HBT
0wDGcRw4zm4P5ALvXpWZQZWTN8mTlzR0h6R+axbuERA4BIUn2XuIjXnoD2Wfsh5kjaqTZdrQ+o/r
G7U1iuPHs0HOhewIe98GM3R1I5S1FB4RJ9JH92Bq3cOrbJ0HJ26aGhaYZjHt65p4FUfql3H7yGlL
TJUanwTd11ARW51aIxs+p0sU9+Z4fYZv+hvsknPQAd+dJjHn3Sv16+QfZkDDcaxLcI4dbvu+E0sZ
TCIfC8qfRRnze6WH7MPS3SYYCdlJJ5s5xSBOkqZuX8FaJe6RmmgvJZvNzhl7083g646ZTl0/gVuW
5y/Ei4IPVK5MktJDv3+d8OLH9fXZGsOxRg5ZOK83snhhg+6/22QJl5RFvv2nJ6HgO95saxDHFKmi
fVx7en6ekHuKj3Lo0EXaFVo0xxJsADfpzmC9HJtkzUKaeJjzF1qH0Xto3FmSBqAN+3R9qX7VMf+T
IMD3HWvkw1wlOZXiQ9YTvBqhJeBbct/Stoe63QTt3OYJLYfmk7ZNNgPb7WszH+NqqMsZ9DlFwCLQ
ty6kvEAectFtGqGKGZPDsoCo5V0e9j2oSK//1A2DdsFJPPKyAiQI4mXQgOkJKb6weaxPYTIxUPrB
yXc6OvV0V/n1zYANK+M6EDCceBMM+cVGFGIzGTyTrMPilPm9PtAyr9KxvC0fgcEcl8EG1UACC2Yh
oXrAj6IcwO/M4Oz3Ov62Vs/1GVWUN2DbI882kCB6QOm/Rq72hEZ3hBRpPuop5nh0zK2kYLHOKAP3
T07VjTS1LqBpwIM7hO67/5wNeTm/t5NY4mPgBUF4V5eR3Oua3LhbXFCTTaAGNIFd4pVY6X2rZGQh
USAnHj9ou3QkraGPs+eFN86HC2miAJQbqqPwmWUJTkUI0IltzF+6mOgzn8bPfb8L2NgilKWOsxmK
pWFVVcfPFboQ9Vcodxp9IAE0YM1hGEo6jkdeCWKf6aDDvjzkGYog4QWr3BfHkLNafa28aDTnIJFB
5x045SZ+iOicix0E9oY7dAFSTPO8Mbr2X1UMaGVbLPYELcMZFKsozl93AFtDOK5Khkh1gbdXv4K5
z7tHu9Lqr6CHctchorhxGs4rEMsKOvKsaF4lHoNH0sDRNjPQN4W/KzK4ER1Qx6/wbuyDkSb0dYBz
fwbOqv5aeGjovm2RXEfSZmFfTJF95V0pT3LW7JQxRKKg1+c7+7B1Z7gUWVBCRUVphNxqZSBNm00j
PVQBVAFQRScUHJHr/3BvhLByi9sB9/qxyoOfv/4xZLjqC5IBOIXK0PUpbxi9C5zSJQGJZJ7Y1wz1
uZQj0wr8UZS2OVr7k+jW4+eiprQsC962jL4SUDicBKidn0jrsePYmvKWKi9n/4FORbhlpyiuXnnd
kqMCz0l4F0AfPE/HzMq9TsKt9XKciS6RsZyEn722HBmVI7OJR1NjchBNqjg3wwncSHn0fH1zNozW
xU+Fdml1xOrslfXTe6YhDJp5uD/7mpm76yNs+GGXc6tKoHjUDkP2Cp0biQ4cqM0JvGVPq/7f0nbQ
SYztHsZwazaOe4COzgyyEJG9cuDa2nDJLgl4TA91Qsod49rwDr+kiH9LWFdNAoJYtIa9ZtYLfXCn
jnl+SFRS9DvLtTUFx0GIYmIo+mJDoB1RQz0YDzwLRuTD0qFz4/qObA3hxBo8WUiV0DoB5XfrnU0O
HVVed9Buk/68M4uNM+xiqAY+gtiBm+gZOjj1V2AzeZukaIWViTj0BHLL30D5HNY3NQ8jZ7BGVb/t
CoToo24Ee+wnna3Z69W9QAoChWdolu9s/C82sjcicRdWRSuv/MUR80mg5/pTptu5u8iBeMXBBKP2
0qCCnxnKkjyhmg9tRTuuAg7o1y131nRj21zUVTYuSFeAnetTFYblI3RqP3LTtHfQuPh0/VxsnG2y
DvzbKlbSs0viU/mJo3Uz1QPPH4qgHnd+/tbX17//9vXQM7iIknB+ga5r83c7hP0X+NN8T6Nz6/OO
6Q9gLbVZJO2LNnb+zqVGA2p4G/gGB8wNCqZqGWhDq09ZrAqVAnMF0QOte7Vzurb21rH6QQS9TSD1
/mkCar08iGnBdcKqpfPTvPMhSXHbDruWD1CmKMs2eSEKRCIt2KDvEnR53xScAV7y7x1mfoZYrBqC
lyEbvL8GKNZeQEnQoVNhFnsobPorYfhfO0TN/N+j8KCU3iQ5e7G+b4onHU41YFcSHPXlaUR5cv5e
EL9VH2QWgu1FsT6WhwG6pMlwkjYO6CkD9XRxIV4YJkfQoEY25TKEJpGcc8IEWCGj5p0o2sj7gAdt
kohTyFBBkmhQsVV/77dgHQc1TpOZU1IBX37GpQl2bhtTL4PIfR9/G32IFt9xSBV+toEy9AnY8TA7
IxsEutm2BavOp7bIFX80U0Fsl0pwaKK+HZRje2/DiTQ/kACr6xPkkEGHL/wG1B0cpLzB2Qo1PyKU
73/YLK6yexEtqKIFMvBPZJWpPDOiZQw9q0X7T5zl2TPNKXAYumkIf0SQHP/0esCM/xoW2agvQ2Cg
IoQm3hDBYDK37MM0AFnzV5X0oW3TiVW43FB4GdpT5ddBdbDz+lYzKmMH1s8KwYmM9Y+qq+bmofUo
HlQ87ronBiz2O4MVn18NCLS69kQzwIw/CVmWxQdIfCzekY3QJPjGSqrLi1a0ouOpivqstwd0bw78
rIawa9DrbQEcAYUuGFJpNQv7Xcf1GH1kQbs8M62X5CyqtitAuCDpfLJJhCS8UnhYpkqVhQCDIZqt
j2FCDU35vHTeg+JZB43ElOS2leclaVAiZApkrPd9Mdt3E95G4bkCw1/SpEPSLm2VgjeSxMuRxmXJ
TkMRRNWFi0CMZwWisHk4VP0ctaCjN3oMn+Zw6OZTu2j9ZzzPI7trV+WKtI4ISts0RKRwyWtVVB8s
t/yz8guvOM7gavuHk37BmcB+f/G6JfAes2pclj/1EMvhXpfBpD4ZcLwPjxLQQg8nordfRvSK/D0s
qg9R0piH7DjmS83RVxh630TYyeaDHlTbHFjjyeJkKRQqniCgK8Yj5KpKkso50s0R7T40OWgoI6In
I5bzYwhCpuDQUROechvPyRMo3aU9Bpk0EM2gtoXO+2wa9YBLqSWHuR309KOBCkR/EKBzRPrHToW6
BIsnzQ9NZPt3Egz04FWRrO7QwBnbD5PfR1DDXLoYj58Cr8X7yU5eduyGGlOsmnXNugQcUUBTiio5
oLluPBQVY+14tAEEpM7/x9m3NceJc13/IqqEEELc0gfbbTsH23GSuaEy4x4Q4iRAnH79t8j7XXgU
0zzVNTeZrkRChy1t7b32Wv6iQbbz2x4hkcnh9c/WgwZaNJsu/zJDPKL8kdRuR279shkZxjiDNZOY
5aouUzXnUcKdIYycFq8E1ANC3Ww/kab+18XR/ipyMqSnMJWz3CMEzt5UMuCHuJ3TJxWABy+qIZpE
7+vYVWTHugDCqqWa0H2iIWKwK1P8/b0UrPaKyBN+e2oGcHZ90oUonskowx4fJLi6b/KuzA59AST1
HfQHJnIcEdZ9FNqZ5S0znlfAxgogxGvllIxGylSh96MJfbePVAEO/oc5n1BRMbstPWDLl+neC50p
i/KC5N91kYxJBHFvMd+EqemCu3owiCnEUD6DbkpS0wnqVT0+3jMQ6j5qJ2xfc9mAszzW1IT7hAAK
AKLsgQEfMxG3e3UNzb8P0k1eHTm3IeT55KB3qG8l+mVyF9mtISyn05i19HvguvkMRwJCiPeOM8RX
kfUJgC7+ewXEvilAzaTFE/NVOxw4dUJvr7KhNscwcIuraAPQjfUQKxRpMsYy76mVblHsqZJeuOOl
eb7mMvZtMkUWBCJlaRdCwdEfdgoxn0++4/Yb5UofexS+zZ7YZgsPYFOmz3yROG1jCBwJA3mZsQu2
Kko+drl8GxjbesYFG3SWPsfN4N6Q5cVdT9cRAmH2LZeLBMYDcr7ynkbK8mfPGOemC70ehX1pl1z1
oPdtPCwHxRTYvUrvCWRrdX0Dm3IDVXxxinm+CliNYVguF0QmQZ+fz+LJo91wMiBJeRi6eIsTaHGt
PnCGbDSs4pA5UvUonqZ5gWjJr22LU06UZI6GHmnBgWSH0nN+9uFmwcFal7b/1boUakhGQOpw+Mqx
8JMB7My0KFTEETftcLTsUSFZ7dLhOiY54QvL4EFIvKhDucFT4StpoK00lF0Ezi7cBX1dmq1I1cqG
tokWiUd4X2YigMGntI1IIAPv1qF1QY5XmbxNsziJ2I07UQVPSVED5922nlPte9LOb9e1vwzs/RvL
jzOugHh4igNoKe8EmVENC+4cf4uT9eNgji+sV1ZMRBCwJDEvQ+/nBwkVp78gR1l9bZHAvymQ19P7
3g+2ShVXzjAbHct9L67i2KA3H1p5Ju1R+OqAVyVINsWGl137kQHZD69JadQPeuZFJPFb2/sMgLQB
FS6sK/ooncdpPw41+ezyZNzA4K8NyjoQCEhcMoDLzQt4wgw032EkpoNud7p0e3kbfBx98W307JAn
E8v9CoMqWH4AZ/tjIXRw+xsifSW9o/BtFC3YfiX3e9G9QAvSRML32tNSGTnDXPaXx7Fy1NjwWeh3
Mj/IjYsCMFSygdq23hE9RXJBbQwE1O2Cma9iKm/KJNx4w651ad35VV6Wptby/3dJvPnXBPxX0uFU
/d0ja4D/BqNuBHqiLQahlWPHFqRM/KWQPxyRxOWSTqdJSdkeih5pgasCfr6Nsp1oK8Yhz/qXpAf/
yC7J/DE5zaOk5MZB1uo6VW0/sA6HwgUrdCbK7oWkInnVgV//nGbhnMq5DDeSzGtTZTkFLt5JYLie
/K/h4M3JJzrDed9B7AsR/8tbbuU8sCUoh7Ie+Rj28wvp4H87OgVctej3aghfvZI/lEsJawea4o0L
4WO5CBiRfRoMbTO3xtcv7TQ0w5OAOCmcwcYRZLorUGPM96i2JMHz0Ped+CWER/3PaiqB0FmqHlwB
vseWORvFGyunuw3RNQVgNzI2SKGks3cH4olHhqct2CZceZ+L4As81g0zW5lmG6irEQ1wMxQnIIwO
vgma6IekwsxSn56TMt4h4vXYkP6qHIdvg3bB2teMOdJgL4Ko+KvpdPATDAHTozNQf8OXXznUbeSu
GEfqBoEZXkAEkX0ipgU8gLhquoOjVG2p/62EoH0bwCt7uKqBmMgL6EVfZzHHqIygziOIGgY8/9kL
C+OoG7Fdw2z2P3VZs7FaK/eJDe01Gvd6VSCar0CkNkayD9W8B/rNRfJaup7eOapi/MtVFsitU0RD
WBj0qTl5rsaihFITBdUi6KGJ6wAYRpGsdAb/aSRhc90lYwN/RYHAAkMg7plAOjNSmbPjDhr/naOE
9FwJ7t/ukNJhisAovVW/viLC7Ns44JbGPTgYwvEFeX9Vkh0ibVBIi2SJl1wbhZ3B+zxOAPkM98g0
uPODpKiI/YmoGHXu8yqs0n6fxTqbgsMEFJf8KkoBX29jCdYW3DqVhC5m0JAk4ZPpE9m+CLAI5o9D
G6bB49z6iDQg+lG4fyEWq4NiP9Syn+Nfqm/wIac+i+E1KwA+OXQMsxIEToELBc4d94vqV+1JOXyX
dQhqi105aCX/AVtSCU4b34QJEEwQAUPQ48QLb0lV59pXzp0seteQPapsJaJtqGBD4CTpUqfyI0aS
nuV71uRT/22coV+NaYtn/RKned7uK2KqHOK5yoFBalc745tycuYAkuTj5QAZQp7R8DnxfYEsLnBh
TrI3pWgW8aegqLw7vGqp/jUQEdewum6q92SeKWsiKkhAnumElTqgGDCeglve84VdFqKQbntQGeHQ
F43jVJRqX2ScgiorCEYqI+Iz1n4rXJEggwgVjlm8cFZ18gUyXp7zHTKKSaZ2RZmgKDQyOqediTLS
+/VX4D/Bmgpdp64Hs2Cgcv5DtpDaEFGhVcpvnaBLFb/lk4OM5F72kOHAl8YOZJQRngoRDwVpWtZM
e/BYgC4bQd2Esj1YyAq6Vy3r/OLocuLpG9zltE12HoT9yrsq68a+jbrSjMFnGoe1y4BcEEPDD2k/
kvh8edetbDobYc5JzYaA8PJ5Euo4oRhiT0oQVLjMPINqyWzs7RUPwiYqJQWfMurK4Jn4pKsjRnOU
pCBXqMKN82RtGNZbVYNsVY5kQsgCGLj5Np+c+ktVTMVDBbr+8TYT1RbQY20oyxe8e+2paSohKQY4
AhsR0T4kKtDOqa+9nm84Qx92EBAb1kS1RwAnpC3EyvkLTvtmV5KY7C4v91rjy1X6/utpWcC/x6Nh
SOHMEAEHq9nUDvnwPsaXL52+a7wa4qz3HEHvVW7ETQJIwK3hFWqB1HiVFga6sO8p3fVG66k9JbkK
9lU8tLtEp7fXTY7l58rWKSGKnENWNjVwwMoYXKvXqTDhy603rwi15AySyKeFPEV7IPNOuuwFEtJ6
4/25trTW9TGkkD3+PftGyDd4BnyXesVWyGulcRtOlPh9oeMy7U4iHPOHYXZ+tipkG/O+sm9sEJHK
0trkc0jvYy97mxbuaJ00f+fDsIWAXOvAPh0A6qjB7EXvkzl/aUk93cV18Qohv3bDV1ubHutQINDM
aQeRtycy635nOJhf6mWJr9qXNlwodkpn1rHqTi3Y4ThfxAvH62QLAmIjhRoeBpnDc3kuG00ORUo+
t1Wsr/xyy1wpgLSQZjb0vqqw+fdDJ4GnQnqGvVyembWFtSyWiLqfGZ+8+yKtmh10HQPEdpwyGqf0
7boeLLNljOqgKbV3T+aWZbsiU0i8KN/F+6JDLnO67ly21fimHHqlMx/ovVEs+U2W3CHxsRGJWNmd
Ni4IcHZFyjlrEnglJL/rg1SSnSJBvSXf9fGDOviDXqnhQkMYmvZppNL0aay1ijLlAvzY3M2gcYjG
WN7mRS52LUd9a+mVZHGGNo6PteFZ1u2rUQSKTi20F3nbDfeghEG9NGRKpvx8eRMsLf0Rr8TwLPMW
vQMG0DTABPpukN/lvvPWePWrL2cO6oDmB9zmjVDLh34Melo2+rsrtM/7zFSy65IoNILs0q7Moy7R
4o4U/gMBIdbGnK0YDlnm8l0/CWkUN65rkqgM1WdUHeenXLjfWFdOx8tztrYqlumzHvRzI83RA26K
emcE1D79qbqK0AsTZVl+GZYdQuAo242ahM+RrEFQjOz1Fu/k2tdbZg9ZJgOYOMPXJ834TacgH+ky
szU3a7NvXdV9BmaebPTReliYxzRV+PZq+jS6GMQVsw+49xJpfbe+WYyqY1QqIg/tQWWoOWjhpN0T
o5QVW4xtHw4CXYj/dlE4Fa9llnPYPON3vpslAJV6OfhTEB25bhSWZQPZIAJXd+giFgxePAKPzzqH
7PLl5tdGYJl1ydwxwVnmAUmseyajzokfW+r459mlW1HgDzcSZmnp+91C5MKZAf/IgjTq3O4H0DvO
Y5rgFXh5BGutL7+/a91UPcr6GZSoIx3LN5M5/o2XlFtPnbX5sUy4Sj2wbxqB1uWM6qISMdFDCyIj
hQd8jlf0dWOwLDkeZKjddPTTyB/z8cEx3P+CgoYt7P/aFFmW3CZg3nSCGvLm0s2fXJHGWVSkPruq
+hsLbNmyMKIRoA6l2EQt3oDpJHTUNSDdvGp27FzzVHrgaht6BpneFLULBHgkQqergNX8D8alsNXS
hyOAjwfL2S8HfNP7uk+31HlX9o+dQFZ+xhHoq/HtTNM5SkgiTzJp7pYL7Rq/CQOwTHgUJas71mLz
1M0M/LFbil2Myvbr9qadOo5HAxiVtxxAwQy3UsbC3RNurioAw9fb5ktA99ah6OAtVUUVwf+eotw4
ClUakJG/vH/W1sC2YQPJCu758Vs+jd0+cOPsGExVBlY+yOhd7mLFwuyEsac7qKsaAguDRtWX2vP8
Gz2N2Yansta6Zb9aTm0x0QabyCPiochNuWezs8Wf8aFnhxWwrNcLPIBDAoPWF38V4efHpGX3xkHU
YphBDsfdm6smyc4OJ91swi75fVJPJdh8+hFJLmiWb2zUlWW208IaGE+Cym1cZVQP/IFkeXXEwV0d
QTq8cRmvdWFdxoJ2jqtKMwB8hsvAxOwvgkKMaG67LQG3laW2eZUClvUC9LsYBK+wUSMkTlFuFtdb
TP5r7S8je3dbJkMwQc+RxG+FDF6gHS7vXKGKjRrutcaX3981Xqp+9iUyMrgHkN6NSNJCjYDmOQos
L++g5Uj74xGCV7llyQygpr4qa3aqanlbpVOEeuNXUvl3uabfr+vCuopFEgxT6AEfF4mu1XuThF8g
EN/9omVDD4N2/A00xtpcWTbN2h75NDahH+KB6Q/Rk4W3AU+dy8NYa94yahJrQCdR5JRGbQOdQcBU
QYUcdHJ/VfN2wlYjRVYBNN2fwGmAAEBMi/QnQ7RqixVq5fPtNC2dVOy2dY7PzzMYWFkP+UGZTR62
FTu2E7NFE7acgl8bsaqGfykgbfCtQKG1dwB6adoiPVwbg3Uvyxg+rhrz4TRMrP2lmJe3u6Ytp42N
ujYGy5JVOmsOLq7+JLuRP0Bk5wcdpHNEVu/lujVexvXOmlXW6dCHAM6p6oNwlySA2DkaccPLra99
vmXKpFU8zRGqOPGkfxaQzENizHzyRmjxXteBbchhDRYAvMBPCIsAwzOjsiWqFyrqjKfT8+U+1pbY
MmIsJkq8U9KfiqFNDlRBT60a/Q2M6FrjlglXKGNGgnLqT0nMn2juEcR2ip+XP3xl9u2UlzApch/Z
GB/b2jM3sDRxI0n29D8wE60c1Xa6a6K1myKHjh7kcBxS/gBJ51fqI1aR+k+XB7G8sj+4DWyGpQpF
aY7XJiCKW66DhqrP4Kd5KIv+AE7kG90Ex2a+Ki/CUR38X2Pw1QL4oRJ9uVV2aDrxEjjh8fI4Vhba
tyw5KDjt9OBMaZSM8bAP8xLBCjVuXMprS22ZseASunNSzylq4mUZsTy+5fBaIt9rNkx58X4+Wgfb
lE3Xzl3l4vsbd/pasP4W+nxHrSAmgMKirPUPl+dpbSSWRbd+ndGuGjASZ4SKi59NQK9rxndlAfLx
y32srYVl0SWo75ANrpy3STTDgdVGnzpHlz8ut742AsukdVHTijUzZqoqZnKIy6G9SfvWeRp6fp1f
YYv1Me54xYiyCyxG7ZODH/ZID6bFFhXUis3ZbFpF3pYpoSOa1645FKDx20v5NSHpbdCWfuTU/j2o
/jaO8JXFsNmzjG5yEDdSdJZQ1LQVPcp/+FxsZZlX9q1NmoXrUqIqsXfe2Ag96ZBk5ujqheIvGb6R
tKFfXLzlLi/8WlfLhnh3l/qAz/hkDrHwfW7It3YCUVuXpONetCnd9b2ujoketrCEa71ZJu+hjnua
8hi9zVN2y6bkr5Srw3LAj9Q7EFJvPIfW1scy/DTpu2GotEoiUpEz9AX6HeinrgwbMsvcwcGFukjU
ZyVRZyZnF85xvXPZ1lNu5X6yubh4HrOg8530XIwc5WgdSpoiFMWkL7/pR7HxlNw4ttZmyTJ606OW
xy3m5JwY4t2lCqcVSjodZAEv762V9m1eLog/Cw0MjXtSafZZ0woSiOV15Kk8tGm5TE/ArZkl6RlR
uPimXgp5VCr4MdRDcJ2V28p+kvSsahkctWEQ7SkW6fypHpABvDw7K0euLe0HdKLjBXpMz5An6XdS
a38/1QsplF/8c7mHlSPRZuJimqBabsJJhRSf/73MvF1cAY3u9b9CHbx0fvnqFux8ua+1tV5+f3eO
zAFdAjU8OadTq+9w4srnyivTp+tat+x5SvM6VjloXCJdS6KTqKiSGUxTM4qY+XXheps9CzX43E14
T05xWd8PHQiFR0icXmkK1u0N96xva8jVnnQ+zzuWd4gFcQQtr5sey5DBtSlm8KCRE7ICBgp8oXx2
EkVuL7e+slFtJiyRB86Iy8BFKbMBvoRLBkGPKgAxU+TyVm85OGvdLLv43Q4yWTGRlJXZuS1A84Ei
rmOM2rFTOULV/fJAVvaozX9FshAii2VXng0DmtGUHT30I6Q3rmvdcsRJWyMwNpnsrBvQC01tj2Q+
qpOvbH2ZtXezI1ziKw5mnfNk5nw/Bt70lYOEacPRX5t7y3rbNBEVzSr3VJCE7pfYVZy738fBbIVl
Vi41GxpGoY/ddIlQ526ORdQgSHO/iKvx2O2/QIQr34pSrg2E/neaeFDLmmnlnpIWm6haOPhxoyF8
P1ynHB/aUDHm6gHRMYecDJ3Kg5DOfJt43skPUY9/eSOtjcGyZqfqu6xDYf25yuLHLgSzQDO5/4Zj
Uhwud7BiBzZebOIoC3dCVZ3xaKl+Fd0EeGswgV1no/2VAdiQMd1T4SeoxTgXS6GtrGBnga7iG3BE
Fdc5eDbvlFRzXSVjm58XAaN5bOLD/5DV+E3Q+MG70VbpU24OVD9n46nS+PCjVyFBj/pxjw2I+4HF
OIWhlOMwP4FnAfwNKCwd8+nk6aBr6oN0pUnowQUnkvJvhlDUBf6RlAmEUnoDhPovVOnX8ycf+XNk
y0nmAvDJC/IjySpUy1d54Xv13g1Br/NTziiDoyZ3njKiQYnnAvfgVidw9afpDVVTPwNXo/3RFwdH
uiGULAo6uPVLns2gLoiKpguzY9egBHzjRb22tNZFjFKOtui7qjzL3Pg7CW6cLzpDIUBXtf7G0q51
YZmwCWrwgTile5qk4ZBF9VPQE7isfsT8Xps7/I2Venec+t0Q0mQi/XkWfrwfvPi1hGb9hgGv2Zdl
wFNZ9rzyMxeapMMnIwEJLMdNluCV6bHxYipQGnV+hfs706A9kGGBZ+AuC7Itr/33MfDB7repo7yg
ckhBdJ5EWTipr1qGX0g6kmOWd486kYBQYr/tPQ2ieSDwx8jXcwIiyX7eOTz9XBYYL+mhZ5ApcXBz
vvd6/6kFU9TJ9dkWEcHaLCwPzHfrJ8sRdK3IuZzH0sRRPY7ihqYQEunJpkz8WhfWfR5zrwEzhinO
LHBem7AHvyiRdRR4m7KKaz0sv78bxOii8BXMH+ace0XySRYwX2dO+alvgys9QxudOplpzENwJp3A
mPHER4iYQSj723XXiOU0yFyPYTW16gxemwlv1J5xecyylKcbceYVp8HGwQmo+bpOXlVn0+fjvZ+U
975DxX2QZ8B6xoBDXDUOW41QAGsXVAm8Z4QMvsTLMzWswysjRTYUjnoUNTWy78/QHioj7RfZrqNy
CwKxtoOsZwVrOtb3ITFnqHvXIF2Rn1mG+qyEb1UlrnVgHWUBkOUOKn3MufYGDwiF8VM+aCgnlZvq
zh/3IGwwXFywpB00hWOrA/HNKQP6PSxS7CeH5QAzXV7ij+NO4O38r6UJ1U6zC2Hcs4Ki1J7HYFxM
p4KfkNOud5J3z+FIzNvlvj4+/YVNxcIcYUji6uI8skbc18DekR1crCE4XNe+fS71KM2iTmHOzSSD
es9YOv4zZ7V3VQJG2Jg40oReFou2PI+uB/HjOD+WZfj2u9rv8vevLbh1bDBalYAA5+VZyfiNheDl
4D2K3a4NRQibhEX2hNWoAS7OmYDCpe8Tcpf0bn5z+fPXltdyT1ydtsrEU3GuOhIsinvlYUzieH+5
9RAb8s+7V9j0K20cDA2okKaTIANu3hrYeeAri+aOZ9lTVft3qMP2putyR8KGx02gJ07xDG7OUtS4
RaX8q2y9l8sjWZknGxvXkkCFvMcy+2X5FHjqTfDg7XLTKzvIliKUwiumsR2Lc+C0/W9gKC9a9ybv
VXG8rgfLvUBUAynCRjbnQvFqTzRS2H0j90Ez/brcwcdXm7ChcUmlmwnebHMmvfycGvbkD90nCpST
47OrwInChsdBiC4oG0n12QuCbkfDBIIVmX/dvSb+QMe5tCqGcTZn6lL6natw+gqVYP18eXrWVth6
Zow+7RikgfVZ9oPc85S/Qiht2PE42YKhrBiajYsDVsota9wGZyd1bnHH/UBt7C0cr0fTmtvZr95G
r/sf8FkfWgOIrZbf37l64AxLi6EAa47Mu7/bEREJvOCqjdttrXFrtnwW6EIVqXucwX8fEQr58kCT
rQKVD7cqPt068MxIIUcMvcRjEuCyLOr+Np6AwKuy9HPg9hsGt9aJ7ch4qA4AVBTz04L9oICA9qIN
yBe5rxGcHJd31do8Wc6McJ2ymRIsAtEFqIZUnO6CstoC1K60buc3wa+qfY8yqJg7rb+nM0oq+mb4
etWn29nNWCWJkwpIpCdyAptVPvKonBBEvq5167gDN4Pr64zg05vwixoDN/KHTR91bV6WJX+39SFm
o/OukigDr6VCTrZCZtnbZIpZ2ThsOUHetT55oLgFjah3BO70Pknmk3aDLwPtv10tUMaWgb3rIkHB
N3JwEqKhmKJI9V53yEi+VRn64VEHKgPLeBXPyobMFTkOclY7DdKCXReopwCC9bvrVtcyYDoVJQcR
pnushP9UpXgf9BpSutc1bhkuLgaGk22RhDXh2+QhpeEqvDKva9wyWF4rU8+gHj6CGVLs2wa8oLUE
s9JVrdvpycLLxiyVIQQewaETLQdz7FRXYd9BBGi9OBSgrKAVbtxjMrsQJgry5DPv060zecWm7Mwk
GesaGiQelrRvQI+kw+ppNLO+JsiHb7csFlTChJTK946Vg/zFBATNTefitppzvsVjtjYA22yJEAD/
NOQ4lcMzFCzqA0T6huvOeVshKParHG8vnAmD43qfvVFNO89XyfG6bWMZbCsbATSacY8ZzcfdHJij
6SERcV3jlq2i8gwKLRnQ/1oxddK8dTXCTkRvpbRXThvPsijNcja3ktH/2/PMmbo9uAq9CEqVW8zz
K0trpwtb0OgqvLlwyw5OBsHIrER2B0c/20oUrnVgmZYYwEfNXEHAakx+FQrknb7Gg/6qBbBzhKZR
ACfz5eu7LL5VAEIdZ+O8Xm58ZfZt9gjmjSyFtr13pCCqOBRiJN/mdHBQv0K3nqfLlf3HAxIUoZZh
UT43rQMmmmOCQFDE5/wpbpo7yaoH3pX3zGwxSK3cuzadxJwoDnZtySCWQJ/msdhPlX6MU3KThFfF
eDEUy9C4H3CuGuYdhZG3eiafa5SXzM6WcO3aYlimxrKUls5yuQzlFD4gPiqPg4irF39Q8rqjws4V
anAMpnPosSNHhe3XaYinf8HHX2888NaW2rJlOdckrSFueuRJ+yhbcVyU3GSRgfm0iTxz1TsShLDL
C+qd+6NK7lBwV8DDMo4bVRQBm3m+Vp/VzhUKlJuXpuUM3mHq/EpoiDrunuEFc9niVs4KO0+o67Yc
gxAfX4T8RYBk8pDGfXB7ufEVG7DThDNqegCeA0l04M6fmVEvYOE4CQRpBt+77sSw4/cQz5wrD9Ik
x6RmrDkor2yzE8uCKtg3GSoDNiLta9O0/P5ujQcfWMbYgOWdMvkGvcsiKiFyft0sWWYsUPjtJ+nw
f9uUkOqGkP6oPY460i3usBVTtiVoKhcCd0ND6ZG1SfaJetJ91QJVMZnq861K2LXFthxdVG5lhSxg
bSoYvqoSHF0lmGL4l1ReuwiWPTMJQnZhBnYUeTHfFNUYPqd5HFz5PrUTh7LRKPWPUxxGmQZ7ffDm
z1sCqSvzb2cMeYMEPAQBoMUeVD+rYAFdSOCnwnHcUoBa62E5A99tUKazKggTXDfxVD/wxr0ZFLtH
pdKGJa/sf5tDAtzWTg9hPHZs0nCIKh8v4LgPs40H2MpBbfNGJH3ZFoOkWFiZ3pi0fqAT3r9FWD4s
p3QP0MD+KlOzE2YmzQzK6GDGyJt9i8uK/yqgiRGNoAg9gKW1u+5QtRNmJgbWr4s97yh97zt459+c
7Mo4h50uA8dQz2jn41ImRO0Y4GCgykNxwOX5WVsIy4Y7t5BqGDVY/UP5MxzV52F+UaF4NHFmIjVu
gSRWjgpiGTIfiSvHesSdlhc3Yx6cPZL81cXpW1e0f18zkj+yZgnYHRRdRgJ/6MEL3WNM07dFP6wu
+D670kf6I28GUhiwrAaJfwSzXQqhFpA/i5wn+yb30qs20x/psjEd3Qr0xewI8ZP5EJvkrQhUerw8
TR8fG8LWK6BxlWMLNewoy+CTGsQbnbJjGLYvl5v/+Nj4I1c2kL5LhYdjo4KGRGSSxt+NzqaG5se7
Vdh6BcRPXTqDmvE45+SnL9tlt/ISzXNdfQ4Riro8iLU5su7nGk5RGIQ4nbI0f44hT4SiJf9OpOT7
de1bRlcMSKUQL/bwoipAUR9X4qbzmsc8yPXGKq8tg2VvdBxKIQIcGqQEk8HUQf2yJuXPy5+/0rid
xwLiCZId7cyPxEzfJApWIre5CjTtCzuRNasSamxu7R89n/wdu/Q8BK27cemsLKvN7wBFp1hmuNPg
tk83oq++0wXR45cQe7k8MR+fcn+ksBTK2MoWoI+j0OZXATFvSGN/inPzqUdN3eUu1uZ+Gdu7Wx96
K/3QViP8Ongv+5j5L/nCIna58bXvXzp917iRFMwgaceOHTEPYHc4zm4sQWSeHVFisbEzV0z4D3EA
p8PNUjVQoaqDiLPiKEStdpTqu9AJvsy9+XF5LGsTRf87loHKpgewB4s9gXlx4fva98FW4673O674
Z1RB2Moj4KQtmN/GCc4ehwb/FG7B1Z6CVW84ttmUf+GkcJ4EKYJmFyPGMIEjYJqDaOi68S/XEPKt
CzTF/wvuZwfqLdypmIm5OxoIrnVHmuTFkTU11rguoL/IRFrsBr82/5IyhAQJEFjsdSrb6kFmZV9G
QwrFXuhn8ZOGzOhXNesyPAB8HT5oBZVOlrsQv+kpGgmQBv3h5TX0sQTqVBtnDBUAc8Y8VKEiPyiV
1e1Q5NUd5RnTNyr0h29NWNNPQrP6rcSInb3iQTpEecUz72tChRcf4fDG3p75Sa//acPSJGdBS2ST
kkImUwTqZEjVtQoSSMeWOArSq7w3N01rgqfZK+uXgpLiUbOwPsmyHO+NFO7fXIElviK5OiaTKrxI
QwQJELoMkWma9FCRUkEFcta2rhdVkRrl+XuAGhICCS5EZsGaiKwEqoSyHyY35jmhRXg0bFBix3M/
h0iSnFFl3LqhAxQ/7eO9Gnn/Kcm6ZD6gmA0so7ygbP4sGob5daZxqWAEedtL0nndP1BmA9u/qiHx
uEv6TALdDvfmlc1uWgOdMPBfogzne+4wGv81lVOjHmkKRUaEnXr/kAyYWggGMO+0iGidJEmBMfdd
9oO4E9XHOgWh8uSFQ7/Py7npAEKf8zsQY9EdD1VyX9GamT3v5NBHbdwm1U1StEDOJkgV5k/4e2A4
5kDQxveQucxunayHghxJSPVaJS6ShxOD940g0liwnetMpf/aeDqhkR6TDvPK83KvWVFMUTiEErdf
0mgINiM4F7UoVywi4QbsG3Nq6keDO9aP1QQCVem2Aeq/xgG0eq32w69FVuHJQ1SHVSpZAjpCMAXE
05OcquFpMvgwAJzkfEsxjfpRVAjY7Ogo03JPG2MKSKvkYJEmKPx7qzgVdyqgMQTRurQ45g3+24FS
WoH8mJHgllBn9iLMqt63Gbhi9qQbO/eu7FtoxqmZZf84rYNACm1rfGTlhu4vwmL2LYFpNhEzvnfK
oeA33o6CUvKsWs/zDgabjx9ITxW7E3MnvQMSLsNnyfOJRLEn8u8p0FnZbWgm9kM3/njb+k3yJgKI
Vz5RxFieaJANbdTmKCT8p9KQt9zzEQW40TQ74l8tPPxRJ0GyE7VuHloXu6uYGSi3Arc6QynO/DXH
Tf4AITNxMwB9ubDHUe+GdpigqMm66is8ldS/D39T8M91V57+H2dXtiOnzm6fCMlMxtxCTT1P1Z10
36B0smOMAQPGgHn6s9jnJps/1SXVXdRSoDD48zesofer4BdrccrZLmA3FjrVG8z1VQbh2X585UVX
PnI+0M9eUsGvXTG4ewPRKbMZ2770U5jIo5OV2RKZtIS1yZzEOma/oehZmk0A857qqSQd3o6P/3Sj
xOjdIxhAIcbzhisCgaOrYBHDQmPX34Aflmf7MUOS43U9KDLCHaqXSo9hIpjMIKwMuzF63Shduo+i
6zsJ1aUGYUBsMJzoxH0TVLS94a0yv6vCg4uq9CG8tam8Alp0fs+HB1f2Vmx4Ju18ZTyp+Y6O8djt
uYXHepLBZ+0aYDaslq8K+KkpyZD5zoXon9uWUBgRhXX/xsMebjgFk68Dk1H92UBmxSZRXHEGFsDY
HiY1M1GkuXXbOQXUvLiD0d68z73CcpEYLwqzFCxO8Y+GA92nF8fq0cAm7bHCxn5mORzsE+ksn99Y
DPJ3phBiCaRE+A4y5CV+Jr6lI7We+2m0LfZw39KHrI0As4G6Mn/DuQwvSjbmQ7ipFgfJuwxx7Tj7
yzfTZF29+MLYYr7qoIc97YOiI/oOkwDYvGlKvXaTd13RVin6lPWbY2oyAWg2+g/w0uvDHTx+bbTn
AxvuGQ/HI5rYIDDBxK9/8POMCvCO4AoC6xZWW0il4+MgoQtBo8qT3gvFWTSAkenpLql9Hd/GKhiu
6Kz6D0hRVTu0iFS3iUNYM8JjPCi/1WIOm+3YeDAEQCvScV5FXGjz4PeQwoJbk4HUJ6m67hbukH28
gT1ZP95lHFD6EiHg1cKa5N3g3NvDdgnOgGC3aAi0TuXjKJR3F9BAPzvhADtI6OWDH8oDf09H0b7T
oqNPOLpgH2Fdp0+6mU/HDMae8HWMKgLzDseHUfcUqFnej3xWcwFuV0HmowfjFdoiGGXLrbhb1D9B
3MbpGdnJoykps8Wi0DL/Aa012A9Agt959sBZJVfaiUaYdkIQty13bJycZqegbV9ulB7c/I6CRpxU
JfEI/CIdhlgqouFOuj5amR6civWhibtFGClT+Te9OMCYQxAD4/iOHBPcsxKWfeEVbJSb6LmJGujN
Sw48CskATkm8PGyxayItX2vImd3LvCofi3gOXs2IddjWInenT4shww08RWyZggDZQN8pJ21fvYMq
V7uvrQsMVaLg+fkP+vbdP06GnU0Cyn4xz0Iy38cweovUpQoSjuroBoYZHV4ZdFU3cCAY7qnn2yhR
pKjcexiauvENZLxCL/EiyfpNxgfn2RbwNbnppKUfOnQEQGU1tPIbM5tfNLb19zgvYAqtYatn0wht
FrubXOrdMGcCFaSosB0rasLuhjUdfjz1BnXbg+T5q+FQ4UpD0kAkH6nUTNKMIByW8Bd4UMppZaoc
64Egy4JF9B/Hmpti3RfvVS/zn8cZTN0UlAUZIsnW9IcdlHmJNL45wGVAPx5HXlw5ONuuRgXFmDAE
YiQdMzhPFFlF+rSZQQigTQV7xDyK6a6JWzhpFn7W16gKRnWrOoXTM45zHNU8Btm4FwFE2t2uhpQ3
aB7wGECvAabuUKah/4wZgghSyEzfVTT2n60N1G/LESz8STnTDkarVN/MFgZbVuAgSkafQ2B2jgp4
WLLeox8kz9vmJhjALEtGw0DShslUFrVJ55WU0NQRUZsDKkVwgiWTEVh1hBBZA/1lmS7Bha8J2TjC
idsiiUsE8jsNFFS/8SONV+qCuDPdDzGFwW6PnzhvZlJT9lK6or0ep254gkTKTDYzBnt6T2Oq3+Q8
BE0C6RQcwJMgMJkMB1emcdwUqQJidbeYfHxAzaO6nwNR3gKTINKxonmP+a8T2IT7BUwpaUtb57D4
pKoEoI6+SAZ0v/NUYlVlUurJ9zY1q7Ny23lx613VUcCupn6y71HZ2G8LK4VueGHaDcfhCDZTVvCu
hKNO3e6wcs5NFat4uoH0DYM9xWSRgrcYQDx4uUCclMg45daUPsPacorDLZ9uPONbuMfU5a/G8b1H
DSe667Jpye3EwJNqVdHkKYJocce6snyMndGHTTCkuP3NgMzzcczKPEggQYQAPoSwTktr36oPLmgM
G3nYbpdgTU1w3a09H0GTdAEWAxSABtYgrcPfdUGUs4cLGw8SUEL4a5+7+TMtMvkUIdqatPVn9NAJ
apg5zZoARq/WZfDkDGnTpDpj2Q+vGcw7zdryByOquW8zgyOUtwSBRZfjpHa9hcMnkvH5R2vbOkqF
6yBRNDjIryHaDF8SQeBPi7pi+ZCY01XtA5sq2SZD2OZPnszFY8GXQka2GkeBcgdWpwGINtFGoPYJ
D/UCBk0sbTGKr5FkfrRTQX8EdTe+hrCk38nWmX54QRhDHQ0cd+orsWtZjtw4n9XraCxNnMj2yTSy
+F3kkXxCsczTwsTw3+EeGP0DvAHTvjEU3qzOjLXG1ZCg27jHDoFp75soIXyq6mH6REHjw72MSZQU
VeBk3zh13R/eABeoA/WRAcMJtRDIaqDOg64X2jp4mMIrfuYaP1U1vb2CEDdBItrA3zezUILioRp3
lMLgnE0qfDMNykD4lDo3AWq3g9sW1T0og8ULB1LMbjoUsCmaF+Zl9ABAMRRGjrYe+BVATAwIsj68
iwTgUqltp+FaV2qh6IHHK7oOViLBmG3EVM9ekjec33T+mE0bgNndtxz9ywSVw3iXj94s0s7HnEVh
anpsZriMMg8Bb5lqbyjr8d+1T8DHQ1fSu7cO/CpgItnSx8BUiDKwpJ732eh549bUWt+z0UzFDg1A
ACpIHEFS2Y+7J9lG2PRhM1d3hBksuuIlOci6nd4y+J9ctXG3kP558AzRxOGulb26hU5Ce42sRaZi
KOenjhV9YqZWfrgdyfaZ8bDaWYQOAty81aY1tfkGe5LuNnNRVXFKouegqeVPCu+cGBLVbgv134GC
yajq6w5Cxt88vFN4OrP5BtiD7MHQoNj2sPVJ0RoqNryp682ERUiI4ObdQ9YEeyPT6AlnXTaX2wBG
Hu8ApnjFppsQMjaFzkWqgPG7biHlf4eOMT43Y+Fvk1Q14oMKUdQCRj29xVm4NJD9Eus3wYP5Bl4X
xkX3vTK7ShZ075KxhJQt/CvfqaAkcZHvP/IWjGFMktA8gR7wlfV5KdJKwiSQU7TjIPGG3hTKKm8s
D7b3hu/gbJpfaqw0UnBeZVuQLVtojeDY2cChprnLMM9+hNXwh6e4wXyhzPjBKAWRTwJe9QN2ZxEn
0Elmv6um0k+c9uUtTmT/ltpwuOqxfV6GAITOFBO13N+IJgRwL4gBm4IPnhP6eoPzwTHhHuUScRIL
k1lFkjInwj/K3DotLLhBJTvUbkvrjz5A22nPHUdDpyFoxii6QvmLaoP2fQAZFqggf5cYUlzpjCBG
0NArPj2iaxxp8+A+925GpsSR0y2smmONDmWLLxV51uTvzGgd9kJs3zkolluchYGq+rGC3lIRIETM
Wfmtmvyp/G1GF2qOLVGo75ZiqADptM3VIehABbmG/Cw2W0wW0+gij3WGVjdUAZK2pjy4zpSLWsXr
tJv9kzUeOK8mqnKaMrhedwcfvtNq4yjj19f/mo447jLiz5tK7LgcmiWbDJFra01M/iKRiaIsLWsu
IWHg9rkYEsAmYue3roch34rAlfhGexQeCbwohP8WOggBQU1wNqIcBd5IRWCGIerkBfTzvB6pF0Kv
Ca8DhC6NEO2H40aCR/YUKBnRH/7koGxOsfzIuTyFuuhmFrXDH5FdxBHFAeqq12GQHEradIr0tUc9
sGm1cpHQMMDI1aa23ujcUS079KsgYhDvO4900WFkbh9dB2Lu2GsZ6yVW5twDFhCixwmhJY52nk1Y
ASjZFs4uw1dRJgjeI9bOrVB6ZlEE1pBtYll/A1lGNXcxtJ+eSb0k56SGV/V+CXTtQef96OyYYyXf
jFbaFzH7SPupF1C1pbPQJa7ll2IfIGfpgBFhsbOpY3zekBbOy2fbI8V598poZo9VF9Y/vLjAdlDI
2/NU5KbIdxXtI/gScITP+yqo4A0/ufWIeUdPvTsZNeXwDdupyreVJrQ4YJ8hDba6BupLgAci9/Wo
6OPCEs2goIsyFNLSBTIWUi31hlB1tnVoLyekp83Yg7tvOTTxssSGo3cIMLvUm6qSw/jh4q0MqUc7
9RP6S5X7w8/9MbgJKj8HlDvzPUyinat5QIl3paHW0mxshwqVMjcnVxS1rpegbQ0veNmzvYL9O4xq
9ER+maqP1JZXDGEDTmS0TAvfQ3rad+gCJGruWU0TQ1mZjnE3IzmCSe29NkXzFvQa/SkWIjAz043q
2QrCjjCFYqlAgb0nmSAHoSS9Wgy50WI2HJ2iLKPdsC0HAEPdzCnzbTHV/Jd22hDgegFCa3wNf3Y4
odZlt0WVgR3IZIiCdDBWpnog8W0Ic64CqX5e5FdZD4gj9qLs3e04IxricIQuEUwl2v7IOzX/GonH
38Ci6DfAp5tbnwAR2TPhPhVkbJtrU0/63vAovM+ogSCNhUMA3xARwwsKWamfMD/006DG2ZZNCDpJ
JsNepmXUe2le8KU1wOBNX9wYpN7lHoIViKJ6Qt8QdUp1J2M5xYmZGyO2GjzgK42oLXYVxqKPqHXD
e2CS2RWP1E+EDVQDLnMUqq9Od6lRhYtqjDrZpiMRzRIMG/BkmcHO94IpvIN+FFoMbsu2ZCLTB3zB
ih/ZhH5qPGt6OxNl8l0RwaZJzyEqyaps6a3xiPqZzx25dSc4uBx89Kp/sga2DigTyG0JvvIuDiLh
7joTlNgFXhiUCXFQzN4E1uR7YTyewgHKR+8RpkEsVvNjoHI0oLIhQ69Fl6z7Tqo+2EIUHxrVVKAN
Dp9urdExjcLXQCOyWjYQoAG84Vo5NVq9DFSjm96iAcDaEmp1aslAxk7q3YSuxgGHeHPft0UcQn63
d26g2wFI1hSVqNE44sGxbvCOY3Q3t4hGw1OGUE73eQ/RJXBpzbKSOJSdBqLxFnq1qWboPkFLmUMA
wlZ5/MvL5viRdXX5DKkDlLQU3ceuq4rv2UzdD9PUKPDRzkedjPPPXqNfAXwNtx0aHm3YoiYPMj3u
XPBo3nkM2G0W9MgTUI+8NRSep8gVMsyfkGiMD9jj/MFRTXMUTPCHMZiyPKmJz8dPl/PYS31kK699
DNVnL4iybwyIg5SOJcmQeBIMELIgq/dZD9q5X3nlDOto9NelUL5KTe8j/BrfCeCGB5bEBAjBUxRa
WadATYUNzjKOTNvvVdYhjZcO5CNojG+6jV1YhLtl4X3oos+/QV+/46nnYAoONSBUbYEc830Uqqra
1LOB2ejgofW9lbYgVTJgitqg66XDYTehi5lWZpbeZmblqLZhJAt7W8F500k7zAa6DWkct9xhiDK9
UCKj7ooNFgryEnvbuWotQYmXjSR+G0M5VG+wa4nlu4Dd0E66TYfGWQl5ZF1yCnN2zDvGUqDu733b
PwgOGLvThTAD5ELKn5OAaBWFXglIr6JUmxxS7TvYcsqdMXMN6HvoslevH+kI03LkJIkxsQ+6u9/k
T4iVqt/OYHpBFbD3lD1kyOfmg+OCHT8k/oxKWm4bz0bhMdQub6/gLCbMVd2Ltl6601OGoDEEr30t
O7tzpEWrofAa/FYMeNCJqd0Isb0GMeKBu2jY6CxATg0ucLXtGMeegA1gA3n6uObbqkP9jZ20tI+o
zdtrPndz8VuXM1QXGzaiEkZjztU/mOn1DxJzc2P9on2Hpz0O26qxqJeh1Wi+QcFAo+Lpza9qCqaf
IsvKez2jiTtNSBiRsBOJJ3BIqmY0kiYXrleOBX/yISdO79+iLSnuW+UtUciZij2vcWC5BP+SMAV9
7CDC/Swjl35Akh5nfQEXhV85ALI7hd7m3VgsKYUfVK+ORt6ZtINhN/huR/hqThC7ENyzv+sS/YYU
vVaMY3DyqA8EfOQ1bWjKo8Nx5GxQbTnPqoN3ENRtNGZNoWrNraZAcaTWGHRaFNS5odfpoNRRUpFn
w4vmuR7r4rsfdN691wjK01I77kuO4NEc83kxke+RuJlDDgma9573BB199BYKvbXlojnUSDSZKxaS
KxMq9y1zQvcDw7/5eTQxLJpbruSmR/LhH+oKTcccgucl2oRQXQqSqfdJfxWTUotw0842evfNUsZ5
rWwqFHze0CKP9hlWCBXgBj6EAom920XdTcA9s28di1FEgHF/vpHCK8aDrXwcDQ0iIuScGomf6gTz
DcxKo2CDzpRjoaZGIRE8ZMVvH1OZNwtKGSpXqQtAHJF8vXcEh2qaw0nqlkPj3DvYvCoOVZD1KTpG
4RUGQ/B7bLOoejCwcKt2udOJYutEMBfdYyCC6qiBLfBFtEogAlZgCT0Xdoa1O/CqkcJ8DRygfj5r
NbUA5P8yxV3r6ZNYE2QgOtiVs20TPyp3Ei081Ds7SM5EMHoddg7Q9BeNpNea+mOsB1sVfpdjaJZ7
mEX5o30vTYRi/OsbnJjfr1X1g9qpDV59uAN77Tfq4M3o6O+BYYfz4/sTY/VoGev/CRGII6BIZezv
dDa9Iq9tUmjfnMNjnsAGrAX1u5jOvJh0uAOE6KMycufNwPZU8JdNImp/jNFFMo8hgDD/fQoN7XZo
z+XhrlJiA8rrt6gPzmi6ngCZRCsMhSUGwnZTHOyg9HSPMh5HDM6SHkMYAEHO4DRO3WOFT6pCWpbN
AJAMRmVmS0ec+mIes328oNEu+5RW8AlldJArWH3vLDyAAMys3hdkL2aQN64xL1/f49S3tNrZVvCs
6Bvs7H/tejRkXDFyJ5doF+IVrxBQAxQhRjQsgx3quz5VcVdfiw4tm4t++lpTvyKYq7vuFO7gEXPI
JiSOU42G/9cXP/F614L6WGSN3pFPdxk6EYmKwYTRTv+9yeh8hs52YuXXmvoElMFI9wHd2TguEzkO
MvXr4vXrn38iCq1tztH06Ca4VFEc7S6K0ABJNkCesQ2SBnbMZ7Bcp55gWbs/4pBuJCtrhfGl0NmP
NkNfOizJRR5JIVtbmWunqCl8YcD2G+yrGZa3O0GL9OvlOfV215vXtFVAKBhPC/9CZkW9Qc9kSMLA
nBObO/UCVnvXxjryuOr+/+czRLYFGS6Mum3ys352p55itXdHXQWNrXAOyGohVcVYIzsa6F2VaHN/
vVCnHmO1g7XbRGEB++5l/vk42GnTdfJXALQqUqZzNO8TJ85aWz/TkauzdvB3mS6fvdpLWZS9ZeCu
QFSkQSQ/E7BPfK1rgX0ZMFYIEGB3WTA4/4Qyrn96Nb/IHDFka219nQ850C/LQsUW06r6diGd1eHw
+PV7OPXjl/fzx1bzkOZ3lrQ48uE1nLQERzLamJ+XXXy1jzOI8XKMDxbgfFymEr39jbsc+pddfXmk
P366rrgpaYGrEz098QYchqiLz9FfTmyBcLWRRdzns8m1v2uBT4FHGwSyWuAxp/asUtapr3O1kccB
DoK8tOGuo7AJ9dHmwTlM4jiF6/y+dC4EC4ervexTxUeWOyAuVgAQYQwBSbRIn7v6qWVabWMBaXug
Km38bzBdAOdV5H7r1aXveC0yIcpoQCtmZjtUg99BIykxhIjOqYmdiEFrkQmLdmLOhYuL19WtFe0t
XTKhBoV9RZ6+/kZPrM9aOF9UPLYMUModeqTlBkDYMZGZH6cYyZzDJZ/YwWvx/GAgJkJbF+xviRmN
7WDGnF8mzh6yYLWD0ZkuwFwvAKvyGXrKBGS2/KBE/XgebnuiSlvLTWAAivlgUAFX2HDnMWPNLXHq
x9wPfjVxvSG8QEfuIjcjPM5qVyOyoc2qO5ww3BX5AQMmvZvpRT49uPpqR/Pe1q5fRgyFh13AiPDc
rtGH3H39KZ16z6uNXPSF47bBhN/udnLYNm0cbaOcfHx99RPRKFhtZE8DNGFq2NEkVcV2kTAv/mRe
m87fonn2UfrRmfPm7+7MIVurUAhP5bILHdxocNCVk3Y/9tWuad1//v9mze3ojxs2Fw8+NuJ8zmfn
xOqt9SmqokW/sAwZjlEdX5sBM2HXSnURn46t9SkEzZp5LHIQ3WOMcTEWijYNPysmfeq3r85oZtHP
cTR2uCD95+hg3u8iTzhzip4IgmvR/KwowiYPqb8r2kEmLjNlysLgmee+jxNvvOzjXUtUhHVD1Rz0
0c6X9SttEQaBOzrn+H1qfVa7mnECeVsnBOuA9CHmQ6gXhvEyhh5by+TTuS/mXnO6E1N0FCBOpvMI
IM3Xu+7UL1/taTWG6LhnJthhIhUkAqD6y2P3WvuiwNiomkd/YWoBWi66at+3NTTshXcdYW522fez
lr9AOzwC4D0LAL/3v7VLVr30EjoybvLpnBXgiWXylqPjj0yPYESaxaYCEAgAsS0SynHvy7NPcOrq
S0j84+qFDzuboIU1/CKR/zj583Trdao4I+986uqrzZv1LQOez+Dqret/82zX3QwOzy4LPGv5C2LJ
xNWgcHVmVH+F0ZzYmDAjb19/nydOhbXqRVCMzoxxMpqacwynqilUGxu2YVq36jMO4Obmes250vnU
Qq128YhJJxB0Ae7FS8/f1JzFW9S2x6+f5ESY81Znc1mKPtcYf+H0LNk/EWBo6SR9IJrpB3X8M4fo
iVRmrX/REz7PMXWWmwxSbj1Iz2Bamd0D3MYBRu9V6qHxH5TyMq6etzq0gXlRJe7XIHUCjCoVdgZi
Spft5us1O/FG1koYU+t7sq/7FqhJqNsHidPrDgj5KW9eL7vBal+zoY2oZBTr1XuoDTHlBCq+ns80
Cd1lGf7S/1+LYWQcamllt7xzEZotpkVpNbKddoObKK8eIVR/O9g71tAbUJMu672tJTJgGhLXlgAn
CnCA2mNyAk6IH9rt1+t14vtaq2Nk0OTsGlbj6hxmronrfGLDbJypuXHzdkEpeXuAbb5/fbNTb3/5
+x9hUURwm3QK2f0ilYHoOUQ7dy0G7IfLrr7a7fDqgQLNMHS/6nhg6eCqT3BZ/Qs/3NVmB7oor7Rk
7S89jN8DBjxdEQNr9PUvP1HSraX00RoD1tV3nZ+iL9S+gKH7TRTJ7JA3XnwuSV5+6N++3NXGLjvb
Oi1hHJyS0f3tRG2YLBqRbbi0Z1Q3Jl6BhrQN+u3i8Rbn/rd4hjI9RErPaO2cePlr8YyhkPFoQRD5
vRwvKfBzwJoU8pxhwIljZa2foSaQEUjoiZ8gVG5KdFTwKdxjZHNc9CHOP8Sp26wOdmnGOPaBz/pt
hL6yjnkhDrsT1hyWKDw7Z01sTy3W6og3OLMwE+rs50QsxxQ/Ru7T0QsT9LWaRqmCWdheBj/1nO1c
GsA+Dpz1UeYPNIwvk1SFcMJ/N3tDLBWQXgk/SwIY+tjVPyG2UFyyHVkYrpoIgLsUwFkJ9aL9yP3B
sW+6Z7hemOEMbfqvOxLXX/14D805SGCH7VNQEuCD2qEZivu4LCEFAp8uQFS+3vh/TSFwm1XIAu/B
TBq50HGs9ZAyoLgAcAMLNl+KMUAHznkH/TXK4z6r6NXySRbMzPyYtU6fAt11Y/ruThIME1BeLsxY
/2aqAGn5+rHiv8Ua3G5VgxgftVJLqumFZQKETqUXS5dIf6pC/QStE01h1zbv2eCTKyAmL7zpKsBV
vciGXLjji4Voc2qZ3FEWPRpf3WoH7TFAPoFvUddoFZxJw0885bqRyH0TEd7p8WU0C9gSN1QleHwc
ij1jyTGbjNw04vEdtBTPifCf+CzX7UXVVkNXF5E4ZoJHu2pxXMDgFUr8c+dckm6gLF9FuExUuAcs
cF4q1heHEXjt+xzU/u1FX8a6swj5tpLpjo0vRKifUGr69x3RCSUw6cufiA87jGYfQY88FyhO7LB1
t1GDvyLakVVHtH+KqyAHQjJrOn5VhmgYANF47j4ndti65UhQ3aHJ1PQvFHjNT14DYJq16JtWHoZc
QMx412NODrWPHff1Sv71JMJ7WoUOzzp5nc1BfVQjShvEWpANl/1MMONPO4rcOjYoq76+2anvbhU/
FDh1kZ7N9JAxWKf9a2UDNvR7yc5CFE49zipkwGS+NAyk/Afgn/L6kxOgu4BPCDMoF40a0LV6YzBu
WFDuEMy9yBIOi7iOGcUw6QLK/cfRZTQdAfJ9mi0+ka9XbTks/iflYuG6L0lalLJAoZvjmPfNPVDV
YldCp+/ckPDEkq37jzAb6yHakrcv1p1hsDnjlbcz7Bq0hjb6RM0L/JkukhHGo6yiggQEzi8k6V4y
sGzfqhkMhHSIc3buaz6xTdd6uXbI4a05SHXMwBAgBxCpNeiI1qs6YP7BOwYhJ8m7yagzhdyJD3rd
ohxFnZm2rc1RWqVVWnXK+RR+IH/VBMDDy17/KofIRChA6dPty+gPBUlNBEruZx5303T8+ganPoBV
CDAQ9QdKsSmPXEHpq6qNxXQdaDpOS9ABFzqXm59NIU6t2CoEMG0GpzNl/GxJ76Q40to9WNZIS2EZ
feYEP7VfVjFABgR9uNov0RM19KmqIjPsI9GG+f7r9Tp1/dVuJxwAeBfSEUc5BYDX8z4utzWvx3Md
6RNLtO5b2pmPJSaixRFjmtrdqI6B54OaCyOCqQYL90wwPvHa161LyNc34BWH/Im1c3lbMQ+o16VB
DVoztBFK9VbX0NP6eslO7Mu1li9xUNu43QgGps6hwjBCZyS7Dq2K+I2VISgw+eC5F0kIstBbfsQf
7YFMeHJE9yx6rIIxvAs8CzV99PTP7JZTb2f5+x9XH3uh6Zzz4mgiQcF2bchGTTQ+AM59TrH81Got
H94ft4CPjqUNLLyO1onYZoSIU0uQ2gRI/FOfgxr49Us58R2vVX0NeL3EN1l+DALi2YMF1Vje+ayA
ht1lN1jt9UBClaHqRnE0IHbt9VT0VyEI0MnXVz/1Ilbb3NBWexUS2CPxGJR4vAE2iJU/hvm2a/r4
TAF3ao1We12CizwG/eS8IE8ZWrBmCiDNywG0jq8f4sSrXjcyGZQ2TAnr0hcyUMDtYNF9xcADUOiZ
tqP8/PomJ3b6/yj7tu7MdMi7ow77At6ieo5bs6N6qClg3iXgwA++dNjwj2EOgOdn3s+JpVv3OOG9
CE92sBafFx0VOKF5mA9LOlfdmfh14v2vG5rQ+XMrGF7mxxb4ZrhB5MoPUugcxPR6rqfizAl/6ilW
253OYwAYf8ueMYrx85S1FfgL1kEB//W7OXX95e9/7PVxrDubR3P0rDAUe5DdxINkqDp0tr++/t+n
2ix0V6e7HDChJdCmfgRJvnD3TZxFViToPbSOTgBwiONbD/pUw3fXttZ8C4iArUYiaNMbCXi+5dmx
iJ2AX7ah1gLBcLoHcaEs/RdvUbpgJLfXLmruzddPe2o1VzFBQialqiFv9RLAwzptoQt924SX1rT/
dvP/eFdZ5cpQj9x/QaEO4heTU3HnNbI+09Y+8UGvO5siCMcASj/eCyS+Zn0HsZcM7oqilvOG6XNO
9CcCzv80OEs4KoF4679kHahIZmoIeO7tHZgd9bXrgyj59Ys4dZslFP2xVJSjV9Kgf/4Ib0pSbnUg
lfvNK2KwUcBhhAjNUBreXtISBuFl+RF/3Gz0Hd2oCu9FgmD8nSkNMtdAFhLW1w9z4qta9zl7mvVs
tob/zriBFFgUiPB7CBmHc2YEp66//P2P3w/JKOnoohTPIsB5X4nwA7i4cyXRqa9qtf9531W51/j5
i53QiLF+NlH4LBaQ/uhdCMRctkLef58A4wBocVeDOVKTD/Uuy7v+I+jcpriE3YA3vNrXdMhA5DZu
/GIgnncLkpj7QUFp3oaQTXq97BFWJ72q/DgUYGODtwVjSoHMaOu652S5/x1L/28NH6y9Na2r5qiE
CccjZJagG2/GCUeWDksh3yG0ExV3PB/ApM+RMUH5h/YsJXyhM6phHsjVLOeO7qMSNaWpfNmAY4w6
+gHzlsbZcNOhLGRGG1slENBp4EQphkjuRdb66FXxbmr2rr9wQUARD72PqMvBObtk1YK1nads2knm
RcafQWSebg0Yx9dNeE7w9e95S7D274Rw/MII5Rw5PKoe6AVtBN6IHZDt6bJ+dBc27deP8fdNEqzV
ibVqqjjXsTnyZprHe2JAeU3awA2BTFH2nHT634NisDb0NCb0XSg+8rvR1nxn3QreuTAi0m7dbmbP
eb/sWVbRJFCucJtyCgFYNKDrxfC7hnTk+DDR5lzWemq5VjEFApAzr8oofBy5V9yRGUx02sIuq1Xi
nGHHqbVaRRSMRuemgfDA3b/bkQ/me8BR/kC7MEpyKLpsvl6sv4feYO3yyQa3tQVMXJ8sKPP2ysi2
2kHwjooz6c6pT3gVVVoKnKAEqPkIgRV7JfL4kS+6bRAMNDfwFdtd3FxFVvrfGGyLxhuJH/ZHmovI
QIClBhfdC/wRYRKecheRVBgYBP+9jY4CB/rFNXvWpSA3lA3smIdnjTz+hYD9JVCyVeIgh3ryMRGJ
n6wXVbPcgVo49Qd0V50YSqJBye49b1FJpNKn1Y1EZAwP/8fZuTXHiXNd+BdRJYQQcEt3u7vd8bjt
2MlkblTOJOEgQJwF/PpvkffGo5jmK+5SThU0krYOW2s/C0A3AIZ2GvzmL0nAYg9xxUCe7AoHMDs+
jm7EdqrMQPoB3Iz7/oEV0dhGd8WQJPdR5o+oiIn6AddZvtXV91EwKBjuxs0UujBODbBPbt3UeYjg
KUjKvVatVneJJ5oYtfpB7v4V+S3oALdH5EJsmTWCflZHlZN48llQ1OWHanRki2p7+JKHoCMABnv7
NQsD36wXFEXd40qyTJ5xQi/lCWV3tj5aFgqttz3fmCJGK8PlZ6JKIDgyBqZbV2GzkdW4W1/ZcixM
EP7893ebpgYXMa47xA2AmgBPKJGBZOmTL4qlL4BqrR1iF3rDtG6VWRQDdDeKJxCVM3BzgAb6J+Ky
DP6qy2ZYmSQW+sJ0cG2ARWqyNq6fhfJQ0u1Z7lthdWrT3on9Qb5u4VoGQZl8jvxJgColAc9wh+xU
R9GaamLpA4zJWlgtLmpBm36OeBL8xTUwXG4MoNbtobQwh5qV2FGROElXRdEz+PUlxAtJNvXOVwVY
pouETO3Qx3EE/f/bwCDf3SQ7wDRnTNwaGwwNQo/ESwtQxkSRAfkLx3Wr2hggxnSt6QAObAxcMU+z
yL2X/0PSws3u5+1WW4gPsyibSqvQno6CJ5vHr7g4tD55th39ZTMnK0JPxfZaiHx8ZcnM0mxomCzP
gjvCM/fd/gy46nlkUAvrDJxZ6mTfWNvfpTXuE7Z9lxH3pO1FOVYqf86bBFBDwDhByGqrczPgrhy1
GWtmDAtj2jPGdNVb3pRpWgDyBH75w9giQf5UAhg6bhwAxpkG+E6rdroxeGJ+Bla54vU0hEUCRdu2
hjJGMHBNgDJVg3pWDQpKdARAPNAqp4biWi/1oNS7/ZqFdjJLkv144NBisvy5Cwg9ddgbfgLw5Hnb
w43NhgCGivdA0zxHeY6b227m7OGq4LTt6cZeY052RhZol89MiORCsNM/qyB92fZwY5yCwpLZNPbq
X6Ba5D86AqDI0VZwnjhse/68Yr1b/zR4+k6Cm6iXDtJe0ASA9mKXICmw77n9goWlz6xGTgDQL4K0
jl4bMFb3qHSfQOUDZ9sDZvHu9iuWxo6xSQAZsU17d7CfuA/b+BBtBJxakDtftz3eCGFiERABLSt+
rWzNP6kId41dB++BbU834ldiXzMCj2e9+LSOj76qAbWbOJzkV9p/YQLnRvyqsgZnNZuqZwESLtw7
WQp8q3Jomnxxqx5c1Bb5wnol0BY62yxIHuO6iK3O85+q2s8/Y136B66zyeeJjG+3W2vpBUYkywkH
RAx/+tR5AGFWBQx6QNxid8iJTCsdsrAQmfXIPInjAFY2FgA4frBjkzxgPA2fFFhix8qLmxAUo+Cu
1Hqtumdeqj84q7hGiEvwq3DGTsGSlMNrlUEWFgoAGh6kdu6n0gonBnaoE0xgr9YBTn23W3LpM43A
H2ktUWRV9i+gthUAppcXTfwfHe4lQyQSuzCFUhVU820XFI4pwvNpaUHby/y3FuUDoeujXBqVr2vH
hI/3do5rDHLiKFRzUct7y5UjjlEGbl0Ignb8jOxCDOttUFIry+abBqFjSu1IK6cgyDV5krENA3dX
qjs4hER3qaXJypT2u2zjz0HhmNq6fIiEnfeB/+RbaTx+ETzuUxsmoBLnyVC7YyXvSw+w8W8czSjv
Ejb4yZlYTdXBsiepBIOzRg6K6E6lE4hdFRiYOcBgceMPR1TBFjZkgXXm4sKzq0HdrByJjKFvl2P8
ncJkGSR43xsqPtxZIxhgmzLsjqnma1IYXbG8GJ9FRXE9SZI0GfalGgO+aSl2TEGf5QZAOxCXAc5V
Fc4TWHFlQmH/hxVibUe/MNRMCZ+U/aBV4w3PIHd9bjLAqCo/rQ/ACe7tANfrhSCbyAg+bMf+uzaD
SxsJCluSt1p20xEX6jtkstQ5aNcMKn9fl300yoyVUwLSpn1cSjw3jv1LA2EriE/OgHLRGZeQQmnM
HgROLOXAXyZWDSBUgidVZ2tWtB8vTo5ZUFzFMPGx/AbM8X5wGjjACFIjH+/nXRq9CiDPhrcJOPKV
A/LS24yltrOqHJ4GNXuD1cG4I2W3yywRHJK0vlY6WJOzf7wbwUnhv70mwbluWydoX8EBd2ExAhZl
3/XTj9vT9scLoGOq+LSGKsEvbAb/F1cD4dYfBC3poS+STTfVzh86vjSgE3MK901DniB2/lS15WdY
FTGyrRdM8R74dh61pwlzdQL1d+NVWQhX1CqMLcCmMr9jK+v4Qj+YIj7li9LPpjZ4Emngv4xjNCj4
+Ihk5cpiqSOM9bNTGo/tXAZ8TwNq7mT9GCPPOUSdk62s0EsfMP/93dY8yaBBjJM8eRINSb+PsGx+
aKy4W8nnLD3dCH0wOu2ob5rxmdmUa4ApO5jo2JOdjdsme7OumNFc5jmgqW+yrOtPLajZJxhVRF9u
x8FCLDtmLHdxJ702ay66i1xQcb2o2ScjfI5JBJeAmYK8VhXx8fbMMauMoTZ3UzAMQW7IsWkZCYyA
WOEeqMLLRhvlCjC7aMKhpDsPXMxtg9cU78GSyQ9S0XpvwI72wwuK4mYOPYmxDtxuv4VlzJTtpRE2
m5oP8i1gGQRJpf7LEzINix7K4wZgZ1vJlTPBQvuZor0m9VWWATB8rXKw2CTKRudiKAE43s536iGc
kLUY8vphwtq9EjkLsWlK96ooA8u5lnhl5JJXyLVjXMyM6mpNwVr4L4TPH3XJg4+iJbioPKm6Ll98
lccvsJuSKx+w9HQj9OEtoLWKaPQEvRh8u6o+4fLStq4r97e7fyF8TNFeBmuz1B8Ye+MwX9infg2r
tgpKmqYE+Lwb6MbvoP+dwrjMPMRn4r9B5AJxaA568/9D9LTUzcYcADQk6v3job1QpAvbex/6sHsA
7mcLO7vzrLvbTbXUF8Z6rjzbiQC77i7UIzGo8Y1G7eKhClI2rZTuLHSGqd6bs9Haa2P5XEVFfahg
JpTAjgG3T5SERbWJ8+A7pnyvyXtZDULEzxEyAWca1On3oO7WbigX+sKU6Sk2cGF7nnjCnS6IPTtl
k6jwwij1M98+xywN1oL744OrYwr2oogSTmAy84Teb+6iIHjo/Otv/OLvKZmgUg5Uz03IG7SasczD
PC63hq7LnmiqgLdP6IAF0sE9XrHS+UsNZ4Q6j0GltXmnL/gSB1NvcIIXdHWaNBJlmwbwH9I92/aQ
XI2yJzgE8mPOenqtE/i/3X76wkJiKvFoFnRljjr6JwkqO8jCwQN4XE+aIzPc0OBLH6vr7RctxKFZ
lqxZhVtk0nZPzJ6anR+joMAjuIW6/fSlUWVGedoNaois4mn+At4nWBMBga/S5rs/YpECw+noFmu1
egufYkr0hIQbm+2X3avuZ0c6VJxF7qWF3Ye3svda+BpTnucz8BPbTLRPKrE5AMvYqfiovhkdUBph
CdLczbn1FBTtlUH8MYkAxqvz6Hi3V61YUkUpCKUXWPbww8hQlwVidXNKKHwLkP49jFUiDihEyw4w
LwKfuV+tQlx89zytvnt3UscJ53mVPHHbv85yGGGpFIJkKNx5nsJuADaoQw7id53jT1YFBvOmMWMK
+vKuZrkY/fiJUf5J1rENb1Yfnq9IayW20uEwAjrtYrNz+3WLH2pMFU3REq+nrHkEeJ78zUQGb7+j
DsDJfqs6eGJd8glk+EOJWoYipKC8NvpIO1njujb2YESwEiqLv8P5b4OPPW9hyTE0GLLJeEQZVLqX
1P4lrO4wet6VMSs6jLARhvccUXsvC1ZG2cJUQ4zdBO3SBj5jY/ykdB2gxOwlR3UmdBgor5+XSmHl
+9stvbAgmzrBygtan8m2f22bKb7GvIabQobtPpbP4scQxdXh9nsW5n5iTDpi7BTK8ur+rXIbfshJ
Nd5F2v3UwyN5pa8+nmlg3fnfrhJtCuerqCofodkHn6/Vvvja8tz6fvsDlh4/zz/vQo/DDwz2e2l1
kZGqXHngFkX2OgddOF2jwn08lVFTvcecnAyd1YkrnCVg1IikTRMN5M6H5nx2IdpNEnhVO1+7D/u4
S1Bu/t8vSnjcUKgb6wtxYzd5II5VOGeQSd32aw2vSmfl9P3xoYiaGr4qqonNJp0/wRb3LKSq4Rn4
L7YYly4FAeP37GGT7lDPVOnbXfXxmKaBMXkkjV/k/lQXjxROzRY5SxgtSNwXF2BEFmEl88S71HBQ
lePGTzRmCYHsdD/iJPYqOLBQENx980sHKasOdjiIo3vcPn0eXIDTwmLYuNehpq85HCJYxAeinsCP
r9mRlFmT39n1xP6+3YofT0HUFPoxBo2WXVXyFWXjMBu0kVm3yAALDewNW3LvFqvUgqXQMuaGcRwS
mRdJ9jRyOEQImvInlAv8uP0ZCw83RX5JXXBU7dD0UVJOZr/riHp3E4W0e3/7BQth9Ie8L4dAGcdI
2FRZ8P6EB3KepY+qRroXVmFBRPgaI3fpRcbGQza+1xB4vDx1qefDYg8jjoSjl9UX14IF4O2vWciT
U1MlRjltbcJaddEaRvUqgAIqgYZ8lxD9Fxy0CpxzYDOjc6IPcMhJj6p9aVX9YPVr9RZLHTZ//ruJ
1hotilLO2vvHgRA3nBIZH0uP+Stzw1Ijzm9993T4rPlj1xb5a8QGC6MBnKIOhuAPNovUyp3ZwoRn
ysd44TZIN0jrCl9ctJtovzfpsM+xpaZRfdY14MawZkECCoiK25221GT0vx+Vp348unCA/IeLmDVn
zhRMaeWYa/3l9guWWs1IP1DtOK6SWlxzSKUZUpDl9ATxN7ZbMHZdm7aX2s2YBrpJOT2bcnGNYCC2
gxLhOsaArnUNtiPanX4xGj3SNvqRTeznps8yfT4Cm9fJUEbye2W3+jA5HMCZhmIr7+k1/P3CR5mi
sojEiTtQZl1RsgXb25lZFoN2mMh57aP82pXkaLfyuZ9Pkbe/aimETX0Zm2uH4E88/shFFT0mEPPu
chIrGDVC2Z6XqB3TgMDB/BFOFJbO6Q4l/zB1a4JvHmyGVqbFhTFpWoQIWREHUrPxDRxP9So0HFrh
hVUcb3/jwoA0Nb9RA+/hjufx95E33R0S7sWByaQN/x/gsaVXGDOFm8ESNA10/B31158SuxfH1gMc
qBnEGjF06Q3GtgF+Phq+S0Nx9RNVHUmXj/f5ULth2/ZrDgMLW0pTk9dEjtdD6e1dVY9sy8z0UJO+
E958QoZtGwpqGCrxN85DnjFNaBe2s1ZM4++NnbQHklXlXymFhuh2ny+NKGN+0G6CAwRr6isMjiAw
JWlmNzjowq5lJXAWGssU5nWVKANkt71r4/BPehIPPgVp7nc7+ZN7Hlzy+P8I04XeN81DuDepjFW6
vBIbRnv5vITzBr1v8VVUzUKLme4hAEdI2DFY7RUWt+oM0z9sGNxCjL9ud8jSFxgHiDEuLMuFreZV
NkhEI8feP1AFrj7G3MoedKlH5je/W61hDxtHU0H8Kx0GzJed98JJ8/03wX+EWOP3iWiY0z23P2ip
vYyQ9zIbftDwcX2DfZovLyTrB9wYRWr04pW9wVKTGSFPc6QQW1Hm/9sbzM5PeazHQ1vxl22fYGwF
Gg+AEDhWo2omBj5NSTB1JnvV6WPp55sBDlpADrxufs3hjJYcYceIAOkwExfPrpOhyGTbRxiRjqWw
8LhTjNfRc76KGJwNJ9t44URN4R5sKoc04s14RYXPj47rMYQcY20KWTh6mv4h/mRxWcPq7QreVnUP
UhBKyVBAcx2jTu2Ab17bKy2MVFO51zW67eBOMlwbW811PkPg/JJNsa1IkZo6PV9KV8I4Un6Hw+Bb
Kmm9L4fVkvOFg6WJEAQ2LeawDOyvDcS3wLRIeNB7tfoE50eyK7BO1b7oV3bGCwPWxAmKQFZ6KFkL
HB1QTWyi0No4g7y3IqJfbw/WpVcYIS1bjCW3qTVeUaD+aTY7zuHUZHfD53JWYq8E9tJrjMAWk1tG
eZDUr9RCT4DDCF+6lsrkDvnJ4vvtT1kaVUZ4i1IkljU545XCJuiT0kPzBuS13rZ+m8pFWlY17LZV
d1UTDDNgYn4dEoT27Z++EHimULFSaQqwVAZzdDJfLMLS+5jPq2kco9whnVb5oAvdYIoV50MKo9Lv
rpVwf+oR2RzWt38jubOmqVr6kDlq3i15McSjZT+M0fchQzhAEtHsvNJ5JilNLsrxVpRJCz1tqgdz
Ug4JJKrVNZ962A9HQeiiiP52Vyw9e266d1/AytrWvtXj2agGQXYc1x9ywKH39tMXtgSmUlBOMcrY
Opr/O/9ycAXu05weLck+/X7R5Pd/VwVRK6Nq6VOM2BbazmydywpbTpS4g5IUhSLIvt3+kqWHGxHN
4S7meCjMulS2pY8E3pmfgzpYOyEtPd2IZdpaKMwM8uoKmf0U4bZ1sKN9rbJtoirUcf63l+VQxnXX
+eU/PubSS1TDRtVp/TU+4MKx2dT+EUwMaVzo8h/VSl3bYVC13K4PgT2MJb/raOG1F5/0Y3sngAFy
NbLlYgIb2vG9VmzrH/MymcVgMpRtRd/AKRTwqBZ836bxxr2meZmcWMoZuJ+4jyBIAmHcuBayKWVT
s7Wy2IUBYF4ixz5rRier7Le0HAm5EmAyP00T1qrX28N3qYvmAH0X5o4WkjtdLf8tIxsip6HI7xr+
kg/d51THwyNABwpQCCC5hmrbpGXKKbs0V9JOffkv9HZOWFnAOuK8uZbHXWgvU0QpOzeNwXT1Hmnc
W2yHpKc7hMyr1ijpC9sek3yoxlyRGP7lj6jcQd18lD3/3tkivSVgg9F+3iyDoM78ie+6hsdO38IS
e7qQMjhVHuRnQQE47u1+X2onY07k3LVwSir5Y1M6Qj50tt25uPMmDl+Z4ZdeYM6LKJZPkrTLrqqJ
2oOAOPQ7FpRyLfAWFtg/5JQJSUHWmrp/bR+HuwqF4zs57w9S5tOwh+nvtu2OKaYkscycfOyTxw7W
xfGD6jioh4Po4cB8uyMWPsQUTuqJ6y6rJ3mFJEyHvxfxzuHzxTREAI5Hzrdfs9AdpnxSMSserCbL
cObjk/cQIf/V3YEam22rhaamajKHIY+SfZI8ishG4AH6EZD9ZJMxX2mopS+YG/BdOORNx4jwSXaF
uTw/gxgXfXHj1FtTkc8r6p+VBfQPfSRuwmynRXIaBNPE/qb6LO9+JmDINKfYzRy11xOso0+Tw7T1
kJSp9c+gEDSwyXbo10j3qPoFOBKkc1xH2MTZ6wRm8vejNVX4twS29jD2LUV+Grlka0cnT3UPKPPI
yqOI86TcUToCsw0Hrqx4AJCHYQWB6WoTP1IkmGGIx1RvP+Sul/K/mfP7WsoP4FmfhkicVMEjdIU1
kgTSL8sTK5xC3lVNKhoU2VLt7+lkM/lToQmx92mCKneRHOkj8d1Kc9vfhNfmnhkrzIZxZcA7+6zG
eZ/VeCTkMQQVvvLX9o0fTr/cM6OFQH9UJ6SxQQJKfyRukx5ZM2VTWMdls3MLjbsm24N653bQuB+N
CbzNWBy5CqzU6ht61kMXH5GwsvedhuYhZckma2y8wjgowNota6RugT+EI2T0zDOA/I5wh/fTu9vf
8GHY4AVm2MDhsPUrDy/gVnIB/6I5uhNkPtuePrfcu6AE54XxOEviM1ej2jEFKWNgrTnTfTg14qfP
n/Tu4TwXNkiwgl8SdwIQp0DK/jcePrcK/qmt47UKqaUmMtZCFEDDy9jO4nOD3Sl5UHzkPyVsfcfX
bY1kLIV+2k5png/lPVRAD6LKU/iDrPobL/1444RgyRRqhGFi57oRk9yPcG7MwqCGEv/2j//4Hgq9
YBwRcr+EsGNAF7MS0jziQDWWCxQvSMbPuIZ4TTwQkGTKnZ2ykhfmQnzoE+fSE2+N2LswDky5cdNN
NJ3qYLzXHhSbkoiddtMD9kc/Xb7JvxzWAmaop9DJBqqCdKZ1+6coQXn2yULKzFoROC59gxHnI4+B
+AGl6ELrInFDnBCc2tqNwoKHbWj5g9P1h1QHU77mArcwLkzVMWbgKSWBN8KGvZAhdyqUe1Dx5fag
WHq4Efa8GmrNmgbgoMh+lDHICq5aTQItPXz++7uwH1VMC82Ve3F6+rP3geOUKvu87Ycbod5xWQT1
WLswn4EtZDKbdzhBsXZYW+pkI9Cho0TCZIqicze4tb4fBQzTPFuVDyn2B9V5+2g1gn7Epl0GMXVx
15Sr0zjEVJ4gtiTBll0vosGIeduSsMYTGTxTUXgLBwvARcNkStfqRBd62JQT56SOxGBF/Az38rJ+
ddopV0+9BQunTSkf7pl6YgjSpQSw3L2gihoCP9wfEH+XYl+yBvpc+gQjnkXe2TCacqxTnqa4hZ01
Yn26Se2EXz+Pr3cR0HSQy3I7wGXZ75lWsKyDTSf5tSkGTBUwtBFtmUW0u8xFVFIl6d+xQ7Kv2x5u
BG9OBGqMkOCJwkgnct+hzC20pzUy4lKrG+GrHeE0M7DyHHXQxggJ9+mMrJInlp5uhK8e/KbKc2qd
yGi7bShAdHyjLZw6tzWNEbRTVbiovgPpOJxkHdxJD04+02w9sO3xRsyS0qqazE7w+FoRdhgmoY9u
tnGTxE1hrgq6TIpKWScAridoyGCXATCCd9ry4/kfPM0B3jy5rqM0zPvmgc0n+Tjbhkzn3JTkklH7
fS3w21FZp9jer52R7FA9WN3F+SYVEt5hxGziD2Akiwznq65M9d8T1Ee72i+sh6BSX7Y1krHq0kBq
q5pEDzreBE+ooSl0mCF097cfPz/mjxMwvsAIXQXOsw8uJx4PcJK9E5O6+B1uLwL84/Yb5snxozcY
4Vs52vOwF+aXPLePGsfgUQHooDz/YYqws0vbNafEpRcZkSyd1nKRF3JPpHIv84bRnzeqfXGxWxTh
rG6D5r796HuMiO5GJQXzggrkREhNaH/XcXc/J25Stm2nBWeC/y4Fo4N7ybEcgrMqYPwHuYwdR6EF
7+m7213y8ZzHTWFtN0Ec3CA7f/HHpAxhxcXCNJ5Wzg4L3WCKalU69JrxVl8qCcUcfwFP4xOX/AWG
jQ81jJ7Cbd8wv/7dcjm68chB2G6OquqHEOpjAX7ltoMBN5W0o6cVgEN+c2Q5CujDMWkseWgnOf67
7ccbQT0yFUQurGBOMktryJSS8per4u7rtqcbMR3ZNSgCvlfdK1j8oRKUXVAgsHZuXupeI5xlBQRX
lBRtFAJUfKIjUIsCDA6i3LPXAMYTlJs4xZz7Rjx3dY88opXqCyMlCmiYv5ca+uVYjtWW/CjeYIQy
HXtYIaJg6Qh6xKcxw8ZiqqtNtr14uBHEOTDn1Jps71w1wfU3tW+yUJ97u4sXpm1T/ir8eLJ5GZOz
L7AnIoGd6iQsGghVPzkuQzrw9msWJgpTAivS3FVpXKKBXPcnlCXRPsYfNu1duKl1hXKS9fAZEScm
+VjuKdiK04k6uRav2369sTqDnCt6L2vdU5JYcLdllvfk+pa1sYNNIasqCdxsKQOSd5wCGZYxzR+g
a7SP2369EcVj7sLFhEf1PZ0gs4koUiwuxU7j9tOXBpARxqJDpRjuYz34xGcoEciDGTzCa0YvZUuG
NZnswlppaliTtkLig/btkbiThKcPuwjcRIgw9XHdbE+rcsalcWoEckUCpacqlffc6uC4hAuJURZb
x6kRyKLLC+KKbLhIKJLyHalLHrw6fW7RtRz6ws831au+X1nwVIv8JETxM5hWvX4ay36N3Lb0dCPL
pRuhYLIY8RMf3FgcixnlPAjC+WHTUDKlqkmGoWk5CT9FLvZzwFamO17nX7yJr1Hglr7ACOQkL/py
sjsMI6f/G5QpZ9/n1Vp97MKCxucIebeRqHjcRbjZ47+3jSP80wDa5W0FR5Ws/g7A9uTtLIiFnJXA
+01T/mD/aKImdYAso4/6hZMuxjoPq85D7nYYeu6EFJr1WVZaT09pWfp+OEaVy9pQp0wfrBID/OgU
/qifvHpgv4rKpdUevxLSRBdYj2+VXRD5l0jwzwgbIrgIBFOFDdJI3c9J3ubqIMs0EKc0xfGfJtwH
77V0+HelJl7cMepa35A4Sf4SM68iRLmI04Uso213tXRAv3Hdev1uUmJMQ+gAnSDEZRRpHvopVtFB
wyAZKg7OC+7yMHILGu0r3soER0boTUCKyCxLKwQnfLT1Cd/C4sexDTroAeAn13kFKswt/N/BT4e8
eGETKNrQDPvI4ei88pJdzuDstKMpHBoxwGqgGnABjzwP/gAdeQJDxys87PHnXBLneZJ9m16zTGPn
VlQy7V4qu3f8v5h0qArBMhDD4wjNUfnNKywv2UeyjPsDLYbW2Xl+MXxXiZv/1EVSfY1jP4rvdc61
3CM9UGc7KiAUxY1zFcPWwOrBJJr8OEm6sBNcvmZeOwPZ4TNJDxmJbR/MnZy1K1KKhTnVFHjSLE7h
kqO9kwbgVrTzSEXlJrPDWHh3bgMm5LbF3xR7ij6FO2JAvJOU0CMDfDxdCp6uERkWFiBuLkBySi3h
cQ6YW5xcxRD/EC3UnXAw2qIf5Zwb20dVya4mfsNPCbps12Arxvd+6Z7bASKX/e2pb2liMtYdJgoo
nGrNT1USXP2qb/clXyVuLj3cWHeU7Y0eg+rrKN2632mOzJHma6W9C81vSqkFA6QxHVx+kp180R6P
WOi5Odk7Xg1rlk2tYyqqR9w2B5Xv8RMj0dckAa7TtVaR1UsfME/n76ZtyVQ8Yc3sjgluz78mObMe
6Jh639ygWmPALb1i7ph3r4AzdQ+Akuud4EYJ3lQ9F38pSH5a2tLD7Saa1+APFgPXiALSs0DXCV7B
2PDqW5AKANzTkn9IjUVOYbQOGrW6sXRS8v32GxdGlWuEhV+JzOPYf/0vqlk7vrF4TU+99GwjHJAH
DlBuGLlJqAjUEJT1Yxjrai39vtQfZkD0zHcbEUX3RGtZhQw1N3+PAlbegeut4ewW3vGHGBnuwwq1
svgE0DpkqJR4+H2+rUi3AshYaCRThlwBVZhWfe2f4Ok0/cVxq0MfraiHTdimDjbxpREBdC5tB8DP
a/UvgeX1ztPbSA2cm+Lj0VLcHWAtfULRudJxCKdZ6e7h5De0T9t+/twx74KuyyM4IHiwHfu9DdYx
e7ZmY+5tDzcimgg+74Mm/5RYBCKoitvwT0lRfbFy4bs0eoxwpm7Natci+PFKWF/onMxWU/DF3pzV
NlmkUUubgNkxFoU5cwSqIAkhjmnD7Ul/ZkRx15Egi+NRX2gJPf7vgkNF8YptXWAEMRDS2EfZVF/g
yPvQBcjqYJexVrm60P6m9ljAEkM0ha0vKNz5Rw1g6IwR1gSnlkCi3f79C9svkzwKpj0p5aCCczK3
DpGgSAVKPI5RsU9jqzncfsvCJGHqZTn0355H0uCc47gQ8sprd1YNT9FtTzfOU0igFbSzVXfsPBQY
8whP97I1AtZSH8x/fxfADY78Vi+4f0buzglR2ZGEecHtfeasGt8vvcIIYxWllYxL306AikYd5q7j
uGJLj6nfUZbe1RbQbtv2wI4R0KRTVRTnGP5hMoC2NQ6N+lTgkmElx7P0IfS/bZU42YCM46juOYG4
hjZ5dQcuXbtPvbI8bOtrI5r1ZJdVMDH/PPpgXuGUUx4CuqlkkXNT/OcHqh272IofBHynHuQkgqcy
ndo1eebHmyNT90chM2NxkGE27VrL3tMYQmjPird1ranzowopF5xZ2TmKnO6oHB6derhPb2p1U+E3
UsAQAlT2JeHI3Z9M2tkhK4t+v+3pRvwmfR74Td2wc4ctxEOjfF6FbaO3trsRwf5Aia+S3z+eooiT
1NWuyHWzMvksjHlT4EeCctQiDkrkxWs0DxS3IKE09FBW3Xi3rX2MqG3S+Vw/W0fmAV5RlaBQIF33
5fbDl36/EbPYP9PaBRfvTN3yHha/9hcJLsmx57MkddsrjJiNFFzdfRKV5whJ5j2SDwHwE2DEDRm2
pLdfMQ+VDw4epsBPRwQ+eS0rz/CPHXcdEfU+ryzxT+vCrKKNc+v59nsWFjJTxpdTbwQOLS/Psiqv
WgA9nDqru9GFrjD1e1JZqocpY3lWuEELVYUzh1R5DwMKYBe3/X7jmKnbrJIeqo7vVZkWYTffbrV6
jZW31DhGHCvbGT1sQaN7mVnFjrvqhATnxkXeZILyoPNqj1LEWd+RR192QQdRTrLxCtOev+ndMk+k
PUatRIwxCtgQ8E+fx7rUK6NzqWGMAIZTqGfVqsXoDAj/ygLa/upzvcp9Wno8NX57kk5xIm2CuQF5
G5Klxa5FmdzGH29EL2mcjHpNh6erAokzkVnusexXuSBLP97YQHOVuxClO/A1J8z+FUEV8gyyHL/e
Hu8L84Kp0mOejco2y8rOs1pDKnUUGDxR7T8A1fvj9isWPsCU6cECGGmVoqrP+eCCrj3hhBpLa83k
dCGj8gfjM1PJqHKdPCRFkdxVPZCFCfaLIXxwyx20Au0euj33ofdXBaBL32NEcePBUSWZWHaWmfqX
QvF7CFD0sbvdWEv9YazFwpk63eYlBlNetbAR6jA/wCQQuJmg/ex0q5TQpY+Y//4unOVYcGuaEHEd
7EJh00sFyqI7uLSt7LYWblmIEdG+m/peRkny0PSZe2aNN0/XV8Hiz52KrOc+Wa0/XfoSI7ijqc8U
0RXmjnRK4ZU5qNfJtuhG3YlJ3RQWB4VJONm5oo4PNWWZfKr1mgXcwoJmoja1aOHNrOrsrIbJOeu8
5tckcJsXSlWzcuT4uHlcU9JHUOHNyoRkZ99KHmEtWN2V8G67uz1alx4+B+W7UaSsCWVscO05j51W
n2D8Le97ePFte7ixFI8Zn5Aq1d1JEyQMqs59gXJ+bUv98bThmkq+3A3ShJCqP/LR+ZqkzVnCYU7a
3RN4p2ertcJM9iuh8HEnuyZVU6QOLhyzDq7FU0e/VhAnAsQSlPG3Niusn7fbaukdRjgLUPILJBk7
aBPAjCpjkP4K/+plq+vEhz3tcpNi4tTAymVTPBzG8XEqzpOzJYOG5xqT6chInxCUvR7E+OSpNqwU
ZEX+lpUZD59b693wbGORWkGR6UPkxf1VFeNnB6aLK3ndD5scDzea3Bu0k6khGQ55eZXWScLWq3j+
P86upElSnFn+IsyQQCCukGTW2lm91HRPX7BeptnFIiQEv/55fu9SoykSs7zmQSiliJAU4eF+fTe3
FtsKnoCxut4wYOjef+rYp0zd4lGYshUqnYqj02rlcxrIEmm4LKWNd7g+5XdbzDG0dQkCv0BTQOp3
Tr2oUsfp0h1qSNAUMcMj4AgkOkpNvQhe6r72DqKPyA6ka2sXrNsRqUBrBc5p2I/Xfu54JA9BGPgH
avydbX73IGOBXSBwwO1heNHhA3L0gGWVf2clgyYNgAIP05LJQ94ObOfPbOy7XSrIeA16bCiOpBn/
IKczv6m/Gf/BiqSuHLyWKmdOhSxPTtWfvGZPyn5j/e0CQe1B6NVpMDTx/wQheHRBUd98u25TW8th
ua9SUdb5Icy18cWfwRjzu3XJ+vP64BsTt1smWUTqce6WOeXskcvvbPnO+ZfrQ2/M2+4y7prLCxjo
g1RMd3hYu8vv6+NuTfnyvTfhrG/rCTcEV6equp/UP1WUrPrj9aG3pmxFHN6EJgsaoE6q9dg5OEHS
6+NuTNmmgHF64+Pghnsa96mlX2X0qty90t3GnH1rzqULLOECopcUVPt/QhWt8RTVO3jLrbGtSImK
muhABYt5A2riFi8N2bkMbIUTK07iKVJQDrxumjd3XLWJX/5i7WMnvom821nzy9H5n1QPvN0KiQ1Y
fEozY+4doI/+/ECWv6sQlIJ7xGkbe2oXXdYxxEWbYvys4kevAp+BZw7Dspcv3Fh6u+DS1UPpMah7
w+sjUKBCGDJiO7u6NXMrDgbcgJKdhjo1/Hdd/KbBPwHZq3NtbKzNSbLU0iyzwTkxOc8Mj7bG6SH9
9RIBRFC3620HuE1MYpyiUFFDderKMO16bOk4rzf6k01F0isdZiCfnFO/r/0XigTzaZrCeY/MY2vx
LXcFPSTFTiIq9v6aBADy64IfFubtWP3W+lse2xRBqCiZ53ToHnX2BZJxiRyeW/6wRP3hejDb+oTl
u32w9hFTl7jef6ybk4lEHPlrDNxL4omdQsLWKlnO66M3W6BfRqdh/qGDhF9bnIJq75K2MbhdYCH6
Qq4/QKFR8eJ5bWoUlfk9+Fp23Gsj8NgVlmoOaBfksM4ITVeG6gcvBP4vnA+5KG67Idl1lkKAIFd7
2OXSfaijHKBFlVzf3K3JW/bjjzCewmDhoQEZVU9i+VmIf7Q5XR99a+Ut04F6pTvTFjFznaEtC8iY
y8O4lWbH+Ddipp3ddwxrFjTnQ8cA+YoXz5ugcdUQ8+umyds5fb8YZ+NcbFKPz/nggyr/Keu+3jb2
5X3+5k4zen3RkR4XD1/MR66ag1b8wKebCIpYYAuARY6BktyA4Ul4V/APfb5zjG/s538a73nQu77A
uGFTvJKGp60WT51f7USBjf20c/nAfHYZBCN0SoL8KRz0Ycz4j+sLvjX05fc3C770Q25AQYChcWGi
DGxpRuycTluLYkX4XqI/a+xL7GVuDorIn8G63kfG3ykPbw1veWinolDnAZlT6v89kR9o6lTo1bq+
Kv8rY7xzabIp2Pw2d911yqCX2oIzwBfOX1XPadyE3qNa8EvtsPtSdn+LkBdJBEKnB0KCMA5a9yyG
7sWY29pkYLLWCRCWNBwiA82Gvh/THNUt6Xi3bZCd7HfQ3a/1Ze+rUB5pMBxaiIQvZXhbkLMT/Qao
cuE3GphGWr2GS8PjqA7/7iS5qdKC7r7LwfzGdgEyYb6+KAyH7u9wKiGot5cp2rAtuxl/oE4bsctr
ULMqho5GnouYVS/XjWvjaLF78aM1DwNB4c2RFwHL2JzCKDiVhX5q5mwnjbbh1a7l1QMBP8cwT3jN
zj6unfQrm/jH67PfGtryatz1l7IzOHLJRA59FByYyXcWZmvVLY/2PT6bxZt1ungPpoCQ/PCkzM/b
pm2duIsfBoujLu97rp8la3+sUbZzz9laEctDXTZkvCU4zJfgqPvPtf5zy5T/k6pfI8iXeRByR2g+
qfrnArzlbQNbhyyrFuVwDwO743EEy123cxt737Chsv5vf/QNrdCegoAf+sSJwYfpHYwMvvORNHd+
RZsv16f/vpn8J1dvQqGBN8L0J/pXVj/SFWSPw033j/8k5wkTYA0BA2M6au/QtiwFdvY5200FbU3d
8ssSLSQrlar95WvAN2u//VXWqJqzgd44f8s7I5BTKu/y2I+G56CHCE+U0mnHPS/m8d8zkdmyVeEg
a6eGqmnqEXMkCkQEnGZJh1p3nLX6qFX5t674TRyJDPm3fxsT06HsqEEGmfRh28WGVYOJh7lz73PW
mGOUqRtv49jgf3+qnl3izUTOacEkmiyjk/SnZALn43V7fT8+MLvdfhk9BslW3MZDrzly00KoM79J
244xu9seIr+FbC77vfJnIb/S+vX6nDcMlVuuDJ3MwoSXhxVXzsNigMDmOk90IX7fNv4lhLw5uk27
SkkX+JlG12O3ir8CPiZhF+xk6beW/PK33gzf0SmaugDLMosuxVslhvzW8frMt4a+/P5m6DFYHVAm
Y+hahTFwKlA5ukkaAJtpOe+ENzLTEjdawpd4GOeD9G/iRsLQ1tFaz7zJWw93sW4cSDrrhaL+UtCd
O8FG4Lcb6UMOZjClAyx3Pj/NQX2CqtUp0OSg3XyvDTfC+r4Tfex+emfSZHAWWKQAGIXmR+n9GouH
MfyLeEPcz4/u3hHwvnIo6N8vM3izw3MJBUK/Nvk/RYF2zChC5ijPy2TuIaEmaLjeVZeGuL6jic5o
c0LB4yYiY3zZOpjHrPWpQHdLOoxHCHOAnfAmm7Vb7bMA5E9hgHH9AJqzpL8zgh6uD70RKGyxKPBT
F52fwbC88W6OgIUAOe/eK2zD1ewOeyT0myCPFIJQCHyfLkEkXBP5+frE3+c4xGJbjlw1aMUBDhJH
vXJ+0c5LQCIdSzX9mAJzYJlKZnTCqTVIJrzr/XGqwG8b7LxdNxwmtDx9qVE0FAO+zbL8jofeS428
+ZTVd+16E7sS/p7l8ZEaqmwIsDFDO58AvYmZWm67P9piUVPorqYpELxL7yFAAsgrbyIUxqStk3jS
nJp6wS3dkR8z+S3rdt5DG+ttd9jXla89CShVOun11cncFwEouQEPgbzt3mVLQkm/kVnW4rZSgsOC
vaBrdsx35r7hYXZ/fdjz0Be8bH9FXRQ8dBQfGdA0eGh1cGPcCS7L9jbioVe2cS7mCHj9iVdVkovo
xtlbJ3HAvNorSniQztt4VR+4O8YR27mRbm2r5cJF1g0h67CtpHqdILY8fykWEWfzP9dDxEb8sXuU
RUQr9DTi4pZ1j9L5Hvo7097aUcs1h8h1oBaB5S6hqw4BvwRs0HGzl4vcWhTr4uySzB2ApccTIPgZ
Oa/M82Khm8TbE8ncWhXLR9FgKPNlhPfP5NlHzl24/W1xxW5Khvims9Q+RkYw7Id2TYtl9NPre7mx
5nYzMhgIcKedsCp1I2Pd34ny61LclABA2Pq3++hcuGq5nCT9eO+3TwG5cc6WW6LruC9DB/4eealT
nZfhI7Di15djYxNtKFQ7L6C9KDKQ9DtrFeupAMG4u1f73LBAGwoVtXkBvBLcsvBA7heYJj9mJIDA
Us5qEISMYsdetvbUOkUrKt2s4yUagGV/F5L+XkuWQjJjJ6m/tUaWm4rBBK4pwyntmLoHg13iyDG5
bfktH0UxuFoWjRWiTvhIiixF4fOW/l/GbK2muvCDMshylUK4EwwdU6LLPYGjjQWxsU9G1h5WBHae
qYvylwv0sTOCg/36mmxdyGy409SxXtEVN5aSOGDJbEr2VHDdvYhoeV58QRKKTvWpJ+zQzQGDFjkg
+yBNpSC3X+Vte27310Z5TXpwaqMkCkb77NnbA31uLZ214a4BkfZY8iktRug/g/o/C/nh+rptDW3F
Y8n8xguVUCnj2VeCd3WMpP6328a2IltUm7amIR67y+L1oIYy5Fvv+OSmshba+f4dN8dMMAPSZ8x8
HeMwMkmj9jq9N0KDf/n97Y1mHp1xmC5P6Zn93cjlriqR1gFpy23rctmLN8PzkbFOhxg+zM7oLEhy
U9+4m1ZMq7Xu3QUA9jTq1zUV8ORDJNs9GP7GsthYHbDDwHW4o9J1yWO3/CDIXaT2iibvhn1O7c4+
v5k4aEOj+oW2BfkyjLWMAe/84qNp9nUO9ev1pX//eY7PWCs0cr8JK1I6v/CoJUC+0OwwmukzG5wx
LiA9iVq6kgmuElESReKAVNAeocm7q4cvWwfCvOhaVTn+YCdq0IxetNfabtQP/UWU9/q/21pDK060
BZ9qpw2LnzkLPpGp4Ulvuix1qy46lhdKqNs+Y8WMSFYCBXasIfqsKqhZ02QhpYxxcpBDl7d7Etob
/8ZGCgQGJI4F7czjqNVFAKF7Cmsf4vMmT1vf3zk3LrHoP4khTu0uwIZDjLnDGfoLFZ27CPx+6NDz
kmacPkQR+iXr6CZ2B3zICobzCHE/H7q2ZwrxFQ7GK6evz3wo5/pjP4gyuwmkgO9YYVFORY7WDz0/
1is3SZ9dqueu+/X6zr97WmBwKzAaIkfNnLL+CfYcr02ortoPeELd1NyF4a3A6APg2YYZLV8XUEj0
DzyaKUlV71Tfb5u+ZbhsCjinzer9IBKsC30wqfZp8kDRt3P+b1isXRLPl6aaF7zkf9RdFCVOXohE
XJpLoUb6gD76vXTsRiSxS+OZC+nR0ZnYuTZFmZTYkrib8uEE4cjT9YXa+iOWseahAetSJMSPcGyC
1IBdO5HgbEuqnnyve2cP/LlhTnahPC/dPAAxBTu7YEWsY7eX0xRXbsF29mNroSxz5SvufDIsxY88
Cz5NU+YfdRUce7VLs7n1Actg1ULE1JHGP/tL8Gm+6JegLboCPqhXO7cc/n58slvfiiha0EApxQ9R
VPOnyq1/e+i51pC1CcQpHxc/leG4HPKuNTvZxcsevxMRXeucag0Us+Z5bX+C8uGTzN0/iwchubrm
zyWExKH6HOY7sXdr9ezjql2dxVQTPc8cSuhzgXxGHXpB4vXm9bodb/0Xy+HHpVRVN7D2p4jYGrsC
+FkzlHUswNt/kBqG7BlzE50+J3ZzHDWlKGcvZA/SYXRM8j5cnGT117XcOXffdxdiU97PJspHBV2p
nyQSn0yAN0BYmb0H1NbglstT4pBZDSL/WRg0rJm18s5On5e3ZAywNtap5DeiHd3cuGfq91KnbVUW
8rWa0NJ/k6sTuy8ub5dyKELl/GANpTgzoC1DOA7w/X77962V2GT3NFOdCKBid+7AmGwOLrbDOwYo
xi6xEYU0h+smu7UP1gVVNQD/FUqZc95o0T4oQ0YCb3fW+pZyDrbC8u/AgDfAaLWcg2n+QKuLknQ4
7rVZbi2S5dLSaFfTqaX/fzS1St+Vk4IUjCCLuwdA2fqG5dQSYqxl3y/+GeJ++aFrsr8Hl3xl2Vyd
btoCu+SeswoSumPtnoO2UeMdFPo69Fa0hdpjKNj4B3bdvSa540TV6J/ruQfDqR7meEAGMFnFbjHw
f/e9/4ZxYtfgS5ew3uca5iraMD9L05j5L1A2ifnFAL5zoV0YC92+tFLy/rltRSu+okgZMA5Opw7K
tFC+IeG3SJJW/3RxGTcCBVlWlF/R9bCubky4XOheMm7D6m3O/NIEDoa+HKQuGEU6Cq5zXe6mb7dG
v+zDmwc3tM0GmWm3/UF89QT+gymBivpevnJr8MvvbwZvqWsaiJUuZ5cSCDdCjaRMBADOe4+6rfGt
gOCWmjJTE/98Ed/hi6DPDHrUt+T7OLEr+84ip24Bk/APENC2Sb/0rhdH2eTeaulWPJhbx4MaZQQW
iMVE9Mkv0Tl0hEp7VIq4d4Bl2jka363v439YMaHMQ1VJ09IHWfRIGoNYmIfsqYaiLx7Z4rEz7CnE
D6Pce6psuLBd5udr5OXICM3nbNR4/4buqS1H556o23iI4GqXG+Ebu+qgQMPq3p3PyK27x2Bl5GB4
8OV6iNuavnXaDxMInP15wM177sTsxnnlESCxpJBzB3Hlbthr4/hf5vidOGSX+EXlIrYsy/KrNry+
iG16pSpASFFmVRU9FkFU1p9mz2SkP4xOHakziLWM9JNuBcHiS5fhPJwPkQJz8906rjL7ogrp6ug5
zDu1GLQX+WV/ikoeko+68hz/M2RCXHp2fZYNESTI+oU3cQ6p2fPieMPqHFSNNwFKRKwQzRKrmlc/
hXDYjxxCS+c2GGl57CBv5cbg/F3KT6HOwva7CXKj1gRvRwnAoFCopp6Yp5fwsx7Avvbcr8JzqwRE
AG3/0eFTSz6UWTk0R6/M6PAHlN2q+sE92oo0yxiTv2eQxzRp4FRrGf2dM8dM/IhXivC9U1S3fhDd
uzUU+PZ4nzf8wwZDoO7rr31erL+aWddJEUZfwIH+eZxccgq9qImJqH7nZTbFIC93j9dt7P2nC7Eh
ErLgIH3jbEXGg7r+fY1WRVS4eh18H8y0Mn1gIfRSx5QDti6Qewmge3v9yxsh0wZIzLJv82DIg4dy
AcXZPGvvns5MpddH3/Id6wIFcd1idlv8r65hICrUxfrBn6R3bxiwXTvx7P1yBrzfCpzgt1xCykr6
4FblHQg8ZpB4QREn0x/9gN1L3f7KA9Dwevp1CQgKKexTk+8qd9H/ddq/57VWPO3CtWvybnC+l+7K
sweUUmv5BW29hdOk3HdmdhqkbLpj0M7B8JgBH+bHDauBNIi1yZYX4FP88SmqR4bCl85kFtMAUeAQ
5O0kk9l4bf4Kud91ecjHPBpfAiXC8rF1IaEavs5VWy7VaRm7oD50k+Tra7m0lTm1Uwe6el+Upv4F
zQkqHsbiImkFrB7FKysD76VzdKEgB0UqJF9gbtnsVdAaVRTzWI1gs5dWda7bP64SY1XGtCtBdktN
GImPGWjTpk/zBH705zrQeEYMo5mXnzXBefhhnSDM/AomrHH9NkAdeXmGDm8v/pElRdRJ8onPjMXg
0xdQDITsiXDOy8ip8xmii8z/5A1BjtLXVNXex47MrZ+MYqKfW+3MVbIuUw0qTbel5Esxm7L8q3Bq
SZ6iuSmi1352xgZJvBE0+Jkay+zEgmUdQcgVTBO/B33lNJxA/eUFh55HC0/FGKnxxHIH/JwRrjxj
IlSjqg+he+GpUsh1m0MriXOfS5TM/wl6uvZxAPJTdaZjH3lPHfoL+JE2nTecROmz/ElDV5r1Mejv
fXJnKGSOY/wTJn9CXx4dnjGQ2p5MNWIbv69Az7885zpEF5NYXRT70Ew2ZSclu7r7s/YhUJupD4HL
8dQQ5MNHEUX1k3LAGxjnEjduN5nA6Yc0rB+0IvsphsVlH91pXgHhypry0ijcqDqMp5Znvkz7zPjd
Gs8i1PWX0Gce+8jmuc15InS16BddsBB5Mr8qOdYxWMtM/Br0RaAy6y5UweEUReE/CzM0/wiZWOY9
LHlU/YQdqew0qTx0zzorg3U6wjqBBPobYkvC/1oVLfjsS5JDtg3UDRPkK/ou6g0O0476X6YuItnB
W5qhObjNkNUpIM7UPfFZku6+dC9SMhIU571EXmIan1bg9QmJm6YBMVoiCFowHsaFZmejhNQAeeR6
eKgCgEePGehXs2R0a1CQsEXzb17uBtMhMDl3jgWD/vEdkprwuRacOt1XNIxA6kE44M4CHWANtkTh
TZN3N0vRyGPgdWPXxSif+mkuM8mOgwehzaQOwr66n5tO8ge0Yk3rQVaRUI996ffjKeh6n6aMLHx4
bMay/wKoHeSVBMnrXxKH9fwRicMC1IlrMFwMatIqeDB5HaqHkLezCzka14UJo2QbiVPY9kH/3EFl
PAcsPBxoUYJ0w2HDIzwNFK2wup5+yhavg3oFAZNohCAQgdczLrNCqqQofPeVjyCxBKDWUTozMRqz
IwdL0tPsSIQT/GgyrZvnkNGsf61Zz6JDNYDV7kPXNlPz2aFQ1Tq1flm156bXHf2Ae/0afR5cI8AN
i6T6+F12S1/rWC9FO/9pPPTVfWm7eVnRhRMSFpchb9iJDXnupDkWmB6KpvCqU9MteXCgbt+hLuP5
jKVwqaB8cLNqcBLJvJyfcqisZ3c1EYG4Z2sDi/KHgYx/orqfnAfjrhC46HqIXxTx2PRz8bCC1MV5
gfpHNd2JrhJ9eUQuuBj/Dhxos31xuAbncjNS/po1kD1Z2zHMynjulMwOehFKHghxC/MNoymFkDqV
SPAdIUmPV9ghytZmLwW7cRTb2Lk5zAzwtsV4BrwNtbagkHWH4ntR/7l+GG+Nb92SISfuiHZynS+1
AqwI1M0EtkvNEN7UDMXRhvfva3hOgkpC55OcmQwWVIdaUdEHR1ZZtHOdIJeH3DtnrY2fgy5QE+Im
0T66Am0ddEHUzktoHriwmqh7kqoAwb8DsZcKIgjdHP4uPXVXVN0jFAtvy57ZMjZ+VrsDDnpzBrzX
j5HFceKlInkyKXNjUsVWrhkUhQ5eUKxnVebRK+I6bw44fche9vX9kgWCwL/3CYd+1Iyq0ufAIDGq
6kIeZMPnQ+uq4d7U+vN1e9u4SNvCIC5zSOXnZfvISTOBFxDCCyC/HmTx+3Ify/0cGU71QVDcU65/
cOO2GVgXQYhUREGFzOa57geeBiFiBp3mJa3aXeLzraWzLnslXQU1VanP6wrxzrBlh3KCfjCoxg4A
G+5l+y8O846Z2/g8cNhEOeDe5gvwqBpIrqwJYm5cfprrMf+YN+FvE4Yv1xdtIyrYeD2ft4UpgEs9
cz11QxCDcItenBcy82pnXzYMwYbttfgXnjeP7oPrlue8Vwnv/Ee/RlVfFd2DKzI4T1PHI27q1//T
hiHY5GbdtEYaxKD6PIxZlXYLumqyrKrjykQ7yaANcASxcX3Sr9usn8LmMWjx4FBVD2hZPjwEzYVa
vGBPFChwkLN0ZdwU/KXBBTa5/t+2FvOyj29yHbXXOksTBfoDrm9Re/Qc7BaPM0f0/p0E0TZKnXjs
r3hD5n50bzIK1rved0aoI12fwJbBeP+ewMyazsnqsXmkLpnrU+YtWXHvFWGzV17ZXFvr1dji+ilA
BkwefMAM0eb4QYX8RRGazJw9/e89p0wQg1MmCWm1V2DdWlcreCBrqFenc5vHHEbayrFKOpa5kHyC
3QQtg04Wf64gRBhHovh9fSW33NwOJj0o26blspIhwRtOE7yJwU1xESKoGPnudWu54kmYD3sygRtb
Z+MKuzxzyJBzglJJ7ZZJXrhTdyCiBIDo+j/a+oB1xQCIVjfIUKgvCllkJ0amKkDaidxGCsqJTahW
0y5HbnpZ4diYczZycsALjuzMfsMEbJjcEPj+VGfBcgayogh5PFBk1++0CoOoiN1G++Y+y0QVsRit
QyP7Voq+0WVcKV4Pt90ubDgdr5qFzXWoz7Nc3XTxewZBbaET1Ka6w/U92giONjXY7HqrW0CyGXnm
ZmzwHK8AG0HyANhA/TuMwqzfuW9umLfNE9ZyQnxFWnXODOevrjM1T7yFdN1UmC5BjqJ5JKHWO1XT
rY9ZMQNwVm3ylrRgikUfmVrnDyWufcPQVsm8iBfd+Tsf2lo+K07kQ+MBiI+zhVc98GlBlGTz1CUF
gCY7NrAV/2wisbr2gLGewLTjX17KOdffFsS6AKrLyC/c5bq4+19fylpHzyQTt2DrObERi37WInOV
m+GcAaCxJDVEdL2kgOLquvOBSwx451Jj84u1UjlFx0n9KC8VDdfHixQ7tOA9hToTCmbQhOi97ibK
Tfydi528OSbbftWur4fyEdWyIE/qDtxsB6bH8O/rXrRxEbRpx+YhqHQ4lNO5q8mKN3qkADSmMVVQ
vj3OlGalPgq+5mKvdehdu2PMXj6JdNFQUEgnGrf8rsL6G8vbg+cXbOdYf9eBML61YJHTQGEPwAbQ
v83/cMTYU7tQP2lQC0p5vX5ZJBt2PvXuKYFPXdb0zd7gJK+kjIIJ6agpncOLKMie6ufW0JfVezN0
7Qyrh/LPhasGrezItvnVDtbn3Q3HpC9ffDMykjNe0dVsSsv6s1mf3MXEYX+s2U5Y2Zq4datymm4S
jGN4A37bxImkOQK+UqQ3WCsmb0XHppyjXuRQvQPI9TCVn0jxFewoB7ZnnFuzt4JiPwWA8NRY9sLL
PheolTnB1+sz3xrZuiOFVUeBUMk16ETC6NCDTxVpKzIdr4++YfQ2MVsNM5xr5JhTKYMT6q0n5PNO
U4OcWLUePDRwX//Mxp+wCdrGOUf+s8BniHOWbh636Lu6PvJGVLB52SDJSkkTVOjMccAohQJbnAlz
bHr5+/r4WzO3XLU2DZpz/jdzgqTmY7cHftka1/LTsIX2tVlXlRauxjNp6uNBZ3v5ja1dvXz0javO
lSpqXqALu+4eDR5HlXkp+jFRIJ0ozI6/bn3D8ldSDsY1VatS3T9zno4sP07itGZIEPp7lfqtzbW8
1ueDF40cDSdqZSj8on6RSQBk570nz9YmWF7blEjoOoMzpWFH4sk0dyv3drIKW1O33Lb1u3mWNabO
kfVxH9v8g9A7T++NWdtYd7ZSReWMlTfOl8X7i5LX66b+7u2fQVno31ZjVlkONK/hSubDoD4N/KXI
+9iXQ0z8D6L9mqm9V9LG4tj4dhCeDIsnYZ/uer/4X/3xWwOg5fV/sTW25bC9CqoluqxOu36PGoIz
8He/2+zz7hUOS3T56BvHQja9ipoMuzqK80C+ZewF9ynp/WHqkgvbgfFuHLQ2sr1wenQw92hW0rl7
cqhJPXBoDKo9osT47bZFspxXtWPv+WDsT/XwkWf/cHlX3nhN+F+R+s0S5VPp50RffDbIXpup/0Qa
cEKy+eD20c7Vc2uLLbctMuQE1xafmKYxzttP/XK/7BLyba2+5bjoNWSSgd0zzaH3SqffnVd89nV0
dJo9XrON6dvI/1XqcPJq3PzAqP0sF/WNT85H4e3BZzcCs43475q1KwuInaWzo+8Wv4BU9++WO3fr
BObepT3dZEE2I948erojPr5C6fgcNiSZ5v4oKvLp+vAbMc5G+y8eCu8cb3SUDYsDoInpTPc6IjY2
2CbF64dQMYiyqrQGCkii5zbH/R7MwFNbH69PfmuDreO3inrHNRreNerhOK8LuIFQsZ+cneE34rQN
81dTGKz5iLVpWvQ7FTxBtR2ESU0CYHGqMuCYqyVGM8bh+r/Z2grrEEYDXEZyjhuWy0SUcBN2x3Wu
5p1gtxFRbZWbWTlt6win/oW7xBCDQAntAzJ6nuvpW8+AkwnnElLne7n+Ld+wnHstULkVyp1SFp2B
bIh9tHA30xFIqiSM2E0L5tvYfq7nGexo6Ise3YHGLvfLhIfAbNyyHb4N7C9nXS4RX2G3tPyFx97L
XM43Tvyyam9CN2vquV0CTBy0dCBAU4fcW2+c9cUZ3wwdKhLU3dhj6MJNAUS452qPFPF9b/NtNH/Z
5k1HJRqex3H6o5ruKyHozd+Vztsa/uIWb2bOIK+ZQ7xWpbL7KxzMIVxPmf/9tr20jmE+hMijrYVK
K8ViBoYvY/b6Lt/3WgjX/XvaGSBsvL500HvhmnauOULG/sa9tI5ffwlLZwQyExyxzgcvW5/rcdq5
2r4fm32bHy/EudW7DRa7oE+iPFHQrF4odMI9nqeNzbTR+mZhJQS7cOGfMtIewmlVyUBmmYxr5abX
93TrE9YtWkfTssgRuZ2RUcAqgiZu5jICgWG5s0bvxzDfBuu7Gl5J5YWLovs4o/OYhbEnPxX+Ryfb
65rY2Ib/IOyXIZ/dAGEyR12fkugbaqS/VdVciKn6nb+xtU6X39/4lYKkCKsktrpn4Olpx7ic7oCH
u3EXLK+NPN6OAEPAkNbuUC9Vkq2Pw24M3pq75bdz6KlhRD4foD//rsmg7MiDB0rVX9dNaMN3baB9
lbFF9AFSYa1qkj5SBwVJh9uGtnxXL512OHRxUyQgIvfVcd3ly9AZp95JEr5/nPs2tj4cMmTCa5xO
xKgGMKSTVt4f3i1HZG7rwzLStAyiaWeT368TMN8G1vsStFoNw00aWM906H/VGU35kMcXppkIFAwC
VM097VIu9hqiNjzDBtpPlKABasE/CObvbbYk69gkWXCauteb9sfmz+unsZ+qkJZQcu7VY54vwO+S
Ye9tvBE6bHw9dsa4oBCH3Wb+gwOiShDdHfM+TxrwqgX1zuNywwZs/DgtWN3lAdhsxOzpR5aVn9yo
MQe6dC+69AmYaNAy0hh2U1MNrMDy9Rlk7OhCuFiBH/ygujjK4aYedgxtOfpIJdV0JAiEfHwMpvzn
xL1sJ1Gx4eU2bd5koICsLvl0Bua/WiyH2rkJb4JpW17Og1EH0cLEb3cq71z1S4ygAF+mu64TJ7P6
EMrqDnSmO3Wt998jvk2l19RhGEgHPsHG6Oh5ZxQHvL5EhMljqdJAoDa0xzi2YVo2QjB3/o+0K1uO
GweSX8QIEOD5yj7UOsYt25Il+YUxtiUSvMELBL9+k5p90GCE5gb3xWG3IwACqCoAhazMBnWzGbpS
5W3qvMni3kt+DOKBOV/ZJkV1UMUsfX/YmALXB6p28Mo/tZPaOzmo4jCX5O2yf5sGoB+x3apPs8Dp
D8RRN3TIoyaYIyjjgfiTINS7eEYtV45phlClQwV5KQYgppBkK+v4b4rTJdDBnb23XeRjZtfLViKW
qZtlj/wwXSwbQ4ePwyLr0J7c2b6G4sjZpeWxyOOVY7KpC83BgSjCa22oqj+9W3VR0uYPTTi+ERYe
W7qmgPf+FPGf11ksu+bqBVgMAG8GNXNAUfDj/IHuQoTajWgMXsfEjSbU6OHJDhwNdjQ37Fs9fK2S
c+DFEZKkVww4DGm9VtkADnwCUP0P2gYHR6SH0u33AWWRzJ780YnclHzlpb9yhjJNjHbID2mbFLRX
OGvG5W3nuneqevSGch8G7ttlezX1oEWSkhVgyZ+wY0yJXRwzjicKxfz4WlaOtwur0PuxrR/tYh4w
O1dh2MCxJ7ofgJZMUN+KiUbRPYhQtkVcHVXYgH2knBt00rh5vkcN+C88Uq9xqSz2/on96DDCVIIc
hqQKClmSvDH/wWnmb2m/Bvw1ta7FDRRaBamY0XptQ7uNE2nfJP1cQ+O+9VaOhqYuFhP44MhAquQk
TaYRRH3kSjbFVRlnpzGJV4iyTc0vv39ofu6mirkOJBc67kW26m8Sku9QWbPyHGVqXosRQMMjMQ+y
C1BcAA7FgswCsWP4x5n7ZGV+DNucqwUIZRUdIMMQ4aLtMfXrHeoQz0P/4mbXsZ8cXXLy3LUcuqkr
za+TehR9WTiIqY0F+JO6akV1H7LxYYCujYrF70L4d2HqHi87n2nuNCdviO2AC9cbkRHND+Cs5buS
hijtGLbR+Tk6U2DYNrNdZ9DnmodQPI5B7YXfek+K8vnyAAxRSof1zVbouguX0SF0wOVZ0/rYo1Jr
HvHkabHs+nInhlnSSQPzdJ7FFMLCxu6mZreB9VMN95ebfgc2fRI8dFgftW08FTpoe74r9vzAo+uH
6a55SG7FVXosd8njN/aFnO2bA4jadm8k+v69vcqPafQdf833p/jLqfgr2cuIRWtJZsNVQYcCzqha
S4f+XZXsZiimXe/eVuwowkVCYmVbX1zzs0FrEWHqAo5aWwxagF3Ns4ob1Q0rvmpaKy0adHZV5G6J
rydIWYtRHUKe7lCxs7F5LRQ44chATIkzT+r9bIo3yC9P3ctlUzB9ueb6pEGloqQ9lGmIf9MNJ9Qu
4UE9WfF005Rrnu65Za36QvHfg0KpHeUoEkHp08qnmxrX9nAvaGKL03EJkDEqikCxmdqnskYJ9oqb
GOZGR4BB5alJcdsDK/WOXwe7NciUqVltbwVdytwBxgrJVevIxxH1zfuRr3yy4byvI73qrJ04RT3k
b9l5ODPykxe7+w6nVhoUL3X/MFfOyi3MNIrl9w/7a4BizyJNY+g3lpwOUW8xK38TqRAMOuFyPVR9
7rT66xlqHlGf6SL1NUI5ooaSl0o2vmzoAEwRxE0YcIiEMZ+g7RI3lzz/fdmtPk8VAQ6pTU/eBdbI
qyq/rft2PMUcGm6hf5+49VU+V1lUL2x+qC1pIyuZHlvItF7u91OfQLfL7x9WxSNWk4b+AOoHJ5kp
j7w4F269n1tU3b1u60ILRiUCXUCcAUBP0XdXEJzPj1NG4qttrWvxyPH7GMWFFVCxxTzvkhFlrMBd
bmInxvRo8Yg3KI8XU+KdJVHpQz4WwwveADYlhtC6FpBAEArKon5E6wFwYYT57WFO23bl5dKwtDp0
LqlK4F+TpLgtQzxQRtSyaHOL6leSbJt6HTQnh25uHLxM3PIBFeFRQAQMN3fVpl0ssHXoXE5yP/fs
bjwPCrJTScqFuFWA9UISAUyzKzvOp+cIdLIc2T44wDAnBcfdOn3MUcqSC+eW2CghUf58LgDnnvlW
TjJd+3wIoFaI4megq2Ni3eYua/6SqiD7y25gGobmx6ROqAee3PSx9IL7xHduRYN3FxIm5zSvXvpa
Jit31E/DOOZL82aZx67XhiHYRUorO1AXiq311KZRFUId4PJYTF1oLu0NEObJhDudadfccU/86orq
Hqbg7S63b3IM3amhBshyNx/PDpW+iAAUJsk1o6iWXxnAp8d9zJHm18QCxCgZaH8GvbV1zMP4Rzz1
6igVTh3V+jgM86Tj7LATiRHUK8OZUy4iNXe/KDJE92HK2LfLM2XqQUs1LpQKIAhxslun5dK9yVSR
/HLric0vzbx+cTHtfTrcrmZKNkhjw3hR9A5ucxFD2rMooiCxfkirS6MSxQ5/Ser/qZLwrzDrfl0e
nsEQ3unGPvi+SDMUsnUNvxWyESLiA8SCIx+sEGs4wk9PV6imWeb1QwdBDNoFMsTJI+CW8SG3xmeJ
Mhfpzm/Cpq9CQuxiqX3eNhotBMSJxXs/z6uH3HVuA6zVwQ/HTa/GGInm9gOJE54piYrkpPnRgRgk
oiT7VsVYnG1frzl9HeMQapdO8jgMpbjJC8n23LLWKNlMhqy5/NAmTWh3Yjx3IXZvEaNWSxV9dgWa
Cnfj9GtO76BeZiqxtI/d4Idgkk6I+0WNU/C4aX50UJ43dr5dVVN/DuqgeSIJmcsIrC+ryFGDL+io
vIBN2ZCMY/LIvWK6hbAp0OpVEJ4uf70hIupoPKdj41gV2QCaQ9HRH3SSU3VnU9D0Uwm1+yP+K1sD
ZZv60nb0JFQdy5iaHwNUi+5pltURtXu+B11bsO9ZupHLTr9pDFbvY9EdidMbeavzMkMqGMVmlyfM
YLC6bG0AvqTSKwN5nup0OlnjyCKOSqyn0MG2vq0LzaVlihgxQfn4UXizQpW8Q2+xTX231UZGYVtn
3+2KMCWF504PwSDBN5nn1Fan0mn8lz6mKV3JrJropXSIXgJSFtI1g3pUDkMl2QA2O3Xwpm6Io1zR
hh4BtUAddAPJ8+nKacuZ3NRTkSd7x2pqCQ27BFw8kB/z1op5TL6khQKUxaY2OIGGMw5hyY4XYIWx
QEG9sm6fbypEh+/FYYqKPLDbPFBWi2OQuDc5Qf28jOc32cQeSKYeUsE3JR8CosP5OtfndlVaGIuC
IJvoiTuB7qAPHptpAPvVZVM0DWk51X7YJ+NhGqEMiiFxgdrQvGjuOf/6foLt8qzaqRx5IDCQ+/vL
3X3uXCTUIkTcNlU8WKQ9x9ZUHQBX7MGqZXXXTM7Dyt3o8yBEdNBfXLLas5I+uc19F2UudvqTtOiB
hL4dZU1RrUzc55ZGdB5fj1nDhNw4uK7KRdqzA21Rs2xul+fJ1LoWIbp8mEHjg4ocBG2ozGR5ce/G
1qZXU1iWtuMrvxKjgGbRuRuG9KqzAEKj0GHa1fZEv6Yx+Ca2jULb+5WYhCXLejzni9JwLUqyH9nq
CpgWWvN1ghTBAApP64Z4VbKwHn4LRJVeJcqqIZG5ypxi8BAdGCisWNWBGKcbOYLUpp7lEcjbU4Bg
uluCNlgYf1m5+vvyjBn8Q6f0hST7kIauwm7dVdUO1yVycMol9dTMa6+Rn99XiQ4SrK2UjgwZ/LMM
M39PnPhPWPvFYSo42yEHlUchgQrH5eEYlkhHCyqFF2ioEsIAHC5bOyqlXaQRLUenBfMYaIShDk0o
FJ3uL/dncJtgmdYP0UwNg+XVyFycoW3AroZmKJ567suVyGJqffn9Q+s8yayxFwFKzZfa8y4D0Xzd
zG+XP900VbrHz60NktsYKZewghhf2bso+0M8WQ77PjhuD5e7MRmY5vrx3IflrFobRFqjdS1Kbx/U
ldhLG6whl3swDURz+sQOLFqo2AYJ1BzvVU7m3ftNMqgm9zZEzeFKADYcPogOKFQCtJx+X6kb5bk/
OSYL+jHdgKqKBw6+q7glV4L09EQrhhp3y7mzQOsG0u9th1CiIwxFjoekSlECCofiW1lzcWwBhFhZ
pk+feQOigwlBcNFmc2CD11LUV14RBHvp11e8Y36kQohYSjt+Qf7yuH4jN6QCiI4vVABoossA05nY
V0kY/uU59pn33XUeundeB7KIYGS3kFj+Cua3bJux6LBDqDgSaE25kPfOQO1Sjkgfg7DYuu39cgC3
H/e2vNBiPvXA4Es8oeaEnIfa9yNnlnu6zCUkKfabrF5HGube5Em7RgcxrQYkMZGcy7MwOPpJ9XuO
y+54uRtD8NZRh0GILSdJAKP6JwT13l3OHeeBFDirQTf1ZE1s05sdpkyLFPlIK8ragZyRXGZ3nqfS
b02Ho87lgbxn5P7zxIvmtTAhk6BvWNz6D2DztIHEHvp8bPYZWJoibheV+CkG7O+noW6S+nloe0d8
i1ECpEBBqYaCFNeM9KEXHMBEz6zvgT8R50vgKVpK1HrnA3kbcYmroNGRAfPY7sIOhfI0alNepwT0
eyiW33gS9LRzCLRHSJE2JL5RQ61+o/i5zyM5j9kKkssQsXVokkomNyGg+T9TxptvsmnuS6CVjnmq
ipUUgWFf0/FJnOUO9ksOFm9rnH6JNLRolJZIeFxeatMAFlv+sG3GMzha64I1ZxXkyS1pcVPnouF3
/gyhm8tdGEag40xBDMmywhOQWpirKYlykLxycOnIaiUcG9rXwaUkBrPdVDX0XKIkQR2BVeqShyKo
62TlxcgwRzqydKhYmtlxDJJru/iWLPoNMhu/Tig8X4lPpg60RUgaj8wsa+MbkESRI1hr6a70hiTy
g35bHpHoqFJkGgIkq8l87noKeudAWi+g7UjXnj9Ma7CM7IMZCbA48MGu3LOM0wn0jCR4s+VEV3zA
sOHqvJJBBjop6uXuucvd24VTDTs6i8oW3LPg1bWgjPXAEFT6AXDOyzZrWhHtwJdP4fSPIEPpgvOJ
zsP3gfjpfWi1a3Dl92z6JzFWZ5mMA0uAqxicbTVOxuWVl9G5QC4cPKcAnsZp/oU0Gb9pQPurdpLM
VXDKwIprfQGfovfT6YGpfqgtVebPIpZi+NFVYSWfOZ6fxF+slDPbmOnQySnVHANj0TvxF0agT/U0
t8qDxFJtgen4dzOj1GtN3Nkw5zr5oSf9uXVoI/45BogBktoQNj/9HyKRqQfNSoNp5E1bUwEtMvUY
Izd5zLliVw0Yqh422Y27+McHP+DB2Fg0sZuzF8NuFir3HKDPA6QFtklMEh3OmNPeYcis1mcki+mh
7GGQDi7auyyhbCVzaLgkuNrhop7b0ikm3z4nY9jsaoWGS+65kWN739Oa5I+X58oQM9556T/MFQni
BAxknX2OY5WgsHTCtlDkvF9ZCtMotJ0fNMweSFUVPTs+MN2Bn6mdkwzk6AcV2Vd4/t1fHobh1KeD
GPloW57fMVyp2JyD9h4ND3iwA2lnOf899iA56MfVSGiwYB3MKJyxlA0LsfrVXFwTe2DXPMBOMUJl
a+XwZ1gWHdMIEjcy5HHRniVoMxjotS0fLwV+160suyFloyMUlcXjVhUF5KOqCcot+eC/gNz9p9e7
3jEU9Y8pk95NaoEI//L6mMajOb2KE5dxW+GEMyt+Bz1I3GV8vK48bWt+6faDFZdqkK2v4uZcexwC
7NiSQMjy63LbBhPWiQh53nexGnHTS/IiP5KcZICTjM43XKwD4MXy1bSAyaw0j5dTFiZVl9hnEYyo
MYJIQeEfupbbQTTFi7bXtvFo1woHXG3Yxzk9K4LCaQ9SlsJvu6uuJ87RHWd3BbJuWnHN852lbA08
uva5jsvhTSYTg/wC4Wuq74bJ0vFunTsiicmgd6QyXGGGsPT+7n2se5N73cq1whBTdMSkM/iklg1i
V+DidNMivcgXh1huxP7yryZHbv7ymphGo509Yx9C2D3IoWG7uNUHSxrYxcLMc7xW/GVYDh1L6ThV
2xA8cr0LaAbpEJ+Zwh+XP9/UuObdTllmw1RCXzLhrFUHkpbJnywU6Vo1lqn95fcP7u3Ytl+IFosN
mdrxK4HA1QsEi9cySabJ146ZzhyzrrJKduaxtK/i0ebsR0az0N9bDePj1bY50ry7hKKHUm4Y3vCU
ZL/yolXQoAhEu/LCbzJWzauJ7GE/qYv7V4V9XNg2lPRUnfjHWM4Z3TNcOE7ZaHXtSprFtCSae5dV
NbceTjsgMq3Ic5y0k7dzSUbX3qgM7esAQajUOqVgFOcSFPV9IbKdsiMYFJ21ggRDVNfxgVTIkhS0
Yf88I0BZ5SEIJvm43GBmCM1sO8TpKMG6jyWEVlJ2BqE3MAR5W030JnYz+zVMFD25eVbIh032pWMF
pQoW7ak+e0qqGOq4Vo2yfT9de6Yw+IgOEKSWkj6va0Rz7nR/dxYtX1UBjqe0yNvD5QEYLPg/uvSW
QDow7sANBhWR5hYSRGw4xD4Iwl85OMkrsFnwlNH91M0jW0tKmsxM8/2AjTM024l9zuumPpYNuEUj
1wqCt8tjMk2b5vS09WQiJBRe33OeeYDr1JjwE/RaxDY/pJrfx1Wv6jyx+VMcpD4A2ngRZ7shzaw1
ulXTEDRHH8aqj8tgxC7YQ2Bb5lZyor3VRL0Q2UpmweCLOlZQVgVkUAobux+eKcD/A4GaWl07fvzS
QIB3W/zVCfo6MASnI5HzOcALImiXmcXwkFdXqt1fXmuD/epAQfAK+hXkI/nT+4lEZh27W47UTonH
VtvFYxUUctf4qg2LooMD69rrC4uAyfxdClNBrfA9vz0Ua+Q6piVZOv6w40K0KhUVNIPOAWvH99SL
siU9NngNg1rupir+AJVyWi9pPmdpbsG2/EFdx6k3x1FRJ+EadMPg3TowUMRNnIB1FwJyYRp+4aoe
vvfCC1YW3NS65ty1ZQcxSAiyJxXG8irn4D4/Qn8KYlSXDcrUvubaok7TAgJOiE00q4bHoQl8gFoK
MCkMz9t60HybhnysfZwcnhIklG5EOVcNTrWk/n25eYMR6bBAKM0VPk3D+czY5B1QAPi3JD14w3Br
vnIhG7JyoTHMk44O7DK8HrVtYZ9VKZR3rB1vbP+arA5wq8vjMHWwePwHZ+gqOyttq+mfoDsb3Hoe
bb9mzlbAj87Wx+12Rp7Z7Z66spx+OA6yCXSq3R3oH1dOIYZooYMBuSghso1j55mrJo6GLriXcyKu
wDyxJg1h6mGZuQ8zRMfCSegggpu66ZqDENULLdP2wII1SzV1oO3T0CEMgtyP26e4sOx9XNNdMmXV
8hi2bXvQ4YAybeM4CJrhCenrgu9qPoYDRAtJeH/ZhkwD0JxZDdzPRkbap4Ha9ISkwV1Q1cXdpJzX
yx0YMjpE82UZZELSsUMHSBZdOzV10y9yLNz0gUpkufeli6LIx2DKreoqbclaIunTcbmOXqM1cOV1
qHuRh3lPD85vsXKd+dTl0Ky23hNU+bqpyebDLP0ArlCeOWTZVgKG6Zv1wA1GEr8GxdGhc2gZlQ0y
YNKTxY7nEKq8vBqmLrTltgOozda4ZoPG0Nt57ClRYjeMb5cb/zSuYnK0pbaUmqvOBYlZDwYNMOlW
9VMm7nn5dVPz+tWrSUSc4pkK7KQDSPUAPHDua08BhbQlnEIParHgD8FCgn857S20X1Xd1ZR7O6HW
4KcGs9HvWz2fCsuJMe09BctUWO/rccUgDQuqX69cVKj5k0TL4GeKICYUJN1utl4vz7jps5dOP8zI
aMVdlmdgCS2cOKodeiTTiqmYWl5+/9Ay9MxAhtBjrmva3BUD/cn7NTavT98DsYyai441oznAAsNB
QFBPKFAwVpHn/ICeKWuPMJbJWQmdpjFo7kqgiTGVAlO/VM02dnIcA7G/PPEGT9JvT62tQirtrjuE
pToU3EUOf2j2TuUfacnWntRM36+5qzdgO6+W1QUofx/7YifqbZ6qX5xcgO1wZV08Cf45OLeQqoNt
gtxkxegN06PfmTyR1ZPs2g48xXXUoJg+UPd98rXp1kpfPt20XEe/M4V2wzmvMQBL3bP4mEJXMv6D
WAa446r5GDxXvyu1QzG3LRKUh35+AhL/kPh/INO0YkCmxjXPbUOPFLMvugOQzpHv3IBUCExUr5et
09T4YlAfnNcrQprFzT8eho+fCBbBXjn6m9rWvBfKsG1Goa97QCb9BvLHCDn1vgJ09/KnG2z+P0Tm
spoEz4lCEeb4M27YCfrQK0Zp+nJtay1mF8o5Doro5TBHix4xjiA7F4RH275c81bkA1J/TNG8O9p7
hkxBt/Zo/GmCwMUDyL+XE1LOLOgATTukkGg6VMrvbiUqePuk7W7k7CVHXq/tg6autC12QR6osIDl
EBf8rOqY5LeL9YBGOHLZ06aJ0sumBs/PszpxFBhI+kh55cmvkpWIb/r8JR59MHyoZHE8EILedIlr
vHwawteAPzb21TYYNNZCcy277pndAuJ9sFv3uunuhZ9ts3ydYFwmIFy3USoAEs8MtPH2sd9IUqFf
UeKyCLMwRSATJYjTkIxDiVoUpxu3Kb1SyfIzKGoxPh945d6K0P7uBt3VZVMx7CP63aSUHByHNaIk
8p9QgIic9DYISrBUbAoJoLP7t73IMkUR3RLMbAq96/41YK9jOW8KCEwvMorHhCYTagAPqGDddWO3
wwayZVpYuJj/BzOvXGuAYDnMHBPhs9es/Dq6Lprfcu13mV5JVM1xPeUhIlku7pfDGfZVzNLKrHwe
hZleQwQNcsIaDxEGjS9neBw7KhCaXJ6Yz3cPplcOxfPUhbRfSElxwQl9bx+Oa9/9uSmyUNv30ngo
U4ss+17whBMH7jax2np1YnrZkHTw1TzBh8/2q109N+Ut5mVj0GKhtvM15UidsV3CIi5OSN7sVy3x
84CLZ/N/W6LNpZegMPB9VnDjW4LLP9+eblPiYnqNUJ33wqIdjLHK3N08ePutOzbTK4I6xoaaLZud
FK+old9PeLndZId6IRAZczU5i8ycM38tcTVbOPgvt2xwH73sZwJUgYcSLY+wcGK9duBpXD22mxpf
fv8QVwq3QoXxhNWEb5ICXH7288bTNAsWl/3QtkPTzOMlgyx20srHuE2Qxi2sav5ajyGXK8HF4P+B
5qSDUJOX25Y6+Il6robxuvabla3I1DT99/fPbPTGEcCNg1MkR2Blv/NGruxCpqY190zdtv9HAYKi
afBJHdejlqlpzT+rpK+bVlDMelc/9zL9OoO+cpMl6kU6oHVCgUkG78ENg/Wv2CQc7BWX2zZ8tl6j
kzJIF3Ee4mpdztc+Sx6rqr2+3LTBxvVaHKSDHZL6rDmUqKFMoqCgw3jn27VV7lBtba3d7wzbhV59
o3zbtVWFsNWPt/CmduFFr19XM3mmCdI8NSliW/AJYWCi4j0qrh9bTF++dPnBUScwYlizxLpioyum
p4A9jbgvre5FpuY1F+14SJRToXlsF8UYRyBliJAPC5HeuLzApqnRHLUCJrHyHDjqcuzCI1LUuGtg
UVPTmqNaQsayjDHr2DCqpD3gCWYlunyezwDV2r8n3Qs9z4egen8I+AlEl/UryfrIAqaAxsfVbKFh
s9ZLLdIequLesPB440pX2fdtf+9X924G7ZbjprnXay0ysBPYE+fg+mXDxHa2cORJLLVOK3HBYDze
MrIPtgkNjtruA9mBXbu49QpxYM1bFQzfvbXnA8M66IUWoBzKa4Se99ykrG/n6tnByRee+//YCj3N
efu2HJW35CUrt7+Ow/Y8Nnw3xM3KJfjz/CrT6y3aQg5jsCQiRPEGkEoQwYWr+B6w8F0jrC/UbcCg
+XR5wQ3RVOfvRoDzi0nhZJlVdbQEOZws/bVEgWm1NU8GiktaMUPjA6sibDGO8wdhyOlfL3+7wZv1
0ohJ9GFVlos7oE5y74ChK4rBFL5iqqbWNY+uQl+VYGH65yFHBe7/gbLRMC962VrqlCNHrSK0aIan
IEsiiSvrkFXRVlJIppet2XlPqnFRu4HqxnuE3t605sKVKvIA1F4w/ryJ3p+HqjVlEkN800tQbKty
k8xH07gTj+PbsrsguOF5i4drSi6mLjTXHVTyv6kU3LxLG1fj8qtVvOKuRqqV/KrBbvQaFDvIqUcb
ZA1Iw6ZHr8vnX+0s3DVJMEOA0wtQuJUXCXEwRxhACp9NVQC5wmUTCLl/CtO3y75liAt6EYqshnIc
yg45PvsF5LQArDYRgJnbfEuvPenLWIAY0Bt+N1VVf80ra3qqK1asFAyaVkDz3CFNsD+D1fDQDGkw
HYRvdeMxsIXaeLrVa04KMoSBA1GFQ7s8NnIVzYl/ujzvhtCgV5jk+MikKgZ1gBzl08DIGdy0Vx5P
T226iZENguSaA2cpbXtC8fXD5O9YLK5K+NnlrzdYjV5cMiVlMEPyQR2qmu3CKd+7TbvPpbPtZOho
zttU4HUs0lodWDjtu6DaDeDl2Pbliy19OJg0ZC7CeBHSqvEqkjfNfkqmrxSotG3Na4dmlvExtvIJ
mpYyFc+iz9rxezn2XnhLUXTd7y/3YjB8pq1sP8Q87DMw0i/nw+WBhCArerlpw8rqVQRgreAWVWw+
DC0Dm8PkBDuPVMmhzmq1sgSGyKZzDQe1xRNnqvrfSCic4lTc4Sn/C5JeMrJn97W05yQCFd/rtvFo
6z0Kyicgxzqc151TG7dAyczHIVsj4DBNl7beeUCyqelZfwhjADX4fUnEztt6u2b038bagx3cKdjU
HRJi38xl+eb18yZuYZfp3MLg2htnBhHuQ2qld3wCmDyvgP3cNutaZJ7bQdbDgMaz3t0nlESVVzwW
bfNwuXmD/TvavAwkn2LZqfqQCJymAh9UHInlfLvcuCkya3dHUWYgaQMVJ2iz3OSWdiLc9Y57U/ZN
84iqqpUZMpxP3qUOPsQhheNyOLYVEmC9HTm8jRRkLIp5RyFQ21grQzHMk15CNYExouAdgA9SuLeK
zHsgTKPLs/Q5VQrsZ/HuDwOwRDXNw8TV8oo6nno07vT2FSosIC5hX+dlsqs9pztL9wd12eFyp4ZJ
03FLnjcXNRngDzxHqrb+ivNQyoARVFuhKEyHLvFZ1VNojx1OvdYBoQMhVq1MmWE1dOiSlUJdgBVw
iuXNE+CueytnK7kyU9OLLX9YjBSlkWzsUa3RttP3ziF/hfGKCRm84T9lIaNv4waMKUcaAhQTe7y9
xRDB6cTT5SU1ffny+4cvt3tBu6zFpPiV+4Tq16hJh03EOi7T8UtJkeWQoUTbyI7BWhJZQ/YQ1LHQ
YLj88abJof/+eM8K66lcPh7glmYEbvhehDdNtwZUMDWvRaI5Htym79B8jK8OebID/ERaN+BCWdmJ
Tf6khek2mdPSXbI03D0C/XyocEDEFcnCWxyX8cokGVZYhzC1Ze7bNB0AoOmzL7kA4LAt7i/Pv6lp
LQa11tzVvEXTCnyxGb6YuGt5PsPGruOWUnvwXDU13SEH4kr4RyAw03LF5g3rquOVEBbHNJTApDXh
DW6pe+T2EMJot6nW1GU67zOYxLteVQB1xawHK5d37cj8jEqDbdcuvabDk0gmIZZ1B4m37MAJo4k9
X15P08RopynfH90RYgS4sUh+aMbIwsnBnd2DzNZyzgaL11FL8zwOlWXj263UWhLb1D7iBTBqgbdY
fZU3jUJz2xEUw9SrccXg5Ks7XC1hB7f2yf2+bZI0p5WiqhvADd+DThGnO2kfGXH2CVAXlzswmL6O
YmKy7SyblDBPuzsG5fcmkVdJv22n0ks5Gp/7lpOniAaAerrEP7F2TafLcK/Q4UqkDiUpk6Q7dMWb
u0h5WjdARUn6J2/ltbtGr2ianWXVP2xYgFy44KWf33spVR2VICNfzcYYAppexyFDUHwFTtAenMbZ
S+rtwOW/v7yqpqaX3z98t8NLMNYRaHw0TnaypDr24RoWzTQlmtuCuo7FCArdwZ36m5IkZwDediIO
XrZ9ubbLCu6VJI9DXNkx3WDFuXUDteJLpi/XXLWt8rHuBL7cr3lxomEJ9cpw6vYdJHa2vRnryKgR
tl64fdy9Y7okTf5qim0JHqqDolzl8KnMPDxvkUJGguU/azAHbZl0qmOiFI+7uXJZexjHrom6EoRl
eRNuS/BQHRfVeSpBiW/nvAR1A7J6gtunO69d+T+3dKqjoiwoXttpMzovRVgATwuWpsht15Q4TY0v
lvTBjbpg8IoxHZyXrEsFZN/kM7gQfm+bc81F89ZKGl4I58WPwyDqUFIXgaxq3G1rXfPSvGlTSCCF
1k/LrdrI57jXNI0Yjpdb/9yTqI6LquumV0BHWD+DyvaigU/zbqqhpAGA2tq+ZJp6zVm9WaR1TD31
G+AicfIgqPbQlUm/ctExta5tq2Hq27yrpPNiEW+OgnZ4pqi4XdlSDY3r2KgyyVHO0/bq14LDiiq3
kxF4YNbir6l17RjM85H7gESlP+XQQmpJhXYISFA9i5U9+/MDDdVBUjHgv7mThOXvagHrgFgS1yj/
rk+6fDfZawwgBgPS8VJsKkaQweXNT1d5oKma4/CE1LvYOyDU22+y0UDz3UCIpmhL0vysk+JBsNH/
7dJJ7QGk5iv7yefHS6pjp7pOJDlE6svfY+G1dzILneMECtsI4mqgjm3zMo2CzDtcHo5pWTSHVlnr
cIegs6n2ntq+2tW+e9cl7p0vNkKGaaDtvbMlRghzTNnfrFHj9QDBmqOdD4+XB2CyW82hK1mEZZF3
yd994vUgLm7dCOIZycpqm1rXHFoGtPNYi3hHnOJBcSp3qUT+9/Knf37WpDqminhDAS2MtH2GGX2f
2nLHguaAfBvShNk3iN/sSmst6WVYZh1ihQg3gfnMF89O2OXRqOy7zEKSjYhsh/PcSoAKsX39hyXR
pTrYSnkz5IMShicLyZ7aEqIcqIPjVpTkFiy2fwbL27XM1uggDG6iY66qdODWjDPoMx29ve33p5Dz
n27PDp2MT+HYrFwnDRagEx43/dxwApLbZxTU74vcyiMnyNbA9KYxLJ1+OAiAoT5OgASiz8wqdtiM
7mXqHmhuPwl4ogUhgW2Gpjk58iY2BaNB8xymwStHiR/v69uhbv8SHn3Ns/TU1Wuv8oYIrJMdey0Z
cKvvqr97sB24V5MUwWM3DTLfe7Qc+P9w9iVNcqtM179IEWhG25qr2+2x7bK9IdqP70USQhJCaPr1
7yl/m764KX1Ru4pagBgygcyT56zsNFcvltGnMjJzjCPqRxw240GGsfikCJ7fY0rWxK5d625Zfgfu
mgwuvn7pen/cmrgZN5DuTldWxLHwNjhrCHmIdDCvX6CN8hRnPtkYCtrJrDW/hChPUVnfB5INbJBW
JpWHA8r0PzOfNTvetcOWt2uHuiOAH9gQLQQR5j6ryupF9FCNIPNXzpvjdWdddxWfy+c0Lg4FK1CU
Gd8VOQps0BYyxnFVjoF84XHQo/RKDh8paFruqoYIbLQWGARaQljb/vQjGW1iWdGtQHwQwj9m7Q7t
X3fpG37ShmyRWhIAPaLs50SrQxI9tF34L0vSj3mQnHI4s6CVW1XEl4L1n7qYnm47AceGtsFbKi0g
237ttatku6nKtgYBOOg1b7fuOGBshlwufGBlWLD8KOKWB/+ARjy/RGneQEa4L9RDlDSgw72vK8v4
ldBYm6lhPxCRlCnYQv2pgZZtUIn2XT80tCHbAmnDFdI6l6VafiDqUuUNc8h+AcNema3W+Wfo3RW7
kjT5105VY77V/mpcztGbDfbiI7gdvc50/8u98XS9jnFv+KS0eirJMxRQP96eQcdWsAFfQnqpJ/0+
+wVUQbyNvLxAvTou/fe1fh3bq0NtnGIldROhcGYU30GKCFnYEim+2427Jui6/143DrC88rOM/uJR
8m70xk9mHN4XjTlBGe/TVZjidjeO7RxfD55X3Qx9lgpGF3oh0XzRDK9RlXWfwsLjO1WxlWX4E+x+
wxHY6C8JVl3TRsz7NfmNX5XbDhSbPtkqKkozb6J5krV/0DF4Pr9ETHkzBNSA9/Q2He3GLPyq07lW
B9/0g4AsPaohmvCxCInI4K5oXPjPd82FnWlAGXfOxzCvdm0yfIu89HlI9KdOg4+cz2LFfTh2pJ1t
EKAnQ1JWVjvpQVlkI0Cutk0KtawRY7/tc9PMDnOx3Bu6qg7FSxAtdX9gCeTHPqgcz159JBn4KNWm
nABAhfhUVyY6PPSpb6IXGslxgqCmJoQ+xjINe7Oyw968wuCDrPd20I4T8UrfXBpNk3HTFG31eYbm
/c92WY2nvDmr6MOyREoJHt2jTz4IgArzDVRASrOtA99/ub0zXO3bxjhVnRrSYbhES6M/Jg3e3ueJ
qVmvePo3jR3fb1nhPEg/7xQpfpqgLPKHphrmNnmIPR4jx5sHUgfvfBYH0XxgpSz8Ndina1jX/18Z
vxmAncer2Fx0h/KRDWFdtOdh0kd3Lr11HU+SGh8tOywLWKfFWOuDx8i/2Jz8cN+6BP8dQOF7EnXl
kXrh0lSf+86rvzKwX935+db5C3gthWLI1F+SiBb0MPspE/uk9si3FiHvlXCRa+ntY9fM/WA6Ji/q
qm83gPH4YHLI6IF0/NB0jG7g85uVy7jDFO3AmkagNKMiSx9ImIudGqFXMBbQgZnYKnOvY0vZxYdB
MklGU9Z8KDo9xHudN12JJH93H3N2mtnhNZqZvi9jIi9EZ/oBkffqfe+v0ke+eRyidcvQZ4+2U5/k
xYXKnIYnEYhCvI9qSeOnBCDj31PQJ3Rl87pWwzL6pijlQKqiv7Bpqs7JVVuDEz1tQtFk91zyMRzb
wFFWotrF6ItiEDGi0AI+Yk/l28lAZuC2CTr2r12bSNMUVEDiSuTVF4t8ChT0DJ5FCkjbgXSt1N9M
p0QObl+IeK8CR127zLJ7Ogz5UiZcXsqkZOeqDf09UfTb7RFd1/qvywomzTJ7jWOpmZNKXjRfwrMi
5st4tcpiMcs2zelaxM3VjWX4RdwbXxaASfA+WKYNCSeVbqOInvqy/hHPubpvD9jBNwhX85zwoLko
VI9BntPwc9wh4ZDn9wkApJkddFO66v0q9Ov/x7VrILWLTAZ05vF+vYtwF11YJzx0hlCB1Rf1ReA+
kWwikC1/pSHDDVBHueeveHzHmtihttETNQptTXf5wwxYjOIghFecFW9HQIqA2Lu9wxyWb4facIDT
XrC+vkRFww8ahZs7M0A/O9OralkOC7HVxSI1g59YMHWZg3j+wZuJPsF/rbHsugZgHexkmMfKxHUN
19UVILD0F9B05fwQ885bOatcA7BMnAQ91Gy1aC8CIMMKkjozIC5hRO4i1MaGsqw8aQkISWrSXOZp
TN6RBhmUJJErLsQ1P5ZtzwiBtzIMMPsaIoPeVbJgCVCWG2pRrWxVRxd2YI1NeKpXSQEGyA4yvHBQ
40F0guwQL1gL2zuWwI6oFdNcx5Pp2kvk0eCTiLLlsYlEsCIn4GrdsmgWt7LoF11fiEzwEFDMi4/J
KLtpf9vIXO1fbfzV5TYqwsSvcbW6BB60OxIZ+r86cZ/CRprZ4TPuiyLo/ai5jEmFginWQ55u02ed
WLurOVyRHTsTFQ5rmc3lBZW543H2EDQ1mUpPwaieFlAl7O6bJcuSqRT5mIGU+0PUFB/Ai9rtkA+9
i2Mak2TZsMl1kyIAKC5gyNYnsBx2ZAOtHrDq3v541xxZNkz6PIHHFuqDyprH0UNtsabjS1c2Hye9
KknsuODYYn1BEo1Zoxt5EXnJTvLK06uBbt8zAQRxSuPPXSXE4a4B2VExUcfFlNKpvESkmrfIef8m
Jp8fyr748OdlcLsXh+uwo2IFEhd53vcK1N903M2e14enIEfucgOpqGhNAc/Vi2XfCZnKHjT52MCx
pttRpeOuwRG+aRMoXd4eiMPE7cpIKnAL8CMwThdIxvmH0aM+FFxA1L2WfnF1cB3bKx/Ce51Xk78o
qBFDhJrI+F03IK9w++sdu9cOihEZLr6QibjMV+hHgMP/qbgqzxa8MhsAftYgkG9mK9PMro1UPrKH
A0CWX+S1uGcr9bIg4RojR+LhUtCmrNyaMtSnpsw/5F3yfHt0DrOxSyVR2jDNIiN4esw1MiNgNX8c
UdmF5B/eOXPrzZ9A/3sXJxWGaDmCIDFUVFMhX8wypCcySKSXm6ZaGYprF1inuSwb1UwNKS9Q7Yni
baFbSFKzgNB4xY85OrArJ+nMQe9AVXWZQ6HqD5x5hJ2zIQrXNJwdi2HXT5LY93yWSHmhOAGPAu4E
/lEcTFCwPcAwv6tq9QXtGotl9qYhS1ZGHLobXjj9hL6q3kYZuTcmY9dSQswDO9kE3QNjzbeiVMUm
iEDE37dDtRKQcQ3AsvliMmnts1w/MN0+jhxS6jGCMSsr7VqIa6evHAqUy2uN7JF/gYDdshG87LJ3
pKgj3Azj/ULr7KEMBnaXhnGa2VJd8zKqwRN5hTtEPg4bxYbou5wMfZxiL//ntp27pss64yGkxFOZ
lcWlwQM/3kEZYy43dNHTz9vtO46RyDZt1Ugw8eUDbKOWh0QN73Wp1CmdgSS+3YNrBJZ546SdMADR
PXDPr34keRN1m7wX8r7Yrl1WBuJ0BL5FM16MKJrjPCfPDZnE1kxlt5WCq80AMrCVveuYLLvMjAvd
TgMb5KWo2LK8ENOl8kwpyLG/TKXuq193zZhdUQugUEVnVDo9FAkEv/1x3pUKArS3G3eN4XpcvjIR
GYQITA4zuSgFAS2q8mMlqs9dgRDM7Q4c621X1GpgaaZxTPmFzLReoLwcBT57JMQrxpUMtGsI155f
DYH6MjCcZcOl6Of0R9DLYTcrlTxMA9TMbg/C1YV1b09mBFnxzFy+QFPp6Q/SbKqRv6lL+JLbPbim
KfjvIII6nDoOVcTr+8wAqYGFkTvKhflxu32HK7RLaiEZqaui4uKlSbPf+Ri/o0HebaTv//aD4Yvv
92vFo66BWPbd5DOf064Xlyhvjf7cSBFAnqSsjPz39kgca2EXWhpiaLYEevlyTdMiT1QhUV4DdIYg
1T1QkDSz6yxZIOcIauQ5MrQKwiQmToZtC1zaXfKaaN86tFlRJSlFpeJFlUWFIYTiG1LM9x7aNlk8
iInnPG76+YtUyU8V1Lg+ZYi+HDNi1hSAHItsV16qHJWniZ/MXzhdRLCNSDH7D6H0h2TFpl0dXP9/
ZdPKgDA4y9BB0VR6wwxpdsucJCtvAVfrljmzsPX8vu6nCwsbIOVJl2bdBs/9u7R5sMCWMQMnChaK
KeIXWc14A2hmiuWY50N6ZyrRZo4nyiNllizzF7Ahyvdy4dFv3HPkP/dZmGXCc1SljTTd/CVY8HgB
/32/k5qHmzDAQ/x2F44VsAsvGzJDEqDL+aUJvLbcAkRoDsHU3+tObe54BEJI16vRvGcSflp6utgt
hBf3BfntAsxxXHwCbRPzXufsKalSsPNeyzA1KiVvT4/jEWljI2SKlxUorvv3oBLTG+oF9FxnoVab
lk5y32TmU6zNfGhE9qHvGS9WunW8kW24hDRz3ZQe9y/JCKmeoJ2rnQL142OTlc9xxcjK9LkW3zLu
ZKR+CbvAleCaVNQNR0gP+pTJr9uT5zggbN0tlHspVqg5/85VaI4NHz/RAsTJVLNvtztwfb9l3ozV
rEUANcGz4nqjoe2QpueFTma57870B23y2vvxJiYUuhwXkbZJ9GQgIc1fMtXRZsW9uqbItvAxyCcQ
FPXYwKhxmpHP3/y5Nw39anDN0YVdqWm6gXhQvp4vXCXQGR1D03l7QooGojed4qvKQ449axdtyiqM
/LpNl8uIwMER1QU/CrE0HwGw+epVCCPdXnLH9cmu3zSg4PbnaMy/J0MsAZ9LCn/Ljdf/iDod7RXp
1VngUnKfgdiiXJQmiLrwjuF86sXPIkZV1wa8scvx9mAc+9eu5DRLOXpVHuH4a3ufbmeIzfa7sl7o
Sq7BtfSWfbO69bxctfl3CdJAJF0Rws0a9aXsZbxiga4erAMcpKjRSPvYvF9Yp+Jd1JqE/RqZ9rIt
wSO/+33fRFmGTglEA6Uv+XdC2kR9KYJUlT+qsY3z+wzdZr0Pmn4aEQXOvwcp1zvul2TnmzVxLJdl
WEauOnDP4EjllzmpfyhAwJsaqc8oqyIAzxAbvGeOqI2AK5auL6qu875prstw3yCDO2xTHzLou9sd
XJFrfwMEAJn571UwInAgi2HsS6T9fwsPYQmEBN9dU/fQ2DvNKHE8+FG3snXfNg1qQ9vmkkHti5Th
hXom3xge/TN5I9/cHomr8etCvXLrwld+mvs19LgGf/lNSagfhMfWAC6u1q+28qp1wpCKVJCWeC9l
Sr9CW7EPtzUUXNYwAa51uPb7qn3gY30kcEX+3HhNtBEFaIe8bsMnRIYMXjT72stPQzWsQWXfNnFq
U+UnPo8zpO2Di9ayB9Q3HPeRLKpN2a7idVwzZpm3rlpoSDV9/ly0iXiQuvPO3dys1VW6BmCF0oRE
mccARdbvANc2p4CZ5CFkC0G0rlgLS7xt4dQmzucCwgpxOHvfeDl07xpUuu9YNk6nuRvZMaXeSuzA
MRIbyCaMZyAU0UcX0K/FckO5hOZ20yf1xgPr5/fbxvH2CUttKBsrJCRelxxopqYq9iTh7SYeg/iw
gPt6UvzoD2ztdu2YNhvUJkw0jcOIlUkUvK5fDuW2SEJ69GJUQvrtqr275s2y90gDDlyxpvgOHiFQ
t87M7JcEEYUsi37fnjRXD9f/X9mkgk02JMjM+0bjEUC9dPwwgCJqs0TV8vG+Liyzlyiw6CBPH1+C
Ehng45jPi9nOYNhqt2W15JfbvbiWxDrQ56pDkQd0F793Slb7ELthN6N8NzZm3qbI2KzcfFzzZVk8
4HJArea6+B42XbEHPps+emP8GW+5VUT49XR947iy8WxBlbUqnhqch3r4HgQIoIOj5IlmyAQ1E8jg
lPHic839f30eyKdeF2v4WYc3o9ZxT9Mgi0klhvcQuwpQHCWTF8DtlnuoIlL6F66t7BZOPF6iCBMA
nrzKh11Z9muSK38etm/Mmo1pkyYZoUiBKrs/CqtjupB91Inwx9KR8AMkuouHaCiXasPYrM7gngK8
kin9QnK/2vO4gti1Lqtnf0yeQQ0B/ZCMe/fhcoCw/K+NjZnvmyX3k0uAhwXoJgB7Fpseb5o1L+5Y
OBsGV/R9Uo0z7d8n4egfeRb6w8ZPARe/79ph499knHOwWXbFd4mO0o1ewgWsUa0aV26AjouBDX5L
QPQDDG8YXHhFyIGHub9Num5ARUsfbFWd/zYoo93iiZSvWLFrwixn4Re8D+lQllC4KWOkv0JTC5AB
gaZ8ZUTXpX1rN1puQhCK5yuPEH4ZAbhjsfnCy1p/RK3eJwin8d2SMbLSlWss1i2BpKrKY0g8f4eS
H4HiCBS2tpCUq9b8kat9yysYhAVHOqXeNyqbYxTFw/vFY9mn2177zcaT2L6jQYWU5EvMxZmTCawX
FeAUisnynqlB69YqJF0+LP3oDeekz/VOljQ+DjUOt/u+3Zr4poNI8QDl93PRgLMuGlS7D1h0V7Ea
vt2a9iZLJtXFc3FumPdNhshoZ8td1DpJbF/HTBa2vO/H4hzE3ngsKsxLOMSfb0/LmwcxGrdeW7Rt
23GY+uI8L5Fkj2OcVRU7Ae7BGpQrd55AGSRfKiB0b/f3pqmhP8u7Fmmt+2RqxqOUPmJ1wIZ6eNil
8mM3iOe+N19ud+PYqXalQVFEKLbLUnMKvBJ1Wk24KCRERmL4yvXVNW/WTSzKe8CMBcGCJ2n0VXei
3ySh5Pt5isl5QRXryny5BnL9/9WNzyS0JC0k7c4z98q9GMBCgor4u16oWI3wv60Ln4CgE9yOJzMZ
L9oyEaTNATemuzit0H7w3/ZHpJWB+p6GsypbAHQZSmD3RTJNJ59Ea8SRb97x0Idl2HPRMlQ8l/MZ
4kLFQag+31wPId3ouw5U9GAZd8JTUB+E03CMgLmTWzlVS72LU+Kr+xbZvmzpAaQGQ10Np1kgg0fH
edNV09fbluCYHvum1bSMD4SmfQG1h+ADXbx8qwIUAgf3HWlJbF+YjBx93pULdLN6BJf/wNDqaTVH
4TAA+7bU5B1VcRTj+0ee/wRst95cXcXtyXE1bllxkaYlDeN4Os+IwAM3V9NtivzsCl7E1fr1/1e2
K4OgpDn1zSnx/eCSNCpaNp4O+Lf7Pt4yXsIWUESBNfVEo+XF1Cg/yQ1ir/c1blvuItqwyvR0FmL8
DgpJ8JZl0QroyOE77eIAvtRSV0E7nLRXgmzaL5m3iciMd2CLAH7cDypZGYVr81uWq+raxKgxUw88
ZcUj51nxnubXIjAFKdy7JsquFEggquvJbmnO4C3/MUYtPfb9HJzua9w6nWeTTlSF7XRG3Rewtybv
9qVXr+ESHOtgs26YTHDdxx24lKrqM8Qx0g2AvvmRTeopbpDDuW8M195fWQEqEVRWg2PnnARIuPOQ
VPusbFegG47rhF0owKIpj+JKDic1JGQjAoQqBvJB0eWIovgP00SO9w3CMmWTo1wVqPfpHLWF2BEe
ZdtaNR/va9wyZF61VboU3H8kBXsCkU+y6fCCWzEBhxOyqwRUJ7gf5p45SQ9KS1pTso0H/eu+L7fO
Xh0HjTIkGs4cidHuaPya+Y8xR031PZmxJLbLA6BrmOfpGI9n2kpgEzgpTbwbDOlWrnGO2bFLAkwN
ovihmkdYb6E2AHF8BZPCnY8CuxIgaCcRD8zgdOFLA7ocoQ+xB7Ta7bl3WG9s3aRJzVB6qIPxTECP
cmz0TJ9Y3yT70WflLg/bNYIs1xRZ9hsMKBRTZBjPkBWSGwPs3SZNzMr8Oxy0TZDRmDoN6x7zryNO
HoPBFO9Mjxdlt6xWgrq+//r/K/8TQDPNDzyiz6LM2u2YIudWj/PL7UVwNW6Zruh9gIuaCkBp42t/
afe6DnRAnmIy+m3w7+1OXCttncVqMaCcHfrxPPLyQ5LTj3QZvway/uaRu+g+k9iG+I8K2PgsEtiq
gx+c/gTcSBqvCd1cj6u/4ito3TqGyZiDJ0iM/TkCDltKeuAtHPWUHqhXPC8B2y7pXUVRSWyD/Ufd
je0MINCZiql6h1pvfzOOc3jfMWAj/bGXGqnHfDqbdm62lHBxyKtiLXbjMAZbJImEBYKN4dSfG0pB
cYs6AkiL9tu4SJ9vbyRXB5Ypa1SI0STr9ZmgwvQjr0S3STqk8pKpX8P3O/aqLZc0eh1YlEbCnxqP
/wRiGlHwFsWfrUnHIxic1iheXd1YRq17LzA+zOBMkC08N6WffNMoU9mhZkEf2+ZKlH97yt5EZmE/
WQYuoxDyfjEOIBFLkj4qUy7vSYukC8rUkrLaNhroh42kku2BtDXlJ49Neu0Aca2XZfhRIjqUMKvx
LGu4XpBjLRvWym+1AiTl9vBcPVgHOA+LJk0g91tsOJgpKagqPo016nsGwdq1CgDXWlnWH4RtEIyo
aT6Pjax3jJkvwFGNB63oU4633cpIHJ7YLgTAlY/VPWmGc9BN5l0hNATkFsgY3xkEsMH/0VilAATh
GEGlj3qQoeJnj6y9Qx1T9Bfk37A0avJRn1GgC5jfguTRn3ugFB1/Wqa1YJ9jtW1BLTy6pjAgMVab
ImK5DZTo9sKj5S4WhK24SFcf1/9fHbfAg+cmXhZ9LsCx9S7Is4+z38fvc1T737VlQ8v0BVK3Nc0C
BOq14T9ZgnraeKDVdgA1++52F67lsIw+yhFpbfJWn6+ZqD2jvTnIFoXfZMKROAK3utKPa64s+1Yg
f8umQuuzmXpvq6WmezPo6ty1Vb/ivxxHr10HILxYpcAC9WeJ2qGt6pdqxyKk0xKgF7eABZ1z1fE9
+GPXfJbLDi1rb7rUq4E50ucoXMQ2SAPk0Ya1klTHwvxVC4AMRC9IPZ65RoFXM8pqk0RYGI4yGYg/
Kb6/vQEcg7ArAkzUjyxoryEtzxt3BYnLPVRC15A1rlFYN/egGlqvngNzKhA2ewpaqk9SAVTsN3H2
McRz8Pn2KBxrbxcG0GlqCpGZ+RH6ZBtTN4+NPxz4MHytldn6jfi8JPV9T1i7QGBGAWo+xD2O4p5f
EA2ct2G8WrPkWo3r/69cCjITy8QhfXnmHQjcOZHDZsjug44nsa3MBB6PEKANMEor1NodwOwRH5fu
3ue3XRpAShJWgyrgrUhdVSgSROy+iIa164lraqzzeyxYyQoEj88zlHzes9gXD8NUxKfbG8jVumXL
sm39bhqvrxtAMgDsxcTX/D6OjSS2awJkyiIt8xITz+NxC6k7vgVAtd5Pc/77ru+3qwIKpsCNx5fl
kdHhi1hQED1d47y3G3c4b7soYG4GmQ45cI8bzH+8KYBp2YNC3GyqXK3RqjsWwK4LwG5l/lUd/U+2
jLXAjnj+GsrL1bZ1UAP4tpRE5cNZtLiW0bFLoJqa/u/25Lgav/7/ymTpCI7LVgTDmaR4ynTptOxn
QdYcqKt163zmbOn4jJq/YpNkpdyMLXI+0OT+ct+3W6cyHH8EplE1n0doa+wLMOVsZhX+c7txh+//
C+oP0ktKGnPdNSNY04PCL49zrb2tIkl/Sem9bu0P1fKrFUiKwOeUjuhopgnfGq6hbzTdV9CTxDbc
v+kaXsc+tiT8mhpACxFcWlLfA0BE49cD7dW361mmadrX+PYCfON7OoTJVtIcuz9FDffthXDsIRvh
LxupAMu9LkQDHrddkHbwPOUqe63DO9iQfnAv6xr3hvmsVPosmz7eCJLl21oXxf72ABwvUxvVD85s
H4k9BHZ1xn8GEW9eWFf7emdYRcF1tzB+YhVqWLdGT0u/9bLwrnoxLI9l3CSKUWXPu/lokMnfkpGG
29krh90Qz2s3Y9fqWBYe1T3zOhEUyPoN+c8i4HIzTZjE21Pnat2ycOD867KvlhkABJ/tIuRE+31I
QRS3sjQOI7dh/o2nKypqfz5K43+gbXFSYbBNBvB/z6w83B6Dqw/rbJ5pE7ehpzBDLJNiU7T1D4p7
y6dIDJ8Ghh+3u7neSf8O3UU23F8F8QL2q2w+gsok3UQteQG7rPfURLJ+aEs8u1pY6Epfb99XIxv5
LzoIu2QLm498KMAJk5yv+RyO0GCTRvuZh//0/Rru39WVdQWHkoE/e2EyH7US+8DzPygiEZEkR1PE
zzlLD303rDAUvL3ZIlsCKkLBRx5AZuDIKKxlBtvQrivHlSl7281ENrVtoLSY82ph+QbcHSEqT8M+
OEiedrvJB63eypveNYTr/6/8MQ+zQU9V772LaMUPygv+wW1c39m4Zeq0RNFp5KNxFSN7jbP8O870
NWVp1/a1LJ3V8cKEMiFYi7PkXRQ/F8Z8mY06D3w8LFO+wu7+tjFGmXUND0DOoVsTkmPQIMlGZfzY
9NEjqKDKLahhtrdN0dWJZfFBJ+bO0x72qKo+02L6OjbjTrTxu3WzcCy0DTWbI41gU9z4RxUmPxPw
RGzScJUJxLFXbahZE/kAZDUdhJnlFbJLigyEZQXyz/E29rJ8rZDENQbLtJMY1x4Oxe9TkQ5fApk8
L+2atTl2k40qi0qV1JMK+5Mup10kxPM12Rxlv6Ad9CMNhhWbdg3gOn+vrM2kXVs309Cd5ICcpBoh
SOfxNdKat28NEKz6b+NjxvxRp0l5EnI8BAjK6SX5nKAKFEzFO9TNfpK0fvSWYeWUcnVnGTdn0oMK
ZhsAkzUDAHYF/bEm2Dah92Oelg9Xb9vC86Z3JuQiG3Empt50lDXlKQA94Y4V+e80KNdYIV0rY5l5
ks7jFLY+XFWbhZ8ZRHc+eFStMZa5Wrfs2xg1RdEs5RPQl58CPx2+ZxUohW47jz/V0G8c5DbGjA8M
dJ8gPXxSwj8GMRCqAKwk+4KXCohq70eUl89Uo2ABoahuh2pL0BjrX9MMGttpWE0mO3yAjUYTQbB4
KS5HT0Kk/GtQmGDLah943LYOVyAhri4s+w8E5YSB5OudkP2wVeM1xk2TcNuTtNzfnkyHJ7YxabNG
mXbWJNUT6oTBIA9M1wXsBmwzw9kDLZ4yvkYT4+rJ8gUcbPZdkub8CTzlv0CCMv9A3HDe1ZL/nMZ5
XnlvOfyajehXOkZ1u1dKjKfeKTHsTYx8AJ2SFqqSCJgMCW/Ot6fOtTqWQ4hiiM3nWSbecX9BIR7T
wX5cxnCXt8Xv2z04rna2dJQAJqgEh4V8GuOgfKJQhAVB71KFh7oak598UM2nrg/jRy8lw1qcxjUq
yzGM3CBOFlHxTuYQghBeWZ6lJ8HXVd+9rS3vwPukTesemq2IUBLgeECOQnG/2GTBnambyIaycQ/B
uNwrxJME19iGVWOzBV8APSLYUq7U2zr2s016G/SRGEH0iPRw1dMjF+kZMSdE2LuS7ds6eb69BRzL
8RewLW4ZaQnD6muRHVS46F88jx7iEvCS2z04LCa5ju/1GT2RKsv8tnoiAaIfReaZPWDIxdUXgCig
XsJwX5etuavWN4lsmBvkFSefJCNWJpyAOk4aAZqZwe8Serw9Hte6XM+kV+NJNKf46kQ88WL28EpF
WhYyu0G+RS1r9hAS31+L3blmznYAU5ctGqbyVC49egHUnE/PGtm2jYnCMnzySQAyy9ujcpyoNvaN
NmWGOlaGyu4iAEuqzpG+q3zx+Xbrrl1mGb2SYvL7skDdlohxn1UNymFoM720HfQdb3fhGoBl9FNZ
JT44TOVJpOV50M2E62C6ltF2fL+NfZMTTUGNWWN2Rr/5GIiWI9IWfW6j1dPe8fk2AK5ApV6KpNaI
12nk/wskw7ANJVkD9zr2rA2AE6n2UZeYVSfR5T/ZmB6afDiIfjigKPJ01/zbFLi64xCdlGmLJc6Z
/2LmwUt2bZ+KNTo+1wxd1+aV3ampA9EcDatTMiTQimvaDRTvvt7+eNf8XPt81XYxTVnkCx9a4sTs
g2Q4ibK4khKfmmBNDO5t4b4kii1rFjjPmwDn7DsRjbuxQNq6KNp3LC7FBvf+adNBSis33VPZzy//
H6zRrq1rPeuDpW5DDj4QGPbS9M9EjJ+atk0/Z8Fdwt0YmGXc0OYEBKZU1Wmuxut7pZs2EEv/dntl
XKtumbWYFWi6qwyfjwt3ecZFKzstGMNdrdsQOAA008Er/0wOW4p3c4SMZk28lW93TL0NgePFkptp
oPh2k0D1zUSgU0b5Z7DNJzVu7hvB9ex4tXMVHfD+mHEZ2WgFzbQ/LwToRqzcQRyzb5PcisrPS02v
rSfQC9tSAZaJ9Wo91/xc/3/17VTqfKIkgMvggIltAOhZts2Vj6odwVxze34clh1Zlk18r4OkGyAq
GxVUn0eDUFMZP5cAV5bVGlbINUuWZRMO0n3h5RiHhEbEBjdCnJ2rwHHXLFkGrEUX5AH8HUbQQoCc
Vjj/oTWVb/tgVSzJ1YdlwrLyiwUFW+gjSURzQp3bb1pObGeyODncXgjXJFmGrLRXgGRToQuxpPEj
amGTcwsAzH23MhvThhKGYcD9yztGdfVcBMEWtKTfGhGfW4Dobo/AMUk2rE2XTdXRscIItAQ+oaj5
sGe6jnclnddUEFx9WOYc6SyM+zaqsRCcpf+TeRSq4yR1PO562Yxq5bLk6uZqLa8sDxLbXZ2CYBjs
4Qn8ns7Md6r84X0M1O6KY3J1cf3/VReV3zadVxXk4OfxKRwMpBbrnZ+vgbXe3E5xYJ+mpWI91I7F
+MufuuSomA9Wl7YYVxIRb3oNtG7ZXNijzB1ScfOvKoJQAATRymPaxeGRDvL/OLuyLklVZvuLXAsR
EV9zquoaeyo7u15cPZx2RMQZf/3d9n2pwynTb+VrPkgCEQFE7Ni7O+pJZ9c4Bcax/C6c/YLG6PL8
ySl6cjwaojzIyqtoL/B1y+Xi0oXTtTlUL8bC2/GgbPbVcB0eFpJ/Sx7zzQY3+RTKYcidV8/k+mQ4
0DogqmC3wp2vyk9jiCVv8WYIkschOL/K8Sdko7wD85F3HUCxcdmd3WUz/5Pmw9ctX8smdHQV2nG/
9Q0b9zSpTj4j7q4pxH6S+qVqAIYZ4N5JRY4eYwenN7+hGL6x9e/rY2J4ywdFL8qyJ4P/M3aA7s/r
jy5nxzQ0z3Ikz6LPj0Gf3S6a9CUnz1O9lSZ71y8xrOWXKmdkNCDDinSTd+iDTB0+n6Sk0JBXYVpt
zG7FPe1jl6PxuvKkz1+GNPVzkJ5VzYTSRac2Nu/dZDlmYR25/UwCSScdvjiM3/99iC+y98g2Qmd0
fm4Y/9wW6W3RTofLxrI2HysgqDxxk4JhPC2QUjKp8g/I1m+Ri76bh8NsrDDgscQraZqIl3Gu2uCf
FgfK8H2M+yA/Qaw2drMdWimKuTyVqpvNGYw5Y7jxbFus7T0nsGIEi1ufQwQj+9W7+shRnJF+dyxR
nhu8rarlyhD20ZwWbUhqneS/wPJ74DDmpRyUhe4e7FlXlRsATLQiBYS24yoZJ/ZCWlPskQmIOg/h
7qrNtyHnsfDTidSGvdQlFoVqZJWhIHjNFRv/3AoDDdOk7iZ0KfW1/yMFCnUHfvMtXaIVs7UZ5uXU
1uOc0vFFV/X9gLr0LjbXHi82utzvIQ2VzMP4ksZQBx0SovZ5oreSX2t/3fJwPQV97qA37GVy++Eg
CHv2p3mL5XrF4TzbnSGYjmbhfnxp2u5LVzcRyD3YbiIU+lb9U1XkwM766Rap2tpUbPf2nSyRuFhH
VVh07T51nLndh06mflxnn5YPo8wGukE8jF/+EgylPG53JhteLn985bywceRDA6hyMLfy0AEg9RU6
RMUhwJl80+k/lwdYWR0bQO7MtWv4AFYzyYCCn8OkbHbQQbgKXulTm1G+G1qUN0uJ/+8EH+p6UM95
Q7uNY2jFjmzYOKguVFPnWh5m4UKRK6n3KpY1CLhC72jK/ODR3nsEFnjrNbu2VtbhPbt9ms8Oxqtd
BqoWhzb3gvtXuhxdRn1z3RKygcpCNcrDOBRHE6rbqdm6daz9ccubK1EzMeL2fMhcAli6/uUZsWH9
awZq+bLr0DL36Ry+jHXg3YEvB5z+PgHAhyGpdtlE38/dwYgsDxZJDRbJWgY/lfFGvFkZcQJd7Uek
VcVHn6m8SPZ516LdYleruNLQzqqSXPYQlg9qLz9Ncvb4FiRvbcKWu89VUEI0Ems56PAQCO/kJCfi
extzXfm6DTUveDCYjLjlgUH/B+0uA8s/grRh+pg3PXEOlxd0xRxstLliuqjdEA026CMoTlNe+N8A
KJ2vKZz6KP//247ddtQqi6vykGiGTWIh2wH39Rlg5Y1kw9oaWY4iSw7JyyErDzLI/Kc6L4YDM50P
5FS/pdyyZnI2VXvuVi6bHJFEDZsFmmqSAr2H3m7uw1DtG7fMtLwPHKeus0ORNuVc7xNlZnffG+b4
9b6Q1SCu3S7LxUiXIJGZ5OyFtaYGSXmt56DfQ1OtJNF1BmE5GHNdZBpHKV7mGoR4k5ThlyqJxcZz
fs3cLI8B1/aAxoMhiVTbTzvuo/Ogzq5Kf/vUhnePcx3qdsibKI61DMApMMaPOHO8q/p38X3ramtK
1LJaGhS/iFM44YkXoyIgd04JWApBblay8rbyoea0gc9bnOS/DwLXBm51E/WU5/Z+xOvyc8KQlx0q
+XHO63rncPNVjlukDGsWbsPKuzHrEpb2+kfV9k9T7e8EHrx1UkIxorpPgmkX4FGMpkgUkTaA7CvH
9X+Q5pR4JAcPxw/JgT3EhfVmGuU9T8SHtCo/Li9GT7ONgurKq8fGnMeGcDGhx/oHMeae1/OjAE1M
4GZfIKi9McSKWdvg8rCbAlRj3DQKUrS7dIogSVhsttivfd06solourSo0PHqZfGQIrzgTb8PIBDY
F1e9q1wbME1hYaIb6y4qqBzTfeZ6Q7srab+V4Xk/SeDaIGkRiNRLg855QfYoeAK4je8gX6QO0vh/
+JTGezrjHW9ES/dhu9nO8Ldf9B0PsonSE4iphEDlq0NsgMiPI8lY/AxRiQJhx5HdIqiTLcnR7GDQ
LdnIQ0DTfvwxTgCU+Fjt0e3c+76r5+ZVppVxf45DxbtdEAt2bguaOslOVZDpy3dqdsLCQ5JIDuJp
oiEt5KGE1MoALbGhqeT3UCRoXDo6tMrUdCsGwbIvQaENYH5xA93614XUC042zaFC3wOqw6HeOUif
oFM4NTyeiq0K9FpYWY7SN3dLDlYRpiofAV5UD3na49SH66ULlQxrUFXabnp+325dG7YpqBjA1kDF
C4JLuKMzkLm+s9mz+/7R79o0gDNF0GqMJ17QLPrk1sEHBKlH7tGNCPV+1HBtTGbNk4wtwJ9oJOZm
Lgt+P2qnPRramBOKkxujrC2RddpK3nUJaG9JRGXv7NUMoqNO+a/XHOWuTQE4JIAa4K+OES7H4akZ
GrMbPW/ciHnvrz8l1lWkTSUf9eTHL8NYTq8lmmmcL+3QhSbd5QHLzXVZGbstRQZe2UOGJ4mIS/6Y
0gFtsg/Qx+UVWpuDdR1RnBkO7ILzgm6tWn0kc1eIr00FNqU/tWlIe3t5mBWXs7spkqZRlTOW2aua
+AfS/6pwdNeOuvmbWxZbeP61ILtM8o1jsw5ELCQO+UubjadsGr6IFnXoPq32KTyvRSnlFIf5icdb
T8m1aS1G/WZAk+c5aJudPAIW4EOs6gdoR3+Zg/KjaPJTL6etZ9baONb5N2qP1aB076PWc/+0ij/4
HFkP331OxupjmVzV84LOXsugUQHglRPrLEoyyJHMkL+tM36V2ho+bjv6DCrOye/ISxk2KQRqgTUx
THy9bF/vm7H7HyLf3Odj41fha5N49ybJ/lk+XQ9XlVt9126wgLCJbNssFq9EqxuafVqS04173fXM
tTss+IQbrUqL8DWuxYllWbODbM5vX4qPc7qZ11+Ls4tpvTHVsfQ7HMCjHwHHGdB/cFk3/m3g5mgI
u7wF719oXRuprgY9EUAOcFxU/PPEvfvFx0sXko+Z84Qew5uk2RpqZbdtOLpWxplV0E8RnSnkLfIY
wrRoKi7HLv4SGlD/3Fw3JWvNQjOmoqbeGJXOcFBd8CBK9TF3pudqCG+X10ff6o3VW9keG5uecSJE
r9kUEQ2C8Qra0P9DXn9ta6y4GMsQZePSmSIhhvl34KjpJ/HT0bsH7GWM91OMGwr3wmUpTdzqq84t
14anZ6FBQh6asq8BKYpd4AT1Lq8AGLm8Nyu3k8AKidqwdMiGmr2Goj9VwXQgRfgoZA9pCvLn8hAr
UdeGpC9yVdVgqimaNDjQwK89N/JvLc8FMi8tm40U0cqpZfOqxoJXblA13utyai0BHjKs3a5w5v6m
atRN3ruv3uSzU91upQnWJmYd+kKPjHf9SF5lPDxRnx/0xL96Rt4tE0v6qwTMfBB3/zvkgEmIsHog
Y5TMTgL+GuXspxY6j5d3Z8UAbEw6M2M8MdWE0ex46HdDK36v7qdqfMpSuuH/K3Vx10akx15swqov
w8idpt1iZOjdO7th8jxk3h1NsHC5uuv8HPzJUp5orDdy+WtzW35/E6yLNBBZUWPcdmhOBSGHlrC7
xFev7KquJeyNFRLGFMLX2VgO0ZCFkcp1sdMkuIrbGx+3rkXtBLRz4Ig+IgKw4YYWzyk0MHdkmn5c
3vuVaMkt53ebNgicXg1RBzELFGtoe5tBXvh4+esrx4uNPwd+zi8J2igjt6zkzifyK+rtn5fz+PL3
13bXugmNNV7Xqkq6SE/FCUWOp6Ui2kr/s0HNcsM71lbIcnGmWsUKFrQRYbq/TwtSfkaafguTtBKy
bAz6BBkgEbiFiNqJHWq/2ssG2pTucsk23sHPypP06u+4AJwur9jKbGxEOnpDlV/MfRB5TlnvMujn
7BKjf17++Eo0tAHpLmvzSvluG01MRwCp/LM4tvDBQ087/39IMq5NwnJqgKnKKo15+5pN/JVyCMR7
BLjGy5NYsVmbkVXwQlAzaD9S5cLgVIRdc64TJ/lGQ2e6JkcWCDuet22fyzCr+yfmuN7NEPTnvzIr
lyfw7urg48vd5U3IY3nemkRM9FtM3WcJxcubCloA19gPPr5s/ZuPF6UaHWmgrUMGJ7uXIvjY18rZ
OL/X/rm1r0Ui1SQh5vSt7ZChTsamechRodj4+rsbi7++/P7mr2eQdUYbX+g/JlNZqT9J6BfCPYVt
5hbmNBUNJNiuCRkYaZnfm5E6IKplHcbeDzKX/q2fprgPtk5TXxWS8H0raIOQM2kUyAy/FcSfXnW+
SDO5kyO3/v+y3v/JdeL79N//vxdjnKoQuo0KraTZrUzGzjtyd567D6i3o/cjHUWyVYZd23QrhmeC
xmi7rpwXWXNqjqSsp/k2pCBPOlz2h/dLEpiOFcF74MLpzCfz2HK3+5WNSnty16aGmhNdcqRoks1C
1F1EJ7wEgmU1RD+dAxp063zcD1UebMksrVigHezjEH0PbBzcb7KpgCMI4qK/A3wH5F9hzLd6vlY2
z47w/chkl2FNH0SFlE2Sjal7RL6o3HWSoZhZG9I219m5He9bIoFPMaH7LQslCx5YDg11CMAM8xaE
bsU27PYjhsagVOalE9GuAuoP8inBba7R3LgRzdY2xAoJSVJn6Vix4oyEoHPfUryrO/A3HrWm9Uao
XxvCigWMkwYUaUJ8FdwVj8SrOO68cTf1u2Y24HK/bONrC2VFhLIf+ob6QXGOe9aeqNtlR8dDovy6
r1vxgDiKQL++KaDrKEmMlOyMnpcAqgZXft8KATQLPT4RBTtyASi550Pp5TfJ2Dt6I2m6tjxWBBBU
URYzT90xd/QeMsXU5/9B9vLdpEAgbMw0EBU1bzMBSTNWqZNfM3MKJHj84oGqg9LlhOYwaBBv92at
2JSNoE5yPyz4MMUvpO+a7L6vpQ9mJc8l/ifHZHG2sS1rw1hnvYrLLE69VkGxPlCvBArEj0knvYcE
pFEbz4+1IawTP59Ngs2Y8rOTsPqr6oPyJknILHd5k2+UvlfioQ2NFtrhtXaz8pxNkEcyEhw7pIWK
lEYcLlEju87PbWy0IeC4ZEyX5xZtvYemBKVgJsrv/exeO4Ll42MRFELqOj+XnXH28Vx89qjg+3nc
ImFe2wzLzQXzRYfWufzsZoL1d+iG7tQeNT4VH7mTzdNG0F3bEMvbCw12XLfj6o5KM94ntZyOvDfi
Pobw+BEEM9fUlOCVls/jeK/bDPSIZwq2sw+yz8lxmJvhNnG7rcvwykxsDLSTG7dgrlOchb9kTeoi
3ufDoA5k8P6ETbNVZV3ZFxsGDcqQYEqHuTyLPKMDwi/C474mfnlfk9L5fFWMt+HQetYZmWgMvVM6
OGBT7b+0VKTX5GQBXlsW8M2FmDKaQuOoCR4SUzddvUugYpJ9aZ1yBgr+uv+/LN6bIeTgxX3idDij
wrbzdmXX+PVumP222BhgJcrbwGjA82NIzs7y6S+vcy8+ZjkIhcf0VpXxdyYdtfNcaItdNxvL1wvm
JO5Ut/KJgiZin7VJ8gwQS7uxHWsGZTk6uLZdNk6lPAOs191mJVghoCbwTbj1z8t/f20Ay8UrZ56h
YznJs0vSbxCucXZ/r1XAstCNlPi7qQZYlOXdULLMy7hi8pwZ96bpY6h0192HnHwdcRFtUvChXp7J
yjg2ULobZRWCjUqe8TaYfmgDFoW8KId9ORn6TSVkPELi4aqWhACYhn/bsCBuokqgms8NKJOHnZe7
zj9ZkTsbgXdlV2zQdEtN4AE2Kc/MGV9A3lAeUGf63ISbdO5ri2W5OTG9h5b7xvshmh5NiF790GTo
HyhdDWR88lWP+Va5eO1NZ/Nt6yBHUz8gOJH2QKtF+kYVp6KUnjmNCtqTEOYNfjWoKQMmggxCscv1
4LjX4gOxVda13jh+X8Vz0j8ZKvrj2A3es+vPxctlq1vbKcv9FfdzmSSOPEOTtNoFJcT/HLwjdj2q
wRsRZm0IKwaAKLEpgybun3iPPjnjk2eSBMltJYS74Torl24bXi3ntmkbnldnpbr0k3L9+5EBrXl5
hdY+bvk/K0OnK52keKKGJHjnyn50vWanUDu58kSxMdNBlpO0SoU89ySV/6S55HdOWbYb6NW/EeSd
JIuNlo5FPUNSQ5MfYLXy1AGof/DC7MJBzAIMipNg6tylmWq9faWKStFdnWY9P+YgD0K5lHhQgjzx
BnzqwQf0X+tifECWj/l/ZNigp3KHenGTfkPPtOd/0jWS8J8Cp6H6FObt+DzmbWV2HfAWCTSGcbkr
5xvY8UzQAE2IVxSHcphHrfc0rkId7JTvubT6XFadnNJfCReapYerNtKGdUvTOtOYhvJsOmR/fN6a
o+y9z5c/vgSe99bYCkiZM/h8SOcqgqBQvac5Kht7g3vCrgQ70k3dhpspsxV3cpff31w/4hIddiEK
BZHx+FdcRiAlqAdg+PWWYvxKbHXtgCOclKq8Lb8niTR7nkrnNLoF6KdrM4dAWfL2V636ZCNXurZw
VgBipg6TmuToJx38f0zqv8YD2sL2ndc8Oh0B5PLy/qx48d8m3jerpvw2qAzXRSSpyI8QruK7CcQm
GyFu7evWLYSAkSBse1lGI3jpdkWoplenMerl8n9f2xArApGSeLzno4pYNUEAibQ/Y7Q//myrih0X
jz0ENaO/Lo+1MhMbjc4HapwunOU5mcY+QM5wkOYLz4Db31iqFfO14egUkQbEmF4eMTHzHfFwkY3B
lbgLzaZJrQ2xrOObvc7yzs1yrwof/mrMQ2/+SWRpdXCCzUvz2giWt7NSUOA+iDz7gelPAfqHboFO
HfaDSoPDdRuxDP1mEn2ArrkQhd6HIolv6YAHa8nDZuPjKxZlI78Zjl4kWpI6oqaOd4X2P4MKTE67
uEC9f4bC837ux+u4FgJBLBfXkLpOC96SRxCcx+Qz7erEHIXjDOp4ea1WYogN6jSyLnnX9HWUgV6a
hn6pdqiTx7tKj5/Kwb+2gGCjOpMMiVUn9sSDStv549gK0IwHJB42XhprVmX5OeQPaFfQQkUUL/rj
2PCHgoCyIJNbasDvOzcILf9tU9xF+xmgwEWUEKcSu7HnVB9AhbGVY1v7vvWqoLqZ43HKikj3RfbR
6DIL9nnTAgtxeZ/fX6DARsbHA/PKmoVVxDtSfuAj+Gtki0dLiZB4eYS1GdiOXaep25E0fBhBfXGP
fjznu1ddp1IdBDaFeLswnDXecgMJvLjeBV0XdzvqT+OGH6z9++X3NzFDKcgggJAe0FYW4vmo0frc
gGpdko0E59r3LUcOStqiZcCVZ8/oX5x44U445cYt9X0fDmwca1wmxkFri4raetK3ie98ALOoOrqz
98RFenN5e9cMyDqnBXOKEdiQKtKjkF/6dC4+MQZk6zCI35dHWFsiy4fZwI0q0qRCnUeLI8vL+mkY
C73x/9/PDEHP5d8bLPoamVm3ZI+Zn4KvgiadCO/w2wyxP1OAEfPkukVTHLk/NuN36kHBawt8tLI/
NuCVhaNgST2pcyKRcAZ3FDgAp+HQAXOzd8Smwv3KDgnr7OZt28hhztkjCWn5nTT8g9Bz/bsZN/Ms
KztkN6jFXIWmCUkaMWRXoP0JzY7pwWMyLm+vMgGxTO2NF/aQx8k8f2AAmIMv7FgUaSj2SjRbJaa1
JVom9ub7JuEpFV2gzpmD9/RocFprr3I+zHFGNqawttmWo2dF4sTzrNOohZTTUQ/g5gE9UPsYQIi7
Agr8dN1K0X/PpEX1vyfKS6OEt9Wd9nxyF1a42V7++to6Wc5udJ451ci9R1YG3jOI7saTIKEpd1VZ
/bo8xPv3KFxtrAm4s4/GqEGdR1B8POuA6g9krPWtilv1umhW+g0jGy+YFd+3sdqCou8KVHrhAxXq
frkU6lrd90Y7e8BX0t3k9F8A71LXbY0N1x7zqYgr5WaRBijB3GrkJscfeRiDTvry0i0h678PZogM
/XvpQJfkSzAru1ERhr8Bz1eB/6CaargFOcR36C8Auuk/BHzTpFfc3gZrM1Z0TecnLJKiy2//Xg9F
Mc8bm7PiMIHl82bOCxmERJ1VULsVlBLZP+6o55sQLVoPlPUbh+SKSdvwbK7jSaFbpjq3vkenYw10
ztGRcopiXYmttsq1QSznb6H3C7PK/aiFclO7Z2nrTgfEsiE9eqXD5EaMWdsQy/mLIIih1eT6Ec6y
9qDL2r2BPol3uGxeK55pA7RpqCUWy6hIofvxrs/E8JHrOgIBuvM9E2776M7ZFu/F2uZbUSDhgadj
kFzekYyPR9GE9SMwWPNHOsX5AtcWL5fntLJiNpYv6Y0DkEqrIhQcK3FMCC/bPVcdiPAvD7Dikzae
L5GIlmkfutFCKcYGMC1LQW541TyqvLoRFGHGxw95zTbKQ2szsoIAKAN11fqzF6mZIa3OBJLdn2Zg
VrrrjMwmDzeuLrKJohtdQHHojGMyH3ahCA3d8PsVX7GRfkkhJoYkqB8B2S7Hg5pNmO9MF+rpmBuo
Buwvb8zaMMv6vTnyqSzBRhXndRQTp9sbt9SnhT/a6+srr3c20K/wiZGqgL8YNBfe8UUEWwzB9CUm
ENaZJuFumNiKr9iAP+WF2VQ3Zf3/GImeq+9g8ZpvK5X2u7Eovl9er7VRrKNflE7j01IAWSuK4pfM
EWDGPMj/9BnYc/N+C8aw5i+W4+OTIFwrqRvJhL8qDsrnIXws4B0SiElFvHtA3T+XwRZp3YoV2KA+
7pZzWvshsvXx5O9BxAfodhH8BsvVn8vLtuKONqBPFVPoZ6x1o5b24QMHlc+X1NdOd52z2CA+2bdN
PoCF5NxmkNmgGZs+VHUjnyEzvVX+X1uixSDeOErrO9BjMwWPjNMWr3xI+I10SghXThX4Yi+v0opx
2bBtNOf3xqRTdU4M59/CnLCvqgGDGUQDxp8eQujN5XFWrMu3nD5uSjdxQJoTKTd5zUh9B5YuyGMW
2Slr0t/LNQkM448dSM03cCxr228d/DrzAub5yDNT3w/LA8R8XHmHBulNibC1AawjfwxUCykqU505
siDmXmngXoGI9WXx7fKSrQ1g+T2QQ6bWYckjbsJyHyeOj1YsvlXIXPu65e7SDVXTiiS7g4hLcsgm
bU5lBpDX5f++YlY2to9IJXoILtdnlY30KRNEPpcLqyvJTbOrpurT5WHepy0NAhvSxysPTK5o9TiT
sPqVxePHcZIfxgJdDUunJNHmx1gWaNBR5EYDDCLCFCwPmz0Pa7O0Tnzj+Uk/zngxGTKZ08Jgz309
3CGxcQquLQgHNjcqyCtQpYXOzZ3h1fe4h5z1QjF4eQFXrMBG+fkimDOVifqce+zP0Gcd6DE2Cwtr
H19+fxO/WFs5Jq+EihYR2QTydgbO504V+33dn7dcvB2kBzaoxo9GNHedxOyYm8Dtz9d93HJvE1BQ
BEO3MGIpiZ+zZpaPk9gSmllbGcu1QWppuOJOff6LjAFVSbXzmNjCBa+cGzaEj88BbSedVmfdeTgt
nLTydnE6DhxyJuEWpfWa69koPvD4JSwQsohGt6m4f+Q1SiEP40Ca4BbN3mD52QEKAMlXiA7Jpg52
cY7e/iOwcm3+kDRtRT4PJRh3v4ygaNm69C+e985D3Mb8oWoN2KJTV2fhFbF3w3XlN6cW8uDtYepp
+OD0GkRghOOWdtlMVhA1gQ0ATGZo1ckSMaBN6bwjacC/OTyIS1DUMAN12P78N4miWZffSF7xh7hr
t1gZVjbaxgem8SgA40jrcwDu0ZvSBOxUFfGOoLJ9eXYrdmpTpurSn9xJUnVepEjdBc/wldTS3YLr
rf1/K0D4s99USM9VZ5Ds1E9qqMrvKk6edQOOjMsTWInQnhUiaOV3xvd6GYHJjx6pW36WejbHokME
nYp869EsVszOChYyNQK32VSfOUjM79RCmQomPpTmnfbcZ6w/tjLep9UWTcaalVvhg+mhCBPQ2UZw
P7AIl4tCYqHFngyAIs11eFv14Mm5vIJrJmDdE6hGP0HgKxn1unLQ+GPUrzlxUXC76vM2UDDlY6+A
AFdnzw+8A0+N8wiRJ7FhvysGZiMDi3rGPWcS1TkevQ508inUXD/NgLcQJAMGd8sPV9bIRgjGSI6y
SvQ06schO2QJgKGDhtDadUu02PbbY9SnRVmovopGqGcfRkzFuQ+gyi2vy1vYmMACSPikBEb+PIrw
N8jQ8/9B62rF/2y8H50aTefJc6Mez/w7UEW1/WdYb+rdxcwVbTRnoEW6bpksV2dl1vo6BgljHxTT
PVmqk/s6HrotIPPaVCwfJ/nkl6lLgPVoOCQ7ur6AO2TeUH+fShq3nyYFtNSVXmE5OC89j1ZTXiMw
xvEzAJpVhNtzv2FQdFmSd05Javl0PxZZVdUjeZAF7Z6lg7z7rZtD6f05RRsv+9NXfPLnRWrD9N/6
MeGef0spa39yrIAT7vtOmvJPHAcTWtaEDgv2QkMXJy3P09QcHYeO6hNHQWqqjr0e4t7FfphMfZFT
P9ZfPTfxGNTvZq9u7ii454KNia34oQ09BPlGw0yPjKX2RnpsazeJXCKT6wrGNvIwK0AmV3bajYBg
8m7AvFLyM17js7tx41x5ItuQvjEwxaDQafvQukDdjQwZyzFMobxFZojEgVa1mMUtmHM/dER+v8pn
XCu0tMhapBDw1GcVav0cQ9Dz0YBL7HD56yvR1wb3JVCO9Vjs0whKZTl74jwek1syaNfbg1pZb2zL
2iiLMbwJj7MzQmYe1LkRsknOKXFHcoRhDh+SvBw3QsvaEFZoSVQtAMrh9ePA8UweqvQfOYJkEtfa
rTLoyoluI/pICNAvkwapHj/3dmLuybmFjM+JsrH/EPtOfdcF/lVEWEHwl2zkzYr5KQHxI8El2Z1Q
ib71K8jffMlbXU/Hyxu/5odWfCE+SQrQ3NWg+UQnww6CuulXR0lo3lz+/oqn2Lg+UJi3I+iXEB5j
3u2LATpWJBiOjLPulmYK50x9X5sq3s0dLW8uj7kyJxvq1wsJObEpcCPwsaK/+xtoeX5e/vKKddnU
r74nwXTm4QWhdci+C0dM+4oqtZv16P2+PMTan7f9vETzRVvhHkSJK/I/yhO8/6TBVrd1pKwNsMzt
jUnFVZ0HBMI06CswND5Q2eJkcGSab9QK176//P7m+yCB84Zuquoz7vIDPQRu4MsvjhdfW8CzYX08
LgD2UsP8/7cHkwp+GsvNiuraFlt3B56PVSBBU3KO1Timhwn0pbuwmNPmCLLTLfqBtaeojegrtOdx
WjTto5FItWkfZY+M4iAsPK+/aV2g71gMPcJ2kuqTcd1vlUm3Ug5rHml5/MxlRzqwwp9H7RZf4yqU
j0uSF6fLxwpkLbsx9sM95CTAaTtW10kiBdyGAI6FjEEuo3ikOlT7jgUDJ8WxmZqr1G3x/eW598bq
+jykAR+zAPJA3rdkJH9U6LGTrNRDgKTpRgbhfdvg/8EBahmSLkM0BodnskdTRrinXVjf1Qnbmsf7
NFKYiOX/CSHtVKTaRAVp0cIr+SF2ITarFgMossDdGUr/GYl352VO1JV4SlYx6GeuCT7cBgpmABOT
pGuRIUmCyt9nXuk6x1SjlH3lAFZwYE0zhyC2RwCFskK4g/HnCBFEbjXNrTgWD63z30wAcuUjrNsz
PTmUS9OiDNF2ETr+PaRZ5t1AlPkyuvH3hY/vf0j9rtmGFTfoqIdhQDPJ2RhHPhM1qHwHdWgWgO5L
p9ddm7lNjImnn9uHOZLofdGiH5fr5EMe1tMGNub90M1tZkypelmzpG0feYI0z66X0D/aVU3mb/jP
4oz/fcxwG0aoeQLMYNW3jwrFyl1R1h8Tl0CtMa++K5BansYZeoF1v6XevDIdGzpIKIHanoSxhZWu
nhuR1r9y4FWOl31lbTLL/fBNxAHiss1JT9vHhYqPsSy9HWl/XiqwCw+8aZvsMNVbaaQV67LBg5lI
nVgxnEpGKPLct0B3iVqSe+m13eHyfNZWaxn6zXzyqfJw+wOUiPq1W+5m0n9I03j+c93Xl1HffL1D
Bi9ZqEvPxMkg093Hzq3nmq3/vgTH9wzL8npkXFSB3pr2EWwR+R54kd8L2V5Cu3OYbBbK1vbA8nBT
tDPgdoN+7CtfHYB9q3c0RwbdKdAKc90qWckEE4PA3MkRf7O67U99iQbWJVRd93Hr4NeDbgrWUfnU
e9lvZtAFo/sthPaKM9ggQTzm9cx0YB7aoINSRcPb22T8P9K+rTlOHej2F1GFuAh4ZW62Ezuxk9jj
vFC5ghBIgAABv/4s8p1T5U/bGqrmPOz94FSh0aVbre7Va9W/ZJ6jXFIBQ5uIybsZ19Di8mRsA65/
f3OeoLmIkZoZyUgdPy0jb6EjjK7YeIbAbAOGSrQSjftw2Xp924YzjH0AzLIgEbLr1GO/Z6lSCSJq
is/j8XSXOfW+m7aQ3O+/L6kJGKxlWLRRQuqHNSrLEiCswYOxgjuGwnvZhkC9HwZSEzlI5orWkQ/n
GJQEWo0zRzgmg9RJ4te2Caud9pL46DU1BCbjLSipxcWYMELpJExkfd/d/3OXg8YLHWXN4+UTYVs3
wwcAy9E3XiXUPbpjkpRNUIT9p6uYNzolvdiXSMdcHsl2GAxHsKqVtTUyGR/nDqgoWenHVhW/XVn9
yqb+i8DJqIKt1hnbWIZHaHvZjSyERygX+THMJr3r6vg5oN5JBuUnvfQo1qJSfnlitiU0PITrIxXe
gtX3vob68AFyQX9UmDfoPW/bmz5xUbYCmeLloSxHwcQUDkM3zayu4elcJtMgque7ZlRb0o2WVTMB
hRkfI4Vu1fljGwwhzgJocdbUw2qwMvPpzm0CyCrVG77INhfDObA5bsiUI6z5dzG0g9jrdtgia7R9
3HgPyLIXAHyAlGOG5O4J/bxjWhQo71zeBsvFaeIIoaUMtuCMIq5gUXsgNG93PagG4M56Vad1qcnz
dQOt03vjr2XQOblOtLp3VZzsKKz+/93SzC2fLo9huaBNLCFYEWKu2nWpxJynlItxTxNHpI3Xs/11
QximD7lm3fWj093XsqHVLu/0mvNHz38758tGO94/qax3ohlq2PzctUTni9vdQ6zLG46uLER9V+uF
4J03KXBNfENDfYm6NWUOiI3TXOVB+cttc7d/Budp1mZ7FwQ63aGWc+TsymxCVv+6+Rsegjo8nItA
1w967ptDCzGq3BfN4UpVqoiaWEMgmlGycRIgzfEQRWMr2L/+iCnU3y7/fst5/w/S0IWyBFZQnJ3C
d6HZk/0aCtf9Oi54XU9NM2w8pCz+x0QcZi5XugcDwdmNx/OE/O0uWSbOdryhWXOsCH8C8VisdlXR
LM2GKVschckkCHYjbDlHhA3dBHUHafdsSRGStVu5AdvT2sQf8miOhMPxQFgBXKKdz0VJP4BozLsf
tJ6ROsZbO5rDJ0g7TTcRiKmuc68mHpEnVesM/Vg/xMi9pAFBgAl+hg1js62aETVoWuVJ1fjijHph
8tgHWeykoQ9KyQ2HYfu+4TDCtsn7wufiPFaQ5Ga8kDcxh1Lo5eNsCeJMHfbOCbgreg+QUCGHndMs
OVKG8e/1nlvTREWX7P6FCDJwr4zhTHF2mhMv6fxOnKHoxHaeBtiqioALv2pCJhix7b2wXOo8+RhH
yW/I9P2Fft/8KwO/5D4QS3UqY3QazWrJ7ws4ig1rteyRiUxE6204uT3l55Fl3XcZdX2fyiL0by7P
yXItmXrtKol1ALx28aCL6usaLUpgaD86uRduOGXb71+d3Zu7Na46EY8ZwxlTaDAB7TX5CWzLVkeW
7eevf3/zdQ/akCRzhuIBNdVv4GNoDrIp+1sIecXn6xZondebESJN+ziTYKByfOKzlzZA399PkLjm
08dsUFnw+bphDFOfmRYCjD14WI1cpQCCgVO4DaGkRgRv/l4ew7YVhrnXUebEhTvw8+Jn/E7HJLul
i4t2/es+b0QGdV/ncRQJ3CvcDZLbqRGs+kZBeH4dyyo18Yi1o+qKQH/uAQCN+FATlh0SvKYv/3qL
tzJhiEqEmUSFob1bM2Y5y+41zZNjgEztCcn7z/+Uz9d/Eu21GXsTZAjQuk4ki+ozWjHKlDlNlQLL
gnQwrbZCaIt9/AdVGM4ZJKbhPdSqMU2csvuD1HK4o+gdvu5UmeDBSAa4oRD5ncdOh/m32B3Bxbmr
qzCPHi9vjW0ShpGruOJTD8K5c7Y+mLyhu0fUUt+jJ2fr0bw6o3eCWpNcUNYQ9ANTOz8jZ632bJEy
26GPrPwZR4U6r0o24rp4wQQScjC0yX6a6jMoOPydJgt2Pm9i+nrdUhkmDs7CCFJ9tDq7Uxvn6Zyj
tauJKmfXSaf+c3kMixv5J9H41iPSHCpuYl7ZcPInwFGXkw/L37gubDthxPCs7Ye+ALfYmff0iXO0
Ps6oCN8K3ExQopYb3tYyBRMtKNtpoHkNbrSpHH/zIEujzVYCy2E1oYINosG80uA9nShYcADrlbdu
NgPRi7jgujNkwgQhO0l7FRXwGw0BIWkbKjru+FxvsU/ZprDuzZsNdrms+BJEFbCUoTqEXue/Ngs6
bKamFRu3qm0DDJMOeF3UUL/AOa2nbx0fw92AZ+Lp8gG1lSlNtCBbQF8suhyVQjjsmEKdD+DmtF+6
9jTR2jss6xshCPbjMKldH+J8FSBt318e3bZ6xk2+BMInBGXS8+iH/b4gWYTeJFVH0CAgAEdeHsS2
foade7jJG9Fn/Mwj3X7hBVrCd4IXm8zs8fsO0SQPdJYOXIedkGeinF9q5YhaFanWzNT6PpQL42nh
N9fBa6mJI/TAICTKwq3OOiD+ftGDpimk0boUyO5mwzNaVszE9CkC1Bt0nQFd8ZEYTT2vr16ippHz
ddtuovqkGwyRT+X69Oh6JPxl19zIOCQ3NMj01jPXcrZMaN8caaGWOige3AEKHZkHFr3MdaEgHIgt
UmXbEIbxy9hd0BEMB+yN6Barwuhj3wfziSybSp22nTBsv2QlZT6quecKmYiTwKNcMbWFFbR9fP37
G9+VUycI+gE5FDaI11hH+lPCIa11ldWZ8vESTE6J7ws4Rqe8gfyt3IdtNBwuf9y28IZJuzyqy8zH
QyOckKHgXrUvG34oQRK5cUItEa4J16vjIUaeGV0Sq8ZnwKABtiaW5JQ9Z317O4fDzSpsCLc8bzwI
LHf5v1zNm72oQwBfkFHFLSviP3rpeNo0br5Ho0sFKtVuwxXaUj8mii8jnHNwmsDyEDIMEwCVsRRB
yoBhem5z+XHhiB1QAwGkt/sY9Tw/XrVhJpJPYr+IwiBn1bfjTpfEfa7csox3Y4AW/o01tFQ9TFAf
RFl61lZ+fVbA2v0zR78a1R3x4zbtiuBzW07lzXXzMSw/d2af9fjvQSUL36kp0nudNPRnyXPvSmwZ
NRXcJU3+r32uTQJRXz5Na5UoW5zq3klU/SN0IiAW5eikRVu4zzpR/Kr2BGrS+4VOUZER+dVzFJAM
HaRDTLs9HpHB0+Xls3geE/nn9k4IAwYbPS+ZvF3QZv0ahH744/LXLcZrsvkpJ1+kzpFMW+vjbVNA
Niz+3Xd6Boqb/SrVr5nx31XLtvq5bbMxHvN68IGHcBCv1CC6j9KG0yY7gm7TmTYOtm0AI9CXANoF
4Iapz3HfTR8hRYCybtH2UbPh7d7/fmhi+nw5ojQZIBvRuC09hTlrbyKv2kjKvW+VoQnog/iHDOnS
oJiTTeSErg1FDgC7+KDMUipK61qxPSSNtqzm/WgsNKF9SQM5pjibBLLn1W9vRXqyeclOI0zInV/G
MmmhR0C3LiLb5Aw/EPiECqVm/pCj3OoMAPbNHv9eC7Q8yqOnNSHZ/YSHrNvsUDMjfbBxAVp2zCQ/
kkol1SB1cpsVk36KgYr/SNr+52X7sX3cmNTMwYKpEz+5rclEHzn3/L/TiFLAFV8HPc866pubjhA2
qRG6zc9tu9DdOANF5GX6y3UfNx4U7jgAzw3Q2zN6X765BOwmfoZ3y+WPvxt14Jd7//uXewqtn3Vb
d89ouOUoPeO5Omq8jrJsK+ywjWB6EhQLoWfmds9RBxMfCKAPXONBAaDlvDGJdzcXkzB8SayZ51dV
2D3705AfRy3VY+h6V10cITHT/p0WuRd7onsueB8iclmqdtnNMtd/Lm/Bu64d31+t/s3hUdz154l1
3TOkG6EjN/2IQydlUuxjX5yiMvq4itkOldxfN9xq9m+HC2cXHsPvIZjKXhq0yRKFYcb8pnbKYy3L
J2cIPzS839ibd70JZmcYXkZdAPoDHLBVI9SPm9NcjYcsjG/Rq/CV9HIjb2Q5AiYBAWhn8woAER/E
WbPcBQt6nUAIWG1Mwvb19e9v1gxCExLIp8h/5nCM3t1Yq5bsQr/ZRGlYjCTw//cALVhFcqclzTMN
gdQgkh7Gpm0OaG/byKHaZmDYuUDlXeUSAzjtKG9zAuQMK7Ot7nXbJhs2rqIsn9pVeXQ9T2rMeVpB
L249UMGAkdZms8uHdz01/0nU4jQZll61kWwCFjbPq1i2F41fwM3z1LfcT6/WLDYrAUE+1/6Art5n
Gne31ZyJVIDFqC/E9T7dTP1DzQ1oc6HIcwyqyk8qydlBxJsCM5ZVMrP+QxAPCdIO7jPEyIBfGjQa
aYAMXcSHPtoCVVoOlJn2J/6y1IMoyHOVjZD60fFS3WiqnB+XN9riFE3GAJbzPqCd5z4reCNWk08S
XTUpeOuOqCjvSRN+98v+oQxEuRGPWizQLAEwNIu74ERD2y8S809gxIRxyIiQ8VhUTG7VxC2GYqb/
wRkDKOA0ea95qY8jj44SbNykiVAt8+7QG/Z0efXeDRhD4hvWHmu+Yr6wekNbPc0MgKPaj45+pO5L
Z/qE2/gEcNVG7GNbOMP2UcNyhjpT3qsHSKin6ddyQXoBWtOXp2I7y4bFNzMH9aLfeq96prdFwJ4G
Qj9XrbfTY7/RFGbZFLMakDR9VMQZF+B2rD/WUj8gAf5hCZJ7ptt7QKmuu6LMykA7J3TpG2d5VtKT
H0AtF5/Knm21rdsmsf79zRXVNJmuc4G2dSRxjpCHdQ9lOz2u21xkAEaysN+4SSz77ZkXeteN4MAM
lmdIGZUpFJrIKRuHZedoQT9f3nOLbzGZBGTNNQiQ+uU5YOPyGUQnzm3j+MPvy1+3TWAd9c1KJaHD
G9Spl+cuzJP94qrsMJRjexygSLu/PIRtAuZ1noBof55nbPUIqgWPVuxYh6E+Xf66xSQ8w7qhG4Ow
vXKXZ8jfPbUdrHsIwEul9W9/qTfQtrZFMqy6gXgTEc2wPGdJTg4ioxqhe9SvV+BVnbAhMbP+8TQA
HSQd+TzNYX9fshb1Bc03vJJlB8x0v671ODtAvqIRWulUBsMjy7uNIMRiamaqH/lkBCaaxa99L544
RXLc877rZAVDLn/D9qq2GuDSDIsGK3MUOwOPX6Gw8Ikk86co1I+L2uT8thwjs2m/xes+zn0neo1G
eljfHA1A23EvTqhZbpxU20qtp+uNqQV9MQYFc/Pnxe+/gM+4AaN1NbLDMjhpPiwbo9gmYhj0sArR
gT4tfw5ApJeuM1Hh+Ii2909iTDbOk20mhkVDGr0FKhxj+HPwdx0CfgPUAOHt+jjbvkwtF7fZvw9s
BlVQRvdfdcQAoP/q4Rm4niyJbRmXr00sr8mG4nAZ9t0qFpYhp/5rpuke6hGft8+tbTuMGzsOg5iK
AXMAPf5eaPQgKZV6U7j3McxVHtBM+YPzk6IvM/FeFw4dU/Y4h11K6mRH/PPlASzuz8ztT5GsmJ9V
2Tc6JbcNQgASz3d4Nl/nQcysPneAKcMqef+WCL9/fS2FI70vEapXdCvYtPhAd92gN9Y3VLrkQuf+
K+Pep1kCbO6ExdbHLQG6mcj3XL+pQRY1vZYe/ZygVAi1gFOAh94a/hXJ57YXu7qLrkHChsRM3uum
nMaiDepXrxmL4M4Tfi++lElJtvi9LYfWzN4LR45FkhTdqyMa5rFd6ZXTcqrboGtK1COIluCfGNys
/HP5gNmWz7jDQb2Yq6qdu1edZLsKDrhz8ASs53Ri4x4gvcM44O+bR8HiV8yWflo2XQjdiOY1gSNZ
d4rjpMl5Qhf9eBQIEssk3vCUtqEM88/JQEEHEzevErNZZ4fzLfS4T5D/mUi9IzndX17D932ya6b4
IXCpV1HY5lVT/Th70REUNEcfJK118LNg3kbuxzbKOs83VqTcVRu7dZvXXvW3HU710rBj0MT3Ue/u
3HGrWPr+srn/yfEDiF22EH57hUJQug41Y634mO36BFkINhwz59p1M/yCBLOBBlReviaL3Bf5N6/q
boF43JXiVzlvPQvfP+Cu2a0PwL3bZ0klXzNQymtPnrI5SEdkMftMp+t8YviMEvO7fBZsy2fEALqd
AhBH1fJV9WCr8MW+Xp+IsCF3Je3+/whqXLOLH6khLyIIbZ6F693kQPesLEFdMe7RhXlQzlUFrBDK
Lv/73FWoKQWV5ydnsCf2PwqGEhzomwLRbqzY+x7PNbv1FekKBdnW8pXjmlZucJc74nNPxoek3gqU
379FXbNlf9CRw9hIitfM61gaF/KkvOQZMn0bU/invvjfdKBr9uy7+CwjjnLOXrAAeJWOXg7+tl0P
hMkg953wkJbcIVMl6RNcRSM+1J4oE7SNemRwkpTKNmyrG+g2DhUyIyrT56CY6/52knTcqqRa/Eds
RFpenGcJmFlB7u7LD6vFMSZQwQk+rCa33ednsTdTdaUu4rFeoIJybnnxzwByuCamxocaONDMJWg8
5kcwct9cZW9mTzUXJJppDEJML+t/rsml9UJRbXBYCWHy/FvgzRu8XO9HMa4pupKAyCDLtM/OSaWS
r0rXxVdJF/l0eR4WKzCLjk2eL1QkQ3F2sG57PjXLsUnIjceDZa+WZkgvD2OxBLNvukWpls01L85i
oGpBOzhaDlFGAB87KMz6ItyoS1vWyiSVwER85UTCO9OkCZqbDqq/uKuWifi3l+dhO8zr399chjLp
2pIUoQs2UpZBGzlwpll3aTBNJajswo4KZBq9vk12U5TX7UYywjYt48JCGiJvujmZzrzK/fBjUFJS
fx3dZVFXhZeuqU7VhsDpimJszl7RyB8Dgofv+TgF3y4vmu3nr39/s2h07MCVUIXqLBtR5fulaIk6
DX0ZbvHy2HbF/98DaGTIoGuo+rMDIfaFkB2hwSGDGw9r74Og4/HyPCyHODZupCXwiyXqxu7sZ4IN
PzwN/qnH2I9d/r2fIpp/uWoYs/l/yskSuKSLX3iU3A9ldSyi6FUX7cYRtuyG2eefSxcpoaKNX0rl
Teo1S+qqSHuQsjlXPU7dyNiNQUJWafBY9DI36j6PHIT4+c20BGlJtzpFLdFOZOxEtEgwgTWCvhBa
yCMIJN00a0GPFSCe8gYv3vcDsoJtU28pB9kWzbjEwO+/0MHJwpdx7PVDkdXDS0WnTeYly8mKjDeD
jMsgGDtQSES50t0pUG5EPiRkVMuhoBPf4l+0zMLs6889CDW5cuVT5tOjp1oN2Rv87/KxtdwkZls/
mMiXUJbQUc57UO5gI2Q3nMcguuuyZKNQYRvC8L6DNzlJ4PL+JauZ80I8mWf+cZLlHII6CsGvqz/z
xHW2lss23Pr3N35LKi+kweiWB96N8ecs88Quyxi5a3teH3MR+H+vW7n1VLwdhyYo3tZQ0uKq+qpa
1PmYJ++yqb1fpk2gi23v17+/GcRjVZl7hS4O2YRYtEV7zG4Fulyege3jhslT6MdCkYKWh3icv7EB
L57K67ceoLZtMIx9InPbdhNOLYCfe4UIzg3yT2sGFU+T1+t+v2HePvTLfRmy6gVREP1Rala89KvE
2YZp2JbHMG84W2eJ54G/RAOao4+iAjEpmOH8fCu8siyR2Zg/OKRJmCr5i+zzl3YqftPSPflLcOdv
vmctLspszgdlkywDn5YvHJyk98EChrg9F2EwpyMj7RaFmm0ihoWPKEb180SrI5PFo1e4nyE+c0Ax
9y4e8ysdldmLr6g/50k31MekbuVNDQakv2MzsJMqu7wFSVHcblzklm03e/LrZRIELRDVseG+TtGz
qdPFd68r2Lsm5m4CHX5Qiqw6TnkX/gwRnQwHTXTwNYDA7Bbvv20KhmGjy7ekNVJKx0X2ckckm06L
nq4D5bgm+I6UkaBzI7ATfseqG1Wq4hyg4bjfCGstcaHZgY/u/llCm7s6Zh6CdKETdipEAJHoKWf7
SKgZ+Ssd7q7yISYIL2pzATYEWR3nrvwS4nY4SKKC01UfNzF4LjSu2zBssA9l8KmYG7qbBISur/v4
GmW9uRr6oc2ZnDhOkm6922Ee5JGCyHDD+Vke5maHfeahk85nXv4i0KUA1kXvXyYsyavD0HQLqIX1
0Re/imGL8MfiQkzAXb30lOZKVEdJEgioQJxgCMtDBqjamCfjlZMyruwZUTMB+jx/Qfv4TRuIPQ3u
2kbsC5WnkLP7Wrpf55Bcufmrcb7Zn5onRU770vlKcxcJRKGlrvdVM7pXJkRN9F0ceB0EshLnec2d
rHmTtew2L/3B0/0O4fTx8jmzXCGBcZFDMCT2uIqLAzqUilQj+kDHOXS2N8MQ21EzrnFSicEF577z
XFbiQ6HJrkIsyNmwG/hwIHV9ysR9W295F4tv/A8WT1Z52UCQ+og0K0wml7kQhzHUU7Jxf1jWywTi
iXBop3DGA7CNlmlHxqA+uqCCP81hvsWTaTEWE4cXKrCx+3NUHfOii25JnPgnVfXuDXq7GghNNVfe
6yYiL+Ex2ludmCPrvQz+HYkWJ74JwoHu8iArXhVEa4Ofl0+ZbUrr399YC/DhvoYgXnVUQ6y/j+iv
eRBJqJ1dXC3e45I7ibu/PJLlejExehGrlmHxVHnsOl3ed179xGh1yNqgODkN6OejaAv2+X6PV+ia
6DyUlDqZjHX07CG1XyKBTHDF5y5I5xfnhCjjNJDh2I76Zoy32hFsszOu/q6u6iAgXXmMlvLGzfMj
4vAipZn6hEfkaSmjrSy2bSDDLTQ0H725bcoVPvKlGvppN0d+sfPBa0dB1HrMerqFxbcNZTiIcHBo
7/g5jiEf/iDq54DNlh+yKLsBqxVJo6L/et3RMCJ+OmniTz3nR/Bbf4Gi+Z+SOGc1eid/hhK035V/
L49jSYSY0D3HjSOZIKd/DKKFp8Jf0MdQ3TbheBPL8RvA2o89C4+Xx7L4OxO/l3W6irou4sfeT7KV
O74s1aGqPDEerhtg3bU3liuhMOlhc+gzqOl3fcdfB86u2w8TtFeBs1PkjiyPqDHegw+CpUNSP/S1
D50+ztKQ8Y3kl22RjMCAjX3pTrGDopjmgbMDBXh5L0mptwQCLCfYbO2P3LZvtHJR55XZaQkVR2w7
HuS03C4xBz8gu4p3Cd0ihvmPCAUHNmkM1Pnslfrj8qriMNlq6bKtk2H0kFxzQNXnlceeqoGksSfL
KZ3ZMBVXnlbD1B1f4G0EQzs6upz3FCxVRwS21/58w76dnI7ZnPewhbxwX/1e+neOuwgnvWwJlpvf
RO8NJeszVoyoXfTOQ1j1ahcWYHLwsi24h2X5TQifMw80KlDLOPZx9zPkvf89cgs0ol7++RavZCL3
HJ+7jmqx9iGujol7D8gJf/Zc8ad28hvI9h3GWS4bjxeLQZgoPi90NJ39ojzGbvZxKpDLHovl2WcN
uIuIm+prn2CmCo/HeoIlY+WxKKJhX3N/OeKlusXdaNuQ9e9vfF8S0nhxCRz5MtQiu1mK3Hmo+xHY
08tbskY/71SKzdZ9CPuwYKnhl2ZeRMe8ojehK266mDf7pecb+VnbXhhG3YMZM4zCsjzSekGWNOmP
cKynMUAuPm+msxtF2cYJs03HsO6Wae7NIceuO+TDtETfw2C8qcV0RM19o5ZoG8IwcQ20Og84DhbI
7D4iqk+z2cl3U5Acpjm6LsI3cXwt8dBjiiL+kYmqO0A/AHQZYM74CK34LbZLyzRMJF8PKXoJXYzy
mHQCzFqYRgKap3m4Cxd2XUXJRPP1Iub1kONyVQBpHEQZ94cgW14uH1yLYZggPjV5JB7drDgubIg+
yaRcblq2eFswPtvnjfu66Opa5DOWp+FA8ys95jt3E8dvceMmai/zWRL5GkeIi2KXN+obNAkOUN/Z
QAbYtta8oqFhXjAdF0fl+D+ZT59BB+hVaUOITNtAt1sS7bZxDLOm/eIPUYBpBNF4X4jlU+32mAY5
9yBru7zL73qOIDExRXSuojwuGTsO/XI/Fn0CxlJyD3jOIaM1DHwLlfXuOFH4H1SW2xbtQNvqIWZh
Mt7OvHEwq4mD7WyW5KPOhke/uFLzM0wMpy4WljU9uJrPoibjOV547aezTKqNhpp39wWTMfafDUlX
VWB9fZiXYH6F4s3s7CgrgANu8kU9oF1B9Rv78/4DFGMZZ6COAtYnfpTfKwkeDmRS+8Mcup+QLA9T
hG4/5mWo9mwUH0jPnwCt+n35XLxrnhjW8PNaFeXQtSHI9aoobA/5MiTVTeuINvp6eYB3QxUMYHh5
Hiez6xA3v3chb3IA4nydlUfbn7qvgrQe21si1M/LY1kmY6K1qpwuq7upz14ZqCMAevTzmF0prBaa
2JcZTKbjOIOcp+uAomzjyA1OruuWan/517/rzCCSt5rUmwglHoHOHf2+Picz6CBFVH2GaK5769Jk
63VuO2SmkIrrDK7fJYU419kkdwU06Uox/QU3YY0LMmH3FRpSVaX3ScamHxEIuS7PzMKXFprwFzLM
AG4PHrg4WvK3gzhJEH7NVgHXvINsBZj3+W6VkSCRvKtL/rvR1VbhznYk1r+/WVTWZDjRYV6dC7du
UJqNis/ISmy1n1gcRGw4iJhQnSVOWZ8HEJOmZZRXa8G/PfnCeW6KZjheXj/bJAzfkIksCQayEivV
SQMd05UKeKiuY4wMTfxgVmStA3aU+kwHwUEQmkQnqQnd+O0W+zdhg1BW52ieoeAXKrL7fzR5K7FM
XeS/pyRIB1rVaRUWfnp5pWwn3IQNOmEllk5W4iwwAkpqv3B9d2kGqvZxVM0BAgJ7J5++LRNQM777
4/Ko76bFo9BEEAoALks24Xj3efix5fJD6UvnJZqaCt1/BVBynT7iyu1BSUHcjQvDciZMEBNxHSn9
fsKYzK0VAKft0CCfQ8LoOpGK0MQxNdmcNQGyXefC9xKWzkModMra4qpsFFbNMB6aFWpBK391bkQR
eqnKRDc+KuIjv3Z5WywO1QQxgSqp7RRjNfhVG/Jliab521y7YGiZRbPR5WRxAJFxfaos6pqi8Koz
mPoZ21UKOWpIsA7fAKcOnH0YePHX6yZj3KO0blwvEiS/n4sZb/Dazdw7TRe/3DlVlW/x/1ms1QQw
1TmIxRoB6rxxYF7qgNysCrhISbi80KT9GZDyQMiWuovlCJuAJlrFUFhrqvoMCY5u14bDeOdX03XS
ISE1rlMOhaphGqPwnooVUqRqvWdVvXVZ2377eiDe3Csu+m8jhkz3PXNUuFdjC7VC0mwxXdu2YT3R
b74eh2Mc9wCN3nOW/UYfK0SlQnocFPhtgmZ8HDP9LdrWPbQcYrrO8c1oSs9Fr4FT/x/6Y4Sh/a6o
IeMH6YEq5RNzNuzRtmaGwQ9VQ5cyEfx/xnFBNrlfyT6vsg9q3JGz53SkHUp+noV+8OOI7mnR9Z+G
UjUvl0ew/XzD1t0KRZMYaPHzHEXj5zYC+18ZYN8vf93irKhh3y3BHZ+IpTyrZmpvKk7yVED96Kau
/T+XR7D8fhPDVPZgq2QzeGNB0hQ/lIr2oIEktKaHy9+3zOA/ACbQ/If9IIv7Ejgm/9igx6F8HEFI
0ByherhskXXbpmHYtfIl6j6gQD7HHe/SOZ6h0tgQ5V8ZMf4HvSTyMZ8EqJuDQBeP+HDlpvWi51+X
V8n289fVe2NsktRoWkJt4dYDR3HKRiUO5fo+vu7r66hvvs5FzWu8/ssz2jXQzoVCJok/5wIcMBvh
nMVXhIYNZ6D6mGIGvneo6+Rp5fbekXj18rDyZyMSqa6zNRO45LadbroetqbrMPhWN0nU/GlmAj7i
y+tkm4ZhywzZiaIVnJ1pjy4xhkO1B9i4uo2dSt9yrwHhzHUDmWbtNgg7Cs3OQJuWu4x14a7tivZu
qaA754n6qhaAKDTxS3M1LNB9KrNb1YzxKedL9iPKRPF41SxMBrHAqXx/CtAigy6vv/XoJE4q2+Cp
xGW0I4jY1MZqWYzDhDJ1gdC+AMz1XCtRtDsZ9oIfk0yDZP7yRCyRuoldWjSXZc3hPMgyVhoSv+Pw
WTS6/VS6lfO9iRQQ4qClcPdoPtIHFy7mOrM36cNmvtTVnAB+J6fKf1UOKAuiLuf7y9OyrZth9qAc
B0xfcFwe3lR9RFkmIynt5RYhv8Wzm/AlML9UJfaiOodikg9gbqzvvCKKdzIbtyBytiGM61sNFFxn
w5LcenOTpbUIv7PJj1Lww/+8vEQWiw8MiycjG2cPRb9zBO0mL84cL21H8gISD3bbAuj+fHkY204Y
9k5rJxn90SnO7gxkVNXEpzGU80YAZVkkE68kq6ZfnKgsz1LzaC/gFI/dQJ+mMYw27MM2whqQvrk/
3DzMwYwzFue4CKoD7Wdvn42U75cAyjeXV8iyESZSKdYqJ/6g2L+EwJy48Te3W/l/QdG+d3voLV9n
EyZ/2Kq+MEOHOLl1l+w38E/zbpk2ZeQt22wik4K8dpmzZMW5RW7jUU2akj3kyNEaenmRbN9f//5m
H6BC3gWxj7QsCYpkLwfS5ZCm51vAN9vnjVt8WADGx14XZ9pM/aeq4PEZjF7hln6ELd9n0oPViHCG
ae7Ge6Zm9nFlFM5dIBIHUNy5kMFOtQ9YoitF9TGoURVyXAhfg0D7urUzLV0sJO+riv0fzq5suXFc
yf7QIIILiOWVlGTLLtlluxZXvSBq6eJOcCfIr5+jnhcX2hQn1A83Onw7QGHJTCDz5DmvAFOwj8qp
dRk1iUc2HMna2lkW7lFWqh5EWK+o6tfyplqGtv9QM6+Zrtt7G3IESmtHpgX2fu4CcwskvQbsZHHn
LSKA80X5P5Vqjrv+32drjucB4+NuVU5B/rnCe+NDP1fPbM4gbFiWxWcp6XVbYQuJDGVCM39J8lcQ
pssqSl0RT3s56K29WEv32bCjkvmK1D3yFd6g/+WGNAn7aNw82PEzzTw6lm6QifngQm01vPqE2fRh
vg9GPMDFEUuyoDgSt6k/tWMwFBtOeMVD2hCkUgaczYFBDHFaeTcnZ1FvNupIi2o6OKnY6ppZcfY2
AmnQcvIpDTKUS5q7ND4/oQCSeJRzUHgbU1k7a97fZ82MjU7IOOET80RDXZX3aH/3Wej1BF6AuV3E
vdS/MmNpi4r4Kl34qPrkdWjA2HQoiHbNUbRlcGV6zGYU89Ce6jfAVH/Qy1QCyF3Moeb8fqIv5zbv
kGbpcF/1aFK/7MlWVs9GKaViSuJYIlT2xJCIAFjtdH59Ei2tI+1VHzNUjDYSmWsu2wYsLT3JZVNN
5SsHRXa45N4PKYenxCs/BVp5IaurL0137i/QxceZe3dTTa5zEjaYCX1+PdDLfvLq1bR70MnIFBKO
8xYb39oinq3sTSils+80tMDE/gXFI2iXIfM8vSNm+TEznYeDq8rd5Q1biQ02hKmr0CnkQB77X71q
U+h0hxzF1mlYG/z89zcTQQ2aTiIbUadpwELSQcGgroItYcuVjKMNX2pK9JaSYJYnnakTFKT3qW7S
UI/+mVHinsfsQ9FvaZWvnjXLK6DUGMQDiEbuzpSbdAT0Z2bDy1CiVXbuccYYoM8LTx7dMxN9JuYf
58LgdTtkXQ6ckqKlFeSrUNGRxRLqQpUmzHI6bZjsygPz30D1dpNKaYqsVshOodJ51rAHOZFX0n+m
angd0J14ZlgJzeBvXbVWDoUNcOIK/ERAp/zf91yziJ2DTOiG914Lrza2yUMWMpvLoXgt+vZDhWDq
VHkfQnb1T01yAWUr97GmEO4608a14Mvd+O5KALTxTkO6dM4ITvSjqnHrSRU/0ByJVo/AM/2rk3j5
LKzEv/8gn4KuKk2atQ8CGYyPXduCxSxLK7KEhLWU3F7+ytoOnb/+5kSoOhmzvNHyNJWwLhCkAEWe
VbvLg6+tlOUTmkr1PiFaHKHhMoodA7zqNqai26cjbnNe78iPlz+0NgvrxaC6qi29BqqVzSDICTod
03Mm03TDatZGtxxCSTgFJgnAjbaIyXML6loDEHxg5o1lWttpy+onrl3waRpxnJrkOx2heOTNrRfh
Br/12lz7gvUqUOCDR1WgUCdo8WVj1GQCt5x0NOPHSrvFVUcJedy/jxKT6KKuPFIgzaPcJSo4K0/A
6vFx4+Xx/iSorTqi67weRq8RR63jr6kj3F0nx89ABLRX7QOV5xj9xhZAW+EOIDznx1y1Y0Q9eaIV
l7f/j4f5+wZBpRXtY2VGH5ldfsp7Dv8B9dbZNPFRBOpbpucfl41h7SPn9XszDQ0NWgWywAF1JpOF
qDCBIHeqXxvJ/L0ri3ZjO963Cmqj2+YZGKSlc4eHcgYFkhJQUbjWc1Ab2+YktUunIOBHZ6yyVxCg
F18XCam/pizBurHMebPlo1aiCLWhbY5K0ccH2axXQuanNm+6JxBhqce8hoYCP6ua56gtv7TjnJ1U
mf9O2ZZy19oCWmZPgcsYjK7HB90p+fQvXVzIST1fxaDGoSb09zlAqsx0oAhjJypRoi2rLsXDJikP
l0/Zyq+30Wx6EWm3jKr7icdMn4cOBAW/pcWVyChqw9nKtvG6eJrHh5mBTqJrgMYDL8CWlPnaj7cs
fej8ZnIKNj5Ak7IGs3ORZSF0h8bXy2vz/qUeTKZ/rzxEjMtlYfH0MA1CRrjKtZEGNPcGrLNHvJOS
8GrXTm3wWuondK7GqntAG9hvMUPeLW3HGJydm5KIa4t1/vsbfwLe9kEB+Tc9ACN12+VxercME7kK
xIqs4d+Dx3iTlFVqnNO8jOnOEYkbpY4z78Gp3j1s59fX5mCH8ETpOfeW9sFrpPrqVSYBA4Br0O96
ecdXYpONUoPyA9o+B+qeVCO6n04FAT4IVZUvY5JvqfysvEuojVVjBcvyUcfuqRNOOo6PeTH76t4F
6B4dVO4iR9GH6YA6wu1E4ZN94PFBAxiHwiGjSO+oBL8MCwnolbc2b2XWNpxNLUb0ZG7dkyfER9EB
8zckrXxp2dRtxLKVfbOxa9oFmwILCvfkVG6/KyUkkJNgSDd6PNZGt9wA2NRk2bVIAKaT1xzjSUH2
Oq223idro1teYDCTaPVYzg9Tbch94U06Cjie9pdP3NroVpSnOZjn4jbNXykBcrATjX8k51f3daOf
v/rG5pvWgWB2XbCfJi9NlC0+v03ABrzx29dirg2uA1d1odRYAlwHlnLHC56HuJNfgp6JEBSWPKwK
eSpniZ7gOajvQDny87ppWW6gY7NKS5biwFYtgb624z/Ok/v18uBr1mDFc123KSTK4GPSzECNMzef
Y8WX+4Hl48a6rX3BiugTdWD/hrHjwMYXR+bNTVqXKqyg/7Xhx95PEFAbYVdQiN8WmSQ/EkDtDhkA
/alx79t8QQUMIS1CUvE34cW949TXbYkNs/MoKA5KXnsnYL9nAWkszeL7xGvaLcTMynXYRtqliwvG
VUjpnP691adQaKHd0kIHOf69jPMWJd3K1jDL2CeUqlA/yOCci3p+iQc1fXJQw+rDtkSJZOPKvfaR
89/fWKXHCC7dbu+cVAostHd+AqW57xwL5Y5XvaSpjbbTXQU1JuE7J0qmz8OIlEZhrpQ+pswK9k6b
9UCGi/4kOgZMrZDIBoXcI1sqBWun1zLvMQXLbexP+WvcCi80fqFD9NL+Vrr7OSexH8aEgCDSCe4J
y7b4Ztb2xLL6RhLI4qU4XpBt4bt/94S2Fd27fncVAQynNvhOqwA9au7gnBilyXPDPHLSebUFOlmZ
gA28Q+dTk/mD6k/wU/R3KgKQ1ycs4ZFJ6uLTZdd4Dhv/LepRG3zH+oS3VY8ZNLwaAKvvThrkwxte
cW1wK4qX02z0APjjKZWl9511Ex/vq1noecMnrjgQG3KX8lxKkvjs6PG0CWeJ7KhDGnJfgcvkhrib
2bK1eVjWrTs0TbC+dlBGGYsP0APVT1wM3Vaxa23489/fOA9R0rL2J4cdVRNMkRcDslv11/ELcij7
/j26ExfVGMgKo4+KnObGJyek5YOX687P34Z9eYy1c24ZqjeTwOccCsF47tMwpy4YqJQbR8WE6uvl
T6zda2wSMPQPZrNRJv05kepXaqD1OUFt6ZN3zlFVDTrnfCLbsG6QOhyVG9z7Cf7n8rdXTqkNsRPj
kEFSkgTHsve/xpP5/G8iEU+pPyYoyeHyR1bOkI20O2s2DJwn7NjROP7O5kX/komXPF83umXITeWU
VbIs3v/5OZTxyIni1rGxOSvBwQbXeWYuyDDN9HjWf8/J8sdxy1+OmJwDyA3veqE/ZG7f3Pr4f66b
jmXPM4i0UTx2gqNimb5Fddl7AJal3Gi2XznO1DZno0snW5z0Z16MQPZXWpE+zCo//7SM5SbUf23D
LbNGp3WK7ook/clS1n1GIcr7VQCHuJExXpvD32b9P0px6K0T0CRpoaYdMopOSAvKIgkayOjyJqx9
wrJ6IadaZZ0bHHGfqe607vse8Ye7u6ASW+ke+m896z/xLXBsfZHAlHFfOm76GUxgVBx5Kpf0pteV
94+EXu+LLonvfWZturQ7PbqatOB6zdLx2ZVpO923s5PGB5Jl+XdW4Z9oQD5BvBQsSJ27ASRd6jsf
5kTt+pLgX+MgL+OQap0ytELG/oFxyHHEA0fmsF2mZtyNKFiKqMyp4Uj5BeA4TFpgOm9aT4DvBnoQ
DF2AZV+iD41VAMALNfI04m0f5LsRXVruIXBjDdTTyGN/11fV8hsE4eKbN2duGY6q7V4BuSv9qHF8
c1sIgMzy2JuLSOilfijI6BY7Iwdo3EfOUjgtFhviB2gbWfpwAiaeHGMIuicvXh5QMMHFHXFDeBbH
D7tCdk9L3lD901NjTg5u5ml6iGe//4XiHggyuhl9jTuATcCw6HGQ7UWs5rMXxn5bug9Ngr6t13ks
BXlORm8J7lvXzZHMz4RiqKdmw3wPHofqcQlIMx/SCTdg88B4O9MhCgpkXyOBtiV1WGoz5jdkjBtx
q/q2pef7dlrEH3ndUvMPCjS5+9Qtfhw0EfbcjwDRHT7QmNFhJ1tnOBTotzlMqV7kDlsg+VNQN0m1
q8HgRU8+pHrpbTbH2bnen4g++1YuJHcfBEd1FvltMJlHrNViuoeAQmKg7pTPboh0QuzsCnDomdAH
3zJWLREZ1LgKnqb8ZkHq/85xlR5pGKAHQf9Be/EEMWWZgvihdIGSfWApCfitQBtBeSPw1u6rMPMb
7HLg58C7BBNPJLruuxo5izBzalYveJLXvlMeSDsn7JGMTHyRscfAf8Kzro9m3yMz+LfT+dfkNvPL
NJPumJm4+7jEwdSATwH9hqHX9j2gdJzkzxXoc0DRndA2AX5MSf8AGfW2HM/SZX76I8n8kX2d+0k1
f6qxiOU/UJx2dGQKB4I9fE797ob6PbaTg5NqDOd5WrqbGOiM8ZhOpPtCAgBsnqsgWNxIs3qixW6U
pBs+NBACYKHQFAeo9z3vF/PZGEROxs/58Smp0NQiU/2TyCb9QMU8mw+NHGkWApINbj+di07tcNBB
9tNU8/faz+ZfFQMO8r5hBgA7MM9lw9GBEEt2Uyy8cp4d4yV9CJ5ZGF+ORYtDOcZpHaEtTwyf/SGv
RLgwsjwXpTHJTjvc26NRRbxUc96ZW7BqsB+l5wcPfOxH59Y1hDsRE5P4HHdO8GWZ60B9mqYzViDn
df/Yz7xN78Ai7g77yqvc8dZveuXeT3ki3A89yGXyV8PBjrkjuWnyU8lVMuxp0ur5E2h8+/aBoPIS
70BH7ry2tUO7fV0miCbeNM7OExpl5iEk3ij8m8AxuMo3LsEKzoLSNuyQTkjDtC94ck8TVZ/QuY3C
tdLyt+JZayKwSLTzIXHLFq3OWf2slrkhUQ6S3M9x7/RBNHSEBnuOWNZ+dPHUJSZC1ZIPz6i5T3ke
AnYm2zqENVb+DZN9K7D7WZmGyZJ2JOrrDj/DeCMcCYHPP3Wj0U9pl0gX9/SeIRWK1oPfHRYToRJi
qs4u0b1kIWs8tBU3VM0fXdfzmx0y3ejFY3NHsshHHQrNhqWWn0w79D9GOU9NF0JgODBweHGaRLnp
44NHe/8P1qHv9mNc+fIQxCYNdrpsliWiLoo8oAdlsRzCVhZF/hvOqy0i1jmii9hI3SAMaJ0vWRjL
xG9uR+no8XGiAQMAregmZ9mPbsCKfB94umOPTjw044soEv4NgQDnDqo8qflghrKLo1bqSX2c8hIy
G8OSlFXUN8in7WVRgiY45Y7Gj0Y7AQUDbpCr+94zXnwDvUgHMRJf+UqgRwndIgSV7kDYEKg5bCne
IgfNy9TskmICqHCRIIgskXwiNxl4F5G7c3TehdQv1U2XxEnXh0WdFg66Z2vcT/elqwMQlqkEvpZm
oAlfonb0gq5EsEj6PzDYrts5hWLfCGeoAXikLz4NiCZfwfajiweJxI3zNIGhNjhOBqWzXemqzNvV
FbSSj3NJG/CTkNYbbiDwPQR7EAcO5CC9vp6f+Uia/l42SwYFCijLfwCKcFbg6yx8cRvnDa+faK8a
9ytVBq8jCCLQsMAb0oH6tTQe6EpjA7GXOOdwFYnm3gFSAGn/TGMwFock9Y13A7E03RxJ2y4QN5mK
vEsQz3xEnhASxyI9FtDhjMHNgg6uAQOmWRXOSccBLBdQxnhGYmKqEVLxkApBIofTNcuG/6rGrICg
TKnqBhoKNZhY9uOy4L9UcP76tvagMLWvusDLozEzaN6BsHn9J5ELCqV53Tb55yAr62e3j8t/WreH
k9e+z8S3wcj+q4FnaI4zFLHGY1HooBsjiAkyfTITaMdEJNHo8kIzpGu/glZ6qfZnqvcZOJcuz+Nn
6Fsqdjd2Ay/3Kh4QndsiRRLPTzDgHfa/7E4ikeTOT3wR74PJ7X4lOgXbYwg8SyojdPJnEEeUZ4qz
LGVBcuPHeGHUiGuUpL9cCM+Xe+ku+tNEG1mDvjnL4jvq5PFWJfDd+yFublZKFTzmkGthINHhcTLc
x8qRIPnP2dPUNf41jybAIixcRBD3yE+4oDAKCj0DXqPzz35Rl09XXHAxuvj74T1njeN60NY5dEvS
JdEEquBp3xcJyRESxvIqeB8+Y73NVIYGmwykcdBWHlA/i9udAGfFNZd0DH5+075JTaTAD+cZiBgP
RDvFrfS9P2XnkX1WzvHGHry7zfjC+e9vvlCikbSqOj85OOjCvW38vIyA8vePfpxuNTeef+x/3gD4
hPUgSwRYrnNDkkPPqXPMe7jYBO+lG3YWzUtMtZWOevdJhu9YjyY/8OCzAnwnDSYwThM2HZ2i3Gqx
OR+b92ZhvZdkTFkDXd8ENOYwNMXkca7aU+U7uxZUFQc/x1UJZZMNhva1NbOsLyfpUi5jg7kUjO9m
p3hw0Im4C5IaOppXAVUAG7LsLzG8qI3UCVjNsyTkY14d2DJ0GydrZTtsoEIDDr02Web0oLXqb/2i
LKGaJapqrK/CG+L3W6ZnhkbVtVDp50CYB1f0R+52wA41J2zRBpXY2iTO+/PGPGgGKKVfdyl4/om6
yXxa3CbZJi59bXTL+ATUERWNZzhAV+c/kuSMMkSgCLbe+Gvjn//+5tfjKdo3vnc27oki5VYifc3D
NigKf3fZx659wMqC5KZjLiFTclC+nzzEOEcPJE3Sa0C/2F/LoJdknPyhwOK7TC6oh6Bhow7JAor5
jczX2s+3bLqQM96KaHQ5aEkoriRQIDVcbnXFrrhWG5agYhMbHeCxa0inI+n39Y+aM+Bwwea71Tpx
PurveKX/AA3iHBhYQF0Opk4el4TW4Uz0bRoPdxkXj2Ac2khIrayUDTcofTTKQOw0OYAxp4mU0+sQ
jPVXKdkAXmgZ8pgmc1IjTB+GRj4mJn02fEKGeEwOWbDJHbs2BcuU51nmjBdecphQxEHPBxRaCNPH
y4awtg+WJU8QeOJ8ceKD6qbuvlTqBqqRJ0AXe0iI1flO0XrDra7EIZveBxLAQ8NL+AxD8yMtmg90
2WuRf8/S+tjXA17QW+JFa1+yjLt2ElKLs3GXnTxK+R2sOffAJEUdN3sflPVpNlx3VbMZfzw2IWuO
fvuDATV8xFz4Kr/Ny32mxVXULDhilqmPqgFINgaLstH0+awB65dNZGr3dlnSQzGfeLeld/JuOh1f
skI3By9XknYDfGK14MrsRybNH3slDn1HH/LRu0Uf/jO4s14un7yVY20DE+LMTxRaDeHj+wTSUqTu
JhVqQliwYforR/s/OARwHxRZmpE9IcmPrJJ7CC6c001ob8vq7i6j+hrQESDAlhcwgLDWgKuTvVsH
fD+1eX9UMZmfL6/Tije2cQge8aDV7OE0m7rTxdEleIlFqOlO3r7wDHK6lz+zth2WI8jAjEdT6IHv
IdzAQ0d49S7IYrMx+tlXvePu/wNCQO7ZrQwuoTpr+5uxdpzHOJ2yzzMKyaDg5fnNdbOwTB88J17f
uZPa19AOeWm8vo3iLG03KnJra2TF9SHh1DS47KDbgUfU9EPoA/O0EdPXlsgydGAkQRFR0/hAm0Tf
4WpOzBj2oylAhSbw4O9DPy3z79etk2Xr+VAnnDGE31LhsvWlEU1aPiQ++uI2ZrNyau3qsQtIn+kN
lkq0EzlOSORFSBjQHQWXbXR5DisLZnO28KYQrg99sb2Zytuxp024GCQWe4hAkNn/cfkjK1tuYykW
ADTK3MPTtYh18RR0yj20Xb5V4l0b/RzB3txzM907xCisUgx+iA/LPCtIfE/V58u//f3iNUUb79/D
5woUM0igOl+QMYdOq+JDQTow3KMZttknrtu55aEb8X5KQq8q1BjfsLoEcnLPkCGlQeSWgiUbtrPi
jW3MRc+V6MtCqz2Y0coPJEjoAzjRxT6mrYoqj5nIA3zwOndjC7Wx3m/jpHbIHuhps1uCQt20WTOd
Bgq6B6Tg1f7yCq/t3/nvb/YvkW1cjlmj9lWS68PouSCr7+etALY2uuURujGVHlqT1H5Z3OoAbNjy
CH2+fCP+rpmP5QLcYGTLbLBGQypYCHoi9bQI1kYekqE37TxmGzfMlVnYMAZFiBo9aDjtm75QEdF+
hXx4FV85umVBaVD76ICcyD5XLHgKoLZ9pEpsJRpWvJjND+TWAMdnfoX9bSXZGcr608JU/mA6Kjcc
5drynLfnzRGCRqXDaIdNhsJc8VHhAnhMteo2fOTa6OeJvRldZJnsg7P7An1ntjc+caNGxVv6X2uj
n//+ZnQpWx5MEjZdwIt9HYK0P8Z5Wm/E8rXFt2L5stB2Uain7r3cr241OvZuvTGbbrO+uNL/2gJm
tBWL8liuzjaAp0Iy5ncsXlCXuuweVkzM5gBKgmnKelAq7t3e+DvaFbdlp4+gLfund80WdcvKtd1W
LWMZiseZMWBtGYeoZsMByLa7vM1vcz0e8Orac9izTMeNW/XKntucQGU5mSGuMKdmrL2dcWm2g2QD
2zivK1HCli+rZu6IssToMXhTGzF8ElmZ7Us2hwZl/8jxjNnYm7V5WLExXpaqjVms9o4XV1E8+QQ1
HaB6Lu/82jwsq4Y9lPkUJ2pP/fwHSEfzUMXdt9H3b8C7/rNO6Rasf+WI2cRAEyiHs8mDh8IxkF/j
QuQf6k50RwcP3b2buPGVSSFbsAxt+q2cKiL34JRLI9G12e0cVD6YOx3nykWzDL4gAvSBwUz2ekw+
eoCF4LGWf0Mh8ZYxhSpbDGr667bH+9txuTQoAxK4aj/FKPl9lxXAxGACRxX6WIwK5e+pIXgGiwnY
mstfXNknWzkiBstb7zkOWqb7+Mh8flCwSB3Ej8GwJR22dqKt60LF4hnSBIbseeeaXyV36yclDHm+
PIG10a3rQg1Si9bvpdyTbJIR5lPvvCxrN57Q53D9zvvQ5iDyGWCCjq8xupe/ACiR7uupBAoGAnjo
R/oFcno0o1ZbvGYrm2EzEiEU+oAyNRJ30UQdZuUXB/Rrd7dTTJqoiefquk236YiQzQ/agnlsh1ov
HMBRkSXy1KHzN5L8KxHSZiPyciVHBS6+XeydyPQhw70t+Hh5u9eGti4OBYr2mZtg6CTGtQGFe7Q4
VluEQ2uDn8/Ym3sD+JN02vbA7PDss2NuTPPLT6/83bYPMWUHpBuGZvSTYx6G5ta58j7iWU7D421R
KxnIPc9Yf6iYJ6MMCvbAGU1XZqttQqFmwWHxoG23H8qJ71jFl2hYGr5xoVoxYZtNCM8rY9DTL/eT
bHDH6ftZAh61tF8uH5kVq7LZg4BKKkTVzEBiBf2emeJGT0nULhXaV/ON2/7KwbFJg+pSjrLyDE6l
X+0Ht4o86h1Kb9wYfmWBbGYgMg1UE39iO1A4RX38OiLDc3ltVu4D7nnN3pz4SjRljVoy2ykBRKzG
xckB5c2oD6pww9ERG59ZWx/LaiFdB54UBxPwkxugxyLZZiFzt15D7/erQjvAsluK2xmwPOfhR+DZ
7rs43qtCvND4D6cHHpT7uCS7KlY7qrcqXWuHyrLn3EOsHNsRuFgQODjVAtqXIqo67z5btrzR2q7b
dj2AExDtt/BGpUCV7snwZmM71n68FZGbQdLa6bBeuvsCksuIAx9DHnF53l0+VWvjWzG5kUMBTjP8
coFkzRBw4ARFBIbFMAOH0uVPrJwom+8nX2i6gFWE7Zp5vot9tYPF3WSJv4F5X7ELm/AncdAIVWZY
odh376pijoKFR9xtT+1cHRr3SsO2CX40MPtQZsAsjFp2zHzVy1YPztr6WIbtJ6ytOjVgfdxTU/ya
aRz6+rrco2NZs26aEphJjN26XVgjb5Js6fqt/WrLqoSoxllpjNzlL+XwfdQPonq67sBY1qRZP6YD
6HV3ScCgyfqFy5fRfLs89oql2qD8jroDeCnPP9t8hhh0aIqrVFhBrGFZEhqGujPaA5ba/B6XV8A5
wUlz4HSGvnUSXf7171ursFFjC7jUvNzBIYRgzF1Cb4X3D2fVLnafL4///qYKGzemB8Jzh2MOLgjO
GHkCdXKiu/3lwd9femjy/B3ARil8ObYdBmdJNLevzfznuoEtAxJuvgRK4FKCzprkDlojkFRO2vif
y6Ovrcn572/ibgalsSmosOZj+a1AV5gJ6oiKDZjH2uDntXo7OGtjMPNgwcWsg9CX7Njy+a7QW8d9
bXzLSmMHARcIdbar+eda3FVOv3NovxE71ga37NRz2gr3DtiScoA5K74tep8P3v66ZbcC31InhgHP
jptmMfxEFuJ3GnRn4MWW+vPaj7fMlad51qeyhSmRAxR89hwwzLbYKiytnHUbXlbWrvDkiHX3mnvC
D5755/KqrI17fvy+OS9oJfFKnmLcZu6e+tr9SPmWGuza0JZ5QpipN3mBoaE3dEoaGYEP57pTblPf
9GM1jGhqwqWPfmlRvAu6wyC3ADQrG2lz3UiQm1CRnTfS/4KO37AsDqLZEhpbG/y8WG/W2x/AkqSD
huFKeh9X6HpB7021lalcW3HLONNATEE3w/ilW35JKycNu2TaCPxrP9yyzcEPMlzi8cO5eZEyvTXp
SXnXAWeFTWzTcsKhhIfBfZbfFPOXIr9bFN9fPuJrv9wyzC7rW3SzaVxZzg+08VahWWpiGydxZclt
zFgy9kHmCwxeVsWtgZi2F2yZ/EpstmFifS85iscYOvO/ZFWAfi1ox/JnkGruLi/M+wkuYKr+PotT
VSQDNNGxpcQ5FQEyaHjP1KZFd0sJisugzn9y5yrqCgrtob8/Fqeowmg3l3vmlCpS1ZSFIuXjjczn
rcLS+1UHYcvBjQtULJK6xF60By4Awq2GXSC/5cmPuXbCpDdRelWSS9i4MZMJCNcsOc7r1BwnKA/E
GboWJu56N5e35rwF/809Cpu6pvNb5XdBxnYBfyyFOQbTx6l71dWPyR02MtsrZmHjxBgteSYpPtFl
x2D5MvnPutp6Ia+dLCvWMgN0OjQhcXWdyZ2ADiRp0KTzs0jHndNHeX4VsBtio3+fKXB8ZCA1xmfG
5AfXIjwbd4b3crkVClZM0MaDociH62XCgl05ouvVkQ/LPB6ThT03uvl8eadXHIiNCGuAQOhdksh9
GRfm0aii/ziY5aqXsrBRYKxdGpYnKCihx6oedg1pg3zfzK4wO1dm4vflKaytkmXaKILWxJsT0OrE
c3eTGpbdBnPshU5JlgN+gf54+Tsrp4qdT/Kb2MmnAuLulS/2acO+54s0N5k3jtGIviB3QH8eddR0
3/nuRuZtxQZtfFi2jBoUFEbs0QR/G2fBLzEtr3HV3Sx0epC5u5WRWTFEm68mz1iKvi3N93Of6CgV
6GTm1ajDecRl9fLKrR0yO3jX02jQ/MX3UDZv7yiX9AjerWzjEbk2umXtaZMnCt0PbO/w2XkIVGGG
26ZAe8x1nspmpmn9dCrQPMx2pIVYL4EIYOPdoPHtuhBuw6mY03au5AXde6wdDg5aMO/qhST/XLX0
NilNWrS59DIR7EXh+tOdU5sF+UgftB0bx3Rl9W1AlXbAWIlm0WCvvaXfxfi3e9467Ovln79iczZE
yuuSxNByDPZz4d7M6jXV+j7lwc5Z/Hs/ZR/GILvujNr4KHRrawLOnmAfDwS9weD8R4+u8+fyNNYW
6fz3N67DDWrTdZ6kewpVZ3kQ1VCZE17GBdvwtCs+0MYWDig+ToXn032XgU6Wlb88vty4pfu4zfTx
PnSOUxtV0cTA/tTxmSbDAYul63l4YKLr66yPifapKRzALjLl/SuoyKYP+Vh8ubx27/onTm10BbYD
zCLo+Duyov7ScZIAVF5+Qf5bbviPtQ+cz96bzXE6YdzCMBB0KJDXeKz6opwSLdEAYYeXp/Du9mMK
Zxf/5gsQedHF5HTJT9BzZj+hCjgXIXDR5TXXQQxvBUBP0RGp9CUAYx66Wc8TcJqsirIu2ZLQW5vA
eeneTACtCRrK1D6WqOyMDFmZV31oxuEq8AFmYNlHzxtgXNwh/8k6z3N2hKLdJhy9WL4SmXQ3wuSc
Ayc3f768H2s7bj1Uc5FPAPp6+gFkVEPo5NOT4zsFIEmQXb3uC1bEm/uMSZUv+uF/Ofuy5kh1rdlf
RAQIIcQrNdjltne73YO7/EK03ecwCBCTEPDrv6w+98FbbRU32A8dO/yASkNKS0u5MilXP1utl11U
TXNceKuKZrYpMU49d1Zu1s4VHGoI1H0hgpqeBtym9tt+vxHaRn4hBdjp2c8xuQj+Q+ggLkqPfYH+
fLWytVs6YPIbKvigapDZxGtFguxpaJq3sEuCFfKE7eMGprlblEQGWv7jkqaIJYd+mZMsm0rlQmqS
GEgAU4wctPefopPubYjDtMWmVEK/4/ro2369AWjcNIhswwIWcJDcuOUqD+HBUSXy6frnPzws8PMN
NMsB4hEKNI9nWU/fXQEVx5bVnxxUCN00Tr+W8LR14vL3d3uGk5NilqjBfw5nmt+LcnBiFWTRCoRt
XzcgPJc1agPGCPwuVBwdHC3IoybVJgotRsiALyjeaeeWNHq+eFnNkOXdMTaq4/Xht+w+JqOBCz8q
J5mCHTo7ww5VMo9lF8AMJxzWiHy2CTbQm7ezS+g4hs+5CL/p3F8gConFTyu0gIoTdnO9I5Y5MNkN
THfEJ0ndPlQdAcEyH5pSHngDrdNt56bJbVB4WfdLGGg8V60K9oEcvNe2auc1Aprt9xvH8thEMIsq
m+hZpgEq8ns6vOnM8Vfi+g/TQSE1+Q3VOFSzD2L/XV43IwLK6Yv2HwTCDK70d+kU0GVR3YOzZFuu
KWjPQLWK3CpMqzz8SUF2vJN9LvYc/gI/uihay6tYVq5JdpjDYHAzV4Y/vZrT22aJQBJrnWonmnqt
ts+7QOyv1BO6YQCb9VmR6YGXdwT52FwF/+FF86j4I5Rk7vSov7tFcIII96Os+S0J4H+8VOfry9nW
OwP0o1ZgJ8Cw9zUYEQjsoY7THJICRiUo4nac/fVGbGvOPLal2yuvj9jPtGLkTWqiP/shJLRXTg5b
Hwzkt1Co6pjww+dadG8ZSbM9jDhew6XMtv1+k/yAvCPzi6Xgz0kBjQzVuDedhPjjpsExqQ9qqCUn
5FIAy7l/8ibVQIhNZsna4rIMvsl5yBflsnBW5ctcoeIxVeOwL6H9sm23Mr2MPBVAQrqeyxcIeuE2
72V9LHS35p/zMdMopCb1Ic84D5UTiRe3L8uYgaHdgQrqF20W+8v03YHWWdKFxzFj91CTPw1t/eP6
rNgufiZRd1C8UmpqyxdY0770fX/LXfo56+o73GaGeEz1Ufsa+cnqLcUfVxq17APuX/sAPu45pXip
6Hg7+4jTgz8+pSSBmFjg7vps+oXiBAjrpFkVX9zJykQdGdFrdxLL/u0a20HBkom2YKi9qKF7SFGN
rSDfEQdp+YPi1TyA0dfuMs5zzVfG2XJqm1QO5U2NKv2WPqTU+SFL+chQBHxA9ebXjpI1czQbBIwN
wk2bNM8hQXrXtsyNWQK/Nx04chMEfJPP4XiJT3GZFi95JLs47Rz+mEEo/tfKmvh4d/NNOodoFwQ2
ohEvcwPnqMtyqJvpWOvx+AcT0OBDyTzwUPRM78plvA2H6h6ltGcGUUItcUgFTnG8/mNsv8UIHrww
Io3jVuwVgneZ2DW1xjbVQ3rql5Yy3HSmgy7x7xi653NNuG79h364pCagBbHLF2ihh5XcFMP5pmYQ
6sIqSmVEHniTvbTtEPxTVlCu3jZGl0X47gogvYSEED2NXjEfOrubeRoeMyej5JApItY0bz9e0v5f
NkplMLbhktAT8cont4Oj0ZBCZPV6F2wfN3YBN6JeurT4OE45GnM2/xIJbjLXP25bQ0YwAIVkMjkp
x8c57vB94fzQDMZxEDVci6BtLRhw1wWEPhs8F56ID0/3xAkf3cup110eWK/34XKj/jte801mCFjT
qvQqRk943TkxekfgPYCHi4OE6UXJ3M9jQ1dynBdkfdSScafHUzRVzRzQk4v9sa9wr++9ZCe78XvC
yH8U91ZiqI/3Yd+UIlJ+ASPhsCK/oJwJ/oWTVk3sFSnd0Wyg35NynlbQbWvIQHfWtf6AmnDxAsnF
6qiWUsQjl9CbJAgdlnntfcyyBkxCydC3vbM0M5oJ0vmW5eURplnNQzIna5GPrSMGzt2xGkCyI+5r
maVBBNqR0nFfc6h4dt3wmXG1FgTZumIEBdqf5jaFJsCLAAEaCmcqvCU5ePthn24qPg19U6goCnnU
BgLHfgMd2h+u6JxPgR437lUm0ySXQvd6GdxXpISHE8PivbuA5DoUbaNjgD0PpHQTWpcvUZWXT1M3
5ycGwY/d5hZMukmaw+Og75zipYK6C3yYugfox7anJlq1gbCA3GSdjFGbQV+W4qI/ieM002UXKG8H
ichTssCvGqr+K8GEZWM32SckGIQaPBW95vno3bSt49a7um0XZ2UXseyLJuEEfsp5Inw/eh1ShxwL
L23junb4Hfe7CZT6OdnPYlx2WAzkuGn6Tf6JELTlUzjRXzxi7LmZ9XziCY4TXpZr1VuWFWYST5Jp
jrwMkHh1JlbfoHY6OoDVBOrJMqypZNjmxYB4lc19C0ozfx6dVHz20qF34wX/bbsD+ibvZC714Axw
wXrFZHs3PQqKnhie71fI+7Zfb5zos9uO0nMEved4UvrGIelcxSif2eZF5puMEwcFtD7kBIsXdwk+
u7RpDpkenRMJOvrt+iKydOAvykkPyVa4bnmvahlel5FriOo63coKtYDbJJtQF5bCIS/oPYkuhjVk
50J7eE8EXGvGPn2JXCglb+vG5Re8izw1nxM01iXn0lN5fawoLIVBqOR0pScWIJgKRBAIniGYnjqv
fdRFd0mIwLb1PSjWj1m2dhLZ2rj8/V0forGgDRQ6nNem7OrPRZiWsec7PXzooIm+bZguq+BdE2ym
Nc91n7zycSyf+BTw304GH7frX7eEBSazROd16DnL4ry2UM89Zk176gZczLSDCHSAGelKJ2zNkH93
ohhZmfdF77xmeDfZwSY5gGeuqPd5/7/9VaykJGzQMLAt3YYOJeqIz6roO3enkiLpvziTX6w5O9km
3Di/9dgpeLEK5zUQI14kp+JhgtIzFEPhc3B9RixdMLkmLQydVSM1Pel56X813OWfNlsL+ybXpPCW
sIL9efKa940DHUzd/1ATPJ77hrjb5sBkm4A4ARYFhDZRwxck+sZFUeh/MgzapmdD36SbqBkmtfOU
pW9d4ec/PVAIbwb4XP2+PvqW+TUpJnoSi4dXyaCIofPswVjCEcguzUN76pmTHa43Ypviy9/fQ3qk
PczlRlLEM6I15AQd3RQPTqgkVNevN2EJbUyyiUhh8Cg7EaKJZiHPYwtHRtkH92lRJLda1+lvWRfR
XZDXK5n5j1NxEP/9d59gW4EaWhhgnJFLYvdNA78M2Hsv6l4p1eX3VY1U0DFdonpo4mFOwJ0vUQ3h
r3TXNm0G7vN2grL7ouZzO2BZo7Tt0YGoxKdszNdasM2ZAfw+h/1FW/qYM8iIDIc/fj3IYa0sast0
mWpDaoAFt84HYEaBZrbsBaRXYuFP5a0ufX0IILuwm6CLFRzhIjM6K+vQMmemi9Iso1q5Q76c00If
Hb7cBN25pM0pQlyfwIvID761pNl20piiRG3uBr1uxvQt5UV0hBTvwdXR+FDV8h6yyGsSWpaFYJor
RVMCrmGwJK+jB2+dCO+d8x5UY/E063pVm9rWyOXv7/AbKdGzik3zuYZYY+xA+S6uL6knQoaNIbDp
qjS7i6gX6jlIXTpjGxOYCf5gLrp0fXuwrGZqRPAM3imeEFHy2kLcQRyXDF0Y/CwYV1aWbYSM3aBa
0rTwSOoXUGiDMJsOQN2B5weSJ3P1dr0LtiYMyKNm2+26QjqvkDXg36fL7YaGyJmkGd12kP1FphNJ
zxgd8FSew7CuGnaJGuAPMEL0HNYc13thgaDJnBOTcAvRBOS+YvxREvEtGfCMnqfYt+jl5Uai3m2X
h+1pqabs+XqblpEz1Yp65GKHWfLolReOc5698FtfJvIb6naTle3YEu79RaYrUqbnpuMnNdV7AcJm
O2pUGGf6uITZtkyKyajjvCo8f3CT5xD5931aSbnr3IEe6jYPVybHghJTpUi2Mhykn5CTcPMGU4GA
NQzTNQUs2yBdWn23i4AT5vUiCVB9jSKXx1GF/r7Q9KVKYcsRR6CErEyGbboNrPvQWlKwieSvXa3l
saEFllYapvssY9+uLyjbOBlod4thCmbYL93DNl3sZwJrl4Gs3h1sXzeAzkULj65RMXDEhCt22sXR
yPnag5VtdIxzvR3CHmrnJHm94EDUuK6nVXAPeaU1jpWlAZNDB/VV1810RE4pDJv2Fzdb0iLZGi3i
adPom7JApJr6sphn5zXXeA7dJzIo4Fqgln4T7Tr0TSqdmv3if2k4UcOy/Refyn76BNUmeLdt68EF
Ie+QIN1R+AKvH+du8vXNIkpy6xRrJSGWhIbJpGNw3YO53Eju87p/ECMeVbTEUyNLhsPFpbLrQ3/b
zY0YgCYIt6NMOvlPAqluaAanS9jHUaI0XYkSLUggBpJFkc997/XNWUyhfAnhITXseV7rtTcC21I1
cAwBO48UtQN2eijyQwIFyZiXIczdVtPftskwsCxmmbsRHrtOmicppP9QAiS11Eeh8b6tpcNiOBhv
HC0D2YITKP6RKH1DvsyJjrSHeuv94rTFuDLfFtKFb5LrclgxwKZLcji56iNxmzv4uH7O8+a+whP2
rNpTRYevY1fFMJpYeY+yXBRMul2rQYQcoj59mzMQE4eA+3Gt83/6eumfqqSrD0uR344QvNsYiJri
QhTHFBwPKuiTLh6LSZND00NU2+h9vknAax2qcm9pyfnyLpwldNjltFybHwtcTLZd27o5VHgYch0l
r74imq5hhu2nX65vWhaw/EW0q/MK8qpZBFc+b/kFqgv0gxR/WNJVKp/t9xtwh+ubP+W5451b0hY7
BSGYO2fp1oyUbL/fADv8IHuYMlD/lE6wx2RwY4RHObK8Sxb93jZCBtjnSWV1AICcCSiutBdlHCys
PFzkYY7bWjAgjjR1zpDYRYo3D59cZy5vLsvfSYqNJ9NfVLq2U14HQ+wiTjq3+08KWXMa7aLSBTN+
f70PljDQJNS1kHXxFNPkLAfUViOMTeKZuvy73y2/itZvtvE8TF5d6lEIxuZz/kYrF0aD0C+AXV1R
xTB43FSiH/omuS5yqRzyriLnEh4vN9UsukPYSX6oGr3Gy7ZAwiTYVTLMQPfqszeQyeEHB/GMAjaw
ck1h0YIJk0WnldCVKxP/dFmxvev+lwbQ0YkCbHrbJtuAtJ5oX2GMyLlT/gt86NMdDUDpLwcq92W3
WtpiW1MGtvOpzv3Wp/nPNqnPFQrpb1VHnjmdy9tAlfkK+myTYeBb+Ezyvo14Ad+FoOcvlQgq8Qzf
27XQ2XLYmfJGM69D3dYdeCtu+K0NuHviVRTtBBRPD844fUdAHe2cHE6p12fn4w4RkxoHmvTcRWmX
v0WigfmXT7t9WayK6348KcRkxkHMfmZhVdETxQ1pnzcJ/2+SO3XsRTO5zVQfrCD94xgLhqH/jqaX
INcZHu/kuRHTbVi2r2k+IvwR0xEmiWzXhrCX3TZel56+i9tbl43+JIk8q24Cy9vrQSlZunHl67Z+
XED67utZRBjqnsf8DTZUIkcJWKAPjR9Aj64ton+8PHQO/YDC9et9+Rj6eKH4d2uicroIFCfsj0IE
tyTl6gBJ7f7Y+HDH2daEAX4xqn4huNefQeabYCBdBeVNWEwF+zQTEq5FPbaOkH93RGdekQiNElMy
oGJFjqX6lLiX11uYRm8CPokM4LcQIQ68tvLPs+AQtnBYfgrEkO+vD5MNheahjtiV+HlCzwFYH+qX
75IxuAscFTpr6SnLEJl8OIhMZ3UWwgs4hldoRmMY1fwvydffZku5TXcyJKYjn+AqUJ0Q9bkrYec6
8uFYLEn0FYqjYhemYHZpDxXSJW6kni/VV8nq+Zhk4vemYTQpcriko05CD9V5rmW2L3h7F0RkXkGL
ZY5MdSWohM8J/AzZqUphw9IReE5H05pIi216Ln9/B/zWmdoiaAp2AsmriuGvkRwu7MESFaGbMruE
X7r1rgWV4bGoQW36uUWFxA7vxf5dBLvEbfDgBs77Tk60zOv6DN+27pNwVPt1cwkDMclvZTW29UWv
9gxi6gwK4rjoOE+rlK7sUrapNcDNobI4B4tbvCVejYQwa0v49/ZhPu+ur0vb7Brw1m3uV0h+hWda
JrfI2Itd4Hcnz5WbtCZCYhLgpiaXYMtn1ZkrD4+Nju/Af063nN5c74BlgEz6W+XM06wL7E+E+351
JGBQFzfQR6LL87YGjAM88Gtc+yJRoNKtnW4zLxygLZ4NK2vfcqyapDcVChjs5KF48x3tJnEe+nh1
5KEc434E1nZO2DX/jIStLijLhJuctwiK+ExUUryNZY9ovZuW2C/JEifaT/fXR8wSWpmct3RIw2ae
WXB2mdM8lBA4pA8q6mYYN40KCrZl5Y2bhOWwvAx0gzI4hrCKF2+XzGI8avZ7zqnYQSTv6XpnbOvL
OMDdgIfQIfSLtxaJq3YHekYy7f1cwrH7egO2CTEQ3kBqqUOIyM4+OnMgVH3VUdre8LFb20NsLRgY
pw3VCM988YYS2t+VxM7KHP9lTBF+Xu+CZYz+osAlAh7gTORvaa0CeSPLgGa3YSP6jaGtSYPzeSsW
5qblm5vM7p0DUvAXvshihYJoWa+m6FLaNqEPwf7yTWJhfoF1NnBYFfXPhqXZTdsXzWHbMF3af3fO
Bbj+zU5Q0nPVoFp636fKk6epTaXYtlWZekvES1OIWmTFG2m79FBT2Ty5sANb07i2rCNTXymQdTfx
qmNnSJ3xJzgxEagJT1y/QIAR+hzXB+njJ1goc/97kJjX+mHZR+5JZ+U3PbPTpWTBFfKx1eGjGtQ/
vH+oU/3lemu2lWug26m7EM5sc/YWdIFbx/lYjlmcQ5Vx21bIDHBXDpyTRo+Wb2Qm/T9SM1AGi3lX
LX3/Wjiju3FlGQgvtE8FdlX//OdptJuj6U4N6Sa3npD8xYHr9eSXrBBvPMyXZddP/TLFaV5GK2eg
ZV2ZLLjUhRTrVAr/7I84B+FAdCyzSsVQqFpDnuWUNUlwlQqStKwy/ySX5Vc6BU8pqW8SUGwuNTCo
mlt5DrBsJH+R4bpqVLgeZQjWkOIOOGyb55T9cCZULqBWcdNLCjFJcRTKz5XM+uCc9j1KyRNNKLuZ
hj5aY+1YQBFc/v5un2pLxMgJihLPHapETpecwluUwJ97BeG26TYQzuc5mEsgD3EOZkM2df9YozoP
NMj8dB3VH2eqiMl+4wnJyrB0ijc2jom/7+EP+sXxcP5leA3gXHqnAKTCGa91a+QU2wIzcO6Woa81
HEP+pCrTPCtO86x8FWuWnEeKX7KEq7lj2/QYYPckK6VDcRi2c+b2u5AHDehCteIrx6Hl+yb7LeKw
mwlbUb2hhKv9nIixpjFTsj1fnxzb5y+T9m51MZgRsqyEzL3XlN64LyPwd4+1I9oVJort+5cpevf9
0ZkzoQqcsiIrMA0ZE/9tSNuupPMsi9dktPVJwseK5uItKANvPKBoZeyQPugpfSLjtDYFlo2EXlp/
1weGe1hIFAvPvpY8RTXPvEgtIPCaQaZqL7LFg/dXtTRuGq1AxjZql7+/a7H2fLz7aZm/FUkyh7GM
LnwCFnK+JhVua8BAvewHCWPIAXG0bpcmdoNBH1WKx6GVGNQ2McZJ3oURjG6orM4TfNFOQVs27Y6m
dfMD5BS90oYlNjGt+FRegT5STuJMB9QwXHYvStSuHSQ7SBQu/amwz0cIA2lnI1gMrNNmnHoPed3T
3MkffQnz2ziKRi5WOmQZtL/4bh1yCxdy45s/BN+6S6SbRMXx/+NmYFnIJrkthBXbUECO841GxNl1
dfAcRl3zXIou2NWNYsfre4qtHwbmcZJPtZ5pdfb94BmbPPlUDZrtcr3MN9dbsGzwJr+tBQk37Doc
uhFu5fVhCOb+lg0J9N1qyZBoJ6BBjXVBNt54TLJblXkjCuCm9I34dQ5XQT6cRr9Va6rmFjSa8nEE
h1OtZM/OEB8oPqdyyL45MtpkAx4S38A6ZbpfZICHu5wT/r3v6+huSMolXAkgbD/egDov20miQuJ/
6U7S+yk24I01RMQ3TnLq14gWGyQ8cQfMvLsEKtyZQIG5P+hpXyNQXStWsvXCgHa6KAVlG+hh6MTp
71jpTs2uxKMU319fsRZMmEy3CKpPCN/ATXF7V96WqGl8lCB7/7cc5rVFamvCOMrHrubj7C3ZW+G2
fftFofhb3cIZFuoCMdJw/hr4bO0Y8O6H2S2iNq/f8Aj8K0/a6Adeo76BwLrGwbVsU6YHXuc6mVIS
T41ZUfEbyoo6Tlw27BST/U0PNvm2lWuy3zTuILrLBn5mjcfuWOIG2DVoxNaeUmz9uKy1d6d4J2sU
dGUJO5NQdZ/m6sKUSOd0X6muBp21G1YuOrYJMQDeO2VJSxkF56Ui2U0/im+jS4qHuvfKw/XVa0GH
qScHeWLKUUbp5dAIhzrItzRp5mY/ZE3QrpXm/uEG/S2PQExZuUQmTjM4sjzP8KWKQfVAbTbKEhP4
XtHLOxBuV+OfMx0iPY8XARFFi6d6jG6L3PlBwaPe1lVjI3CDNExyqYIT82Z5TxYNpdAuGZZ05ZC3
6CCRv4hxzQgN7gqplFzL5YE2Q6limel23OvCEXBfzTW0sVOEZWPsd6Rc4hkp3COqxMBIKXhFppWe
WpanSZcTZOAc/fMedL6IHdfFcgMyT71bqui306hk2w3AJMn1frZ0XiHYeapqNcUeU85r17nFyhXA
sjRNlpwTaOxAdKjftCKXErFoypl66Rew0tfSRhZ8mVw55YhwIYzWb3UTfoJR3byva45hC9nGkhZi
Eub6wW1Ct0nEufXaYJ8OxbcARkcrZ49tiIz9oWUzZjqfgxN8gTrwAkA2Y01erUR7tmVknP9k7qtM
SYwOo95nRK/tTav7tj3ysL6D0qjiKzGfbRaMUGDMhIMMi1+/TbPT7CqY5J1U7UpIdufeNqFj8ofM
+m7HTvHcsxQ0CM4NHHL03hMFJIhhPr88bdpcTMpc7zdFlhYdP+ukcSFvmOXORRYYtZTXv2+5Epl8
OVbBHYeOCxIfBe2/V7qeul9qRPncLpinSu85FOZReuhKB6+jC56bPjdFHaqVKjbLOjNpdK70HWem
iMKVH4rvbNQ5LAZGr4pWVpol6jc5dAo7Y65rNziltB13iqbDt7asnnoECPsikv3RSZxoLfNtWdYm
m05Pueei9vsylKDuXIjLsGDpDnMl752yXStxsg3Z5e/vFlyfq2Kso0vYGc6/Ktzvd146FSuIsXXB
wH1ZFajthgbC2S8C9/BH1S/DHhxroYd933pq5SCxzYuxA/BkLCvqlPKtn5ZfSQVKAuRb+7thrML9
7CTVgz+k+bbstCkyx5FT6B1GcZr0TXZTuq3//wiCZPUJ0DYnRgTQ4C5QjboOznPpI7FTZl1+h+tB
vcZ9+Xgj80wmXe9QwfB2ys46Wr6m1IPeItkNi7vtQuaZXLq2g/JIHkQgQUQQblUuBLD7gG86bmHs
YCxYXXUBiuTpuQcb98hcPcdqGOdNEbln6sVNjnQ5hXcYhmas/CNY2En1mLSJWHMb/jgX7ZlycdlF
NUfOATt7RfWb8TG81WNxSAZ516vxwJyExLQYtnbHQHc99fBJcDz5Vkce6AS6ob7zWHko6fl9fb//
eKl6pnSccGsxE1iH/El0S1njAaLBZYBtnA4T2E6A6gam2DloSnZxtEodue+0Q7cOkHGmqzpIu4L7
8g2FL2NcS13+hpp6uCld50UGkKsyXWoBL/X/ydPNSdTto/XyjI93V8hM/BsJ4+BWpE4Udr0KhI0x
GmhMfT1+SeTllton1c9Nc2wy5UB+LBTYb+wkxjyK22kitxPkF/bXv27rhYHndkxSDw5cwelSoiPq
rt1DKuAL3EQeonbY5AMVeiYjjqrKmfqoD08thYqfW+BVN+mz30nr6p3XBC/Xu2LZV02dOJd1ifQm
Lzz1xfzdrfFOkkztQ5QNa4qqFrSZzLgEtE5RNWN4Qpruv3OU+XEGr4rrP972beOslnnSTXXVQ1R9
wWNl3maQf+jUvMk+DjNgIBnkXZUFRCfPE8+yL5pPLpz2hqGMkZpYvmzrggHmCrqYUjoaFV8NhPnj
JGNTevB6KlaGyDa/BpzpksPGgYD6mBf0+c/8VlX6u1B5vhLHWLBgkuPyBvJUIcezIbzEkDqrxrSM
PvkVRujIoGkZgFftRmLlWmzpjcmUaxnKXvEUTR5Ym0PDYGIvjC3JTRatos6ypEyFONr7JM9Tzk+o
wep3BJsVZIbHTc+S3l9MOR+MMiRr0p8ZCUqUZ8w+3ZUk4Gtbhm14Ln9/FxhT2hWNK3nwqVeue2Qt
EXe8ZekeL8lrcZhtfC5/f9cEyWjeStgaPSh2UZEYoAE4hs4aC9jWAQPQPQ8WOiQzeUAHwLR0k3p5
VLrTxW6aPP79OuRsjRiwlhCSSOdoCU+yueypVVTfLJ7O44GHy/56E7ZRMlAtFzh0Rrl2nnXhJZ+b
PHPvG961x21fNzANx2+RRHniPCPgdk6LDMHHr9eKPSyjYxLhUgF62ryw8ATeLixmZJvHoM5/67yN
xkieyYSTnSPGqkf8lXfeZ/i5tjGehbbdDT2TCMcIIVklcDT3hUDxrxzrWe82Mxc8UwOuFgVMVwvl
PHdjXt2ovGiPkKH5en1i/yTH/k7neib7LVd4r6ly6t/jZMOBGT3I2lU3CQsfdVHJY0KqM5lqvmMJ
O06hezNo1JJkBQKbJUUxxuSN9aGputP1n2NbCgbWXYhJqH7Mqt+RcEiMM2O6CfWlUipfpV3amvgL
8D5tpiYSv+ei8GjcDuM/LKQt5Es9lI9e74blhGIG3mHkAKvDLq1+q64qRKz95AdOJr5P6OI/eaua
FbZmDMxXQ6AFbzN2mgWDOYoPRSdIZKVNcl4cvKxu64sB/aQKu6DL6uatDxMvFozJH7NQro4dB+XC
WTcsa6YSli3sL8ZcVBbTsIz0E3ERC1Ygb8RQjHFXtrA/zh4frHSTMJcQHIN94/onmoRh8ZBHbkBS
lJLxIceGE+mM/SBu2ubyU5fObfcpjepkziDYEYI/si85/AFfWRtV5Ry7nYZdzCERwchWgGjrvBHg
Z2EZKO5Xye+iEHDB0qpU53AptjkNeX+R7MKeNlIo+glmMXO3V9nUeah6ImvukhZUmfS6VoJB5Hol
/cRDh9d1LDq1yG+9KrUI40XMkb8yjR+uecpNlhqohx0vMoceOEl4cuuOqrufvdJ5WgjxP7O0a+jK
c52tJQNdqmBT0S0wU5Re/pk14igkiHBqKZ6Ky/9sQBe6Y6BrbkaIblUzPbSqR95ffU1A2C1k/jnz
6SZtecpNalpKCCRJGKGHagrGx5y28t5HFfhaFz5cufj8JYfzLj6TrvYQx+DzpEz6V5G43c+g09GP
TQNkSq5VnkNQq+DSA1PCj1ECrg+ka5xix3xkYTMu8O+2li7r4F0/BqRglyrtqq/wvYYRQnCXBBB8
umi7udT7db2ND1OwGKsLfN610XPwxFQ4VV+5yF5g/HPnjf3XsWdPnqsOXgBl9m3tGOcoT1nal1Wb
fVXBCOnyLzhYYaQIb1Nv6B9FN2y5XaA7xlnqCjg647WfQA/BF3dt57uQsYex7PVOfLin4OvGKTqg
JKYEMXh4WugyfVtgq30onLJ6QIK/3JJ6QhMGxis5dW1A+fAkOr+8nR0cCCVbDQNss22AW3djmBdD
TQ58Rkoo9dxfGj6ySo3l3mX0ME3uzaaRMhlpw+AOnsy94SlSyxI7Y1nvIEANFrLq11S/LSg3OWnU
H2bahOX0lEVyjscRFPAxKtaeJmxfN06/xMVbZKE1OhBMLA6dsIkjTp6vj45lIzdZaJJGPHWXjBxc
hYSTm93qYvwS6e6UlVt/v4Frgmx7RwcWPckmv50ROMRlisqq67/fNjgGmId0mZLGS8YnGMGku0qJ
bjen2ZqxhgVlJu0sgYrRzL22f8qISg6yHutdSLvl6M/BpsCOct8Ach4yb3K16p+oc6+S/4Ri2/Zj
ss6Gmhaogm7CJ+jV/NdlrD4UU1gfto26Ad6pCMWUQT7xKfPYAZKvDwVdeyK3TKhJMgNHYVYSPLan
LINZJRLFIOJt2zNNIbUeVs94hpm6J7nkn/xR/8gXFMASrlYOSdtPN4CK7ZJnCFS7pwhaROWDF7VE
Pfm1bti368NuAatJKmvb2q+moe6eWMOenLr/qWGJFQTuz8apv19vwrLiTT5ZOii88gi3fcoD/Y8e
YILjlOw0ZKsiCbZBuvz9/SnflUVZTV77NA1VG7sETgy9J7YdWaaAmqvweqRn2T31TTTGZY9CMuqv
qafZRt9AKoR5I1l0Gh/v2/nGcSN5ixIsdddFTO5mPPmtgMs2Bca5C2tquC6Dq/bEG9Rm75agTqed
ron7hmQf6ffXJ/qyKP+68VFODAhnkF2IJJXqSTrinwlCBXlI/o+za1uOG1eSX8QIgCB4eSXZ3VJL
luSWbcl+YdiSDfAGAgQBEvz6TZ2ns9qxZ8MvjgmHp7tJXCqrKisTHp/mehPxDYv55a++5j1TTFje
tVSz5OJnXqdm+jqs81mD3g5jdAEJluz45+/5zUt7TwQb4FJv7dptFyoKcI98acapljDC+buPf3e0
LR/ibYEL5gXQcSiBU+MKcmO+lNG/qu38Znu9J4HxblqcbbS56MzcENjHv6HrLPVH7LHPf/cUby/v
v85eOkDfOunkdnHRQ0pgJ61kmS5/1WlN4Gv6vz99hUYQnCntdum7QleGg8zwl7V6fPg7NM3BLqdK
4dqgNGpEGdvEf7ass/9ycfxu+7w7202qlxRqZuaC2dkvYhpe8kWdwJj/yyj/HyLlf735cQyxW2wT
X3raDHUzJLJq1L9++j8yAvBy3p1lNWjf9nPOLsINnwafHjBQUDHeHnqdX0Vvps/s34bXi3++Nt6z
vyADG6IAOZtLR5D/jfQEseQKek3f4OJymgr3sWnVlwnn+8879ndf9y5/XsFq0MYn7IK84BIGf8Bc
9W222DvSNtV/noy6o2316c9f95vg9J79ZaK4QJGt0UAImIQqZdZOH3fL9b+VA36zzd6zv5Y4ivVG
Y31Z+ux1nYrXeIRAVAsJ3L+7p94zvhI7MwhqUdxTUFkt3+ZRF6kqBJN/8x34Tdh4r6C2UC61Jp25
LHR5JjQ5d/t4QnolYANpz5ko/oWj87vveXfe30QqmIc4PVYinJjIDqO3P1AHPHOe/T++5ncL/u7c
CxU1WRwbfYG9iy8h2KarDu2Wv1yNd5EcShJIAyHKjHPp4foNwZ5y61V73Oks/3LHvjv6iY/g9rmu
+tL18w+vFngmeygM/vk4/HNIyt6zvNAeZX7qlbu0KSol6LsW6/qIktzzoOZ/Wed/XoDsPdGrGcIC
7sY0XSJoxpwFHecbMrZ/xXZIsvdMr2bgYL0z5i4xTKy5hbHLR5ReQ//w5/fzz5s0e0/1aiDakevW
qcsECv8bYHamP6YD3lOubxO2/VWbAY/xf+K2GqEhsS8XUhQYlB/anX7rdxRhS0yk5lB3L+SnPz/R
75bj7e//K05ZiqQxkdN+8QHOBzQMeTWHv5uEwnO8O9SBN1ETBjVdoBayVm26k88kGZNy/neJv3++
YWEA+78foBsxUVeoTl0oRK0rs8EuuEHttcxH8W8lh9+dinenmu+jnxmf1WVe9/sUZd024zUW7fiW
Kf15GX73FO9OtQxAZwi042UFHuwmcybQLHcZ/7s4BDvFd28p29dEdc14YfvYVplya8m9hDS6sfu/
JMO/eUvvKV/CR3pdYrwlEO4eFmPFEdDqFko6trbj8OXP7+l3X/J2MP9ru7YuJTbOtbqQuGlvtkLo
T4jbzaEXfK1jB1/Kv7sJ37O/Ui4EwG02XBoyfWE5ZtLQjnjDIfMChdI/P8xvzt577peJhU5VGg+X
tF9WSMblIwSHo7/igifZe+JXMowwCEz69oIL974TKPDx/emt0qph5PPnB/jNrn2vi5ZqSA7bOWkv
VLfsCRX8tiqKEL0UYEfWf/cV7463zKPOgngsLzxjNyuFuBhQdRnl+I8/f8HvFuHd4V574eEdvcvL
RthZFf5712+f//zReZK9fcr/Tbqz/N255nJOd3j5+QOkO6H5XCvStfEjrBZ9Z2s1+kTkNcAgYWMF
Kf5ijksxrTLZ0EMYdRaXqAwQqFwYMyVCQno+XxZTQZ8xkuGwmWYSGDoD06I5RWOywkxmcmksLikf
ZqzFaENKf4SAWPJKGO8icQ/ZGx0t0Cq1W/qcajuab1Bwh37+m6vU0LzEfbHYs8GgqlhLyVDQOsMT
LW/XMvdg0oKQss52IyWkL+hhgb3JeTUpH/FDDbHt5zhyyswli6DqibanS7aYlJsLDYbOM7h3NwBF
Oc1RZOrAvPMPSysixUq+eJXfNjB6Xr4wR/ul6uncwbOOtK/dW+t7q/osH1iGBERH9DSlS7Kr6z5l
u7pk8Ore9wNmYNTwsku4QZoa6pvbNt8BTjrMjIe1jeYBswQpqDVlZEauH0LExmUuV4wWrHFFwWkT
fTkUgcvXrdhQCu/QZuv3Uxrtbfa87snq+UcvB1T9q3ybVZgP44zMaK7ZAv3fOxgeKUz4GPBEe1nJ
efbLU1gwi7sj7xs78igZS6OveissUwdQxCGUV8lhntDMazBCt4xXzkrHf9luJALWXn7q+FQmGvbd
J9pJ3HslmUMW0lMEPzy/Q/mENeNLN3G1jmW/0ZBGoDmrNJGPoI8KegO6fnNV5BsEzWNntqbkcbtm
Fyv3Kb2iLYRwf3kK66bvBWnwUUcASjR2y9mAHsSqFQqHxd3uufffSEIUDoecpsLeYPivRb09b+Mm
HcowoO5izv3Q7Xw5hgisAlnacR+QIBQ0a1FrlWvPw10BHmTbH6PdGTqXtomC+7KlosAkcQEf4/Gr
REHfzFVEZMJfMpK0qzjA2LhP76C7Eg/DDeE959+jSCy0O0br4vm3dRp0n8CHZtH0ksw2eRuuaaP9
Ro8bNExtmkxWHsPaMPM6a8d0X0mthp2WawRp4EOaR97fc77mIwa0x35Lx9LNqTCwYeio2h8LlkgG
HyLw07cfOi7gtXyreePlB2hg5yTUtCHwQazUbBn0q6iaG9ikCNpwth0Qp+DKdBtB9RJ0QJVP+X7b
6nmI13IrMK/ZXpFOmfy5HzA5kB85oUpj/ZuWX+XSqYXU2+Sk+5SvjOVfI+jegQ7SxE3SZ7VHVTjC
woK+oe99nih2DVVoYu9S2AD6kxXTtNx47/tmPqoMWvC3JmJp8WmQDadPRJK9mMvCYovxYY3RxCJT
L7fzMLRx3yFg755+GWxL1mcwXqJmrcbYquax4IHNP5Rc3EJKZ4u1uZuaIkZ2qDecyjLhM10T+FBD
ZuShh+38IKrNLFqESilwLUJJqczHgyqCka85PFRBj1BG2zgtHXwF3XfRtb28jTffNGttWrvvZ50W
WnybVGLCRWZ0gJV6u0W2O0JRfc7vs0255fOK/Dc/ZyB4ElFvGN+0n6Hhk97SeF6SOzd0yejumyx/
8y0qlm7f2nKY07Z/zIqpkY88ZcSjj+46OgMB6x2mOlsS6Nto6YrPOVFsm2Z9gRW2ZuTQLrA/I6WB
Neh6wx36AKLMk0arV6wLMZ/bLqbsS772Pq8hSNuONYOYsqjDBupd5TAs29926OGfncCFlWBa1rV8
rCBXbNuPshDQKY53RQd0LRIy9+WC+Y7xZUpowk3dr6tU3XXGQ1Hc8wgxBnZlEANGLqumVtqmXuJF
ry9QsIzkF88jo361xAnzcUrzZBdwQi5WmMH13Kw/VTul9smksDj5ZfIh5N+8pQ5mOQAPhKLX08zi
6AcR0wBH6FGRJz1gHu84FonEvUynZhsvjhURmdDu5ilUcCkPy/SQkMT0d6jiyf0jyS0bZRXRoLZf
MLRu9UVxvDpb62Rmy2VMYcxEDjmzLK8mCD208F7bCGZRymE1mqrS9bHua6ok1efZFk3RlHL3On1V
+fKmVjuufrX3bbHr/tSjJYDAOHrWdndQV92XagwkCb4ielH5I1hbxXozMJhqP/tedNOzMV2Q1wHS
vSvF4LTzJDk2zrDtYaVN2PZr0xQoqaAE3A7bfQy1MWhCtfGQo5M95nomp3xDGjWWRat2gxfRjV3a
ly2jXIG+tCzFtJ6aMXYsP0qobO/5l0CypNUfbIwUrLu1icWMxE0rXT4tVerJToOo1sS83YjFSLvt
ZFqdJTA2dqsLP6kVLL8Dx4DmoSZr6rJrtRju6jGJIbxUQuNnMidMbc4RrQA6ZvLaBjGg0NHBfi6G
qve6f4cSn6fXFvbluKVd14lcnnrZkOaTsTF4/BgN6Qs2Yu7WLdPJjjDHq71OGg+R62TMKg0ydcvP
XaEGHlctCkSClphxHcAZaFLutifdhPE00CzJDiJvJ50cdtx7SdVCLw/y4pvueDkTANO9bDu1b6cN
stP8uLtUBhiqT5JVqs8wHXrWxRrhnKT7DuWyWrkxqOvNE+Ius9YMJuV+DANtj2h8ohVXTqxP5rS0
W+I2U1oGS7/p7JAoDuBrsk0vt5vcDN9LLfJ1ZUcsX3APUqLm8UOmRvAcQcUPyXmJ8lzUWc8t5BAh
MO3GE88apX9guTAYcpgV2ceStFFPyVG0ZP8K6TD/HVO6KwZ8ZaCbN/XIMhBjj7gy9i6tILAgkwsb
CZ3Gk4xW+J02LcY0bhs9CHkvPO8ngi7lFqBh7Rxe223XNmLDTmCD0PWeMwTXPDjh0U6LYKwEWDmF
6TnRbIMwbuFmckW4TM8UfcmiKBVsNTxApNNqHSAxI9YRqGTDEE1TbZ33mbj2HQT6JGhExtE7hSCQ
nrou8KIGetyw1xFHXPNAOwgh3/cFEGdfFxtC70vRNXP7UQwNlaGUSQ7ZlgPE/Z/WLW7TR+xJuX9l
O9wOswo2QTBKr6Hw3sm2ynMXdln1S6qmDzulifqeZQYKjeWURCaHdp/wASm8XzVdPmyC2LNvIVGX
HEdGuI9A3I9wj4BaYJdsOzSCd7ECqSEj4qefC24+jbLvEtht7rGxGIjFgEk4qgWBXB6XLuvgxOiL
MYijSPrQrBBFMl3zIfLaqJ826Fjb0vQttATrmJMAkFi00ZSjdwlF2hKyK4x6YAWcvRQFBzfyD2oB
0fQ18wrQtsy8d4RcAT+N8te4S2XVndopsRATgEDIvt0O2SbYQedM26QGNWba1hNPBCddOTb2jbu6
pOmKweFtbWN1B8KPjS6xku3wFLqN9rZUewuCdL2Bgary6xS362ZuCcgdkKozw34Dabdc61LOWM+L
f5vRucWQvoBoA2k6zfrrOF8XNp6IFL7VZykKrX/MSYy8DkofBR0DeCeYtJ7PM/7oPcSXsDIQguli
luxXU5MusT8g3kqdnqCP7Zw+AK9YTMV1UMCZ+xN3ER38JQ/pHBeHgrmkByEkQPngjF6tlnulBC2k
O4IJ9j3aO1IBgapug5e04v5jrpYuWTDlALr9UAXc55GrKWuRkaB8sSShrfY3uNPW0GEn1mKEoOAS
7pd9vgpx7F2LdAe6dusOAVOOPklSlAQARr7ufNYWmxD3SPGEy8iMX+IV+55cwdMSA3EHGM163KPL
CvNWV80Ql9/n63wWyL+ue6BwTY+OW5bp4wTfJuM/doSxPUExcFB2KvE8HjFMMeDAroS8vs1vVB9R
L7EqXRIeMrVa/rRTrbGcJEMglp2IwaYNutD8GFCWS7M6gX3J/mKXNWu/y9QJmZdp185w4TR01bmp
yOTa/EXH88A+5nIHUKtzLyP+hYq1Gx7gWmaHey1hF/DsYLowXnrrmpgci37NkWG1+8yhBDZ4dAnT
cmBkiHAv5yvoRqWjaEFn9dK0/cBrD4QL/KIan6OFyP20jOWyRd7eDSl0HhkoVlM6fgwA7pGs9OYT
P9Xx1hmhDrBTdciNAkBRFNfD0ENeoeE2A6V5aEi2F5VTLqTPHjfD/nUAXHRPnoBvLGoL/Q3yuZN9
0fsD23DW27InK9SmHoMPrr8R2bAnvxhxSTuVO07/ZKptpCaVBw+fPtWX0RI3OnlgDLtoLft4lKEv
pzS2BC9zm+AMUqWtmLbXJG2RfFzt2RYjzkKahmC6Gc+uGvQ1Zcc7iiAFC7IXszSWfqRLI6BI0ONO
rqFkg/9lhHZXw0vMb24GU5suKzZVjkkSuDj0sJHbX9a9XXGPpzME327owjFm8BIXs2wpskSlAqmg
FL5Zcw5t3yaqXFAEMMUd3D+QlesEO42D8pS29BOhYbQEj5pBManEVdeOr9FoRJxWzezDwKu5J0WX
lw2b5vxTh9DR6UpLbJK3csJq85PKDbZVJxHDv5J1nuKHnSI3OTNASWieZIUfljuVqDm+c/OO8ftS
iRlccSlDIDXmkTPk+Aoihvqm2GB1rUuxtyjsHueIvYldZ5hdiMoU/YRw3xk3ZEBxmByPvq0smfKb
LIjZDRihwBzAE3CyEHM5agAX2Cis3WKf4sRo58pkFTk4I4OB4zyWhdAu+paPEfRSmsJEU3wHql8f
3UUJ0N6MtHQjRrXluMEYjJeerJ9d62j2OGa6W32pu13vH7E7V9zvXQuimi7zLodh042OVQHcp9Jx
jKISU0/pzybqFRIAhppJgBmpJp5XMUo6zCEBjSBKVrGwb9twJMi/+7UqxKhzgDA55MvNkC2DsQfl
jIMXXjMj++ZVmOSUd7fj6HNk9N40i5gOUwPhxLRmfF9gC72ilsI4+qwEh6mkOGT0NY2irFsqHTIT
ndLOT+FzT3YHeqBGPuvKEET7OOZ8ZEBSunGAx+u6FuxViJCz5xabpf3ZTMMUYLUpjZ3vO4vr5nOx
giP5SVDWeKTGdqfZzRgni81rAMcpvRCzK9KW0kpkcmVHnUD6JNhkwlOOvK75kC6K4Fht2FnzhSMR
FaratEmX20VEWkBGvxkBIW3nmvYKg9NU3w87DCFCLQlKG0PFJm4kYOMixv5uSRaT2qoJrA+3ii5x
/DkeqUVDcJ6auavbrovTx0TKvbkHB1MXsoaB1wziwUBifE4JS7tFm6dJSACRiga8T3bKZxQ2EDrJ
lu0VEmM/XVYkEs18XhbkYzi9TTYPpePbPp331K6BI4VfhbRlSvsG4DQDLSMF5tptjsSMBmDx0mkS
DMH5jzPyPHGGVBW5gGINkjHkRk1SjY3mgqGMD3T3aDMMLi0VgTTU+IMSXUAppwNijuZyi5I44dXb
HTO7shOwUbf4UaixTVVSzHRPSlFYE3/BGZxR7oDTJcoWpcmmYNJqBnZFW2KDnvz9BLzQ8oqDYZjB
nheyf+DmG0DN/iXgHt/PkzJ9dy+BkcPXAKVqXmLhHAZ/XDMXkL9xMacPOR/CGjA/Ay+V5xYuY1N+
T4ompMtBRxqp92mGPkobzhFBOyo+LDNfOHwTWtmm2ymBaG1AGSUjUFsoHSJGqq5HqBlzaHBL+RlQ
GsGpMnqSJj+s29QxesrihPLuaqdjCirPmDu3LfW2Oaj8V1JQvfQVMKRbPimccqK+EA2PO4Qqjlqo
ue50vFFxFTmRbfPjIkT6sGwqS+9TnBs5VSySABJ1aomX36f5zZv9khTT9h8n5jY/tCncgRq0RWTn
rq0H0/GwstAP1WwmMGXBRenSUHKBdYG/2mQ0GmRJZ6OvecriY57axzUmW1N1rB/Ya9T2q7NlO0vg
xzLTnjN17eWMdBi3/DIND/kg0va7gbiJPqfYRI2p4OiT4KD1FlbOM55LdXDxnijt6dd1BqbB14du
Dr7MY0Gjx9UL6VP0rxc7aBThfMeOiH2q0VeORKtvPjUcopmf4CS79C9oF0amReXcLMuvfulj/JBh
HQcUyzixNxlH5CsOaECBbHiAsUO83cWIvDhdRbEsiSsJYtoQYCBKNiaOU8qmbq+KyVHxfVgjnuN1
THvawvUDpTrciisXIT53yTSYA086FT+uoQC1o9osR0ELDswSh89AyuIHKWDJ5kpFI5V8BqxdMVg8
oQ4wH3OOii0aYWafTrqPdrYf2CAND9WABAipE7TA+mpEVmHuF1QMOC5DpJri2IoOnbMKi5MMzzwl
W3EhKB62L/GIi/NiomUMS5khI5Afkiiw9ItWTSFeTY9xBJBcBrf6EafShOJjIXDWnrBZVUDZPmf5
B1Se9ul2c932vfcI5A2Sbb8Xh+Ac9iKAWVeQDwIIhVwJlgX/feg54k88pLSpi64vdK0bDFGZGgNV
yYyUNjYeVTLUTAaQtGybb0+CI8NhFdZ2Q4FtgzHMIUXGTZC25WoQTe2mNMy/3IxJwJMp2jb9TnYU
xT7HuEQcCjUw8krXcxNnXYt2n++W/IzITx9HBVm22lJuQ2lmYGC4Q9IWLxZVx+iIuQuSVZFCMnnb
jPNmztiz7sh22uK1iDwVlUxCCuX2ZZ7bG4GUw16joUBtSWM6hQoPDL27TnlYFRdFtD83jeq/ye5N
brZ3JoluesOKFIE+jiwpB83yt6r7bCsIifrhOiRzdr8id7yB113/gS8auUTSOHUWY5KhJsTn5Vu6
bvnnBrKBT8jN0xdO9gD3ZeL91TyA4Y8iS4RQNVF1SgfdjNWGq345Ob5nBG9UoiKG6PI4jtyEqjFz
/G3mwX8cofp1q0mTWzSRtwR18GZjc4XmkDtSAJGjZKO+2xvds8Pa8fUnCt5J8TgAbKcX1gAFXntU
qroDJJCtPyih0eFBqVh/X4p4vi4Y7LTroYHDb7WKveAlgrj6AdlIvryAev/Ww5xR4j2inqx13eOw
oARRrGY6qT0q5tMeJN3P+RJJBvWwiSVX8UKx3wrXSHLGsXOAs5x1cd0sRj0PPBBxmnaMKFYqnZKy
m4tsrmMUxl7mjYQzS1Jggd0PcL5XqzP3BZ3m7G1ihX+ZWpv+UNGCqSiyw1S0Eogh2cH1MCDkA8mn
MmRihWI4Nfl4Z4groppZ0T/0sDP21Zbwnn2ASC9/JDDF2Esy9IO6AkZhH1BNjH90NMeVJ/1YnJnF
AYZnTR5bgzxp59nViNaDupq32ZkDDmJKa2hX8zuHdlV6x32/ZxUfB75VMfowj1qFri3ZAp/jkoFj
eo66pSvKeAD0A+zYps9uG7GccAcYi0q1W8evYbQM0ehBE8gkYhRMmIo6CEkfsli4X8k+ufketXSj
0cex8RPyEPjOzHmwQ50Pe3iiOlv2ekdVjteQ5sHedtls5G1Ki42dFgbgfSp4byH2iuwmqpMW4Swp
kRBLsADJvk209EHym3ajboQwL6GPgLeIZxrvCwhTtnt8lbxVOw4KKfyd5ahq1wZMO1btWkEUfkOx
er+C9JDiVROvWHs0+MGtFTyz3/sFDmEfYBIYD7Bpkdxew1Mg/GJ+KLqz78hsr2a0ONpSZV23fRAw
kVhLVC3mvo4zlVwlMKiBoVnms3uW8O7Sb2J0x3jssGszQZApmi7V27UHMk1QoE2gXx7gS7LVuATw
b4qpH6afNgvyU56k1tQiXmd2NOnU9lXB2pYfu5VvoTJRIZJzbrb5NrHYKFcSCMd8tMnM74Zc5ulx
3bPiI6RHJdof6Qh4X7QOMkjgqVfcrO2NTnaJCuOKyH/eN5e+BXFu9WFBxC4qeB1D7rjZocNaQo0z
o3ewwtp9BaVlxhChMUbyZS0mSZA9TCtHzQ0iaahdoPr/MRl7bP956uI7yb24DtvbqKgpepgYFElE
vzHVz/IqTXNLD0lvthYvD1EOrZ2EfaIwDfgktJz87SqXZLvO0dE0Jzrb7RN4y+o+TyVPHwRbcbQ1
iBPdYUEWiC83Sd6f9OCGWok93e+bYcBzAzPZT/G6DbKcdd7QJzcW9KfMdPoD0pGyQbRzMu7uF0xa
NwdUPFpStcD5tEowjZZUysTzekN7tbRnVDLX5qub0XEodw3g/8mi0PtrcD7TNRTQuTszMkPMAgUo
iBijYmglmE5dPODIrztJPsGbJx2qiXqyfFmjbEXQ1KC49edOZwHd+URqWoFgt8h6WYR8E2zp+6HG
U5LwU6NFsN8AisTmAfKokE3tZjh5VyvrIC5rnRi/o6XA8bKAmeg1wb9J4FA9h3CbbixDLR8xGw0w
/DSChMs0zWMA2gtXBSxlfDkzCc8gdNb53chwnyMBf7v4ER35eAXJt81dC9JDCBbKOGhEWZt33/Se
919boLz5tdeU2iu0Ksn9vhn8rHjamr3cTc7u6eJ7V0JaL71NEmDM2GJY8QgI2j1vk3T3U7L5Z4x/
KuTQRTQBmvuNJac0J/LnaPsMRXa0hbtyHxi6qQKM4wodKH+mbYiK0lpkF1VOmD0nfGvVcZGTeV1o
nMCbgcfprk5mplD75aHx9LxA7+V1ABPpIwUqguUh5JXo0ebKuJsYdKJrgWxcvUyGzXgdmsc3mCmz
l2BRxjymMItOr/oRY98/Eufj+TkRLR2OYM/lAClmYB/6bVnkEVb0E9rK/WKGQzJRhEGy9IjcAG2g
2sQm3V4gZIh0ZcKVjzxpmaPxtVfop76OY8vsoR9VqGhT8I+9HUdWRu04qctK0Ws+oY+Vdh+ghOr8
KRJMy6vNzU169SYzw6p4JyGrBkzz3RO0wMxVLEEcOE473tyH0MXZdDUytyfXc2PxkTOoYV29gF5B
blnkuwy7RUT9wbpsGGsn4n6/bXrAlrZEVt92h56j2H8CHknbSsRcK/w2+Ijk/dq/UORv+TlsjWWQ
4AAFBag/yO3DuOUoooKtkOKqbKCSd28Bw4dPfsxbjAlkBcSf11MbdniVVQlEwWAPA/qb+RHTrNAn
1JHp/m3aOmweC6G7UOo5t7ct4pCo93luvsGMWt8TVBrmG0haIVz4aaYGLudItJBPYuAeVwQcxP+j
uSjRmgJaM6rHvZw3avq1tPG0FCe3Dm5+znPZW/0cXBJ3w/3GMQuw3i4DIboDhbpAMsR+zjJvAG3Q
GZDJeYiIDethzaYx20qD2Wjm0NMOUbvdo9Ou6F3LKUYdnQHn53Vw6O9/QKLdA9DnOQrbaYggf5D3
SGJ0yckYyXvwQKICEy2onlVdr5Co50DVWQ1EM8T1sr1x15H1ii86hpZUvQ4F6ndp0SQI6YJKFILR
R1U3KZNelARqqkkdm9zOV8U+Fw9tHO/ZqfG7vYux5+WBbzqgcilIlFQOvREUGCEO7Mp9km1AmQVp
amV9at0VHTIYQikQ10FlYMX0Ben+dp/t1LwiFiTPpFiG/eOoU+Tnw7Jo0GxVYGi1ZwOaZf2bKQH2
SxbWcurQ5z7M45IB0ftt+dIDyU5XpEBJ8zqA2BJVfGFDgqMtYlGLNevO0xuivpH7AuH5IeP6EYir
aQ5jDC+pZ7fkC0Jp3qTw//Hxg52igR2GKctiX3rdFkYeKYN+i0cPXN12xtMNt5m05N6puB8f7d5O
1yGfhvF+tBmEIAvToPKx8rFZr8DHpKqCcdjgWQVGAhQEaT7HtowjCt9AYJt4r3X3dipGaLEONSDq
AGiVwcDu0KWpGD4sbZ6hduXJ/3B0JsuRIksU/SLMmAO2CeSkVGpWlbTBpC6JeQgCCODr38m3amvr
6ipVJkS4Xz/3OldhnxWdZg+ZY3e7m6JUnXos9gRQ8pWViTs64RwPbm1VSdZCVBx9Z6bw2cpyeEG/
DH7Xsg4v1WySGN0tjNQfy0r4f3xZ9dU7a0vSn9Lty/u5z5kBS95i896wBEfwjtEil2Gd2up1Y9oQ
ACitznZpm4FjVaRLrw5NzqmMwlDo4G/dD+722YrUy/KIxzxrRaRtlW0Y6MfsgZXaCMgJoFDTPjDz
LLM4FL3Bzl1znOofOsk5fFhNZ6So0CNnnFUYrNnr0Afq91GIkP0zmCPEflwLz94tWRG+t2YT9vdZ
GC6f+WDM214Zfra89aulq++K6AwTcVoKA76r0kR4qYhwvuD95ucfgIxsy/ryddk+UP3p8YBilQeP
tr/gB46bLZVzH2WhW2wPy+yb/qVyp4nh5qJz7Rz1UtbdiZZmbJPNFXmxV5UjbTIVHO0cllnxcRtM
Y9hNVwcUf7ZWvrPru6Bgo5LdWmbianMguAop+23KrEycisZlu6PP7oq/vpzFf5xINgXuEBhjogZ+
uMgkCv0EWNBcc+3BONGvpgldSB+ejKVNrUPea0d10TwFJTBbjnQhr6onqSyubTFMl0CmCMi7gSqs
uLTwCmXSD0Y2JJ42s/FRI1tnXw2No/FgpKTNWbsOGepFLnK5M2zdX4uwXb5wbZlABFoDTs8QQSOy
9DY759VJt/FU19Mm7rmt+K9MzXmQNirCe3dZm4eqF1uaTE06PMF+hWebAXkQO6VJ1LHbpuX66JLW
97bxqRSR7rM87h2FfmxQ5307FM1HawOi+ip4KrvjQkddJ70QAxm52n3VZEFc4GPD39AiBHiEM3rq
wyB8aeqmNXabO5h//ZLaF+W22v7R3TFdoKvLHzVhmY8urfhvWpfs+u7Mpn9f2Sga/JR03c5Btp6w
IsaKNOLIzdk/3bLNF4VyKy49++n0TURvrxvz53/gshRtrCDScVeZdBhzLtcTcbjWnvh22R37ZdgY
WCzK70xnr+2lkw+iDNRMcqAKhTiy8konbA+SS8RgR3YcLNv/Y2DYprDDc1vt09ZS72Pgrn+ykPft
BuZm8VjPjAj6clSHfM3L6pDNUus4dJfqKVhl+sSRatzNLOH8r8ZrdHLHBZV11JmZAvoy1VudZT71
JlVZXJuqdM5jp4b5nE1iKo/LVo1ffrGSr913+g3B2k1GtjC76MzTZP6ZCg7MHEf0f+PsDtY+xf4x
RNXmUFxTJnrb0WRvhxlZiIhh7Jp9Vl4yuHjmIHNGFcCcxX2n3bqJwa4aB7bcOBnrYUKwrkc3X/rE
6ahp4B4M6+oVxTAnGcWfigAGO28/sCulPDfzWFxy1dZ6nxm1GSMAzij8+bCt8dbb2ZpUEEkZw3t/
845oVt17T4GCuq2nxtyl4CnbwSLU99LrWw2I5gh0Vge0SySDYEoNat+sKMwH30vGVOSPKpyzOeIH
y82daYIyu73O/lWUU8aByrqWF5ZU2zpe3aV2YsPfihdm2eWD3QdtfmWILNVhKKST7qGgyuZ+Ef3U
HaeKQjDbrBRhX1LLBCHLXwbBg2en4XptSAnMI+R0cbR7E/47K3PnqYYkPKddab2CvNg6yZXBLMHs
IUTLRg1N5MDaVTuHmJxL2GxwM5PKsvKI+pmZJ1f4uolqJYM3TkbBHH4rqUMRpVrE46X84mtGzRam
9j/NZaLQ6DvBQ9eyJW7HfqK2ih2pWePEmCC0oqYgsG00bbHD2L4c+UpRvzQ1fKmREMgiFnQSCAEu
yUvFYNwGpULT5NJCEqDgULczvD6weheEpJNGa8XZ5ujq1V7q+l8rhvwJSzUhMC3CdySXkL9vV7FL
bGErfTwOpX6jWSCcOS02RqJGVVa/VMcqOI0QhkPcD2wgXsJG/BRmENRHNu6qhFc4pf3ISZSP0yZ1
vSSsLdXvbG5M6n87Le+thslbbNZNdlKpy8FqshHPOFepdoIzYqEHb9RU/xl+KBUTKZMTBrXTGHdp
VWz3rKaa1W5Vfj7HyIh8OwB24SXwHOfQhMuasBeUMjnXGcCZG6r+WmWC+Zoopj+TM9A4AHU9L6kw
X1ftV+cib8N310JnosB210Sk6aAjvQ7Oc1FVlIp9azHH6FY/uE7s0Pxu0lrYn1WZrka2b0qrCo9Z
5szG05QVKY1fJXVH147auveUBnP0m6KYopU7dz4gvtBykVbfF5zsHIMxR5g1XTKjAafximD4slSF
KkhX60Syk8zyiinw6zvCzAUT2lZ0n5CizsljPJhzPzZ8/XbHG6CASpxYw1ncNaXXQ9Q0XnFBfO//
Y1mtdUiNVnzAHxOMH5p93uxXMqdU5Ad1GsTzhFB0gDeu/g4ZYFFUmX31NqAp5CCDDKJ3qm9a9wUh
2rvrPVGIyDV4T3bM5PlLtECR274g82I8mRlNI52fcLZfDre+fF691vRjwv5LfWHA1AyH2boxvH47
5QeI6ak4peug5ntl5JlzDJWFfRKKUP84bcaYWS7jZ1Cp9Q+LqbHP8Kzb6d4N5+q3LSbt74yhmF7U
anfs8phLaLdVGdlTXQk5H2nqlB0TUTA5sMu1Vii19dTFPWLYBDau68fQ85dwH6BKJs1oKWsnJk6K
FLH4O+QzquJ63TRhBg2slFWXzTWYVfMyAUf/dUgQLlgRKtY6SpG5hv3Uaz5a4trDNkJocn6DGS0c
ncFf/wMjnv4U5sLeWlBFCTbV0hT0WTqfm5S0+n1PUuZyRs24MUOF125XAAsnsoQnxTHDJ/3kasMH
N/RZN5X2RLrxSVrT3RyE7Z/BUVCiO2c1x/m/nBdj3YvO8MXxhkbckbIxR13KD24I/hAmklmjYrH4
faRLXZ0nJw1fuDltUpaFfdd3lvHhKMNIXJcpvG4L5uLu7Ydm2GyOkTvTchTFYu8Ns6Z6BkvKD1lY
cm0aRX5g2iEozZe8dJO2hFDwpfT0Yxpu7fc4Vsh3Rji5M2MXd/xkoyQCRL8sI/1Q3fjJbAgvYevc
7+Zpiyln64bidFO26hgTtHGiPYbHnwbN5cj4zr6C3/ufoWX0Yj8wEHiZjcX+5BlwHzxT5u/KBoYG
K1BoklS0EEOcwuMfZZnDX3s01zYmjr6LR1GjxDgq9B5XJqrJHFrQN4OJ8SXyVV4bCIKV9dnl5TBd
+5SuEdlGbNhJ2PUCR80fjbjrO9/V1q8vm+Bo5Tjlm1w9a/7L/ob6gHa+MLm014u3Zf1d6Xm39qBx
u69uGfOfisyGz2FEb2SZC4Pu3Vp0wxTV0rAMNhAb7j4HwHlb5n4a9rZp9+txJPT+A1NbtfNBvqKR
EjGmhtvWPVJ30caNLNktpKrJs/jccA5EU5ON3/bizhVXzpoO0WQ32xMN0nCnEILvvPV25GN0Bd/G
bdekAZtA6hEtfJZSPVerVdxB8gxBZChZdwm2a8pBP8Qpwf52eWq9ftwVYGN5BARq7GSvsoRPuQD8
HcaBJ7Tr3F/T6T0/prcJUactrz9arB4bEpsMedIX3cX76y25/6NJ5XhV9jJ9DMNWXG8Ih941Tiv3
GslsYRRpW1+1NW50U2v42NWij1Jr4+iSlXcEf/eipR5S6oqJkq8uV+dM6Kp652DenJ3sRHrIECVO
DPA1c15oqRXiurDetQOoEqcGxGlsipVUiICz9keBjLEwaZSwWnNvoqG37m1MALXVNzs3b7tvdzb9
6V7AB1+xpKSc84Y//BD/UbTfYChq2G1+upTss528+zVVaWLUpbGfqsCKZeA391PedOGBcENUhqJT
7mtYNIiaKS4BPAlAMclgNR2zGcqGNEorfvcFUH3c9WtF1dA7/XSBhWZ/lLflwxxZTVasUcVtx5hd
FOMrAm/55VvA8Iy10ObH0GzPUy+REjj/rhVpfW9Gu3H0j9mKIFgyM0pIvx/f4O67u7xo08cQJOLV
AHrjwTP7Zj/BLj4Ybc2IxhjLo+5tBYjs+98yvMnVqb9AIbXzcikcm+OO3aXjMQiqKYyydhHQNFXj
HXlltXOXTYP1Y7b0GruBc6dNcsdGkBw96CrgDHRSy6/Wk1wJxKZ4VU3i89qpXWV48z/X2GAgfCnM
XWAM04eWmWVHKyvb7izaa+6fuU6IP3b3aO3L0esmKvXOyyorIlfBTmZq8P88MRo/IReWE01ZWQVR
i8xHQmydMqkzJWHuu7mSEC3CmtQbO1gLLzG0XbPEyzeyH0Yp2a9b1OZzjq2mudKV8EoFcuZUyH0a
0qa29Df3KbHIjnT/cr+75UnyN3sDBSz/ynStnrp67I2Dqhf/uw7oY3ekHSNphk3w39IMW79fvKn8
HvVaJxODrnurM4t8XxgLOvdyW6oUZ97isAqLc2cXcixF26q74zDZ5oPsnIltrs0ijwo0rcbq2mUm
gZnU0CfVZvO5W+rgzoRhecs9fG2TbIoBq+SS58y6a/PvrEA8ekfbidLNdOeYa/cGN1N/5JU3P9aq
R27EMHWE1/BecXOUzwCbU4fbqiIrZpjG8JJaTpAeOibXcucujQk2FZh8pjlwaEO7U6VtBCasbN73
kbGNyxIDHevCteK8ysN4mTS6QTp3PHuaY3QMpvKe0Z7xXQxa2VGQj/Y9B3sQS8+RJ9UYmxXpZax+
OzvP/o1NUCe2TzlOP4ZirLkpkBiEOobQi3uEWuOMLAXrwnycZNsC0fpj2DJ0wSYz3TDZwlABI68p
yndnh35wsm3Q0Z1G6XylzB4VUEgIXLGlZRCcs4pqifHZNMWZP27/lgzAg7k6oHlfj/6f2fLphvng
9H1t5uLhFmuN0sWzBn5E9cBW3El05cGQcIZ3o2BECiTPtNA2FmYkpXfLnOdS8p9k00gnrvM+vTdH
R7vH2pWqoWoohnbZjzgXKuyVnvbOcu62p81x7CcHHWSvgADyZG0lBOpKmbZEiNYl6qnjmBcajGzA
gzA6/us2y8L6oygoCT6vBNMX9tum5T4M7fGVmnW5BCsdOT48VCuH9qreF8IxUEpaPl93m/WbhyIN
eOOwLzeqU8P6dvGJgLBiP5PdTES/ww52cCeTroPZi1Vnb9xT4XtRrHmWMRzrDJFHXlXewCPOXWe8
h6dCe4Rhn4pk7lUQJOyFLIJXsOVcPW6asflCItICCVNI3VP9iQqnUyQbydcmZj0/slOwecmRHZ9E
wwKspgm751qy2Gkwtqw70vfP95YZeN9m1c/WnSfcMX9bXN98Qx4XftJs7IhJJiP07NOyhNaCTiKC
bqEGyFK2bLrFOPonjuUZe6Lu9byauGosa9l21dqJZywKtfPgbVw+TTLoaoktyKp6J3M5PfkZsC0Z
LeXDMiz9vcVk/7FLgaK53PKgS5DAnOEJfkEQu9lARIUXa9NGmiyN6th+SplLBVVuZBvvwxRhM2qR
28Jdx+dfs+2+6Kw4nWp7OjQVKwHiop90dTBmGsHjxGTCZq5aQlfIDmNHZFDRldGWbc24BzLrYhMH
T5j4dilN3njLPBWu3z7x46Mws4MH71HemvwALMxM+Wbc4K+34SXDGloz/p8HkQecyWb6GXYGLSar
cK6qZWOoMYb6uxwKCJ/BS1fygWAxCgIx+CWAxrYonoLe4TY3l356cKRYJ4QQAtUOfVjzTljCwXYN
XuD/ZLnJhMLr8uHOn4P/syTjHEZeO/Gbw0jMYTw4hAHsBpMnOQnL1ZAgIVUaMJqzW+BDmu1+59Rr
AaMHWvG2VnmNEk192TH85dO7861W/EeISn2kSJUPljEbTI9ub3FLsWseXcNcuC18Z0pUj0djX2UO
zlXBVZie89zUe4AFpmtGYD8pTUBuwVBxX6wVj4pl9dsVnGy444TNTm3F1CSuO3NE/h+AY7EOGfV+
XqbtgGRk71fk8qsfoDI7E0dOLaA2H2TuaIOx2MzY+aWe+I3PagnqV1zdBL5sW+nlx5yv59XrRHBV
khXTSQPKc1m8sHsVulTXqZ9K4LnU5dtwWj4Go2ZmvGPkOcYpGBf1H/dayWm21EffDPw5cqiuLwWT
wT8dctBjABMLo0lBeFLGwsgts9BzOy3zP0JavGSZZ7Ncy8rewxHahvqXLzuvvfxj4Ym/ICksnzNP
gBXb80xw9s2BjR2FJz1Drijs78DL17M9hGh+4HVQu3LqmA0g11nvKg3w4VduR7LuFNzpOi1eippP
KdwkM53JxgOaME9nUNtPas0j5vfeb666Bm51LsNLn2XG4ZY2/Ac6g9JstoOP1aTj2uVdz1SH58H6
NgikZVeHM4+fauzDs84d/0GwW/vYZQt5/9oJLzBi3mMzhQ0li6uZ963mYOx7Fq+/jEPQPAxGnx6q
Yqh+x+aGlLRodokoEd0bHJEtvAAmNxuzLhKQ5y3/BfbAs1S1OSCMHol1ZUZC/iRTmn2G5slCb5dt
DM/KHJGOcAvVR8snQrLwwXB3Kg+cKXbHxoM6qOosSDr8OT8es3Zwzm7AmILrgPe82h4b8NtrTTcc
0bLyaneO7ZGdEXr1T14wI/WHoT7hNG8PgV/ADqkm+5QmWNyxJ7H1wx7r2+jGuRVfmjk+TUFOmit8
ZHZnZkp9GUXQ4emCbn/w6mU6GBXmhtia16r8Ym3teKqyFH1Ec+bvuIyAASPPwSawr5G53udmwfMd
VL69c1hhOO8HHLrhGbVgs56tgHBlTpqe+hIxiZ6R7ZaOPDRuXc67jNW1c6LMyQoZfUmn/ihLRzPJ
9n0BbuKvYUeqdGFgqVhFoSJiRKsvGNRU7IOmrlXs44r9YzAQFdebIMPhHMpAxHTzo5OIcV6CV1rW
9ddi4znTPm7B8FdqY1iOfu4jo/tYzXalMWAs3qqiEMfQYDtf1IRBXl9V41H4uziC29023BDQTEzB
fLLcrjSPI9Ppc4WdAgul9Gam4MPG4WwFwb/SpzXbFcwEvF0lyyw9TrTGaOOpD77tlSbYUBus/T34
uvvPqLKwuG6iScPEmjyHSyqEt93BeksaIamYMhee6TW4Xnz9LTQDi7hRdYZrACpi2M+3ogD2UvMZ
k7qAiDVT4jk7XAtWLLYmwBs9z/qHm3GeL0wArHexenRQJSSIQQuZlvFiqfB1CVqTjpQGBZvB6r77
bVgzudJV1R9a1h68SOWy+APVi87Cnfs0CapyYZZaLW6DyBGawKhOYKQvTU6Ij94kdrSC1jO6Udpz
tIpcvVIe5ssB6tU5ZGuPU21Fonjg9Clq3AQirfZFh/scJI4tBLsMSD5nOFOWZAKrchjuyrLLG3Zz
T5iWAiLx7xgcM9FpIaDFztSBf5w3eRM7rVvbIiEaos7UjoycTfo/RjBUwUPOspE6losYH1bg46vf
S3s9SIWgOUtIfc7GJW0Su8dFhzV3gE3PSJiFcuK3vkcapDfc7Jyel7g+nPluYVPOzoPP8y5xaRZU
RVaC7OaaEcBH+6N7lOeeOv5zhgg9aja9/gbB3HO8AO9+SSxR/pPd9c1Pk07rBxaApj+4q9Oxo1XW
/XQdshb3Ul6LOLSFutejxhSZp/Texlq6IouysjY5YBxehT0HHWu/NaLmiRK1c7+xU4f/cJ0w4+OS
ZrckoFJ/nYKmjAgq7ordwnXDcYss4UaKMGzvL5SO5/hx57Nchj2r/pj3uCZXSVJk69SL/Bi7XI34
RhzLPWTYkIp3LAuM2Ytzx5nSWvdAZfWQXaAtkAL5DqbFu2OrIrkWQb8BJsCepMeO+MxnEUpf3iiW
oTH5Jjts3weRTs7vbM/Vm5Q2ah2u7+4u3aRJZZRms+Duy0fjZOW2CLDMjdUnYXdMraawKvdbYHlT
S1ldMZlfS599USylCrzYrgN7Hzbueu8Pc22+A/z67r+0dW0s0gCkenk1ykp7P2S8zFxAdIQE6O8a
YTiC0rOgicc3jBYVsvxQ7idaAvMMR1gUezTFjBngYt4Ynq3vfulohX5ox9CScZen6mx6NvdqGtjO
c70SZrDD8CF5TMg1PJQ1qmqA0f4vTz8KuK3t9QPL6+2VtgLuSVXU8t+NiH5uiM7MdwWDapjixgUU
Z1sYumU2hOSchu3UlVGgdGcdB3ddRGwZ0LgRdjOYM5yyGWTQiP0u4ZKb29sWVbf0EosBZP3U3mju
KjJKqN+7ldDaLzjwuosrWOngihMzqOMO/2OOm6aa8ucQsFly5qbIwHngQta1NRBbgs+mdbHc44De
hbArF66M/j6cV7vZdwXuxB1pGHxBoaqyd9ZH57iRCr7pHq38ojWlEDNY7EPHpjSs4rmYw6B8xaJv
yWuF7gviwr9chTMsF9c3EFWcLK86pBOK5QjEZb6mwaT8//RUUwqwcMaGXQmakNl2yRLZDRjgzJ+/
0YiEAewqWRndWeDLXGPRVOrHW7og2PfeoOQh555lmAhnou66kpeNgRR9NSkJ2qJxlOVYkbWI2/N1
NHo7ODqjd9v0vjXkbtwuUW2xPsxwRtV/U28ipu4a8DXaX79zkBs7C2f/S4mhSF3Qi9B8VxH45UXC
1cy4TBw1v0DPbn48C3q7uAbZGCLup2V+zLY+pE9gEti/T2AXz5bV1X4yqbJYDpPXk2Ph2mmX1OnY
23XkMxQa7ixTQNgweivo9S040URi9mTo2yvnUY5iPUFs99CtsijO7ASBoyD8QB7MYLPeOIiH5sOU
Bshk7SN1nYQL53Qi76EpqXrEKu5WevWe97fKhs8QEOc4csGmx3YSOebdkd3oV04GBUKnTFuWT6vh
0khJZz4Jvxu7S95ipvpBoHP9z84buhzZou6+W8bpfrwpNZVPLf5MRj2dv2WH2uvM7po35ozYR9Sb
v3zwVk/CjQjrxaoxBuRe/OSkN+nvuhihZHd2K4v2b96isD+iYa7mPreJ84ZV9nqDSs0dggOzLMHY
xBVa4bwyrTmony2M7JsVez6W6FMTMsh4KqvCUt+Ldpl4uFzn7IpmGCW+6IYWd0SD7YCVuDyqKfMO
OdYxd4WLvnUekU4JEVujQqJ+XCUPgHtsOu1kn0QjWMOvi9TjpUyyOFZv3UspnKOJP6X/DnhL1F3Z
NY3LXIihzAe5VDbqvB0o8njaqhJNs6tdrQleydqpfux93LYnlEWvuY7r4gUWmwJgcQuAmY8uB4Em
Md3bqhOZBozKmZKFvzVWPP+iIasEjJ4ctfPZM5u79ZDz5rpEoUsZ7pdM+ul5dq1xvTMYlOQXYxxV
/rPBB9gr3zYl/EeGeboBPgCea95GgsfKdzE4dvCnVEo5KdusOB7f7az1CcyvKnsbGXUqvxf6pDMO
QnUsnWIaSrS9KvCMRGq/ttLnIi+1hcPOqtv+ftQan8ft2Rn1ISNENxflDgxG50kQhmV2XCXhV0G8
9PiVdwHdFdT20El3X1nNtkX9kLs9913jBaaJh39Zw/dhtvOPdctEeReOlPG72aNm7g/1LHnCZ0Qf
dSpbtRiE6bZL+nZjs8jHKNo8e3ZL1sJ2cTq4LeqDabqjONtiws69G8AAxrcBRGk8MpFHNU91Z7AL
UE8gGNlqwccPox02ycKIcnyBuBbtUy+H0bmDGPNoTdNmrfa5YQfFE5/J9oiFzS0SYmLoG9japJ+9
VXhFVLB3C0jKD5znyhgUJbFVM6Zj9h9mxx5JV+9Tjx3Xhe0t4bFZjBEoZdBQzpXTj80fofnBKQZb
0wpPTDWy/KACEl5g4RHGrn6NKnUdHFKc7m1VrfXRhD/aHnRBLtAQW57osqSonUUfC5+VZdluXsK5
f4R6K3sec+s2vZ7XbUt3Looq/wKlrFwOa2Pw1urQChf/PPEFDQMitBXGkZzXnlUc/NFTKuAS9GmI
E9WCJvGPsfMJEgKGsPvxqCeWWN17Ya99IKdmGEQ0K7/YLnObLpuBpmwyS039mzbFaBr4VKwOOls7
LNshq4Lsp9/wjeIgnlNxP/QNc6K2gMPjqZIQT2toUTZj4H/BMTKInW10gPpM5ZZH3bpwLZ0ytnsh
4dF3SgjNrrBpMR9Mxp1bEmI4oV4anId2qJz1ZDYCT/ky2QWzLWdmsmgZofnFrsMBmqBw2mC3orWV
SdFIXJu+j8zceWP2VvLSETXpD88GqWVfFrUWp05pAtGKqZJJO8xcj2vNRRsNamXEVsoxPzid7VoJ
WQKod4QdFNU1nQgC31udSxtnjXm2d0VdvjDigYv2QvbjYGWb6z/l2k6gLxrZZJdPA50RC7gZ2XEX
2v/RlU8XlQpiENbFQswVdR++Zy20aBTmC+Toti2s7ZnyrH+WXgh1GC43xc1vNKKY9IfG4nJN84TI
GvsPqaMQVzjpsf+VM/N3x1q9LaqrwfiSBtk7iXY74ytYtqk4W0xUNoLMC6wb2M7IZZ8N8wTWRprD
emuaddiyqh6HOLxeWNwgAyYm6a4kIPSN+Cj8vYSiWPMxM3rzWKM9vdzOxbtV9dyAmQmuSU7W0J38
OqNDpGLAohZ6nmvtUib7b8zCm2sHpVAl1aT7AQW9r0+bGGz+bwIvY9gs7yoKE4EKuJajr829XT1P
2akYu+26VBCNOw3QQ2r93KQZzsrFVN2XTxKY2fNmmONyr7xRTMztyFlKGLLl6qBLbsH6oPEEhz3u
dQvlqiLOZAhPnrcFRU992Rbpk7nashijaQVp32+0IvXCnHVcxwOyRmXug8FT+iNlN6VzVgxg530e
Ljqk8Jnm4jyGDf63Cj2akWTT/nj56IARYCq7pPkiPsKtM74pyvhMZu6QOl4llkhm6beKudA2RVOa
LjQe60a2HA+YMoaD64OCn2vHCIq3fpEhc7SgxagljSnXJ8zAPBN5twanXFPUgrTBQ+xcs1R/0RMp
qt2NKvdYCIvwuJ47xorpRbhVNGkV3XXrusxunoFS8KXNpjSzOmo20wqaY5W3i332IP5IuaqgiPK/
cl2m/D71b1PYpFJdyJApsJCZMYtASecVPZ2L24nGGClCHx0HJ6/zhIo0be+bYMkP9IyXtn6M+aVZ
j+BZQ7X3hAws1Oapw0MrdGENz3OFJ6NebSo0zRjj2oMKVfHcZaLYc/7DlcnVBIuAhKVb83TGPA90
j2oJv4Be/gA5eTiXXeCxnejJvtsV2eZPdwXU5jvQeK6u3bToZR/WQaNfNK3vpS0zNqcKEo24a33F
wKGyZ0lu22JjpmtSMxgPwh8N9SdzJR8BDK3rABg7jqfOuTNhkJjHZqN85i0GAaqMfvnUC5DIXSoJ
7klynsf2Naip0ZICLgdDg2u4f3Fx8MGJra1h5nwLgq8JR7P7GJfSvyjypeZDa2hVHMYJPf6Bo0eZ
S7SRkYdxFnyhgSh2Q39vESwHDU9e1b91TElx41drNzYmsjguPDhdz9g17+yDS+De+KFAM36NAGWW
af+KRz6l/P7YhpmQDIIaW+tYyLXa3syyW7doHg3fww6TG2nI/eR2n4vO+vmMDWc1zxuk5bs7DkUe
qRAR4lhjFg4OwWYMH042TX9RO+k5hsbwWuypZV/vN7ublwMpeD1OnTl8GVqLcd6EhlbupcWENsYF
I/8wYHV/twCINFL+vGFEZIk1Lk6b0cea+utHozWJLyh98G35TXoTldsGsb1lbosXtQiKL3Q8+8lf
cjFebhoUeYBLN8CSkxW8nTBnOgc8vcYPNjvrJIks1feER2D2Vh1wqLI3pEY4IfTMsgKpLp2JjZYu
U/mzKjPoaq/+H0dnshy3jkTRL2IECJIguK15UKk0WZK1YVi2HueZ4PT1fdirjuhnW0ORQObNe09G
Y/kY9mxkp27KSXYFfulzqZqJigmXNPWpaVkRvkfDVbCu6KZXTA+H4A2dldwkyiMfTkCefDzzbkvv
d1jhl9j4oYNBDXWJKw0+XvDZ0RGRzEBdjDZLX1LZNlPBf+S+TYctm5jrR5LI1bttefNraSn7K7U8
+df30Np+LJUEwzmlfyf3R1w8G7/DMaccqfosXY4reCXZkScM8NTmNq3b3OLSOWXAyRg1YsU9TjG6
Hhob5LbFKu6J5RMgnYTOnKOEMIafhR1DWE094YYoxj33ngtl6WwKNxKAIaX6IH3t2zsGi+rLhvgX
HGJGBXIFy3EQptT8b2iTw8lLl+Rnhnz17IMdusEanf+zUuqiDeRDOCnDGoDbxJELhUD2/191CPLl
phdvebGbxvpxYmtatlPlBc8RrsZfygBf2zAfj/ZtpOTfmOnysuG7Xqej0B8eFsbWdCDcgpS9SXqq
ZdyBPmiivcgcLsZ6ibrnQIbOvSWLAnAMiA1R6Jwpb1L3stgpo4KnVaPFuCJdgaTVMycPJryRToR8
Y5U4BsFCRfm74v3uz8hfjIB72D/4KlL9WClFd5t1HjucAUY+ZGkpXgyxqnnfRMtaypDaTbZlEcJw
sBfrBgBl/Bw7NibgGplbgc0yVhNPUx7/chzQZwRfEjS4PBYE2svI++XW0B5gY0bi02kqIyEcVrPZ
AAHGzVvicNk1jWFxbm8zPqzbOrwn/I19OJW4p/l3JQ+fFwRIz1yzX27bZe8xplGG9Ys3UZS0WoC3
mVp4kKcqSX13R1VYtdfQRHx7CqqPPqjCjKwXFQ5CYYkv+7UKGMqjxGYv/DYJt9SB5fwCIjTsIrfA
htHFKpP/WDbOUH7JC/sAIjHFyOOvuUYH6MALvAZ6kA1THMe6jnYeHASqPHSZhd/OOxseO1YvRHWh
8c56+SO2H4L88LNkf6exSrJjP2dZisJOF/JIKGTyOI6r+kX0IKG2HUzXhzGdA9B+PttNYBg6QnAm
4wNAp1/P/Vy2RX1wx6Ytn9Ie8umlTPvIoIpwpWDk0dTuwpmTfDckuK8umF1QRdXiW1tb01yGge8t
BxLm+g0PlnAw3VRjdOoWjEGbrIAxQR2LPW7bOKJ7LHBZQlNDR3FYL+2F4z/EV386lg3bgnw6cyu0
h+M4uEzEN5Eq6v/7AZm+6Y3LGNf+YxlKir2X+WN/mhn/kmcZZKEOGJa9V7zbXnwYk1B1B+ScqKGT
7HBdvrfkh6bhWOimpVVT0vnPsJPh2VMqrHYY23R8GUYd9S9WGqVnNXqM2BhUj9+SVzbYNDh8nxct
01sL6/gf/7mcd629+tkajAc8DAOJwA3B4Sx/wk2YhG/Mx4j58k9a+fMIBcQ/4k8d/T09ToozMXVU
Sfglx0EQ5l13DHuIRTvoN9b36NMZbO1Sj19eiI6wMMuay+gu4oJU9kDE4at0aTb4wBJC42M/+aT9
NZ4KThfsc3j0qX1Vhjsc/bHHnAkLpIp2g3a8DEtmiTvJ7WKvPBsAChjf8Ex4O9OHtv9Llx7DIZwt
vxSI4ENE0DPaE9Ym2l2FRBaOcBxJBuQhdy51V/Dkk58I6XcL5rilPcpTPnSlOQYZ8Ka1KuFTylB3
H2XW4I2YFWtKqTND/1Jgi3TOSkf002XVJdWlMD7ZzCgMuVI2WSIVHCCTg3bd8qHNv8HqBSc4LjOw
OF5ZUuu9AFxVkSsg7VHl8a1FnUGI7bSyH5KlQVgVPe4RZlOE3DBveowPGr9GY7IgAswbfy6Q1UOs
ZG8TcsNR91EpsPGS/duHKurffKBC264Nm/od1z4fYVAE3nssu/S7WBjYjZXO9TFLydNsPOUWr41J
8rfK7UbzNypmp/mDy4surCV81224ntasTthN/XEh3F3dNdJn9VCkuXlomdftSU8V/nFs/NW/0Mta
vkDiUc+I3DkjoyIlCo9TYfD2hj9SbbPBhB+jXvS5WVYrQgOy6MDMytGnLBo9Jp0SVupr7YSRPpDg
btKjWxVYp9gruSQb18zdU4dXjluAXw6FA0/Y0ZtGAvJlzUieobdkZGNi0f5plpEQCO4pzAAwepwt
rkv0DtOm899pIdh+brBHMwxbBnVE762fdJeM5cOqsU9bnZDQ3hIv9vQ91YZ1Rz4aSH8Ih9p+V/ac
HlPpVPYDfiGN7F8UlMeTSLrsgHmF1SO2h4L8F+sDJTHJFfVEP5yv6QtYuhdd6xG5urSIJj/FYjZH
5QhEhcopsmSPxFVa1wnL+NVGb36au9Ir/3VjOQY7Jbyo/G3FIzkUbTLvnMHwLI/l0Jfl0SMSmTzA
bWNCA1eo+mqgZJ5xKmFfYWCZOdvaquzmMHc29iCNXzEDxEnsbL9IU9+ibvU+xknXtE/umDGdJ+EX
kP+rdPwWeUj45BZwj+1n/IHumRPe/U83UuGBJQ6yYQDH3mfEcZ3g4WffIZaMKTuiFoOs2ETwid8x
hqbDMSDOs+ZI/bI7FV5UN7D/HNWqf5KCC/Jn0dpvZAjcNywSVF60cZHz6FkQuLZMRAjrBjVRvevQ
mW44pMmC3a3yO5Ge68S1GN05KcGAiKd9IE4zuxa5rIiWaeqknT+qMVTLIa/TVIGhXmuz1q7SU+LF
+T9EXxQnAyoewxFrhPFlOoH8KJcAp+NAZX8fM2+dxBpX/JKCfdd+OIQJ/os0jG5ugMTybYBXBUcm
5JSqJsNrcKngEVyByDCx8lXZmlPlLBq2oSdSYl3zRAl/aBb2QMDKlAAR3Dpg8N2m1DwAWltWKOEp
6OLygO2OjeeQHABiTCLu/9SE6fUdfJnq7/jmANO6hBwOCq45enIzlfuRpCkZxCb3r4HKEi4SCJkE
nzI6m3WBinyeMzaEX6MxQzCHlLhGZWgGFWG0Xq3+6AIGj5rjBBtx75OI7qrxB761+waKl+RFFrnk
tmOO6M/Eczm+87peyl1mQq48YnRYZbEqRsNuTgmsVEj3y2Ycmrw/pwkEwG2W1mgvofQSxiO10O3B
YkLDB11M+TlyFgxxhcLo1vWZ7+/nsATyGfYNc5XQ4UYBOFVQYskqyr58opbpJsIk/ySQPHGDEu/a
AgIgC9J0FOBgi21zBEstn6CwimLLrcFBTMBlNcqGOBL49XS41stgGp5r0hW4IAxoh43S68+a0GAx
XZ5hY21o5y0gtwioL+gzlBBj4+V7bnoMNJLNEh828RBrk9Wh/rdekWLjuoN6gp6jHogAE//yS7A1
uBRXWyg+URzY6RGGLOZm6ifX2XdK0BQoUWJJ4CLKq4OY+iHeCxFGBQ6sPG4PRdRE9xHd4Jn98eNb
4i8Up+5g6sdRtvqW2JwOuAMjgAmOXIEYqKhsVcDznTzKAaDeAbil/KOjQQFZbKzotagxmVBcS/6h
GUeSunkLo92Zyeseb2+Ynzg/s/pRyUX/irLC+e22OMmACc6rhkajd2pSBkBbkU8+CZE24hcyjqRm
ILUP/WNoWylCVVWSEjF4ofehzcAII9EYkHJ2SSlQ/znEzjiFbnxo+e+kk/hpyO9pzWs+yBtHBvGy
Wqa4aryKTwHqO5krQllr0Couwz0x33WQU69gmBHc5YRaOcUf8+B7BFY7DohtMtU4jKmcqZQYz3YM
ZMsk3Wakps6Vk3MOepHB3VAQEftRoIeCvUkdjmjjLcFrUvXxSwFQ7yMoksjZJK2/2gIWP/k0ywpz
kH3Ln9WtLr/FAEWBvxu868wnbSBa9aCZEn2Fixs4u1UQareVD1J34zVMYRu8QK9U+areJ6XNh0Er
Gz+HJg4wgtVdJV/nOrSSE7wbjGtGrc6fSFnuKREJZAGm9Pk/CBALyBhGQ1+iC7B9dIVOXiti718F
m1Sak8aMjSiNiNTtMi/FqlAptKqN8g3Gy6hgrp/Ykp8p6XQbMaTz8ChbBUY3cl285d1scoJDiYMJ
IwrXh157XA/ZMnPKFdDLuaAbzyuOau7il6pdadQAHDgSATWhTWMONpNiBqEpkVJiXcDXcCGuqcCw
rbpp76J7O3sVMTDdrYvdflNccLYzzCAGXHEsP48StyiGR76bJsI0VHDnVFtEep6TBqvQlxXMtBOJ
NWJDI2+SYPibq79R25YRECxXngANIwSGTJTZAeH1Wb2f62r+23QBFsEEdiamdcFyaZYDMOvug6a9
Jq2mP9S51f8GPMsDnnkWwDgvXu3pWLrJkdH8kJbAsvhPLoq1CsB96w/ToXnxfSJO7pirMBBp+lb8
CjM3/ZakravNaCepzeqhUV0iIrPLUfO0EYi1aue3M2U4kgSNSIOMmljlkd3wOBrxEsM3YenZEF/G
aur8jUl7Nz7EHf63fWeXQbZh1jvkN9zvmCTbBX/XScIwHi9l0wFvj7piJDq8KDGfXSmI9eCmQSLh
h3NbzKEgm7peMfMMk4GfRfQVx2MfDAjohKeaM+xNLIRVr5ZrE1HlHGi6xvBX3c9Aq/SyKoG2J1rU
zW7wxvM0cj7QcPI9UkTrs06xCeyaig4G4cOqgXdE694an5U8ZxFrSr4ecCVMHqyZuAs12xIeKt84
82GoqZRmasb0iomjnXk906Q6VbQGHtYR7DfZg5ySrHxP+BSSu8skrn2uVYZ0CWFVy20UUa7RqXi1
aq7KC/zBIGdC6Ty7LuzXC+dMGT/xGkwtpzu14RYuUhvc3TTH2YDVsxMntvbWSbsF66eA/IQjnyZN
4QhcgnH3DwvcFGvDSMkl6Me14QsAN4nj8aR7uzRiZ0TRL/3JBTHqc9bEK4kkDP2BVrBllcRjxf6U
Ge0xGLOddpjqm32BkahtHlgdlYUv48zDejd2B/s4iQNkYFygXP7nPmWs8hhBeVfXEVna2gNVor2h
Fsnao7Fh51XAi8exjC6ZyyvooorghT4I2zSEYgkjMnq/UCzhgdpKRf6XKFLKNLY9RSPu8s8Cf15E
1KQV8gSup2mLnQjspfonFoF+IDkms89Glsyg95jiND+7E+WtfPSKnpSpWnBmbQuvMHD+kwmEzoH2
SVp4Fk1DXtDwmyP0GWC1ws8DQ4ln1cWwTPEwDHz8UI8C2g+8HgPNvqF+IIUS2YV4kJ1MmB+0Uxn7
7CNIp/A70+v/7qST6ZL0xkQEFb9PVhfel7BgzrAHgm09u0EljAGSbOA5hjslnVtTD8B/o8xY9kam
qM+4IBWsyms4ZZ5+8HGlQ5+vehcoyahYt3NM+zz1vmBzBashE68bAWJnxsZGmLEuz23JB7AaPCoZ
8iERSzoPiVfD1y/WzlzXhh53zkQJ+M/2YzW8A5odiqeR6Xb2X4TOgqgyT9lydxvQw6e5lpivGdxJ
fSNQzzkiSiBaz1EPK+4JkFWBzVW0pXvrIJxb5wHzAbTi0i3cV+U29vwUSRe5TUDCyTBUN329cfGn
NacQHhSSMlHy6RANqRO/VUWkyi8t6tmN91ljU6TCI8Qtgu8peJBxBZNgEMCnfJqCdsvDOtfnyc8Z
Ts6WP8S70WblIJwHt/5neE23uF/G4ZO7E1hSEOu+AN4w0aluoBsSWkrgQIdnU6LIoaFrZ/6HnVzE
ZocE1AgoVqupu18qVRxbMrgRY+1yfDEOjv5t4ojsFyI+BQaLvQiQhEriVAa5kCNK90rvmA1Z1T9y
wt7whpLhIJlgf2LOlIXezHpejw9dfPeqUOZPNzgVOGSWfvbFUS720oPZko6+M06zKSsl+zPei7Ss
sw/kEYvsfcqOGGuvcHSQXTA6UtVFTl6/kIhGUUEMN4TBLzWqc3YYfUI6MYS1ceemAPo+80n34WkA
MUkbWmh6WSBibdMcGj8CTE9wN6IPxzLOlA/5OKammCkSyVBRsJRZZa6arn4OecE7UDxUZUHJQl0N
yKeDYDhiQBh2zWwceQynAfVpTmQ0fsyEd8ECRkkT/SXzlUYXEqNErdZ9Idigq5haBGo8kRWADdGN
cdHqQKRZ7ncVBJSCm5TlUcOGdJcznWE6eta7LBNc7gl9vNNvdRQy2mCOx8QiNoK7CmNmSzGC7QLs
p9RtAObMt+fnjlQ4E0Or4nKSrIKrfkRqGe/CodbcWSTChoxkpXa02VrAg40lTFfYpXCZSIssi15g
BdTlT1LmOBZnJpnimW4Xu6XLvqX0gOlgcC8zI/ySXNg6zUYDoI3gUNRHIGJ9FtGXzdrj1K7UueD9
JTztOvZ3UgghHqPBWBs/CYr+c4agwKYrMg+pwyMJG/0H310XXqip5upRViNWn8Pc4jzhwa34jb7A
CJPenT4lPlRgG4cTogGf+BYfMLYBY0eVfu74bWt/41CU9oxuHdwN7rREE1zCIUElaQJ62g2LP3z/
WmfBZHZ1LtRc7tGh+3lXkAx1ziguU/2UmGIpugc2KyjznIzFEORbptyQNTZTHTE+EZ6Z4MUupCbi
V4MSVP8ruhBXHHgJEbZPrHRYGX54LiGeWprRFxEgrl0YbsgUUQJ+EupPwlxfartrHxd34SyRIDXn
k0lr0ttCef2TC7RQXDua/5Zkt26bW0Xi/tv0cGHOEa1K+90traM/KsnuzZ0Gkdtd5wEP57NtLF2C
1HCXN6Lpjr0fdTPblyIGJvAp7Tqc7rEBSXJoCR6IDoOT5DCdq7lvTwZokA12oyfHEYamy256pna4
spGUEExjujr5Gq3ayj6Uni3rvzFZqIYZXHIUSAhF3ka1qat7fJsMgPeLhy1+3WGyZlnSLvsBzQRE
IV3EXjbsC31t5DIsj8CukwLvRKkDB48R2bD8BEqKfw3aUvfVgP9m4JOn6K2dT7tJ/yFyt9ujkrOK
ZBMjf9/caG7MYew975WqGvKbkHyHW82rIbdqQYnZygir+m4EhZM8qxJJ7ZNCMV/BWk7dHAQCjwOo
M6Z/ApxSz0fATnjkaLBdvPgD/fO0CVIH91SWtQE9j+gaCwFkqohVQ+9zPF7+dH4tRFpYd9caKv3g
2ghjHP9sM0g3lHOl+YW3K0OcXiGxWBiwehA1mv3nJA398Up0Qd5IcAEDEbznpFXQkTinIjaQ4UVT
IjLuG1Yavz/OtgaX684L0RoxJE1wZw0QaSMUFX98S5mXqfUVctQG8n+4DgCC+dsNooGet/I5mjMY
se1+HCRUEpcBVEBTgLh7aMkeL2TR15th9elbBzB5oYchIGnz+VXx1whYcXIsF0saoggdG72tP5El
M0bCI7Pi04KNE02F+L7ZhdWc6N8qYlJ3sEG+eIcpZNq20ypo1zlSUCfXDvCJ/125bIli4oXqN19I
/7mY90a45tae+LC9s2qvbw51R+wZOg+w8nPRhKhnLrQmsxkx3H00QVP99ds2SPYKc3PJ3e0k9Z9w
ZM3LjOsQ/z2PEcHJyUWcTMYcI04PKWpHi1VIMIhAhI/IMFN9ZA0AJxqbzyzngeeVQzgqG+Xe1FAz
VQtJtotL5TOsM5MV9odmsPVEYjZKrEepC2xJUJqC/kiECeK02/lN96wTLExXY3o7pmAI7G+6gsz+
0XZW2R8jedhMAlUF9VnMWID2RZEhJAn2RTUPyTgCQgsdqpmbKlI0My73SZDjceDnwcC28W5Wc+rv
GuU0/QUHcvWXfV/Y0CRH5IxJTXLY1EsWkxqSwvPAkkEy30zDkriPHsC65Uw+QCc3Bi9Zs9P4HfD8
qoUQAsFykZxssGL5kYaDpCYd8mRbH4wt+vxLAKdU55FREeMogZ76q7ZsLOLR1LXTHf6A99rV5aj2
CGtT8RZCCWZmUNRcId0wUDcqNwqwUuRVR9KmRAx810ssPSI+flRWZ4SkfL4oit7xzDmbNk/0HTTs
UY/LLyTN5b+KvKEFx5YFkSJEG92xsY9RjM6i2fljvL4oT7qcUppYf8X4zoJ6R9NMCwaLeqQx7QKi
WTsm6Lk8QXTO4huZ+LB7NiQrm3KP+MYtOuc1swqzMKbks7RwCBSYWNWJaW1ufiuLUdo/OWuec4aJ
FVt4SsyAUPST0ZQHbnZiPsQRqoCvRlDoaAr+nx8Fv8U/zUbzooYqACfMCJtOjtuVeJRbsMPnJLUD
iaFp/MX92xubYEBUt4C/qjnoWcvWLDwyPgvWb7ikZvHcgzT/wuvYdfuunalAZFhgENrMjhntXY5/
SmOZWSY8sdWS3it7oEObnZFor2E4V/A2aPsbY/Fq3KvgWFJQF8qut53lhHdGhYJJKzTg9qjn0Zke
GSIocTL4Zcwum8hG3tyyEfkRO7u4MzeKvGuc1pS6CQ3lv3FaTa+c1o75zJYu1XeYsMjsqDlE5wUe
q5LKvuPSKYxJk+8kbMzDqCoiKG3aLf41s1cnHvgVSkClCwB7mV2tG2GqHj0cN0sSglJbo3baGZFL
Ej+iUaz+3167MQPz7Wi57ptRij8CqbT7FbEly3ptPMmtR4xcIQrjUqsfJruf6ksytFmGKAZoyWLe
m6/3TzKhiQN9yR3QYCh2XSf2ArsLp3mqA72l9g17TJpj98fBHuPTiKVcsrmTy8+Ay5+kNrupPiju
wfmYcICSqKOalJMvxgBQUk/UyKRs19hwlrH82MEG3z9R8ZCVop5y1F4OLlRop1Q0uy0lkrmx7YG5
WFThkwL6E47Dl3RC9q+F+dT1b+zzycVrqoiBfGR17/csYGQGzlKf0GJUgJAYZHdyCyuIeory2wKG
/bgu0VPXQAZU74PDHOa1rJXnUL2z2W7Da8uDgyyH8grD0s7+4rmV4bWj4l0ulUrVD+EaCJ2q9VJ9
xXQa/4TE/eIDuw5twdaekqekSVvhnsnI2t7zXEAb+8j4tofHfJhkdZlCuTQfgkybZr8RNNltAkrX
Y2eEYk7Y9SxrY5LusGT5uIY1kl0nyF7CskJcQ9jCwvXKcEbz0nms+nuUFPresTMSY5HEYo5RDOEO
P7+CxlAUeaDfRbNYzbCvulCVd9Zntfa/wRnL5Tb0sedAWaoNe5to+vofe5kg3xkswc4jamlJV52N
boGNm4k3oAfTGIr+ymum+d4l8xrIgPnPup5JNMUjiH0UpNmvoNdzbnrzlzu5yPYaBml+aAIC2RtV
Dr440eE66woAL8Gg1bswxP0kcv9j0qdcVhkDjASCCrmMBsiGU/uJJ0YQyhCTN50iX41vRUnQEPKj
lB2FYZEcHGqR7EgCdpWckFf/MPby+ntG58pm1Z7SYwenVMpjMzOKWYUetG3NZo7/o7VJQ2hXtp+R
hZOBvahEp8U16cphOJd4EM1TMVhefmXbFVKOsKMGjSlR0gtua7Ua3ThMSNxGLWCpU5KyBOBUFUMG
dLYO7VcXkGJvdmON33UHJWmqHnFMLjku5CVwXxM5jPmZaCluVfR+p2N5lBC2IsU5xKn/N3Nx8l+4
ChnckJBSP0LX408CbT9/rNkh4O5ZHpG+Kryb8RsqeJUdotwN47tm40ZFHUzN5L53ig1Frxnzm29j
206XMWYsbGsf0rEDRShFlNxt1XJeJJ1Y1wSkQgU3waSfT4sv1j+PGKymb9UhZPF2hHncv1QhFdtW
s5fGPmhWidQvNEJkcjdQKnuNndmxgUI4CBP/DQ4TK5Rlmz0uNeCoiQldkOqXGUkfdLnDeZt12JSi
lqXJyQYvIQMgBuPAnWRgxxA8fLqnFwKGcXUiSEMUtp+8of49o3ZqHFYkw5ZdN6a9uArVwWTH54LI
AOpzPcrttSBO/HgwOz6FmSkCPlr/pbDs9VY1jjNcCJVyVIxO5sYnJ4Vq+yrmWoFwrQA3QnOGtvZP
jJQSTAwWyHouSfV8P0bFaL8Gs0IAdPFWeXencDm7RszG/iHNJzRY4TQIS3lotCA0mc3omZ0MvQvT
EvITLn4El6xDa6J7qxRHMgCv2T+iuRc2l6TXFfF+VBH1e+P6iDK9Qwx6B69IiF2huvU614A0m509
s9dlwxwcAN8mrgdiM1zS6XKHpetO1tbYLDJ4LBQenPrIvz17DziZ5+VllSN5rgqfHQFmqCGFIzhp
dh8ST+DuUVk0jaeZ4Wf30FpeYT9Lb1YpiIHIZ7SkKgH2nvV7/ZOBB5M/yEFnzNwI7CtcMhwsRNO6
1J8ufC0/uOggC5tLT6zlxYHEbx2dJAsPKLOABV1+e8GPmO263AnUtRFPy6AeWFVCfqUTa0U2FRYK
Jdt9p2s+OUNzMXHFYcL8PL2hI6wUNdkYNH1w05naKywoq/G+wa6OFROdoqpXnC+LRLHysSqRgUeV
JJDNx97u0ieKSPKwSTGMKTctETH3kNSuKXYgEWIcSKqu+y+jA7e2901iyv08hNS2eDghi8OUj6ps
l8XFFH1Ureyt5xRSnnMiHYeSK0ZC/7sE1y/JzAy6LMM6h+tbmjQfzuNUG3yJCXSDL0NmvuHrM7RH
9FwWJ3AOGQwunMgcfaQe52Aoqv3IbiXiZlaQiVcz+oH5Yj+uejIaMMArdaQbP/rYiyf7VBbMg+/U
Nab7bBt001Om8SbipqM02k6ghWSzy9t0BSuIcU5vC43GDA6DXuAUD5puc3QGSNQda6zYJ5nmJINd
splIIAo4elRAtf8GXtpVRyN44o8sV+Ye4FbBj4O5rfVuSV6QBGNrs3dt5mqcWQzDrk+fIStZMjye
waKvoUug7DjyYydnJo+kakc9og4wEI+d37y1XvjMIMolBE/+rnttqgAicWK7zM+tbHI8+tRaz49i
CZ3kNVoP7z0sBp3dQhfU5GWlROOa0D4wcAjPqXeUPYQ1VgUs2n1iiaX8CpKwqt+qHhDHwRjpB0/h
RJJ1Q5cf93zmDBQPUQF54Lk1xKnZPZsh1OpssP8wRMZ+SvIJO90IlyI/66lzkhtuWALPmeuO6m2Y
wtG95xLbrN0O1nIMmokrXDSduZb2hGsN1RbZeXJTSnQynUUPpNsZWHXhS8jIDmtxca6zv1FjvZAV
mBVWXf1/p8vUoiANQ8qeOzAZzFWzpkNLqSmFFBmCiRSoIzF+7yh/hwonYoFPZ9vwm2+3EZ8UXJ6e
1Aq8X0xIEjqTB3WO9H4o/w62VblPHBegZgW80mTf+J3X7HFMdHIPiq9urzpVZEmpy7h4Wa/H5qlN
B6OFfcFxw/6AblrBzlnl5ezoGFM+BoaTRrOQqWjyg2y8MPlbtKhsow8j5aI4qO/Adnh8zLqr6M3z
WGYKcJvJ4XgW7FagmrARcz4Vct74w34ZJkVti4tq3wrDk0DRYEWGRZYdIzDXi5PkBXOGSt7R9ioe
rNHAqUrxVMWfogbKAYmRgs7vsBWvMZSZeaIBNvRacut6aDoSKDHBTa9+ZvEwBxUXQcUV2pJ6ZT04
Cgvc8b3CqlolxxFhDPPDMvltdbONbYLHht0Z4Q06IFy0hIAtphh/aMXeh5xfQBPPUvUEVWb2jkyy
YeoXkDaY/XuVAPCUNj4MMyT1//c9liSmrStJQQdk1xEI3NZoiuLdZYO053w0mQXDunaYSkq7QEXb
hxkOeehQvuYinLHKSbZz2I15LTDfJ29dBvweig5q6x3QAuOVzZqZxwDMUFnuBldNwNGwoXw4hheY
4ifz7+xqSO0jQwx4BaNd08N4JH/IBVoUVm+geLDHynYo3JsYvZFFS16d1/YG1YE3i+1vNDGG9bGg
ERqqshNyb/AgqD3HD5w6HN3oO0T4gaY4d03EaGkwB3osgMPtNgDO4siCh9UXzjB/c5744rWUiGWR
6ENCl1UuwGMswqJ+H0iV+x9dvI7CYxahvCuXOPluGWOLsZbPNrodGjk+AU+6bX+pK2diSbW0Fp7L
qMFAssOB48i7b3vSGzZAnVlKSUvXtqfMhWLwsAR5BwENAuV+cluEMLx1Puv9oA9gi19mUXp7kAKI
shNj5Qijwfr+n6KhE9bZCDt5QKJBbEraxW4edFr0f7m9cvvJYTDDRt48cfL/p7Y9YNcyY3scfZ5N
CJoxYmBI8UPjY+yYQvjw9hLRZ/4G9aPSa0fVTpGlVym086Ud/mMygLgGbhzZo2W/ZRLHPVnqqVHP
YWKB/zwJ5fJh8+7kPDbh4OYXH+uAvaVDIptH4xq1J99PFVo2YZEoak5u3Dlt/7SC0rxbqNfcHnDX
qvxRWEbE1bLG5lTBiIv/i+ZCGhjchDjqNTZiD189O9ZZ0I3F2ZyRk3o4+HryIuAig52rlyiF/51s
tLZ6atN4WlVlNSPts/NHdeGmA5K9+pULl1970U58Yze1tFVUH0iuoiw0tceZlcRa/yLW4upyH0wK
VbCUlInfeFyk/OW4Pt3DMpjMQlV1W5xpUHb9giUCYcyWH1ZXReo9D5llD1tWSyFwN2HhjvcBu2lx
nljUa73bJsduU5mFwFHnc+c8EyZiICLUUPyoer3pyhm1d68GRKdjX4EzY/JWOtkz/mWedEb4xOEH
1hIs3ywBZW3LPKVstocclT3k1cjr5I5x6L8FgZc4b11eAvcAV2G/4dKwgs+mqvu3jNQrQ12rYJQX
FA6Tsn5Jq1MkaiRTPblZeWFZLL4q+iXc1ahSzNdQlyZ7l7C6u+fEyT2646pZiDlQZ1hR94ZZrS0r
dgi4jOGYopL6OFbD0JongEo+XyNrXPnbS9lZtulZCYpqgfe/emTrUE6gXWriK1DTIIOyEloQgMUZ
EmpVX/uCNoDZs1w39DLLYv5qqE4AyVpYU0LG6vW2CpYIrxRz5eqS9dXg4MKZoeDtC1UHwRNPD3V+
5w+NPPpoNuNBcUNABw0agweAxbiCPfejrL47bAFYqhTZ+bcqLVigzEpxPDOszUXinS0j7nh5l8FG
Z2Pas1ce1/umlIL7trEt/KqKppK5b5Dh1ikYoC7xQYCRDhh9pKr8VaVx+hl3KGwEMi2ol1TjPQTv
byL2dvY110ztPv5H0pltx4lkUfSLWAsCgoDXnJRKpWbJtvzCkmyZMYAgmL++N9Wv1V12KZUQN+45
Z584moDQHuqKTmEBr5KaIPLydNBNJ9bd/nwX5TZub3k7YrS/zJNn32HoLZqGsMBZKUgwjfSrZp+y
HMIQgtt7dWn+TiewQdlQesDxwNi3UMbjoEmJgM4Zdzt4SRyCCZLP8pySUVo/tCxJyrnI3StTAZsd
QlSZ/A8JOYAr/eAdWTF5ALRY3YeaBRO2fKaTipsYCDXsQ5Qz8eiw2Cn8X3yNx/Q7RfZs9+VEHOgn
i0pvuQUDuzr7MKlthqt6y0DwouymT+YWECm04IhipkCwZpb7jvkRKAVC7mKaRyAHDhriln2SUG1G
nA2WFDCDD7GMeke5UD798yDg1MdeThQv73DpbOhcJuL6iDkOjQHO75ruizDQ30NaY0or2I+qc41r
+i/OTwBndOLYJ8n8Lp4cQbj1cZMqxx2dolgHXczhD37eUMiTTiLPf/Co6gKcjxRYWzEZL4QGaEdo
sCiNtaVMi2U0+9eEEDzNaLNzpzBf89DPgXjOOX15LDum0uPYgQK946Oeh78pkbzmEgQ8ElAABTcJ
uhDZxCzJtlbiRMx88C9oum5g+Q1nrMSm/ZgMor9HbjXtOYN8R4WxMKyBCVYk4SXhRYEEbkFyk/el
w5u48BKtN7S/IPXnQ04zXkfa1V6Hra0ePV0G0RUVh+RVXlOdsRvlWHQveCgxxsV5Kn67PiYj/nE9
hHS7bQvNlRJWiM4kq++cPsVGl2YFf5MXjwNqUxUgYMiohsXFebetMgjxKgiVpZwekXwYp3QHLGnP
dbqMDmlKUAcuct+3f4VDcuI2d/IYorKOAMtg+0P4ui3JlUEUHJpGfIV+x1blRlDwkt47psPKZLXg
MWW/zosUp0ouLk0/R/LL6LB3SwjjZUyqhrsX+vHOzk1SnGnpIj9FDx/vA9Ym7JU5mrmaTf2IczBt
iTOem5ai0/XElQYbRmJBOT85owot9WFYp8b4EpTO5JJNt5XKuU+TM16Cna+1iknVMCGEO7UFBtl3
UOCQYTuCxhldpkhu5RZYkERfw7hZMX1hdAOi9Rq2HavdQ5xwi73Q1eYvuL7YBcxQyFD4s38UDNdh
ep7YYEFGwokSekeChitTjz81Sf4+g6qKuLXzcQq0+TZdaWfMXVPVb0PKOYqqCNomNY+yhLrwHTLw
olIVrAO3+2fcRjE39ToB5MutbfiVjaR976t+aav4mI/J9tZQeUd1rpkBpVE+1g7z2a2tHCknCvy5
P7dUG4XOISXPpME3F8asT4xgvvMZyq6mdiaF11Sx+sATjyOnVd4MurKxlEetZePzhZ64JmSfiCpA
TndLJib3Z9LD5YEU2gwYlcqxW14LSMTNNZeGYFwYqe3uqi0CvuROk2yjaV26zpfkYaGzhwAuNiyw
3K9hR1U94tLg90fuofaG30L0oXpPm88wmvkT0Tu/eZid6IYW9vzP6pfbncW4rDXcWZcnL8D+2vU9
bl3qF1V7zzGqwGYAwn6R1WbZJXePjJVvxXyuNNENGyP/agtT/AKjhYnOJCMONfb5q32kiEo1+wwv
yQX+7QoUhZ5LivSwU0RoOBWLbC7qw7YHUjW83j2yL2UZY9ZK/mUGJvvslSFct8NA5Xg77HGKTS5I
zlkJ1OTY72Ly/2rtEZO8LQ4WwESBl2A8Ig5cVCaPGwdj2asiWL0eEJxAnhdKecnthMKSHQV7QWrw
Ohc5osky2s3QtFPvLUEQRGpcm1U9pB0ucejdkxox9zmF+FOy3aRbh/H8OXHLuDk7Ac2lR0m22Dst
7N/Emzslyw/C5YhH2dKR6WkW19tEwNkrBiBgo0FIiqO31OY2vxtwgkTP2vpLfTXVIrurGYss3Je4
W6uDDrI4v4TRKnP0tFX94YB2WLI5SVDfulW3EaOqDXyQ+KZ6S1fHMt7wf58JQ20Mj/wAqzRuuRAg
qCYkwCQrdXoNWOau3Pn+AoliVRQUmGjTXmL5hjPEStMtDZTWIWVJeiUBATggievwM1XG3EAbmdqv
bvbkHd9xp2M/1vv2YFdCCCeO3BFcBFm2Vd+TfOC71LYzaMWOPAW00KKg/CtxZ+c+6No5u8Ug1UZX
fND8KvAM938IhNovWrp5b+nVQW0Ta6zy2ygDJP8Q1GyF9hA+ohsEXn7qiC/VY1OHItg3fYSjh+W+
sGcwl4P9DpliBtjbCl/wrxHT6w9IscyFeuw5kag+B7LB6KoeZZvnVJwBE+E/cZlGhCXB8Ahf2ZnD
9rvxvV7/KAMhPsDANWeSBGX7vAxe53+lOJp6Ag/aTdhi4cIu2W7Sa190R1OJJT+EU97/TkuOnhvX
b9XLxDn5PCQhYZENSzwxw67VR5NIW7Cs1dJ/LoGd8zJvZxV9iBzQxgfUTYMy4bCWFnRKtT4m7LTg
zai9hFCzUQPu7cnGELTTADQZN3Ncvv9dRdkYYbg1ga313zaRbFVAz04vXuBmL9h7mRZMBIL8uPkH
zaWSuCrxkG5KfVNubQGEu/FTVEZlxN//g3WuXcfu8YCmjKuii8nBfbm0l2J7aNDi3a+NOzZRTRBT
f+QGvEXibqMvFWXKFMUzbh6hMKTjU8FOky5MSl0HewsFwWR32HlmMpirDpgrYc7QpFHiiun7fZYW
nv+U8+GNuKgFbo3D0sHE+EP6fZxfU7u2uceroYqKT7skM6sH1EodkJKS5ax+b74GzlxwBJG+rZ05
pWYxDpVzB5GDh5N8P8GILyFgav1Ck2+cW8GO2Ufbdm00UO2XZg7Pey/OHl7o+xolUz5JIvXdTa8L
6J1pxBpVRn7q3oLRr7MDuSx8gRHsYWIDZRSy/4mRoruOHdXZ9gUXGRCbYNUFzRqHpaI+gOVyWk4n
5WlhTjjWhg/O5I2LuGQ8dYMdPiLR8U2fNyDrlS1LSkJ4RX/UN6vKgvjWS3gSrwXvsuajbSXZyQiT
lnxIcWxcVJa7L7R4BeIY+pX3vdCeET33Rchv1oVAu80JOWrckvhsHRVJuW3/Qr8g5z6PjiAqlJ+y
CmUz6lRe3zN7iPtZgRTcTjKEftz8nC91TAAG6zov4SDQSDv4iAeTdzeqreO/syIEd2i8kOT1uq49
F5ExtJ+qZeWNLRyx+VBgKLnP2wRc7RRvMQKFr+MEVonZF3MbOka4eIai46ptSr6l6Dc7wbRQQzXZ
9KcpK43iJGoY85pmeyekPl5v3FnTI/9f+x4lRXYGWWjbV5WRUwPlT80Nn0pTTgar+ER372q4oO+a
Eey+TGYkBdczAUETx1FP2DbxtsqRR/aaBpKLRhxmKVfATvWG+Qg69tuAYbG7IDCMMTZ8R7LyR2BL
WBcmmDgNnW0Z5WxHXNQ4USOgJQH35GHl2oYfrKDmfuzp+N1nCFX1Rfep+OrAK3QnbG1DcOTE4k6J
eRTyKe87VTObZLHoo31cjlHwUugYeKRNyJjc0xwfq2OQeURFhgGvlgtVAxgBLK7yVpKt7fHn5E5/
ku2WMB6Q3Zoz8LY+lk+9FUHg0QYrQTIekIsHSMoBAcE9L4e0u2WyoovRGpF8Idswte7wFmt752M1
0Ru3uRuSB6/eVkdLNtN/hV93gmAPKkbGxLYCwFZ3ds24z8BGgDaJH23cwIDxymgl8OyaEzei8t3D
9qQurnXz6RwYvbyWfKYxytvcibDYddb23i0iJEazM4HJln4YPfEvS+YncoxMdMuR5r6kuwc/U1Xv
Tp1ywraRyrzDvOYT9dFINtWVhC3+LU6VafZe3GEkHET5WGNTfmMtq6FH8op+/B0zRGfxPpRLFT/k
gaxBclI2bfOdh+HNT89JgGJzTCzT2z3LwKB7Wd0BWiqyfMs7h4wgbysDGyG6C2OnoGrZ77dJXTPb
c1Nx05LVwmEgOJeAzGsyYb41U3DV30Qw8+kmJ+W2HkzvR9w2qNkmBwqTZ9b3fO0ZM8Pcw1QVactZ
D+9D2/rKXmYcn2k1pkOSM47/aLotuKxkO8wRFNODNzbev7TKC/uHGRKBF9G29NESo9z9UrpJaIge
cZ7epb0iM5/bkUtWqgS4TJbETlD91oAmguMS4RFQh9R30/FF5OT47w32z+U3h277EMGdQNSN6vB1
cobo3rKoO7OrwTBQUu3kXjG9yPxuljBpnuAFhcU5a6cteuzLPj9qxT9wwyIdWdSgwV001k/4fgUM
P2wKelZfpkdabuiM2lwZoY9Zg20+8Yld2UGkoCaRchC62RuGJTQvGmprSJd7OCvh9yxduM6UZ+Qf
dTBKu8cWKvq7VSliy1IhX3LgtkyajUf6idMOHVWXZFtgNpL9a4Y+9yE90P6ZBwL/oRknlkiD6+Oy
orS5JPNI5J2qhWg1m72SOu7N9MfQRZnOxmZaF9ojQp9AyD6I/C3+a9i/6LxnV67HYPmIo83VVlTl
VuloUoojR+oe3PPCWWbJVAuSn5GSqCO+u1322a9Mv+qmIPVf9xii4MOxddi50ejNLy4Gy/opByw2
/SWvhR2mhG/bfZBK3JpSEGiwpy6b+QKTtbjPi7a0dAKtkIpJXwCvtFYDvBsG1NLFJtMdq2tEB2ZP
ui10tnYeSl9DlW9Ky8KDJG+hb9r/lpSujFNnOHE3T+kuX2q2zC458eEAsj3uP4MS+Ycwe869FqDt
NGyxg9oLHZb8kGM7f3qizdQ9K5Tf5JTJMlQ3Y+Is4U2+RsReFp7Uzy0gmN65ZhvLYk/3v0lHooAA
ywr++tpRdbmjnKgTV45ft74nYLnMuH3WzPvGwju953hWyj0fFHf4KAw5h1xniIsruor9Ztzj845C
0qmN5oW+T/1KWwrtneZlER7KYVd63a8wL1D0g8UFwCt1+0a0abJ4kzKkrBDlBQSfx0UFalUsXws5
IcexFIt+4ZCqokedO+KJSLUZMN+4IBdzCIr9eFoypTirZVz/grbTPE9sqZnYgca8pdOEu5ZVy3QK
dIM9UtvYD05Edeqz0V0xvBqXbjC39+ABrFE2oWH8Vx5aenhQqDIT5gcrFhogyT4nOr+OcrUvEV9S
4mwcA9GpdlkEQXXx1/FA8TZXhSankXDBfTEke676QLvuQu5INGywfo+QrmQvHmk0rYtr6W1pdoVz
C8G6x1zL7x2M7kJMip37TT0TgQPzN+ExD7QTMC7ScznuPJmrx2HReJmA5BavlPCwG528DHba1GGW
u8lraDx/IJNirSf4SEo3x4mPKA6BF2ulG9sfOesD2D202SckT6nYCDiJGzTTpPZvm3Amgevjpdqn
Va+chy3TW9zwc6QwxWArkAMALs2TziJV/UOI6pyza0PXObrK5STfC4Na8E5LUdZ9uB0b//fQceET
7nhemgokfBU1afLM5goDKzygWnJuVrM3QNUqbfpv4eugokNGP4WfXlmMBNMDmTq2Olj8a0iaJPDC
O7fI4fjgQaMw4AWZtsjqW1Tiqn1IMDKMr2xV+o7G4nYb6sDMzv5dEKHEYqAzKK+3hO6ZJ3AUe84D
dRXOsMXcvSrgj4TDthyibHTHp8kATPyWYoDiza/dw/hovYXTkgB76CzDC29YtzO7sO9EjhEy4u33
JCmVsAxleMb+eKZNzPJmo4WU/m5shQmZlBj63500y/KXlBg3szWba1we8EFkdiUIqudLD6MO4i42
hHzCOB9UybKvZylW9odj7V6ZjJFTAZup7rwiMC8vCO70sxoftth+oioE7DLcxnLCBCkWdw9YDleJ
m0hyl5jN5vC0/aHQ8cJ4ki+em2NcHSB5yOsyO4H47Yt2+ZlXvVeeGf4Kqge4CMrmbg27LrvrW9gR
lDDotr4jwAQTzhPDPP0raUKvDxBuWIsEKwsZjWlxs71tuYxhrbAZwy1iwnbjCF9f6k+YrwbThRcT
x9yNlNSLuSfPUnQcIAwoeAg7MHhIzO3WFZjE3XOGqZsUUqnTU0NIF18cJdZbEKr3q/iXoHXHr3lF
rcwFnZcl52ip3V95FFQ1dcswFn8EazVdZyBUYlsQyO5bQjfi5yPHjb4jXbLlwDxFeiJ+B8Bip2ae
a2L7xR8OaVWpLSChRrI0bOORVQJBjzt2Sz8qFDZY3l3Jc50tqj96ThmUJRU23dZHZ1xP/eR9653q
uW2HhzpuuKn4voPtFXISCXAq4tEi2TptjCu3IsIBAZspxrIwZGtEuaw5sqpmy5sB6vitsy1iW9XE
qMGZzhnVbTVl6yCLYi2vU7fhflLuqOjKCYulG+AQXvzKxwnNpF0iCn+tDqLu4OfIfcdhjfCPaxDZ
zk6T97DQi1iVnBzNpQNssfsKMxb3f9nN7nJKCcmyEVelHO7iciHpPCaTeSadtg73pLjEL9/lmNoF
uOzuvLRoCE1FHtngaHSDn5yDnmBOoZDZY0YmFMTfadzEIFLNs+meQkKY3yuSgA8nHQnsPpUsFB/y
Ef7jIZEIabsC028M6irwzLlqx2JDG9H0uBPCt998Y2X+AoJ2Nb/KkQvsGaoCVidiVjzcLJFZ+pOO
McHNJIuWIaPxZQuPFmc7MBdIErkPAyCq4ydrO6+6we4g9ONEF6f84dLqYTjoSzRo4B9OhLyMWJCa
H8bmHc7GPlAUb6OlELguBfa7IVeiuqw9bulT5THFvIh4wniUwR01VzuGQAqFA9Hj4mMANndr5nri
mAUcDN+sm3tXgtdsV/l3QUjInln7BbzapM6BqJRtPp6AlKiOgOPYbYWmzUJvLlmQ7EIpCwPMIi18
fnZ/vDcGN645crOuYL8b8lOdylWzQ+DdZ5IHvDgcxehOi73iaCJuCQxszgkFdMxmOHcWtU8gc7m0
MwCPZmdQ4XnMZTyAo43twDmzZikOIeO76nNgGm83rhyQEoXKvqOLnZo1rq8gj8jncHjjituszqDs
zCXPaW+7urKATDKQ6s6pBp34X3mnoAuYmPv0oewq5e/Tzu/FybU+TZlAvFc8qVqw+iDzuZkToMC4
7Gq+6F7m0YILL38IR8iHZa34xKjKYCUF/8XtfzADc/02aQTmhwja2N9sjIWPJPCyb75fzJYR5vpP
4RfTS9Q1fEXMsLGlWBRT3j6xAOFkxqnp7AbwtuW+NDNXWmxomE3gqv93x9wAOjp3sRk1GPv5YYXk
i+FSHsSba8OL7zLofX8APyK4lKDdflXsBxxMnkXJJkKy4NoHbdP9jqwpLihwmXMA7xbSDOtblGZe
iotBNYQHxH52IWlzAPrGDi10V8yPbPDT6GcahfYykG1d7lKAwX+wzpOpzhO/5MAztJVtXj/SFVZQ
oXbAZM/CdYJY+Zx4ADGOuNXa9pCWghuXZkFOhYou1FuO+TY64Lsiu5cI6/zmB4zeRQy7ACMw5xi+
ptzUd4T7MPbhTYV7gQ2K/8Kyd9i4etL+0JPEp4dbBioy8Nrwy3W1DQhVsSIPbuPK51eDwUvrS0eL
LDgHr4XvQ4SUag1qT7aLMiDqnZ1gprIawhF/4dLMaN8kVKGeIF1jCnaTJVUPpQ9OYg+0lOIuKL7V
nYBCYG8B+7MGoPFmHMHxYpQk9hlfmEQ5bBPHIT7oRgGTrZmwN+4QCSz9bl3pIkbwp9NYXxh2dLzo
nlt3Zm6yoo2v0BXFT2doiQoqRqjgyRUI7gdXtJl8DkdwJRDiNqDJkhNPIOi5FSWBmJ6vUC0qgio9
3p7QXwgDMqiVT8mUAx3B9hBgySZXegQpw49hF3brB+4qy3xNe/ADm9a6IG5tFj8jKm5ObH+CI4V/
E3h2KrL62wgLNH3zwwj7iQgPU7chJi1eg6JkZE5mQ/VcglnsK62Fc8dzQjQfD3P4HHozF8TG5Pi5
c6hpbO/qqQ6eOIeYIkOsvwrWZUvOw9ae7Hd8/21222XSSe+W2FK/U04IGdcMyxE0DHxn6Z6dvvd7
IUNxsKwPWRV3BdG5aN4CP7znieQtqA/B+5A77fRe5jF0tSLG/qtpRLwlBrqNIfRbMFfigOI9Stdp
A2ARRtKfEuug3q9jE7zbtIjFh6oJT9xFiHOvrAvKUx0XnMNRBINwV/qFDm5N7MIqELh6+e2mMTbm
ZG2mlyIQrPhdm3nHZZm7mU8/gWgGxIPUDH7Jef7Zmw1+mLSIVRiYVhveBDTkMO0RsSfxMU9W7lky
V/yWbbUliYBdPdcpxrqTmTrANQENEz4PVpVQuwHnhqzwqWCtEP1kSUTLARgFIMrWIahyQE6UZ3wU
LbbmLDCvBKQ42QUfVPk6UO+2tTzNG3hnMuu/hDACRWzDUFJJDeHuZmhWLPJFjIf7QqGkPZfVf9m7
gFoCXNotBjvSQmHPG4S6y1tK+0gkOqgc9BqHdNQ+pCDnDDfKor9M2A+4EpRe9FQhRvSANUL/w3h+
+pCoIXvzrLIY4XxoFVvWcZjR65viywSGrl05OzraEfHoeIXPXtzUCMxl+Bj1q9fuOoM4cJtYJ37C
6kHzTMVI8zqloG72w6iciOoWTg8mqCS+IZlKspzKHdSzkmwZdo96wYCrwtibXlbWj7BR+gH2vep6
bwYIFETYVc9hUmGzUqXprjGOs+FRLDMfDoSI/KgEDqXTwI43eCBPODonYb18RsoqRkxIAUxuurZ6
8ZtQzZSwp65UsW+beXt+ABxQGEyD2IS3m8X8SfoMmm2xoNwCp+GrYsJ2/pR0hlCpU+X4J+KKXDy1
1mPl7OjLRfn4f7c5wCzyOAlNeMUORJT3w3aNeRy1xqRCJNF3j+wgagviaGzpzaPk4m8aDc5w24wh
r10ybegjcyMZrxsAOLCzmpHvRkESh5dyHmteOQ78hoVT786vay6XmH6c/hCznF9vI8T7724eMP62
Pdr4aS5yL9z75Jt+qmWEmgLv3mv+xm1Rs3almlb9VGRL+BP5JbHRg+uXZPAAYZre6iJwKQEcnCY+
iUWaAZdXjvtwn5Bptxcn61uOJQBQPb5RIr+kNHQiA0ybvlWUxYi8AxVccgVlOYlK57XvSwKCDxsL
jr8npyRf8TV7S1x95vT5sYBlY0trZ5jZzNxq7O7iUkXOiHpqqdooH23rb+H0OQNxcZlT1YvygOs7
ZAXjr351k4OXppPUEsy3uAP54rDiR+Mrud6WF7KWAAJ0O+V8lHSPU4yUUsW6nm1XdC3cI5qIpicI
DVg1pLsl5hZekNMNpMfqDaodppDIOliagmUMeJaxUmSXHCFgpr2oY7HgMq7O12ZgOj02eMPES1D2
2LrYZyLDB7ycfmhyrESgChkiu4dyqF5rtvD6zaGxYP4dEj/92ZAWXfnCdROoBho0sFsWg/ljanf2
OTPzLvVYU1F4zMtshWLwT5upnwAXLxWWsduwDUaKRPnVdN3PIVndMNpt7citu1cE6N09BLiIabsb
RiRlnA8QbsEQpO9JP1qPRY5v1vLCd8F/1Gk99d094VO+X6Hk9cJsY6YIUzpSdkpLHjMJMPW6wa96
0OBSTy4GyB947ihj6qwwt0XAsqkiWppW/lsJ8rn+3cQxxb3gMotrk4UOCqwhbSR8E16GSMyePge+
pRaA8h+2R8e0Vmt667ezA+qyKXz9aQLXqBN34Dj/wlXFMpo2eL99qWUfpO8Vb6vpo+oUixLU8z6E
aNpjy5PvWQXdByLgNqxGg8vfnxjut//YksWBZaboWzYeZkUl/TeMXCWAK1jsiqA0/GCFwJiPpQlf
h44QHCf1CGaZfXKcLUC+I9FT8aB6/WsooKHc8S2abY5nqqGSax9VjK4XlPFt/ZhKj/IOU8UeTTZx
igKQe5QpPw7zEAHkGQYzvWOVqJyFCADfH2ePK6XYYjiwnKLhXLJ3WRA8ZBNSzbV2Ea+n0V0Ie02k
K+0P1IbGeVc6UvplACPgE+MRfVoi9+DwYLeawm8RRKUSbNIFOemnIQzCmBokbgbNfIvANuUuJjib
tx+A5Vj+40RqSvfFabXXyV0T6c75WNPOC8V+DZeUiAadO0QCeGCa2j/RSibr7iCsiOpnh7KLBjKB
R7cXEZzKSXhYK5DxiHWJYlV6XMlqmOVEZw5+mOsqIv6tJQI5HxyqpJYaFxau6FnuejIUbn7IMll8
FNpdYf1wiX9Niyxf8EP1zYdBxRD+lQrWyLvo1qMgqOa7ei0z/LY7l7uZh29VESUFlwLQdmdNXJob
7ndjEx+zfEXC3HtGEA44tj4Ouue+w9z/wMq9p0eJrNI0/gFP6S9/6pBS1SuTyxr/ExEc2H1PLUN3
13LtdEng8N695KSMwMEqxgq+NuQerxo/a/tgqWnpTpORE7qfbc1LHIw0b1sIY4ogTw2ZcA/ycSFS
lGNjf/eSrvtHAjwLnmdRrBg6rbtUj4le6YsP0tApiO3QD3nOWOdSib5O+urUjv5LNZOtbujNdX1y
dFLRXTuxqXoasdin59lwitT7QsBqfZCW9Z9hlawz0R76IHQ+KZb2qNLp+AhfKUVnWNvjdcRPHxEV
hgiMGTs6YWVSxRdCm6zu2RO5BPlYkjMR6LSgmZwlNwhQarpQVTqbzN9U5lUk7ytGplXsCp+SFGyT
o6DVOUjZHO4Rmbp3N58nvoMjRwQrK6TJhzLqYK8o8hb+LQHQhV/5RB0Ug5SNu3+jLubn0kcmVujO
XjQcUXjjmEoLCpmSR3JEnfpNlM6Aukui6pOiocSy006deHot+F5Jvkyus0y7fu7GENo1v65dPOKI
vwZqTczDtKDiXcdB+zAmwdir7xwdzn9rZ+YUfKkJjI64IAwT72NHGRyLqQwf425sFCiz2aFGI+5b
kGqedG96GzfUdM0Z65wup2F6kxdbwVBOX88m75Rp6eAKEZT+7BR0TixHRRZc2qmOvhJSpsXe69wR
z5r1MC8XuRMcXK+Mf9WrwByF6SmRu4gV6HSDmY8+V1c6wRsQo+iVUEHPqp3DunWD6bMFA5wdVqon
IIEMYRlcRuxihpUc72rO+wZjKLFZ8cZbYbn3owkWYQFol4pjDQ+HsE8x3CMA6Q+2004K0sEQZgDg
qf9hH1juGhONp5x7z88hzZsnmr7laWQWuPcw7j44YRX/SOQ0fwxclnxKAWApsFwq8+vMkvgz4vUG
uj9x0+jsiKAhu023IkszJ3UV0y8kjf06df2XqttoY2tGbJa48rQnnjnK3yqU4m/IY91vURk/3Ks8
K182F8Mrxb3iFR/YTEwsT90LMCcONOwEXKqaPn2oakvXsG+xtnOfBP6TT7gWJnoW/olW+XcQWCry
cF0Ki9wu3T9CpPMd4z09L6ulrIHpp56/HW9Iw2Og2XjClCDz80bXd7wQJ8I4wp/MM0K+py40X3s/
Y7OyuX65ideUFfBZ8mO/jxhcwMf40vz2MmnedQrRg7lGpvd9QlD8PNf0Bx4ZEkva3oYU/qoTI0mP
pZgeyU2jR0YmbPbaqaT7sHY52IxdjYdlfV8YzES+H83aAQy3oKP2Jgvjv7IlnHDIeMPdVZVh/9h0
OMz2VQvaVEcSS2UTSi6maHZT8VEnIvtMhSyv2qdoY9/Fqm3PKDCaFJ3S2Y1Rm9jJVrQNz3HhTuGJ
1p5S/czEoM94ODnewZ6pfykVadxGSxjuB1SZdESOGtfpKRROReY+HYNb8EHpDBFT1u6uZt3OaQqL
ThFp82ZCgVpM9H4moQ1p6BBZfgRUoYmAJVFzbbW7+Hu2Bzo4xFUtzS2qAJEVkmEsj+vFgA4k1ll5
yKJJtB5i1nPVfixK757O+vmgoFHyzguryN6u+PR+j5Be5IGud94yTacSS1Bryt4m4lHVYUCJbd5V
OGJxGix/5x/g5iUhL1uq6AlzZDAeaKNXwTmsisg5OqXtEdALAs6bz4g+EapxAqDadFj7JAx1apvE
vzGRGvUdo4MX4FRyqohrh1pK/qz/ZIzA09UvNHrYDVOtQVy7lqCA7wT2fZJVGO+iPnT/+hCHPp3C
cyCKpL78BBs7gKlZ8SGik1b6Q0UefmRChIQeRyyocNUhIRANhcFDdfbQmmcpe3ZWTT0gF8ciuszd
0geXpMTxeYxlwFBTCDxYRzgMPcqvh38NPcw4wWPZTuLLTmFfXwnf2Py9Mb3z4Tle21xCOesH7lQI
9eSF6TuC3RFg4+JSRglds9BI0/U+jdiUETjv+Gu6P4tgFqe61nHTq+giXnuzY+acmQrnKt4eR3+6
poxL5leuczAvUVPNMddcyo8Is/o98jLDM0g50lXN7Zxyk8h4OfdTHirKnSuwzCFJ0Wc7DNmlKbm1
HZw+Lt4xNHTvkuvaxeUKNJ1jCpqIGuGESOAktm72FteEpP8Q+qjn+zpFPGOfK8vkMIu1wl6UpYLv
TNq32H4yLOfetYj9on3vW0/P9yRhG/tWFo1PTLnN2qjaIeyaBqciePUb5nP6bzmNpbwLlUMkM2W7
W39ioSqdtyj3YWNMLY1GxL5Jae7BA9BOGMV1zwsSqrhmizfXblyAdS/c9cAbmc8fVF4zXXM309XR
y6rGQf+RLsYBZ3aSe7oJnOAmxwIKhjNfYGjRrcnWrkbCUbfbpbP7KIipxAHp1CDRtyVsZeBjLqHO
/QRFgu8Ov6fxnhqgXHxMJCDtvAfuk0t6anFp/HQ9FmmHVsMufnNWLio/YuLqiLHllKgPPhgTsCGi
GuTsx3O6vCN9xdPJIqOB0cI4Lm4ILBdEdFNm6XsCLrU6rxMjxn5qRsl7l5GE6IZqVJGcbNAXwc0w
x070TpIbt/CODftU0B+byJ+0RHlU5HAeqUMxsaMkyEyNJbCnNC6zXYUli7JMRaifsTEWICFoKj8s
7pzm15h9U30UBCiaM42htnpSKoz4E6bGKP+ZLfWCYU2UcAc+WqGM4fK/NPOemaSp3ys7VMOFt53W
n1nSOMGp0IXo5AHDTkH8LHGb7rEi5ieeZuUtw/3YZI1+JIWgVpSeYkE45AYQ46VwTXzpKxSmnwsd
n+KIekDfNU97upwoDRb1G2ZFsQD95Jh+F9hms2Wvg4CieyasChE3zLGScVjVAVlRQqzvFVEk+e31
Wa2eNm7ZclzWlo/pUEPTDrAdLThQD3LMjDoig+gKr1uK2nmcQXRtzJTOPGc8vf5J8xpiNMRu/i+k
tKc/OlPWcvi7Uv2eZ6VfJZpOcapUNIyHIS+x6oVhxgZRTlBjWQEu+DrmJja/Vh0qNlCBsuSrymmg
jYOlK/hp4ivlIZ5UlzyYLA4e/sfZmfTGzbTR9a98eNchwrFIBvmy6HnQPNsbQrJljsWZLJK/PofO
xu68LQHaGYLR7C7W+NS951YJZ4u1rLTxjRQPix1E0rU4mMSASX5FammKa4YbvoVinkZiavrmU43h
FFO6ZA+Iz4KKPeUm7FtLnUyL65L94CyAiZpnnYQbqr1cyRxLFqKe6rzR/LSUMtQ+tJIWInzsN/1O
N7nmhjYQkpHtlkQDwrXjDgE6ZsFUw/Dh5lQffIE2a/SptCqGMRlEYZ1yf0ZaCYVm7sKKXemTOAlH
hFoiBhIISOtWxn69HjOCcffQgdl3R3ajB8tao8qzJmajQhNpccl2JHKuQgNJuZ4IczlfSLJ/dpfc
cvfeorGyONwAu8PY76C1IhJsPt4ueKe2t2kctyY7uWSJWMBbNZ/dgGLMOvFyDY4hl0tolVpqY8vG
q1iAzcTOrAN9rHju42zcUsIW3brEmZqspybT7R3zlo5aiqPTtVEE4JqnMTEnaHtB/eTadTM+VUge
e1LaNTX+iFXCDn8qBFwaWlUNO0JMoitIMUZ5x/kJsLg3VqO1Z8kILa5vPNAkXMw2RWcu0HhX6grh
plnshAMzB1Qe6S6bQPnsDatamjhs6kaLL2MNB8WSu/bc30VaPRY41UoCJhde3HvREc58gsSh64oI
7YIdvgEBsE3gsio6Jgqi5dVEMud06auuFddwEqcOnCZMn5WjaeLVBVcbLpw6ZodjFFWW7tKRCyyy
F5tk/ktcXyXIpQ8MrO576GP0o7f36UsZpl50DQrAT/fk39XTRlaOewfORw1rspZwBTFDquJxojqK
iAivcYrTnNmDI6AYELkRsMqLcBLtWUDlK48Yh4P8KGScDLQIagGU2G1Ltc/PAwFFq+rWEx9DxAZA
X23VaQBrHoWJOxyiEyr9DW+snh45xfvmipiKvKQTVeMrAiqiLUURGYDnwe/Lm76rnfIiUUIlF7WX
Eq84Ycgs1v6Ud2A02cr+gCiF7D6XXf06OaXq1wEx0D0/LJYMtMnKMaf307gRbWS763r0oNlkpIta
D5YDOOWnUeoIYblPTdTNRGTJuNJ62yq3VU3VautlrFgL5sqO6JXR8rxVYUrlUoXuc0LQC2aTDVkd
5X06mu0v7N9QArH+ieugQpGEAq5DWK8EmP59gqhH7TRPi6NVTzW1+ymprsOaj7gEB1qi6mBrUeM2
Vqjq4bNno+s/hJ2GdtMEyZEdeqm1+Z4791pfcYWs9Rs0WdQFHScqyguJKWPnkEjosYkHIIMCE8uQ
MrmGBQb+bpQcfSuQYlcWd97b0ZNF9+rILkNy0nvfvZIM0zo3q63T5Npjb1UekhWQ63dZPJbXDnkY
jHdIeGuGBME5vlu8t8Tvzjw0A0leFgQaW33XvC2pEbw2zIGbCbH5wdH7srhh/2Bc2YHm2lvLTTms
WcAz32Ud+QjwpuaAWVsARzSHVc0V7D3TmbmNI82Qa1z6Yg00V25hLoy3Za9b2MhyUH1WI96o1vX3
ZUTI+x5rlvNjZDY++sag7as2mL5DW4X2WnhutcTURH2yIQJzl9RwkTZ6N9gOq4fuWqsyj5r7IhrE
oWmwWy/TskeKGnPNfKsBarHgmyZiizIqXucGcaOguMWGsAgENtLvD6haO50jeiniK0DQXbzPTdul
NxDYuOw0qH5lEgf7qJlGkjQR/S1w1sYvdZKAdlWlxZFZi1F7LwCbo5p3GitCg8Hg6Ulq5aKXSmur
nqEXRxWptBF2dE0YptoVlVPfBaHFlQI8QygZVAQI/atwQV0OpF9U5QL7a/eTFDIXoHQDsR/6gt5c
alQSmpXDjQTu4SQdCQ6t8onNXTM62IngmnQb7Koj0HHLuKbA719EKQ5ozIPTN1eN1iMJrggdOF7a
ACbxrBxp4yjek6qXYMTjOpFpVeOz9MrUvw14OfUdCMV5b0Tdr+WerS+AA7QpcCM6YtjsoO9M6mLM
raRYAqbBtwHRleulvT4kFEfYLMps2wpp3cAtgWvaZ9XWUE19hEhnbTEhWdcebK6ntCKqg2iQesOO
v7kLs7xutl7sw7moObgxC3t2Wx/NFFEuVRRUFgsr9jSuRgqQAKu8T0cqD2HtmCuS9iBplYYtFBpn
XA1PYQYvu6qUvC/GxrykrlfjE4do86SmqiC6rPK4GPQQMxvck4g+L3YeDi1/nRE9DGsT0AmB7n1T
sS3MVcnCHfhw6QkH5hUiguE+mPSPYB2WU3LZzdUeVgEqShWtBl8LpsQtJOBhV5eGeuGaFS7gFOiv
MVES+8AenR3OpnyPeSgZ126IM22lsklL9zabZvldqyA1bqw8VSgvCQy1l3rp15BbOfVxKsh7I1mH
CVdnOyTy5DolngSLT1FRGp6AbpnX+G/72NJIXa1UwdtuOdWRYzkN27hO+wYpdjwFR1wGk//oe0Qt
PVTMt2wLnIZczTHxguwCan1Hbgs38VTzNLJidNdzVoZXxm8JffPohq19RF0N47q2nBs0XAMbM/5W
Fn2G0LMyMDSXVUJNsut+KoOB6ud1Ne4sMV8r17AhiErF48iJfwgmAqsRPW/7esI+W5KoFVwXJTgu
CDlJ+AsSa3OT21S8SGiO60PfDvegZxL7Ss8SLCED8zvZDNYUA3yCWrRKbJKmNi1sXpgIVEAUtDut
bw4I7YwmW+CQwHAcl/nEULW4y4lB6nLP2z2OGtdQLAgG6MB4m8AzMQgF9AkBjjYekF8zuEYZPmnD
SkNi2W0nS0s5GWpO6csHtJ9G3K5kozteswFMSOIqxj2EKaotbtwGg4rKtQqWJEmLUMLWsuUM3K5i
Y9IcG3xYY5fNSuOY3hUXRBxP2SPByFr5PKqm51uVrWkPB8douA3d15XLVc/KgwxSvyJ57PHoFaQe
c6OgQlxkDHL83+HKoXo9dznhtlxWwXgcl5pv+3cegRrsC2BHaONBsGan711Lk0OJbvTa5m60iSax
jjGdmDem4Wj6/p///M//879/DP8rfKfWB4ytyP+Td/IGIW/b/Pcf+5//lP/vr/uf//1HI/yAwisc
j/nvP17vYk7J//3H+B+NjrLQAld/pCgz7FTmKpAR8tvXPtz6+8MDoK5z1ION3De7Y97o97WuxV/8
5ubfH84RWLSIl8sfFSwKAzm8TSBUxMVPfPfxt/fONI3x9wOwutrGMPVoUfDVxTdFEWBG0INrtnp3
hW/50bJAtzAbw7TFx0889zL0v5/Ysd2b6hGSrGME5qY2E2eX5cgXv/Tptv/3p1sGaKsav8L72HSh
uvKJsSHfsyvrdPe1B8wN+UdfKpLcz+GcQNJFe4Et0ytQAWGEsz/5AQ6f8y991Xb//nxEQ1iSytL4
4USw5rm201a1ZrCXU4AEP/4J5x4h/n4EPMBcxyZq/GjZ1dYrCnKmsyy1ujmYlDgOHz/EnFv8337I
/PQ/GsotHKSXoteTxZDi0XsIuqIM1rx9SCaL1BdG8a3hmJgZz6NlDspZcyokQG1r4tCpD9hnamKx
R0mPxHtUq3dJUi6HtLnK8WgavWYdQ3joxn4qMJXemUgmQn9fBXbBx0tKcw5nRtJxpUIx2ERkBk1Y
NsMjVzoJdbuoUKS4bR0zqFnWGwTCYsPVGRQGQoyE9UlnmVv0X9rAOuksMZqAqbcC8xgg6D6McYv/
xiDckTvjNYtu/UmfOfeYkz7Tujj78lJr352yYk8x1Zoi8WDikJcsqQN4/o1tyvLp4xd7ZvxaJ70n
Bdoel6j9j1AOcRFTCwUVWyJq6C4/foBhnmm1k54D6x4vTQ9sFziEKmDPsyJXTEKjrCzPWhH65IuX
ro4pje9QfXUDOgEOYqG9F05bi+7oAaER8cpie5mg0CgilJ8ff7dzP/5kJcHDGQVAnJ19M4m7oLXC
JYaWZPm1Dz9ZSUBMWKqCo/1iN+Nb5zCvZDpP+NqHz439x3BszM7mDK3LQwUIcAkvhszfqf7klZ1r
lpNVRAc3hU+l9vdobMpFYLCWD4OpvvjVT1aMMdPrDO+RwFmFa1a1RJAqZd993C5nJsPf09cf7ZLa
6H18W1QHLylhAaI5yaZ+V4Nz+9q3N0/mAE0aoGqUYb43Yd+bHGRibqV84QIw/drwt086JSccDN8Y
8I46IxOIgbaMy+4+To3nHHb7l5rJPumbgpSdomoqcRwLmwikiTI5SfFbyk3xJ7/iTB+yTzpoXHEH
j33UPMI17uzXprVhD8qIdMdP3vS5B5x0UuGA5EV72/5APOcW3Nnk4Mb6QQ3fP26ic59/0k1T2fc0
kzCx8nZEpClCsGfT0NeaxzrZ2CRu16nAG4sXJHOPfWuIRe0l7Scffm4QnCwgc6QRRs/O25tV+xYi
Ellz/rlz0Hp/Mm+ee8DJogFQ0dDwEYh9hRker5x6SSEgUqBq3j5u/HMPmP/+xzAmR9Yf8gyjBWI/
csaN9IEDj7NsIvv48QPOvF1z/vsfD+CYFbUtcFeiZTRjpdclt4R+9bX50zwZXWRWmRKLijx4gNOW
ldCHXavcbv3xVz/XNubfXz1ukRsXaWK+k2zesylybjzH155qZSSffP9zTzgdWl3YFxNwjANhwtFD
487advQkmBxqW331ISfjC8OVD0u0D/ZN0kORYUcFxgm3eE0o7yfj4MxLNk4GGURvnwskOz0ov8Hr
PgaAJei0H7+Gcx9+shAE2NUMAzTjoWCPj4gDGU2jhtePP/zMGzBORvCoK5g3ElVgZ5bBwuMWZGHD
6V+g5hi/2DgnY7jw2jlSJGWIlTD+C2P8BVzDW33t+8+/64/hZVpOTm2pYGvsodAxYR3hMkFA0if6
r6894WQA47DFYII05lD1xZNpiAdTdNyOWLH8pH3OvYKTQTxWOAjztiMTKcFVrcdjuhQIBRfY38Qn
jzjXhcy/WwlvjIs5JykPlexNOKM8ogu0/IuffjKKwePhthvd+IBR5eZ36w92Hnzxw09Gr6w8e+gx
Ixz0EYijPaklQgnvkz3WmabXT8ZtF01lp+MZPhDmidsh5ZxFag8BmVpffPKIM02vn4xeT1WNoQwr
OzQ1ChTpTdwhxc3XGkc/Gb1AomRnFX15MEEiw7DqcHkI+eNLHV8/GbdNkGrkWtE4qku4D4hZ3UMs
otY8AX3tCSeDl5Br5RKqKJn++5dQ2fZmXhqx8Xy2+Tn3fk/GbjPKCSzmEB28iGOXKR6QGgbUyHGu
fvwLzr1d6++BFRZmWaIWLQ8wOpoVIgVnVWfD48cffu7bn4xakk5R+HUDzYONdeHhqeDmn1iivmqH
L3agk6GLerCWhZbKA+EhW3iYzioLv7p/0E+GbogsQ3HjJQ9m0r2JjiEFB+6xnlfHjxvo31tf90+G
b+hze9RGVXVA+g+qRerw96TwXj7+9H9vfjTDf7/biqpyWrdadOiQ/pjzpENCyTb5vPuf+/onoxcR
vT+5wfx+gcWzfWOEMf80Unypc+r+yQBWSTfVHFL5fFX8GIfKXJbjp3WBc60z//2PhTeWfp1rXB/j
eexf7FT/lcJ4XMEtDjcfN/+51pn//scDTK4/HI2buQNZEYeuzeplrUfu6msffjJuO1NhiyRb6GBb
aJu5Zcmr/plkRdLdvjSyIOb9/fWDfnb7kptxsBQXHS7i+9uh5Xj98fc/1/on4zZMQzwYiSsJJJ4g
ECsPvjHjiwPB3dcecDJ2dTIrTAz65YFELLiHdKSDXXqXhskt68dPmHvh/1/j1L2TwUsy3DBU8FsO
Ixq6BRgKc+nh3tr4TNNZxx3rx48501LeySgmLl7HWM0RQxUet5dp+2IDgUFbrn/yO+bR+m+/42QU
x4UsWqYeeeBm9aLjqvugzysZyK16lYC7xGBI7s/X+q13MqSJ3WopAXm8lrC/rwwUWdCO9U9G3Lmm
mv/+x4griJazEs3kl8xH1Q7LlcDHSl5b/qWzMAbovx/QwFY1MZgBG9fKcv17MfDJff74Rc8f8m/v
4WRIVwOIco8864NNEXiRdlT7Jo7zX/vwk9GMfz/hFFZlB4wl1kEH2H7Re3nyyVxxruFPRnPAFQRC
iCA/VFYf/254TAi4JTv7k0uVc21zMpo7RAEqIrriAISLI1jXYszLgnr1pcZxT0YyPqGUqzMvPQQ6
jJsR1kKEn/WTNf5M27gn4xfPNH7wIcwP3RwUXFTFDS6MArL0Z21z7gEn47dSdoCS1v8tqmaDXtZU
fxqtWBimrD4ZWGea3z0ZtfoYTTiU87n5NeJN55na5Yd8rfXn3/XHqB2JQIWgSzIzViTys+c5gXXs
6WsfPv+iPz4cxtvU50GWH8asX/9+tYb4dPN8ruVPRqxuublKgPMdTKMG+kOg2Gq02nuyAqxPBtbc
wP8yJ7gnw1b2ktKnOdAzQwdga5jJjZmG2h1ZEoCq2/iLA+B0/DoO7EtMmYcO48Sa7Oj00c0/vcs3
nN9bzn/7HSfjF4pZz1aLYwasiAK0q6xKLPv+8NRNNmEzJrLhnyG4AqSJg93AR40hYUBpmryM1D9V
Y33tPaMdSLgixyYicDMv13FH28BbIM9gY4KTNleQimJjTbESbI0xITc8FHjb0p0XdqkHPlSZiEwx
syBhlM9yrPMBcIU7QlOCVh1BlKmDFri4NeAgNwFaEoHohsmMGUdObxJ1Xm6KSpowJmx5aWJIPzSV
VqsjoSPtXv3ONicOIpk1wuU3jp/9iw5ZelqHwWRgn+iiW9fUrWvIVQY5TaZ1N0bFdKsjvb0P4Vvt
OktKnmZ2/lL1nbjp8kTTF1oZJy+2nTk709NkSnbqDDuX6aRT5g2wo43KJTi1V5serP87OR5ir7PZ
IdbKnynGaBy9XzBkgJDCwCbkLSAb86qDa0KLRdgKljLI7Z+ASrxLHxonERt+XeX7wpmwUuOFeuYg
JG47g5Ts0bER1RE2hgtfSGxYxAWAI85rMNyhmA/A3DLfjn4UHuHelYSRGhIFOaKsdgnkmwSLJgnU
QxghF4ZZhBZ9nIzsGAXceQS4wodV5dKtVYrKBpUR791GRo1FUsRHbCk2ASmYJGyoinWHP7aCEWBr
qrgNMeER9Tz5BKSY0/i9bmx4WwqoOhtA5MoUGFrMU+A44Fx5YTVc6D5gLhhRQ4v8afT2wuQIJluf
TMUUMkK3bQbPfkTplnWrUKQdWQUZxJQixZMNhaKwX4p8xGAe9oMBYk+T3bNPKxhk+CaGPTuJm1e9
zUr8g1pkeEfZiOYx7XztG+dK4M9IZItjLoZ6FrpG3yQI0/fQMIbwUKHRz1cYBECHW4Ud5hfoRLgz
B0U83SUOiQ5gcnJnNwgt/ZlWcIJhiIcYF5TEz1zOSRHE+W46vQlBtMJ0LzqdnGfdMNhXKAxMO63t
ceIRoodDf/LS0TiQ6gGNc9Rt6xY2AfTVOO1FvZ/lfeOuIkDkvdAQQ62l32IHNysPMAKYxXodDz4K
GWLd1KXrUyda1uQnXoGV5btoPtvtRYKJx1qNtQsjBEMwzDHEcNFNA3kOcX9rAi909N79MVsu4ZQD
0rNX5IuiCISNn5Z7PUYFonyzDS5FNmHSxnM0mYiEiQJYV+WMn7RHhb6pMWagfYLrLL/UbFUmM5aA
se1BMBkJ1BP6YxaruFmTFpZ6EExQiBJXOXBliNF1VuZDGUruyAuP5G0yhjL4hikTcFRV64G9pEhY
NDuJKS6/Q7s1XDiq6O6llmA99OGAYVVka0j0fIqI/01pDFs09HC90mUbj/a0M9wyiC7hJkAEq4y2
xrEPmC680x1BvnuICBgAUG2AqZeccyWEhRmHowdw8kDROGCNXH8gp9xHHVBvQZPSFthNAUcFgQu0
mDhmoF0K+FaxmFI721p4IEjfBH0ELS/Iy42GzL1GUZOX+pYv22KRmMJQ2v0ysEWATE/K2F3qbY0x
3rWsNH8kTJlQuGXXJc4Eab4liq2zJszOaVMZ/pzpGbf5lYLKxTGXdJOD7XddeR9bFMYWSuJNIkxE
lcbFMA6lEy00RPMqXrgtoPtvXod5Y9WRNG3+AGeaEIw6jR3uALIZc/9FgEbhDKJrhSdeUia9/iIc
J0S9GrGy3h7LUJKPa8ftHbBQk4nG+TvFVtZihrlQ6gLwG8AsiKWDfUTqX+jDWhH8lPYLk+bvNxqI
Ov0VOV7T/0xJL6wO1PcTODpKS1QG1L1XaO6YREJxr1ttTNb3qJNfBCU7g/6b1um0t41plGvirptu
Gbl+aWx6w2g8EhvGRqycGu/NtxinxBVZj/50m0KtrY8cuLDcpKWLMw+MTzWsHSZYmIVmTOAl8qqw
vxGRK/Nlg0VZ7I0eo+el3gcCxrqNy9I2ymkbuXSDVxLxOvyhoGm6DSeeQN8rPUrACLZ4tI8ST2uz
wrpEnMMi781avzGmwB+fkjqT2P9skD/D2idivLlBHgt/mx5oEcMGeIiMK6RItf8rcjRExkEQ+uKX
LmDwvUKkg91JQA3Lojv5cb9FaCrUXoukkU+MI4Sa72Pou+Ej1SaY5giCQFfp8GnhVmMs6B6AwEUP
XG2N+mPrE59tLIBdmA3GZBM9YbwU+OOcBcGiIj1ylsDb54ywOdWSGGmpHgJDyXwXN6Y2kIKRgesE
MTRUUYp7B8zqa+jP1iFXBbG+FDgr3UeQyiSbjgSpN2vAWFq51cGB6YuYaRGuXdFmDyiWPOdSVGkk
kMTPFHeIr8BCAORl4yVYzKK+QGUJ4Jwem+3Jg6/AnXjUwZIdvCGOmbrNzLdEtAMP0vRGkmLoJaCh
ytgGXkdkQK8uRafPKfC5q413KBqTct94g/FKcJcj8Ovga6gfSdFUzdFs2nTCfNHzTRxMgNiaiW31
L2aeo1oL0uAJXdMR9mLjosPauHDJdJynMKtsbMilDXpysguDCuYHqAh/OmI3Tt6iFiLmVqKagME4
9ICS7QEf9VrEw9R8Ey2W8sup7jP/zfaxR6kVpqZeHCHNu2QRWk2Q7Xo7lzpuC8cZXysgWP66w7Xg
oqz1cogp61QUUh0yZfnqF5QP66J38864DOjU4V6Afv1GEw6xtYV80lrDBruNyiwA/T7Oz21a1JN7
C4Qrq57Bm2fpLRCLcHwKEkJBCeiZyQjXJE7l5Kn6pVlyrmq1yr9O4VAWFx47u/QO4rJFhFXuOYBp
Bd6BYauTl1Bghs3bcroN2SfVfN9yqrN3sh3I3iAGhJzZbzalnepmjMjjBA8iWvXdGwW7C+GQno1h
DtdMvx1jYaX3Icfp6kqIHEJZM5gCvCPjqqze9CBvfzjhHL8pCT1AqAW/2FLrwmgRI1dYKEiaLXBx
jrtAlB3MimmeSMletc390Nca1hSSov1dZnPLgNK6LfyrLp4BGdjFcn3ci1QPgfvYhcuJMhvU+BIY
bq32bHBKXS68aejdN4CoLYtEVBYg8yh5OtDTdOiu3qaIAgc4LIEaO5tAX48IgoKIXDlNhM8TbR2x
DogYwj5Rca6+jM262mSsMNYi6vuUZGmdMI57HY1Zc1VZxaD8VVgXxRu6Rj/aW9LO7poAWtoF2MNe
7D345c6xU0M2HkZUEdCmRgXWaEkdMKh/Zkj3qiW+MQ33mgbb6nsJfqVZNzAb1drwUhhbpl9mD9hb
ncsQRj3ZWUXJ3ufYwsy1MSsnpn+lNaFzVFZpS3LuARfN/qtURKtAyQQzycgFGRNNisMXCzlKdttr
F/5gkbAJL3gkZb1QXj5Gq7AEi/bNrlRuPJJvpKFqIf86ubEJosmPMM8056mBO5lgCp9mzlNaQn3e
KRi+05aZGLadW6Q5Qy9pfL6d6WohWaWwMbVXwqka70CGBTFoeDxHIn3rilXXxprJ0oSXqAo8wIaB
iPdEOcGEwZ49OI+cNKFdw6YyCdcku+G79OoyfPWijr0dOQ9muCIREfco3rp8eOhA31Y3EkNR/y6x
MXu/VIk/7dbIege3DLyv5MJvIkA2hUPU1Rr3QxRt2Ns28psADx+tJeNcf8e20xHz3YVTeEl2bEOt
mQyD6CpMeEMg6/K6Bis8B1qZuZzce9OwvPrNiyywdhY5FfbetrFxbDxyc0n6K8a2IlcIdt57CgEp
X7kAzypAGwMcQkT1Mn6Emm+BF7J0s4EENTTNs0caRLjTjIiNkHD6msNH0E52vam8mJ3o1rbb4Xtd
swaTx5JZpLj0kSdiUi6HNnyAH26Xd5Yr2+noZ3UTboasZUfCTwrse4cNv87kNWhsS/Qx6IKtMoDh
BBPbxuvYBB+1x3oZFy9d2HqVt4hEQdpZPsbee4gnla1ZFQfgRnv4vLAtbc5PG8eOnO4hrlhslmHS
knCDRRfOEfgxDhTU9lS0tcYIOICVTjCQI4LEl7iDWB9xtoyADm2mbMjVQa9IZ4W/IpdEInE21Z1a
dUuYSBGWCfTrciUIoUYzwGbFWMGgqsKjU4AdZy5Llb53kK2BnPR4P77dain2rpn7p8acLV7Njn5a
T45fPsupN5Ntx8H4qJcYfVfI7ifGHJMQ2FMf3s9FQIQBqAtAeYumy7MWGpMs5RF8D5ssMA1yyaEI
fmJS25icDWgy6YIV0H7qDa/tr4ZWZM++7pbRM+Ah684lfpko2qToSCwhfeZoGLWYNq1r9+lWhiEz
hJKuj2l6FtXIAEzcxoYaQOkMyxq3TXzqssIoDsGWOyLUMbXOaWOsal9f6Z1y78jUC9N1QHiNfcOm
gRGt2xELsz00xO9iZ+HfBWcWbD9kFHrT7VgYMUQdiUfcD2ekqD9Efv7QF/BvC1ISgFWR2zoubIM0
lE0IKe/KmywxrviO8X0KrOZ1BKty04EFEtdU/YD3Fsidn1k/u+ZFYcCu8CzN/zev7GLL/jisb6Um
XE79Uwm42OxJjd1EeQCcChFszYycBxbnJK5np8spbRK1043QNVb9KCZtVYEmJBYsIxysCWKDgGT4
lisyUUDwpzFL30tbQpe4LoIZitdxtPKucpxqa11LQe1JQ7Ent6IRJbPteuLZrFFzvDHoYHkru7Qu
0tJK4AyYZKd2oEDIBU4aRicxL031ezUnc0gb1Hsg51UCCzPYTMH6TKQdjMR4VWD5x+9qN6CqkSB2
P4N4oi9SJw6RMoG+8kBy6GXNdymyQq5DeCcBaD9OUF1hddOWC4nCkAvyVYS4azi9ecvJmojaHXyf
8ko/l3fABjKqYAlnez2fm0Efw2Y8tr5ekUPbJ4Tb5jCN0BdYRKTqym+rNYLx6FsK2+mdZRZ8bYkz
gKjcRHHwynKm3+997Lbp2nV7xUB3/HRhsbnaEykj4iXVF3iRuq9D7Gu0lu5EXhMrFXDxxtmkqN7n
edKIHiaHBE7KF6kGMazUJ/iPhTfR8WOcpN5mZDgyGoeGMYmCPXiv/GFQzTIvG7pcVPOzHHJqQTQR
IIiVi77Kv13w6Ati7KyLgE3Q0Y/Rp4LgHrMd1DgwmKahyWunjggfSHHQXYvMcYMD4aMtmF7pMJzY
F4PwC61avIH+TjpK9SSbL+AMM236cjJ6zIktZP2KhWXd5JPBGaXH8M8+N6NT2gPGyIUCsmMuRqBv
u1D2YP1aA9LcIkMnJbdBafQvxELTT8y6HORDMYQcF0Jvjt0KhQ7EVlTe4F5CcO/Sh0rU4iI0VJ0c
4igDytvFPZvfUSUsV3FLeQnzO+W+3EP7A8JWHNImSFaEilN/6vHubsg7GfcaEa02p8yGwhDaBiNf
zH35aWQruTKlzsFCIwL00PW4V+G40QUYJUdV9eaVb1HhwRBsWP4y8xTBqIVG6vDSRoH9hk0Lb7gn
ozg/FvpEYg1umObK1uterUb2v+l1GoT0CbaFZrO3IZiDOSNve90VHQmCEqbcy9DICcpRawYrLIfR
c2j24VOaVNkNu8N5JfGb9DGFeLzrhOpvJkEJttLs3mFXEGn6MeXcW64Fh6WDGGDgH3OWWZYtLL8g
2Gw46O4tQISkvMCmYF1amtY9VHKCsRuNcfYzc8f6naHiJhfR2BOP0BAsNb8FNnXhMJB3TU53+AS/
D1Rp0Hf3RHYRfy1aTb1WOXMm/n9PXgNjnXpsMzapPQb2E65jzDmmyZPTDRgRFxV2xO2njGxJ1AuV
WKCR/pNO7ePQ+xjZgSbBpw+p0lE3IRJiTaYE2TgEYg/fs0ZL2PwUGYmwcUjmJzt3iuCQihL9WvRz
ClmOJfIOR5+4UCIg4gLmAB5jx3Pj1ZTOvVK0DhXYAFzMweIIRhnFU6/RQJT76AVUhHujLQjHKcR7
WxLnsAptr1kn9oA0Osf6twxIcsD8ylKdLmCUgxLUmSo8WJzwpiJRfiMWl220/xtArZspNa9p9OEo
2GwUl+S5UMVK0Sj/gGbYX+HlZLPdM6ZJtSastbEAyg7Ap7ae4ThHxqd6zAASwNA3BN5Mh1LoE+bO
5s6KoFfHfs8GPs/0djW2Mv3utYN8J79n+lUPKnnVKdmxUWOiWqaByZAKEGdd/P7v0zgM3z0/Hd6k
iqnsj7balgCX9jS8u+vdOZpP1In21hEadFeYIGwUib7DahQxNQN7ZKu2KmIJ6KMbUnnVeFYUYkxp
8gN+YaqoTe6r97KMtO92zD485EgN6CzGfEY8hP0IHpXvw9juwYBEhOKIaAYp410BfxfKyr2Ds9AT
o9OKZ0oF6QHso/7Ej3C2ceIOP8yyllc6LrZooevZ8DBSpzRBlfnBq82xGO99VmegMPPi1gae8EJa
BrMGe5x5GbTMtFiB1rEgzoaD61+Q70KS65JqGYNxikotWRUGR0YwlcTlwFw3oQUPukuRfeon6pXN
2E0/mZ+CbW25hK5xQ9GBhcZyU9Jfomtdeq13KQELsIn5nVogS2rcxBtkd5lZivpYdaJ+73QB1ap0
xnIFdBfHs8lNywulFjo/xneO8SmclBtSA6r0scsH8so1s7+xXBt2E3EBbCk7lsECI2llXRB+7B19
V+9+UnZvn8oSFjnVScfdZkCuKYKRrPYMnbYxl0HPxqpUYyS3CWA2b+sRF7IPEQWBABOSIr9XRjh2
SdkRRHjgfKSaLFjeXDJdAnf2UQQpdJ1K1VayHYnH1TYZLGG5AD8wUyapMt27Gt7nRT+wyKzamtil
avJZz/izfqdBRfKWmGFocGWn/lWClKpZhZk/3NOn0w2rQbsfTUDKfe4RCKPykQ4zAPLnXOFoI5nk
elhykAmS7y63BBZ9xwsfRTpk+zzVgFyThEqmIC8l2HImw+Ffq7JFHWf4N8AaoIeS9OgsI6ZedgDa
gMXOVOqu14t+F9dMUazT9saIfSxWFQiIdmFOzHqZiNoHvaC9FoNVanc6+tkdxUUKvMyo1i9q6+03
ve/YDg7w68MtPHqM1IYi1Vu5iqmwLquROWDAm78Y29RT1AakuqQCW22g9M6BE6Ab4HaaXbUbeo1d
f5jZ8X1eODE2bE1PrnG6Q+cj7ukh7vGbzzuEvUgEiQYi1pxXBtcvr8K1vDDLGeOfOSzoWwKFo3X9
fzk7k+W4cWYLPxEjOILktgaWpLItW569YdhtmfM88+nvx/43algs3uBOrggDxJBAIvPkOXjEyiXv
XKYU3Q3nMxKRrHaQNwSK3dBNff5PGSBYbAPtoGBAvSvjJv4VQdxUnuNQJbxno05K+RxKfa7ZXZCL
ST6rpmq6pwK93SfGPP9JfBdlpVwLiFZrHYZE1sx47OoKB8DkomEvCH36U1hD8wTqI7+3Mu4DP9Sd
P50I0t8iT4enxSO5YxXAXdmoSYo0VJ4Uu0xK5GIyHFZYJcv6yYb9tQZXNk5nStabJ+LM+NE5KImj
NRaKZ1Y+Jw9UBvC7lTrihg+1EjBplIZbHyed1EhdkXVblNC8dEDGNE8t/cPCi90fUyUivcWnP7lV
RvA0MlwKcWIF73RqenWhsUwphVeH3j+V6chVDMMDS1zAVvdFoEcQHmATqx5hCouuYZeZv307Un7o
WQvfsN4QP7FVp9A+jyoMnXdW06LpDRFhffU7vXhPLjp8xoQoijTwLSHMhEo4KIgKfcg0QjcHknO+
erCaDC1vU0EwG1EotriCJBLhYjRa60tm5Xhb0CS7v5Euizk9dUQYSBxZHDFT1ahwZ4ZEuwutbjxo
8ZoHO83haMHZaO173rpENFRY474WkdKHZ9BLNn4gMm1tP9p3qZ7woNDGRn0DMYLm3JXZhEakwsZU
SzVG0qbLOncpfUuSH3VvOveuA4kmmhCqCtswMuWfOqjivo9xLaiBdanf1moet8ckK6uPuQMa1K3S
ahwPcUwtzskXQn1AV3P8MXWZ8isBqfIrgAdvPo0QET7NhJFLCPUT54xKty8+zjzYH8l++Bdu30Va
TRmr5torcFo/cDMPjyGSfWefeD705r0DtVgA96R7MMHDiEOq53V6jFpTQwIHlqzyrApt+t0Pbv2B
gmT97DSi+FE0RdifMzyrs8oL9wlsuPMOIr/5rVlExT1v9846wb7TFLzHdJ72Ue9mj3MfhcjpVsp8
teeEW6yEAReSKguujQoWZ1TJ2goePt3QPyBXgU5t2HUfUa2G0qjJloc5ll9QDmbxUNOVMPnRj8u1
B2s64UKCXuJnUpjRu5nsuHHiFkOTRGhq8U8Q46/C3Isz6iKO9oXsC6+LoI/xfUd74VrmLTicQewk
nggL5VdadOjhuirkzIcysEAxwGNtvJnhZYTAOzBQTdLQS7wURjr/rpF7qu6UfHmUV1rmn0vWGOlV
GzYhDyaf+F0FdUdy1qcWJ4k7hVBElkNN78Dk/k1XRPGPYvCYOTp1CmNUDa3fCTJzu7t241x+Tzr+
jc8Uvfs3S4qjFX4qKHzkEgUrC+GC3b+zI1F+1QPiFaHrNHd5MEQTr1V4hthqPPaWOD1FSkmOaqbb
k74d7d5uvHSMoLcPbWqQkbKtES2HeuGb4viGedf38P3dZZbFCwA9Kly0Cj6uFHLjUI+eEFvWycuQ
b6IytzRYj2rSQo61TH2CXQ4jB6qaPvUzH2coRB4haRekH3otmX8XbLHhESFz9UmNteyrylv1o2Xb
zZdSKWFSCm0HbRNYXhSY3pf7h9R3em44T9KTCuP5haQNtJNqXl1gfiK7gDwvfyJQ9D4tx+m72eta
+BZBdN6KTdRO9xADJz90FvnJSCcyvmZgFNd+5LaHgz9RPDxKkvtE0FnGyurflTjAEFT+LxGQjJAy
/0CmmdCcQ/bzD85TFfwsRqjM4LzUlUsCo8p1VKLpHxheWvNcJFrvI6okHPOu7St7xl9zlfxXY4c/
fK3L3UsAid2lLDLliaf+zJMUiZ2zWg1Q2nET+WfeYuXXAEo9Lli3IzFdQc75cUJH4w4ir/A74enq
I8dJ8KMUGhlR8mzhc6gt74LGjtHSi0gXPhZtjtgiD23zOyn76YFUe4GKlWb0zoW4pQWLVQpMB0Wz
USSfnUCt7jIfHk5PDPCN3jWxButAyKvl0PQU3N8VE/yYITQEyFyOTVXeNSW6iaex01WopWo3ig9u
IwCvwEQzPiLZXSZvYaUW8ScltLThQiI0fTLDoHI+hpNCwjDrkDhJYO5ewqnk8lCGUFr1qkdlYiHx
g5puGoWItNlz73ffaEJr7wxoUWfyMipQDehUU+eL3ebj79xO8iOSlXFw9ouBLJMbqr77jkiMnh/d
ttO/5vOsIitN6Ki4Q6MAnWdlmskdY9LFcOHdRDyGCHkUvHPNlPOEVyepfzjYzbI9lDO78T1Ai+67
1QlIkCk168xuA5a+AiYTEtpOV3Mxwc4e/K/iqSAYczdDUrkPyiQkuJ2T1ChmG37xkBAo91Cf4RQK
bY7ajfZXMF9CQtvpflr6C73C/1C/kVFZx0pvP2oT4hK7IGtCAtt1mTVArzelD4UByA41y3RWCWMA
J8p3roCEuCu4SR0eYMXDpFARtgwBKbRpA++4trzL7y8Qd5FZoW9iMkHIAzxysTWH/wdSc1nFV3Bk
QkLc4f1FLu8dcGSWqnqILuYtd9ioXXQIWzOK5sYQb87mDQK7nyn2IRSFhMKDtRqXf3QycLPU6A0F
ZPF2Ony4vdxrG0rG3mkN4LC4CB64GAT0rv53zpz3reFUGwuy1oGEvRM88XSdirkHykXFhwwszLlA
leOP4rvOu11jsCSTJj/QG6QSKeM1SmL1JikkiFb/P4XaK7vKksw6gciTdJuNUZg8dD8jLhObHzRl
Lu5vj2AFaGnJZl2hBIKuuXZVDQIddypZ10wD7DXxRsqR0Zr+IdQyA0a83d3KmliSjRMn5wFrA7XH
d3qclnqxbo6f/h+FdWsdLL+/sEJ1UDoL6QHl3kS5gvd3mONDVr/cJOt2DkGy88rmhS2sFCQ/iY7i
ANtnDrtq50I4X6Sfbk/T2qpL5o5UAhmcIkgfdBcmQgdJKAIEorO7DdNYW3XJsIOEfJ9oTSJalnJA
IBMFzSEAKFMREOcWudwexdpaSBYOJ2FQTSPg9Qo+xORqCOCV76eBWJx9mhteJls49pWOZEqPwGxd
V2mr6Y2pRkSTYwhapg4yADvGNbo9lpUZk0k91AbmgirXmwdIBYn/2hlRzgxAldm9s7Od5b6qLlmj
QKRd8WObXor4t0P6+KSZPEtuD2FllizpPIQdv1KLMSseVC4TPND8O8wwHFabZY8ru1am4ipaAwk3
LcAF8RER1ZeKoywznnd9vSkdhGTjQ61Sck5zahV4+/uQHI8/43qzolJb5uGVO1Ym4qrMxKhMP++5
Y4MfgRU9mtanIFP/ALb4CBr2e1CFd2g0/5z1fJ+BmNJpKPpAKwOF4pTILVB/ok46A71513MmbxxW
a0uy7IUXx2HSwVGat1lPpaKPo6bbSNQewkDV726vylr7y+8v2lf9VJCm1Uz0irpzpzS/Cj3fcD5W
tqtMQEMeytfQBzSuU+Po7x3IvPorUjyIG6MsR9zt9gBW7FomoXH0MA/H2NCviEOrHtCwwCI/CJvn
+KGtSnjHiWMV5Vb14tqYpBMRAk8r11Hwuk4GhRNJUIQffJzouvX7DWKOtQWRjLzyIw6qtmYT675x
nLDGQ5i2v25P1uLWvGIhMiWN4PGvlCg5PnRuDSnHeEKg6TeqaE+DG9yZkYLchvmQ6vR5u7+Vwchs
aqB6pmYyC3QH3RStxxFldCXdoodYa1w6a8Ga+rPbTO0DQrLEwQlBntJkk6Bg7TSRWdO6sIOr2o66
B1JzZBM4z0mIf1wmq4NAl9hx9gX86J0NAzPE99/2TZhk7ib6uuD5dEKATtrCWQCtDGCMzLvd+jIz
ry2/ZOxE3txc8UeGNCPS3kEEFeT4V5VdveXtrhy0zSrZ5VB/rSfJ/8nGsksDi3EsHF0dleJQPHTn
rK/uVdEeR16H9qR8vz2qtX2g//cIE+T8VaXU2gczmj5XVOCc2omS1n2NSwZPCj2yjSjvHpwRzhq9
q3+laJdtmMfKaWJIth6oAhmEuOoeElv5Qi4SNHujBcfR31e1KkxDWvHUGAgzI4jhVaK50xs1O6J/
vXUYvjrxNC4tsgOEM0DPriCTsAjuBhEx8ZhCpj1TT/PSulaqHmqoE+GIIE5xIOaUH+phTk47FpbW
5YVtQUvnRPQgV+8PY91egJ1tPMleXVaalpbVxykj58PdgHe5FH3q6p8u6dOTHURb/JErUy87zIqW
hoaVqLOXB9VpNlF29IeNr19rWvLTuowER2m0SAsYiTeOzf1Utefbc/7qXS1M2TvOjNZ36nqePWC3
F2V+0zTpuYvAVfQ7v13yx4qIEhJqiSbPEo0XaTbKU/OGra5Ni3wyR2KR4qlmL/Y7L9O/u6LYqM3W
li3312HJtCxdvvDBer2F6b9iMcfYc8/mQRyMo/2AeslJgcF9w9Fb2ZQyYZnl54rmqt3sUfvwZA3K
Ewq3FOPXG4fw2tJKxuo6ft4s4tueOhaXUR0uVdI9hE0GoCTbmKe1EUgWW7ZgLZHxmD0hDPOkZAWs
GiMZnDwxt5zJVy9IVkKy3CrNXBOdGLoogDGaUYx+yZj658YAaRN21g9NT4PH28awsqFk5jK9rSlF
sdirfTQBjaruB3LFt5teWQxNMmHShahyKOVMFJnaq3n000u5IJD0WvEptPCLDXteG4LsgU0jJW4o
GXnd/BnqWuq7tjib3ddNQpMM2SzIfojUzBfVuCC+IsnefUfBqgC8VgSPgU9+vuNxLUL1MUxRg7g9
bys7TFt+f2GIRQTBgxoq9Kpm8JZGtfYo/DpHn3TLZ13ZYJpk6q0DOUVq95OHkA9pmEA7IS50yFX7
PGTmU9g1++5OTbqa/bAPKLANNI/cZYnIJTgPhOwS7/Y8ra27ZOwtJXpBg8CQB/j9Oziwr6L5eLvl
tZ0r2bjW1VkcKhYrYBXFt0qxPbJ739zQ+JSF2UbMd60P2ci71gG5Yk5eXAfHXIk9tVTAmE9fkRO+
3B7GygTJ7GYO9FpaVoUz6jjBhZD1hza0NmxuZY/KrGZqhqSVHgh2EErHgOti9cGONk7Ytc+W7Fkv
pxhxixDHpciL6iIyVLu0YWvXvPomEKbMaoZWIojIKdUv6EPcBbH95PN80uv2Y9xGjwvjRlwOp9vz
v7LEqmTItsvbw9aYJCNK/EOVDdAca+dwQL1Dt/7c7mNtspbfXxwWwsjDmhYnL2mL6B/0X2oQxbhO
+1wZVbJg6nVia0BrxSvM+SeiX/NlbinDuv3tK8eQKhmwW6cW9XT25AFn006ZYsZPU9x8p7hzQFVg
qTMt63TnppJMGpiBD1wxVD2/RYcMtLziRA8zFZG1d3swaxYh2TMyX2Hq9InmRU6gPRR6DGNbjbij
ho7qxrH0+lobMt1ZghhFLEYSd047KcQtS+fSF8OWA7jWunRdR0D+C2eJuPo9oAJ9jsafBmz4X25P
z1rrklEneT815BwX3oPBUd46/pji1EDUebv512ffkKnOojmnOM9najIVyGJV+vmF8lnt0Pubu3Wt
i+X3F5Y2hcoIyaWpeok5fp4M8YlH/se82spjrk3Q8vuL5oXpd2FlNEtWljilwBWbjnnfgsO/PUNr
7UuW3IlsAjrdcKeJZhhg3vDBAd53s0b9474eJHMW02iDPgU14FNgcgL+l94jU5tvrPDrh6nhSgY8
zJ2egfug9cqm+hnw0/9srApytNPiXWS7wnAlM6b+tYSYf2CVExXUfvjbnfcxlQvjL8YzRAB54rNJ
E4VARYFs5YHI3haV48r+/IvozBmoh8qoKk5SQrbUXMMSgsNVl+BQdy2wI9nwXFGfLupI8+YS/Hqf
ppQz6UZ4vt362vcvC//CAKokqzvgi7zdkCe96A78uqa+PHimfUIJLIBkwlGTxVFdBKoX6a56b8Zj
8xNEO1rvt0ewYmIyvRlCv1QXWopz1d3J/VKAoqsOWmO4++zLkSyYkv2WtA6wbACM1LubHSDb/0fz
a/MvmS/aQ1VlhbF9NbVBdA8Ik3a5FwPXGr1W01vlzb5JkuwYafcocSHjuHZqqXeebgOnOTa50DdC
AGvDkAyYEJdu6kbsUBoC5Wtvp+h4RJUHaLbc8NxXepDpztS2p3YFgC4RQRwVJw+iI1RSgqLtem8X
0l1cKTpii1boXAM1CO+6EYCDZTgUwpnZrky0MGzJmLO2nhGMM8q7SSMRCjV0lNS/+tm8jvGWq71i
DzLtGShjKtHGZLhmkMh/NCmcqg5gLnclDRmBZM0i0W01zyLnGtV5f4Lf6clKA3G5vU3XFnkZ04vT
SCdlGDS5aniotnyZSIHc6133bswje1fgxbAlax6obqiy3ByuvgXZopMSlNXZS+fbn79yW8rEZwnq
j6M2aobXmSBMFM5SwMYnSK3eopC4Rc29NkeSKavF3Fc5FA5eImJKl/zM+lL3tf4up/Zrn9diS9bc
gHIF8t8ZnqmW7/+9jimp2ziuX4/uABv57xIDWy+6Ph366xSDHHeUQAVD7Xjq8sqhoDC6H/rGeTvE
/Ye6cX7vWhcZXjmAKC5wMXTPKZBcibJOP5vlqMKclocXy15K0W93tGJ7Ms5StEQ/ldQxvCEp/knM
qjpBP74VoFxrXLqqHVh02tYKx6sazkn91Ni2GQA+ToxS3zC/tR4k245sE63DMBmvZt+RB578UsxH
GALExi20snXF0u8L826stAMyPMyXBqEwb4nwkMIvvJI/bs//WgeSeasuZBSD5dtXEOGBN+k4qJQE
VidXKbudXUgXNgUodWvYheGpIVh0ChCpvZ9snLNs2ohErq2CZOCdm5qJn6gDRCcKS0vk01WvqZbW
+Z99sySZ96T2Y+w6PccUF9QBwgz4ixLSsiEVR/tWWsZWop+padlYGdzW0I2InjT2pGhfw500lsKQ
sZV6aBsQkPEyoTabaLA+mzhmSmBBoKeFPvW8t+dqZTFkiCXokXheuNGuaLZ130nOVvfA+3fpgDAI
yaQnvxrrmDPjWjnlmwHE64epBtU1p1rw5fb3r1iEJZl0YRPRyWrHvvqx+IFYaQr2HqmF2UDP53YP
y7f+ncEyLNmozU6Y9UKHDMv/B2Sa+hOFR94CNYYg4+vtPtZWQbJrdN+pBo1T5+r4gX83zI1CeZIz
bDgFi/P12ggkk9aUNnF59DACUdYHNFybo64K/ZRDGnFSnNw9hvht531DkazbpByFNFM2XiGQHSHC
GtqqhydrEuPOHStZ90KBXjtqOlB4D+b86JA8v8Z+CnPC7QGs7CgZKGgm89BbSfA/V7/g7n6rzdYP
dwb7druDlcWWwYKUA2q2mi0PXlP/GTiz9ghNmf/+duNrX7/sgRdXEIlPHv824RJnyt74nTKdE9cY
zwpFqzt7kGw6cFsKfm1b9ZCw4TEdjcOJyOFHPyhc7/YY1iZIsulAIPeli8D0usn6kVkQIcQUI2/s
z7UJkswZ4fsWglDTvga6QSk01cwFesgzGuhoMs+ttXMMkkVX8+hYvTMvkUmOQOqDQXBRW7cPP2LI
yEDYrASBPXuAPaGAkW+gZDc6UUNGf/vWQDJjEl9ZRLW7RR21u3As5kqR/eOWqgEb3u0eVs5VU7Jj
s69CZ4omTm4ILE/onL+ZZvG+Qc3+oMTuPluTQYE+MV0X4SmmhdR3eoSnYOGK2uQoX9lMMgYwGRWC
YckSf4aHlApcqqFhzgFBZxWI/tyep7U+JIsOzJHqNMUfrv8CbvxqSimwg1VGqYItz3tlKWQ4YNFO
0BP46QSjgPYY1ZDEQchXVMbVseutDbU2jOX3FwdTF0Apkdh+f22SxD4FrdKcCz1CdkZptrpYOTdk
QNhQojlj2o16DTKRQhS3UNkqlmKGp9srsda+ZNNFH2Upfqp9rSBJtA5T3o7R49yp1VaOcuWillFh
atC1cNeUvBgbmE6LiUOvM8LirhJGdwYHnMJ64vTfbo9mifq84hXIIDHK/2F1qQf1CsuC8eSUbX/s
qK84qT7iCUFHIXaBgtjRgOB7506WLL7wh2aeoBy+JkkLu0ZXO/QDMLAJc2iUbo9qZY1k8FhHWleL
YQK8dqGTHoOiQ5gp6e2N42RlgeRCC/jK7KKNXbRNYQr7XDn9RxHTeLC86ye3iKBhpH729khWDEYG
lJmlBasoftpVHZU6+Sxy3RV3YCgXQhlWrlE3xrQ2Y8uh8MIwI0rdE7WESTRoKBObhry5WNtqTWut
S2aPcPswtI6CUmsiflCkKx5qqH8u+6Zo6fTFp6ujEY6DU4grtFjmmbd2fUj0VvV6gzzp7S7Wvl+y
eehDytSCe+aq20uGt4MwIz7YZr01hLX29f8OwRxnuIqjSVwj3l+HyM2U+9oIdnpSunSL68qchbOm
DdciR832aaysLH3ntG1RbSTA1zapZNJ6nMetUXeW5/tWeg1iSFwGN9LfWlBU7AsXyFgyQUwTbY5U
XOGmhVGtStQpOsWas6tMUhgyoKwJu4Da90S9iqSP75DFJMxoonTwdqGr3ApqriyzLIjZicLmmI0Q
jZ4ob0pKzgu7R61m1yaVEWVTrCAo1jTi2gz68Ky3A3h313fVnSsg2bBv9YbIAqWHr7sBtFkMoO2g
qtz4+JUtJMPG5h6qObcMDA8lCvXQ2NB16RNsB207bvjiaz1INuxYWijiMhdX5GqSk9AV6+IvN6qR
Gc4uRIvxr3j8i5OI4rtMtbMugSteNG+bkuo7q4i2BEfWBiCZcadbZZDDYXiNRsc5+X3dfJ6ycDoP
hAz2nXP/Voq8GMBkdT1yEIl19RPtUjRU/lsJmjW79qcMGTOrus1SNYJxSbRJBTWdA7lhXPXpRjRu
xbr+wo058IlE2czsN4X1UCmI1VjGPsF3YchymCpcxNBnm9a1MpTmkBHfOBtoUWzcYWvfLl2/gAI1
6OGgO9QJ6r2d3DZ641hbcvJrjS8b6sWqQsamGiPyu+FhwaSpU5NC+T30H24v68q2VJdeX7QezNUw
6kW+bHponI4VZCBXlzz7URv3CbUy+bLtBk1YFURCr10R/daTprnMYtql4Uzj0uULKa1fEkrSPTNR
IOOBbHvhvoGvvax3xldVyXRN3cp7t7Wxq8pOPuvwfMTHuZ+gdby9BiseqayG2URm0aR1aF2LslRP
FMi/LcIu/b4oHtWLsCHZn60Kq9c3ky4DxQq/toM+Uimn1BdGnmiYdePejkozOt8ey1oHy0vlxX7K
6qzvfIRirpk54GXBC2crD4biKFslrWsdLJP4ogN0KIx29Gvz6itQ/XDXaHAKpU08bxjEWvuSLSdm
M6VxoKrEPiP3k5iM7jdOBLpBt+fndXvTXcmatRQlT5Al6nVuGu3gB9lTUbUQx+XjnvpMeL+Wcb2c
n0SpnalstWuXQeM7hLwBrdGOtl40a9Mj2XKVp6ajW9qMp5V3EPiUgGVPZbhQn9+eoLUOZHueDKjk
sxIKfVAakw0Vddu4+8CAkKL9d3IiA16FovHZPJgUgkkQvDdZ33/Q3FR52vf9kjddhIGLWFFrEmCA
AwlWSmhBLr0IDW2fhf2FFfNbg3K8Xrs6DbH5ggA0lCw7n2O6jBUzqfqwwik1r10PJZ8/KukbzahS
2Mr2if8KXQaLVYFj5XZKSTcElCgszLN/gSK/8HIbhojbi7BiZX+JYSJ1kpRZontTpAhInomljKhP
JUhVfwsjPUfL7HZHK7tVxo2JMBcmVF/j1UnNNniXCZCsB247RHZud7AcO39HeHQZOeZEmqOXYUQ8
zA9+RFYpzqYDh19b1sS68yT5c7ub5Xh+rRvJrFFTUisDdlnPMfyjmQ3eMMFblJj9h38TZfoimZlb
u0zEcSQrnOeyFJOPoFpix+PjXKpEv6toKPeh7RxHMkEBUdVYTF31XLhNeW5CeK0TjZD07al6fckd
GeQFaXM5g98uniOCb2cTmuIEfv4ZlaF97Us3KMIPkPL5cf7MJvqtwzHHK2QzILX28fLtifQsCiTt
9BClFJAlkfKlquGJvf3lr1udI6O6iGvOcdDq+fMMwzPyOYp6TIb0nylN9oF+ALr99/xum7xISPxU
zyNFDXf+nDzVCG3c3f78tblZfn9xcwaLlkNR9flzNI7oPrhuflFipKL2tS5ZWIdCiwpzXPWM2F/+
a4xzNz0YHdGufc3r//34IRaxGtd1/ow6yecuTLtro8XKrpexY0sGOyF1ZRv62D5Taq4f7C4pLi7F
EjtnRjJXAkNtMIV29Txp1vPQmg9VlH2/PSuve9aODOSqlGqyUcOsnqEF/74A3gI1vGvU/oNdlO+B
wm3snLVuJJNV0WxoHSOrnuG8Do4iNL8maftNFSRezKT/gDLbruvGkbFb1dxZY48oV0SUMfqNOCb8
o2UPEG3fLpIZ8pwwCKCYDhwvMeC0dSzisEYEfePt1VgxMCFZrw6M27Unu3yG9FK91k2a8dAxtdO+
1iXzHaNKHazOSp9ddS4BoYsO8S41bncJPQtHZsjrEhtNDDRYngnbh9nbTB1Ec0U4J9n18HBkLjx/
Rle0LHzbg922OQuegJdtLpK1HSpZ8CDmfmy0Sb+KHExvlHpLbduC6xW2diwH9bJvDSRTjrW0oDBM
aZ7TyIZ4f3B9Axd1WpiNd3UgY7YcE024Iq+QuprM56S1f2vBZpL2dUYV4chwrcLu+1m3+HqrL360
uqX+SmIbObgWXKxjWfM1RmnnIpSf/VAknhEHP/YNalm0FxePlo5o8FhW9ezaiu75ZL7uu7r7fLvx
1x1IR4ZvFRZiJW4mkueoaILzCEf0AQZECIIC9VFzNwMLiw3/7UAyG/8dw6Ig2yd2xPWWFSayjeZz
hRzKiWS9vrH0az1I9q2gEjySBuQsRyI1PpLKGR/cGWDUwY7LbgNmtcJ14FjSNR1Ps5UbgQlVdI9a
p3IpcyC+n8eODNU3txzLxOs76LPmr2WVIk53QMbV11P8HAoSEVAq7chKn0YFTvwtMPvauHVpZscg
QTumSZ6D2RFIQ7lvVYc6bKXfOtjWdoh0NiB/gLgBOj7PCcwxzme7SezUP9qTo0ffgsDoLn4y5cOn
29txWa1X9omc32+EZroZKXJer4TrOKO/EJJ6v69tae3IMiE8OGm+N6mafgd/b3xBQODn7cbXlkE6
2ghIm/o4F9OD38CsFUAKjyAk3Fci/3K7g5WZkTFrPMGoSzKD6hltZu0YR31w1qDQu934yhrLeLUs
D9tFt655bjJDW9jDoXY9Qbg/JidQtZp6at1A/3W7r7WBSMeZE/Ra7o6c0ZUqVDjDQ+yiGD7va3wZ
4IuzMkf4p3GNvn1W6rZBbgglsoxHa9Io530dLOv/ooMqq2J90nLWuaSGZ/CHzwLS7Y0zbOUaNpcp
e9G43qXOmApUc4dJ3E9aRqlfz31PxWhovyfIX230s7JZZWo7FIg1qySQ7C1iHR58ve1RNYkElmP4
+/Y0rfUgnUoonxqgBS3Xy4rhXaVBOdU08accnNPGENZ2kXQqTYkx9G5FmKsKii/N/G8ybu8zWMat
QVLJ6W3z9UHZOpdMa5p3VkYpzO25Wfl0GbCWLBW6xehMV0DY9RueA8VTW5D1uN36iin/hVdTRDy0
4+x6SZmXiMZEBk8OM6zP1Zh1HrzwG0fGyl41JDPOCpdXmdVOV3RkfZTm9KF9HFwz/NoIV1SHyZgA
s4d6PP2zb1ySZQvfmSq/gyg4QMDjmomQkHIZK/4PNesNRB9EubF115ZHtvBCnSYlMDSKMaPfviDR
mLcwg90exYpdyPCvJIjUiFrY8sHs8y5HCG5WrkNeI5JmpHb2fLuTtRHItoGa+OgCsfWSWROHIQLi
hVDV3iFIN93UDJ1WFqOPdHCGxK1mXSccOw/y/addny/ju3y0NAa/Kf0I0j2crLMax338FWBL1zQb
y7BiJDLIK4sis8z7Tr1m1YDYiAVRUmPn/SI75iM3iIT7vqFIRgJNr2+kre54Tu2WiDSlnWeF7taT
dmUz6bJJDIpmG7U/XYtY/xMF3XRShXlOx7TeCL2sdbD8/uI+QrWz9e0qnh46IqZH9PCe4OOD1n+v
UyNTh0WKUeJIZiRcamW46L2jIWacbZwYa18v+Xtlq1AyFRsOqvf2CHw3R2M1zcldi97PTvsWWP/v
DCkN9KlpifQOqcz0fT8k0J7B0rwx/2vbVDJkHzXFeraq4JINzvugJ1GBP+CY8RklPG/fACRrzqym
Rp6pVTwnMheZl6pG88w1UMzb1b4M7TJ568APUndvKtTKToiCP4Vi049ZuYNkXJcfKFFJ3LR7A2VH
+VYUKCPq6bKRzPptAI4SKVd7k7565VSV8V2qHvluGE5WAKEt7sbY5MMh0+tf++ZJsmXVahO0pkpa
T0LHuQf1CJFmF2wRrq/YgkwN5rRmh65KhhxhNE4ewH9E7vTWemfPgLT3jWCZtxeHhZ6WsdHWpnEV
esPRPSL0k89bfv3a90u2LCK/I+2r+h6qGW3ylqxaV5+dIU+1d+o4IAV6ewxr3UjmbPqTpdqogD1U
YYW6FeSygxMcSrPciB+4zMUrz9t/wwov5kj4fhggTcMqD1WJ4I3WEgJup59dXP8aBvNpmbCyy0/K
HG7EnvXl01/rUjLwYSgQZSmDGfARUssLSqjuW6oAlvpCxY/QUHcCA5lCFJemf7JmRjWw6SZI8wvL
QqUPMbpU/djBvWg8G75tWec+bcfpUXW1ufiNn4H2W9ItnmYBw2F3yGY399EjqKrxlKZDmL7ta9Fr
++5TGWWWURBhNkno83BhB4tId04YzVbV1srqyxizAl1LQ5/t6ALevyA+2dlm1I4nWOu19FhPRq7/
ub3NVo4SGW7mI/2IrpOieF0BJU0g7hclm9tNrxyJMktZZqWW5oDSujhVZ54blI2I49rFCRxhfsxq
3hpGMW/V0a2NY5nIF9s5MPDCBYKEXtWm4oK+W/HJTavh6fZQ1lpffn/RegTNjTUGruJNANAOmcu1
oWxqBayttXSgmIDw9A7OFY+oOnxhdvH9Xz2FqtnKLa19vXSUDPVcIvnEGmcRtU9VzDPMDMwNTPba
KkuOAZJ4bdjOtuJVWncm/vcmGMyHDI0AX8lOY9xvHB5rkySdHVWIBumo4RyoYzodzUi8EUuuOQrq
+z1LbMt4s0gZHcSuw/yK2zGdkgwhHp9Qx+3GX/96pDP/u3+SulE5WwfFa1r/95C7GrKcxg9Eifdl
G2x3WZ0XG9QRKsrCvY28aYM6uj/gvcZoL+37eskhGOopKLUgUzw/ITCf9OOHQJnJNozFLkStLUPN
BtSV9cRws6s/5ZFnKoCyQTdvPR1e3/62jDNzGquP0rTKrv/yVYBPpQJzij/dnptlDv6+02xXMt4o
UZTUQCrNG4zx8xJhUhUH6W7rtEhy3O5i7fsl843sQK+MwE4undFSCJYIy40+l1YymDunXzLhwQmH
3oR566oiOXlQG0oSarF1Pqx9vWS4CdXBgFz67IoIUXFRo1aFPXIfO48tI8w6kvzQPZeoBkJpG/8K
agu940DZle1CpFsyqrBGPRSRwatZx/E7BKaVe8ufptOuZf0LXGY5TZPZSCpXblGDZErrN9rUBxvg
ypUTR8aVdXEWz45hZFcBAcyx0whtTy2hNw1uwcPtAax1sfz+4swxG3+YrNHIL1SJzYfMhuNkQO63
RZF6o4fXfVRbhpQNVlNGEHovF1fxZRj84A50h3NvhlSc+Jlpw01hN3dGJ9yjBtPDxtS9fqPZMkcZ
UvVW2/SQb2eDdlG5zZBC9RZtEgX3SAGScXv6VgzDkcy6SGcfpr65uAwD2bJMnacz5+BGSHStccmk
fQjiclsrigtiqR+7kuqEWoxbsYC1xiWTdv6Psy9rblw3t/0rp/Y7c0ASHHDrJA8cNXseX1h2202C
E0CA86+/S53cm0Qpb5/qql3eLcuiJAL4xvWthYq3ADET5OsXlPJ80/uAavDvwYO8S9AayWHeFmtt
9o0Ayn+ZmzzGFNXHn9/zL7asd3GiLZFzwwCh8J5nXGB4Bv7X8mwQkw1zHf3eW1x4Yj1BmsnyfJF2
CjWAvMLYlcuHOw88qt8MSH2xPy/Ba25b1LWL+c/UpSNU6nAUxuFu0MOGVlNUTL/X5fMuEWxDp6RD
GrHumh4BUVbAbhCwhf/5XfpiC3nn3/+L7Wg6KNh3VrXuNHVvMS7YB0b2Lab2q4tf+OQKVaQVia1M
pyE7Qu9ZBBBhcL+xSV9d/OLYNhZQx6AplqlbgNOR+OyxWL+tcn518YtjqwfVQ8PAAG0Xa9twWHw3
qSvXj/78pn8Rq1wSkblND/Vbn/FtBn6cDrn9MLaPlfQ3ptdN39yeL07YJY7Nb9u5wgioTCEA/DjN
iHTFCsFdj3/H+/7FLbpkH6uc1iRNTrG4dXlFzo1t9ds75xK1BuXoDLBQ1u0tqYcEg8rQDe7Gb/Lh
L27/JWStgZY6X0pP7aaBiDzNuEY0Bx2GZmq3qs0HrbaGI/vhG4rHr27UhXsGE8UqesAxdkM1L9YG
ts5HGayqfhPe7/0H/1jvI/idPYkKDoaJiQuNYKAK7/98r3716S/O8AJV9oyvFvbROhtBtcI4GA79
xoJ+dfGLMwwpZr9zu0btpxnaUAupbpux+k6K6KuLX5xhyjwEiQbp9oL5NMlzkE8pa6y/cexfbaIL
3+tOll9LY1V7kGanzUKQ8GH6jUGOiJ3z+t+6+ZfYNRDhSfDIQKS+QtCeNjM0oJqmb+M/v/oX/usS
vFb5VQZqC8m3ZxNRUXer3XvMDm6X3P5U5Lv66RfLcEk1ltuOJRql1F4v2EDQ3c6vZJ99N6T8hZn7
D6zaKkpnVIVCVjPyqALtfoN6V4gq6vOf36Sv3uDi9NIR9Ojn9tme9oaF2L0CKyhRRf5RFHP9Tcnj
q/c437p/ccK0t+G+2pZv6QqNDuEXVyC2eurc8vbPv8NXC31xhn1atwPjMyKIUR8ngOKCidg7VVfx
2LBjn39XG/pqqS+PM/WsHC0ptc9o58YT7bOrvgaw//dcmnNxoC3lab9jg9oTKq6JRsirZ/Y4Fqgj
/Pl9+urzX5xp7ll+xlmrwFuHYL3VZqoY+Dt/6+KXYC0xCO3NmQ1bNwIKWmWAAQdqLs3vgEJffPhL
vBZa4Y4CA4beV6Uh28C1Cp70oNn+rsf/1fXPm+tfNimRyzBV2bDuuEC7qPPq2zOP0zeO4AtrSs+/
/5eLN9D6wpHFKSPgq8gmL4FL3nr1D3Thv8thvzhk9OIgdzyrOIiO1N5axaNAi/bAHWSu9vRtt+uL
Y3YJ1fKlaebMchR4fCQkOpzh7tw62XW2FSJaYgcUSH4zurtEa1WazwCGjTjRmpTAF4MBxUAX/rfz
gkumMberTReUtVBMEars05bn9OfcgbznG8/21YJfnOVKt+0AMsV1tzhAjBB7fB6U9SRW9kiE841Z
/WrHXhxnoO0hk9rbxTZToxVCQHHcgjSyi37rPF9Ctpou6wG4X4vtVHt1mlM6RXb/Hb77i610idia
KjlXbLKKLYQWnpq1ywKExBvd9M/DgE27Vuz3aiyXkK28Fz0ORlEe0dF6zD26x1hfOs3jAyQWEwAB
vnmbL5biP6jGqr7zV1+Civ88RNa45Or7rfrVvbo42JlnC7U4Su8q13KnQJqFb4TTXPaxpVyen4TB
h71nreZ3+vRfWJL/ACQb1aThU/lWcIOv4TJ1dhlD/EKfxEIG6+b39teF086MSgFr3uudZS9tDKCy
vpaENL+5IBeuGmMWvfbkZG4FRgZ/Bd3/C8H7r1b74nDrVoJEhCgTyqg1SsKZa8glLEre/70e/N8/
5v+Tf4rrv5f19d/+B49/CLkonhf9xcO/3YsG//3P+TX//2/+/RV/Sz/F6a351Jd/9G+vwXX/8b7R
W//2bw/ituf9cjN8quX2Uw91/+v6+ITnv/zfPvlfn7+ucr/Iz7/+8UMMbX++Ws5F+8c/ntp+/PUP
y8Ym++9/vf4/njx/gb/+cT+oHwV/+49XfL7p/q9/UPoX36YMU5SU2D7xz+nC9Hl+xnL+4qJ8Rhjm
2YAI984pb3tuCOJF1l9M4ji2R03qAMlwHq0Fz9/5Kdv5C6B6FARj57HJ//eh/m1Z/rlM/9UOzbXg
ba//+sevKPyfTRnPorbHCKM+IdSxfPNSVlWimjKA2HgIUfUY0qGzA2/pvV2duYKcSxJ9zGUl39Ag
KsugZtC27kdqcCju1AHFtF+ylmS8o3YuryyLbGv/QfBTQVd14LKcd74jUdpQ5mztQGpMApNU79ZM
adI0w7BjPYiIjeJD+XWjIHIxtaFoxjIc50zekWaItb8UZrBC7MoDjuEafBfLsRg4D0ljFok9sjlF
0e3m15OZhuxAs6pYiu7nxJi44UZtBF3fbEzBS/CdWeNmYY4PTIQXs1yRI+OtlRhlZifgiHhvp+qb
I2yRX+Djf7+/vkt9BiJ5zEK45D9qMYO2+hZD5SF4isFLPTtZ0FQ6OynLyk427G6MsjyPjWF6505e
n8zRtR6KcXrvTZAldG59Z/UmmEonXlxLX7ep1TX+viizLNCtyUGwU9XNYbUOv17YDiu97/KjpVr7
YbYefdn04CjK2lgybj/RYr5uV9XdyAXlxBmw/hA3y9r+eu2vhw1r9VboRFN/vllXcErVYj7/i2AZ
wIq7ryu+c03W3VfycYJmW8jrodxAN57fUVk121yz0BaOvnISaBGFem7lU0Oz6ljk2XQWD2ghAw57
z9aRbFjvTJE1t/OjvSAmXvwaCgDL4D6IJp6rqjgUTg3OcNs7uY72T4WjRztoqQuuk7FyE4LYwc9V
+QywkR0J53xZyAg8887fQVkjAtwBhbyqLGZIzE1VKjolmmQCbijqGh2schqfHHuBS7ItqISdH4ps
vlKY7r2xCzhzas9tNEpiHDtnLUNWNOvryHTi+B1I2BtdbArKqu1qo4uQo8lz/rJr1Vin0q22rd8D
/ewVWFcFygWti107gsE1AM8SC7uFx1M+FC8lVd0Gls2NwXFcvBhk2LQwyEvkLEZVJ9ZI7ONEk8lZ
9J43Mmk8EzfNnduNXp3pRCH/e026IpQDpcdmYC/SnseDbTZ2DJpkK7X61dEJ8ZgZcourqAVT8O7X
Uq6YJIigVx8xkRuf01I9lKTbet08b7jXe0fbsL0j5CXuwPpgpW7mOPtfP1YyyrBxxRKZ3nyiRVlt
e9WJIwNU6jABMwuw1AnFkOnQayClJZoqU1/3sci0cUSLMFsDAbbGzaDzt9lYDm2BhlXBmXcEaZqT
AsQDQPpc0ltK/WSevO7q1yOjHovtjKHBoAC1WkqzvovIeVq2cxzwi7NZvjjDNIRe1xRHYINOucFe
Vl+ok53V+moevLsRBYPTSM6CYfzM+zP/sAtLX6HPFCpopBx1Nx/KSXXHwdTNhjWsCQuFsng+MRcc
gwM95IXzMRJl74VbP61TQ472MGysrES1mI53DdKMu6qS27FWH5ZkfcpNBUYb4EKvlry79f3qrZtd
79rAXHYwu8v4mnv+nVP5weiI7ig70d9aJvMhqVUE7fLprfrZgaDdHV17EpZwMIdxZA+jx9RjqT2e
OMLme4V4NG1Kdod4p7izlHww5XSbKT8Ak5U4+ucf+Wove4jMhp7ViJNkBkiilrHaanB1bW1/QpFY
Cu/anVcMrzgucBgD6Gw1nTdgvl93LhXeEYR/UzytrgTIfs5OslTmqegDQMmyEyZ2k9oi41G5mXc9
YDw1MmfZAgKBC5aqqqIyh+wCShs8rIHM3JLWzO+lgxvdOtwNVwFk6CzmV+Ch2DX4wxBLt7OfGsr0
r+Fo2HUvLBUvcl6jf/4ur0e20RbXwa8/sZENBfOEzvyYdU1k2a2dsqlt742x67bZarUhyG6be2bi
q1JIlP56sl6WAhRrxhIK0Axitav6dS3mf/zr77+bwX+wrjY5OaRNBofrn73Nj3XleS+G6M1QtZ29
+btFZlqL0FDWHM+TNbw0tYgn159Spixk57y0H6BNaW5LvnqRUVdGgMESeVtVjgjVOjRp7+RWCLHz
KhIwlyFGAyBjINfY8HKycWokSsFMSytyM2Zc//oxTO2Ln/XObuauHQ+GldrauO1z/7R4dYw5jwej
Z20EIMDDqPfM9YBjlOuzFv5NSfmxyVgILkRox/S7pS722rbigi5p0T12ZntrjkbKKFiyPPxKu+la
aIC81qBuyWYETyz3K2wqI+2MatfVr/24HmdSPwnWdkHL/KQo2wiCYtA3sqAjCukH242XSu3ORbuG
vVmlSvrMTM6XsswyaikMC5SER5LHIGMBzS4NfFClVMQModIegQsksgxza+Re6jpWYtU2PJYTrjUs
PEb6JrgBMjVbxZubzNXx6PKg4Vkk2lYGvcFuFK+2mcOiMQ/6ybmCOQVzugcYIc7GkG2JQ4+Ic25r
8J3X2XQsRrGRNFmnPILARCK5B3+5HE3LCaySnRWOg0oYcVmEo6YRUJcxtJbTXuQboO/jCtJm9tjG
VV6FQzEdRgh7nW/i+UYAEnYNRftwGJrNkOX7wXNjvopIi0B4sdW/DAxfb3521hV85Y/ENratAapH
Kws5b2KvE2lhyqgyrJAWWTjAcNWNj3aYmaguWSEP15vTgRpFClxY3Jc05QRY1nUE1hPP2fPenvxA
Ol3s2flWLtDnMOYIqtTHdaZXmSG3etYx6apHF9rBay2Oep2xDvOhL9ZwytotqE0SNdLI7CZw2xP4
jXlvLPWjEv5pLLvQWGtYGTfkekzyro3LZYiYLRLdqcC7xrRTmM9FbMzBamGcwy72/iy2Q/ZRi2w7
Yrs0LT8wkYW1dDHtoTbUbm64rWJ0pmHzIjpD5WMcQg0+GFQsUmFZiWl2cV+vaZd7NyTXcZ+TQC55
EQBy9lrg3Qj2FjmPj3S0TrypDqzRDTH0FhdkDht/6/T8pBn2ZLtGtoGLIwbIPRbNRIVzMe3tfLyC
hFNcyzz27TLwR/+2U9vCmpIaX+ytsNwQNJBH18csI1tCxuR7kyOwLhpQ8uE9Wb8EEELZVEsXzRnA
GZKi0xVhg/3sa/3K/Wy76OIghYrgz+Msyt1iA6Dzj26yI78VgW+paHTUjkiZgk475vhWBcZWGsO4
5rnzCEmr4/kq/F6tmJrNhtiRt2aOiAc7p/bOVi+/GbQDWhTnNKl50+dtoksaCWNJh8oI2ThG0PJK
ANm/G+VHp/1NMaqk66YImJJIaZ6e9zPXy7Ht+0dN7D06Ude1Ve7wyaMOYmyVjvO+2QFEECi4URQR
IWLqpuffM+UdK18cMJu5bTDMOAhyLJjalUOTODjQA2pxlDSR7S5XFHya4CrZnf+viX/gM8XinROV
Y9MCeE+LY6bmXeYUMdhkwpF2ocJSntdYOycCoDOYXePaX3amPpwXOeM1Sk0SDhCaG1NxwMDPpnLt
q447vz7cZNFoHuedXDEvKpvHsy1s2HISSCz0c2FakY1I1fc18MbNTdUMG0jnvSyTGVhJmwusw3Ka
PMSlZrwsQ7KYP872rN7Du93QyY3Vyraj1Rwcv4QVG0Ksa2BUzj2CtrCnE05IdW2Cr55AIXG2ZTJZ
9rXjYLa0Ys+2s+7sudyvEqHms2J53K3V8bwKveHcmDmu6Drp2okoM5cjYzyChM/z6NQILhCBouOs
Bb02CrMCoaLxA442ndr5RefZqZVtqGv3IetE3Jhk41tT0PPhCkYCfS0rVUWPw4yDk+vdDLkpc1HQ
9BuvHBjMvH2zvRz3372dHZ9HrZ2dCjD6T2N2HErjXlRpJkGxyw+tPaUCXo8Y2bYuKVDa+U46uFPD
cizn6VZ6fpTPdpQJK5ZQcISfWx8dMm7RL9+DP3RjrfYmb50XZ3SPmIgILejwaMhdNFYeIKwpArsl
T2VlYJS/46/rQKMFND0w8348LcsDsx9Adn+TgfS+ZjVSXdzMyetTb67LwKb+xrWtk8+90OkH3Cv3
uVRZG83VcOD5/NJj/7pEPrfLZsFEWiilsUPf404P/DC1XtDmr7a+yXL2BAHuyEevyG27o+pcaCmJ
XeF2ycLafWYNYCVv8pfGaB+IYURca6iqqTF1DIlX0zdh5s90pMdqWJvArQiNKCMBpfeGVcAijps6
qza5t1mcag3cxSLB6nsPsqjjdqFpUS1NoKAHElm5j01q3YyCR11BmgBB1Cdi/UNWTx/MHV+dgcfj
MsrAQVinLZxCY33lZQLSz01uGy5uf3XzaXXn+rj7DoIEsE1k8gcyo4NB7UQuPXS11hvKbRCgt+u+
7ejWbwm8yw2IQasAQmF9OHnu+zRnd3o+zVTeAF10Twd9nSnzdpg2HI3N3C8eWEHjCnwMLQQcQdYw
PruKtMHcyVuVhRB2aoPSWw/50n7K1noV6/Oymo9E9jQYlXrth/ygCvLGxZi6dHq0Pb8Lykwcjcq7
7zFauRZlUnG5QZqdKr1CrZlsFmG/CS9/s7F8LaBsNiZgcw4609bYlWvsYVOFgCDvR697JtiEQeV1
OI6nolN3M2cvrlv2QWe0O/7RiWIPKFDSyhl5WMQU0mxhP0JCI1aU3VpTeTLESVv+rb3Ux57VkVeU
HyOwPYPKfpKqDZgB5yrKa6fmiF+h0gh7KBCeaeYcSjYgSDF3M7l3iL4pzeW9nZsrqE3cOrB/k7du
LbT+cTr5Sh4Q40aUmBEz+w+bI5VqzEcmqyUwen8I7ZOW1pNmgdMjeKiDdTax1sJ5EeDm99qtVc5P
vJTPaLPdYs889kK+mAbi8QkjeaL+WGd5okYOZYJeb1wc/BYefmyRTdNqvkIaseEyJEaJ+ZVXc3Ff
BwZ+eYyeTNqQqBmtp8pcINzsL4Hq+GadipPbBmAsvfLXrMR6Gx894oeAfvR2bYUDmN7CxTcg1EJ+
CDXUQYb5vWASLKJYqdpe7w1vCBZZHPoMxszMj0NupwgcZ3NXgSUQpaP2ipfsSAcoInNmbPiSCmMi
UV7Z79yrdxy0jtRV2Kyjl+S9nhCNVfvaMnarRSmYkcWVbCgsLRKwVHoytNkU9VCFCKU3Y+jEN414
7YHNQkgQEKNCxrQBxR+OP3taoZpCYGJ442xkD52qlczvDXGTXiL0FGvcVz6IYcHsbNlwrmJXmd4b
M/S1oE7k9HkE0ZpYef5WmzEjY7KOAxATeTyaC9gk+rQs57PEzENOzcM4d09uPt6AmnWp7Wuz6eF7
X72chX1WI5Y+NiBD27iNgOMSFmTF1RHc1UfwN1rRYHZ+hPLfZjDYmM6z3GPcmeLTdjqQpJ5jaNrn
KAa24UzxK69bYAhK1CZgOxPMB97Bs7chhjFsFPfdHxXziwCcd01QITCZLCs1DDttZx5mDQjFQY2B
g1aMPFhyjJ7jQ6drZR8t6d2oNhVLeb2q+QasbQjbq+F1bu8wypoy37wSxN/YDcbVsglA2nX4sVbr
XhRiixLHTe+1NzOS97QteeiN5sNo6ne/wUHI2tAoRRsob9hXPoeXubUWsIflxml1UI45gqlpBO8M
23Q0i02j/KkdJoKsal/RfwlsZPu0m0Jao/ADW9EbVVga3g3m8zbYiXunzW8HPl6ZDQqdWu2L3Ery
gUNtkCMiINvG4qEYHsfBicDnfWCTl8rGe4KgdYwkPCnsKRDWg5Bs11cZSL6d2KzfDTghssgjB21/
SJ3syJDxZBOiUoTFgWWQRE4AJdgPKm9iPRXbVb7Xk4rsiseshC+qvLgpxnRBQG8qoC7c+a5udTBb
MD+onj4PfAmNHmkV0XtTQ0fdk9a8qcSAsK5pIRiexT0rYgCVEVlN9GpEMSYYV/MFSeydPzTjoWdY
wq5FQcCA8uHi3QIYFpiORj5SHty1DLK1Q+ym0+lQzUMRdoXz4M9moEe0RMfmxFarDiAODFdzi8oa
3KwFgZP8ysyapPPdu9wQVyjuJmhOpAXAEN5Yp7PdwQX9pPD7zfLh98gwunWHo9uHXdueiEnjeZ4S
1k4QZuERWGdvqAcJcaniEgHgmhk/W5klqhJHxJ1EvQnDf5xNkugm23VCf05mGZPRDjFaHrImhx9z
d63yLAh8ZAkvVRm05+yLGIcS+FU6VNuZuhEkyu+9YkqG2gmZdTRmFdqFfZCS/zBcsc0NM27cJqgL
HrpNxQLO8yuG2JTY/U4CPpTVJHU4T3hWP8obzd8nWUfzp6fGXVHCVDj2xmFy03t1fjY0LzTXm4lY
8eA40UjW40KzLRDSyAxlDP1XZaA4PyqWQhjllltkB9nlNeAOSn2Tl7+7DUgi+8GOhe5/KjO7XRru
gkfqqR0rPJZA8PPYdsxro5phtIVMxUyQJTUqXBBfVtpP/VlvZsJS1vk/K8zynr1RFvoAumWaPFbl
vGHS35MMJ2WygiErrmgv48q+lYObWnz55KZzstdxr1aCerBIaEEgIeFcl64B+SkrGUV/7YCfGwDn
AyqS177fI0HCgSPFYSWwjIC9IRV67scffODbAgQHa16ERObhOJQo5vihKqv3UVuRok08rt0GmoQQ
Vs53tayP2lSx62UoYcBqm5LHjbCeDKsJaYUAmslDgRb+BjOT7+M5nRz9aKYqgXBlkpVThJbPcihc
8OGUeS2iGvWQ2oFaT07MNqqyFZMK2UuWzYnSbF+CWTSYBnlljzSscWRq+3Ww6h+YpUpc16OoeTw6
FHMBOUlz2LLF+dAqD4t8uRq6bL8KyBvSGbbf/YlVxE1uUL1c622r2vfJefPmF0mySHn0wzf6ve5l
0I1gk3WypKHLM+gE7zQrUBR17MCqabKsKNnnRoCCepD5aF53TmB4/ZPQLMoHpMkzQ8FisQMGfUAj
X8FJ7IJAsLk3qLfrep3MykQRy84ibLLYHDe9OdyxAvOd0naOsh1CpqqIGU4y5fb1hKt6KC7jpAZ1
jap3g0xmcQInbDrremBIB+r7zH1rrR3+6zovmnO6yVczDydnfHTKJhX2nIiJ7exp0y5jIJpiuxC6
WSueQmbDDAw6R9TUu9JZb1zSR6pgG24AC9Nn+76ejmudxagXvnajjxFeu/2ZEbYECHv3dGUBprQe
V/DchAVKjXDRu3ouZJi3AVTcdsN4DqXBy+zUSGy78hyKhEuXh9o6VCAIMxDjZi4mzFE8nVy5hX24
63sdct/ZAa4UC2HCBBU7TfINZ2tgZirIPTP1xmxHnPqGChNN8RYsZHYZ2Sg/tYuTmG0WYzZbbCsd
OcpvIWjKTrxog1oliypj1tcNfKh1XaEa4KGzbTYWiiFgL8MA/WK9z50HhcEc8szzfXMO2zy2vHXD
HFWDfbv6xR5l7Ptp/eyQKtOyeMHEcbhkWYyCK5J8vW06VHfr0gzRiNtYFBJKTjp1Oh2sw6LmlLjs
Pu95ilj+rZ2yg1MYJzRH0nF5p1uNRCKsXWAJjfVW0SxhUp7IUsZl9TlMUwja49gDe0dtWDHY165N
VHvo6D84A12CzN40YxHa45SYoSirHA0a8llq+8BHy4d/xrShga/qY7evNDRHP/ZG442OyP2oaiO3
aA5qZK9g/gEv09bszU1bGydj4qHtoXk5UlTZCeuOWl3p1d9OCm/RQdHa9u8qlAMBtsDdtcEk3jSw
eiosyJK2JN+WC76Q44e8xDwBdFnJthB5yEwrKVARcFDQlCqpwX/GrXCe+R6JRZjDANmTTFzmbFYp
Ym9QeeDXcwKd62sDR8ssZ8TgPGxzN1jcYYdsd0N1Ew6TcQ3OqlS0aJ458ohZ19ATBjaqiA2yRr68
WyYdubSPZmuIvOGWqLjiB13qHywTsR6MqOB9WBX64PWv9bIrpybs0XYT67Exndj7UYkPF2CxgYTF
dIMEPlwbFHhJFkpzCzKDxs83GLIxzHtSPpDqbcRX9z4yi12vrIgYXMGYEfDUGDEzeViaTepvXbXs
YIpX0qPU6AW+Qk+qRjzsvU2rd1faXuxCVgydbpTigNQsZODSNWhTmd+VhQkIRRkjCXT5XmePTbkE
besdR8Rbljmi9reiR7tpDvCLjS5RShp2/rQzii5ClhT0zRrabRUX3jPalXvLRITQ57FboFDaW9d5
+9obT7TbsmxfUnpS4xp5/Sc4FabAafuNuXgn4m2ZaaL/9pOXuQqofvb8GMorsw/mPMfeUoLho+rV
GbNolcYJ1VzLc3dW3z/XzRwXHHV7IkB67QznVvXO9zYm11sXVqQGPUdhPIFn4YBcDBFAw8OJGO++
XK/99YDS26Ce2gXFqswIie2cqrVEw52kNTqKJVDLfDXDynWTswiYT6qrqjZuirrc+qAK8hpU/5rQ
kSIER/1t2SDJq7D8i7mEE0p2i4nYZQkghriElh6RZvnnkh9N3Xw52CRfUM9GcUn0OytPxgyVOuis
ss2iVxNugcgknwzs7cq+FnZcmZ15KPLCPNiabdCI7sNysLKb4vxDoe5tOcMNtNf8sFkli1rJ1AGY
7gaBqcprbMXFu2qGub81arUbJN8MzWogTEU5U6DhcphVVexBlBKeWf1xuCb3WKGxsh0L0UcQLXbu
iFlUsaiQ0WpqnFjLyMFDpwRtkQVhoN1uu3nKPvVkH1DqfGJGvmwMXtETeHHM1PD0T7Qtl71hLgty
9XzZ/3oIcREwZzdgFv/18NePjjmvfHCeXGWqm3JymmvPeMzH7h1dPGffgnu+A9Tj6tcPPhVeaFd+
EbWmgsYdzQMGFsknqN/KyEGGfzVUB5xvH9U0bh6g+ktTH3DHAskPyBxKnZFbE3TpcSmrLvahQ3Ir
lXvbLku34byFS+is5VWf50PWFXvDka0TyGzNj/UCp+EI4OephARoA8rKE+szB+jYap9jEPDFGx/m
BfU5w8PMvIMcV4VuDzNlorE+Zz1yea2vDJPI0Ji5emfVB3WM6f8Sdh7LjivHFv0iRMCbKQw9ebzr
CaItPFAFFOzXv8UODaT7IqTJib66RjwkUZW5c+2d6IlLjbDouwmBSNnp759aZN19ZjZUUx6zgHC+
z7g1cfFLs3kVKnCjarWHiD1XcyJ133wT4jyao/PqZyMaVg+4WxBy1upL8ally//g/Mw7LvhPyCK4
bwrTHSvQfecfyJRsvdyrJ28kImNcWJpYcOc6Qf3ulbjhbeLUQjUsfzKR6j8QhVrRVxdLuNll23t9
t+9ShwEjgUDNtFEUVWmTlGow0G5z85W1Zv9r99vfRYH/+XID1pw6nP2mwbz6n8hdpW3KyvRZj/As
N3lMZlk2i+2mKZ36YM0SXVvbR2cu0ls13kfbbi8eKovReJ1u6dndFN36KirO+d1aVttTu9aZIDZO
/uq7iX/Ar9MzcEI82yRahcyck7wtg4e/P7ZS/W6Mt39Dnf5FFf07RfR3n9k/fiNbN3XX00kFgAa4
42b/BgkTouQXXZ3rEV27fxnAAR56UrTjrtNui8E0weo06n92Ne49VxQnzfH6iLS2t6pp0CI813nm
g406e10eLSWC/f94fXci75+vz3Qw6LEkx3aNf+5jm7LAmTSzJ8KeDxvtd5mS1uLdtsoZlqna0D8K
A93cszX/kk+vm77KPRFv6e3vj2xKk//+iv4u+vuPV8RbpVs2a+nZJO8Y//ReGLnGGpq7PuoMxpyM
hjbFY9uNSLHTdmnFgcHe+FpWfDN089S5mnnMcr2Km4xEB1nO4tjap96qb5lbLVeH4W4/ImI4gdTf
HcmKj76cvef//ppd4+9ypH9/1c69I7H4fE3Lw/X7/zJXZDtQ9jOQmwn0+0CgjthmuF20rA4DWzKi
NgySA5o8cpwFYOJgWv52HMR4hG2KzVo3j91i7VROOEgxdCyoMFLGIUN/ClC/cgIDUVeaR0dWRtzq
dRH5feSUThkNTd8eMtiSUnK5DRnjx8rZbptt/OzyYIp9o/vA5KOiqTHcGCVnmAqqdOS4WqTitLnt
U7dZ6QsnMbuwzC52R8VEsRyuchnHUCl4nq1us3gsSiZ5tR3Pa9Bgp5q+pmzka2LYVPr+GC6r/FWI
7FudbSqp3J5p1SDycKMkZrbH/RrYqEv3EMe6jkpIf4p+1SX9bH32zbxEdjuOO73T9sqSWyjG7OzB
kh5N6qdmRXoPSq2I+nG9TEqeXeUQ8WofqmKsI2vctMQpuVrVVEXzBNQkWvt3agQvhdYaJ/TnZ88S
3zR/2Qlftjvb019InzYPnj8Dfvi7clp+m0Y/hL1mu5Fm0Gab+V2fv6y6Cllj9LC2DXN0mtOmXb/m
SdDaOu+raWT7xd/4/dyS7fSrFVXb9OllFkLWlr6zbKfbWvdjGoPLok1BSJpEGva6jIy5CujDECbS
DtqeHjSWHdJEN1VW6La0rZJfPNRYMgUZVr0tdmQN43jMqvXsBfPVNO0nuz4F7XhtnNmLXGP9UsRq
hyn9x2Q7odV45m5xR/SklU2FU7tGrSZepr7+bYipjmi7RTTPVDOZitD1+yQl4o8WNwXsKfO3jH5L
TYx/VetcGGMYl26Wr40EAlEYcpK+1Oukzrcw39huP8EzoFHkEX97M+n5GtbP8sKdkiGj+c120Bjx
sh3uj2ia0q/Oc/aN61uFQTC+8TKJxeGRDY1x0OHxFoCS4cVvPboKrC3horUq7KqzJetLnWVFIgWx
/YPlptFa0pZUXbBv0EroboMjWRf5YdXWACbz0Iu0Plad+U4x84cdTmbEjKlnkVChv6hi2fll89ov
ebkXKsHhkn1NQBPGvvT5UphZ653sUZF9jN5qW/5u1JkmuN7wttJigdqsCL3muevS3+w4f7NWl2C4
Jd0X8lEaRRqOvVu/uxD2TjN+z8rgsRAqzhxwM2zF3z3xafbL0WqqS2bVR2/I37BplZHheUiuU530
vvvYD1l5HHRGkCWbnG49KnMy6yQb9/YjYKnxtPiN/+z0bsVgrtoOT+3S+vS3/JiL1b/ZjA3SobjV
JdGm9uZ5EfFmAUn4nXf2C3MJpbLEoWXz14vAthJLaV+o1v1otrXvDHm1BDJdxKqvDmrunidjYTye
qzocMu0HkONrbjhPmt9cRrvubxNdL65d/ZZ7bB8sVeeE9aI/bm3xZZLMvNfLcU9i70/bd40DiNUH
eaH93dLFStbO447zQi1znpvMaqIi5XnzM+dcwSR6LYnOgox6Bt9/xioo+FptJlv87O/Ccr8GC/GW
oNDDZlBTOaPEu9JuV22QzqNtd0+aXZt70SFkMonxS6pAIM5xp21WxQEX9Df+gdNQcbcE/rYeEJP3
+uLJU1EMuz4nVSMflpm4iMDasf2wuuiKCmOw9bAK3A2peqdGR780TRUro2mZjBjzrQfbjHVGK6OO
ecAazOFqWXn+aOU9SDwxjsaywhNVeRVqC+qjCSvoAb1GmtaIJCvy1zSY9IsqOX89rW13axpg+JWC
gvKdGP2Sgr9Ek1q86ohQBeKWhVnddzvi8QTf/+HSeU51YudI4ujG+iLbs75ZR2DR4OLw6DxaAzBf
JeV5MdUEGXNfZVNr38wm88715L5ofmU+aC8zA9NdNzHjl54po2HCulPq/RYGFE0o+TTvQocaqsQU
KyqrxWtumjXo+7ExTY746Q0RKcmWt77Lucwcg23tGSmQbTlEQuuqF9stXoLaH4iPneV1bcVOlWA+
utqCy2A8ZZbJSZJ7fwTLtICpFpYGBDP6Rjfgy+Co78ERJum3kb2YLLOfM3Wmk94VcqoOqa7fhlrm
t5SPQEL5rV1h4gsab4s/+6TWovS0EzMgr45bmWY7L2AlalnRsgcqf9UDC5lf6y6dLM+CtT+PrJW4
5i6ElqMhPBIr/jypJtJzSqXOTwPgi+aW9/4PZdkdxysntskTBRN0K4TwHtNcR4U1l9cO5JFIaTM/
2OvgRhZ56LdA82J/yZZjrdkaQlD6OjRV+6wDBJVCdbGBbhBZm52HjkZcCXsZoIxadVv6MT9i1doN
fTDB1wwrBS/kx4Kwi7f6tLgtKxC7zLtt8Go7oCbjxIZl9l9tcoim2VSnsnfiAKlrn8r5wLufX/7+
yAO4cJCLW2Nw5BjMY5KhreZbTt7eEcnja1OZ88D1S3Z+19035kBNelv1ma7iRzpVSPcKHCGdSrDa
jRpMK/XYSK02MQbPieo1T2+a7067kVsEX6QfnP/148GvMA+J6VibYBaMaZhmNwP4l0s/2CASecV0
E8JQB3tzmyTwcpfRwRpchN8Wh2zSP/s7RZ4yC4/yAVTfqJm+NJZ5Eg0pwizoRCJhncJ53Ljjbdc5
iypNrxZawjyWPl4l1cRT3Z4RuhnP+lk2n1tzs2EvHAZz3uYcirR5qYrya2gGtVfF2yZAgdy2fivN
qUtA5GC6iEWMVGUaO6vT38XglueJLvXkEp8cymBJw9wKjNO0bP2bEvazh6UD6ZRswkazjXNhBj/L
0RkviM4xDSg3s2WdVHbvVkms20111j3ArF/R89nH3WHDNT3hJ3pDonsf5Fxhc28xUBTLLXCAZvyM
0JtRDmcBrYoq01dX0xDPZsuAcEjXk2PW9WNQAfuxTfodutMMZVo7x9xisNab2WOZMx+xm5yFMPRQ
DEvjKhiPXW5te2cZxXG2wc/MpWblk+iLOF2Z/Mw23bhdAGa1hYZQsjkNegvzusxpCIVPH70F7MPg
nGZRYWkdfW3onxq6szlf07AbjPZYmTU7zWvnYa4Qd0ZLrkldXiYbUd+Q/TPP4s3QM//EoP/7GNy8
qmtPymdh4GS7P1VN2iYb0g4FoGqS1RvYVM/2eFuv+qvdnqfVopBSQh1avAIYFR6MvCAvs9SufkYq
nWEVpzYH8nfYF3FXSY0Iu3+8aWZ6rKr6dXBYM1po1DKjp4+JXIN8p3VSD11yXA8z+R6sf7DXqxx3
0iX7zKgvg0B49KijYstAphENdZot8+xG9addN9e5qLGZD2DkOZuOT8IcR4TAHi5P3dre759Xk4qJ
wvFz9Zh7zPrPcYUCyyYz1tg/S1HCmUl1cND68rb13BXBCFTtbfCx0nNsrpejVfvtaW7omhh/kZKJ
OJnFGrsEScUzu9MyqH/9+PuXHXOOXbD2H7WXV5e/P7ApKFJFQSPXwSrCsnCR9P31w9VH48kDeYw3
5WnxZDXxVnFYbzYBiOW8I8hiPhdr9lTYvQ/1Ougnt1lizd6G07DqVjR06cz3Sqtunm5Ut6mW9W0r
hhJ5xllDpbeMa4a+uun3H3//hGxT3ZrVXyKuWFxtOqpOvWn9sXPt4GXUAIfYgFlvCmzT9QXjS3vd
lYEdNXNgPlnWFo9zg8x6DyfWKj20Ap5+O2vOqlHiQLRcjOmnJTBhBuFqyiLkJnV2WYXCVMgooyd7
2DLtY1pySWlHHqoujenktO11k2bGOQe2t1rBT9PbXhq2M4JVPKXFeBk2SdtWPhQLeIBWPUBrz6EL
D7HPC/vDbcYz+yveiM37k3UugnX77LBENVqE9seRDRg6+U+FZ3EHUmdXQL2s2HkO6vqz0uCudXmC
7m/ChustqWHBCls1+z51iE4ggJxcuyaEJmapC169neYUP4KtO5dlJSJzmXm+mOK1TEK0O6bgOziU
SnePv1/F3cxcMIUUjSYHZMjqUa0DJkXZ1rIIIxiyyNuyV2cbkyKoPuSW2zHFtRku6Z9hknoyu2sV
Tln9UnT2TzMn6FiJjeZSY7vCWOD5yK4WGmIcYIsKBlwo3pwBCqwIIzTf0cKrzW/V5MhYrfJWVC9y
3YiScttph0YKZWRAad+fnMEpDj3aDJhFmjg0hKHyTQrzAg54qew8LnXGxGmKjCuXgwZ8F2XrvLPx
loUuwUXh+L1U9XqcZwF4XdexUzc/JAhVYunpnvJAOzsbFd+MOMyz9G1s5BJRNqtdlz2pqYdUsMCn
JsZUogQ7MBF3jREk7L7Zxl9kFntWYpaM/vSUSfsaBmbdccfjB1KKiU6xRFxLfZxlGw+nX39ZUu7c
ASLM0tAAqJofJ98KYr3X76D5+q1BWzl0qdplg/1SzOtZlge3MxlxSfDDmpiVcBymH2xI2Y5yqPbF
vPwpu+pxHrNur88/6fSe5wqB02uGt2xwH/4eS9Xi5SxgGLjGmFzZhQRCqarH2guqhK/sLeDGzNOh
TQZpdDudr8Gem4D/mH7p8pK001FoxzpI6RH9C5afX1vfa+dOc+7la331i+FMRLTEBiDpe7v5Qh18
WkaLCPuC3PxaED0n9P6WCRMyxB9+VAEjYOqVXaD13IqDe1MVYrg1E0ukhvETZJTjWG97WnYy3kTw
Pt+vtYaLMbbZVxvnPCi9I/pzMxXXri++CXvWk9qegNtWkmj4H/FtgQXK19T3qsPdExrWY7QO/Kq1
2W44hrLvJjB40jquwrAzfLYo6YdGpAprOzDG6gfseAjUE2l63bljHXLkYiWI2tRMAqbvfGnG5aAb
Hnmq6/yiibSD4mMRAZdX6nBQhHmbNnvhYNaoqfRZWoczwsy+nKDpknYbgRzSkcPf8EOu6uWwmMbV
WEewbK/0dtVsHJUjPlcWNYVrK1kzH9KJMEaa80PT/Ep7t31tbZLSffXgTQ0uAHfJo1ouv5uiemsJ
jk4YjDdZ+mRnXQavnV7cyfTObZCzqnPbnJ1bfc6kkDKq2OtVYbylWxD5nf9GYlBxnvp0xs8gfs8+
UCD3DN/P/pKPtBlIem8YLM56L4ek8+oBfm7DnTQiF3RG9263jyVm7qofBdesysD3EZIa2RuRtkI0
23od6U7a74pgwtwzvK/6YMUBGmtX9AvSAQsE+m5uDrXRvjbV9hPtX4ZOY9tPGN6Y4kQla43Y8XhC
G9GSOS9/EKefHbAFxJnVbwd/U0/ttA7xWsogXB03h6VaI6k8Ead44DArgqC1vUuTzWMFGUHblmOS
WVujTXJ3vPaeMYWtLvx94NKSeq3bPUqguL9/0GSLlyA3982Ww+FtWRUXLtss3ck66Kb73ecsvqSq
+dlxjjnFoh8XN8+jVdAW5YNiQIhtvyyzM5cVpoVavngKSi8T3YVMxVu3wJfBvTR7W7ervW+9k2Tz
SEi6iKpy/KNJ3r6ma48iNwlPv/PJtUVGj5mPT4FLi1GzfmyvzXxDGeo8y1dpW8YuI3w7NCS6u8w0
qAcr22dcHUEx2KzF0X75VXWE+Tk1jfu9YwsldGfxnd8zOPU2VAatSWKaDOdqyIsZE1CvVReX7ZHv
PTNLz2ZkBowTmM3NXfFcSa25gt7shmgMtDfiRgSvSn4Z93q6ZMBHtXCfTKIhVpk53laITWeo1Wmu
t6vR2X8CuLBzy2xSM5AARMd2Ph+DY+wMzINo719o89JIzuVxW3lT/YVhZZMmlEAH0YLxmxiSmeHK
qBqab8Ksysei2H5a40LLWf6qDemeCrGGzjpuD80kjJBWptmxYbsNc9+5dOn4kFZNdxV1FuNiXsJA
rAx5s/5kBsBRZuM926V3FXxN9jUZCZ6FyOA66nnh6aI6XijKjMCLkW6YmrkEWLBUstixRuFiNjwv
PG4ko20veg+j3vtPgO3+wUbx85v1B0QZTZwbpPsN4RbZIt8VTv6Y+dVOoDfEIN1oQU75WwnAUhZw
qbOmvCHGw5qwaL0I7ZHCP839VwyJ/N9zZjmDh3Bn5M1xxC4kPOuqpY3zyuIxWWbi1Ny/+wX367sR
pLEt1BjOpte/zVn2ituqF/7Nk9rEObxhdh2t/YKbsHH8o67LDcxvex/LivRhhbF3XgAaJO4NW4Nq
KLCweMX2hV5dXVe3OreuNh/F38ZkOeBneEvFnXRfqyoSftGC9ZsBeJ73XbeY/G/Wz1arg0vF22IA
rcFh9cgOzpAdeTtMLvsmWrfh6sMaJNioK1oWIrqn+0lFnOqh65aBHo0SXqashnad7Notbr+z20vV
682+6bRmZ7aZZKob930FFSvHI7tYX5WlPeni7LXYIRR5fBH1dnUkS3DQ3Lie5mOQe9O1Wc0qJtto
b6EgJV0RUAfDpdRZOYayKt8t0msO2qCCEG3kh5suS1Ro1bfcXR4Du0uTwOGzWXnITOkzILO3fZm2
IKSD6ONU2NA95ntRG/6+/JMHWEgWxztCVJ1ZM1UcjLKndzewK2Xbi6XFxujtCbKu0Fy3ImIpXh9o
T9mGXcKon+rJqJKBCcp9V443ed+UNcs4R8AJTYcN2ukKTuLT9PTwKou5QN1aT+mE+pRhhxbDgvcA
ANIbwGdmtx0S4RoUN8toUOSwOb5Lp/WRIyweUvlus9H+xLX6YxTWfLT00xLI4aS0LKH67x8b6wU/
PAqaykJrMwIsd665q/ObtsEh9GUqd0VhXS2OWAbezq1X7q+GcJiEgcQtLSe6eACUSHW1EetDYYcY
do+2Le3QaPKHojGaI0OanKq6NJ/L3GO9KiIEPpsl8unefQU67EkjFrUngZH7x3vqTEJPjS8VAa61
u4dF839vpWhPWMe/DPHU2Pe5yGVxSi9SQ/WtFoCkCMmFUTgPxGjxb9bzs7NByW05Z5SH9S+y9PHu
GKfizK9DYXwud1X04rX9Mx7N8zwoLxRIgzdAa7rGPBQSzBXvRJfIaXBDLSiArWvxNlFyRIQHGnus
0q/6VB65dPm6aulDiUUw3sbK2pv99qsseuNZLzAkrfAfAw5BhDcwX9Ua1BNZhZzHR1z5og6JIc/2
ViHHMJjdED4fZaFUemzahgtp471sOdekPM7G+6Z1x0FjbkUEQBm7bFqIbdZH7oDy2MXTpl9Bz82I
FTWG+Z1Vs2trkjdW2/xgVfpPdheYoT9qFOQWAvVoz++itvNTr5Zviq8/Q14fmDTrppGF9O0Sud1L
WQBlk3M9JVK2hy7Q//iW/5VN6mKNvBUy4MSmPiqPfRqMj2ZpjjxyFtXVWgEBZEuwM9kFGWFhXQgR
KK5FvugPptpZJpHI2cLQJ7jPBTKOqrbqxKGbPKi2xb40tTtEjK/eisxAhnnvUrj7YRo//EG8eTjq
OzfMNTD4OQtO+viQD0UeM9vr9n0VKScfv3qKRTjN+mVurSu2YBD8HGeyNIw05rIZZVteDGh9dDt8
9FAUZ5GmwDU20JSJVWJnOwKvIXP9GWkL4gKhRS8XGrChAjQkXZYPDIsjFR96rxakpzLwoqqZ+qgS
u6noP6wCQBmKp0jK1mHy6q87h8sdIQatdJkeTWnsjKUHuWsTu/kJPXkoxoyHcuoikVd7aaGqWWOH
/q904HS+GGseukOd7Qbc2ziCSQknwSDsG30XODRVG9j0khZnEQQRrlj0WJnH+up9uXyZzx09EZN6
t73gNIFn3P7ix3NkuPlTMIjmghVAjzvaoVxgk3YcwShyXff1hgCPsJe5urMfTkjuBJNX/ZxsyFOV
b54CW7WP0uvO2bSFJdvoQ00Sca1U1KRaG2EFFoeKbVpUz7qfGG6DAbdZgVr1Z31j5xnWwO5UynxK
Rtc/mj5OLbE64jRw02BXNjAf1RIVTar9WOlV2I45yjSw7GoVB7qQht2mbDkQev5hZlbi2fN5rKfj
YjqvUoj3zUk9PvfKjYcKfUc86Mwyozow7hjSEFPa3To7MJH3rC4hJxKlscaqm/pj7MKqZWU6XupJ
LVBhUV5D85Ms2ca5BIO1Wn4p5lFZYroGrbuuezt7qd5rHSGhcysc8dlH1wc/VwUOLcotxh9ohWs6
Ueeua5W0FQPLukfLZ9IZNNO11/09nnbBzE/hQFn9dzd/FZaGaDA7NxbFrTvd4Xs8bkvEUuxnvQxk
mC6FSngn/7iD2eyH0Vx2skQd6dvhwoRCPHp3nrrnSRMCJBhiB/E492KDdM/d4D+hEd2MDNmiR2cK
KHWXqby6qVvudK1bYgZWKpmlB7NScbNLIjEgNVjwxtgo8VZri3R2Re4p1wM83+uXAyVAPP58neb+
tXNKpsFmjWy4ZZ9Gq311ulOe5kxaibrM0/gqxxpLSfYlhj1i2XVdOwqTCr3RWdZT1vivo/RySA7D
4OZC2VhWz3rN6NvQYtwP0wwEKS29ia8Iz4hdZez3XTd7VzI0RHBtP5ifPLgLditze1gRMU54M1nU
5FVPrWFqb3mDl6JEIZ11ezgO9bz31OTcAowy0bSZKxiiU1PUMu3rTPdomOVhVpqMtrynEQzkQdTu
q1UysG2NMlI8SfGiMUedGrfEu4Px2K1TL8yFXyZG5v5xHMbXcpZRSrrqvu08+VhrJas2x+GdcV96
SEWdPsyt8CIsvfJryQ5j6e2tOjU+AeDWvXSOTqXJQzDMKQO99fei+uI0Xg1noxOaCBFoOvtpg57L
nP5r6HpzT9SEA/VafApvOEoGKpP1FQQSiz60L99LDV6S5zOlvc8HskrsGlGsWPVY+MgqfqpHTlo+
dEDXNtjiAr4Z3YGhMm2O2kwjv+CdhN68BIq/41cYN7Uyf19rL0xNmzb0lYoqJjQr4+BDeuxKLtmx
yj7zslseSq3CPbuYkbfIck9Oz5Oflgl03xpxoGkOddWmHlbDGU9TRjvjOkfkgq/BLN8XoDojn6rE
p6EJm9X+dGHipOoM/MX5xglTM/nGTOlNhB5AzkHD8WRuA6Keq6ZXKt3EM5mYFlr/lJX6ExViGivm
28lctT/ZPT9hLPk7QOXN52XFGQ15d7L9khn7XJZ8WPqflFjTc9CaS+RMzDoXq4+MGqY7NCoi1cxC
Pw6+Jb+0wgk5s0eQwicLfDx05xQbEd+gYN4OhaJKxsFUv6uUM5/BRhnL3ntoSf6JCjW7kd4Fz45R
OiicVAuOp8xQmE4Rk71wLBckGqYeO0LJ6Jvxn9rO12CrF1YYuftR8VF68+/esYzQbglLMc3xccWo
X6NBxfmq37qSoWigWtyRjhFSmbWJdu9SFoazAjY7spoUc1lKYkSgaff5LATmYudjLJnzRIYiy0HV
42vV2fP+nh/ImY0VyAJJdx/w7UxbGzse9klc6dQeLCw2HxYWR58a+TksYoL8WCb+08OZsy5HfS9G
7GJ//IrPNVdle+rW9MVc8u/0CG+mYzqU5cZp9jXGagGfR54wadF36xT8zjV3z4KgFelNINXZYqfX
4qFlbrZTdh3XG97IOm935AHt2Q/+ayPNEgID9cf0l18LEcczUJRZ4JIyFwQq8sWN3mIJVjAHRIhk
D5vJs9kVzFrgHPcDKAPpdhiwW6oYEiYAeNM/zVZ9NzlLiDTxdtvS5/SHGZ2Xud10Re7KOK/viHOJ
EdQH1PkglrynNeZWV2dHhN7VJWqwSyfMeR1M2g/gbw3EsHeNsC1y9kfMR5exB8OTxBgNmpEq/wrS
FXfp2dD9nfL6vWaQyg0CFZE/kPrqS/QIx2Aw26h/zJmHJHVruS2z5WSpT2HKI4abzZuvFpUpNFvY
O9N8GAyXwAQjggj85lXWn3Xuv4JO/5Bi/gyab54yvjPEEraHmmL0ZdSlwfNkl4g67nUbsFXZY9PE
hkbNRPRH8REUwMcsrZ8tJwksxw2blval/bKhjRIi7gM4JzyvLsbs2jcVfYCOgceiRpxRbqFakAHG
nRj9SGqctql2MWfnbE4pHeNMCwmzEBakSLhICElaUmp1+9Xevnm1tcYWD3frprgntJ/AmBJYVPNj
PSt2vdE+4uK/sevgfs445ByxSAnDjzGD1ijJbUjVk9sYCgtdHLigVZSvFOiZUWAFsxnzaE9ar/60
bLhJOjXqIdXmi7LSk+2erOChy1BvjMK8pLlW7fSB4tMx8OG6fUjAwwJBzQo4C44SUrBG0tT5PgiD
oUjqrvvNo/cNMrwGxhnaahf06Z5RwzPs80XWdC8tFu7YFbiJHfvXCD2DqY2a1V7s/VTlvxu//G3O
2jfVMxTK2f3VrsAQ+oJfal62H209cfuZ3/Su6WK93k5gdr/qDbzOTu1f0PeH1Da+DZ316gk4sqE7
3xMTyu03qwJf8u09n50PYa0qcY2GkfkfnHQdPnRo0G34TfdA62UxoKvMve/xOTWFUb93VvF7HJrm
htXFELYV9Z6rYzxSrzpjkmiT4xD7uevBMJdMHwhYCvgKsWg7mUqb/A9GDquwQfeUp0d2bzzSt2C3
IxlMVjQw7tx860wPjtuEn6KbeeitntLBIZClqGeNB6E61R2tyGLlYp9NvYNdQj6mDc6kTNFiZUV2
xnPr9LyQsp9+5TrgbosFNiRk7LnLs0/p4DgSg/NDb6eAoYIH2TKSqmB3QPj19Eu1er9Ll/EzXzj8
/Hr46aTicd4wAntq7GOTeBw1qlPOp2SvXFlZ3/2+m+hj6nuGHITCZPz63ZM+uzdJn+12fH8HCMcQ
L8mnpc14FHj7AHhx3/YlT0eOURlm6bw281ND/CVQoLqOQnIwteXBdxkDDSl1f0OHiTNjxVFVPmxz
+tB3wbjrS/SZcg0+ukbwAZutxtPpHqqmJ3TE9nm2wYiJ3IJHWEPP4sahDTpJaFjOinHe5Rl8uRlU
RJ2Qw/dgu02dFAYMkeOm/0fUeTXJajRb9BcRgSsoXtvb6fHuhTgWV3hTwK+/iz7fDb10aCQdaWa6
qcrcufdKay9k8eWwAtKcsyP3cs6ule9wUNPOqvuI8AufjNGu8mOa9tlWN030RU1AMgiInEfID7mo
wiCTwqRLV7GvXVRhMz+OhClYECsvsn+NPD45sA3xWeIprEmQMTXqfrKX4E+RYFWqxWdvKk0GlluL
j/VxLuS1IKe78k15sHmOGowztuVde9c5OIH6kdYfzhRybBrLZUacRNbM+lgyyiyQwX+qgAYUNhgp
nxLTcr+JOnu7BqRGLfN+nTJhhkPV0Ec1Gv3GKzFwJuZjHcZnVMVhX6hZvchNoYV1kKl1xjQFRJ7R
JaO/epsZ5i2fyc74sCu24PQWr2i0TYcdhWO5Lny+n0gZn2gedWs6GzMbBp7YdAtd+iOP/W/SCV1g
MmnmX2RuX29LQFqUkUyxudhYKzr9JEL9KyzD73Ty2ouXY4NNqhkY23ZqND1IkvAEBWbHGHK8WVPy
284wVuB8QEeLiGba1JJY0NqVJPSznI5sGv8SVvAzHL3HtDxkNZhuagggX5KnotLV716w/aBe15Ez
HD2tPuyJN7luuebhM+GKfUKV7ldRrx+DtmdiU/opDwFH0Vysahnxk3Rsz+MniXehHz362M/6bLrp
FKmwQ+gVfMsV6bh119GXR2DhG0GUC+DBg9ea4ynPXGclfSJCZDCfHcJHEQIvt1ZpURe5HmMfAWHS
sksu3oiigApvbYe/gig+spM1Afxj/Ka1/K0lHCw3ImYfKf5rfWiQClqQZ0X1K2wDY9VyRK8CI/gx
Bt3rgK8CaIOzylzKLhhi3pbdsfvUco56bqH/NMwaqlKeQq1+daOPotp9kg38tNvwI6KIfqvz4A/7
MxvCJv7NaoPPxC/IzswuGnE27NA1dlMlr37YTKyCKNO1p6tDWoa/mU58F7W64kbfMFmYVzauBQ8x
yKyrAkUbE2tSfOYEwRLXKeliYv6sN55osZ6S/lSO/l5X4tAg6Zi0bZts+XFzL2QLauKeu8za1+CX
oLBMxIr8FyxTp3BYc7MxH87NEXzcKXIbuJ0WGnwTcY6oAC/lJsOld4r/hoVtb2fWt/Js4F4txLMd
Cmrk9Gb5yQXeUITucQzBfa2SrqRWkHQ2UpQ7QkmYP4xoEybyVx8wFl+aM2ZN+cIvCtq/xmLkkcUC
c4O3RN1Q7WRZIxNLjPc9IY2DOZkk/c0o288QMd36wvT0Rxob18GNfrTcxhv0dNQ6r/50GtEs59p3
MBWbyhn+1ktKPrqYBedHpf704zE3KD4ai5CT7aD4pLnauZbPQ+rNT2ME3FF307px+h+jbTe3pCow
uKbfGQUFZRtbqENzEseMonoVopc9umw0CEF1df1vKuRDkDU/tOYqTt8TjCxHt8DL5bktwkfEwGGW
bB0y6cWyvIq3fZ3sVTS9QVVfrqjPIYgINCPVbzCsbRKGcKiMEnxS/CK6sDsEolabVmwrYYKzCfFt
FZazHdm2uWo7C922jSmujVM1WX8TQs2e1YE9Tb0Hao55bbjRxU9Qgyc0974sG2Jv7lcpe6hqhrW2
8HutYiF3TRF/mCJGGhnQFQ0BFC3PKogGjlrPrvrk3dnFZTjtWFC6rU39lqbzl6rnZ6n1X4vYdK4x
yMbkrRah18UtsYks9cUYF6pNqGrUO+g+9jxvNJt0sDi+paxL7L2aY89FL8dPLpgOcYQHPEDccCED
4j7Y9a79q5hsOFu5HOEL1BSrHJUjXdfGNMnFjlhYgiJRD5k5i5flKzcAE8oncDy1hds8gQV5kXjZ
BlhA2Pcc1VyrtnjRRuixKgKWDe6dNSFqvY+Cfplm8xIblzLVzi1C+Cj93nrVulG33uxehkSM1kFH
cXu7x7WkBVxIBaQpA/wRwObGL9Fm730ky7+J+N3U5H1ZPH0bsE4+sWMUvl8CPcTAgA3zPrimRi4H
ECbYr3GoGdf/XjwYQFXGUW4H+QPpcbyHrlA/h6CIdjEl589WGpR/NwJXJRojQf48DpfgdJ3+GFp5
qsd4+sDncLVafGle3fZb3zQJFZaVxTAlSd7qYLg5c1ye8aHIG4LTuOVZLjeA6PhoWjhpoy5jFYUq
6208OgjIWbiyqyTHQKMfuiJDEHfs6CkyPQbLS7yuXZJ1VICPI/DMJQnSnKKgUU9enjPym6EZimL4
aYN5aKsgfKuIum+QEz1C67QMTqnnHPZCfrVi9OPlG5gNz3qdvDIk5fqWBsH0WbXrFpGMs21+TjKu
YCH1+JhMlmkS/fLOUUroL+ns+fgvFyUEbIE5HIoLNSW9sv3WhoP/rBL/T9j4yaHzBq69AShb2g3m
T+V54bMRpz3QIPK2LhUYBCXeOyNVj8AjHNpM/89EnnGVurlzDbNO8CdHez/n3OX4yoObSF7LtiA6
PWZmjtozGm8WqYhd7tkwX3LUGhWGcBjRxl1IydU4tfsiCJCzO8t4nzmgVnPaFBf46VfHTiRYP+yX
ZltPuASicWtUg2bAVNo1p3jJW2XAxpALdrWGe8V1F74SK2cuM+evNHxU9E02bqLZDdZxbOR0Uq88
Uf41XTCvwPL0Sun81EBc3NyzhfcX31xEDMx/O4uU3AN1XL8eOTbvMTpok2QcvOgUVIn1mpg11wQp
3J03pbuile1p0m5zMZ1nW8n+pQHhWIymC4hoDRqleXHCraZFeL5/0clw3qBB/87sviGZH70rfMvw
TN+10tOnB6i1lZY4y3jgLfbskFQEF/yp9e0/97eH+Z5NGI5YyWFK5SKMlflFTd+A/Wyy5d270zrb
3IxxSQXO3unj+pnobF1TbcYYvQAXhOBnvACAUmSd72jTQvCREk1xag0T2F1PgSQHFoOQc6R9YrPN
eWr5dZuMPA0vvdmNTm+0CKxjuGfxnLEtt5ZmQ58bXJy5Dx4dt3/2gvKvmgB1A8LBqlfjjf/IM/MR
eWd6KhIf36IRyLeiLFfDSFJz9IyH+7uaWDBaqWxfB6NvLn0/SGz9iFRtnelLM4X1qiuOlB4/qqmY
3+aOeWtWtGAMxuCzDH5Svg5vfTGetcAlGUPXZq6Gn7wBGeayF+l1GsW8uX9QYosScrIYz8QF4bOW
2FOF46aJ7S3Zk2Af0nk+4hfxN4OPOySuhp+drvNffiw+2LCxbeoxPUSda+/LqqW60e1tIu21EWPX
QlL258Ng5gGejbTgcx+ZzWV01UcwthPwVOABtDLebkBmfk51i+uje5W2W73U9szhF0u4WneEslkj
w5EVkStLBTNHj2NtHObFeZcYGLDi7upYrr3xjV4dbAW+xdGOf25S60epXPvSjOSJsWkCTGjGaFe7
2FND4MT3F+aA8aEVxofl2+1Zwvk/O8tfhfb00GbY0UM4zRAzR43mrAJYmZJhPq+bWtLp6yauL4rq
SXLkHHQhq8Mw5JSwk79RgaAWmcbXCIsbHETAM6lhWjTbHCGRaz4Nirk4lLzr/aUTBKsHB8mNJHBw
8xjyX2sdbOdo2den4+qNQXaFganZQ3LUxLis05TCq/C9Yn4Zs2Q+NkxJECx8ohFxi3PGKf5oiGOc
hM/IWOosiSGvMsfHb+c0P6YMfEcuBOGO2HkgJdJeUtW81rIiWeC1xpcKImQvf3wcpuZHOjnNJfW6
cpf6UYTJQiCAxWKGJVkmeFPjqrxmYJrXYvaLg2EPdFZ+5gNobAR0VqPeziHWC5Yopo/cguYT3/+7
3U8Wal2f7Cta4Ce6iyXxD8YXsiBYW9uAQyjc6aACYgCqU+JFJgmAQAUKzssGfCQpPlUrbWEzUrUj
a9UH2QT22kkZ5fV5GEEQN4crSbXw3NSaDs5ilqKDjuBChYPXoIxfDTO7kHvsLufJZM9mhsa4C9vO
KNdpRG4rX5Kh95esJ+vn9AzM8iaDs7A8C6qy1uNMeSpgDtz/LcNt42uOjFHbrNdi3QVlq2O0z/cX
VrjZBLM3PPbYcGPTfkvrRWBlEnPIa9rbvnwXDcVb5MflMfVAJXlJVp+USeVmu5O5c6PeIlUOb5Wg
YvA0YUEodJzsDW+uYJXzzQ1wmE5IWS9pJaeLsIuTWdT6KWvIGC3I6bAAOMJmb8hMXcB13ofv2Bkx
CyctHq0kPkaOsn5iNQJHlLw7nn+IRCC2Osz6gzek4zHy+se6k8VDHzQ/rAUo4fVACqrw6LDcaoqS
P4a0o2NlVvqE63V8jAMwJsnMz8mC389pwB9pAQaIhfvvRY7Fk6O68pabibunJfzSPgYnD7/hV6sB
GljG9HOePFQgPIeNPzgfTj5TG5eVvuQNeOzBuLSGexlMMKQCOOSDv7xEOn+LExnvmX8FJ78OgtP9
r8zODE6VVanDFPaHLurrs4mq9e+lGBugWZmK/8oAkVgie2r/YAXmtzP287ZtoJ8rjP9nm34ZvrR3
ub80k/YuKFe3fzHjXM0zeyT//1ChBPY3niLUhkY1uCu2rj74sKhO/y4TAKk5LudDHs4dLVPYpGc/
ymL63slIT/h67C0ZDAfQnuucGWE65/uXkUqTPSM9tJGiuojlhSAtK/zsBOtlnMNcZPJxBXnG3Hhp
+DBEyYudodIISLaXlCQYvksTLrA3ynYXF8a41269MXt/p8p55JSpxovny/FSTIHqVz6Y6RrDICEX
e9oOHNdbY8Lz64n2mYLWx1m5vX+BvtM9x8PQHuqIJQ+VOx6rwO8Ap1N81uZMcNdhesHj3PJk58X2
XgqXA7/cqntOiAy+BMhPftimH5jCFQC7fKCl8dKPUioAY9TJe0sxInLaB6T67qGK2u7h/qURhhCF
25wFd3yTmcNY5P6u0VOW1/9e/v09tjR6xG+Zhpn7mtHuuQeJcJjn5KZc3TFGX8om1tvpK4cb1Wu9
dfvBZTThCmedO1jyzaXywAmHWyFPGWezVEFwLb+Vo/59B0WURv8IVLjed3nlvfs5LGa1YAki32Ok
0BOfVQE/Mq7sOc+aHbJpcpJ9RBVcanTWNCl2sg2T3/xx0KqS4d1iit6wwoeDaUkcZS11oaFqJoIO
kKa6aW+ZnLiZ3PghBVEHOiQyTyUWIAaDz/WMR8wI7eaxlIuNslbuzXJ39y9CTgKKIuO7LkqGEGbP
Z5CZ1VfpZ5e5rnZpF+YP1rJwgogFZ44tn5gm5qc0hhE+CAseTSdzen1/JLE7B4fKkHrX2kW4Mx01
vpgec2PfS+NjHOF9ECm0OQ2QyY+6Gxg27jCpiHQ4KUOYzOtfE6/fG4W0sXMz1LGGptr/O3msgU/d
uJFdHF+zyMRQX3fJgUS4uyGvUOxE3bB/QFvG1fA1jGXV/OpaupSAOuK1n+pg61pSXWzBCKRIBOeQ
Sb2RxdHJTfSvMjz52ZQ+3SvO0lFqj7ID992mfR555+43tu84sMAG/HQFc0qQ1vxIC8TmGSVoK2vS
x6gCep0LMOsbGx1wywKpQB3NNooOlhDnBIc3Ew9VHkag36nyrUuxBNdT5Ua7QpPUqZYvufdwrM3O
W8j2Rt33wSFQtgTkykaOFUaxYBOD2DuTrBYlzgd7YQvn+dYeRjjyaehhLGFR1RJW7xg1BNjxI2f8
6bWLs3wa8MQuFT8bgc1j6KrfduFEN9z33K7LG5+a3a/CFDfbbY2zmcTU2N6GNXErhPKYQUoHkjzD
POp6Jb+CcZIwSO8/sOgwAdyPVkL1/zta7dD5HMyQLaA1JT6TB3Geo5ZNE1LCsI7Jh1nRA2tpZrbW
Uw/4RELw19Ew3HkqktTJlsU6wcojsjmtkqbROyNJHs2qP1iOB+6zXWjw9CKYpP4yAIwO2NYJt1mZ
u4+iPOfdi63yUrTjdip7b896lL//1YJ4xoxr1/XvKcsgDuyB9C4hgKFe2TVhtc7udyUGt1WzYDfC
2Q3PNuDqbQC8FvjQgD0/rjK+qYiWmg5r3/JxPo2ulBvhFhs/g/GxAgguRcfgO2WiELsDA0vdhquB
mNU+gR9Dj9k/WqqCk5PzNsRzHF19wnMigVEaT/G3bjQz4zyBVUOGKBjL/ppwAW/6UX76uQ/jrB0f
XIuHbyxU9+0Y9WaQ6kSNbb0OKJpPadVvkYK7MGieGKwRYYua+ZiybJ3FLd6XMVnRtukEIKPUO/Zo
Lk94GcGc19xKdUMupwMFq8jry4w5mRVEDviXBpdbkAT7cuG9CuTYFZbEXy3amEiwtqxKHCyQJm2e
iDv1w6DgTnPBg55QkawcizAwkqd3ZBZ4lnfZgkkqSrV1zYmT+HBDuqMrdY8TPrbPbkaUsO9IhOVV
TdIaqWe5/ekZ4u5thj8oyDr+70+hSnyOWVE8tjX/jMwvJuN1X3vFoY5Lc33/ti3JWD3qhUvMHNYE
i3auGuly/a+9g9uQHO4P/OyM0WKwPyYtJ6hwE2/z72NPWnvjTIM4ZW4Q0VhA7MlUS/OZ5sf7ndLx
i9mWrCSIXDx2JOkqQiaPTYLFy06GzzRvBRdWGJzYgDQ/DfZTqyR+V5RBWvERQ8GyEIk80rD2lsYf
OIjYdEySaLzScBsBlTpC6QTC4eKXidv40XckXLZQPeDRKR8sMujuwW2D6jQV8Xj1SGQCb1xK3GbO
PpKoefv3OEc60UdWjWDYq9xDGNr+21BBpSHK9e+O761SrMfUHPaGbYhtATFlO4S+u7PQzNiL0bQn
ZJOLJ2R5aHsK3XtbTvRhVhqu4vDEjdY8JXQjBDsYybZV+zTl7peRBvGlcDXPSNOKqyIIBeSnR7J1
ecajpDn6emYuY5Hhi1gvct95JO3hBegTY4KBj5Iss5PmeVtnfug80BJi3Y1b+xQls/shCkTjYDpW
hcqvdklq0+phA+A7PAvuURYqIW5NHX8YTQHRGRllYI3N+d5cGHl4+XcveSElPctutmM99M9TZbbL
jF29t+74MQ0pgoWn5ZMOFBYY7uX7SzB4BKAmNkgEyn//r/ywJ5f5zwxiooUwfIlCTo8Q1+D23+k+
E0nbDEXMCNnnJIo96zOO++HFU9njv7fO1uS1qFr/q19nl7gmluiyuYgK2dTtzUu//MfvLw2LSVZ+
VaRbD47Mpel7qjpwEQzpKjJYy98L3dY5xIl6ZME0q3JSAUq1a6r1XYpwesnmFkQHbvCQby4wyW+6
mHJI87JXKvepP4zKN/dukugdiJpbU5Dgs8soe2bBIQPv+iLVULybHuVlnHcdqaiBYtpr/SMC0Rmq
90cBpO/kg7WSK8OR3dGfGNgArwVVVVzyCbSEO0bR+V+RnWJdiyY+so0wXg3glSezrNU7hz5ksiV3
btQ2s5IGLkoYMWNtZ/crHMxCQdoKzWat8+zoZT2D17q7pjUDBjU1ziWvfGsbMDpaQGjP2Pt/ssem
u2nbCmHrWvl3C3ANYBgbFKdsfi1ZpJSKwLi2bvBdLHwz2dML3QVGikS2NYW1dQY4e7l39r0B1nAp
cpiq6G3ietHewgF0mNF21nxMOS/zzECwiai8PTE8sEGq2IvSaMjf8qW5LAkY0ukhEv2AMYUNG03S
Og+jJ9jIVbTBfixLJmuOI86dkd6MBOWkjsrgWkjLfvbM+qWyyTg1guId+QfzqTD1QztYv6BDTJdI
F89JYqbPsRFcmxm0bWkOQGHCloz6Miloaxu+OkGLGNqWv0rYcbTqHYr8Zu5QgDZlrSGtgBihMkjb
U1yxUW75EFK5sl9AC5NjAzoLxGJmGjw48fAnqgyXvFikmV8mEvx0MBJpZwTI0ieu89nrAaGlCxJu
Qc0lVNVktkNve/9c2iIgHuNlJxx24aGBBbYu85GSJfTOHpSQvRE0mHQkRHHfha5t0wBfjCmXG7cO
mPq5LGwrXcqiQszR8f48u1NTgtMLKa2UUkeRNvsZOMEp1dq8EOJuoO5QB5WiyY59T8zHrWISwIsq
bfmY7kqrhWmgRkbxbvydVo56ZyVzuSIpaDOYh1t2vyRCyUKSKRownUjzEsQpprBUBSeGFfOud5iv
U/J5rN+w+zUa9PgpqB/Xhe1vNZiCrTP17oMRlb/seqq5CvjVWDgW50LUe1w3zd6iHz8/ZC5pTcQY
zqPo0THF9OyKmCl6A4FqYERNeiSl7L0fooWes62h4fojUY+Pov0VG05x6CarJxpBJLUZDHEqgS4Y
XT3dWMtBvuG+I9AyWeCFoSi7pkP+TTOfP0vD/Mqy0diJ3G9Oc0P74Mfh1evEEdNp/gqimmR0/8JU
9blwnHrNkxpsHC3bZ7YXQBGJjeEaN4N+YBr8PEAE2nf3/1cemt2GibrcwzhwCFCP40ErAFC5DikM
5zQHL7+4ieZF0OkXfef+V9JOKU1s7zEaMwJ3KqkJ1EPHwfBhQ0geSdLMkjUOtOEMHdCnuXc54nwn
P8DtDzasNhg27dJeden44y6T2BM2TgpCYykI544fSdmXUdtkTxddCq1Cr+7/omA97aNi8chUGN/+
0PDMaKShKMWA+u8CayoeCF2jcrhlvKwj8koTyT+v1klfv3WOQLN0ifmXlc0amDq+IaKypSZPpkey
Yw5RVpak+ejMm8oFIG9IdxMu4MQ0ts3t4NQC/xZdh12ytgF+kot5oighKrC0lYoisC/JRLy3sV7d
ZU+aEE64tyM1bGrjGlPK/FWy/Bl2FBYUnHI/sseocIg0d5AvDiHxlWNgetlK8O2R2y+ZOCKObrUb
NHuyjxzUZnSyzLg+VzAPjoEDw0S7PDUpRw/+MkP54G+XLXQzuSIS5kEGZsgRL6ENnxgb1yT93xIz
IPUV0eCCh3hv+nF3YiKGaTuqgesFPgO8pcBIwym/OMX/frEme+7/gOYjylZY54FzhU7GwawFdOBo
DO27ofP5p5HmzXNdOrgtloYIq5Z5aoNdOYhljCzSJ2exjRhuEawnFnHtKVl+1JMGRFGPxwH5YJeP
mMsl8syGSrxkfV0v3lVGMd8E9IG+W4EKQcXfeiHmPyYsw15WCA5+Ey7og7R+npLwZRhzeoGReYUM
McmpAVZKTNoqqPMDi8XGRxV41UMfFsOLFs7eIyN7sJZbD/91f2x9cUpZAnpBQHMeK90zCLKp+old
bUTCLhkreRuaOtgX2l+VjbuQ2NW0ysGHHB1uO8az9sWVdrkuiyS5+QbM4pLVcmIReBqfTAcXZHiU
0Q+OXgBTy3+qxe508hOS3Zi602UVFCjA8tueQZeZGf/jghv7lNiOfGyTagBX5H+i9Kq3hsmKIVL8
UrGmW2BRD6Uri3wlMe77KGT0cbLErHc+GGRDDbMBN7gMeUkdb43IEOda2eXD5OW/rcKbDs6Qk5lf
fqXk92sm4t5fErZkhDiEeEuAqydNb+5iUbTXoCNxwHRoILSRVuegbL8sA+Vb1ubINlOP89ShN67m
5FhUHnqZsI9OkY88guqEM9Q5WgVeXmJt81s/YeiHm38OhevdLC8A6QlY2khbwMxeDSJ3+Z7KovPw
TNAB0Hk4V58E9GZebjenYfoylr6zwbAMcjUvzoRI5rMMomrLooVLjS+bUBeBX6rdj65sf+lIi5Ny
WD9hgLYElNKM14kw7MI2ZGtrn8PnhJ3WEWuxYR5neXRIXaxVsSaXdJ+ZRp2T7buIRtFuF+M7a9wW
deyuifmh0AdTv2Te8Dz1MTj/Aen0vHxptc/pXDr4fccRt1bfYw1vKmA5Q6uOXsW1InT/XiNnLwaS
AGus4l62LFDaucAYzmf6VLdlADnfDI+1gc6ytDYaRO91mFmaatSsfOCRtslrd8z8ByCsgn1aUWYb
R9eOYfDZjPGAC/APVMRhwuPuOOZDZSTN+j6lqCj2YSuU7QnE+hP1WL7GhRBe2WIrSQcL91rOYKfJ
F1680nFJU3HTjSUaBZOl8+BE9lmARNtGVa4OWcduw7KfIb1FZX9rqS7ebZ+DrRNZu/b6mKUmWH1Z
fgig1ZTxC6xwzpkdJJ/0d1UToy7FmO6pfYgPyVbtidpyd7WyWM0Ox6jVzAgE8div2Zuas37AOA2p
zB+HxaZSGO4vkF60lOb8IW1DAXQJoSWqEGKFHLPDKLNnLP/YDyX/krUEJdMuf2T77UFnlfqse7HH
zxmxsMp4w/m9NqT0zzE2/gvnBkp6/LOl5YWQNV4oH7Dzhf1pTkss2yCV0sjszpMR603kNu5q6pxn
vwzlvsjnPSZMdYUvxgYz4xaikCGYpS+FJeOfvlwXrgmWIJuNq82QBEv578WesgdUn10IZL5A9TdP
AAyfg5x0jFm+gREoH1m82R58e8g2Y7FkviJojOBeV+QYRwRUG6ArfgwA0GGNDkZNbMB2ymLspGlV
MjJenrK6HOODt4wyunw8FXlgUmaY0zauBX2KIOIXxKVB0v1gDc5wLlx67g4Frhl5fsLndpnptKXF
HWraF6BgcjMtb1Oamn//46rWdndwB3wMWVN/kRgkEq19az1bLlqWPbq8+7azr4uefp0STRJQPY49
A+ZptL6VxA2OXDx9iinut530YZAtH6uqKswH3BKoofyoU+2/3pHGWK1Os8ASJNl1z1wor87OMhwV
fqpPFMWM7fyHAaYCy501OtxwGgYZX8yh+vLmOD/hPvOBeyCMdl3tbdO+aq/34m5QdvfYA+JzZRS+
lBm7TUcqj10y1S6Zc64UN4M/EvkhvonK/sGvaFtjE+jr0XqxiPYfNT0sMQYjWAOKqLftDJECFld6
abwRfHaYzSiluM6liV2chkStGzVMbNXtUsyjdB+t4R/6EqBlZ3qPGdrE1dHYy+6/AOJ5/gsInH4t
o3EXor99wpVYtg37fmkd7p2ei8XoEqimY3JKfWPrdzeE/uflCZzrUSL7Ulcb5iQ3ObaBdWewxz1s
249UsKbTDtrvSDDL5JBhpZJy5DXKdb8XhMCFAV+tuVd6U0xSFhmKQDTKL7q49296rpJGnbgFl6L7
j+Yba3iiyd3dfylaa47Wppz0qbfjJ3OO99q0zYfZD4drmpTnfyLFnG4I3Bj7amHhwq5uv3QQvZvT
r6ZJv6wRnsW9d+AoD0+56ucD4hR2kXkSe8f4rcFRPozpxpwlxU+B9k9zTN7A6VImLqp60grum8Rw
wHSF/GS3OAjScY7O8Tyi4C7GQCNps1e3mD9ig83U+CcaFllo2n5t09/cD9ee7XIzlmDBttGwdj4C
YCPLJ9Rs6BoZ957J9Zt4Pw+GCvMfmPgwhQ6I6V75A4TPFmXWXwV1fWuWjcmLO8Ty2Tp5f/8aAv6+
Y7NzmmXZe3d+huPD6cgFTXvIEdKz+0YChHpsCYE9owDynyUEty8FWRNcYfNZo5bus1kDymXx1Zas
mVi1KoFnPmOehQZNwb+0X6ZF/Y70jKipwhotdHyJOhgTwXJoGG4WsAkEN4HjA24iKOegBMzOkjgN
Hv0oZzRUGs5q6OwTw7ByO/lhdVRgfvAENozglro6k9D904mNB4YTFidv/hUZDhn+uxpY1xviv8Zr
DBtwbQ/k12t/eM6BHNzixDuVrOHJVunPppD6ShwsWc0NnjEEH6o0fNHrqJryHZxQ4jC9hFVWUZMR
axwfa6xkg2nFr7ZNRYdp6BoLIF0YuADSKzNY1TXni3RzAJu4NoH7BeOljYafVYsDw2WCf06H1Dg7
5rFn6d6OYZa5vZ+kiwpojJ16jFlXEiXAVNx+kyw2gKGnHS9jrfbJ4vnQ7DqZ+3T8KT1ihZN8nYA5
Ym8XtyRk9mSaRnOo9MD7io6wGcYi3hG2I6+8PO+YMw6YGxVLWrOFCoTvQPRy780wBHttTrtQ5hZu
0Fe7V8jHmQ3MimhhggggPZjTNN2rOx4e+Ycs1r2JjSR72TyrDG6FT/xcO+hWEZ/uKA8YWSzO9Zjk
5Vk3SGGotqigVuQPOxE176x9mA+GHgDtM88HAByek7jfp255GrAOuYfFwtjafMaHeQ5u5gjap89Y
BpQAfBcRaJ/IwhEfELE5lEa2rB0Gt7A8LW41PGpLj2cYscPOJOO4atgr6MXpuGuRovP1R5QTBhGd
Gp8iT3VY5QDHq9o8wTb9aelI3RLBW2YwKlo+0X1dJuyjYsbbVMVniYvj4JfLb63VwdK4YpAZWR4O
DOMIiE2/EvKINk07fPucAJsiG9+LZDb2k01iV3WwOo3CA126fJTvF1kEV3U30EHcL4sMFZDILeJU
V/dggOXXPGveEAeX2LtiFLwULeaA25Z5gvPPw1LKdL449nS2qjl4r8IPH+vYrpnMfrNMMu8CGeri
x11snAP2KOZsaWBNKku9mAZVWwQhTtyBtbfEd01WpcNLzTIQvlXMQXsfChUZ5iY5srVyTIOUXRbk
y9MYyZrEfrnz7vE58L3mKifLE5XTd7Aw+IJmd29djGnZp1BTd95lHzoW/+b6/nPnQ9qAfrxOzebB
x/9yJDfZXMiLbcZl0FFroKyF6bzRL2Lku3dBHR/KQPfj+f52t46tNjWf7hfjd6oElt0iRZT20Brc
JN75ZhsebM8gGZnK8oPSl/4saNNjZ7MBTyWB2PuiY6ueAfBgVN4mtPvgbDrfDnhrFPf/4+7cdltH
sjP8KkJfzQARhgdRFIOZBrZl2ZZt+SQfdveNQFvcJCUeJJ5EKQiQJ8h9rnOVi9zlDfpN8iT5SFkT
laS2996umU4aGDRG3napWKxatda//vUvBIuQ/YvOLSR9Ri1tid+dIlRWS8ybS3cKZazCIxSalVgT
mPFL2kgCwM1P54E5OpmHPpJaZCmalkVwbfrWwNVpjrIECCSlUUQXdGNIjnIkKKNlZK3DVKNjajfA
GRQlujjfZYlwFld0E0LiGYnf5iCxoCyDH5dKcgqjfHoz8xO0WdCB73Mul3Q2c4dcf/PKifAvMmNl
L/TYG66Qo7xdlmgF6nQL6q9hjyhP2ohFL+Y0QImjEzo0zR71qq04JUpH5Hz9yxaV0esEzbRFL45m
tOBldUqExdEVmK06oMaGPkdwbz4fpolapVhn8LWIV1X0IK6hEKGlQw/Ay2K0/BIvoryHnMT8DqXm
ByNcKU8ruqJPC8joSF1jf4ORbeDYFWW7GMyQzB34Ux1pFxUGTNNQrwL66C6K+xx25+dVgYJhCVnr
qCa/8CburRKaziIxwJFKHc9DVR86OZADKTcKvizYfRPfQJyvysqBQFxREgz5UAFpq25gMnynVjBZ
XC9SyrrSZTm6BzyAwb6gMJ1oI6yRP0N1zxd+bq2dCfKK1gBFQQhFwwXn4TgazT6vewTUzoapVa6w
nmR3aF8f0cHT6k7o0X6Up03jUtWsybG/0o1uAdp+Mm0hrhcszew8ngUJ3b64MmEYImmOoEA/URR0
wGLgivN24utPRFI5l8W0z0NDYfDd2epskZWzK6NjPfrNxWeIzD1YAcEtKqGdi1H9W/N43uKSw8FZ
TedDr7N4cN2EdlIcZbQvgm5QRbZlHrQRMUjLfkn1ul4U5MtxQCCX4D2VsOLOolSF/5QbVEJQn+/T
2LIfr2gGD5aj9DuUnndp4nsKi3t6PUsn3iCgYQ2SQb2kLJd3S3V+iRKpe2HksLdm2YLOt5UXHFEU
N4MaesJQi/NVbNMZhS4qtMhT/BC5uLxTnOPDBASw/Sac6WW1qzOkl4rWCY0es7t0ol3RS7fdn7dA
vtqUQJPo4VbLgjYSM+6VT4r2GvgJwnR1UySuR55lofeqjMZ1RG3eMXRkCtuaX4K22kQjbJVeF5zU
edYenRcBfB1daT3Hc4NGYRmMaX2iuJ9nYQ5EQb+FpmE9zlve6nyEuAztFpB2qomTJj7mMUHlOOhA
+ExBg+8jvfllQZIX9YL22DIv4+A21VbxU5zT7d1L04fEQl96utL0p3zWgbdfZlTq0cqGhr/cSLXb
UNvHpkVCeRV7Yc/wOs3HaaqD5GsePS0qTFOP56e1CDU1Jehpjyrd9SqzM9dx/iyX8nzu2+lZpwXF
rw51UnVGcVbYUaHT83yBNkqQyaRKy6fcjD5SvSg3p8fLkYLFr0I/VQvthGfoRzCEIo6nOp0uj+lH
Mv/Jgi97NACwie8glUNKMuJFb+02xEHTImGwQCFHzfpJQvdMd1EgnDyyTlYdtFAiPLOTerMliXlr
uQU8MQS97xfqPDyirPk6Q8AaUg33kEaV7Mmqyo7Hfntcr047AV4OoMzctRbII2YGTmDNjwXaQRWu
QoLalTgbtEfzuLbX6WSuEdVVQG1s+SQujEx/gMWOEDkNCoFc1KvUbZp96HgFACN1U9TkVTELLDv6
GcQ+GFRnYZ0otEs8amsBjXfKiD4NqRddQwde9hSolxfT2U3S9Iy7qUcW3cw6V6qWoUloviRV90N0
YrxumFC+u2jTicq3qnYkVMJqYXbrk3Y4qzOxENb6yfzWapY3aRXhJf78US2jSzyu2U/ajO6HFI1A
256HRGoI7ibGdPRAzSHp/XJ0Dn5IJdbCzM/TJZo5/jJGu5/KnTP0TOgwZISfR9SMKXQWyixYOPPC
pEyCWkqqj2fLn02dTmAQqGnhWR5NqA88XawKZJ4mwJdxpdxjIPmujzpkPQvvZBW6zW6uJq2bRVJQ
rzebk4rCi3JvZ/eWNkI6JUE1qWijolPMq4qY2VBHU+tFr9rlQWwBDFqEeGFmODmvt8Iq92cXbZ3U
vLoqg+sSuOCojP3LeZq2Xvf7YuU1z0EkUf0ZIRDcJth/vapheobdFa91juwOBX2168D9HUKH0eEA
zUgpo2rIqWiZZB6sJej4YlKeK24OrdqfIe5pICFVbxHAx7jvIUedecUMnfD25/YqmN7NLGNyl1vl
bYWh03YivgyS+aifdTzWIVKHhaIXT65ylC1D72Y0uW26oX+dr6joC6Yr89JvZWer2UxH+BA6DarU
xZAKkZQEFBVqASIKR/UuX5s3EsAwmKHMcIncr+gcTP/xsr+Ytib0uUx6urrwruv/+DAqMxP1clT0
WkhDl95JBh/3pFxl9PsyZ3F/QXPSY4vqI0iTy8s6zojno7Mobs4HZMuIuRT054zQbfVbCXnDIi28
BxVRJ1qpMAm6ftQem6E1LRTMMpCLZRQf+61RcEq9o64l2efJnEZe3rIFgaBoFqdFE+45LarRojNR
dI0WVeFJ6E3DJy+Kb6zcmz51ovTEV2HNz/yJ/jCdTZGdoJt4N1XhF1Gq+kQVQXg8b5HBCa3OrW+R
4KkRpZZlkbN1YRzBzCIwQH1ad0dKf8nNzIg0rY4KSj5xEpFfpcwyRiw/oq1ty1ylZ5EPJaYLmTRc
PiSFq6F7Z9xQE6LU1H1ISFfNEbLVaqrflVAuzki9Ts6qgneayKj0tldWPYKADH3/ZufODbJBhtw8
FC+KKtH2Q6pg2QLByXWPrvBh23pM224vX7aVs9ScPbStjjowYl2v5FdM83wxLW/VPPCvkjx5zpr0
bjQ6XnxXasB8loUQeUI2GYTmeemXlNCYq7vaslEZ5dFsm97hy1aGyP4CpMjzLaTnfX02eA3bTFM7
X6adR8tauE/0wyspj+9wraboly6rhlhqlhJqUlHVDzHehBMQiBOL9BvitJP5WQrZ60KdqoNYRy19
Tm9sd1QUZ+gVfAGCUy58qhF6CZU7x0mVRZgQTU1NarkMrQPguXJ1gP3iHovZrKRWjeJSsWZJFxoN
CLu19BHvLfscOjzL0gvy41aoLS/XZ6+mEZ1lARkBK595aMtByIyIB7vA86vLKSoawBCKcldORt55
lEdPdHPw+qP55Jmn8YZQibKjYqJqF/O2OXs0wZt7ZbOE117gCyh5FvQUbUI/6s7SGLbTm6Dy+Gal
lZ83O96JsUj8u064QnOkPTYKhYYXcZreml6Y9JqhP+5QsXrHzU92UFeCU5RJuFejmJaZPgoFkbIg
T2MskcAoQvrlLVPzeJLOVxfQC9HaWHmIw6zCl5YVP7s+Lc8Q9oTJvVSK8qhMw+Qin09bl5NMuVAX
dJalqC957pDqDb3giz6dm09IDxMrTdqOuVQeq4zDSWkiHBj6s1uaCyFFN4CIVBBXsVARTPNjNeEm
oNIagQzkN7pqlROktGY6QP8Y2gQSQ4CyGcxUJdCt+9E81M7QZjfhhk3bFxC30M9Igs4TcmIQlluu
97OSN8NzS0UdqMjVsDct8oqv1EJ6JvbjATj65DhUSOBzDiZ3pZXcdyphlSIJ1V6r1IrLhCKRk3Zr
dGcm7RD8EFWLPGy6l4vAUQqfkNhbADOsN3HHRP0Wjgi1QW7xoJM9v9Bn1EGsvIga4Gw+8ItRcR2k
PopkUXP16nokTSiidcqOuidQ0tyLTqlnRbkUpKkfMM2zXIMPmiua/1lbdICignA6oCnz6gm9AmBO
PGfC8+Oiqv5YuPllO5sZpM0pDZlOyZZB2hkqJuUhMUTS+46lRKiYgndlhduCwBKbV5FLRUr1qQjD
6DKaUo1AaGo8xrBIj9stsozIQfln5gpOELLTz62OSYuiGm9pe63Luq+f5kPmRFpVCaYELJE/VPy8
M2y5FLp6xERRMv3cNKblwKvE/TVqOnSPTLOrg/PreR6fhV5n1UuiURORGQ5EHT5N0silCCamHUxI
J+VS0cpBQeYLIaQQZkgNQowCe1rTCTMDTY2FFVy08lA/iydJfqF3TpVlTpuHCn3EPuvkipFoqhx7
2pcukhmiKGmJe1vkZ76eK9dGy3pckUJFA4peSiq1B9QwI1vRzPP7KWwjOtLPV0/u1EKCgd9F/obY
sXSbMD5TyDeWG0HZTPUTsvnqT1MfODYPlculm/20qniICx19Mtdo6uelmRb3VLDYGfTMHqLBFOMb
efOxXJjnLgn3uyKfdaHZU16VZNotNz0a2nFAdj1MfYS6ivMRVVjs85zOA0ms9UYMWrTzEtZO2J/W
rrZq+eZxnMTTO820JtdWmFDzMgk+p2PwtnIQQMhY4zAoglLWEsbGAHAAVcYsbvZVEnLHqCTS9hK+
8YlVVf95phGjB1JwI00Tred6rnvHxfCMO0Yhf0r3ZlpJnAXTYJCDZV4YFQo30aZf0HdtYXkW6nEZ
LO/qROUq862rIIh/IvWyuGwuTJLlqx7aB6s+PmQLLfCi3aePedmnDr08ilZngAQkJWZkz5MiLE5r
CBkl/l6RK2QCAwRXs6wsTs3ALLtxPPW6fhnFLwt/Bo/GCx9Hefp5RsL2yCi06c2k0/QHFL+1u5UW
VuvZpaVIxPUWk2ukbclcnyPkFaSPkyS98ZQUXm71KVBQ8NXL4Ly11OY9jGLAJU3DxmasDEdlrD5A
B6J5Bvk8dO3CE/LqZj9RPbcLcBk9mMH5NKB1PZ2S4cfpt1U3A7iV5CDdxEYV8HrZpCIjXyksE+Us
M3gpPAMFj5ZhxBCkwA8SgKyJiupVPg9QDSmMuxbYTQ9wpBK+RYOh6nSbhZ3slFI45Jnhx0882DGj
W6O5CI5JryVUaOS0Lkni9tUq1Aq65+ZDlW47lH6gjNtMzKe5hQpAEtHGaEUQTb0ud5WJfGMHxRYE
BaYXfpkdX9Qd5/70Uv6j68SvjQXTH//M55d4tkx818t2Pv54H4f878/V3/z1d8S/+HHgvxB5xV+y
N3/r1Imv7NBJd39JGJlvf53dsZ3ZwodeRGOS5W3uJMs7J82D7O1/XT8Hj4nTEozrP/addOvP3/2F
+ikPDtBw6rn0x3/5gbaIpvKD8Kv3y5mzHnz9a9XnH1/gEvgRP6ifb+sfqsXf+hi/OHb0zu+8xHmU
Vavg+nG0Xs+tETYLWD/361xe13R/KYSJ96qnYpE2PzzzncROXjxyUdXSvz519RL/8sOnL4n/Yv+w
tRJmi7af/zuPv/zw10feanP45pBRxrdlO8PCzbA+OG7qCxPVwMo+NmIvT+KZsxmj2gYqfq26+UG1
6N/++FdcGV7jU+jsLixMps4Hx/6U0/PTDnbWwVQ6H1yIYYxk0KE56yodVj+2HtfVSRBn3EbkC6ZT
p2W0dLNj6JSEf+w7bjAyLrQpYX+gbG92TCAyDU68aWmt1t4q5Vvn7yt3N3vG3tmIbQSBWxoliy1c
FrXThuj5scfp2on//MyyNa6czHOSwI7G6WbIapt2WrrV0bWWpWuqqWiqZdCpVTyze492yHb81fTu
W5SNbV7fMd/+71sWpT6oG2O0bc5EkymYw/8XptNFitFPMzvaLH59k2w+bMzH1pv4yj32aeUkz7Y/
EQfe21TfMXASIgMmnJK9k/ftox4hSBnYYyf1No9erYP21pb8yoUYLO0IPFkYVsaEvXz3pdFp2alv
x+9/a0dJHjn+Zpx6K0iYa9cOn+Ox+M5aNO7+6GyHid+4tKOpsBn2r/5v3w0c8EgcVMLGPYsjtwGP
020MP9Fuef3w1RKrioQ314/GceTsWHVVVTdf9P17gpHFV6eqEo7FuT0TTYOq7fls3/7iLpaJS/+K
nZOh6hI229onuogTR9gZqi5hide+y4GxJWyMC3tlT739JZFwri/tWLjSVb3z8e02sF/seO+IGBJW
ecDZQxZffH2GhCUe2MHYLxxxLdoSTAYD28vdM92W8OaunJkdbN5VbYNMCa/uxk7sFydooL6+6+2p
HSnjT/dcFZQ1Ns/x/SbuhricfrQExcI71BQJu27oR65NFYSzmWbtWKgSdse9Z/vVQgsDaxJ2x709
8fdXWtMkvMJ721+Idl/TZcwY3KpyC3fNHFUjm9X5/t3xsHp2DixHS8K8H30ni+xwM8d6a8gwdX2I
pfns9SBuj64amiJh3hB47NTzk0PfYLbaEvyD4SyxyYgdsiUVD07CwRz443HgNHqUl26vUMt8e3Qs
xJ82geBbENLQqwQ6iH/X1nD7K4CRTFN/K5L/yu+o7we7cQGLOPjvf/m3dGov7cadP3YFYwO20tZb
exDIt3tX934YJ81LJ83E8TV4gIqMd+7gy0/zzTv/07Fvx3BtbL9xm0djO95eQ8s0TM2U8KXH8XQc
N/7UuLenRH9+KLgHltluGYaEN3Vho2XoT7efQFVUpQ2XffOz7zdQNzbNT5svnm830zTfjLcOLerv
kPDuhwTIB0aWYEsu7Vnm7Xgj66V513b/dnjQIbxsYxW6Fcpfvc0DyPvWoft/AA+RJ0lc0WGW4cfd
0R1WHFWTYT7ucQKc5fYmBa7efPy10/XbbaEqSfH72zKfApesgWBEJVi4T1XkJgwqwSYfxVmKMyoM
q8oYF0dUgFNlOM5HOHQAMZvtXBl3Gb5t17OF+GE/c7Rlsb7SK7lzZmie+C+N+EsD6L9BMbgr3N0t
Cdd2PWjjD8d33T9ur0lLwmYDrnSSOBZe4Zt5l69cF3RF4FLgPzo1Slu9QkNC8NplOBJqjXUaNGps
ll/4nnft4DpH8pZD27VnTuPRScaC82dI8ACOJ/4z2Tthc7cloIGo+8yy7WWQAZ305rmd0SGdFT/N
QQwE89GWYD56VNrtgIymunmKX7vG3n99vQzZ65lomWX4z/ec8FMAfnHkjgSX89R+Fg9hR8JeOyXf
Jbyy/bzzt1u8/Y2Als/HX1n3l//KnMaYyK5f0MldOHeqjJvqwomWwmIcoCN8+2pc+s+7LgAK2x9f
DgLPOPOEm0SVEdYy351VaL0bebx/3gb22Kb5yIuY+lNlXCQDe0n3HHE7vJk9/8oLqoITFoIVVg0J
55hhdwaVcI4HXKUvL+JmkBGoD2zAFGAb0ZypMq4jhEMqOznPxTfXlrDZrny87s0JqwN/Gaa9HnVn
IUxj8zXffxWtzWXzyE9TO98MV896n6jz7ebnDp9+LFg1TUaC9ZVftMc10xQJd/7QiRxXxEA0VcIN
MoQ2l9iNS4fc8PZCazJSuMM43ONxqRLsxTAf76QIZNx197EYhGi6hCtp+Mu/xw04qb/8R4NN17hJ
fvnP6MUX+XiaLiHcuc9JbohHUdMlxDr3drTaNXaaDGj6wd07hTIoH4TBU7gZjRM7FWy/1pJgl6CT
+jt+rCYjP9wDZoBxK1yCWlvC8f55z+/WZORefvbDZ/t5IVqMtoTdtrah++fblGA1UGcDw1/4Qlob
XubG7P3adfXbAYA1nfh3iAAe5E4byv/hN7HO+X30VWzvpGq3Af9v/6j3Smmvef/Cd23+ZfPDt1CY
I9tLbBFeVCW4093lLMlFaEqCW3MK96gxpK39bHMKay9PkXDz9hPRR1BleB79NLEdwYCoMhaXuc6F
BdDUzcdfs0rvx5fncbLjJqnau0fs/WEv8oXtC6AZClwfn+2l82xHIpoDLf/j416HO9tAxjV1CxVf
jKb2yf3fHpcM7XzsNz4l9q6LsU+1/47BqZgSYx4ZdMqHyM+ccT3nRo+2EXbmCDZC0yQ4BU/wCRrw
r4XkuGZI8Od+cuAEbfZYZXm0toSDd0omKmqcOXWF2vboLU2RgUDg6j9vKBDbw5PJxxpZEp7g03Pe
GOSpsF9eR5dgmf/prjfs3T32jv+5Ub1aJ4kaw93daWqGgrh9W9U6GhoBrbfrWmr46tBV+sYFK7H2
Y11Qtbmcfz/Z/U8BNlm0GhIs/SeI6GAO2ztXAsBVV42Jc1Ul2J4jJ3D9XOTfSThgR7R09e0aEjhz
kpXjxhT6C0uiSTBvTN7ecdr2qwm//SqhZZFL8ZYw3fd5FO97FsdOVQcjWHkZ5rifsAwiCVYGotpL
s91iPIprP1yy0l05FU9rM1B1KclAVE/8aHcRTAlRwYmdxM6hu2i/CPTb99kJHvyLgDF0JJzoU/+Z
ZPiO/yaDI35KtXeUivwiS8J1eeok+LDL7R0hgxN4mjiOuLqWBDPcTWKQLGH7qoqEcc9ySPKJsAiq
DFy9TznCjnFQZeDq/cwOxNmqElbh3El2NpgqowLxHHeVlKHoCqsybqBLOyt2doMMkPfSz7x81zVR
ZVCThkFc2NPdKUvA5y997HrmRPi7O+CMDGD6Mi8dSihp6L5tJlQZFQiDOBizJsK4hgSzRrGVvZue
lXBEyCVn4mRlAN6/UqKuysClqRtc2KKtkHE1o5iya9hkhIY3KD/kO5lI1ZJwQO5IFu4EG5oMjkx1
ouFbCnuCYv3Nfv5+fA3CO1Yz8SMxzyQj6hjOdhBcFBAkTLiwCeiS8WakGvDQJPisw4UzFi8PTQaA
OVz4GSIBu9tYk3HlPUwrkFxwLlG22KzM92+KV0Dsgpq+cSyGjTIYTo84Vy/sOwS0BItB84SPzx2L
zAXloPW1GaveITKimiFaDztHUAZlkcoppyIRD3YwXkMK0r0u6Kbc2KFyXpy9arVl+HMXKFEVwmpb
Foy19xmHvx3WpVEs9vGyhO35/+0yYU7gr3aO+GZnf/8J78bUkFJDJwpKSWEBBI2hHRQ28NhmmnX4
L+GuOoWS7EDGEW7Bfa2qb4/R0awYV2JB2xMGKd58/P5lvmKBE9vNhRmrbL0PIyw38HvFIj71/TB9
e8P2XvO0fx9wea2o9fsDl7u8BpGFJyPdV6Eae0iXDPd04JT+TrjSlrDNh3ghWeOmYuE5NRw8qOif
9Hjb7PP6CpZxoF49k2G2l6OTUhLjvNaYHJCEq2+MXz+22I6vqpfu4mvXgmHbSwONHpWwzltO7Hr8
3+4A/3WKHz3D24/wN7s0PyX5s2hzN8v9/bb8EwYTS17v7yM7eYa+uRm03t6bDx/5Bjf3A/F6k6Gg
Uc2W+1i83iSgFFVNDEQd7iFhaBkp+a69JJA+hMnLQIO6O7tDBv3/OA7hPor+lAzQZjPu4Yo3GfI7
3Da7l5gMjAVvbcwdkIs0YRnU9zOoO/7muFVnT5VRV33OPt55f6oM4gfoSsWK3a2HkFETWcW6aUV9
z4TVkEEquSEPlMVVhCBEdpoMUtvaXbjwsyytremVU/iiBZEh3rL+lsv8RQx6NRkh7z2AmT+2x/X0
7+NnJE2334AmI+tQ1fmv16fLvozTQ8aQdtab7/3+a2e9UI8+aUq8OODWupx5bRX2tKJk1IwdUXrk
p17j0Ud24aCRhzfz8ed6GL75DRKCsCPQ/52CRc2UMG6XYBR5uM0S1O6FjEqnoS16RZopIRWN8lfW
6OXgCZkvcms1GTn/9e7Ehcm8X/4jcEIBMTRkZDm7a3HvCoKrn2Vg82UiEqwrloyi6vWzrC+Exh/W
zIA/br9lHY1gCfHYL/8Kojh2GoHduLILO00dlH/W/89+NSPb3woxrW21tHbHQAbIbLfb71e7b3vx
f2ckodbQ/mgUAo8HYwf+XJlNpOLzLXnpPcWa7Yetfv9vwng/KBguI8MDAPwlDqYH3nsbhJmw02q3
wWs7HUTP383PbC/F3/e9r/XNf4fvPXGrnSjy5mQIvx0hArpDW5DBnD9K7JVYfSSjwrCimwogt4yK
924cxLuKDTJkB3svhDYivC0DRTshDnvxKrkNQMVt+ywjP39i026m8u0OqJaaEpzI0xwBcGHWCL9t
HuIDvill6gDdwtZQZdDyKhFX0BzBm1A7xsdnfOMk+WaUOjZ936i+Typ9SPLdyWoyTsgjmdIVSK3w
4mhWsHmAX3txv901cKghxe/wUlgD0JQU2GEsvBwZDu8RXMxd9FJCvDWszG18MJ6ToUx+FOeFkx1w
Y2QUbnXjKsL+w4VDtjVy/3jISsqIfOtkfFUqUlFusJeHvkcGLa1q7HVwbAmo77mdANcceA8yatJO
/Im/MT6V9ZSh130Cr6eq6RpTo1mljWquRdVAa6+RwJsZmK9M8Lze4lWrr/3xJWADRwi4HhIk7uib
dfs1o/3+NfM697p+vdqllb9A2mPdI6rqQTEWYDoZ1yUosUAwklGCeObAD3vdoPUzDF6OQWqCzc+E
h6Ds6eMLdxYvtpyrzXhraPrdmOr997IBzOoeFVGj7tPUuAf4pQPhDp1cBnHvPPZg+GLJP9FJUawT
lqG7XtHKquTOneN8EZZKRiBxgf7wM0iUOLCEs9H1EnTXSXUdsHyqjMKhGzsIl6jY7C+6jNT2WvBp
B6BTZahzXDmLRtcODtDLZHDurvwdHSkZjLtHO4JKJLrpMqDQK1S1xFFl3CjVAv/sQHsSy79UGRb/
xs9egLAPOm30R9ucou+/Um7sGTnz6hEOqAfKqADi2Oyqa0kw6PhnKWrdh5t8yKCcDZ3li+cEwU6l
uYwqozXKfOYEpHX/ofEpJa2T0rZynauqjBi2d2w3aGzvCaEFHfE+/r7v4ynhpHAINBne/z3quuJs
ZXQkus9hk+9MVsKmf2Ln4CJX7tNJntFEYrOudSZHBtvgCS/wwEWkGRIc/L2YU5NR708fCgpEXucs
eGDUMchglXer3jZV0npjzLYX3SCxYpp0YjTgJitVmuNdt+w3xDgOtMP8KMax/TSVNX87h7H92xuY
vxb0kag3cKgz5v+xp3xnGV7X8CUg3vjxfwAAAP//</cx:binary>
              </cx:geoCache>
            </cx:geography>
          </cx:layoutPr>
          <cx:valueColors>
            <cx:minColor>
              <a:schemeClr val="accent2">
                <a:lumMod val="20000"/>
                <a:lumOff val="80000"/>
              </a:schemeClr>
            </cx:minColor>
            <cx:maxColor>
              <a:schemeClr val="accent2">
                <a:lumMod val="75000"/>
              </a:schemeClr>
            </cx:maxColor>
          </cx:valueColors>
        </cx:series>
      </cx:plotAreaRegion>
    </cx:plotArea>
    <cx:legend pos="r" align="min" overlay="0"/>
  </cx:chart>
</cx:chartSpace>
</file>

<file path=ppt/charts/chartEx3.xml><?xml version="1.0" encoding="utf-8"?>
<cx:chartSpace xmlns:a="http://schemas.openxmlformats.org/drawingml/2006/main" xmlns:r="http://schemas.openxmlformats.org/officeDocument/2006/relationships" xmlns:cx="http://schemas.microsoft.com/office/drawing/2014/chartex">
  <cx:chartData>
    <cx:externalData r:id="rId1" cx:autoUpdate="0"/>
    <cx:data id="0">
      <cx:strDim type="cat">
        <cx:f>Clientela!$A$13:$A$17</cx:f>
        <cx:lvl ptCount="5">
          <cx:pt idx="0">No profit</cx:pt>
          <cx:pt idx="1">Imprese</cx:pt>
          <cx:pt idx="2">Coni e federazioni</cx:pt>
          <cx:pt idx="3">Parrocchie e enti morali</cx:pt>
          <cx:pt idx="4">Universita' e cus</cx:pt>
        </cx:lvl>
      </cx:strDim>
      <cx:numDim type="size">
        <cx:f>Clientela!$B$13:$B$17</cx:f>
        <cx:lvl ptCount="5" formatCode="#.##0,0">
          <cx:pt idx="0">50.865914109999999</cx:pt>
          <cx:pt idx="1">66.922841000000005</cx:pt>
          <cx:pt idx="2">40.829071770000006</cx:pt>
          <cx:pt idx="3">4.2610000000000001</cx:pt>
          <cx:pt idx="4">0.059999999999999998</cx:pt>
        </cx:lvl>
      </cx:numDim>
    </cx:data>
  </cx:chartData>
  <cx:chart>
    <cx:plotArea>
      <cx:plotAreaRegion>
        <cx:series layoutId="treemap" uniqueId="{E9F8D190-64C8-4438-B2FE-AE24F9D5E8F1}">
          <cx:dataPt idx="0">
            <cx:spPr>
              <a:solidFill>
                <a:srgbClr val="5C717C"/>
              </a:solidFill>
            </cx:spPr>
          </cx:dataPt>
          <cx:dataPt idx="1">
            <cx:spPr>
              <a:solidFill>
                <a:srgbClr val="C33232"/>
              </a:solidFill>
            </cx:spPr>
          </cx:dataPt>
          <cx:dataPt idx="2">
            <cx:spPr>
              <a:solidFill>
                <a:srgbClr val="00803A"/>
              </a:solidFill>
            </cx:spPr>
          </cx:dataPt>
          <cx:dataPt idx="3">
            <cx:spPr>
              <a:solidFill>
                <a:srgbClr val="C0C0C0"/>
              </a:solidFill>
            </cx:spPr>
          </cx:dataPt>
          <cx:dataLabels pos="inEnd">
            <cx:visibility seriesName="0" categoryName="1" value="1"/>
            <cx:separator>, </cx:separator>
          </cx:dataLabels>
          <cx:dataId val="0"/>
          <cx:layoutPr>
            <cx:parentLabelLayout val="overlapping"/>
          </cx:layoutPr>
        </cx:series>
      </cx:plotAreaRegion>
    </cx:plotArea>
  </cx:chart>
</cx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410">
  <cs:axisTitle>
    <cs:lnRef idx="0"/>
    <cs:fillRef idx="0"/>
    <cs:effectRef idx="0"/>
    <cs:fontRef idx="minor">
      <a:schemeClr val="tx1">
        <a:lumMod val="65000"/>
        <a:lumOff val="35000"/>
      </a:schemeClr>
    </cs:fontRef>
    <cs:spPr>
      <a:solidFill>
        <a:schemeClr val="bg1">
          <a:lumMod val="65000"/>
        </a:schemeClr>
      </a:solidFill>
      <a:ln w="19050">
        <a:solidFill>
          <a:schemeClr val="bg1"/>
        </a:solidFill>
      </a:ln>
    </cs:spPr>
    <cs:defRPr sz="9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/>
  </cs:chartArea>
  <cs:dataLabel>
    <cs:lnRef idx="0"/>
    <cs:fillRef idx="0"/>
    <cs:effectRef idx="0"/>
    <cs:fontRef idx="minor">
      <a:schemeClr val="lt1"/>
    </cs:fontRef>
    <cs:defRPr sz="9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19050">
        <a:solidFill>
          <a:schemeClr val="lt1"/>
        </a:solidFill>
      </a:ln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9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/>
  </cs:seriesAxis>
  <cs:seriesLine>
    <cs:lnRef idx="0"/>
    <cs:fillRef idx="0"/>
    <cs:effectRef idx="0"/>
    <cs:fontRef idx="minor">
      <a:schemeClr val="tx1"/>
    </cs:fontRef>
    <cs:spPr>
      <a:ln w="9525" cap="flat">
        <a:solidFill>
          <a:srgbClr val="D9D9D9"/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/>
  </cs:valueAxis>
  <cs:wall>
    <cs:lnRef idx="0"/>
    <cs:fillRef idx="0"/>
    <cs:effectRef idx="0"/>
    <cs:fontRef idx="minor">
      <a:schemeClr val="tx1"/>
    </cs:fontRef>
  </cs:wall>
</cs:chartStyle>
</file>

<file path=ppt/charts/style3.xml><?xml version="1.0" encoding="utf-8"?>
<cs:chartStyle xmlns:cs="http://schemas.microsoft.com/office/drawing/2012/chartStyle" xmlns:a="http://schemas.openxmlformats.org/drawingml/2006/main" id="494">
  <cs:axisTitle>
    <cs:lnRef idx="0"/>
    <cs:fillRef idx="0"/>
    <cs:effectRef idx="0"/>
    <cs:fontRef idx="minor">
      <a:schemeClr val="tx1">
        <a:lumMod val="65000"/>
        <a:lumOff val="35000"/>
      </a:schemeClr>
    </cs:fontRef>
    <cs:defRPr sz="9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/>
  </cs:chartArea>
  <cs:dataLabel>
    <cs:lnRef idx="0"/>
    <cs:fillRef idx="0"/>
    <cs:effectRef idx="0"/>
    <cs:fontRef idx="minor">
      <a:schemeClr val="tx1">
        <a:lumMod val="65000"/>
        <a:lumOff val="35000"/>
      </a:schemeClr>
    </cs:fontRef>
    <cs:defRPr sz="85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3175">
        <a:solidFill>
          <a:schemeClr val="bg1"/>
        </a:solidFill>
      </a:ln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9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/>
  </cs:seriesAxis>
  <cs:seriesLine>
    <cs:lnRef idx="0"/>
    <cs:fillRef idx="0"/>
    <cs:effectRef idx="0"/>
    <cs:fontRef idx="minor">
      <a:schemeClr val="tx1"/>
    </cs:fontRef>
    <cs:spPr>
      <a:ln w="9525" cap="flat">
        <a:solidFill>
          <a:srgbClr val="D9D9D9"/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/>
  </cs:valueAxis>
  <cs:wall>
    <cs:lnRef idx="0"/>
    <cs:fillRef idx="0"/>
    <cs:effectRef idx="0"/>
    <cs:fontRef idx="minor">
      <a:schemeClr val="tx1"/>
    </cs:fontRef>
  </cs:wall>
</cs:chartStyle>
</file>

<file path=ppt/charts/style4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410">
  <cs:axisTitle>
    <cs:lnRef idx="0"/>
    <cs:fillRef idx="0"/>
    <cs:effectRef idx="0"/>
    <cs:fontRef idx="minor">
      <a:schemeClr val="tx1">
        <a:lumMod val="65000"/>
        <a:lumOff val="35000"/>
      </a:schemeClr>
    </cs:fontRef>
    <cs:spPr>
      <a:solidFill>
        <a:schemeClr val="bg1">
          <a:lumMod val="65000"/>
        </a:schemeClr>
      </a:solidFill>
      <a:ln w="19050">
        <a:solidFill>
          <a:schemeClr val="bg1"/>
        </a:solidFill>
      </a:ln>
    </cs:spPr>
    <cs:defRPr sz="9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/>
  </cs:chartArea>
  <cs:dataLabel>
    <cs:lnRef idx="0"/>
    <cs:fillRef idx="0"/>
    <cs:effectRef idx="0"/>
    <cs:fontRef idx="minor">
      <a:schemeClr val="lt1"/>
    </cs:fontRef>
    <cs:defRPr sz="9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19050">
        <a:solidFill>
          <a:schemeClr val="lt1"/>
        </a:solidFill>
      </a:ln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9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/>
  </cs:seriesAxis>
  <cs:seriesLine>
    <cs:lnRef idx="0"/>
    <cs:fillRef idx="0"/>
    <cs:effectRef idx="0"/>
    <cs:fontRef idx="minor">
      <a:schemeClr val="tx1"/>
    </cs:fontRef>
    <cs:spPr>
      <a:ln w="9525" cap="flat">
        <a:solidFill>
          <a:srgbClr val="D9D9D9"/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/>
  </cs:valueAxis>
  <cs:wall>
    <cs:lnRef idx="0"/>
    <cs:fillRef idx="0"/>
    <cs:effectRef idx="0"/>
    <cs:fontRef idx="minor">
      <a:schemeClr val="tx1"/>
    </cs:fontRef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ntestazion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4271963" cy="3413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3" name="Segnaposto data 2"/>
          <p:cNvSpPr>
            <a:spLocks noGrp="1"/>
          </p:cNvSpPr>
          <p:nvPr>
            <p:ph type="dt" idx="1"/>
          </p:nvPr>
        </p:nvSpPr>
        <p:spPr>
          <a:xfrm>
            <a:off x="5584825" y="0"/>
            <a:ext cx="4273550" cy="3413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E6DDC11-D19E-4A63-8639-07DEC9B6009B}" type="datetimeFigureOut">
              <a:rPr lang="it-IT" smtClean="0"/>
              <a:t>19/07/2022</a:t>
            </a:fld>
            <a:endParaRPr lang="it-IT"/>
          </a:p>
        </p:txBody>
      </p:sp>
      <p:sp>
        <p:nvSpPr>
          <p:cNvPr id="4" name="Segnaposto immagin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2890838" y="849313"/>
            <a:ext cx="4078287" cy="229393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it-IT"/>
          </a:p>
        </p:txBody>
      </p:sp>
      <p:sp>
        <p:nvSpPr>
          <p:cNvPr id="5" name="Segnaposto note 4"/>
          <p:cNvSpPr>
            <a:spLocks noGrp="1"/>
          </p:cNvSpPr>
          <p:nvPr>
            <p:ph type="body" sz="quarter" idx="3"/>
          </p:nvPr>
        </p:nvSpPr>
        <p:spPr>
          <a:xfrm>
            <a:off x="985838" y="3271838"/>
            <a:ext cx="7888287" cy="267652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6" name="Segnaposto piè di pagina 5"/>
          <p:cNvSpPr>
            <a:spLocks noGrp="1"/>
          </p:cNvSpPr>
          <p:nvPr>
            <p:ph type="ftr" sz="quarter" idx="4"/>
          </p:nvPr>
        </p:nvSpPr>
        <p:spPr>
          <a:xfrm>
            <a:off x="0" y="6456363"/>
            <a:ext cx="4271963" cy="34131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7" name="Segnaposto numero diapositiva 6"/>
          <p:cNvSpPr>
            <a:spLocks noGrp="1"/>
          </p:cNvSpPr>
          <p:nvPr>
            <p:ph type="sldNum" sz="quarter" idx="5"/>
          </p:nvPr>
        </p:nvSpPr>
        <p:spPr>
          <a:xfrm>
            <a:off x="5584825" y="6456363"/>
            <a:ext cx="4273550" cy="34131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E36908F-41A7-4F58-92FD-9C087D446104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18200929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E36908F-41A7-4F58-92FD-9C087D446104}" type="slidenum">
              <a:rPr lang="it-IT" smtClean="0"/>
              <a:t>9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04055545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E36908F-41A7-4F58-92FD-9C087D446104}" type="slidenum">
              <a:rPr lang="it-IT" smtClean="0"/>
              <a:t>10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62229552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5.png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5.png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5.png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5.png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png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914400" y="2125980"/>
            <a:ext cx="10363200" cy="14401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828800" y="3840480"/>
            <a:ext cx="8534400" cy="17145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>
              <a:defRPr sz="1200" b="0" i="0">
                <a:solidFill>
                  <a:schemeClr val="bg1"/>
                </a:solidFill>
                <a:latin typeface="Trebuchet MS"/>
                <a:cs typeface="Trebuchet MS"/>
              </a:defRPr>
            </a:lvl1pPr>
          </a:lstStyle>
          <a:p>
            <a:pPr marL="12700">
              <a:lnSpc>
                <a:spcPct val="100000"/>
              </a:lnSpc>
              <a:spcBef>
                <a:spcPts val="25"/>
              </a:spcBef>
            </a:pPr>
            <a:r>
              <a:rPr lang="it-IT"/>
              <a:t>Istituto per il Credito Sportivo Banca Sociale per lo Sport e la Cultura</a:t>
            </a:r>
            <a:endParaRPr spc="-15" dirty="0"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3D47C7B-D2A5-4880-BAA3-A4C467EB3D71}" type="datetime1">
              <a:rPr lang="en-US" smtClean="0"/>
              <a:t>7/19/2022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1200" b="0" i="0">
                <a:solidFill>
                  <a:schemeClr val="bg1"/>
                </a:solidFill>
                <a:latin typeface="Trebuchet MS"/>
                <a:cs typeface="Trebuchet MS"/>
              </a:defRPr>
            </a:lvl1pPr>
          </a:lstStyle>
          <a:p>
            <a:pPr marL="116839">
              <a:lnSpc>
                <a:spcPct val="100000"/>
              </a:lnSpc>
              <a:spcBef>
                <a:spcPts val="385"/>
              </a:spcBef>
            </a:pPr>
            <a:fld id="{81D60167-4931-47E6-BA6A-407CBD079E47}" type="slidenum">
              <a:rPr dirty="0"/>
              <a:t>‹N›</a:t>
            </a:fld>
            <a:endParaRPr dirty="0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to del documen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 hasCustomPrompt="1"/>
          </p:nvPr>
        </p:nvSpPr>
        <p:spPr>
          <a:xfrm>
            <a:off x="838200" y="236415"/>
            <a:ext cx="10515600" cy="484881"/>
          </a:xfrm>
        </p:spPr>
        <p:txBody>
          <a:bodyPr>
            <a:normAutofit/>
          </a:bodyPr>
          <a:lstStyle>
            <a:lvl1pPr algn="l">
              <a:defRPr sz="2200" b="1">
                <a:solidFill>
                  <a:schemeClr val="bg1"/>
                </a:solidFill>
              </a:defRPr>
            </a:lvl1pPr>
          </a:lstStyle>
          <a:p>
            <a:r>
              <a:rPr lang="it-IT" dirty="0"/>
              <a:t>Contenuto del documento</a:t>
            </a:r>
          </a:p>
        </p:txBody>
      </p:sp>
      <p:sp>
        <p:nvSpPr>
          <p:cNvPr id="9" name="Segnaposto numero diapositiva 4">
            <a:extLst>
              <a:ext uri="{FF2B5EF4-FFF2-40B4-BE49-F238E27FC236}">
                <a16:creationId xmlns:a16="http://schemas.microsoft.com/office/drawing/2014/main" id="{EA5FA132-35A6-4E85-96A9-49717F3CB39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581900" y="6360319"/>
            <a:ext cx="2743200" cy="365125"/>
          </a:xfrm>
          <a:prstGeom prst="rect">
            <a:avLst/>
          </a:prstGeom>
        </p:spPr>
        <p:txBody>
          <a:bodyPr/>
          <a:lstStyle>
            <a:lvl1pPr algn="r">
              <a:defRPr sz="1200"/>
            </a:lvl1pPr>
          </a:lstStyle>
          <a:p>
            <a:fld id="{9501BE4A-6F75-0549-8D25-E25EBB4B1677}" type="slidenum">
              <a:rPr lang="it-IT" smtClean="0">
                <a:solidFill>
                  <a:schemeClr val="bg1"/>
                </a:solidFill>
              </a:rPr>
              <a:pPr/>
              <a:t>‹N›</a:t>
            </a:fld>
            <a:endParaRPr lang="it-IT" sz="1200" dirty="0">
              <a:solidFill>
                <a:schemeClr val="bg1"/>
              </a:solidFill>
            </a:endParaRPr>
          </a:p>
        </p:txBody>
      </p:sp>
      <p:sp>
        <p:nvSpPr>
          <p:cNvPr id="11" name="Segnaposto piè di pagina 4">
            <a:extLst>
              <a:ext uri="{FF2B5EF4-FFF2-40B4-BE49-F238E27FC236}">
                <a16:creationId xmlns:a16="http://schemas.microsoft.com/office/drawing/2014/main" id="{35256FB3-ADEF-4701-86D6-1AB30F9A6D4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467100" y="6360319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bg1"/>
                </a:solidFill>
              </a:defRPr>
            </a:lvl1pPr>
          </a:lstStyle>
          <a:p>
            <a:r>
              <a:rPr lang="it-IT"/>
              <a:t>Istituto per il Credito Sportivo Banca Sociale per lo Sport e la Cultura</a:t>
            </a:r>
            <a:endParaRPr lang="it-IT" dirty="0">
              <a:solidFill>
                <a:schemeClr val="bg1"/>
              </a:solidFill>
            </a:endParaRPr>
          </a:p>
        </p:txBody>
      </p:sp>
      <p:sp>
        <p:nvSpPr>
          <p:cNvPr id="12" name="Rettangolo 11">
            <a:extLst>
              <a:ext uri="{FF2B5EF4-FFF2-40B4-BE49-F238E27FC236}">
                <a16:creationId xmlns:a16="http://schemas.microsoft.com/office/drawing/2014/main" id="{0B935F54-C9AD-4C0C-ADB1-FD5780F91331}"/>
              </a:ext>
            </a:extLst>
          </p:cNvPr>
          <p:cNvSpPr/>
          <p:nvPr userDrawn="1"/>
        </p:nvSpPr>
        <p:spPr>
          <a:xfrm>
            <a:off x="1056926" y="1506772"/>
            <a:ext cx="9478069" cy="435609"/>
          </a:xfrm>
          <a:prstGeom prst="rect">
            <a:avLst/>
          </a:prstGeom>
          <a:solidFill>
            <a:srgbClr val="5E727B"/>
          </a:solidFill>
          <a:ln>
            <a:solidFill>
              <a:srgbClr val="53687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>
              <a:solidFill>
                <a:schemeClr val="bg1"/>
              </a:solidFill>
            </a:endParaRPr>
          </a:p>
        </p:txBody>
      </p:sp>
      <p:sp>
        <p:nvSpPr>
          <p:cNvPr id="16" name="Segnaposto testo 15">
            <a:extLst>
              <a:ext uri="{FF2B5EF4-FFF2-40B4-BE49-F238E27FC236}">
                <a16:creationId xmlns:a16="http://schemas.microsoft.com/office/drawing/2014/main" id="{7F717753-CE5C-465D-A3BE-6E33BC99784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158875" y="1601788"/>
            <a:ext cx="9166225" cy="341312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18" name="Segnaposto testo 17">
            <a:extLst>
              <a:ext uri="{FF2B5EF4-FFF2-40B4-BE49-F238E27FC236}">
                <a16:creationId xmlns:a16="http://schemas.microsoft.com/office/drawing/2014/main" id="{C3FCFF63-3DC3-4C49-AA74-4E440D71349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158875" y="2042970"/>
            <a:ext cx="5153025" cy="1457325"/>
          </a:xfrm>
        </p:spPr>
        <p:txBody>
          <a:bodyPr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227606075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ecce e tes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838200" y="247498"/>
            <a:ext cx="10515600" cy="484881"/>
          </a:xfrm>
        </p:spPr>
        <p:txBody>
          <a:bodyPr>
            <a:normAutofit/>
          </a:bodyPr>
          <a:lstStyle>
            <a:lvl1pPr algn="l">
              <a:defRPr sz="2200" b="1">
                <a:solidFill>
                  <a:schemeClr val="bg1"/>
                </a:solidFill>
              </a:defRPr>
            </a:lvl1pPr>
          </a:lstStyle>
          <a:p>
            <a:r>
              <a:rPr lang="it-IT"/>
              <a:t>Fare clic per modificare lo stile del titolo dello schema</a:t>
            </a:r>
            <a:endParaRPr lang="it-IT" dirty="0"/>
          </a:p>
        </p:txBody>
      </p:sp>
      <p:sp>
        <p:nvSpPr>
          <p:cNvPr id="9" name="Segnaposto numero diapositiva 4">
            <a:extLst>
              <a:ext uri="{FF2B5EF4-FFF2-40B4-BE49-F238E27FC236}">
                <a16:creationId xmlns:a16="http://schemas.microsoft.com/office/drawing/2014/main" id="{EA5FA132-35A6-4E85-96A9-49717F3CB39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581900" y="6360319"/>
            <a:ext cx="2743200" cy="365125"/>
          </a:xfrm>
          <a:prstGeom prst="rect">
            <a:avLst/>
          </a:prstGeom>
        </p:spPr>
        <p:txBody>
          <a:bodyPr/>
          <a:lstStyle>
            <a:lvl1pPr algn="r">
              <a:defRPr sz="1200"/>
            </a:lvl1pPr>
          </a:lstStyle>
          <a:p>
            <a:fld id="{9501BE4A-6F75-0549-8D25-E25EBB4B1677}" type="slidenum">
              <a:rPr lang="it-IT" smtClean="0">
                <a:solidFill>
                  <a:schemeClr val="bg1"/>
                </a:solidFill>
              </a:rPr>
              <a:pPr/>
              <a:t>‹N›</a:t>
            </a:fld>
            <a:endParaRPr lang="it-IT" sz="1200" dirty="0">
              <a:solidFill>
                <a:schemeClr val="bg1"/>
              </a:solidFill>
            </a:endParaRPr>
          </a:p>
        </p:txBody>
      </p:sp>
      <p:sp>
        <p:nvSpPr>
          <p:cNvPr id="10" name="Segnaposto testo 2">
            <a:extLst>
              <a:ext uri="{FF2B5EF4-FFF2-40B4-BE49-F238E27FC236}">
                <a16:creationId xmlns:a16="http://schemas.microsoft.com/office/drawing/2014/main" id="{F35D58D9-94CF-4EB2-AE0A-74B02B019C71}"/>
              </a:ext>
            </a:extLst>
          </p:cNvPr>
          <p:cNvSpPr>
            <a:spLocks noGrp="1"/>
          </p:cNvSpPr>
          <p:nvPr>
            <p:ph type="body" idx="11" hasCustomPrompt="1"/>
          </p:nvPr>
        </p:nvSpPr>
        <p:spPr>
          <a:xfrm>
            <a:off x="838200" y="803697"/>
            <a:ext cx="10515600" cy="376606"/>
          </a:xfrm>
        </p:spPr>
        <p:txBody>
          <a:bodyPr>
            <a:normAutofit/>
          </a:bodyPr>
          <a:lstStyle>
            <a:lvl1pPr marL="0" indent="0" algn="l">
              <a:buNone/>
              <a:defRPr sz="1800">
                <a:solidFill>
                  <a:srgbClr val="5C707B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it-IT" dirty="0"/>
              <a:t>Sottotitolo</a:t>
            </a:r>
          </a:p>
        </p:txBody>
      </p:sp>
      <p:sp>
        <p:nvSpPr>
          <p:cNvPr id="11" name="Segnaposto piè di pagina 4">
            <a:extLst>
              <a:ext uri="{FF2B5EF4-FFF2-40B4-BE49-F238E27FC236}">
                <a16:creationId xmlns:a16="http://schemas.microsoft.com/office/drawing/2014/main" id="{35256FB3-ADEF-4701-86D6-1AB30F9A6D4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467100" y="6360319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bg1"/>
                </a:solidFill>
              </a:defRPr>
            </a:lvl1pPr>
          </a:lstStyle>
          <a:p>
            <a:r>
              <a:rPr lang="it-IT"/>
              <a:t>Istituto per il Credito Sportivo Banca Sociale per lo Sport e la Cultura</a:t>
            </a:r>
            <a:endParaRPr lang="it-IT" dirty="0">
              <a:solidFill>
                <a:schemeClr val="bg1"/>
              </a:solidFill>
            </a:endParaRPr>
          </a:p>
        </p:txBody>
      </p:sp>
      <p:sp>
        <p:nvSpPr>
          <p:cNvPr id="7" name="Segnaposto testo 6">
            <a:extLst>
              <a:ext uri="{FF2B5EF4-FFF2-40B4-BE49-F238E27FC236}">
                <a16:creationId xmlns:a16="http://schemas.microsoft.com/office/drawing/2014/main" id="{08B240D5-5D10-4180-A262-78835B6DA63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81205" y="5563657"/>
            <a:ext cx="5658139" cy="582612"/>
          </a:xfrm>
        </p:spPr>
        <p:txBody>
          <a:bodyPr>
            <a:normAutofit/>
          </a:bodyPr>
          <a:lstStyle>
            <a:lvl1pPr>
              <a:spcBef>
                <a:spcPts val="500"/>
              </a:spcBef>
              <a:buFont typeface="+mj-lt"/>
              <a:buAutoNum type="arabicPeriod"/>
              <a:defRPr sz="1000"/>
            </a:lvl1pPr>
          </a:lstStyle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</p:txBody>
      </p:sp>
      <p:cxnSp>
        <p:nvCxnSpPr>
          <p:cNvPr id="14" name="Connettore diritto 13">
            <a:extLst>
              <a:ext uri="{FF2B5EF4-FFF2-40B4-BE49-F238E27FC236}">
                <a16:creationId xmlns:a16="http://schemas.microsoft.com/office/drawing/2014/main" id="{D23DA227-56B9-4DB4-9934-65C43F75C16F}"/>
              </a:ext>
            </a:extLst>
          </p:cNvPr>
          <p:cNvCxnSpPr>
            <a:cxnSpLocks/>
          </p:cNvCxnSpPr>
          <p:nvPr userDrawn="1"/>
        </p:nvCxnSpPr>
        <p:spPr>
          <a:xfrm flipV="1">
            <a:off x="925005" y="1976867"/>
            <a:ext cx="2245990" cy="12702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Connettore diritto 14">
            <a:extLst>
              <a:ext uri="{FF2B5EF4-FFF2-40B4-BE49-F238E27FC236}">
                <a16:creationId xmlns:a16="http://schemas.microsoft.com/office/drawing/2014/main" id="{399B51A4-BE4A-476E-AD3A-D0175056AFFE}"/>
              </a:ext>
            </a:extLst>
          </p:cNvPr>
          <p:cNvCxnSpPr>
            <a:cxnSpLocks/>
          </p:cNvCxnSpPr>
          <p:nvPr userDrawn="1"/>
        </p:nvCxnSpPr>
        <p:spPr>
          <a:xfrm flipV="1">
            <a:off x="3300366" y="1947972"/>
            <a:ext cx="3440162" cy="28895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Connettore diritto 15">
            <a:extLst>
              <a:ext uri="{FF2B5EF4-FFF2-40B4-BE49-F238E27FC236}">
                <a16:creationId xmlns:a16="http://schemas.microsoft.com/office/drawing/2014/main" id="{566D19FC-B536-410C-B0AF-567878F6834F}"/>
              </a:ext>
            </a:extLst>
          </p:cNvPr>
          <p:cNvCxnSpPr>
            <a:cxnSpLocks/>
          </p:cNvCxnSpPr>
          <p:nvPr userDrawn="1"/>
        </p:nvCxnSpPr>
        <p:spPr>
          <a:xfrm flipV="1">
            <a:off x="6872258" y="1917276"/>
            <a:ext cx="5212109" cy="30696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Segnaposto testo 4">
            <a:extLst>
              <a:ext uri="{FF2B5EF4-FFF2-40B4-BE49-F238E27FC236}">
                <a16:creationId xmlns:a16="http://schemas.microsoft.com/office/drawing/2014/main" id="{239CC0B9-5AEA-426C-B38D-EDF1AF00064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42705" y="1559557"/>
            <a:ext cx="2160713" cy="373067"/>
          </a:xfrm>
        </p:spPr>
        <p:txBody>
          <a:bodyPr/>
          <a:lstStyle>
            <a:lvl1pPr>
              <a:buNone/>
              <a:defRPr b="1"/>
            </a:lvl1pPr>
          </a:lstStyle>
          <a:p>
            <a:pPr lvl="0"/>
            <a:r>
              <a:rPr lang="it-IT" dirty="0" err="1"/>
              <a:t>Xxxxxx</a:t>
            </a:r>
            <a:endParaRPr lang="it-IT" dirty="0"/>
          </a:p>
        </p:txBody>
      </p:sp>
      <p:sp>
        <p:nvSpPr>
          <p:cNvPr id="17" name="Segnaposto testo 4">
            <a:extLst>
              <a:ext uri="{FF2B5EF4-FFF2-40B4-BE49-F238E27FC236}">
                <a16:creationId xmlns:a16="http://schemas.microsoft.com/office/drawing/2014/main" id="{47FFCDC8-06A2-4962-AFD3-F2CFE075BF4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300366" y="1547388"/>
            <a:ext cx="2160713" cy="373067"/>
          </a:xfrm>
        </p:spPr>
        <p:txBody>
          <a:bodyPr/>
          <a:lstStyle>
            <a:lvl1pPr>
              <a:buNone/>
              <a:defRPr b="1"/>
            </a:lvl1pPr>
          </a:lstStyle>
          <a:p>
            <a:pPr lvl="0"/>
            <a:r>
              <a:rPr lang="it-IT" dirty="0" err="1"/>
              <a:t>Xxxxxx</a:t>
            </a:r>
            <a:endParaRPr lang="it-IT" dirty="0"/>
          </a:p>
        </p:txBody>
      </p:sp>
      <p:sp>
        <p:nvSpPr>
          <p:cNvPr id="18" name="Segnaposto testo 4">
            <a:extLst>
              <a:ext uri="{FF2B5EF4-FFF2-40B4-BE49-F238E27FC236}">
                <a16:creationId xmlns:a16="http://schemas.microsoft.com/office/drawing/2014/main" id="{F7EE97E5-B72F-4F4D-B830-7DCFDB5BEF8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872258" y="1544209"/>
            <a:ext cx="2160713" cy="373067"/>
          </a:xfrm>
        </p:spPr>
        <p:txBody>
          <a:bodyPr/>
          <a:lstStyle>
            <a:lvl1pPr>
              <a:buNone/>
              <a:defRPr b="1"/>
            </a:lvl1pPr>
          </a:lstStyle>
          <a:p>
            <a:pPr lvl="0"/>
            <a:r>
              <a:rPr lang="it-IT" dirty="0" err="1"/>
              <a:t>Xxxxxx</a:t>
            </a:r>
            <a:endParaRPr lang="it-IT" dirty="0"/>
          </a:p>
        </p:txBody>
      </p:sp>
      <p:sp>
        <p:nvSpPr>
          <p:cNvPr id="6" name="Freccia a pentagono 5">
            <a:extLst>
              <a:ext uri="{FF2B5EF4-FFF2-40B4-BE49-F238E27FC236}">
                <a16:creationId xmlns:a16="http://schemas.microsoft.com/office/drawing/2014/main" id="{4F55F310-F669-44AA-8A42-A006CC5E88D1}"/>
              </a:ext>
            </a:extLst>
          </p:cNvPr>
          <p:cNvSpPr/>
          <p:nvPr userDrawn="1"/>
        </p:nvSpPr>
        <p:spPr>
          <a:xfrm>
            <a:off x="933854" y="2240844"/>
            <a:ext cx="2178413" cy="1199241"/>
          </a:xfrm>
          <a:prstGeom prst="homePlate">
            <a:avLst>
              <a:gd name="adj" fmla="val 15042"/>
            </a:avLst>
          </a:prstGeom>
          <a:solidFill>
            <a:srgbClr val="5E727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endParaRPr lang="it-IT" sz="1400" dirty="0">
              <a:solidFill>
                <a:schemeClr val="bg1"/>
              </a:solidFill>
              <a:latin typeface="Trebuchet MS" panose="020B0703020202090204" pitchFamily="34" charset="0"/>
            </a:endParaRPr>
          </a:p>
        </p:txBody>
      </p:sp>
      <p:sp>
        <p:nvSpPr>
          <p:cNvPr id="21" name="Segnaposto testo 20">
            <a:extLst>
              <a:ext uri="{FF2B5EF4-FFF2-40B4-BE49-F238E27FC236}">
                <a16:creationId xmlns:a16="http://schemas.microsoft.com/office/drawing/2014/main" id="{4FC57061-8DBA-4AF9-8454-2A3D52180C4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300413" y="2230438"/>
            <a:ext cx="3440112" cy="1111250"/>
          </a:xfrm>
        </p:spPr>
        <p:txBody>
          <a:bodyPr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22" name="Segnaposto testo 20">
            <a:extLst>
              <a:ext uri="{FF2B5EF4-FFF2-40B4-BE49-F238E27FC236}">
                <a16:creationId xmlns:a16="http://schemas.microsoft.com/office/drawing/2014/main" id="{925CEE6C-26E5-4BFD-B9D8-09003E2C7C90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872258" y="2162022"/>
            <a:ext cx="3440112" cy="1111250"/>
          </a:xfrm>
        </p:spPr>
        <p:txBody>
          <a:bodyPr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23" name="Freccia a pentagono 22">
            <a:extLst>
              <a:ext uri="{FF2B5EF4-FFF2-40B4-BE49-F238E27FC236}">
                <a16:creationId xmlns:a16="http://schemas.microsoft.com/office/drawing/2014/main" id="{045393A7-25F5-4C39-9079-4E78D9E8A437}"/>
              </a:ext>
            </a:extLst>
          </p:cNvPr>
          <p:cNvSpPr/>
          <p:nvPr userDrawn="1"/>
        </p:nvSpPr>
        <p:spPr>
          <a:xfrm>
            <a:off x="925005" y="3800816"/>
            <a:ext cx="2178413" cy="1199241"/>
          </a:xfrm>
          <a:prstGeom prst="homePlate">
            <a:avLst>
              <a:gd name="adj" fmla="val 15042"/>
            </a:avLst>
          </a:prstGeom>
          <a:solidFill>
            <a:srgbClr val="5E727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endParaRPr lang="it-IT" sz="1400" dirty="0">
              <a:solidFill>
                <a:schemeClr val="bg1"/>
              </a:solidFill>
              <a:latin typeface="Trebuchet MS" panose="020B0703020202090204" pitchFamily="34" charset="0"/>
            </a:endParaRPr>
          </a:p>
        </p:txBody>
      </p:sp>
      <p:sp>
        <p:nvSpPr>
          <p:cNvPr id="24" name="Segnaposto testo 20">
            <a:extLst>
              <a:ext uri="{FF2B5EF4-FFF2-40B4-BE49-F238E27FC236}">
                <a16:creationId xmlns:a16="http://schemas.microsoft.com/office/drawing/2014/main" id="{7D99977D-010F-4A4B-AD97-2B996A504EDA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300413" y="3801495"/>
            <a:ext cx="3440112" cy="1111250"/>
          </a:xfrm>
        </p:spPr>
        <p:txBody>
          <a:bodyPr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25" name="Segnaposto testo 20">
            <a:extLst>
              <a:ext uri="{FF2B5EF4-FFF2-40B4-BE49-F238E27FC236}">
                <a16:creationId xmlns:a16="http://schemas.microsoft.com/office/drawing/2014/main" id="{2ED50C9F-A8A7-4899-B9A2-803DD30ED1C8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872258" y="3733079"/>
            <a:ext cx="3440112" cy="1111250"/>
          </a:xfrm>
        </p:spPr>
        <p:txBody>
          <a:bodyPr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27" name="Segnaposto testo 26">
            <a:extLst>
              <a:ext uri="{FF2B5EF4-FFF2-40B4-BE49-F238E27FC236}">
                <a16:creationId xmlns:a16="http://schemas.microsoft.com/office/drawing/2014/main" id="{AD1F6205-C65D-4211-BB71-6B1354772E69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1130300" y="2520950"/>
            <a:ext cx="1552575" cy="493713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28" name="Segnaposto testo 26">
            <a:extLst>
              <a:ext uri="{FF2B5EF4-FFF2-40B4-BE49-F238E27FC236}">
                <a16:creationId xmlns:a16="http://schemas.microsoft.com/office/drawing/2014/main" id="{560A7628-9427-44A1-8CA9-82B2A00693E9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1130299" y="4041847"/>
            <a:ext cx="1552575" cy="493713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</p:spTree>
    <p:extLst>
      <p:ext uri="{BB962C8B-B14F-4D97-AF65-F5344CB8AC3E}">
        <p14:creationId xmlns:p14="http://schemas.microsoft.com/office/powerpoint/2010/main" val="354474954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SSIMI PASS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ttangolo con angoli arrotondati 2">
            <a:extLst>
              <a:ext uri="{FF2B5EF4-FFF2-40B4-BE49-F238E27FC236}">
                <a16:creationId xmlns:a16="http://schemas.microsoft.com/office/drawing/2014/main" id="{ACC0ACF9-2CD3-4A46-8F07-8ADA5641DD38}"/>
              </a:ext>
            </a:extLst>
          </p:cNvPr>
          <p:cNvSpPr/>
          <p:nvPr userDrawn="1"/>
        </p:nvSpPr>
        <p:spPr>
          <a:xfrm>
            <a:off x="709352" y="1052946"/>
            <a:ext cx="10773295" cy="4131425"/>
          </a:xfrm>
          <a:prstGeom prst="roundRect">
            <a:avLst>
              <a:gd name="adj" fmla="val 4520"/>
            </a:avLst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b="1" dirty="0"/>
          </a:p>
        </p:txBody>
      </p:sp>
      <p:sp>
        <p:nvSpPr>
          <p:cNvPr id="2" name="Titolo 1"/>
          <p:cNvSpPr>
            <a:spLocks noGrp="1"/>
          </p:cNvSpPr>
          <p:nvPr>
            <p:ph type="title" hasCustomPrompt="1"/>
          </p:nvPr>
        </p:nvSpPr>
        <p:spPr>
          <a:xfrm>
            <a:off x="838200" y="247498"/>
            <a:ext cx="10515600" cy="484881"/>
          </a:xfrm>
        </p:spPr>
        <p:txBody>
          <a:bodyPr>
            <a:normAutofit/>
          </a:bodyPr>
          <a:lstStyle>
            <a:lvl1pPr algn="l">
              <a:defRPr sz="2200" b="1">
                <a:solidFill>
                  <a:schemeClr val="bg1"/>
                </a:solidFill>
              </a:defRPr>
            </a:lvl1pPr>
          </a:lstStyle>
          <a:p>
            <a:r>
              <a:rPr lang="it-IT" dirty="0"/>
              <a:t>Prossimi passi</a:t>
            </a:r>
          </a:p>
        </p:txBody>
      </p:sp>
      <p:sp>
        <p:nvSpPr>
          <p:cNvPr id="9" name="Segnaposto numero diapositiva 4">
            <a:extLst>
              <a:ext uri="{FF2B5EF4-FFF2-40B4-BE49-F238E27FC236}">
                <a16:creationId xmlns:a16="http://schemas.microsoft.com/office/drawing/2014/main" id="{EA5FA132-35A6-4E85-96A9-49717F3CB39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581900" y="6360319"/>
            <a:ext cx="2743200" cy="365125"/>
          </a:xfrm>
          <a:prstGeom prst="rect">
            <a:avLst/>
          </a:prstGeom>
        </p:spPr>
        <p:txBody>
          <a:bodyPr/>
          <a:lstStyle>
            <a:lvl1pPr algn="r">
              <a:defRPr sz="1200"/>
            </a:lvl1pPr>
          </a:lstStyle>
          <a:p>
            <a:fld id="{9501BE4A-6F75-0549-8D25-E25EBB4B1677}" type="slidenum">
              <a:rPr lang="it-IT" smtClean="0">
                <a:solidFill>
                  <a:schemeClr val="bg1"/>
                </a:solidFill>
              </a:rPr>
              <a:pPr/>
              <a:t>‹N›</a:t>
            </a:fld>
            <a:endParaRPr lang="it-IT" sz="1200" dirty="0">
              <a:solidFill>
                <a:schemeClr val="bg1"/>
              </a:solidFill>
            </a:endParaRPr>
          </a:p>
        </p:txBody>
      </p:sp>
      <p:sp>
        <p:nvSpPr>
          <p:cNvPr id="11" name="Segnaposto piè di pagina 4">
            <a:extLst>
              <a:ext uri="{FF2B5EF4-FFF2-40B4-BE49-F238E27FC236}">
                <a16:creationId xmlns:a16="http://schemas.microsoft.com/office/drawing/2014/main" id="{35256FB3-ADEF-4701-86D6-1AB30F9A6D4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467100" y="6360319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bg1"/>
                </a:solidFill>
              </a:defRPr>
            </a:lvl1pPr>
          </a:lstStyle>
          <a:p>
            <a:r>
              <a:rPr lang="it-IT"/>
              <a:t>Istituto per il Credito Sportivo Banca Sociale per lo Sport e la Cultura</a:t>
            </a:r>
            <a:endParaRPr lang="it-IT" dirty="0">
              <a:solidFill>
                <a:schemeClr val="bg1"/>
              </a:solidFill>
            </a:endParaRPr>
          </a:p>
        </p:txBody>
      </p:sp>
      <p:sp>
        <p:nvSpPr>
          <p:cNvPr id="5" name="Segnaposto testo 4">
            <a:extLst>
              <a:ext uri="{FF2B5EF4-FFF2-40B4-BE49-F238E27FC236}">
                <a16:creationId xmlns:a16="http://schemas.microsoft.com/office/drawing/2014/main" id="{9164D6A8-5FC3-4674-97CC-2E77D9AB8B9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09638" y="1223963"/>
            <a:ext cx="3319462" cy="355600"/>
          </a:xfrm>
        </p:spPr>
        <p:txBody>
          <a:bodyPr/>
          <a:lstStyle>
            <a:lvl1pPr marL="0" indent="0">
              <a:buNone/>
              <a:defRPr b="1"/>
            </a:lvl1pPr>
          </a:lstStyle>
          <a:p>
            <a:pPr lvl="0"/>
            <a:r>
              <a:rPr lang="it-IT" dirty="0"/>
              <a:t>Attività</a:t>
            </a:r>
          </a:p>
        </p:txBody>
      </p:sp>
      <p:sp>
        <p:nvSpPr>
          <p:cNvPr id="12" name="Segnaposto testo 4">
            <a:extLst>
              <a:ext uri="{FF2B5EF4-FFF2-40B4-BE49-F238E27FC236}">
                <a16:creationId xmlns:a16="http://schemas.microsoft.com/office/drawing/2014/main" id="{8A00C443-06FE-4C0B-A0B6-21E71F2AF63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634038" y="1223963"/>
            <a:ext cx="3319462" cy="355600"/>
          </a:xfrm>
        </p:spPr>
        <p:txBody>
          <a:bodyPr/>
          <a:lstStyle>
            <a:lvl1pPr marL="0" indent="0">
              <a:buNone/>
              <a:defRPr b="1"/>
            </a:lvl1pPr>
          </a:lstStyle>
          <a:p>
            <a:pPr lvl="0"/>
            <a:r>
              <a:rPr lang="it-IT" dirty="0"/>
              <a:t>Chi</a:t>
            </a:r>
          </a:p>
        </p:txBody>
      </p:sp>
      <p:sp>
        <p:nvSpPr>
          <p:cNvPr id="16" name="Segnaposto testo 4">
            <a:extLst>
              <a:ext uri="{FF2B5EF4-FFF2-40B4-BE49-F238E27FC236}">
                <a16:creationId xmlns:a16="http://schemas.microsoft.com/office/drawing/2014/main" id="{9207C149-1AC9-4D82-8B03-24AF1D6FAF2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000693" y="1223963"/>
            <a:ext cx="2215947" cy="355600"/>
          </a:xfrm>
        </p:spPr>
        <p:txBody>
          <a:bodyPr/>
          <a:lstStyle>
            <a:lvl1pPr marL="0" indent="0">
              <a:buNone/>
              <a:defRPr b="1"/>
            </a:lvl1pPr>
          </a:lstStyle>
          <a:p>
            <a:pPr lvl="0"/>
            <a:r>
              <a:rPr lang="it-IT" dirty="0"/>
              <a:t>Quando</a:t>
            </a:r>
          </a:p>
        </p:txBody>
      </p:sp>
      <p:cxnSp>
        <p:nvCxnSpPr>
          <p:cNvPr id="8" name="Connettore diritto 7">
            <a:extLst>
              <a:ext uri="{FF2B5EF4-FFF2-40B4-BE49-F238E27FC236}">
                <a16:creationId xmlns:a16="http://schemas.microsoft.com/office/drawing/2014/main" id="{97265B0D-3246-4233-9657-F3D1F62DC63C}"/>
              </a:ext>
            </a:extLst>
          </p:cNvPr>
          <p:cNvCxnSpPr/>
          <p:nvPr userDrawn="1"/>
        </p:nvCxnSpPr>
        <p:spPr>
          <a:xfrm flipV="1">
            <a:off x="838200" y="1673629"/>
            <a:ext cx="10515600" cy="38793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Segnaposto testo 17">
            <a:extLst>
              <a:ext uri="{FF2B5EF4-FFF2-40B4-BE49-F238E27FC236}">
                <a16:creationId xmlns:a16="http://schemas.microsoft.com/office/drawing/2014/main" id="{FCEFA0AA-8915-4129-B5E8-FD5016F51A9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909638" y="1911350"/>
            <a:ext cx="4238625" cy="2566988"/>
          </a:xfrm>
        </p:spPr>
        <p:txBody>
          <a:bodyPr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19" name="Segnaposto testo 17">
            <a:extLst>
              <a:ext uri="{FF2B5EF4-FFF2-40B4-BE49-F238E27FC236}">
                <a16:creationId xmlns:a16="http://schemas.microsoft.com/office/drawing/2014/main" id="{E6249EEE-A711-45A8-8FE6-7077F518E50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634039" y="1911350"/>
            <a:ext cx="3319462" cy="2566988"/>
          </a:xfrm>
        </p:spPr>
        <p:txBody>
          <a:bodyPr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it-IT" dirty="0"/>
          </a:p>
        </p:txBody>
      </p:sp>
      <p:sp>
        <p:nvSpPr>
          <p:cNvPr id="20" name="Segnaposto testo 17">
            <a:extLst>
              <a:ext uri="{FF2B5EF4-FFF2-40B4-BE49-F238E27FC236}">
                <a16:creationId xmlns:a16="http://schemas.microsoft.com/office/drawing/2014/main" id="{A7985701-7A9B-4E6B-83E0-00C7E4AA42C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9023641" y="1900130"/>
            <a:ext cx="2192999" cy="2566988"/>
          </a:xfrm>
        </p:spPr>
        <p:txBody>
          <a:bodyPr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21" name="Segnaposto testo 6">
            <a:extLst>
              <a:ext uri="{FF2B5EF4-FFF2-40B4-BE49-F238E27FC236}">
                <a16:creationId xmlns:a16="http://schemas.microsoft.com/office/drawing/2014/main" id="{FD698E0F-49FD-4AFE-AC97-1FB05A9D409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38200" y="5392391"/>
            <a:ext cx="5658139" cy="582612"/>
          </a:xfrm>
        </p:spPr>
        <p:txBody>
          <a:bodyPr>
            <a:normAutofit/>
          </a:bodyPr>
          <a:lstStyle>
            <a:lvl1pPr>
              <a:spcBef>
                <a:spcPts val="500"/>
              </a:spcBef>
              <a:buFont typeface="+mj-lt"/>
              <a:buAutoNum type="arabicPeriod"/>
              <a:defRPr sz="1000"/>
            </a:lvl1pPr>
          </a:lstStyle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</p:txBody>
      </p:sp>
    </p:spTree>
    <p:extLst>
      <p:ext uri="{BB962C8B-B14F-4D97-AF65-F5344CB8AC3E}">
        <p14:creationId xmlns:p14="http://schemas.microsoft.com/office/powerpoint/2010/main" val="176744265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llega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 hasCustomPrompt="1"/>
          </p:nvPr>
        </p:nvSpPr>
        <p:spPr>
          <a:xfrm>
            <a:off x="743989" y="2896487"/>
            <a:ext cx="10515600" cy="484881"/>
          </a:xfrm>
        </p:spPr>
        <p:txBody>
          <a:bodyPr>
            <a:normAutofit/>
          </a:bodyPr>
          <a:lstStyle>
            <a:lvl1pPr algn="ctr">
              <a:defRPr sz="2200" b="1">
                <a:solidFill>
                  <a:schemeClr val="bg1"/>
                </a:solidFill>
              </a:defRPr>
            </a:lvl1pPr>
          </a:lstStyle>
          <a:p>
            <a:r>
              <a:rPr lang="it-IT" dirty="0"/>
              <a:t>ALLEGATI</a:t>
            </a:r>
          </a:p>
        </p:txBody>
      </p:sp>
      <p:sp>
        <p:nvSpPr>
          <p:cNvPr id="9" name="Segnaposto numero diapositiva 4">
            <a:extLst>
              <a:ext uri="{FF2B5EF4-FFF2-40B4-BE49-F238E27FC236}">
                <a16:creationId xmlns:a16="http://schemas.microsoft.com/office/drawing/2014/main" id="{EA5FA132-35A6-4E85-96A9-49717F3CB39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581900" y="6360319"/>
            <a:ext cx="2743200" cy="365125"/>
          </a:xfrm>
          <a:prstGeom prst="rect">
            <a:avLst/>
          </a:prstGeom>
        </p:spPr>
        <p:txBody>
          <a:bodyPr/>
          <a:lstStyle>
            <a:lvl1pPr algn="r">
              <a:defRPr sz="1200"/>
            </a:lvl1pPr>
          </a:lstStyle>
          <a:p>
            <a:fld id="{9501BE4A-6F75-0549-8D25-E25EBB4B1677}" type="slidenum">
              <a:rPr lang="it-IT" smtClean="0">
                <a:solidFill>
                  <a:schemeClr val="bg1"/>
                </a:solidFill>
              </a:rPr>
              <a:pPr/>
              <a:t>‹N›</a:t>
            </a:fld>
            <a:endParaRPr lang="it-IT" sz="1200" dirty="0">
              <a:solidFill>
                <a:schemeClr val="bg1"/>
              </a:solidFill>
            </a:endParaRPr>
          </a:p>
        </p:txBody>
      </p:sp>
      <p:sp>
        <p:nvSpPr>
          <p:cNvPr id="11" name="Segnaposto piè di pagina 4">
            <a:extLst>
              <a:ext uri="{FF2B5EF4-FFF2-40B4-BE49-F238E27FC236}">
                <a16:creationId xmlns:a16="http://schemas.microsoft.com/office/drawing/2014/main" id="{35256FB3-ADEF-4701-86D6-1AB30F9A6D4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467100" y="6360319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bg1"/>
                </a:solidFill>
              </a:defRPr>
            </a:lvl1pPr>
          </a:lstStyle>
          <a:p>
            <a:r>
              <a:rPr lang="it-IT"/>
              <a:t>Istituto per il Credito Sportivo Banca Sociale per lo Sport e la Cultura</a:t>
            </a:r>
            <a:endParaRPr lang="it-IT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8668818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914400" y="2125980"/>
            <a:ext cx="10363200" cy="14401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828800" y="3840480"/>
            <a:ext cx="8534400" cy="17145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>
              <a:defRPr sz="1200" b="0" i="0">
                <a:solidFill>
                  <a:schemeClr val="bg1"/>
                </a:solidFill>
                <a:latin typeface="Trebuchet MS"/>
                <a:cs typeface="Trebuchet MS"/>
              </a:defRPr>
            </a:lvl1pPr>
          </a:lstStyle>
          <a:p>
            <a:pPr marL="12700">
              <a:lnSpc>
                <a:spcPct val="100000"/>
              </a:lnSpc>
              <a:spcBef>
                <a:spcPts val="25"/>
              </a:spcBef>
            </a:pPr>
            <a:r>
              <a:rPr lang="it-IT" spc="-5"/>
              <a:t>Istituto per il Credito Sportivo Banca Sociale per lo Sport e la Cultura</a:t>
            </a:r>
            <a:endParaRPr spc="-5" dirty="0"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6769125-41D5-4C0B-A225-E32E53E96DB4}" type="datetime1">
              <a:rPr lang="en-US" smtClean="0"/>
              <a:t>7/19/2022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1200" b="0" i="0">
                <a:solidFill>
                  <a:schemeClr val="bg1"/>
                </a:solidFill>
                <a:latin typeface="Trebuchet MS"/>
                <a:cs typeface="Trebuchet MS"/>
              </a:defRPr>
            </a:lvl1pPr>
          </a:lstStyle>
          <a:p>
            <a:pPr marL="38100">
              <a:lnSpc>
                <a:spcPct val="100000"/>
              </a:lnSpc>
              <a:spcBef>
                <a:spcPts val="25"/>
              </a:spcBef>
            </a:pPr>
            <a:fld id="{81D60167-4931-47E6-BA6A-407CBD079E47}" type="slidenum">
              <a:rPr spc="-5" dirty="0"/>
              <a:t>‹N›</a:t>
            </a:fld>
            <a:endParaRPr spc="-5" dirty="0"/>
          </a:p>
        </p:txBody>
      </p:sp>
    </p:spTree>
    <p:extLst>
      <p:ext uri="{BB962C8B-B14F-4D97-AF65-F5344CB8AC3E}">
        <p14:creationId xmlns:p14="http://schemas.microsoft.com/office/powerpoint/2010/main" val="372544849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2200" b="1" i="0">
                <a:solidFill>
                  <a:schemeClr val="bg1"/>
                </a:solidFill>
                <a:latin typeface="Trebuchet MS"/>
                <a:cs typeface="Trebuchet MS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 sz="1000" b="0" i="0">
                <a:solidFill>
                  <a:srgbClr val="5C707B"/>
                </a:solidFill>
                <a:latin typeface="Trebuchet MS"/>
                <a:cs typeface="Trebuchet MS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>
              <a:defRPr sz="1200" b="0" i="0">
                <a:solidFill>
                  <a:schemeClr val="bg1"/>
                </a:solidFill>
                <a:latin typeface="Trebuchet MS"/>
                <a:cs typeface="Trebuchet MS"/>
              </a:defRPr>
            </a:lvl1pPr>
          </a:lstStyle>
          <a:p>
            <a:pPr marL="12700">
              <a:lnSpc>
                <a:spcPct val="100000"/>
              </a:lnSpc>
              <a:spcBef>
                <a:spcPts val="25"/>
              </a:spcBef>
            </a:pPr>
            <a:r>
              <a:rPr lang="it-IT" spc="-5"/>
              <a:t>Istituto per il Credito Sportivo Banca Sociale per lo Sport e la Cultura</a:t>
            </a:r>
            <a:endParaRPr spc="-5" dirty="0"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54D30A3-896D-4593-B51C-3AAF76DB216D}" type="datetime1">
              <a:rPr lang="en-US" smtClean="0"/>
              <a:t>7/19/2022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1200" b="0" i="0">
                <a:solidFill>
                  <a:schemeClr val="bg1"/>
                </a:solidFill>
                <a:latin typeface="Trebuchet MS"/>
                <a:cs typeface="Trebuchet MS"/>
              </a:defRPr>
            </a:lvl1pPr>
          </a:lstStyle>
          <a:p>
            <a:pPr marL="38100">
              <a:lnSpc>
                <a:spcPct val="100000"/>
              </a:lnSpc>
              <a:spcBef>
                <a:spcPts val="25"/>
              </a:spcBef>
            </a:pPr>
            <a:fld id="{81D60167-4931-47E6-BA6A-407CBD079E47}" type="slidenum">
              <a:rPr spc="-5" dirty="0"/>
              <a:t>‹N›</a:t>
            </a:fld>
            <a:endParaRPr spc="-5" dirty="0"/>
          </a:p>
        </p:txBody>
      </p:sp>
    </p:spTree>
    <p:extLst>
      <p:ext uri="{BB962C8B-B14F-4D97-AF65-F5344CB8AC3E}">
        <p14:creationId xmlns:p14="http://schemas.microsoft.com/office/powerpoint/2010/main" val="377129423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2200" b="1" i="0">
                <a:solidFill>
                  <a:schemeClr val="bg1"/>
                </a:solidFill>
                <a:latin typeface="Trebuchet MS"/>
                <a:cs typeface="Trebuchet MS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609600" y="1577340"/>
            <a:ext cx="530352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6278880" y="1577340"/>
            <a:ext cx="530352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>
              <a:defRPr sz="1200" b="0" i="0">
                <a:solidFill>
                  <a:schemeClr val="bg1"/>
                </a:solidFill>
                <a:latin typeface="Trebuchet MS"/>
                <a:cs typeface="Trebuchet MS"/>
              </a:defRPr>
            </a:lvl1pPr>
          </a:lstStyle>
          <a:p>
            <a:pPr marL="12700">
              <a:lnSpc>
                <a:spcPct val="100000"/>
              </a:lnSpc>
              <a:spcBef>
                <a:spcPts val="25"/>
              </a:spcBef>
            </a:pPr>
            <a:r>
              <a:rPr lang="it-IT" spc="-5"/>
              <a:t>Istituto per il Credito Sportivo Banca Sociale per lo Sport e la Cultura</a:t>
            </a:r>
            <a:endParaRPr spc="-5" dirty="0"/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AA67CB0-C2A4-41E1-887F-7CA3CD6543A8}" type="datetime1">
              <a:rPr lang="en-US" smtClean="0"/>
              <a:t>7/19/2022</a:t>
            </a:fld>
            <a:endParaRPr lang="en-US"/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1200" b="0" i="0">
                <a:solidFill>
                  <a:schemeClr val="bg1"/>
                </a:solidFill>
                <a:latin typeface="Trebuchet MS"/>
                <a:cs typeface="Trebuchet MS"/>
              </a:defRPr>
            </a:lvl1pPr>
          </a:lstStyle>
          <a:p>
            <a:pPr marL="38100">
              <a:lnSpc>
                <a:spcPct val="100000"/>
              </a:lnSpc>
              <a:spcBef>
                <a:spcPts val="25"/>
              </a:spcBef>
            </a:pPr>
            <a:fld id="{81D60167-4931-47E6-BA6A-407CBD079E47}" type="slidenum">
              <a:rPr spc="-5" dirty="0"/>
              <a:t>‹N›</a:t>
            </a:fld>
            <a:endParaRPr spc="-5" dirty="0"/>
          </a:p>
        </p:txBody>
      </p:sp>
    </p:spTree>
    <p:extLst>
      <p:ext uri="{BB962C8B-B14F-4D97-AF65-F5344CB8AC3E}">
        <p14:creationId xmlns:p14="http://schemas.microsoft.com/office/powerpoint/2010/main" val="304186013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2200" b="1" i="0">
                <a:solidFill>
                  <a:schemeClr val="bg1"/>
                </a:solidFill>
                <a:latin typeface="Trebuchet MS"/>
                <a:cs typeface="Trebuchet MS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>
              <a:defRPr sz="1200" b="0" i="0">
                <a:solidFill>
                  <a:schemeClr val="bg1"/>
                </a:solidFill>
                <a:latin typeface="Trebuchet MS"/>
                <a:cs typeface="Trebuchet MS"/>
              </a:defRPr>
            </a:lvl1pPr>
          </a:lstStyle>
          <a:p>
            <a:pPr marL="12700">
              <a:lnSpc>
                <a:spcPct val="100000"/>
              </a:lnSpc>
              <a:spcBef>
                <a:spcPts val="25"/>
              </a:spcBef>
            </a:pPr>
            <a:r>
              <a:rPr lang="it-IT" spc="-5"/>
              <a:t>Istituto per il Credito Sportivo Banca Sociale per lo Sport e la Cultura</a:t>
            </a:r>
            <a:endParaRPr spc="-5" dirty="0"/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852C2FD-3EDC-4B7E-AC9A-D680E1BEEA06}" type="datetime1">
              <a:rPr lang="en-US" smtClean="0"/>
              <a:t>7/19/2022</a:t>
            </a:fld>
            <a:endParaRPr lang="en-US"/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1200" b="0" i="0">
                <a:solidFill>
                  <a:schemeClr val="bg1"/>
                </a:solidFill>
                <a:latin typeface="Trebuchet MS"/>
                <a:cs typeface="Trebuchet MS"/>
              </a:defRPr>
            </a:lvl1pPr>
          </a:lstStyle>
          <a:p>
            <a:pPr marL="38100">
              <a:lnSpc>
                <a:spcPct val="100000"/>
              </a:lnSpc>
              <a:spcBef>
                <a:spcPts val="25"/>
              </a:spcBef>
            </a:pPr>
            <a:fld id="{81D60167-4931-47E6-BA6A-407CBD079E47}" type="slidenum">
              <a:rPr spc="-5" dirty="0"/>
              <a:t>‹N›</a:t>
            </a:fld>
            <a:endParaRPr spc="-5" dirty="0"/>
          </a:p>
        </p:txBody>
      </p:sp>
    </p:spTree>
    <p:extLst>
      <p:ext uri="{BB962C8B-B14F-4D97-AF65-F5344CB8AC3E}">
        <p14:creationId xmlns:p14="http://schemas.microsoft.com/office/powerpoint/2010/main" val="136480398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>
              <a:defRPr sz="1200" b="0" i="0">
                <a:solidFill>
                  <a:schemeClr val="bg1"/>
                </a:solidFill>
                <a:latin typeface="Trebuchet MS"/>
                <a:cs typeface="Trebuchet MS"/>
              </a:defRPr>
            </a:lvl1pPr>
          </a:lstStyle>
          <a:p>
            <a:pPr marL="12700">
              <a:lnSpc>
                <a:spcPct val="100000"/>
              </a:lnSpc>
              <a:spcBef>
                <a:spcPts val="25"/>
              </a:spcBef>
            </a:pPr>
            <a:r>
              <a:rPr lang="it-IT" spc="-5"/>
              <a:t>Istituto per il Credito Sportivo Banca Sociale per lo Sport e la Cultura</a:t>
            </a:r>
            <a:endParaRPr spc="-5" dirty="0"/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31E0DC0-99D5-4DC4-BE09-1EB6112E45B1}" type="datetime1">
              <a:rPr lang="en-US" smtClean="0"/>
              <a:t>7/19/2022</a:t>
            </a:fld>
            <a:endParaRPr lang="en-US"/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1200" b="0" i="0">
                <a:solidFill>
                  <a:schemeClr val="bg1"/>
                </a:solidFill>
                <a:latin typeface="Trebuchet MS"/>
                <a:cs typeface="Trebuchet MS"/>
              </a:defRPr>
            </a:lvl1pPr>
          </a:lstStyle>
          <a:p>
            <a:pPr marL="38100">
              <a:lnSpc>
                <a:spcPct val="100000"/>
              </a:lnSpc>
              <a:spcBef>
                <a:spcPts val="25"/>
              </a:spcBef>
            </a:pPr>
            <a:fld id="{81D60167-4931-47E6-BA6A-407CBD079E47}" type="slidenum">
              <a:rPr spc="-5" dirty="0"/>
              <a:t>‹N›</a:t>
            </a:fld>
            <a:endParaRPr spc="-5" dirty="0"/>
          </a:p>
        </p:txBody>
      </p:sp>
    </p:spTree>
    <p:extLst>
      <p:ext uri="{BB962C8B-B14F-4D97-AF65-F5344CB8AC3E}">
        <p14:creationId xmlns:p14="http://schemas.microsoft.com/office/powerpoint/2010/main" val="59431778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ol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838200" y="247498"/>
            <a:ext cx="10515600" cy="484881"/>
          </a:xfrm>
        </p:spPr>
        <p:txBody>
          <a:bodyPr>
            <a:normAutofit/>
          </a:bodyPr>
          <a:lstStyle>
            <a:lvl1pPr algn="l">
              <a:defRPr sz="2200" b="1">
                <a:solidFill>
                  <a:schemeClr val="bg1"/>
                </a:solidFill>
              </a:defRPr>
            </a:lvl1pPr>
          </a:lstStyle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9" name="Segnaposto numero diapositiva 4">
            <a:extLst>
              <a:ext uri="{FF2B5EF4-FFF2-40B4-BE49-F238E27FC236}">
                <a16:creationId xmlns:a16="http://schemas.microsoft.com/office/drawing/2014/main" id="{EA5FA132-35A6-4E85-96A9-49717F3CB39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581900" y="6360319"/>
            <a:ext cx="2743200" cy="365125"/>
          </a:xfrm>
          <a:prstGeom prst="rect">
            <a:avLst/>
          </a:prstGeom>
        </p:spPr>
        <p:txBody>
          <a:bodyPr/>
          <a:lstStyle>
            <a:lvl1pPr algn="r">
              <a:defRPr sz="1200"/>
            </a:lvl1pPr>
          </a:lstStyle>
          <a:p>
            <a:fld id="{9501BE4A-6F75-0549-8D25-E25EBB4B1677}" type="slidenum">
              <a:rPr lang="it-IT" smtClean="0">
                <a:solidFill>
                  <a:schemeClr val="bg1"/>
                </a:solidFill>
              </a:rPr>
              <a:pPr/>
              <a:t>‹N›</a:t>
            </a:fld>
            <a:endParaRPr lang="it-IT" sz="1200">
              <a:solidFill>
                <a:schemeClr val="bg1"/>
              </a:solidFill>
            </a:endParaRPr>
          </a:p>
        </p:txBody>
      </p:sp>
      <p:sp>
        <p:nvSpPr>
          <p:cNvPr id="10" name="Segnaposto testo 2">
            <a:extLst>
              <a:ext uri="{FF2B5EF4-FFF2-40B4-BE49-F238E27FC236}">
                <a16:creationId xmlns:a16="http://schemas.microsoft.com/office/drawing/2014/main" id="{F35D58D9-94CF-4EB2-AE0A-74B02B019C71}"/>
              </a:ext>
            </a:extLst>
          </p:cNvPr>
          <p:cNvSpPr>
            <a:spLocks noGrp="1"/>
          </p:cNvSpPr>
          <p:nvPr>
            <p:ph type="body" idx="11" hasCustomPrompt="1"/>
          </p:nvPr>
        </p:nvSpPr>
        <p:spPr>
          <a:xfrm>
            <a:off x="838200" y="803697"/>
            <a:ext cx="10515600" cy="376606"/>
          </a:xfrm>
        </p:spPr>
        <p:txBody>
          <a:bodyPr>
            <a:normAutofit/>
          </a:bodyPr>
          <a:lstStyle>
            <a:lvl1pPr marL="0" indent="0" algn="l">
              <a:buNone/>
              <a:defRPr sz="1800">
                <a:solidFill>
                  <a:srgbClr val="5C707B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it-IT"/>
              <a:t>Sottotitolo</a:t>
            </a:r>
          </a:p>
        </p:txBody>
      </p:sp>
      <p:sp>
        <p:nvSpPr>
          <p:cNvPr id="11" name="Segnaposto piè di pagina 4">
            <a:extLst>
              <a:ext uri="{FF2B5EF4-FFF2-40B4-BE49-F238E27FC236}">
                <a16:creationId xmlns:a16="http://schemas.microsoft.com/office/drawing/2014/main" id="{35256FB3-ADEF-4701-86D6-1AB30F9A6D4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467100" y="6360319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bg1"/>
                </a:solidFill>
              </a:defRPr>
            </a:lvl1pPr>
          </a:lstStyle>
          <a:p>
            <a:r>
              <a:rPr lang="it-IT"/>
              <a:t>Istituto per il Credito Sportivo Banca Sociale per lo Sport e la Cultura</a:t>
            </a:r>
            <a:endParaRPr lang="it-IT">
              <a:solidFill>
                <a:schemeClr val="bg1"/>
              </a:solidFill>
            </a:endParaRPr>
          </a:p>
        </p:txBody>
      </p:sp>
      <p:sp>
        <p:nvSpPr>
          <p:cNvPr id="4" name="Segnaposto testo 3">
            <a:extLst>
              <a:ext uri="{FF2B5EF4-FFF2-40B4-BE49-F238E27FC236}">
                <a16:creationId xmlns:a16="http://schemas.microsoft.com/office/drawing/2014/main" id="{DD619220-D121-4E8E-A124-5AF02D367B8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936625" y="1662113"/>
            <a:ext cx="10031413" cy="3419734"/>
          </a:xfrm>
        </p:spPr>
        <p:txBody>
          <a:bodyPr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7" name="Segnaposto testo 6">
            <a:extLst>
              <a:ext uri="{FF2B5EF4-FFF2-40B4-BE49-F238E27FC236}">
                <a16:creationId xmlns:a16="http://schemas.microsoft.com/office/drawing/2014/main" id="{08B240D5-5D10-4180-A262-78835B6DA63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81205" y="5563657"/>
            <a:ext cx="5658139" cy="582612"/>
          </a:xfrm>
        </p:spPr>
        <p:txBody>
          <a:bodyPr>
            <a:normAutofit/>
          </a:bodyPr>
          <a:lstStyle>
            <a:lvl1pPr>
              <a:spcBef>
                <a:spcPts val="500"/>
              </a:spcBef>
              <a:buFont typeface="+mj-lt"/>
              <a:buAutoNum type="arabicPeriod"/>
              <a:defRPr sz="1000"/>
            </a:lvl1pPr>
          </a:lstStyle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</p:txBody>
      </p:sp>
    </p:spTree>
    <p:extLst>
      <p:ext uri="{BB962C8B-B14F-4D97-AF65-F5344CB8AC3E}">
        <p14:creationId xmlns:p14="http://schemas.microsoft.com/office/powerpoint/2010/main" val="245135235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2200" b="1" i="0">
                <a:solidFill>
                  <a:schemeClr val="bg1"/>
                </a:solidFill>
                <a:latin typeface="Trebuchet MS"/>
                <a:cs typeface="Trebuchet MS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>
              <a:defRPr sz="1200" b="0" i="0">
                <a:solidFill>
                  <a:schemeClr val="bg1"/>
                </a:solidFill>
                <a:latin typeface="Trebuchet MS"/>
                <a:cs typeface="Trebuchet MS"/>
              </a:defRPr>
            </a:lvl1pPr>
          </a:lstStyle>
          <a:p>
            <a:pPr marL="12700">
              <a:lnSpc>
                <a:spcPct val="100000"/>
              </a:lnSpc>
              <a:spcBef>
                <a:spcPts val="25"/>
              </a:spcBef>
            </a:pPr>
            <a:r>
              <a:rPr lang="it-IT"/>
              <a:t>Istituto per il Credito Sportivo Banca Sociale per lo Sport e la Cultura</a:t>
            </a:r>
            <a:endParaRPr spc="-15" dirty="0"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10303FB-D744-46FE-A346-1AA5671848B0}" type="datetime1">
              <a:rPr lang="en-US" smtClean="0"/>
              <a:t>7/19/2022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1200" b="0" i="0">
                <a:solidFill>
                  <a:schemeClr val="bg1"/>
                </a:solidFill>
                <a:latin typeface="Trebuchet MS"/>
                <a:cs typeface="Trebuchet MS"/>
              </a:defRPr>
            </a:lvl1pPr>
          </a:lstStyle>
          <a:p>
            <a:pPr marL="116839">
              <a:lnSpc>
                <a:spcPct val="100000"/>
              </a:lnSpc>
              <a:spcBef>
                <a:spcPts val="385"/>
              </a:spcBef>
            </a:pPr>
            <a:fld id="{81D60167-4931-47E6-BA6A-407CBD079E47}" type="slidenum">
              <a:rPr dirty="0"/>
              <a:t>‹N›</a:t>
            </a:fld>
            <a:endParaRPr dirty="0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pertin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ottotitolo 2"/>
          <p:cNvSpPr>
            <a:spLocks noGrp="1"/>
          </p:cNvSpPr>
          <p:nvPr>
            <p:ph type="subTitle" idx="1" hasCustomPrompt="1"/>
          </p:nvPr>
        </p:nvSpPr>
        <p:spPr>
          <a:xfrm>
            <a:off x="1524000" y="4684035"/>
            <a:ext cx="9144000" cy="399838"/>
          </a:xfrm>
        </p:spPr>
        <p:txBody>
          <a:bodyPr>
            <a:normAutofit/>
          </a:bodyPr>
          <a:lstStyle>
            <a:lvl1pPr marL="0" indent="0" algn="l">
              <a:buNone/>
              <a:defRPr sz="1800" baseline="0">
                <a:solidFill>
                  <a:srgbClr val="5C707B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it-IT"/>
              <a:t>Inserire Ufficio</a:t>
            </a:r>
          </a:p>
        </p:txBody>
      </p:sp>
      <p:pic>
        <p:nvPicPr>
          <p:cNvPr id="7" name="Immagin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32782"/>
            <a:ext cx="12192000" cy="2800349"/>
          </a:xfrm>
          <a:prstGeom prst="rect">
            <a:avLst/>
          </a:prstGeom>
        </p:spPr>
      </p:pic>
      <p:sp>
        <p:nvSpPr>
          <p:cNvPr id="11" name="Rettangolo 10"/>
          <p:cNvSpPr/>
          <p:nvPr userDrawn="1"/>
        </p:nvSpPr>
        <p:spPr>
          <a:xfrm>
            <a:off x="0" y="5988676"/>
            <a:ext cx="12192000" cy="8693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pic>
        <p:nvPicPr>
          <p:cNvPr id="8" name="Immagine 7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68000" y="6423002"/>
            <a:ext cx="1224818" cy="171348"/>
          </a:xfrm>
          <a:prstGeom prst="rect">
            <a:avLst/>
          </a:prstGeom>
        </p:spPr>
      </p:pic>
      <p:pic>
        <p:nvPicPr>
          <p:cNvPr id="9" name="Immagine 8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6313" y="6423002"/>
            <a:ext cx="1136159" cy="168551"/>
          </a:xfrm>
          <a:prstGeom prst="rect">
            <a:avLst/>
          </a:prstGeom>
        </p:spPr>
      </p:pic>
      <p:sp>
        <p:nvSpPr>
          <p:cNvPr id="5" name="Segnaposto testo 4"/>
          <p:cNvSpPr>
            <a:spLocks noGrp="1"/>
          </p:cNvSpPr>
          <p:nvPr>
            <p:ph type="body" sz="quarter" idx="10" hasCustomPrompt="1"/>
          </p:nvPr>
        </p:nvSpPr>
        <p:spPr>
          <a:xfrm>
            <a:off x="1524000" y="5646567"/>
            <a:ext cx="9242425" cy="288974"/>
          </a:xfrm>
        </p:spPr>
        <p:txBody>
          <a:bodyPr>
            <a:normAutofit/>
          </a:bodyPr>
          <a:lstStyle>
            <a:lvl1pPr marL="0" indent="0" algn="r">
              <a:buNone/>
              <a:defRPr sz="1400" baseline="0"/>
            </a:lvl1pPr>
          </a:lstStyle>
          <a:p>
            <a:pPr lvl="0"/>
            <a:r>
              <a:rPr lang="it-IT"/>
              <a:t>Inserire Luogo e Data</a:t>
            </a:r>
          </a:p>
        </p:txBody>
      </p:sp>
      <p:sp>
        <p:nvSpPr>
          <p:cNvPr id="14" name="Titolo 13"/>
          <p:cNvSpPr>
            <a:spLocks noGrp="1"/>
          </p:cNvSpPr>
          <p:nvPr>
            <p:ph type="title"/>
          </p:nvPr>
        </p:nvSpPr>
        <p:spPr>
          <a:xfrm>
            <a:off x="1524000" y="3269674"/>
            <a:ext cx="10515600" cy="1236598"/>
          </a:xfrm>
          <a:noFill/>
        </p:spPr>
        <p:txBody>
          <a:bodyPr>
            <a:normAutofit/>
          </a:bodyPr>
          <a:lstStyle>
            <a:lvl1pPr>
              <a:defRPr sz="2400">
                <a:solidFill>
                  <a:schemeClr val="tx1"/>
                </a:solidFill>
              </a:defRPr>
            </a:lvl1pPr>
          </a:lstStyle>
          <a:p>
            <a:r>
              <a:rPr lang="it-IT"/>
              <a:t>Fare clic per modificare lo stile del titolo dello schema</a:t>
            </a:r>
          </a:p>
        </p:txBody>
      </p:sp>
    </p:spTree>
    <p:extLst>
      <p:ext uri="{BB962C8B-B14F-4D97-AF65-F5344CB8AC3E}">
        <p14:creationId xmlns:p14="http://schemas.microsoft.com/office/powerpoint/2010/main" val="4218484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ol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838200" y="247498"/>
            <a:ext cx="10515600" cy="484881"/>
          </a:xfrm>
        </p:spPr>
        <p:txBody>
          <a:bodyPr>
            <a:normAutofit/>
          </a:bodyPr>
          <a:lstStyle>
            <a:lvl1pPr algn="l">
              <a:defRPr sz="2200" b="1">
                <a:solidFill>
                  <a:schemeClr val="bg1"/>
                </a:solidFill>
              </a:defRPr>
            </a:lvl1pPr>
          </a:lstStyle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9" name="Segnaposto numero diapositiva 4">
            <a:extLst>
              <a:ext uri="{FF2B5EF4-FFF2-40B4-BE49-F238E27FC236}">
                <a16:creationId xmlns:a16="http://schemas.microsoft.com/office/drawing/2014/main" id="{EA5FA132-35A6-4E85-96A9-49717F3CB39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581900" y="6360319"/>
            <a:ext cx="2743200" cy="365125"/>
          </a:xfrm>
          <a:prstGeom prst="rect">
            <a:avLst/>
          </a:prstGeom>
        </p:spPr>
        <p:txBody>
          <a:bodyPr/>
          <a:lstStyle>
            <a:lvl1pPr algn="r">
              <a:defRPr sz="1200"/>
            </a:lvl1pPr>
          </a:lstStyle>
          <a:p>
            <a:fld id="{9501BE4A-6F75-0549-8D25-E25EBB4B1677}" type="slidenum">
              <a:rPr lang="it-IT" smtClean="0">
                <a:solidFill>
                  <a:schemeClr val="bg1"/>
                </a:solidFill>
              </a:rPr>
              <a:pPr/>
              <a:t>‹N›</a:t>
            </a:fld>
            <a:endParaRPr lang="it-IT" sz="1200">
              <a:solidFill>
                <a:schemeClr val="bg1"/>
              </a:solidFill>
            </a:endParaRPr>
          </a:p>
        </p:txBody>
      </p:sp>
      <p:sp>
        <p:nvSpPr>
          <p:cNvPr id="10" name="Segnaposto testo 2">
            <a:extLst>
              <a:ext uri="{FF2B5EF4-FFF2-40B4-BE49-F238E27FC236}">
                <a16:creationId xmlns:a16="http://schemas.microsoft.com/office/drawing/2014/main" id="{F35D58D9-94CF-4EB2-AE0A-74B02B019C71}"/>
              </a:ext>
            </a:extLst>
          </p:cNvPr>
          <p:cNvSpPr>
            <a:spLocks noGrp="1"/>
          </p:cNvSpPr>
          <p:nvPr>
            <p:ph type="body" idx="11" hasCustomPrompt="1"/>
          </p:nvPr>
        </p:nvSpPr>
        <p:spPr>
          <a:xfrm>
            <a:off x="838200" y="803697"/>
            <a:ext cx="10515600" cy="376606"/>
          </a:xfrm>
        </p:spPr>
        <p:txBody>
          <a:bodyPr>
            <a:normAutofit/>
          </a:bodyPr>
          <a:lstStyle>
            <a:lvl1pPr marL="0" indent="0" algn="l">
              <a:buNone/>
              <a:defRPr sz="1800">
                <a:solidFill>
                  <a:srgbClr val="5C707B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it-IT"/>
              <a:t>Sottotitolo</a:t>
            </a:r>
          </a:p>
        </p:txBody>
      </p:sp>
      <p:sp>
        <p:nvSpPr>
          <p:cNvPr id="11" name="Segnaposto piè di pagina 4">
            <a:extLst>
              <a:ext uri="{FF2B5EF4-FFF2-40B4-BE49-F238E27FC236}">
                <a16:creationId xmlns:a16="http://schemas.microsoft.com/office/drawing/2014/main" id="{35256FB3-ADEF-4701-86D6-1AB30F9A6D4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467100" y="6360319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bg1"/>
                </a:solidFill>
              </a:defRPr>
            </a:lvl1pPr>
          </a:lstStyle>
          <a:p>
            <a:r>
              <a:rPr lang="it-IT"/>
              <a:t>Istituto per il Credito Sportivo Banca Sociale per lo Sport e la Cultura</a:t>
            </a:r>
            <a:endParaRPr lang="it-IT">
              <a:solidFill>
                <a:schemeClr val="bg1"/>
              </a:solidFill>
            </a:endParaRPr>
          </a:p>
        </p:txBody>
      </p:sp>
      <p:sp>
        <p:nvSpPr>
          <p:cNvPr id="4" name="Segnaposto testo 3">
            <a:extLst>
              <a:ext uri="{FF2B5EF4-FFF2-40B4-BE49-F238E27FC236}">
                <a16:creationId xmlns:a16="http://schemas.microsoft.com/office/drawing/2014/main" id="{DD619220-D121-4E8E-A124-5AF02D367B8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936625" y="1662113"/>
            <a:ext cx="10031413" cy="3419734"/>
          </a:xfrm>
        </p:spPr>
        <p:txBody>
          <a:bodyPr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7" name="Segnaposto testo 6">
            <a:extLst>
              <a:ext uri="{FF2B5EF4-FFF2-40B4-BE49-F238E27FC236}">
                <a16:creationId xmlns:a16="http://schemas.microsoft.com/office/drawing/2014/main" id="{08B240D5-5D10-4180-A262-78835B6DA63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81205" y="5563657"/>
            <a:ext cx="5658139" cy="582612"/>
          </a:xfrm>
        </p:spPr>
        <p:txBody>
          <a:bodyPr>
            <a:normAutofit/>
          </a:bodyPr>
          <a:lstStyle>
            <a:lvl1pPr>
              <a:spcBef>
                <a:spcPts val="500"/>
              </a:spcBef>
              <a:buFont typeface="+mj-lt"/>
              <a:buAutoNum type="arabicPeriod"/>
              <a:defRPr sz="1000"/>
            </a:lvl1pPr>
          </a:lstStyle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</p:txBody>
      </p:sp>
    </p:spTree>
    <p:extLst>
      <p:ext uri="{BB962C8B-B14F-4D97-AF65-F5344CB8AC3E}">
        <p14:creationId xmlns:p14="http://schemas.microsoft.com/office/powerpoint/2010/main" val="30755845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XECUTIVE SUMMA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ttangolo con angoli arrotondati 2">
            <a:extLst>
              <a:ext uri="{FF2B5EF4-FFF2-40B4-BE49-F238E27FC236}">
                <a16:creationId xmlns:a16="http://schemas.microsoft.com/office/drawing/2014/main" id="{ACC0ACF9-2CD3-4A46-8F07-8ADA5641DD38}"/>
              </a:ext>
            </a:extLst>
          </p:cNvPr>
          <p:cNvSpPr/>
          <p:nvPr userDrawn="1"/>
        </p:nvSpPr>
        <p:spPr>
          <a:xfrm>
            <a:off x="753687" y="1052946"/>
            <a:ext cx="10773295" cy="4516582"/>
          </a:xfrm>
          <a:prstGeom prst="roundRect">
            <a:avLst>
              <a:gd name="adj" fmla="val 4520"/>
            </a:avLst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838200" y="247498"/>
            <a:ext cx="10515600" cy="484881"/>
          </a:xfrm>
        </p:spPr>
        <p:txBody>
          <a:bodyPr>
            <a:normAutofit/>
          </a:bodyPr>
          <a:lstStyle>
            <a:lvl1pPr algn="l">
              <a:defRPr sz="2200" b="1">
                <a:solidFill>
                  <a:schemeClr val="bg1"/>
                </a:solidFill>
              </a:defRPr>
            </a:lvl1pPr>
          </a:lstStyle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9" name="Segnaposto numero diapositiva 4">
            <a:extLst>
              <a:ext uri="{FF2B5EF4-FFF2-40B4-BE49-F238E27FC236}">
                <a16:creationId xmlns:a16="http://schemas.microsoft.com/office/drawing/2014/main" id="{EA5FA132-35A6-4E85-96A9-49717F3CB39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581900" y="6360319"/>
            <a:ext cx="2743200" cy="365125"/>
          </a:xfrm>
          <a:prstGeom prst="rect">
            <a:avLst/>
          </a:prstGeom>
        </p:spPr>
        <p:txBody>
          <a:bodyPr/>
          <a:lstStyle>
            <a:lvl1pPr algn="r">
              <a:defRPr sz="1200"/>
            </a:lvl1pPr>
          </a:lstStyle>
          <a:p>
            <a:fld id="{9501BE4A-6F75-0549-8D25-E25EBB4B1677}" type="slidenum">
              <a:rPr lang="it-IT" smtClean="0">
                <a:solidFill>
                  <a:schemeClr val="bg1"/>
                </a:solidFill>
              </a:rPr>
              <a:pPr/>
              <a:t>‹N›</a:t>
            </a:fld>
            <a:endParaRPr lang="it-IT" sz="1200">
              <a:solidFill>
                <a:schemeClr val="bg1"/>
              </a:solidFill>
            </a:endParaRPr>
          </a:p>
        </p:txBody>
      </p:sp>
      <p:sp>
        <p:nvSpPr>
          <p:cNvPr id="10" name="Segnaposto testo 2">
            <a:extLst>
              <a:ext uri="{FF2B5EF4-FFF2-40B4-BE49-F238E27FC236}">
                <a16:creationId xmlns:a16="http://schemas.microsoft.com/office/drawing/2014/main" id="{F35D58D9-94CF-4EB2-AE0A-74B02B019C71}"/>
              </a:ext>
            </a:extLst>
          </p:cNvPr>
          <p:cNvSpPr>
            <a:spLocks noGrp="1"/>
          </p:cNvSpPr>
          <p:nvPr>
            <p:ph type="body" idx="11" hasCustomPrompt="1"/>
          </p:nvPr>
        </p:nvSpPr>
        <p:spPr>
          <a:xfrm>
            <a:off x="838200" y="1088825"/>
            <a:ext cx="10515600" cy="376606"/>
          </a:xfrm>
        </p:spPr>
        <p:txBody>
          <a:bodyPr>
            <a:normAutofit/>
          </a:bodyPr>
          <a:lstStyle>
            <a:lvl1pPr marL="0" indent="0" algn="l">
              <a:buNone/>
              <a:defRPr sz="1600" b="1">
                <a:solidFill>
                  <a:srgbClr val="5C707B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it-IT"/>
              <a:t>Sottotitolo</a:t>
            </a:r>
          </a:p>
        </p:txBody>
      </p:sp>
      <p:sp>
        <p:nvSpPr>
          <p:cNvPr id="11" name="Segnaposto piè di pagina 4">
            <a:extLst>
              <a:ext uri="{FF2B5EF4-FFF2-40B4-BE49-F238E27FC236}">
                <a16:creationId xmlns:a16="http://schemas.microsoft.com/office/drawing/2014/main" id="{35256FB3-ADEF-4701-86D6-1AB30F9A6D4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467100" y="6360319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bg1"/>
                </a:solidFill>
              </a:defRPr>
            </a:lvl1pPr>
          </a:lstStyle>
          <a:p>
            <a:r>
              <a:rPr lang="it-IT"/>
              <a:t>Istituto per il Credito Sportivo Banca Sociale per lo Sport e la Cultura</a:t>
            </a:r>
            <a:endParaRPr lang="it-IT">
              <a:solidFill>
                <a:schemeClr val="bg1"/>
              </a:solidFill>
            </a:endParaRPr>
          </a:p>
        </p:txBody>
      </p:sp>
      <p:cxnSp>
        <p:nvCxnSpPr>
          <p:cNvPr id="13" name="Connettore diritto 12">
            <a:extLst>
              <a:ext uri="{FF2B5EF4-FFF2-40B4-BE49-F238E27FC236}">
                <a16:creationId xmlns:a16="http://schemas.microsoft.com/office/drawing/2014/main" id="{5DF53F4F-87E3-4A3F-AC50-ED4C1D6CB972}"/>
              </a:ext>
            </a:extLst>
          </p:cNvPr>
          <p:cNvCxnSpPr>
            <a:cxnSpLocks/>
          </p:cNvCxnSpPr>
          <p:nvPr userDrawn="1"/>
        </p:nvCxnSpPr>
        <p:spPr>
          <a:xfrm flipV="1">
            <a:off x="838200" y="1391278"/>
            <a:ext cx="10515600" cy="43291"/>
          </a:xfrm>
          <a:prstGeom prst="line">
            <a:avLst/>
          </a:prstGeom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14" name="Segnaposto testo 13">
            <a:extLst>
              <a:ext uri="{FF2B5EF4-FFF2-40B4-BE49-F238E27FC236}">
                <a16:creationId xmlns:a16="http://schemas.microsoft.com/office/drawing/2014/main" id="{B8FB7765-9C58-4AD7-B5B7-5F2E8A520964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941388" y="1657350"/>
            <a:ext cx="10358437" cy="3662363"/>
          </a:xfrm>
        </p:spPr>
        <p:txBody>
          <a:bodyPr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</p:spTree>
    <p:extLst>
      <p:ext uri="{BB962C8B-B14F-4D97-AF65-F5344CB8AC3E}">
        <p14:creationId xmlns:p14="http://schemas.microsoft.com/office/powerpoint/2010/main" val="3408955037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to del documen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 hasCustomPrompt="1"/>
          </p:nvPr>
        </p:nvSpPr>
        <p:spPr>
          <a:xfrm>
            <a:off x="838200" y="236415"/>
            <a:ext cx="10515600" cy="484881"/>
          </a:xfrm>
        </p:spPr>
        <p:txBody>
          <a:bodyPr>
            <a:normAutofit/>
          </a:bodyPr>
          <a:lstStyle>
            <a:lvl1pPr algn="l">
              <a:defRPr sz="2200" b="1">
                <a:solidFill>
                  <a:schemeClr val="bg1"/>
                </a:solidFill>
              </a:defRPr>
            </a:lvl1pPr>
          </a:lstStyle>
          <a:p>
            <a:r>
              <a:rPr lang="it-IT"/>
              <a:t>Contenuto del documento</a:t>
            </a:r>
          </a:p>
        </p:txBody>
      </p:sp>
      <p:sp>
        <p:nvSpPr>
          <p:cNvPr id="9" name="Segnaposto numero diapositiva 4">
            <a:extLst>
              <a:ext uri="{FF2B5EF4-FFF2-40B4-BE49-F238E27FC236}">
                <a16:creationId xmlns:a16="http://schemas.microsoft.com/office/drawing/2014/main" id="{EA5FA132-35A6-4E85-96A9-49717F3CB39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581900" y="6360319"/>
            <a:ext cx="2743200" cy="365125"/>
          </a:xfrm>
          <a:prstGeom prst="rect">
            <a:avLst/>
          </a:prstGeom>
        </p:spPr>
        <p:txBody>
          <a:bodyPr/>
          <a:lstStyle>
            <a:lvl1pPr algn="r">
              <a:defRPr sz="1200"/>
            </a:lvl1pPr>
          </a:lstStyle>
          <a:p>
            <a:fld id="{9501BE4A-6F75-0549-8D25-E25EBB4B1677}" type="slidenum">
              <a:rPr lang="it-IT" smtClean="0">
                <a:solidFill>
                  <a:schemeClr val="bg1"/>
                </a:solidFill>
              </a:rPr>
              <a:pPr/>
              <a:t>‹N›</a:t>
            </a:fld>
            <a:endParaRPr lang="it-IT" sz="1200">
              <a:solidFill>
                <a:schemeClr val="bg1"/>
              </a:solidFill>
            </a:endParaRPr>
          </a:p>
        </p:txBody>
      </p:sp>
      <p:sp>
        <p:nvSpPr>
          <p:cNvPr id="11" name="Segnaposto piè di pagina 4">
            <a:extLst>
              <a:ext uri="{FF2B5EF4-FFF2-40B4-BE49-F238E27FC236}">
                <a16:creationId xmlns:a16="http://schemas.microsoft.com/office/drawing/2014/main" id="{35256FB3-ADEF-4701-86D6-1AB30F9A6D4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467100" y="6360319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bg1"/>
                </a:solidFill>
              </a:defRPr>
            </a:lvl1pPr>
          </a:lstStyle>
          <a:p>
            <a:r>
              <a:rPr lang="it-IT"/>
              <a:t>Istituto per il Credito Sportivo Banca Sociale per lo Sport e la Cultura</a:t>
            </a:r>
            <a:endParaRPr lang="it-IT">
              <a:solidFill>
                <a:schemeClr val="bg1"/>
              </a:solidFill>
            </a:endParaRPr>
          </a:p>
        </p:txBody>
      </p:sp>
      <p:sp>
        <p:nvSpPr>
          <p:cNvPr id="18" name="Segnaposto testo 17">
            <a:extLst>
              <a:ext uri="{FF2B5EF4-FFF2-40B4-BE49-F238E27FC236}">
                <a16:creationId xmlns:a16="http://schemas.microsoft.com/office/drawing/2014/main" id="{C3FCFF63-3DC3-4C49-AA74-4E440D71349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158875" y="2042970"/>
            <a:ext cx="5153025" cy="1457325"/>
          </a:xfrm>
        </p:spPr>
        <p:txBody>
          <a:bodyPr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</p:spTree>
    <p:extLst>
      <p:ext uri="{BB962C8B-B14F-4D97-AF65-F5344CB8AC3E}">
        <p14:creationId xmlns:p14="http://schemas.microsoft.com/office/powerpoint/2010/main" val="1736470201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ecce e tes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838200" y="247498"/>
            <a:ext cx="10515600" cy="484881"/>
          </a:xfrm>
        </p:spPr>
        <p:txBody>
          <a:bodyPr>
            <a:normAutofit/>
          </a:bodyPr>
          <a:lstStyle>
            <a:lvl1pPr algn="l">
              <a:defRPr sz="2200" b="1">
                <a:solidFill>
                  <a:schemeClr val="bg1"/>
                </a:solidFill>
              </a:defRPr>
            </a:lvl1pPr>
          </a:lstStyle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9" name="Segnaposto numero diapositiva 4">
            <a:extLst>
              <a:ext uri="{FF2B5EF4-FFF2-40B4-BE49-F238E27FC236}">
                <a16:creationId xmlns:a16="http://schemas.microsoft.com/office/drawing/2014/main" id="{EA5FA132-35A6-4E85-96A9-49717F3CB39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581900" y="6360319"/>
            <a:ext cx="2743200" cy="365125"/>
          </a:xfrm>
          <a:prstGeom prst="rect">
            <a:avLst/>
          </a:prstGeom>
        </p:spPr>
        <p:txBody>
          <a:bodyPr/>
          <a:lstStyle>
            <a:lvl1pPr algn="r">
              <a:defRPr sz="1200"/>
            </a:lvl1pPr>
          </a:lstStyle>
          <a:p>
            <a:fld id="{9501BE4A-6F75-0549-8D25-E25EBB4B1677}" type="slidenum">
              <a:rPr lang="it-IT" smtClean="0">
                <a:solidFill>
                  <a:schemeClr val="bg1"/>
                </a:solidFill>
              </a:rPr>
              <a:pPr/>
              <a:t>‹N›</a:t>
            </a:fld>
            <a:endParaRPr lang="it-IT" sz="1200">
              <a:solidFill>
                <a:schemeClr val="bg1"/>
              </a:solidFill>
            </a:endParaRPr>
          </a:p>
        </p:txBody>
      </p:sp>
      <p:sp>
        <p:nvSpPr>
          <p:cNvPr id="10" name="Segnaposto testo 2">
            <a:extLst>
              <a:ext uri="{FF2B5EF4-FFF2-40B4-BE49-F238E27FC236}">
                <a16:creationId xmlns:a16="http://schemas.microsoft.com/office/drawing/2014/main" id="{F35D58D9-94CF-4EB2-AE0A-74B02B019C71}"/>
              </a:ext>
            </a:extLst>
          </p:cNvPr>
          <p:cNvSpPr>
            <a:spLocks noGrp="1"/>
          </p:cNvSpPr>
          <p:nvPr>
            <p:ph type="body" idx="11" hasCustomPrompt="1"/>
          </p:nvPr>
        </p:nvSpPr>
        <p:spPr>
          <a:xfrm>
            <a:off x="838200" y="803697"/>
            <a:ext cx="10515600" cy="376606"/>
          </a:xfrm>
        </p:spPr>
        <p:txBody>
          <a:bodyPr>
            <a:normAutofit/>
          </a:bodyPr>
          <a:lstStyle>
            <a:lvl1pPr marL="0" indent="0" algn="l">
              <a:buNone/>
              <a:defRPr sz="1800">
                <a:solidFill>
                  <a:srgbClr val="5C707B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it-IT"/>
              <a:t>Sottotitolo</a:t>
            </a:r>
          </a:p>
        </p:txBody>
      </p:sp>
      <p:sp>
        <p:nvSpPr>
          <p:cNvPr id="11" name="Segnaposto piè di pagina 4">
            <a:extLst>
              <a:ext uri="{FF2B5EF4-FFF2-40B4-BE49-F238E27FC236}">
                <a16:creationId xmlns:a16="http://schemas.microsoft.com/office/drawing/2014/main" id="{35256FB3-ADEF-4701-86D6-1AB30F9A6D4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467100" y="6360319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bg1"/>
                </a:solidFill>
              </a:defRPr>
            </a:lvl1pPr>
          </a:lstStyle>
          <a:p>
            <a:r>
              <a:rPr lang="it-IT"/>
              <a:t>Istituto per il Credito Sportivo Banca Sociale per lo Sport e la Cultura</a:t>
            </a:r>
            <a:endParaRPr lang="it-IT">
              <a:solidFill>
                <a:schemeClr val="bg1"/>
              </a:solidFill>
            </a:endParaRPr>
          </a:p>
        </p:txBody>
      </p:sp>
      <p:sp>
        <p:nvSpPr>
          <p:cNvPr id="7" name="Segnaposto testo 6">
            <a:extLst>
              <a:ext uri="{FF2B5EF4-FFF2-40B4-BE49-F238E27FC236}">
                <a16:creationId xmlns:a16="http://schemas.microsoft.com/office/drawing/2014/main" id="{08B240D5-5D10-4180-A262-78835B6DA63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81205" y="5563657"/>
            <a:ext cx="5658139" cy="582612"/>
          </a:xfrm>
        </p:spPr>
        <p:txBody>
          <a:bodyPr>
            <a:normAutofit/>
          </a:bodyPr>
          <a:lstStyle>
            <a:lvl1pPr>
              <a:spcBef>
                <a:spcPts val="500"/>
              </a:spcBef>
              <a:buFont typeface="+mj-lt"/>
              <a:buAutoNum type="arabicPeriod"/>
              <a:defRPr sz="1000"/>
            </a:lvl1pPr>
          </a:lstStyle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</p:txBody>
      </p:sp>
      <p:cxnSp>
        <p:nvCxnSpPr>
          <p:cNvPr id="14" name="Connettore diritto 13">
            <a:extLst>
              <a:ext uri="{FF2B5EF4-FFF2-40B4-BE49-F238E27FC236}">
                <a16:creationId xmlns:a16="http://schemas.microsoft.com/office/drawing/2014/main" id="{D23DA227-56B9-4DB4-9934-65C43F75C16F}"/>
              </a:ext>
            </a:extLst>
          </p:cNvPr>
          <p:cNvCxnSpPr>
            <a:cxnSpLocks/>
          </p:cNvCxnSpPr>
          <p:nvPr userDrawn="1"/>
        </p:nvCxnSpPr>
        <p:spPr>
          <a:xfrm flipV="1">
            <a:off x="925005" y="1976867"/>
            <a:ext cx="2245990" cy="12702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Connettore diritto 14">
            <a:extLst>
              <a:ext uri="{FF2B5EF4-FFF2-40B4-BE49-F238E27FC236}">
                <a16:creationId xmlns:a16="http://schemas.microsoft.com/office/drawing/2014/main" id="{399B51A4-BE4A-476E-AD3A-D0175056AFFE}"/>
              </a:ext>
            </a:extLst>
          </p:cNvPr>
          <p:cNvCxnSpPr>
            <a:cxnSpLocks/>
          </p:cNvCxnSpPr>
          <p:nvPr userDrawn="1"/>
        </p:nvCxnSpPr>
        <p:spPr>
          <a:xfrm flipV="1">
            <a:off x="3300366" y="1947972"/>
            <a:ext cx="3440162" cy="28895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Connettore diritto 15">
            <a:extLst>
              <a:ext uri="{FF2B5EF4-FFF2-40B4-BE49-F238E27FC236}">
                <a16:creationId xmlns:a16="http://schemas.microsoft.com/office/drawing/2014/main" id="{566D19FC-B536-410C-B0AF-567878F6834F}"/>
              </a:ext>
            </a:extLst>
          </p:cNvPr>
          <p:cNvCxnSpPr>
            <a:cxnSpLocks/>
          </p:cNvCxnSpPr>
          <p:nvPr userDrawn="1"/>
        </p:nvCxnSpPr>
        <p:spPr>
          <a:xfrm flipV="1">
            <a:off x="6872258" y="1917276"/>
            <a:ext cx="5212109" cy="30696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Segnaposto testo 4">
            <a:extLst>
              <a:ext uri="{FF2B5EF4-FFF2-40B4-BE49-F238E27FC236}">
                <a16:creationId xmlns:a16="http://schemas.microsoft.com/office/drawing/2014/main" id="{239CC0B9-5AEA-426C-B38D-EDF1AF00064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42705" y="1559557"/>
            <a:ext cx="2160713" cy="373067"/>
          </a:xfrm>
        </p:spPr>
        <p:txBody>
          <a:bodyPr/>
          <a:lstStyle>
            <a:lvl1pPr>
              <a:buNone/>
              <a:defRPr b="1"/>
            </a:lvl1pPr>
          </a:lstStyle>
          <a:p>
            <a:pPr lvl="0"/>
            <a:r>
              <a:rPr lang="it-IT" err="1"/>
              <a:t>Xxxxxx</a:t>
            </a:r>
            <a:endParaRPr lang="it-IT"/>
          </a:p>
        </p:txBody>
      </p:sp>
      <p:sp>
        <p:nvSpPr>
          <p:cNvPr id="17" name="Segnaposto testo 4">
            <a:extLst>
              <a:ext uri="{FF2B5EF4-FFF2-40B4-BE49-F238E27FC236}">
                <a16:creationId xmlns:a16="http://schemas.microsoft.com/office/drawing/2014/main" id="{47FFCDC8-06A2-4962-AFD3-F2CFE075BF4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300366" y="1547388"/>
            <a:ext cx="2160713" cy="373067"/>
          </a:xfrm>
        </p:spPr>
        <p:txBody>
          <a:bodyPr/>
          <a:lstStyle>
            <a:lvl1pPr>
              <a:buNone/>
              <a:defRPr b="1"/>
            </a:lvl1pPr>
          </a:lstStyle>
          <a:p>
            <a:pPr lvl="0"/>
            <a:r>
              <a:rPr lang="it-IT" err="1"/>
              <a:t>Xxxxxx</a:t>
            </a:r>
            <a:endParaRPr lang="it-IT"/>
          </a:p>
        </p:txBody>
      </p:sp>
      <p:sp>
        <p:nvSpPr>
          <p:cNvPr id="18" name="Segnaposto testo 4">
            <a:extLst>
              <a:ext uri="{FF2B5EF4-FFF2-40B4-BE49-F238E27FC236}">
                <a16:creationId xmlns:a16="http://schemas.microsoft.com/office/drawing/2014/main" id="{F7EE97E5-B72F-4F4D-B830-7DCFDB5BEF8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872258" y="1544209"/>
            <a:ext cx="2160713" cy="373067"/>
          </a:xfrm>
        </p:spPr>
        <p:txBody>
          <a:bodyPr/>
          <a:lstStyle>
            <a:lvl1pPr>
              <a:buNone/>
              <a:defRPr b="1"/>
            </a:lvl1pPr>
          </a:lstStyle>
          <a:p>
            <a:pPr lvl="0"/>
            <a:r>
              <a:rPr lang="it-IT" err="1"/>
              <a:t>Xxxxxx</a:t>
            </a:r>
            <a:endParaRPr lang="it-IT"/>
          </a:p>
        </p:txBody>
      </p:sp>
      <p:sp>
        <p:nvSpPr>
          <p:cNvPr id="6" name="Freccia a pentagono 5">
            <a:extLst>
              <a:ext uri="{FF2B5EF4-FFF2-40B4-BE49-F238E27FC236}">
                <a16:creationId xmlns:a16="http://schemas.microsoft.com/office/drawing/2014/main" id="{4F55F310-F669-44AA-8A42-A006CC5E88D1}"/>
              </a:ext>
            </a:extLst>
          </p:cNvPr>
          <p:cNvSpPr/>
          <p:nvPr userDrawn="1"/>
        </p:nvSpPr>
        <p:spPr>
          <a:xfrm>
            <a:off x="933854" y="2240844"/>
            <a:ext cx="2178413" cy="1199241"/>
          </a:xfrm>
          <a:prstGeom prst="homePlate">
            <a:avLst>
              <a:gd name="adj" fmla="val 15042"/>
            </a:avLst>
          </a:prstGeom>
          <a:solidFill>
            <a:srgbClr val="5E727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endParaRPr lang="it-IT" sz="1400">
              <a:solidFill>
                <a:schemeClr val="bg1"/>
              </a:solidFill>
              <a:latin typeface="Trebuchet MS" panose="020B0703020202090204" pitchFamily="34" charset="0"/>
            </a:endParaRPr>
          </a:p>
        </p:txBody>
      </p:sp>
      <p:sp>
        <p:nvSpPr>
          <p:cNvPr id="21" name="Segnaposto testo 20">
            <a:extLst>
              <a:ext uri="{FF2B5EF4-FFF2-40B4-BE49-F238E27FC236}">
                <a16:creationId xmlns:a16="http://schemas.microsoft.com/office/drawing/2014/main" id="{4FC57061-8DBA-4AF9-8454-2A3D52180C4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300413" y="2230438"/>
            <a:ext cx="3440112" cy="1111250"/>
          </a:xfrm>
        </p:spPr>
        <p:txBody>
          <a:bodyPr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22" name="Segnaposto testo 20">
            <a:extLst>
              <a:ext uri="{FF2B5EF4-FFF2-40B4-BE49-F238E27FC236}">
                <a16:creationId xmlns:a16="http://schemas.microsoft.com/office/drawing/2014/main" id="{925CEE6C-26E5-4BFD-B9D8-09003E2C7C90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872258" y="2162022"/>
            <a:ext cx="3440112" cy="1111250"/>
          </a:xfrm>
        </p:spPr>
        <p:txBody>
          <a:bodyPr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23" name="Freccia a pentagono 22">
            <a:extLst>
              <a:ext uri="{FF2B5EF4-FFF2-40B4-BE49-F238E27FC236}">
                <a16:creationId xmlns:a16="http://schemas.microsoft.com/office/drawing/2014/main" id="{045393A7-25F5-4C39-9079-4E78D9E8A437}"/>
              </a:ext>
            </a:extLst>
          </p:cNvPr>
          <p:cNvSpPr/>
          <p:nvPr userDrawn="1"/>
        </p:nvSpPr>
        <p:spPr>
          <a:xfrm>
            <a:off x="925005" y="3800816"/>
            <a:ext cx="2178413" cy="1199241"/>
          </a:xfrm>
          <a:prstGeom prst="homePlate">
            <a:avLst>
              <a:gd name="adj" fmla="val 15042"/>
            </a:avLst>
          </a:prstGeom>
          <a:solidFill>
            <a:srgbClr val="5E727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endParaRPr lang="it-IT" sz="1400">
              <a:solidFill>
                <a:schemeClr val="bg1"/>
              </a:solidFill>
              <a:latin typeface="Trebuchet MS" panose="020B0703020202090204" pitchFamily="34" charset="0"/>
            </a:endParaRPr>
          </a:p>
        </p:txBody>
      </p:sp>
      <p:sp>
        <p:nvSpPr>
          <p:cNvPr id="24" name="Segnaposto testo 20">
            <a:extLst>
              <a:ext uri="{FF2B5EF4-FFF2-40B4-BE49-F238E27FC236}">
                <a16:creationId xmlns:a16="http://schemas.microsoft.com/office/drawing/2014/main" id="{7D99977D-010F-4A4B-AD97-2B996A504EDA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300413" y="3801495"/>
            <a:ext cx="3440112" cy="1111250"/>
          </a:xfrm>
        </p:spPr>
        <p:txBody>
          <a:bodyPr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25" name="Segnaposto testo 20">
            <a:extLst>
              <a:ext uri="{FF2B5EF4-FFF2-40B4-BE49-F238E27FC236}">
                <a16:creationId xmlns:a16="http://schemas.microsoft.com/office/drawing/2014/main" id="{2ED50C9F-A8A7-4899-B9A2-803DD30ED1C8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872258" y="3733079"/>
            <a:ext cx="3440112" cy="1111250"/>
          </a:xfrm>
        </p:spPr>
        <p:txBody>
          <a:bodyPr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27" name="Segnaposto testo 26">
            <a:extLst>
              <a:ext uri="{FF2B5EF4-FFF2-40B4-BE49-F238E27FC236}">
                <a16:creationId xmlns:a16="http://schemas.microsoft.com/office/drawing/2014/main" id="{AD1F6205-C65D-4211-BB71-6B1354772E69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1130300" y="2520950"/>
            <a:ext cx="1552575" cy="493713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28" name="Segnaposto testo 26">
            <a:extLst>
              <a:ext uri="{FF2B5EF4-FFF2-40B4-BE49-F238E27FC236}">
                <a16:creationId xmlns:a16="http://schemas.microsoft.com/office/drawing/2014/main" id="{560A7628-9427-44A1-8CA9-82B2A00693E9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1130299" y="4041847"/>
            <a:ext cx="1552575" cy="493713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</p:spTree>
    <p:extLst>
      <p:ext uri="{BB962C8B-B14F-4D97-AF65-F5344CB8AC3E}">
        <p14:creationId xmlns:p14="http://schemas.microsoft.com/office/powerpoint/2010/main" val="4207543475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SSIMI PASS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ttangolo con angoli arrotondati 2">
            <a:extLst>
              <a:ext uri="{FF2B5EF4-FFF2-40B4-BE49-F238E27FC236}">
                <a16:creationId xmlns:a16="http://schemas.microsoft.com/office/drawing/2014/main" id="{ACC0ACF9-2CD3-4A46-8F07-8ADA5641DD38}"/>
              </a:ext>
            </a:extLst>
          </p:cNvPr>
          <p:cNvSpPr/>
          <p:nvPr userDrawn="1"/>
        </p:nvSpPr>
        <p:spPr>
          <a:xfrm>
            <a:off x="709352" y="1052946"/>
            <a:ext cx="10773295" cy="4131425"/>
          </a:xfrm>
          <a:prstGeom prst="roundRect">
            <a:avLst>
              <a:gd name="adj" fmla="val 4520"/>
            </a:avLst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b="1"/>
          </a:p>
        </p:txBody>
      </p:sp>
      <p:sp>
        <p:nvSpPr>
          <p:cNvPr id="2" name="Titolo 1"/>
          <p:cNvSpPr>
            <a:spLocks noGrp="1"/>
          </p:cNvSpPr>
          <p:nvPr>
            <p:ph type="title" hasCustomPrompt="1"/>
          </p:nvPr>
        </p:nvSpPr>
        <p:spPr>
          <a:xfrm>
            <a:off x="838200" y="247498"/>
            <a:ext cx="10515600" cy="484881"/>
          </a:xfrm>
        </p:spPr>
        <p:txBody>
          <a:bodyPr>
            <a:normAutofit/>
          </a:bodyPr>
          <a:lstStyle>
            <a:lvl1pPr algn="l">
              <a:defRPr sz="2200" b="1">
                <a:solidFill>
                  <a:schemeClr val="bg1"/>
                </a:solidFill>
              </a:defRPr>
            </a:lvl1pPr>
          </a:lstStyle>
          <a:p>
            <a:r>
              <a:rPr lang="it-IT"/>
              <a:t>Prossimi passi</a:t>
            </a:r>
          </a:p>
        </p:txBody>
      </p:sp>
      <p:sp>
        <p:nvSpPr>
          <p:cNvPr id="9" name="Segnaposto numero diapositiva 4">
            <a:extLst>
              <a:ext uri="{FF2B5EF4-FFF2-40B4-BE49-F238E27FC236}">
                <a16:creationId xmlns:a16="http://schemas.microsoft.com/office/drawing/2014/main" id="{EA5FA132-35A6-4E85-96A9-49717F3CB39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581900" y="6360319"/>
            <a:ext cx="2743200" cy="365125"/>
          </a:xfrm>
          <a:prstGeom prst="rect">
            <a:avLst/>
          </a:prstGeom>
        </p:spPr>
        <p:txBody>
          <a:bodyPr/>
          <a:lstStyle>
            <a:lvl1pPr algn="r">
              <a:defRPr sz="1200"/>
            </a:lvl1pPr>
          </a:lstStyle>
          <a:p>
            <a:fld id="{9501BE4A-6F75-0549-8D25-E25EBB4B1677}" type="slidenum">
              <a:rPr lang="it-IT" smtClean="0">
                <a:solidFill>
                  <a:schemeClr val="bg1"/>
                </a:solidFill>
              </a:rPr>
              <a:pPr/>
              <a:t>‹N›</a:t>
            </a:fld>
            <a:endParaRPr lang="it-IT" sz="1200">
              <a:solidFill>
                <a:schemeClr val="bg1"/>
              </a:solidFill>
            </a:endParaRPr>
          </a:p>
        </p:txBody>
      </p:sp>
      <p:sp>
        <p:nvSpPr>
          <p:cNvPr id="11" name="Segnaposto piè di pagina 4">
            <a:extLst>
              <a:ext uri="{FF2B5EF4-FFF2-40B4-BE49-F238E27FC236}">
                <a16:creationId xmlns:a16="http://schemas.microsoft.com/office/drawing/2014/main" id="{35256FB3-ADEF-4701-86D6-1AB30F9A6D4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467100" y="6360319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bg1"/>
                </a:solidFill>
              </a:defRPr>
            </a:lvl1pPr>
          </a:lstStyle>
          <a:p>
            <a:r>
              <a:rPr lang="it-IT"/>
              <a:t>Istituto per il Credito Sportivo Banca Sociale per lo Sport e la Cultura</a:t>
            </a:r>
            <a:endParaRPr lang="it-IT">
              <a:solidFill>
                <a:schemeClr val="bg1"/>
              </a:solidFill>
            </a:endParaRPr>
          </a:p>
        </p:txBody>
      </p:sp>
      <p:sp>
        <p:nvSpPr>
          <p:cNvPr id="5" name="Segnaposto testo 4">
            <a:extLst>
              <a:ext uri="{FF2B5EF4-FFF2-40B4-BE49-F238E27FC236}">
                <a16:creationId xmlns:a16="http://schemas.microsoft.com/office/drawing/2014/main" id="{9164D6A8-5FC3-4674-97CC-2E77D9AB8B9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09638" y="1223963"/>
            <a:ext cx="3319462" cy="355600"/>
          </a:xfrm>
        </p:spPr>
        <p:txBody>
          <a:bodyPr/>
          <a:lstStyle>
            <a:lvl1pPr marL="0" indent="0">
              <a:buNone/>
              <a:defRPr b="1"/>
            </a:lvl1pPr>
          </a:lstStyle>
          <a:p>
            <a:pPr lvl="0"/>
            <a:r>
              <a:rPr lang="it-IT"/>
              <a:t>Attività</a:t>
            </a:r>
          </a:p>
        </p:txBody>
      </p:sp>
      <p:sp>
        <p:nvSpPr>
          <p:cNvPr id="12" name="Segnaposto testo 4">
            <a:extLst>
              <a:ext uri="{FF2B5EF4-FFF2-40B4-BE49-F238E27FC236}">
                <a16:creationId xmlns:a16="http://schemas.microsoft.com/office/drawing/2014/main" id="{8A00C443-06FE-4C0B-A0B6-21E71F2AF63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634038" y="1223963"/>
            <a:ext cx="3319462" cy="355600"/>
          </a:xfrm>
        </p:spPr>
        <p:txBody>
          <a:bodyPr/>
          <a:lstStyle>
            <a:lvl1pPr marL="0" indent="0">
              <a:buNone/>
              <a:defRPr b="1"/>
            </a:lvl1pPr>
          </a:lstStyle>
          <a:p>
            <a:pPr lvl="0"/>
            <a:r>
              <a:rPr lang="it-IT"/>
              <a:t>Chi</a:t>
            </a:r>
          </a:p>
        </p:txBody>
      </p:sp>
      <p:sp>
        <p:nvSpPr>
          <p:cNvPr id="16" name="Segnaposto testo 4">
            <a:extLst>
              <a:ext uri="{FF2B5EF4-FFF2-40B4-BE49-F238E27FC236}">
                <a16:creationId xmlns:a16="http://schemas.microsoft.com/office/drawing/2014/main" id="{9207C149-1AC9-4D82-8B03-24AF1D6FAF2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000693" y="1223963"/>
            <a:ext cx="2215947" cy="355600"/>
          </a:xfrm>
        </p:spPr>
        <p:txBody>
          <a:bodyPr/>
          <a:lstStyle>
            <a:lvl1pPr marL="0" indent="0">
              <a:buNone/>
              <a:defRPr b="1"/>
            </a:lvl1pPr>
          </a:lstStyle>
          <a:p>
            <a:pPr lvl="0"/>
            <a:r>
              <a:rPr lang="it-IT"/>
              <a:t>Quando</a:t>
            </a:r>
          </a:p>
        </p:txBody>
      </p:sp>
      <p:cxnSp>
        <p:nvCxnSpPr>
          <p:cNvPr id="8" name="Connettore diritto 7">
            <a:extLst>
              <a:ext uri="{FF2B5EF4-FFF2-40B4-BE49-F238E27FC236}">
                <a16:creationId xmlns:a16="http://schemas.microsoft.com/office/drawing/2014/main" id="{97265B0D-3246-4233-9657-F3D1F62DC63C}"/>
              </a:ext>
            </a:extLst>
          </p:cNvPr>
          <p:cNvCxnSpPr/>
          <p:nvPr userDrawn="1"/>
        </p:nvCxnSpPr>
        <p:spPr>
          <a:xfrm flipV="1">
            <a:off x="838200" y="1673629"/>
            <a:ext cx="10515600" cy="38793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Segnaposto testo 17">
            <a:extLst>
              <a:ext uri="{FF2B5EF4-FFF2-40B4-BE49-F238E27FC236}">
                <a16:creationId xmlns:a16="http://schemas.microsoft.com/office/drawing/2014/main" id="{FCEFA0AA-8915-4129-B5E8-FD5016F51A9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909638" y="1911350"/>
            <a:ext cx="4238625" cy="2566988"/>
          </a:xfrm>
        </p:spPr>
        <p:txBody>
          <a:bodyPr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19" name="Segnaposto testo 17">
            <a:extLst>
              <a:ext uri="{FF2B5EF4-FFF2-40B4-BE49-F238E27FC236}">
                <a16:creationId xmlns:a16="http://schemas.microsoft.com/office/drawing/2014/main" id="{E6249EEE-A711-45A8-8FE6-7077F518E50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634039" y="1911350"/>
            <a:ext cx="3319462" cy="2566988"/>
          </a:xfrm>
        </p:spPr>
        <p:txBody>
          <a:bodyPr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20" name="Segnaposto testo 17">
            <a:extLst>
              <a:ext uri="{FF2B5EF4-FFF2-40B4-BE49-F238E27FC236}">
                <a16:creationId xmlns:a16="http://schemas.microsoft.com/office/drawing/2014/main" id="{A7985701-7A9B-4E6B-83E0-00C7E4AA42C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9023641" y="1900130"/>
            <a:ext cx="2192999" cy="2566988"/>
          </a:xfrm>
        </p:spPr>
        <p:txBody>
          <a:bodyPr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21" name="Segnaposto testo 6">
            <a:extLst>
              <a:ext uri="{FF2B5EF4-FFF2-40B4-BE49-F238E27FC236}">
                <a16:creationId xmlns:a16="http://schemas.microsoft.com/office/drawing/2014/main" id="{FD698E0F-49FD-4AFE-AC97-1FB05A9D409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38200" y="5392391"/>
            <a:ext cx="5658139" cy="582612"/>
          </a:xfrm>
        </p:spPr>
        <p:txBody>
          <a:bodyPr>
            <a:normAutofit/>
          </a:bodyPr>
          <a:lstStyle>
            <a:lvl1pPr>
              <a:spcBef>
                <a:spcPts val="500"/>
              </a:spcBef>
              <a:buFont typeface="+mj-lt"/>
              <a:buAutoNum type="arabicPeriod"/>
              <a:defRPr sz="1000"/>
            </a:lvl1pPr>
          </a:lstStyle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</p:txBody>
      </p:sp>
    </p:spTree>
    <p:extLst>
      <p:ext uri="{BB962C8B-B14F-4D97-AF65-F5344CB8AC3E}">
        <p14:creationId xmlns:p14="http://schemas.microsoft.com/office/powerpoint/2010/main" val="1798228322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llega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 hasCustomPrompt="1"/>
          </p:nvPr>
        </p:nvSpPr>
        <p:spPr>
          <a:xfrm>
            <a:off x="743989" y="2896487"/>
            <a:ext cx="10515600" cy="484881"/>
          </a:xfrm>
        </p:spPr>
        <p:txBody>
          <a:bodyPr>
            <a:normAutofit/>
          </a:bodyPr>
          <a:lstStyle>
            <a:lvl1pPr algn="ctr">
              <a:defRPr sz="2200" b="1">
                <a:solidFill>
                  <a:schemeClr val="bg1"/>
                </a:solidFill>
              </a:defRPr>
            </a:lvl1pPr>
          </a:lstStyle>
          <a:p>
            <a:r>
              <a:rPr lang="it-IT"/>
              <a:t>ALLEGATI</a:t>
            </a:r>
          </a:p>
        </p:txBody>
      </p:sp>
      <p:sp>
        <p:nvSpPr>
          <p:cNvPr id="9" name="Segnaposto numero diapositiva 4">
            <a:extLst>
              <a:ext uri="{FF2B5EF4-FFF2-40B4-BE49-F238E27FC236}">
                <a16:creationId xmlns:a16="http://schemas.microsoft.com/office/drawing/2014/main" id="{EA5FA132-35A6-4E85-96A9-49717F3CB39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581900" y="6360319"/>
            <a:ext cx="2743200" cy="365125"/>
          </a:xfrm>
          <a:prstGeom prst="rect">
            <a:avLst/>
          </a:prstGeom>
        </p:spPr>
        <p:txBody>
          <a:bodyPr/>
          <a:lstStyle>
            <a:lvl1pPr algn="r">
              <a:defRPr sz="1200"/>
            </a:lvl1pPr>
          </a:lstStyle>
          <a:p>
            <a:fld id="{9501BE4A-6F75-0549-8D25-E25EBB4B1677}" type="slidenum">
              <a:rPr lang="it-IT" smtClean="0">
                <a:solidFill>
                  <a:schemeClr val="bg1"/>
                </a:solidFill>
              </a:rPr>
              <a:pPr/>
              <a:t>‹N›</a:t>
            </a:fld>
            <a:endParaRPr lang="it-IT" sz="1200">
              <a:solidFill>
                <a:schemeClr val="bg1"/>
              </a:solidFill>
            </a:endParaRPr>
          </a:p>
        </p:txBody>
      </p:sp>
      <p:sp>
        <p:nvSpPr>
          <p:cNvPr id="11" name="Segnaposto piè di pagina 4">
            <a:extLst>
              <a:ext uri="{FF2B5EF4-FFF2-40B4-BE49-F238E27FC236}">
                <a16:creationId xmlns:a16="http://schemas.microsoft.com/office/drawing/2014/main" id="{35256FB3-ADEF-4701-86D6-1AB30F9A6D4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467100" y="6360319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bg1"/>
                </a:solidFill>
              </a:defRPr>
            </a:lvl1pPr>
          </a:lstStyle>
          <a:p>
            <a:r>
              <a:rPr lang="it-IT"/>
              <a:t>Istituto per il Credito Sportivo Banca Sociale per lo Sport e la Cultura</a:t>
            </a:r>
            <a:endParaRPr lang="it-IT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67868577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>
              <a:defRPr sz="1200" b="0" i="0">
                <a:solidFill>
                  <a:schemeClr val="bg1"/>
                </a:solidFill>
                <a:latin typeface="Trebuchet MS"/>
                <a:cs typeface="Trebuchet MS"/>
              </a:defRPr>
            </a:lvl1pPr>
          </a:lstStyle>
          <a:p>
            <a:pPr marL="12700">
              <a:lnSpc>
                <a:spcPct val="100000"/>
              </a:lnSpc>
              <a:spcBef>
                <a:spcPts val="25"/>
              </a:spcBef>
            </a:pPr>
            <a:r>
              <a:rPr lang="it-IT"/>
              <a:t>Istituto per il Credito Sportivo Banca Sociale per lo Sport e la Cultura</a:t>
            </a:r>
            <a:endParaRPr spc="-15"/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6A002F3-703C-4878-9A53-8CDC5D0631CC}" type="datetime1">
              <a:rPr lang="en-US" smtClean="0"/>
              <a:t>7/19/2022</a:t>
            </a:fld>
            <a:endParaRPr lang="en-US"/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1200" b="0" i="0">
                <a:solidFill>
                  <a:schemeClr val="bg1"/>
                </a:solidFill>
                <a:latin typeface="Trebuchet MS"/>
                <a:cs typeface="Trebuchet MS"/>
              </a:defRPr>
            </a:lvl1pPr>
          </a:lstStyle>
          <a:p>
            <a:pPr marL="116839">
              <a:lnSpc>
                <a:spcPct val="100000"/>
              </a:lnSpc>
              <a:spcBef>
                <a:spcPts val="385"/>
              </a:spcBef>
            </a:pPr>
            <a:fld id="{81D60167-4931-47E6-BA6A-407CBD079E47}" type="slidenum">
              <a:rPr dirty="0"/>
              <a:t>‹N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86605556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2200" b="1" i="0">
                <a:solidFill>
                  <a:schemeClr val="bg1"/>
                </a:solidFill>
                <a:latin typeface="Trebuchet MS"/>
                <a:cs typeface="Trebuchet MS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>
              <a:defRPr sz="1200" b="0" i="0">
                <a:solidFill>
                  <a:schemeClr val="bg1"/>
                </a:solidFill>
                <a:latin typeface="Trebuchet MS"/>
                <a:cs typeface="Trebuchet MS"/>
              </a:defRPr>
            </a:lvl1pPr>
          </a:lstStyle>
          <a:p>
            <a:pPr marL="12700">
              <a:lnSpc>
                <a:spcPct val="100000"/>
              </a:lnSpc>
              <a:spcBef>
                <a:spcPts val="25"/>
              </a:spcBef>
            </a:pPr>
            <a:r>
              <a:rPr lang="it-IT"/>
              <a:t>Istituto per il Credito Sportivo Banca Sociale per lo Sport e la Cultura</a:t>
            </a:r>
            <a:endParaRPr spc="-15"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CAAEA79-8C8A-4C37-952C-5F1F0FFC9DE5}" type="datetime1">
              <a:rPr lang="en-US" smtClean="0"/>
              <a:t>7/19/2022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1200" b="0" i="0">
                <a:solidFill>
                  <a:schemeClr val="bg1"/>
                </a:solidFill>
                <a:latin typeface="Trebuchet MS"/>
                <a:cs typeface="Trebuchet MS"/>
              </a:defRPr>
            </a:lvl1pPr>
          </a:lstStyle>
          <a:p>
            <a:pPr marL="116839">
              <a:lnSpc>
                <a:spcPct val="100000"/>
              </a:lnSpc>
              <a:spcBef>
                <a:spcPts val="385"/>
              </a:spcBef>
            </a:pPr>
            <a:fld id="{81D60167-4931-47E6-BA6A-407CBD079E47}" type="slidenum">
              <a:rPr dirty="0"/>
              <a:t>‹N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07090065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pertin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ottotitolo 2"/>
          <p:cNvSpPr>
            <a:spLocks noGrp="1"/>
          </p:cNvSpPr>
          <p:nvPr>
            <p:ph type="subTitle" idx="1" hasCustomPrompt="1"/>
          </p:nvPr>
        </p:nvSpPr>
        <p:spPr>
          <a:xfrm>
            <a:off x="1524000" y="4684035"/>
            <a:ext cx="9144000" cy="399838"/>
          </a:xfrm>
        </p:spPr>
        <p:txBody>
          <a:bodyPr>
            <a:normAutofit/>
          </a:bodyPr>
          <a:lstStyle>
            <a:lvl1pPr marL="0" indent="0" algn="l">
              <a:buNone/>
              <a:defRPr sz="1800" baseline="0">
                <a:solidFill>
                  <a:srgbClr val="5C707B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it-IT"/>
              <a:t>Inserire Ufficio</a:t>
            </a:r>
          </a:p>
        </p:txBody>
      </p:sp>
      <p:pic>
        <p:nvPicPr>
          <p:cNvPr id="7" name="Immagin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32782"/>
            <a:ext cx="12192000" cy="2800349"/>
          </a:xfrm>
          <a:prstGeom prst="rect">
            <a:avLst/>
          </a:prstGeom>
        </p:spPr>
      </p:pic>
      <p:sp>
        <p:nvSpPr>
          <p:cNvPr id="11" name="Rettangolo 10"/>
          <p:cNvSpPr/>
          <p:nvPr userDrawn="1"/>
        </p:nvSpPr>
        <p:spPr>
          <a:xfrm>
            <a:off x="0" y="5988676"/>
            <a:ext cx="12192000" cy="8693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pic>
        <p:nvPicPr>
          <p:cNvPr id="8" name="Immagine 7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68000" y="6423002"/>
            <a:ext cx="1224818" cy="171348"/>
          </a:xfrm>
          <a:prstGeom prst="rect">
            <a:avLst/>
          </a:prstGeom>
        </p:spPr>
      </p:pic>
      <p:pic>
        <p:nvPicPr>
          <p:cNvPr id="9" name="Immagine 8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6313" y="6423002"/>
            <a:ext cx="1136159" cy="168551"/>
          </a:xfrm>
          <a:prstGeom prst="rect">
            <a:avLst/>
          </a:prstGeom>
        </p:spPr>
      </p:pic>
      <p:sp>
        <p:nvSpPr>
          <p:cNvPr id="5" name="Segnaposto testo 4"/>
          <p:cNvSpPr>
            <a:spLocks noGrp="1"/>
          </p:cNvSpPr>
          <p:nvPr>
            <p:ph type="body" sz="quarter" idx="10" hasCustomPrompt="1"/>
          </p:nvPr>
        </p:nvSpPr>
        <p:spPr>
          <a:xfrm>
            <a:off x="1524000" y="5646567"/>
            <a:ext cx="9242425" cy="288974"/>
          </a:xfrm>
        </p:spPr>
        <p:txBody>
          <a:bodyPr>
            <a:normAutofit/>
          </a:bodyPr>
          <a:lstStyle>
            <a:lvl1pPr marL="0" indent="0" algn="r">
              <a:buNone/>
              <a:defRPr sz="1400" baseline="0"/>
            </a:lvl1pPr>
          </a:lstStyle>
          <a:p>
            <a:pPr lvl="0"/>
            <a:r>
              <a:rPr lang="it-IT"/>
              <a:t>Inserire Luogo e Data</a:t>
            </a:r>
          </a:p>
        </p:txBody>
      </p:sp>
      <p:sp>
        <p:nvSpPr>
          <p:cNvPr id="14" name="Titolo 13"/>
          <p:cNvSpPr>
            <a:spLocks noGrp="1"/>
          </p:cNvSpPr>
          <p:nvPr>
            <p:ph type="title"/>
          </p:nvPr>
        </p:nvSpPr>
        <p:spPr>
          <a:xfrm>
            <a:off x="1524000" y="3269674"/>
            <a:ext cx="10515600" cy="1236598"/>
          </a:xfrm>
          <a:noFill/>
        </p:spPr>
        <p:txBody>
          <a:bodyPr>
            <a:normAutofit/>
          </a:bodyPr>
          <a:lstStyle>
            <a:lvl1pPr>
              <a:defRPr sz="2400">
                <a:solidFill>
                  <a:schemeClr val="tx1"/>
                </a:solidFill>
              </a:defRPr>
            </a:lvl1pPr>
          </a:lstStyle>
          <a:p>
            <a:r>
              <a:rPr lang="it-IT"/>
              <a:t>Fare clic per modificare lo stile del titolo dello schema</a:t>
            </a:r>
          </a:p>
        </p:txBody>
      </p:sp>
    </p:spTree>
    <p:extLst>
      <p:ext uri="{BB962C8B-B14F-4D97-AF65-F5344CB8AC3E}">
        <p14:creationId xmlns:p14="http://schemas.microsoft.com/office/powerpoint/2010/main" val="240992260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2200" b="1" i="0">
                <a:solidFill>
                  <a:schemeClr val="bg1"/>
                </a:solidFill>
                <a:latin typeface="Trebuchet MS"/>
                <a:cs typeface="Trebuchet MS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609600" y="1577340"/>
            <a:ext cx="530352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6278880" y="1577340"/>
            <a:ext cx="530352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>
              <a:defRPr sz="1200" b="0" i="0">
                <a:solidFill>
                  <a:schemeClr val="bg1"/>
                </a:solidFill>
                <a:latin typeface="Trebuchet MS"/>
                <a:cs typeface="Trebuchet MS"/>
              </a:defRPr>
            </a:lvl1pPr>
          </a:lstStyle>
          <a:p>
            <a:pPr marL="12700">
              <a:lnSpc>
                <a:spcPct val="100000"/>
              </a:lnSpc>
              <a:spcBef>
                <a:spcPts val="25"/>
              </a:spcBef>
            </a:pPr>
            <a:r>
              <a:rPr lang="it-IT"/>
              <a:t>Istituto per il Credito Sportivo Banca Sociale per lo Sport e la Cultura</a:t>
            </a:r>
            <a:endParaRPr spc="-15" dirty="0"/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0799E14-E3C9-47BD-A59F-784E47E18E9D}" type="datetime1">
              <a:rPr lang="en-US" smtClean="0"/>
              <a:t>7/19/2022</a:t>
            </a:fld>
            <a:endParaRPr lang="en-US"/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1200" b="0" i="0">
                <a:solidFill>
                  <a:schemeClr val="bg1"/>
                </a:solidFill>
                <a:latin typeface="Trebuchet MS"/>
                <a:cs typeface="Trebuchet MS"/>
              </a:defRPr>
            </a:lvl1pPr>
          </a:lstStyle>
          <a:p>
            <a:pPr marL="116839">
              <a:lnSpc>
                <a:spcPct val="100000"/>
              </a:lnSpc>
              <a:spcBef>
                <a:spcPts val="385"/>
              </a:spcBef>
            </a:pPr>
            <a:fld id="{81D60167-4931-47E6-BA6A-407CBD079E47}" type="slidenum">
              <a:rPr dirty="0"/>
              <a:t>‹N›</a:t>
            </a:fld>
            <a:endParaRPr dirty="0"/>
          </a:p>
        </p:txBody>
      </p:sp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ol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838200" y="247498"/>
            <a:ext cx="10515600" cy="484881"/>
          </a:xfrm>
        </p:spPr>
        <p:txBody>
          <a:bodyPr>
            <a:normAutofit/>
          </a:bodyPr>
          <a:lstStyle>
            <a:lvl1pPr algn="l">
              <a:defRPr sz="2200" b="1">
                <a:solidFill>
                  <a:schemeClr val="bg1"/>
                </a:solidFill>
              </a:defRPr>
            </a:lvl1pPr>
          </a:lstStyle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9" name="Segnaposto numero diapositiva 4">
            <a:extLst>
              <a:ext uri="{FF2B5EF4-FFF2-40B4-BE49-F238E27FC236}">
                <a16:creationId xmlns:a16="http://schemas.microsoft.com/office/drawing/2014/main" id="{EA5FA132-35A6-4E85-96A9-49717F3CB39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581900" y="6360319"/>
            <a:ext cx="2743200" cy="365125"/>
          </a:xfrm>
          <a:prstGeom prst="rect">
            <a:avLst/>
          </a:prstGeom>
        </p:spPr>
        <p:txBody>
          <a:bodyPr/>
          <a:lstStyle>
            <a:lvl1pPr algn="r">
              <a:defRPr sz="1200"/>
            </a:lvl1pPr>
          </a:lstStyle>
          <a:p>
            <a:fld id="{9501BE4A-6F75-0549-8D25-E25EBB4B1677}" type="slidenum">
              <a:rPr lang="it-IT" smtClean="0">
                <a:solidFill>
                  <a:schemeClr val="bg1"/>
                </a:solidFill>
              </a:rPr>
              <a:pPr/>
              <a:t>‹N›</a:t>
            </a:fld>
            <a:endParaRPr lang="it-IT" sz="1200">
              <a:solidFill>
                <a:schemeClr val="bg1"/>
              </a:solidFill>
            </a:endParaRPr>
          </a:p>
        </p:txBody>
      </p:sp>
      <p:sp>
        <p:nvSpPr>
          <p:cNvPr id="10" name="Segnaposto testo 2">
            <a:extLst>
              <a:ext uri="{FF2B5EF4-FFF2-40B4-BE49-F238E27FC236}">
                <a16:creationId xmlns:a16="http://schemas.microsoft.com/office/drawing/2014/main" id="{F35D58D9-94CF-4EB2-AE0A-74B02B019C71}"/>
              </a:ext>
            </a:extLst>
          </p:cNvPr>
          <p:cNvSpPr>
            <a:spLocks noGrp="1"/>
          </p:cNvSpPr>
          <p:nvPr>
            <p:ph type="body" idx="11" hasCustomPrompt="1"/>
          </p:nvPr>
        </p:nvSpPr>
        <p:spPr>
          <a:xfrm>
            <a:off x="838200" y="803697"/>
            <a:ext cx="10515600" cy="376606"/>
          </a:xfrm>
        </p:spPr>
        <p:txBody>
          <a:bodyPr>
            <a:normAutofit/>
          </a:bodyPr>
          <a:lstStyle>
            <a:lvl1pPr marL="0" indent="0" algn="l">
              <a:buNone/>
              <a:defRPr sz="1800">
                <a:solidFill>
                  <a:srgbClr val="5C707B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it-IT"/>
              <a:t>Sottotitolo</a:t>
            </a:r>
          </a:p>
        </p:txBody>
      </p:sp>
      <p:sp>
        <p:nvSpPr>
          <p:cNvPr id="4" name="Segnaposto testo 3">
            <a:extLst>
              <a:ext uri="{FF2B5EF4-FFF2-40B4-BE49-F238E27FC236}">
                <a16:creationId xmlns:a16="http://schemas.microsoft.com/office/drawing/2014/main" id="{DD619220-D121-4E8E-A124-5AF02D367B8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936625" y="1662113"/>
            <a:ext cx="10031413" cy="3419734"/>
          </a:xfrm>
        </p:spPr>
        <p:txBody>
          <a:bodyPr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7" name="Segnaposto testo 6">
            <a:extLst>
              <a:ext uri="{FF2B5EF4-FFF2-40B4-BE49-F238E27FC236}">
                <a16:creationId xmlns:a16="http://schemas.microsoft.com/office/drawing/2014/main" id="{08B240D5-5D10-4180-A262-78835B6DA63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81205" y="5563657"/>
            <a:ext cx="5658139" cy="582612"/>
          </a:xfrm>
        </p:spPr>
        <p:txBody>
          <a:bodyPr>
            <a:normAutofit/>
          </a:bodyPr>
          <a:lstStyle>
            <a:lvl1pPr>
              <a:spcBef>
                <a:spcPts val="500"/>
              </a:spcBef>
              <a:buFont typeface="+mj-lt"/>
              <a:buAutoNum type="arabicPeriod"/>
              <a:defRPr sz="1000"/>
            </a:lvl1pPr>
          </a:lstStyle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</p:txBody>
      </p:sp>
      <p:sp>
        <p:nvSpPr>
          <p:cNvPr id="13" name="Segnaposto piè di pagina 4">
            <a:extLst>
              <a:ext uri="{FF2B5EF4-FFF2-40B4-BE49-F238E27FC236}">
                <a16:creationId xmlns:a16="http://schemas.microsoft.com/office/drawing/2014/main" id="{F246C28B-33CB-431C-92FC-1E68F99DC46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467100" y="6360319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bg1"/>
                </a:solidFill>
              </a:defRPr>
            </a:lvl1pPr>
          </a:lstStyle>
          <a:p>
            <a:r>
              <a:rPr lang="it-IT"/>
              <a:t>Istituto per il Credito Sportivo Banca Sociale per lo Sport e la Cultura</a:t>
            </a:r>
            <a:endParaRPr lang="it-IT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62943048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EXECUTIVE SUMMA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ttangolo con angoli arrotondati 2">
            <a:extLst>
              <a:ext uri="{FF2B5EF4-FFF2-40B4-BE49-F238E27FC236}">
                <a16:creationId xmlns:a16="http://schemas.microsoft.com/office/drawing/2014/main" id="{ACC0ACF9-2CD3-4A46-8F07-8ADA5641DD38}"/>
              </a:ext>
            </a:extLst>
          </p:cNvPr>
          <p:cNvSpPr/>
          <p:nvPr userDrawn="1"/>
        </p:nvSpPr>
        <p:spPr>
          <a:xfrm>
            <a:off x="753687" y="1052946"/>
            <a:ext cx="10773295" cy="4516582"/>
          </a:xfrm>
          <a:prstGeom prst="roundRect">
            <a:avLst>
              <a:gd name="adj" fmla="val 4520"/>
            </a:avLst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838200" y="247498"/>
            <a:ext cx="10515600" cy="484881"/>
          </a:xfrm>
        </p:spPr>
        <p:txBody>
          <a:bodyPr>
            <a:normAutofit/>
          </a:bodyPr>
          <a:lstStyle>
            <a:lvl1pPr algn="l">
              <a:defRPr sz="2200" b="1">
                <a:solidFill>
                  <a:schemeClr val="bg1"/>
                </a:solidFill>
              </a:defRPr>
            </a:lvl1pPr>
          </a:lstStyle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9" name="Segnaposto numero diapositiva 4">
            <a:extLst>
              <a:ext uri="{FF2B5EF4-FFF2-40B4-BE49-F238E27FC236}">
                <a16:creationId xmlns:a16="http://schemas.microsoft.com/office/drawing/2014/main" id="{EA5FA132-35A6-4E85-96A9-49717F3CB39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581900" y="6360319"/>
            <a:ext cx="2743200" cy="365125"/>
          </a:xfrm>
          <a:prstGeom prst="rect">
            <a:avLst/>
          </a:prstGeom>
        </p:spPr>
        <p:txBody>
          <a:bodyPr/>
          <a:lstStyle>
            <a:lvl1pPr algn="r">
              <a:defRPr sz="1200"/>
            </a:lvl1pPr>
          </a:lstStyle>
          <a:p>
            <a:fld id="{9501BE4A-6F75-0549-8D25-E25EBB4B1677}" type="slidenum">
              <a:rPr lang="it-IT" smtClean="0">
                <a:solidFill>
                  <a:schemeClr val="bg1"/>
                </a:solidFill>
              </a:rPr>
              <a:pPr/>
              <a:t>‹N›</a:t>
            </a:fld>
            <a:endParaRPr lang="it-IT" sz="1200">
              <a:solidFill>
                <a:schemeClr val="bg1"/>
              </a:solidFill>
            </a:endParaRPr>
          </a:p>
        </p:txBody>
      </p:sp>
      <p:sp>
        <p:nvSpPr>
          <p:cNvPr id="10" name="Segnaposto testo 2">
            <a:extLst>
              <a:ext uri="{FF2B5EF4-FFF2-40B4-BE49-F238E27FC236}">
                <a16:creationId xmlns:a16="http://schemas.microsoft.com/office/drawing/2014/main" id="{F35D58D9-94CF-4EB2-AE0A-74B02B019C71}"/>
              </a:ext>
            </a:extLst>
          </p:cNvPr>
          <p:cNvSpPr>
            <a:spLocks noGrp="1"/>
          </p:cNvSpPr>
          <p:nvPr>
            <p:ph type="body" idx="11" hasCustomPrompt="1"/>
          </p:nvPr>
        </p:nvSpPr>
        <p:spPr>
          <a:xfrm>
            <a:off x="838200" y="1088825"/>
            <a:ext cx="10515600" cy="376606"/>
          </a:xfrm>
        </p:spPr>
        <p:txBody>
          <a:bodyPr>
            <a:normAutofit/>
          </a:bodyPr>
          <a:lstStyle>
            <a:lvl1pPr marL="0" indent="0" algn="l">
              <a:buNone/>
              <a:defRPr sz="1600" b="1">
                <a:solidFill>
                  <a:srgbClr val="5C707B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it-IT"/>
              <a:t>Sottotitolo</a:t>
            </a:r>
          </a:p>
        </p:txBody>
      </p:sp>
      <p:sp>
        <p:nvSpPr>
          <p:cNvPr id="11" name="Segnaposto piè di pagina 4">
            <a:extLst>
              <a:ext uri="{FF2B5EF4-FFF2-40B4-BE49-F238E27FC236}">
                <a16:creationId xmlns:a16="http://schemas.microsoft.com/office/drawing/2014/main" id="{35256FB3-ADEF-4701-86D6-1AB30F9A6D4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467100" y="6360319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bg1"/>
                </a:solidFill>
              </a:defRPr>
            </a:lvl1pPr>
          </a:lstStyle>
          <a:p>
            <a:r>
              <a:rPr lang="it-IT"/>
              <a:t>Istituto per il Credito Sportivo Banca Sociale per lo Sport e la Cultura</a:t>
            </a:r>
            <a:endParaRPr lang="it-IT">
              <a:solidFill>
                <a:schemeClr val="bg1"/>
              </a:solidFill>
            </a:endParaRPr>
          </a:p>
        </p:txBody>
      </p:sp>
      <p:cxnSp>
        <p:nvCxnSpPr>
          <p:cNvPr id="13" name="Connettore diritto 12">
            <a:extLst>
              <a:ext uri="{FF2B5EF4-FFF2-40B4-BE49-F238E27FC236}">
                <a16:creationId xmlns:a16="http://schemas.microsoft.com/office/drawing/2014/main" id="{5DF53F4F-87E3-4A3F-AC50-ED4C1D6CB972}"/>
              </a:ext>
            </a:extLst>
          </p:cNvPr>
          <p:cNvCxnSpPr>
            <a:cxnSpLocks/>
          </p:cNvCxnSpPr>
          <p:nvPr userDrawn="1"/>
        </p:nvCxnSpPr>
        <p:spPr>
          <a:xfrm flipV="1">
            <a:off x="838200" y="1391278"/>
            <a:ext cx="10515600" cy="43291"/>
          </a:xfrm>
          <a:prstGeom prst="line">
            <a:avLst/>
          </a:prstGeom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14" name="Segnaposto testo 13">
            <a:extLst>
              <a:ext uri="{FF2B5EF4-FFF2-40B4-BE49-F238E27FC236}">
                <a16:creationId xmlns:a16="http://schemas.microsoft.com/office/drawing/2014/main" id="{B8FB7765-9C58-4AD7-B5B7-5F2E8A520964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941388" y="1657350"/>
            <a:ext cx="10358437" cy="3662363"/>
          </a:xfrm>
        </p:spPr>
        <p:txBody>
          <a:bodyPr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</p:spTree>
    <p:extLst>
      <p:ext uri="{BB962C8B-B14F-4D97-AF65-F5344CB8AC3E}">
        <p14:creationId xmlns:p14="http://schemas.microsoft.com/office/powerpoint/2010/main" val="1123091952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uto del documen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 hasCustomPrompt="1"/>
          </p:nvPr>
        </p:nvSpPr>
        <p:spPr>
          <a:xfrm>
            <a:off x="838200" y="236415"/>
            <a:ext cx="10515600" cy="484881"/>
          </a:xfrm>
        </p:spPr>
        <p:txBody>
          <a:bodyPr>
            <a:normAutofit/>
          </a:bodyPr>
          <a:lstStyle>
            <a:lvl1pPr algn="l">
              <a:defRPr sz="2200" b="1">
                <a:solidFill>
                  <a:schemeClr val="bg1"/>
                </a:solidFill>
              </a:defRPr>
            </a:lvl1pPr>
          </a:lstStyle>
          <a:p>
            <a:r>
              <a:rPr lang="it-IT"/>
              <a:t>Contenuto del documento</a:t>
            </a:r>
          </a:p>
        </p:txBody>
      </p:sp>
      <p:sp>
        <p:nvSpPr>
          <p:cNvPr id="9" name="Segnaposto numero diapositiva 4">
            <a:extLst>
              <a:ext uri="{FF2B5EF4-FFF2-40B4-BE49-F238E27FC236}">
                <a16:creationId xmlns:a16="http://schemas.microsoft.com/office/drawing/2014/main" id="{EA5FA132-35A6-4E85-96A9-49717F3CB39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581900" y="6360319"/>
            <a:ext cx="2743200" cy="365125"/>
          </a:xfrm>
          <a:prstGeom prst="rect">
            <a:avLst/>
          </a:prstGeom>
        </p:spPr>
        <p:txBody>
          <a:bodyPr/>
          <a:lstStyle>
            <a:lvl1pPr algn="r">
              <a:defRPr sz="1200"/>
            </a:lvl1pPr>
          </a:lstStyle>
          <a:p>
            <a:fld id="{9501BE4A-6F75-0549-8D25-E25EBB4B1677}" type="slidenum">
              <a:rPr lang="it-IT" smtClean="0">
                <a:solidFill>
                  <a:schemeClr val="bg1"/>
                </a:solidFill>
              </a:rPr>
              <a:pPr/>
              <a:t>‹N›</a:t>
            </a:fld>
            <a:endParaRPr lang="it-IT" sz="1200">
              <a:solidFill>
                <a:schemeClr val="bg1"/>
              </a:solidFill>
            </a:endParaRPr>
          </a:p>
        </p:txBody>
      </p:sp>
      <p:sp>
        <p:nvSpPr>
          <p:cNvPr id="11" name="Segnaposto piè di pagina 4">
            <a:extLst>
              <a:ext uri="{FF2B5EF4-FFF2-40B4-BE49-F238E27FC236}">
                <a16:creationId xmlns:a16="http://schemas.microsoft.com/office/drawing/2014/main" id="{35256FB3-ADEF-4701-86D6-1AB30F9A6D4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467100" y="6360319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bg1"/>
                </a:solidFill>
              </a:defRPr>
            </a:lvl1pPr>
          </a:lstStyle>
          <a:p>
            <a:r>
              <a:rPr lang="it-IT"/>
              <a:t>Istituto per il Credito Sportivo Banca Sociale per lo Sport e la Cultura</a:t>
            </a:r>
            <a:endParaRPr lang="it-IT">
              <a:solidFill>
                <a:schemeClr val="bg1"/>
              </a:solidFill>
            </a:endParaRPr>
          </a:p>
        </p:txBody>
      </p:sp>
      <p:sp>
        <p:nvSpPr>
          <p:cNvPr id="18" name="Segnaposto testo 17">
            <a:extLst>
              <a:ext uri="{FF2B5EF4-FFF2-40B4-BE49-F238E27FC236}">
                <a16:creationId xmlns:a16="http://schemas.microsoft.com/office/drawing/2014/main" id="{C3FCFF63-3DC3-4C49-AA74-4E440D71349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158875" y="2042970"/>
            <a:ext cx="5153025" cy="1457325"/>
          </a:xfrm>
        </p:spPr>
        <p:txBody>
          <a:bodyPr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</p:spTree>
    <p:extLst>
      <p:ext uri="{BB962C8B-B14F-4D97-AF65-F5344CB8AC3E}">
        <p14:creationId xmlns:p14="http://schemas.microsoft.com/office/powerpoint/2010/main" val="875743220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recce e tes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838200" y="247498"/>
            <a:ext cx="10515600" cy="484881"/>
          </a:xfrm>
        </p:spPr>
        <p:txBody>
          <a:bodyPr>
            <a:normAutofit/>
          </a:bodyPr>
          <a:lstStyle>
            <a:lvl1pPr algn="l">
              <a:defRPr sz="2200" b="1">
                <a:solidFill>
                  <a:schemeClr val="bg1"/>
                </a:solidFill>
              </a:defRPr>
            </a:lvl1pPr>
          </a:lstStyle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9" name="Segnaposto numero diapositiva 4">
            <a:extLst>
              <a:ext uri="{FF2B5EF4-FFF2-40B4-BE49-F238E27FC236}">
                <a16:creationId xmlns:a16="http://schemas.microsoft.com/office/drawing/2014/main" id="{EA5FA132-35A6-4E85-96A9-49717F3CB39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581900" y="6360319"/>
            <a:ext cx="2743200" cy="365125"/>
          </a:xfrm>
          <a:prstGeom prst="rect">
            <a:avLst/>
          </a:prstGeom>
        </p:spPr>
        <p:txBody>
          <a:bodyPr/>
          <a:lstStyle>
            <a:lvl1pPr algn="r">
              <a:defRPr sz="1200"/>
            </a:lvl1pPr>
          </a:lstStyle>
          <a:p>
            <a:fld id="{9501BE4A-6F75-0549-8D25-E25EBB4B1677}" type="slidenum">
              <a:rPr lang="it-IT" smtClean="0">
                <a:solidFill>
                  <a:schemeClr val="bg1"/>
                </a:solidFill>
              </a:rPr>
              <a:pPr/>
              <a:t>‹N›</a:t>
            </a:fld>
            <a:endParaRPr lang="it-IT" sz="1200">
              <a:solidFill>
                <a:schemeClr val="bg1"/>
              </a:solidFill>
            </a:endParaRPr>
          </a:p>
        </p:txBody>
      </p:sp>
      <p:sp>
        <p:nvSpPr>
          <p:cNvPr id="10" name="Segnaposto testo 2">
            <a:extLst>
              <a:ext uri="{FF2B5EF4-FFF2-40B4-BE49-F238E27FC236}">
                <a16:creationId xmlns:a16="http://schemas.microsoft.com/office/drawing/2014/main" id="{F35D58D9-94CF-4EB2-AE0A-74B02B019C71}"/>
              </a:ext>
            </a:extLst>
          </p:cNvPr>
          <p:cNvSpPr>
            <a:spLocks noGrp="1"/>
          </p:cNvSpPr>
          <p:nvPr>
            <p:ph type="body" idx="11" hasCustomPrompt="1"/>
          </p:nvPr>
        </p:nvSpPr>
        <p:spPr>
          <a:xfrm>
            <a:off x="838200" y="803697"/>
            <a:ext cx="10515600" cy="376606"/>
          </a:xfrm>
        </p:spPr>
        <p:txBody>
          <a:bodyPr>
            <a:normAutofit/>
          </a:bodyPr>
          <a:lstStyle>
            <a:lvl1pPr marL="0" indent="0" algn="l">
              <a:buNone/>
              <a:defRPr sz="1800">
                <a:solidFill>
                  <a:srgbClr val="5C707B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it-IT"/>
              <a:t>Sottotitolo</a:t>
            </a:r>
          </a:p>
        </p:txBody>
      </p:sp>
      <p:sp>
        <p:nvSpPr>
          <p:cNvPr id="11" name="Segnaposto piè di pagina 4">
            <a:extLst>
              <a:ext uri="{FF2B5EF4-FFF2-40B4-BE49-F238E27FC236}">
                <a16:creationId xmlns:a16="http://schemas.microsoft.com/office/drawing/2014/main" id="{35256FB3-ADEF-4701-86D6-1AB30F9A6D4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467100" y="6360319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bg1"/>
                </a:solidFill>
              </a:defRPr>
            </a:lvl1pPr>
          </a:lstStyle>
          <a:p>
            <a:r>
              <a:rPr lang="it-IT"/>
              <a:t>Istituto per il Credito Sportivo Banca Sociale per lo Sport e la Cultura</a:t>
            </a:r>
            <a:endParaRPr lang="it-IT">
              <a:solidFill>
                <a:schemeClr val="bg1"/>
              </a:solidFill>
            </a:endParaRPr>
          </a:p>
        </p:txBody>
      </p:sp>
      <p:sp>
        <p:nvSpPr>
          <p:cNvPr id="7" name="Segnaposto testo 6">
            <a:extLst>
              <a:ext uri="{FF2B5EF4-FFF2-40B4-BE49-F238E27FC236}">
                <a16:creationId xmlns:a16="http://schemas.microsoft.com/office/drawing/2014/main" id="{08B240D5-5D10-4180-A262-78835B6DA63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81205" y="5563657"/>
            <a:ext cx="5658139" cy="582612"/>
          </a:xfrm>
        </p:spPr>
        <p:txBody>
          <a:bodyPr>
            <a:normAutofit/>
          </a:bodyPr>
          <a:lstStyle>
            <a:lvl1pPr>
              <a:spcBef>
                <a:spcPts val="500"/>
              </a:spcBef>
              <a:buFont typeface="+mj-lt"/>
              <a:buAutoNum type="arabicPeriod"/>
              <a:defRPr sz="1000"/>
            </a:lvl1pPr>
          </a:lstStyle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</p:txBody>
      </p:sp>
      <p:cxnSp>
        <p:nvCxnSpPr>
          <p:cNvPr id="14" name="Connettore diritto 13">
            <a:extLst>
              <a:ext uri="{FF2B5EF4-FFF2-40B4-BE49-F238E27FC236}">
                <a16:creationId xmlns:a16="http://schemas.microsoft.com/office/drawing/2014/main" id="{D23DA227-56B9-4DB4-9934-65C43F75C16F}"/>
              </a:ext>
            </a:extLst>
          </p:cNvPr>
          <p:cNvCxnSpPr>
            <a:cxnSpLocks/>
          </p:cNvCxnSpPr>
          <p:nvPr userDrawn="1"/>
        </p:nvCxnSpPr>
        <p:spPr>
          <a:xfrm flipV="1">
            <a:off x="925005" y="1976867"/>
            <a:ext cx="2245990" cy="12702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Connettore diritto 14">
            <a:extLst>
              <a:ext uri="{FF2B5EF4-FFF2-40B4-BE49-F238E27FC236}">
                <a16:creationId xmlns:a16="http://schemas.microsoft.com/office/drawing/2014/main" id="{399B51A4-BE4A-476E-AD3A-D0175056AFFE}"/>
              </a:ext>
            </a:extLst>
          </p:cNvPr>
          <p:cNvCxnSpPr>
            <a:cxnSpLocks/>
          </p:cNvCxnSpPr>
          <p:nvPr userDrawn="1"/>
        </p:nvCxnSpPr>
        <p:spPr>
          <a:xfrm flipV="1">
            <a:off x="3300366" y="1947972"/>
            <a:ext cx="3440162" cy="28895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Connettore diritto 15">
            <a:extLst>
              <a:ext uri="{FF2B5EF4-FFF2-40B4-BE49-F238E27FC236}">
                <a16:creationId xmlns:a16="http://schemas.microsoft.com/office/drawing/2014/main" id="{566D19FC-B536-410C-B0AF-567878F6834F}"/>
              </a:ext>
            </a:extLst>
          </p:cNvPr>
          <p:cNvCxnSpPr>
            <a:cxnSpLocks/>
          </p:cNvCxnSpPr>
          <p:nvPr userDrawn="1"/>
        </p:nvCxnSpPr>
        <p:spPr>
          <a:xfrm flipV="1">
            <a:off x="6872258" y="1917276"/>
            <a:ext cx="5212109" cy="30696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Segnaposto testo 4">
            <a:extLst>
              <a:ext uri="{FF2B5EF4-FFF2-40B4-BE49-F238E27FC236}">
                <a16:creationId xmlns:a16="http://schemas.microsoft.com/office/drawing/2014/main" id="{239CC0B9-5AEA-426C-B38D-EDF1AF00064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42705" y="1559557"/>
            <a:ext cx="2160713" cy="373067"/>
          </a:xfrm>
        </p:spPr>
        <p:txBody>
          <a:bodyPr/>
          <a:lstStyle>
            <a:lvl1pPr>
              <a:buNone/>
              <a:defRPr b="1"/>
            </a:lvl1pPr>
          </a:lstStyle>
          <a:p>
            <a:pPr lvl="0"/>
            <a:r>
              <a:rPr lang="it-IT" err="1"/>
              <a:t>Xxxxxx</a:t>
            </a:r>
            <a:endParaRPr lang="it-IT"/>
          </a:p>
        </p:txBody>
      </p:sp>
      <p:sp>
        <p:nvSpPr>
          <p:cNvPr id="17" name="Segnaposto testo 4">
            <a:extLst>
              <a:ext uri="{FF2B5EF4-FFF2-40B4-BE49-F238E27FC236}">
                <a16:creationId xmlns:a16="http://schemas.microsoft.com/office/drawing/2014/main" id="{47FFCDC8-06A2-4962-AFD3-F2CFE075BF4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300366" y="1547388"/>
            <a:ext cx="2160713" cy="373067"/>
          </a:xfrm>
        </p:spPr>
        <p:txBody>
          <a:bodyPr/>
          <a:lstStyle>
            <a:lvl1pPr>
              <a:buNone/>
              <a:defRPr b="1"/>
            </a:lvl1pPr>
          </a:lstStyle>
          <a:p>
            <a:pPr lvl="0"/>
            <a:r>
              <a:rPr lang="it-IT" err="1"/>
              <a:t>Xxxxxx</a:t>
            </a:r>
            <a:endParaRPr lang="it-IT"/>
          </a:p>
        </p:txBody>
      </p:sp>
      <p:sp>
        <p:nvSpPr>
          <p:cNvPr id="18" name="Segnaposto testo 4">
            <a:extLst>
              <a:ext uri="{FF2B5EF4-FFF2-40B4-BE49-F238E27FC236}">
                <a16:creationId xmlns:a16="http://schemas.microsoft.com/office/drawing/2014/main" id="{F7EE97E5-B72F-4F4D-B830-7DCFDB5BEF8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872258" y="1544209"/>
            <a:ext cx="2160713" cy="373067"/>
          </a:xfrm>
        </p:spPr>
        <p:txBody>
          <a:bodyPr/>
          <a:lstStyle>
            <a:lvl1pPr>
              <a:buNone/>
              <a:defRPr b="1"/>
            </a:lvl1pPr>
          </a:lstStyle>
          <a:p>
            <a:pPr lvl="0"/>
            <a:r>
              <a:rPr lang="it-IT" err="1"/>
              <a:t>Xxxxxx</a:t>
            </a:r>
            <a:endParaRPr lang="it-IT"/>
          </a:p>
        </p:txBody>
      </p:sp>
      <p:sp>
        <p:nvSpPr>
          <p:cNvPr id="6" name="Freccia a pentagono 5">
            <a:extLst>
              <a:ext uri="{FF2B5EF4-FFF2-40B4-BE49-F238E27FC236}">
                <a16:creationId xmlns:a16="http://schemas.microsoft.com/office/drawing/2014/main" id="{4F55F310-F669-44AA-8A42-A006CC5E88D1}"/>
              </a:ext>
            </a:extLst>
          </p:cNvPr>
          <p:cNvSpPr/>
          <p:nvPr userDrawn="1"/>
        </p:nvSpPr>
        <p:spPr>
          <a:xfrm>
            <a:off x="933854" y="2240844"/>
            <a:ext cx="2178413" cy="1199241"/>
          </a:xfrm>
          <a:prstGeom prst="homePlate">
            <a:avLst>
              <a:gd name="adj" fmla="val 15042"/>
            </a:avLst>
          </a:prstGeom>
          <a:solidFill>
            <a:srgbClr val="5E727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endParaRPr lang="it-IT" sz="1400">
              <a:solidFill>
                <a:schemeClr val="bg1"/>
              </a:solidFill>
              <a:latin typeface="Trebuchet MS" panose="020B0703020202090204" pitchFamily="34" charset="0"/>
            </a:endParaRPr>
          </a:p>
        </p:txBody>
      </p:sp>
      <p:sp>
        <p:nvSpPr>
          <p:cNvPr id="21" name="Segnaposto testo 20">
            <a:extLst>
              <a:ext uri="{FF2B5EF4-FFF2-40B4-BE49-F238E27FC236}">
                <a16:creationId xmlns:a16="http://schemas.microsoft.com/office/drawing/2014/main" id="{4FC57061-8DBA-4AF9-8454-2A3D52180C4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300413" y="2230438"/>
            <a:ext cx="3440112" cy="1111250"/>
          </a:xfrm>
        </p:spPr>
        <p:txBody>
          <a:bodyPr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22" name="Segnaposto testo 20">
            <a:extLst>
              <a:ext uri="{FF2B5EF4-FFF2-40B4-BE49-F238E27FC236}">
                <a16:creationId xmlns:a16="http://schemas.microsoft.com/office/drawing/2014/main" id="{925CEE6C-26E5-4BFD-B9D8-09003E2C7C90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872258" y="2162022"/>
            <a:ext cx="3440112" cy="1111250"/>
          </a:xfrm>
        </p:spPr>
        <p:txBody>
          <a:bodyPr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23" name="Freccia a pentagono 22">
            <a:extLst>
              <a:ext uri="{FF2B5EF4-FFF2-40B4-BE49-F238E27FC236}">
                <a16:creationId xmlns:a16="http://schemas.microsoft.com/office/drawing/2014/main" id="{045393A7-25F5-4C39-9079-4E78D9E8A437}"/>
              </a:ext>
            </a:extLst>
          </p:cNvPr>
          <p:cNvSpPr/>
          <p:nvPr userDrawn="1"/>
        </p:nvSpPr>
        <p:spPr>
          <a:xfrm>
            <a:off x="925005" y="3800816"/>
            <a:ext cx="2178413" cy="1199241"/>
          </a:xfrm>
          <a:prstGeom prst="homePlate">
            <a:avLst>
              <a:gd name="adj" fmla="val 15042"/>
            </a:avLst>
          </a:prstGeom>
          <a:solidFill>
            <a:srgbClr val="5E727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endParaRPr lang="it-IT" sz="1400">
              <a:solidFill>
                <a:schemeClr val="bg1"/>
              </a:solidFill>
              <a:latin typeface="Trebuchet MS" panose="020B0703020202090204" pitchFamily="34" charset="0"/>
            </a:endParaRPr>
          </a:p>
        </p:txBody>
      </p:sp>
      <p:sp>
        <p:nvSpPr>
          <p:cNvPr id="24" name="Segnaposto testo 20">
            <a:extLst>
              <a:ext uri="{FF2B5EF4-FFF2-40B4-BE49-F238E27FC236}">
                <a16:creationId xmlns:a16="http://schemas.microsoft.com/office/drawing/2014/main" id="{7D99977D-010F-4A4B-AD97-2B996A504EDA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300413" y="3801495"/>
            <a:ext cx="3440112" cy="1111250"/>
          </a:xfrm>
        </p:spPr>
        <p:txBody>
          <a:bodyPr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25" name="Segnaposto testo 20">
            <a:extLst>
              <a:ext uri="{FF2B5EF4-FFF2-40B4-BE49-F238E27FC236}">
                <a16:creationId xmlns:a16="http://schemas.microsoft.com/office/drawing/2014/main" id="{2ED50C9F-A8A7-4899-B9A2-803DD30ED1C8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872258" y="3733079"/>
            <a:ext cx="3440112" cy="1111250"/>
          </a:xfrm>
        </p:spPr>
        <p:txBody>
          <a:bodyPr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27" name="Segnaposto testo 26">
            <a:extLst>
              <a:ext uri="{FF2B5EF4-FFF2-40B4-BE49-F238E27FC236}">
                <a16:creationId xmlns:a16="http://schemas.microsoft.com/office/drawing/2014/main" id="{AD1F6205-C65D-4211-BB71-6B1354772E69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1130300" y="2520950"/>
            <a:ext cx="1552575" cy="493713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28" name="Segnaposto testo 26">
            <a:extLst>
              <a:ext uri="{FF2B5EF4-FFF2-40B4-BE49-F238E27FC236}">
                <a16:creationId xmlns:a16="http://schemas.microsoft.com/office/drawing/2014/main" id="{560A7628-9427-44A1-8CA9-82B2A00693E9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1130299" y="4041847"/>
            <a:ext cx="1552575" cy="493713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</p:spTree>
    <p:extLst>
      <p:ext uri="{BB962C8B-B14F-4D97-AF65-F5344CB8AC3E}">
        <p14:creationId xmlns:p14="http://schemas.microsoft.com/office/powerpoint/2010/main" val="2047454885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ROSSIMI PASS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ttangolo con angoli arrotondati 2">
            <a:extLst>
              <a:ext uri="{FF2B5EF4-FFF2-40B4-BE49-F238E27FC236}">
                <a16:creationId xmlns:a16="http://schemas.microsoft.com/office/drawing/2014/main" id="{ACC0ACF9-2CD3-4A46-8F07-8ADA5641DD38}"/>
              </a:ext>
            </a:extLst>
          </p:cNvPr>
          <p:cNvSpPr/>
          <p:nvPr userDrawn="1"/>
        </p:nvSpPr>
        <p:spPr>
          <a:xfrm>
            <a:off x="709352" y="1052946"/>
            <a:ext cx="10773295" cy="4131425"/>
          </a:xfrm>
          <a:prstGeom prst="roundRect">
            <a:avLst>
              <a:gd name="adj" fmla="val 4520"/>
            </a:avLst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b="1"/>
          </a:p>
        </p:txBody>
      </p:sp>
      <p:sp>
        <p:nvSpPr>
          <p:cNvPr id="2" name="Titolo 1"/>
          <p:cNvSpPr>
            <a:spLocks noGrp="1"/>
          </p:cNvSpPr>
          <p:nvPr>
            <p:ph type="title" hasCustomPrompt="1"/>
          </p:nvPr>
        </p:nvSpPr>
        <p:spPr>
          <a:xfrm>
            <a:off x="838200" y="247498"/>
            <a:ext cx="10515600" cy="484881"/>
          </a:xfrm>
        </p:spPr>
        <p:txBody>
          <a:bodyPr>
            <a:normAutofit/>
          </a:bodyPr>
          <a:lstStyle>
            <a:lvl1pPr algn="l">
              <a:defRPr sz="2200" b="1">
                <a:solidFill>
                  <a:schemeClr val="bg1"/>
                </a:solidFill>
              </a:defRPr>
            </a:lvl1pPr>
          </a:lstStyle>
          <a:p>
            <a:r>
              <a:rPr lang="it-IT"/>
              <a:t>Prossimi passi</a:t>
            </a:r>
          </a:p>
        </p:txBody>
      </p:sp>
      <p:sp>
        <p:nvSpPr>
          <p:cNvPr id="9" name="Segnaposto numero diapositiva 4">
            <a:extLst>
              <a:ext uri="{FF2B5EF4-FFF2-40B4-BE49-F238E27FC236}">
                <a16:creationId xmlns:a16="http://schemas.microsoft.com/office/drawing/2014/main" id="{EA5FA132-35A6-4E85-96A9-49717F3CB39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581900" y="6360319"/>
            <a:ext cx="2743200" cy="365125"/>
          </a:xfrm>
          <a:prstGeom prst="rect">
            <a:avLst/>
          </a:prstGeom>
        </p:spPr>
        <p:txBody>
          <a:bodyPr/>
          <a:lstStyle>
            <a:lvl1pPr algn="r">
              <a:defRPr sz="1200"/>
            </a:lvl1pPr>
          </a:lstStyle>
          <a:p>
            <a:fld id="{9501BE4A-6F75-0549-8D25-E25EBB4B1677}" type="slidenum">
              <a:rPr lang="it-IT" smtClean="0">
                <a:solidFill>
                  <a:schemeClr val="bg1"/>
                </a:solidFill>
              </a:rPr>
              <a:pPr/>
              <a:t>‹N›</a:t>
            </a:fld>
            <a:endParaRPr lang="it-IT" sz="1200">
              <a:solidFill>
                <a:schemeClr val="bg1"/>
              </a:solidFill>
            </a:endParaRPr>
          </a:p>
        </p:txBody>
      </p:sp>
      <p:sp>
        <p:nvSpPr>
          <p:cNvPr id="11" name="Segnaposto piè di pagina 4">
            <a:extLst>
              <a:ext uri="{FF2B5EF4-FFF2-40B4-BE49-F238E27FC236}">
                <a16:creationId xmlns:a16="http://schemas.microsoft.com/office/drawing/2014/main" id="{35256FB3-ADEF-4701-86D6-1AB30F9A6D4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467100" y="6360319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bg1"/>
                </a:solidFill>
              </a:defRPr>
            </a:lvl1pPr>
          </a:lstStyle>
          <a:p>
            <a:r>
              <a:rPr lang="it-IT"/>
              <a:t>Istituto per il Credito Sportivo Banca Sociale per lo Sport e la Cultura</a:t>
            </a:r>
            <a:endParaRPr lang="it-IT">
              <a:solidFill>
                <a:schemeClr val="bg1"/>
              </a:solidFill>
            </a:endParaRPr>
          </a:p>
        </p:txBody>
      </p:sp>
      <p:sp>
        <p:nvSpPr>
          <p:cNvPr id="5" name="Segnaposto testo 4">
            <a:extLst>
              <a:ext uri="{FF2B5EF4-FFF2-40B4-BE49-F238E27FC236}">
                <a16:creationId xmlns:a16="http://schemas.microsoft.com/office/drawing/2014/main" id="{9164D6A8-5FC3-4674-97CC-2E77D9AB8B9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09638" y="1223963"/>
            <a:ext cx="3319462" cy="355600"/>
          </a:xfrm>
        </p:spPr>
        <p:txBody>
          <a:bodyPr/>
          <a:lstStyle>
            <a:lvl1pPr marL="0" indent="0">
              <a:buNone/>
              <a:defRPr b="1"/>
            </a:lvl1pPr>
          </a:lstStyle>
          <a:p>
            <a:pPr lvl="0"/>
            <a:r>
              <a:rPr lang="it-IT"/>
              <a:t>Attività</a:t>
            </a:r>
          </a:p>
        </p:txBody>
      </p:sp>
      <p:sp>
        <p:nvSpPr>
          <p:cNvPr id="12" name="Segnaposto testo 4">
            <a:extLst>
              <a:ext uri="{FF2B5EF4-FFF2-40B4-BE49-F238E27FC236}">
                <a16:creationId xmlns:a16="http://schemas.microsoft.com/office/drawing/2014/main" id="{8A00C443-06FE-4C0B-A0B6-21E71F2AF63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634038" y="1223963"/>
            <a:ext cx="3319462" cy="355600"/>
          </a:xfrm>
        </p:spPr>
        <p:txBody>
          <a:bodyPr/>
          <a:lstStyle>
            <a:lvl1pPr marL="0" indent="0">
              <a:buNone/>
              <a:defRPr b="1"/>
            </a:lvl1pPr>
          </a:lstStyle>
          <a:p>
            <a:pPr lvl="0"/>
            <a:r>
              <a:rPr lang="it-IT"/>
              <a:t>Chi</a:t>
            </a:r>
          </a:p>
        </p:txBody>
      </p:sp>
      <p:sp>
        <p:nvSpPr>
          <p:cNvPr id="16" name="Segnaposto testo 4">
            <a:extLst>
              <a:ext uri="{FF2B5EF4-FFF2-40B4-BE49-F238E27FC236}">
                <a16:creationId xmlns:a16="http://schemas.microsoft.com/office/drawing/2014/main" id="{9207C149-1AC9-4D82-8B03-24AF1D6FAF2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000693" y="1223963"/>
            <a:ext cx="2215947" cy="355600"/>
          </a:xfrm>
        </p:spPr>
        <p:txBody>
          <a:bodyPr/>
          <a:lstStyle>
            <a:lvl1pPr marL="0" indent="0">
              <a:buNone/>
              <a:defRPr b="1"/>
            </a:lvl1pPr>
          </a:lstStyle>
          <a:p>
            <a:pPr lvl="0"/>
            <a:r>
              <a:rPr lang="it-IT"/>
              <a:t>Quando</a:t>
            </a:r>
          </a:p>
        </p:txBody>
      </p:sp>
      <p:cxnSp>
        <p:nvCxnSpPr>
          <p:cNvPr id="8" name="Connettore diritto 7">
            <a:extLst>
              <a:ext uri="{FF2B5EF4-FFF2-40B4-BE49-F238E27FC236}">
                <a16:creationId xmlns:a16="http://schemas.microsoft.com/office/drawing/2014/main" id="{97265B0D-3246-4233-9657-F3D1F62DC63C}"/>
              </a:ext>
            </a:extLst>
          </p:cNvPr>
          <p:cNvCxnSpPr/>
          <p:nvPr userDrawn="1"/>
        </p:nvCxnSpPr>
        <p:spPr>
          <a:xfrm flipV="1">
            <a:off x="838200" y="1673629"/>
            <a:ext cx="10515600" cy="38793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Segnaposto testo 17">
            <a:extLst>
              <a:ext uri="{FF2B5EF4-FFF2-40B4-BE49-F238E27FC236}">
                <a16:creationId xmlns:a16="http://schemas.microsoft.com/office/drawing/2014/main" id="{FCEFA0AA-8915-4129-B5E8-FD5016F51A9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909638" y="1911350"/>
            <a:ext cx="4238625" cy="2566988"/>
          </a:xfrm>
        </p:spPr>
        <p:txBody>
          <a:bodyPr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19" name="Segnaposto testo 17">
            <a:extLst>
              <a:ext uri="{FF2B5EF4-FFF2-40B4-BE49-F238E27FC236}">
                <a16:creationId xmlns:a16="http://schemas.microsoft.com/office/drawing/2014/main" id="{E6249EEE-A711-45A8-8FE6-7077F518E50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634039" y="1911350"/>
            <a:ext cx="3319462" cy="2566988"/>
          </a:xfrm>
        </p:spPr>
        <p:txBody>
          <a:bodyPr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20" name="Segnaposto testo 17">
            <a:extLst>
              <a:ext uri="{FF2B5EF4-FFF2-40B4-BE49-F238E27FC236}">
                <a16:creationId xmlns:a16="http://schemas.microsoft.com/office/drawing/2014/main" id="{A7985701-7A9B-4E6B-83E0-00C7E4AA42C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9023641" y="1900130"/>
            <a:ext cx="2192999" cy="2566988"/>
          </a:xfrm>
        </p:spPr>
        <p:txBody>
          <a:bodyPr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21" name="Segnaposto testo 6">
            <a:extLst>
              <a:ext uri="{FF2B5EF4-FFF2-40B4-BE49-F238E27FC236}">
                <a16:creationId xmlns:a16="http://schemas.microsoft.com/office/drawing/2014/main" id="{FD698E0F-49FD-4AFE-AC97-1FB05A9D409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38200" y="5392391"/>
            <a:ext cx="5658139" cy="582612"/>
          </a:xfrm>
        </p:spPr>
        <p:txBody>
          <a:bodyPr>
            <a:normAutofit/>
          </a:bodyPr>
          <a:lstStyle>
            <a:lvl1pPr>
              <a:spcBef>
                <a:spcPts val="500"/>
              </a:spcBef>
              <a:buFont typeface="+mj-lt"/>
              <a:buAutoNum type="arabicPeriod"/>
              <a:defRPr sz="1000"/>
            </a:lvl1pPr>
          </a:lstStyle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</p:txBody>
      </p:sp>
    </p:spTree>
    <p:extLst>
      <p:ext uri="{BB962C8B-B14F-4D97-AF65-F5344CB8AC3E}">
        <p14:creationId xmlns:p14="http://schemas.microsoft.com/office/powerpoint/2010/main" val="927350641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llega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 hasCustomPrompt="1"/>
          </p:nvPr>
        </p:nvSpPr>
        <p:spPr>
          <a:xfrm>
            <a:off x="743989" y="2896487"/>
            <a:ext cx="10515600" cy="484881"/>
          </a:xfrm>
        </p:spPr>
        <p:txBody>
          <a:bodyPr>
            <a:normAutofit/>
          </a:bodyPr>
          <a:lstStyle>
            <a:lvl1pPr algn="ctr">
              <a:defRPr sz="2200" b="1">
                <a:solidFill>
                  <a:schemeClr val="bg1"/>
                </a:solidFill>
              </a:defRPr>
            </a:lvl1pPr>
          </a:lstStyle>
          <a:p>
            <a:r>
              <a:rPr lang="it-IT"/>
              <a:t>ALLEGATI</a:t>
            </a:r>
          </a:p>
        </p:txBody>
      </p:sp>
      <p:sp>
        <p:nvSpPr>
          <p:cNvPr id="9" name="Segnaposto numero diapositiva 4">
            <a:extLst>
              <a:ext uri="{FF2B5EF4-FFF2-40B4-BE49-F238E27FC236}">
                <a16:creationId xmlns:a16="http://schemas.microsoft.com/office/drawing/2014/main" id="{EA5FA132-35A6-4E85-96A9-49717F3CB39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581900" y="6360319"/>
            <a:ext cx="2743200" cy="365125"/>
          </a:xfrm>
          <a:prstGeom prst="rect">
            <a:avLst/>
          </a:prstGeom>
        </p:spPr>
        <p:txBody>
          <a:bodyPr/>
          <a:lstStyle>
            <a:lvl1pPr algn="r">
              <a:defRPr sz="1200"/>
            </a:lvl1pPr>
          </a:lstStyle>
          <a:p>
            <a:fld id="{9501BE4A-6F75-0549-8D25-E25EBB4B1677}" type="slidenum">
              <a:rPr lang="it-IT" smtClean="0">
                <a:solidFill>
                  <a:schemeClr val="bg1"/>
                </a:solidFill>
              </a:rPr>
              <a:pPr/>
              <a:t>‹N›</a:t>
            </a:fld>
            <a:endParaRPr lang="it-IT" sz="1200">
              <a:solidFill>
                <a:schemeClr val="bg1"/>
              </a:solidFill>
            </a:endParaRPr>
          </a:p>
        </p:txBody>
      </p:sp>
      <p:sp>
        <p:nvSpPr>
          <p:cNvPr id="11" name="Segnaposto piè di pagina 4">
            <a:extLst>
              <a:ext uri="{FF2B5EF4-FFF2-40B4-BE49-F238E27FC236}">
                <a16:creationId xmlns:a16="http://schemas.microsoft.com/office/drawing/2014/main" id="{35256FB3-ADEF-4701-86D6-1AB30F9A6D4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467100" y="6360319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bg1"/>
                </a:solidFill>
              </a:defRPr>
            </a:lvl1pPr>
          </a:lstStyle>
          <a:p>
            <a:r>
              <a:rPr lang="it-IT"/>
              <a:t>Istituto per il Credito Sportivo Banca Sociale per lo Sport e la Cultura</a:t>
            </a:r>
            <a:endParaRPr lang="it-IT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63997177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pertin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ottotitolo 2"/>
          <p:cNvSpPr>
            <a:spLocks noGrp="1"/>
          </p:cNvSpPr>
          <p:nvPr>
            <p:ph type="subTitle" idx="1" hasCustomPrompt="1"/>
          </p:nvPr>
        </p:nvSpPr>
        <p:spPr>
          <a:xfrm>
            <a:off x="1524000" y="4684035"/>
            <a:ext cx="9144000" cy="399838"/>
          </a:xfrm>
        </p:spPr>
        <p:txBody>
          <a:bodyPr>
            <a:normAutofit/>
          </a:bodyPr>
          <a:lstStyle>
            <a:lvl1pPr marL="0" indent="0" algn="l">
              <a:buNone/>
              <a:defRPr sz="1800" baseline="0">
                <a:solidFill>
                  <a:srgbClr val="5C707B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it-IT"/>
              <a:t>Inserire Ufficio</a:t>
            </a:r>
          </a:p>
        </p:txBody>
      </p:sp>
      <p:pic>
        <p:nvPicPr>
          <p:cNvPr id="7" name="Immagin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-32782"/>
            <a:ext cx="12192000" cy="2800349"/>
          </a:xfrm>
          <a:prstGeom prst="rect">
            <a:avLst/>
          </a:prstGeom>
        </p:spPr>
      </p:pic>
      <p:sp>
        <p:nvSpPr>
          <p:cNvPr id="11" name="Rettangolo 10"/>
          <p:cNvSpPr/>
          <p:nvPr userDrawn="1"/>
        </p:nvSpPr>
        <p:spPr>
          <a:xfrm>
            <a:off x="0" y="5988676"/>
            <a:ext cx="12192000" cy="8693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pic>
        <p:nvPicPr>
          <p:cNvPr id="8" name="Immagine 7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68000" y="6423002"/>
            <a:ext cx="1224818" cy="171348"/>
          </a:xfrm>
          <a:prstGeom prst="rect">
            <a:avLst/>
          </a:prstGeom>
        </p:spPr>
      </p:pic>
      <p:pic>
        <p:nvPicPr>
          <p:cNvPr id="9" name="Immagine 8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66313" y="6423002"/>
            <a:ext cx="1136159" cy="168551"/>
          </a:xfrm>
          <a:prstGeom prst="rect">
            <a:avLst/>
          </a:prstGeom>
        </p:spPr>
      </p:pic>
      <p:sp>
        <p:nvSpPr>
          <p:cNvPr id="5" name="Segnaposto testo 4"/>
          <p:cNvSpPr>
            <a:spLocks noGrp="1"/>
          </p:cNvSpPr>
          <p:nvPr>
            <p:ph type="body" sz="quarter" idx="10" hasCustomPrompt="1"/>
          </p:nvPr>
        </p:nvSpPr>
        <p:spPr>
          <a:xfrm>
            <a:off x="1524000" y="5646567"/>
            <a:ext cx="9242425" cy="288974"/>
          </a:xfrm>
        </p:spPr>
        <p:txBody>
          <a:bodyPr>
            <a:normAutofit/>
          </a:bodyPr>
          <a:lstStyle>
            <a:lvl1pPr marL="0" indent="0" algn="r">
              <a:buNone/>
              <a:defRPr sz="1400" baseline="0"/>
            </a:lvl1pPr>
          </a:lstStyle>
          <a:p>
            <a:pPr lvl="0"/>
            <a:r>
              <a:rPr lang="it-IT"/>
              <a:t>Inserire Luogo e Data</a:t>
            </a:r>
          </a:p>
        </p:txBody>
      </p:sp>
      <p:sp>
        <p:nvSpPr>
          <p:cNvPr id="14" name="Titolo 13"/>
          <p:cNvSpPr>
            <a:spLocks noGrp="1"/>
          </p:cNvSpPr>
          <p:nvPr>
            <p:ph type="title"/>
          </p:nvPr>
        </p:nvSpPr>
        <p:spPr>
          <a:xfrm>
            <a:off x="1524000" y="3269674"/>
            <a:ext cx="10515600" cy="1236598"/>
          </a:xfrm>
          <a:noFill/>
        </p:spPr>
        <p:txBody>
          <a:bodyPr>
            <a:normAutofit/>
          </a:bodyPr>
          <a:lstStyle>
            <a:lvl1pPr>
              <a:defRPr sz="2400">
                <a:solidFill>
                  <a:schemeClr val="tx1"/>
                </a:solidFill>
              </a:defRPr>
            </a:lvl1pPr>
          </a:lstStyle>
          <a:p>
            <a:r>
              <a:rPr lang="it-IT"/>
              <a:t>Fare clic per modificare lo stile del titolo dello schema</a:t>
            </a:r>
          </a:p>
        </p:txBody>
      </p:sp>
    </p:spTree>
    <p:extLst>
      <p:ext uri="{BB962C8B-B14F-4D97-AF65-F5344CB8AC3E}">
        <p14:creationId xmlns:p14="http://schemas.microsoft.com/office/powerpoint/2010/main" val="634598567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ol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838200" y="247498"/>
            <a:ext cx="10515600" cy="484881"/>
          </a:xfrm>
        </p:spPr>
        <p:txBody>
          <a:bodyPr>
            <a:normAutofit/>
          </a:bodyPr>
          <a:lstStyle>
            <a:lvl1pPr algn="l">
              <a:defRPr sz="2200" b="1">
                <a:solidFill>
                  <a:schemeClr val="bg1"/>
                </a:solidFill>
              </a:defRPr>
            </a:lvl1pPr>
          </a:lstStyle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9" name="Segnaposto numero diapositiva 4">
            <a:extLst>
              <a:ext uri="{FF2B5EF4-FFF2-40B4-BE49-F238E27FC236}">
                <a16:creationId xmlns:a16="http://schemas.microsoft.com/office/drawing/2014/main" id="{EA5FA132-35A6-4E85-96A9-49717F3CB39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581900" y="6360319"/>
            <a:ext cx="2743200" cy="365125"/>
          </a:xfrm>
          <a:prstGeom prst="rect">
            <a:avLst/>
          </a:prstGeom>
        </p:spPr>
        <p:txBody>
          <a:bodyPr/>
          <a:lstStyle>
            <a:lvl1pPr algn="r">
              <a:defRPr sz="1200"/>
            </a:lvl1pPr>
          </a:lstStyle>
          <a:p>
            <a:fld id="{9501BE4A-6F75-0549-8D25-E25EBB4B1677}" type="slidenum">
              <a:rPr lang="it-IT" smtClean="0">
                <a:solidFill>
                  <a:schemeClr val="bg1"/>
                </a:solidFill>
              </a:rPr>
              <a:pPr/>
              <a:t>‹N›</a:t>
            </a:fld>
            <a:endParaRPr lang="it-IT" sz="1200">
              <a:solidFill>
                <a:schemeClr val="bg1"/>
              </a:solidFill>
            </a:endParaRPr>
          </a:p>
        </p:txBody>
      </p:sp>
      <p:sp>
        <p:nvSpPr>
          <p:cNvPr id="10" name="Segnaposto testo 2">
            <a:extLst>
              <a:ext uri="{FF2B5EF4-FFF2-40B4-BE49-F238E27FC236}">
                <a16:creationId xmlns:a16="http://schemas.microsoft.com/office/drawing/2014/main" id="{F35D58D9-94CF-4EB2-AE0A-74B02B019C71}"/>
              </a:ext>
            </a:extLst>
          </p:cNvPr>
          <p:cNvSpPr>
            <a:spLocks noGrp="1"/>
          </p:cNvSpPr>
          <p:nvPr>
            <p:ph type="body" idx="11" hasCustomPrompt="1"/>
          </p:nvPr>
        </p:nvSpPr>
        <p:spPr>
          <a:xfrm>
            <a:off x="838200" y="803697"/>
            <a:ext cx="10515600" cy="376606"/>
          </a:xfrm>
        </p:spPr>
        <p:txBody>
          <a:bodyPr>
            <a:normAutofit/>
          </a:bodyPr>
          <a:lstStyle>
            <a:lvl1pPr marL="0" indent="0" algn="l">
              <a:buNone/>
              <a:defRPr sz="1800">
                <a:solidFill>
                  <a:srgbClr val="5C707B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it-IT"/>
              <a:t>Sottotitolo</a:t>
            </a:r>
          </a:p>
        </p:txBody>
      </p:sp>
      <p:sp>
        <p:nvSpPr>
          <p:cNvPr id="11" name="Segnaposto piè di pagina 4">
            <a:extLst>
              <a:ext uri="{FF2B5EF4-FFF2-40B4-BE49-F238E27FC236}">
                <a16:creationId xmlns:a16="http://schemas.microsoft.com/office/drawing/2014/main" id="{35256FB3-ADEF-4701-86D6-1AB30F9A6D4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467100" y="6360319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bg1"/>
                </a:solidFill>
              </a:defRPr>
            </a:lvl1pPr>
          </a:lstStyle>
          <a:p>
            <a:r>
              <a:rPr lang="it-IT"/>
              <a:t>Istituto per il Credito Sportivo Banca Sociale per lo Sport e la Cultura</a:t>
            </a:r>
            <a:endParaRPr lang="it-IT">
              <a:solidFill>
                <a:schemeClr val="bg1"/>
              </a:solidFill>
            </a:endParaRPr>
          </a:p>
        </p:txBody>
      </p:sp>
      <p:sp>
        <p:nvSpPr>
          <p:cNvPr id="4" name="Segnaposto testo 3">
            <a:extLst>
              <a:ext uri="{FF2B5EF4-FFF2-40B4-BE49-F238E27FC236}">
                <a16:creationId xmlns:a16="http://schemas.microsoft.com/office/drawing/2014/main" id="{DD619220-D121-4E8E-A124-5AF02D367B8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936625" y="1662113"/>
            <a:ext cx="10031413" cy="3419734"/>
          </a:xfrm>
        </p:spPr>
        <p:txBody>
          <a:bodyPr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7" name="Segnaposto testo 6">
            <a:extLst>
              <a:ext uri="{FF2B5EF4-FFF2-40B4-BE49-F238E27FC236}">
                <a16:creationId xmlns:a16="http://schemas.microsoft.com/office/drawing/2014/main" id="{08B240D5-5D10-4180-A262-78835B6DA63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81205" y="5563657"/>
            <a:ext cx="5658139" cy="582612"/>
          </a:xfrm>
        </p:spPr>
        <p:txBody>
          <a:bodyPr>
            <a:normAutofit/>
          </a:bodyPr>
          <a:lstStyle>
            <a:lvl1pPr>
              <a:spcBef>
                <a:spcPts val="500"/>
              </a:spcBef>
              <a:buFont typeface="+mj-lt"/>
              <a:buAutoNum type="arabicPeriod"/>
              <a:defRPr sz="1000"/>
            </a:lvl1pPr>
          </a:lstStyle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</p:txBody>
      </p:sp>
    </p:spTree>
    <p:extLst>
      <p:ext uri="{BB962C8B-B14F-4D97-AF65-F5344CB8AC3E}">
        <p14:creationId xmlns:p14="http://schemas.microsoft.com/office/powerpoint/2010/main" val="2685789499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EXECUTIVE SUMMA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ttangolo con angoli arrotondati 2">
            <a:extLst>
              <a:ext uri="{FF2B5EF4-FFF2-40B4-BE49-F238E27FC236}">
                <a16:creationId xmlns:a16="http://schemas.microsoft.com/office/drawing/2014/main" id="{ACC0ACF9-2CD3-4A46-8F07-8ADA5641DD38}"/>
              </a:ext>
            </a:extLst>
          </p:cNvPr>
          <p:cNvSpPr/>
          <p:nvPr userDrawn="1"/>
        </p:nvSpPr>
        <p:spPr>
          <a:xfrm>
            <a:off x="753687" y="1052946"/>
            <a:ext cx="10773295" cy="4516582"/>
          </a:xfrm>
          <a:prstGeom prst="roundRect">
            <a:avLst>
              <a:gd name="adj" fmla="val 4520"/>
            </a:avLst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838200" y="247498"/>
            <a:ext cx="10515600" cy="484881"/>
          </a:xfrm>
        </p:spPr>
        <p:txBody>
          <a:bodyPr>
            <a:normAutofit/>
          </a:bodyPr>
          <a:lstStyle>
            <a:lvl1pPr algn="l">
              <a:defRPr sz="2200" b="1">
                <a:solidFill>
                  <a:schemeClr val="bg1"/>
                </a:solidFill>
              </a:defRPr>
            </a:lvl1pPr>
          </a:lstStyle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9" name="Segnaposto numero diapositiva 4">
            <a:extLst>
              <a:ext uri="{FF2B5EF4-FFF2-40B4-BE49-F238E27FC236}">
                <a16:creationId xmlns:a16="http://schemas.microsoft.com/office/drawing/2014/main" id="{EA5FA132-35A6-4E85-96A9-49717F3CB39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581900" y="6360319"/>
            <a:ext cx="2743200" cy="365125"/>
          </a:xfrm>
          <a:prstGeom prst="rect">
            <a:avLst/>
          </a:prstGeom>
        </p:spPr>
        <p:txBody>
          <a:bodyPr/>
          <a:lstStyle>
            <a:lvl1pPr algn="r">
              <a:defRPr sz="1200"/>
            </a:lvl1pPr>
          </a:lstStyle>
          <a:p>
            <a:fld id="{9501BE4A-6F75-0549-8D25-E25EBB4B1677}" type="slidenum">
              <a:rPr lang="it-IT" smtClean="0">
                <a:solidFill>
                  <a:schemeClr val="bg1"/>
                </a:solidFill>
              </a:rPr>
              <a:pPr/>
              <a:t>‹N›</a:t>
            </a:fld>
            <a:endParaRPr lang="it-IT" sz="1200">
              <a:solidFill>
                <a:schemeClr val="bg1"/>
              </a:solidFill>
            </a:endParaRPr>
          </a:p>
        </p:txBody>
      </p:sp>
      <p:sp>
        <p:nvSpPr>
          <p:cNvPr id="10" name="Segnaposto testo 2">
            <a:extLst>
              <a:ext uri="{FF2B5EF4-FFF2-40B4-BE49-F238E27FC236}">
                <a16:creationId xmlns:a16="http://schemas.microsoft.com/office/drawing/2014/main" id="{F35D58D9-94CF-4EB2-AE0A-74B02B019C71}"/>
              </a:ext>
            </a:extLst>
          </p:cNvPr>
          <p:cNvSpPr>
            <a:spLocks noGrp="1"/>
          </p:cNvSpPr>
          <p:nvPr>
            <p:ph type="body" idx="11" hasCustomPrompt="1"/>
          </p:nvPr>
        </p:nvSpPr>
        <p:spPr>
          <a:xfrm>
            <a:off x="838200" y="1088825"/>
            <a:ext cx="10515600" cy="376606"/>
          </a:xfrm>
        </p:spPr>
        <p:txBody>
          <a:bodyPr>
            <a:normAutofit/>
          </a:bodyPr>
          <a:lstStyle>
            <a:lvl1pPr marL="0" indent="0" algn="l">
              <a:buNone/>
              <a:defRPr sz="1600" b="1">
                <a:solidFill>
                  <a:srgbClr val="5C707B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it-IT"/>
              <a:t>Sottotitolo</a:t>
            </a:r>
          </a:p>
        </p:txBody>
      </p:sp>
      <p:sp>
        <p:nvSpPr>
          <p:cNvPr id="11" name="Segnaposto piè di pagina 4">
            <a:extLst>
              <a:ext uri="{FF2B5EF4-FFF2-40B4-BE49-F238E27FC236}">
                <a16:creationId xmlns:a16="http://schemas.microsoft.com/office/drawing/2014/main" id="{35256FB3-ADEF-4701-86D6-1AB30F9A6D4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467100" y="6360319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bg1"/>
                </a:solidFill>
              </a:defRPr>
            </a:lvl1pPr>
          </a:lstStyle>
          <a:p>
            <a:r>
              <a:rPr lang="it-IT"/>
              <a:t>Istituto per il Credito Sportivo Banca Sociale per lo Sport e la Cultura</a:t>
            </a:r>
            <a:endParaRPr lang="it-IT">
              <a:solidFill>
                <a:schemeClr val="bg1"/>
              </a:solidFill>
            </a:endParaRPr>
          </a:p>
        </p:txBody>
      </p:sp>
      <p:cxnSp>
        <p:nvCxnSpPr>
          <p:cNvPr id="13" name="Connettore diritto 12">
            <a:extLst>
              <a:ext uri="{FF2B5EF4-FFF2-40B4-BE49-F238E27FC236}">
                <a16:creationId xmlns:a16="http://schemas.microsoft.com/office/drawing/2014/main" id="{5DF53F4F-87E3-4A3F-AC50-ED4C1D6CB972}"/>
              </a:ext>
            </a:extLst>
          </p:cNvPr>
          <p:cNvCxnSpPr>
            <a:cxnSpLocks/>
          </p:cNvCxnSpPr>
          <p:nvPr userDrawn="1"/>
        </p:nvCxnSpPr>
        <p:spPr>
          <a:xfrm flipV="1">
            <a:off x="838200" y="1391278"/>
            <a:ext cx="10515600" cy="43291"/>
          </a:xfrm>
          <a:prstGeom prst="line">
            <a:avLst/>
          </a:prstGeom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14" name="Segnaposto testo 13">
            <a:extLst>
              <a:ext uri="{FF2B5EF4-FFF2-40B4-BE49-F238E27FC236}">
                <a16:creationId xmlns:a16="http://schemas.microsoft.com/office/drawing/2014/main" id="{B8FB7765-9C58-4AD7-B5B7-5F2E8A520964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941388" y="1657350"/>
            <a:ext cx="10358437" cy="3662363"/>
          </a:xfrm>
        </p:spPr>
        <p:txBody>
          <a:bodyPr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</p:spTree>
    <p:extLst>
      <p:ext uri="{BB962C8B-B14F-4D97-AF65-F5344CB8AC3E}">
        <p14:creationId xmlns:p14="http://schemas.microsoft.com/office/powerpoint/2010/main" val="1724475107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ntenuto del documen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 hasCustomPrompt="1"/>
          </p:nvPr>
        </p:nvSpPr>
        <p:spPr>
          <a:xfrm>
            <a:off x="838200" y="236415"/>
            <a:ext cx="10515600" cy="484881"/>
          </a:xfrm>
        </p:spPr>
        <p:txBody>
          <a:bodyPr>
            <a:normAutofit/>
          </a:bodyPr>
          <a:lstStyle>
            <a:lvl1pPr algn="l">
              <a:defRPr sz="2200" b="1">
                <a:solidFill>
                  <a:schemeClr val="bg1"/>
                </a:solidFill>
              </a:defRPr>
            </a:lvl1pPr>
          </a:lstStyle>
          <a:p>
            <a:r>
              <a:rPr lang="it-IT"/>
              <a:t>Contenuto del documento</a:t>
            </a:r>
          </a:p>
        </p:txBody>
      </p:sp>
      <p:sp>
        <p:nvSpPr>
          <p:cNvPr id="9" name="Segnaposto numero diapositiva 4">
            <a:extLst>
              <a:ext uri="{FF2B5EF4-FFF2-40B4-BE49-F238E27FC236}">
                <a16:creationId xmlns:a16="http://schemas.microsoft.com/office/drawing/2014/main" id="{EA5FA132-35A6-4E85-96A9-49717F3CB39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581900" y="6360319"/>
            <a:ext cx="2743200" cy="365125"/>
          </a:xfrm>
          <a:prstGeom prst="rect">
            <a:avLst/>
          </a:prstGeom>
        </p:spPr>
        <p:txBody>
          <a:bodyPr/>
          <a:lstStyle>
            <a:lvl1pPr algn="r">
              <a:defRPr sz="1200"/>
            </a:lvl1pPr>
          </a:lstStyle>
          <a:p>
            <a:fld id="{9501BE4A-6F75-0549-8D25-E25EBB4B1677}" type="slidenum">
              <a:rPr lang="it-IT" smtClean="0">
                <a:solidFill>
                  <a:schemeClr val="bg1"/>
                </a:solidFill>
              </a:rPr>
              <a:pPr/>
              <a:t>‹N›</a:t>
            </a:fld>
            <a:endParaRPr lang="it-IT" sz="1200">
              <a:solidFill>
                <a:schemeClr val="bg1"/>
              </a:solidFill>
            </a:endParaRPr>
          </a:p>
        </p:txBody>
      </p:sp>
      <p:sp>
        <p:nvSpPr>
          <p:cNvPr id="11" name="Segnaposto piè di pagina 4">
            <a:extLst>
              <a:ext uri="{FF2B5EF4-FFF2-40B4-BE49-F238E27FC236}">
                <a16:creationId xmlns:a16="http://schemas.microsoft.com/office/drawing/2014/main" id="{35256FB3-ADEF-4701-86D6-1AB30F9A6D4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467100" y="6360319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bg1"/>
                </a:solidFill>
              </a:defRPr>
            </a:lvl1pPr>
          </a:lstStyle>
          <a:p>
            <a:r>
              <a:rPr lang="it-IT"/>
              <a:t>Istituto per il Credito Sportivo Banca Sociale per lo Sport e la Cultura</a:t>
            </a:r>
            <a:endParaRPr lang="it-IT">
              <a:solidFill>
                <a:schemeClr val="bg1"/>
              </a:solidFill>
            </a:endParaRPr>
          </a:p>
        </p:txBody>
      </p:sp>
      <p:sp>
        <p:nvSpPr>
          <p:cNvPr id="12" name="Rettangolo 11">
            <a:extLst>
              <a:ext uri="{FF2B5EF4-FFF2-40B4-BE49-F238E27FC236}">
                <a16:creationId xmlns:a16="http://schemas.microsoft.com/office/drawing/2014/main" id="{0B935F54-C9AD-4C0C-ADB1-FD5780F91331}"/>
              </a:ext>
            </a:extLst>
          </p:cNvPr>
          <p:cNvSpPr/>
          <p:nvPr userDrawn="1"/>
        </p:nvSpPr>
        <p:spPr>
          <a:xfrm>
            <a:off x="1056926" y="1506772"/>
            <a:ext cx="9478069" cy="435609"/>
          </a:xfrm>
          <a:prstGeom prst="rect">
            <a:avLst/>
          </a:prstGeom>
          <a:solidFill>
            <a:srgbClr val="5E727B"/>
          </a:solidFill>
          <a:ln>
            <a:solidFill>
              <a:srgbClr val="53687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>
              <a:solidFill>
                <a:schemeClr val="bg1"/>
              </a:solidFill>
            </a:endParaRPr>
          </a:p>
        </p:txBody>
      </p:sp>
      <p:sp>
        <p:nvSpPr>
          <p:cNvPr id="16" name="Segnaposto testo 15">
            <a:extLst>
              <a:ext uri="{FF2B5EF4-FFF2-40B4-BE49-F238E27FC236}">
                <a16:creationId xmlns:a16="http://schemas.microsoft.com/office/drawing/2014/main" id="{7F717753-CE5C-465D-A3BE-6E33BC99784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158875" y="1601788"/>
            <a:ext cx="9166225" cy="341312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18" name="Segnaposto testo 17">
            <a:extLst>
              <a:ext uri="{FF2B5EF4-FFF2-40B4-BE49-F238E27FC236}">
                <a16:creationId xmlns:a16="http://schemas.microsoft.com/office/drawing/2014/main" id="{C3FCFF63-3DC3-4C49-AA74-4E440D71349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158875" y="2042970"/>
            <a:ext cx="5153025" cy="1457325"/>
          </a:xfrm>
        </p:spPr>
        <p:txBody>
          <a:bodyPr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</p:spTree>
    <p:extLst>
      <p:ext uri="{BB962C8B-B14F-4D97-AF65-F5344CB8AC3E}">
        <p14:creationId xmlns:p14="http://schemas.microsoft.com/office/powerpoint/2010/main" val="103725377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2200" b="1" i="0">
                <a:solidFill>
                  <a:schemeClr val="bg1"/>
                </a:solidFill>
                <a:latin typeface="Trebuchet MS"/>
                <a:cs typeface="Trebuchet MS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>
              <a:defRPr sz="1200" b="0" i="0">
                <a:solidFill>
                  <a:schemeClr val="bg1"/>
                </a:solidFill>
                <a:latin typeface="Trebuchet MS"/>
                <a:cs typeface="Trebuchet MS"/>
              </a:defRPr>
            </a:lvl1pPr>
          </a:lstStyle>
          <a:p>
            <a:pPr marL="12700">
              <a:lnSpc>
                <a:spcPct val="100000"/>
              </a:lnSpc>
              <a:spcBef>
                <a:spcPts val="25"/>
              </a:spcBef>
            </a:pPr>
            <a:r>
              <a:rPr lang="it-IT"/>
              <a:t>Istituto per il Credito Sportivo Banca Sociale per lo Sport e la Cultura</a:t>
            </a:r>
            <a:endParaRPr spc="-15" dirty="0"/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CCB6995-E578-4C40-8183-F9408A4109CA}" type="datetime1">
              <a:rPr lang="en-US" smtClean="0"/>
              <a:t>7/19/2022</a:t>
            </a:fld>
            <a:endParaRPr lang="en-US"/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1200" b="0" i="0">
                <a:solidFill>
                  <a:schemeClr val="bg1"/>
                </a:solidFill>
                <a:latin typeface="Trebuchet MS"/>
                <a:cs typeface="Trebuchet MS"/>
              </a:defRPr>
            </a:lvl1pPr>
          </a:lstStyle>
          <a:p>
            <a:pPr marL="116839">
              <a:lnSpc>
                <a:spcPct val="100000"/>
              </a:lnSpc>
              <a:spcBef>
                <a:spcPts val="385"/>
              </a:spcBef>
            </a:pPr>
            <a:fld id="{81D60167-4931-47E6-BA6A-407CBD079E47}" type="slidenum">
              <a:rPr dirty="0"/>
              <a:t>‹N›</a:t>
            </a:fld>
            <a:endParaRPr dirty="0"/>
          </a:p>
        </p:txBody>
      </p:sp>
    </p:spTree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Frecce e tes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838200" y="247498"/>
            <a:ext cx="10515600" cy="484881"/>
          </a:xfrm>
        </p:spPr>
        <p:txBody>
          <a:bodyPr>
            <a:normAutofit/>
          </a:bodyPr>
          <a:lstStyle>
            <a:lvl1pPr algn="l">
              <a:defRPr sz="2200" b="1">
                <a:solidFill>
                  <a:schemeClr val="bg1"/>
                </a:solidFill>
              </a:defRPr>
            </a:lvl1pPr>
          </a:lstStyle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9" name="Segnaposto numero diapositiva 4">
            <a:extLst>
              <a:ext uri="{FF2B5EF4-FFF2-40B4-BE49-F238E27FC236}">
                <a16:creationId xmlns:a16="http://schemas.microsoft.com/office/drawing/2014/main" id="{EA5FA132-35A6-4E85-96A9-49717F3CB39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581900" y="6360319"/>
            <a:ext cx="2743200" cy="365125"/>
          </a:xfrm>
          <a:prstGeom prst="rect">
            <a:avLst/>
          </a:prstGeom>
        </p:spPr>
        <p:txBody>
          <a:bodyPr/>
          <a:lstStyle>
            <a:lvl1pPr algn="r">
              <a:defRPr sz="1200"/>
            </a:lvl1pPr>
          </a:lstStyle>
          <a:p>
            <a:fld id="{9501BE4A-6F75-0549-8D25-E25EBB4B1677}" type="slidenum">
              <a:rPr lang="it-IT" smtClean="0">
                <a:solidFill>
                  <a:schemeClr val="bg1"/>
                </a:solidFill>
              </a:rPr>
              <a:pPr/>
              <a:t>‹N›</a:t>
            </a:fld>
            <a:endParaRPr lang="it-IT" sz="1200">
              <a:solidFill>
                <a:schemeClr val="bg1"/>
              </a:solidFill>
            </a:endParaRPr>
          </a:p>
        </p:txBody>
      </p:sp>
      <p:sp>
        <p:nvSpPr>
          <p:cNvPr id="10" name="Segnaposto testo 2">
            <a:extLst>
              <a:ext uri="{FF2B5EF4-FFF2-40B4-BE49-F238E27FC236}">
                <a16:creationId xmlns:a16="http://schemas.microsoft.com/office/drawing/2014/main" id="{F35D58D9-94CF-4EB2-AE0A-74B02B019C71}"/>
              </a:ext>
            </a:extLst>
          </p:cNvPr>
          <p:cNvSpPr>
            <a:spLocks noGrp="1"/>
          </p:cNvSpPr>
          <p:nvPr>
            <p:ph type="body" idx="11" hasCustomPrompt="1"/>
          </p:nvPr>
        </p:nvSpPr>
        <p:spPr>
          <a:xfrm>
            <a:off x="838200" y="803697"/>
            <a:ext cx="10515600" cy="376606"/>
          </a:xfrm>
        </p:spPr>
        <p:txBody>
          <a:bodyPr>
            <a:normAutofit/>
          </a:bodyPr>
          <a:lstStyle>
            <a:lvl1pPr marL="0" indent="0" algn="l">
              <a:buNone/>
              <a:defRPr sz="1800">
                <a:solidFill>
                  <a:srgbClr val="5C707B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it-IT"/>
              <a:t>Sottotitolo</a:t>
            </a:r>
          </a:p>
        </p:txBody>
      </p:sp>
      <p:sp>
        <p:nvSpPr>
          <p:cNvPr id="11" name="Segnaposto piè di pagina 4">
            <a:extLst>
              <a:ext uri="{FF2B5EF4-FFF2-40B4-BE49-F238E27FC236}">
                <a16:creationId xmlns:a16="http://schemas.microsoft.com/office/drawing/2014/main" id="{35256FB3-ADEF-4701-86D6-1AB30F9A6D4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467100" y="6360319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bg1"/>
                </a:solidFill>
              </a:defRPr>
            </a:lvl1pPr>
          </a:lstStyle>
          <a:p>
            <a:r>
              <a:rPr lang="it-IT"/>
              <a:t>Istituto per il Credito Sportivo Banca Sociale per lo Sport e la Cultura</a:t>
            </a:r>
            <a:endParaRPr lang="it-IT">
              <a:solidFill>
                <a:schemeClr val="bg1"/>
              </a:solidFill>
            </a:endParaRPr>
          </a:p>
        </p:txBody>
      </p:sp>
      <p:sp>
        <p:nvSpPr>
          <p:cNvPr id="7" name="Segnaposto testo 6">
            <a:extLst>
              <a:ext uri="{FF2B5EF4-FFF2-40B4-BE49-F238E27FC236}">
                <a16:creationId xmlns:a16="http://schemas.microsoft.com/office/drawing/2014/main" id="{08B240D5-5D10-4180-A262-78835B6DA63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81205" y="5563657"/>
            <a:ext cx="5658139" cy="582612"/>
          </a:xfrm>
        </p:spPr>
        <p:txBody>
          <a:bodyPr>
            <a:normAutofit/>
          </a:bodyPr>
          <a:lstStyle>
            <a:lvl1pPr>
              <a:spcBef>
                <a:spcPts val="500"/>
              </a:spcBef>
              <a:buFont typeface="+mj-lt"/>
              <a:buAutoNum type="arabicPeriod"/>
              <a:defRPr sz="1000"/>
            </a:lvl1pPr>
          </a:lstStyle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</p:txBody>
      </p:sp>
      <p:cxnSp>
        <p:nvCxnSpPr>
          <p:cNvPr id="14" name="Connettore diritto 13">
            <a:extLst>
              <a:ext uri="{FF2B5EF4-FFF2-40B4-BE49-F238E27FC236}">
                <a16:creationId xmlns:a16="http://schemas.microsoft.com/office/drawing/2014/main" id="{D23DA227-56B9-4DB4-9934-65C43F75C16F}"/>
              </a:ext>
            </a:extLst>
          </p:cNvPr>
          <p:cNvCxnSpPr>
            <a:cxnSpLocks/>
          </p:cNvCxnSpPr>
          <p:nvPr userDrawn="1"/>
        </p:nvCxnSpPr>
        <p:spPr>
          <a:xfrm flipV="1">
            <a:off x="925005" y="1976867"/>
            <a:ext cx="2245990" cy="12702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Connettore diritto 14">
            <a:extLst>
              <a:ext uri="{FF2B5EF4-FFF2-40B4-BE49-F238E27FC236}">
                <a16:creationId xmlns:a16="http://schemas.microsoft.com/office/drawing/2014/main" id="{399B51A4-BE4A-476E-AD3A-D0175056AFFE}"/>
              </a:ext>
            </a:extLst>
          </p:cNvPr>
          <p:cNvCxnSpPr>
            <a:cxnSpLocks/>
          </p:cNvCxnSpPr>
          <p:nvPr userDrawn="1"/>
        </p:nvCxnSpPr>
        <p:spPr>
          <a:xfrm flipV="1">
            <a:off x="3300366" y="1947972"/>
            <a:ext cx="3440162" cy="28895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Connettore diritto 15">
            <a:extLst>
              <a:ext uri="{FF2B5EF4-FFF2-40B4-BE49-F238E27FC236}">
                <a16:creationId xmlns:a16="http://schemas.microsoft.com/office/drawing/2014/main" id="{566D19FC-B536-410C-B0AF-567878F6834F}"/>
              </a:ext>
            </a:extLst>
          </p:cNvPr>
          <p:cNvCxnSpPr>
            <a:cxnSpLocks/>
          </p:cNvCxnSpPr>
          <p:nvPr userDrawn="1"/>
        </p:nvCxnSpPr>
        <p:spPr>
          <a:xfrm flipV="1">
            <a:off x="6872258" y="1917276"/>
            <a:ext cx="5212109" cy="30696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Segnaposto testo 4">
            <a:extLst>
              <a:ext uri="{FF2B5EF4-FFF2-40B4-BE49-F238E27FC236}">
                <a16:creationId xmlns:a16="http://schemas.microsoft.com/office/drawing/2014/main" id="{239CC0B9-5AEA-426C-B38D-EDF1AF00064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42705" y="1559557"/>
            <a:ext cx="2160713" cy="373067"/>
          </a:xfrm>
        </p:spPr>
        <p:txBody>
          <a:bodyPr/>
          <a:lstStyle>
            <a:lvl1pPr>
              <a:buNone/>
              <a:defRPr b="1"/>
            </a:lvl1pPr>
          </a:lstStyle>
          <a:p>
            <a:pPr lvl="0"/>
            <a:r>
              <a:rPr lang="it-IT" err="1"/>
              <a:t>Xxxxxx</a:t>
            </a:r>
            <a:endParaRPr lang="it-IT"/>
          </a:p>
        </p:txBody>
      </p:sp>
      <p:sp>
        <p:nvSpPr>
          <p:cNvPr id="17" name="Segnaposto testo 4">
            <a:extLst>
              <a:ext uri="{FF2B5EF4-FFF2-40B4-BE49-F238E27FC236}">
                <a16:creationId xmlns:a16="http://schemas.microsoft.com/office/drawing/2014/main" id="{47FFCDC8-06A2-4962-AFD3-F2CFE075BF4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300366" y="1547388"/>
            <a:ext cx="2160713" cy="373067"/>
          </a:xfrm>
        </p:spPr>
        <p:txBody>
          <a:bodyPr/>
          <a:lstStyle>
            <a:lvl1pPr>
              <a:buNone/>
              <a:defRPr b="1"/>
            </a:lvl1pPr>
          </a:lstStyle>
          <a:p>
            <a:pPr lvl="0"/>
            <a:r>
              <a:rPr lang="it-IT" err="1"/>
              <a:t>Xxxxxx</a:t>
            </a:r>
            <a:endParaRPr lang="it-IT"/>
          </a:p>
        </p:txBody>
      </p:sp>
      <p:sp>
        <p:nvSpPr>
          <p:cNvPr id="18" name="Segnaposto testo 4">
            <a:extLst>
              <a:ext uri="{FF2B5EF4-FFF2-40B4-BE49-F238E27FC236}">
                <a16:creationId xmlns:a16="http://schemas.microsoft.com/office/drawing/2014/main" id="{F7EE97E5-B72F-4F4D-B830-7DCFDB5BEF8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872258" y="1544209"/>
            <a:ext cx="2160713" cy="373067"/>
          </a:xfrm>
        </p:spPr>
        <p:txBody>
          <a:bodyPr/>
          <a:lstStyle>
            <a:lvl1pPr>
              <a:buNone/>
              <a:defRPr b="1"/>
            </a:lvl1pPr>
          </a:lstStyle>
          <a:p>
            <a:pPr lvl="0"/>
            <a:r>
              <a:rPr lang="it-IT" err="1"/>
              <a:t>Xxxxxx</a:t>
            </a:r>
            <a:endParaRPr lang="it-IT"/>
          </a:p>
        </p:txBody>
      </p:sp>
      <p:sp>
        <p:nvSpPr>
          <p:cNvPr id="6" name="Freccia a pentagono 5">
            <a:extLst>
              <a:ext uri="{FF2B5EF4-FFF2-40B4-BE49-F238E27FC236}">
                <a16:creationId xmlns:a16="http://schemas.microsoft.com/office/drawing/2014/main" id="{4F55F310-F669-44AA-8A42-A006CC5E88D1}"/>
              </a:ext>
            </a:extLst>
          </p:cNvPr>
          <p:cNvSpPr/>
          <p:nvPr userDrawn="1"/>
        </p:nvSpPr>
        <p:spPr>
          <a:xfrm>
            <a:off x="933854" y="2240844"/>
            <a:ext cx="2178413" cy="1199241"/>
          </a:xfrm>
          <a:prstGeom prst="homePlate">
            <a:avLst>
              <a:gd name="adj" fmla="val 15042"/>
            </a:avLst>
          </a:prstGeom>
          <a:solidFill>
            <a:srgbClr val="5E727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endParaRPr lang="it-IT" sz="1400">
              <a:solidFill>
                <a:schemeClr val="bg1"/>
              </a:solidFill>
              <a:latin typeface="Trebuchet MS" panose="020B0703020202090204" pitchFamily="34" charset="0"/>
            </a:endParaRPr>
          </a:p>
        </p:txBody>
      </p:sp>
      <p:sp>
        <p:nvSpPr>
          <p:cNvPr id="21" name="Segnaposto testo 20">
            <a:extLst>
              <a:ext uri="{FF2B5EF4-FFF2-40B4-BE49-F238E27FC236}">
                <a16:creationId xmlns:a16="http://schemas.microsoft.com/office/drawing/2014/main" id="{4FC57061-8DBA-4AF9-8454-2A3D52180C4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300413" y="2230438"/>
            <a:ext cx="3440112" cy="1111250"/>
          </a:xfrm>
        </p:spPr>
        <p:txBody>
          <a:bodyPr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22" name="Segnaposto testo 20">
            <a:extLst>
              <a:ext uri="{FF2B5EF4-FFF2-40B4-BE49-F238E27FC236}">
                <a16:creationId xmlns:a16="http://schemas.microsoft.com/office/drawing/2014/main" id="{925CEE6C-26E5-4BFD-B9D8-09003E2C7C90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872258" y="2162022"/>
            <a:ext cx="3440112" cy="1111250"/>
          </a:xfrm>
        </p:spPr>
        <p:txBody>
          <a:bodyPr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23" name="Freccia a pentagono 22">
            <a:extLst>
              <a:ext uri="{FF2B5EF4-FFF2-40B4-BE49-F238E27FC236}">
                <a16:creationId xmlns:a16="http://schemas.microsoft.com/office/drawing/2014/main" id="{045393A7-25F5-4C39-9079-4E78D9E8A437}"/>
              </a:ext>
            </a:extLst>
          </p:cNvPr>
          <p:cNvSpPr/>
          <p:nvPr userDrawn="1"/>
        </p:nvSpPr>
        <p:spPr>
          <a:xfrm>
            <a:off x="925005" y="3800816"/>
            <a:ext cx="2178413" cy="1199241"/>
          </a:xfrm>
          <a:prstGeom prst="homePlate">
            <a:avLst>
              <a:gd name="adj" fmla="val 15042"/>
            </a:avLst>
          </a:prstGeom>
          <a:solidFill>
            <a:srgbClr val="5E727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endParaRPr lang="it-IT" sz="1400">
              <a:solidFill>
                <a:schemeClr val="bg1"/>
              </a:solidFill>
              <a:latin typeface="Trebuchet MS" panose="020B0703020202090204" pitchFamily="34" charset="0"/>
            </a:endParaRPr>
          </a:p>
        </p:txBody>
      </p:sp>
      <p:sp>
        <p:nvSpPr>
          <p:cNvPr id="24" name="Segnaposto testo 20">
            <a:extLst>
              <a:ext uri="{FF2B5EF4-FFF2-40B4-BE49-F238E27FC236}">
                <a16:creationId xmlns:a16="http://schemas.microsoft.com/office/drawing/2014/main" id="{7D99977D-010F-4A4B-AD97-2B996A504EDA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300413" y="3801495"/>
            <a:ext cx="3440112" cy="1111250"/>
          </a:xfrm>
        </p:spPr>
        <p:txBody>
          <a:bodyPr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25" name="Segnaposto testo 20">
            <a:extLst>
              <a:ext uri="{FF2B5EF4-FFF2-40B4-BE49-F238E27FC236}">
                <a16:creationId xmlns:a16="http://schemas.microsoft.com/office/drawing/2014/main" id="{2ED50C9F-A8A7-4899-B9A2-803DD30ED1C8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872258" y="3733079"/>
            <a:ext cx="3440112" cy="1111250"/>
          </a:xfrm>
        </p:spPr>
        <p:txBody>
          <a:bodyPr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27" name="Segnaposto testo 26">
            <a:extLst>
              <a:ext uri="{FF2B5EF4-FFF2-40B4-BE49-F238E27FC236}">
                <a16:creationId xmlns:a16="http://schemas.microsoft.com/office/drawing/2014/main" id="{AD1F6205-C65D-4211-BB71-6B1354772E69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1130300" y="2520950"/>
            <a:ext cx="1552575" cy="493713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28" name="Segnaposto testo 26">
            <a:extLst>
              <a:ext uri="{FF2B5EF4-FFF2-40B4-BE49-F238E27FC236}">
                <a16:creationId xmlns:a16="http://schemas.microsoft.com/office/drawing/2014/main" id="{560A7628-9427-44A1-8CA9-82B2A00693E9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1130299" y="4041847"/>
            <a:ext cx="1552575" cy="493713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</p:spTree>
    <p:extLst>
      <p:ext uri="{BB962C8B-B14F-4D97-AF65-F5344CB8AC3E}">
        <p14:creationId xmlns:p14="http://schemas.microsoft.com/office/powerpoint/2010/main" val="1395491238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PROSSIMI PASS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ttangolo con angoli arrotondati 2">
            <a:extLst>
              <a:ext uri="{FF2B5EF4-FFF2-40B4-BE49-F238E27FC236}">
                <a16:creationId xmlns:a16="http://schemas.microsoft.com/office/drawing/2014/main" id="{ACC0ACF9-2CD3-4A46-8F07-8ADA5641DD38}"/>
              </a:ext>
            </a:extLst>
          </p:cNvPr>
          <p:cNvSpPr/>
          <p:nvPr userDrawn="1"/>
        </p:nvSpPr>
        <p:spPr>
          <a:xfrm>
            <a:off x="709352" y="1052946"/>
            <a:ext cx="10773295" cy="4131425"/>
          </a:xfrm>
          <a:prstGeom prst="roundRect">
            <a:avLst>
              <a:gd name="adj" fmla="val 4520"/>
            </a:avLst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b="1"/>
          </a:p>
        </p:txBody>
      </p:sp>
      <p:sp>
        <p:nvSpPr>
          <p:cNvPr id="2" name="Titolo 1"/>
          <p:cNvSpPr>
            <a:spLocks noGrp="1"/>
          </p:cNvSpPr>
          <p:nvPr>
            <p:ph type="title" hasCustomPrompt="1"/>
          </p:nvPr>
        </p:nvSpPr>
        <p:spPr>
          <a:xfrm>
            <a:off x="838200" y="247498"/>
            <a:ext cx="10515600" cy="484881"/>
          </a:xfrm>
        </p:spPr>
        <p:txBody>
          <a:bodyPr>
            <a:normAutofit/>
          </a:bodyPr>
          <a:lstStyle>
            <a:lvl1pPr algn="l">
              <a:defRPr sz="2200" b="1">
                <a:solidFill>
                  <a:schemeClr val="bg1"/>
                </a:solidFill>
              </a:defRPr>
            </a:lvl1pPr>
          </a:lstStyle>
          <a:p>
            <a:r>
              <a:rPr lang="it-IT"/>
              <a:t>Prossimi passi</a:t>
            </a:r>
          </a:p>
        </p:txBody>
      </p:sp>
      <p:sp>
        <p:nvSpPr>
          <p:cNvPr id="9" name="Segnaposto numero diapositiva 4">
            <a:extLst>
              <a:ext uri="{FF2B5EF4-FFF2-40B4-BE49-F238E27FC236}">
                <a16:creationId xmlns:a16="http://schemas.microsoft.com/office/drawing/2014/main" id="{EA5FA132-35A6-4E85-96A9-49717F3CB39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581900" y="6360319"/>
            <a:ext cx="2743200" cy="365125"/>
          </a:xfrm>
          <a:prstGeom prst="rect">
            <a:avLst/>
          </a:prstGeom>
        </p:spPr>
        <p:txBody>
          <a:bodyPr/>
          <a:lstStyle>
            <a:lvl1pPr algn="r">
              <a:defRPr sz="1200"/>
            </a:lvl1pPr>
          </a:lstStyle>
          <a:p>
            <a:fld id="{9501BE4A-6F75-0549-8D25-E25EBB4B1677}" type="slidenum">
              <a:rPr lang="it-IT" smtClean="0">
                <a:solidFill>
                  <a:schemeClr val="bg1"/>
                </a:solidFill>
              </a:rPr>
              <a:pPr/>
              <a:t>‹N›</a:t>
            </a:fld>
            <a:endParaRPr lang="it-IT" sz="1200">
              <a:solidFill>
                <a:schemeClr val="bg1"/>
              </a:solidFill>
            </a:endParaRPr>
          </a:p>
        </p:txBody>
      </p:sp>
      <p:sp>
        <p:nvSpPr>
          <p:cNvPr id="11" name="Segnaposto piè di pagina 4">
            <a:extLst>
              <a:ext uri="{FF2B5EF4-FFF2-40B4-BE49-F238E27FC236}">
                <a16:creationId xmlns:a16="http://schemas.microsoft.com/office/drawing/2014/main" id="{35256FB3-ADEF-4701-86D6-1AB30F9A6D4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467100" y="6360319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bg1"/>
                </a:solidFill>
              </a:defRPr>
            </a:lvl1pPr>
          </a:lstStyle>
          <a:p>
            <a:r>
              <a:rPr lang="it-IT"/>
              <a:t>Istituto per il Credito Sportivo Banca Sociale per lo Sport e la Cultura</a:t>
            </a:r>
            <a:endParaRPr lang="it-IT">
              <a:solidFill>
                <a:schemeClr val="bg1"/>
              </a:solidFill>
            </a:endParaRPr>
          </a:p>
        </p:txBody>
      </p:sp>
      <p:sp>
        <p:nvSpPr>
          <p:cNvPr id="5" name="Segnaposto testo 4">
            <a:extLst>
              <a:ext uri="{FF2B5EF4-FFF2-40B4-BE49-F238E27FC236}">
                <a16:creationId xmlns:a16="http://schemas.microsoft.com/office/drawing/2014/main" id="{9164D6A8-5FC3-4674-97CC-2E77D9AB8B9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09638" y="1223963"/>
            <a:ext cx="3319462" cy="355600"/>
          </a:xfrm>
        </p:spPr>
        <p:txBody>
          <a:bodyPr/>
          <a:lstStyle>
            <a:lvl1pPr marL="0" indent="0">
              <a:buNone/>
              <a:defRPr b="1"/>
            </a:lvl1pPr>
          </a:lstStyle>
          <a:p>
            <a:pPr lvl="0"/>
            <a:r>
              <a:rPr lang="it-IT"/>
              <a:t>Attività</a:t>
            </a:r>
          </a:p>
        </p:txBody>
      </p:sp>
      <p:sp>
        <p:nvSpPr>
          <p:cNvPr id="12" name="Segnaposto testo 4">
            <a:extLst>
              <a:ext uri="{FF2B5EF4-FFF2-40B4-BE49-F238E27FC236}">
                <a16:creationId xmlns:a16="http://schemas.microsoft.com/office/drawing/2014/main" id="{8A00C443-06FE-4C0B-A0B6-21E71F2AF63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634038" y="1223963"/>
            <a:ext cx="3319462" cy="355600"/>
          </a:xfrm>
        </p:spPr>
        <p:txBody>
          <a:bodyPr/>
          <a:lstStyle>
            <a:lvl1pPr marL="0" indent="0">
              <a:buNone/>
              <a:defRPr b="1"/>
            </a:lvl1pPr>
          </a:lstStyle>
          <a:p>
            <a:pPr lvl="0"/>
            <a:r>
              <a:rPr lang="it-IT"/>
              <a:t>Chi</a:t>
            </a:r>
          </a:p>
        </p:txBody>
      </p:sp>
      <p:sp>
        <p:nvSpPr>
          <p:cNvPr id="16" name="Segnaposto testo 4">
            <a:extLst>
              <a:ext uri="{FF2B5EF4-FFF2-40B4-BE49-F238E27FC236}">
                <a16:creationId xmlns:a16="http://schemas.microsoft.com/office/drawing/2014/main" id="{9207C149-1AC9-4D82-8B03-24AF1D6FAF2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000693" y="1223963"/>
            <a:ext cx="2215947" cy="355600"/>
          </a:xfrm>
        </p:spPr>
        <p:txBody>
          <a:bodyPr/>
          <a:lstStyle>
            <a:lvl1pPr marL="0" indent="0">
              <a:buNone/>
              <a:defRPr b="1"/>
            </a:lvl1pPr>
          </a:lstStyle>
          <a:p>
            <a:pPr lvl="0"/>
            <a:r>
              <a:rPr lang="it-IT"/>
              <a:t>Quando</a:t>
            </a:r>
          </a:p>
        </p:txBody>
      </p:sp>
      <p:cxnSp>
        <p:nvCxnSpPr>
          <p:cNvPr id="8" name="Connettore diritto 7">
            <a:extLst>
              <a:ext uri="{FF2B5EF4-FFF2-40B4-BE49-F238E27FC236}">
                <a16:creationId xmlns:a16="http://schemas.microsoft.com/office/drawing/2014/main" id="{97265B0D-3246-4233-9657-F3D1F62DC63C}"/>
              </a:ext>
            </a:extLst>
          </p:cNvPr>
          <p:cNvCxnSpPr/>
          <p:nvPr userDrawn="1"/>
        </p:nvCxnSpPr>
        <p:spPr>
          <a:xfrm flipV="1">
            <a:off x="838200" y="1673629"/>
            <a:ext cx="10515600" cy="38793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Segnaposto testo 17">
            <a:extLst>
              <a:ext uri="{FF2B5EF4-FFF2-40B4-BE49-F238E27FC236}">
                <a16:creationId xmlns:a16="http://schemas.microsoft.com/office/drawing/2014/main" id="{FCEFA0AA-8915-4129-B5E8-FD5016F51A9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909638" y="1911350"/>
            <a:ext cx="4238625" cy="2566988"/>
          </a:xfrm>
        </p:spPr>
        <p:txBody>
          <a:bodyPr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19" name="Segnaposto testo 17">
            <a:extLst>
              <a:ext uri="{FF2B5EF4-FFF2-40B4-BE49-F238E27FC236}">
                <a16:creationId xmlns:a16="http://schemas.microsoft.com/office/drawing/2014/main" id="{E6249EEE-A711-45A8-8FE6-7077F518E50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634039" y="1911350"/>
            <a:ext cx="3319462" cy="2566988"/>
          </a:xfrm>
        </p:spPr>
        <p:txBody>
          <a:bodyPr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20" name="Segnaposto testo 17">
            <a:extLst>
              <a:ext uri="{FF2B5EF4-FFF2-40B4-BE49-F238E27FC236}">
                <a16:creationId xmlns:a16="http://schemas.microsoft.com/office/drawing/2014/main" id="{A7985701-7A9B-4E6B-83E0-00C7E4AA42C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9023641" y="1900130"/>
            <a:ext cx="2192999" cy="2566988"/>
          </a:xfrm>
        </p:spPr>
        <p:txBody>
          <a:bodyPr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21" name="Segnaposto testo 6">
            <a:extLst>
              <a:ext uri="{FF2B5EF4-FFF2-40B4-BE49-F238E27FC236}">
                <a16:creationId xmlns:a16="http://schemas.microsoft.com/office/drawing/2014/main" id="{FD698E0F-49FD-4AFE-AC97-1FB05A9D409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38200" y="5392391"/>
            <a:ext cx="5658139" cy="582612"/>
          </a:xfrm>
        </p:spPr>
        <p:txBody>
          <a:bodyPr>
            <a:normAutofit/>
          </a:bodyPr>
          <a:lstStyle>
            <a:lvl1pPr>
              <a:spcBef>
                <a:spcPts val="500"/>
              </a:spcBef>
              <a:buFont typeface="+mj-lt"/>
              <a:buAutoNum type="arabicPeriod"/>
              <a:defRPr sz="1000"/>
            </a:lvl1pPr>
          </a:lstStyle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</p:txBody>
      </p:sp>
    </p:spTree>
    <p:extLst>
      <p:ext uri="{BB962C8B-B14F-4D97-AF65-F5344CB8AC3E}">
        <p14:creationId xmlns:p14="http://schemas.microsoft.com/office/powerpoint/2010/main" val="3252493806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Allega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 hasCustomPrompt="1"/>
          </p:nvPr>
        </p:nvSpPr>
        <p:spPr>
          <a:xfrm>
            <a:off x="743989" y="2896487"/>
            <a:ext cx="10515600" cy="484881"/>
          </a:xfrm>
        </p:spPr>
        <p:txBody>
          <a:bodyPr>
            <a:normAutofit/>
          </a:bodyPr>
          <a:lstStyle>
            <a:lvl1pPr algn="ctr">
              <a:defRPr sz="2200" b="1">
                <a:solidFill>
                  <a:schemeClr val="bg1"/>
                </a:solidFill>
              </a:defRPr>
            </a:lvl1pPr>
          </a:lstStyle>
          <a:p>
            <a:r>
              <a:rPr lang="it-IT"/>
              <a:t>ALLEGATI</a:t>
            </a:r>
          </a:p>
        </p:txBody>
      </p:sp>
      <p:sp>
        <p:nvSpPr>
          <p:cNvPr id="9" name="Segnaposto numero diapositiva 4">
            <a:extLst>
              <a:ext uri="{FF2B5EF4-FFF2-40B4-BE49-F238E27FC236}">
                <a16:creationId xmlns:a16="http://schemas.microsoft.com/office/drawing/2014/main" id="{EA5FA132-35A6-4E85-96A9-49717F3CB39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581900" y="6360319"/>
            <a:ext cx="2743200" cy="365125"/>
          </a:xfrm>
          <a:prstGeom prst="rect">
            <a:avLst/>
          </a:prstGeom>
        </p:spPr>
        <p:txBody>
          <a:bodyPr/>
          <a:lstStyle>
            <a:lvl1pPr algn="r">
              <a:defRPr sz="1200"/>
            </a:lvl1pPr>
          </a:lstStyle>
          <a:p>
            <a:fld id="{9501BE4A-6F75-0549-8D25-E25EBB4B1677}" type="slidenum">
              <a:rPr lang="it-IT" smtClean="0">
                <a:solidFill>
                  <a:schemeClr val="bg1"/>
                </a:solidFill>
              </a:rPr>
              <a:pPr/>
              <a:t>‹N›</a:t>
            </a:fld>
            <a:endParaRPr lang="it-IT" sz="1200">
              <a:solidFill>
                <a:schemeClr val="bg1"/>
              </a:solidFill>
            </a:endParaRPr>
          </a:p>
        </p:txBody>
      </p:sp>
      <p:sp>
        <p:nvSpPr>
          <p:cNvPr id="11" name="Segnaposto piè di pagina 4">
            <a:extLst>
              <a:ext uri="{FF2B5EF4-FFF2-40B4-BE49-F238E27FC236}">
                <a16:creationId xmlns:a16="http://schemas.microsoft.com/office/drawing/2014/main" id="{35256FB3-ADEF-4701-86D6-1AB30F9A6D4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467100" y="6360319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bg1"/>
                </a:solidFill>
              </a:defRPr>
            </a:lvl1pPr>
          </a:lstStyle>
          <a:p>
            <a:r>
              <a:rPr lang="it-IT"/>
              <a:t>Istituto per il Credito Sportivo Banca Sociale per lo Sport e la Cultura</a:t>
            </a:r>
            <a:endParaRPr lang="it-IT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945249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Contenuto del documen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 hasCustomPrompt="1"/>
          </p:nvPr>
        </p:nvSpPr>
        <p:spPr>
          <a:xfrm>
            <a:off x="838200" y="236415"/>
            <a:ext cx="10515600" cy="484881"/>
          </a:xfrm>
        </p:spPr>
        <p:txBody>
          <a:bodyPr>
            <a:normAutofit/>
          </a:bodyPr>
          <a:lstStyle>
            <a:lvl1pPr algn="l">
              <a:defRPr sz="2200" b="1">
                <a:solidFill>
                  <a:schemeClr val="bg1"/>
                </a:solidFill>
              </a:defRPr>
            </a:lvl1pPr>
          </a:lstStyle>
          <a:p>
            <a:r>
              <a:rPr lang="it-IT"/>
              <a:t>Contenuto del documento</a:t>
            </a:r>
          </a:p>
        </p:txBody>
      </p:sp>
      <p:sp>
        <p:nvSpPr>
          <p:cNvPr id="9" name="Segnaposto numero diapositiva 4">
            <a:extLst>
              <a:ext uri="{FF2B5EF4-FFF2-40B4-BE49-F238E27FC236}">
                <a16:creationId xmlns:a16="http://schemas.microsoft.com/office/drawing/2014/main" id="{EA5FA132-35A6-4E85-96A9-49717F3CB39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581900" y="6360319"/>
            <a:ext cx="2743200" cy="365125"/>
          </a:xfrm>
          <a:prstGeom prst="rect">
            <a:avLst/>
          </a:prstGeom>
        </p:spPr>
        <p:txBody>
          <a:bodyPr/>
          <a:lstStyle>
            <a:lvl1pPr algn="r">
              <a:defRPr sz="1200"/>
            </a:lvl1pPr>
          </a:lstStyle>
          <a:p>
            <a:fld id="{9501BE4A-6F75-0549-8D25-E25EBB4B1677}" type="slidenum">
              <a:rPr lang="it-IT" smtClean="0">
                <a:solidFill>
                  <a:schemeClr val="bg1"/>
                </a:solidFill>
              </a:rPr>
              <a:pPr/>
              <a:t>‹N›</a:t>
            </a:fld>
            <a:endParaRPr lang="it-IT" sz="1200">
              <a:solidFill>
                <a:schemeClr val="bg1"/>
              </a:solidFill>
            </a:endParaRPr>
          </a:p>
        </p:txBody>
      </p:sp>
      <p:sp>
        <p:nvSpPr>
          <p:cNvPr id="11" name="Segnaposto piè di pagina 4">
            <a:extLst>
              <a:ext uri="{FF2B5EF4-FFF2-40B4-BE49-F238E27FC236}">
                <a16:creationId xmlns:a16="http://schemas.microsoft.com/office/drawing/2014/main" id="{35256FB3-ADEF-4701-86D6-1AB30F9A6D4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467100" y="6360319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bg1"/>
                </a:solidFill>
              </a:defRPr>
            </a:lvl1pPr>
          </a:lstStyle>
          <a:p>
            <a:r>
              <a:rPr lang="it-IT"/>
              <a:t>Istituto per il Credito Sportivo Banca Sociale per lo Sport e la Cultura</a:t>
            </a:r>
            <a:endParaRPr lang="it-IT">
              <a:solidFill>
                <a:schemeClr val="bg1"/>
              </a:solidFill>
            </a:endParaRPr>
          </a:p>
        </p:txBody>
      </p:sp>
      <p:sp>
        <p:nvSpPr>
          <p:cNvPr id="18" name="Segnaposto testo 17">
            <a:extLst>
              <a:ext uri="{FF2B5EF4-FFF2-40B4-BE49-F238E27FC236}">
                <a16:creationId xmlns:a16="http://schemas.microsoft.com/office/drawing/2014/main" id="{C3FCFF63-3DC3-4C49-AA74-4E440D71349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158875" y="2042970"/>
            <a:ext cx="5153025" cy="1457325"/>
          </a:xfrm>
        </p:spPr>
        <p:txBody>
          <a:bodyPr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</p:spTree>
    <p:extLst>
      <p:ext uri="{BB962C8B-B14F-4D97-AF65-F5344CB8AC3E}">
        <p14:creationId xmlns:p14="http://schemas.microsoft.com/office/powerpoint/2010/main" val="4029737227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ol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838200" y="247498"/>
            <a:ext cx="10515600" cy="484881"/>
          </a:xfrm>
        </p:spPr>
        <p:txBody>
          <a:bodyPr>
            <a:normAutofit/>
          </a:bodyPr>
          <a:lstStyle>
            <a:lvl1pPr algn="l">
              <a:defRPr sz="2200" b="1">
                <a:solidFill>
                  <a:schemeClr val="bg1"/>
                </a:solidFill>
              </a:defRPr>
            </a:lvl1pPr>
          </a:lstStyle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9" name="Segnaposto numero diapositiva 4">
            <a:extLst>
              <a:ext uri="{FF2B5EF4-FFF2-40B4-BE49-F238E27FC236}">
                <a16:creationId xmlns:a16="http://schemas.microsoft.com/office/drawing/2014/main" id="{EA5FA132-35A6-4E85-96A9-49717F3CB39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581900" y="6360319"/>
            <a:ext cx="2743200" cy="365125"/>
          </a:xfrm>
          <a:prstGeom prst="rect">
            <a:avLst/>
          </a:prstGeom>
        </p:spPr>
        <p:txBody>
          <a:bodyPr/>
          <a:lstStyle>
            <a:lvl1pPr algn="r">
              <a:defRPr sz="1200"/>
            </a:lvl1pPr>
          </a:lstStyle>
          <a:p>
            <a:fld id="{9501BE4A-6F75-0549-8D25-E25EBB4B1677}" type="slidenum">
              <a:rPr lang="it-IT" smtClean="0">
                <a:solidFill>
                  <a:schemeClr val="bg1"/>
                </a:solidFill>
              </a:rPr>
              <a:pPr/>
              <a:t>‹N›</a:t>
            </a:fld>
            <a:endParaRPr lang="it-IT" sz="1200">
              <a:solidFill>
                <a:schemeClr val="bg1"/>
              </a:solidFill>
            </a:endParaRPr>
          </a:p>
        </p:txBody>
      </p:sp>
      <p:sp>
        <p:nvSpPr>
          <p:cNvPr id="10" name="Segnaposto testo 2">
            <a:extLst>
              <a:ext uri="{FF2B5EF4-FFF2-40B4-BE49-F238E27FC236}">
                <a16:creationId xmlns:a16="http://schemas.microsoft.com/office/drawing/2014/main" id="{F35D58D9-94CF-4EB2-AE0A-74B02B019C71}"/>
              </a:ext>
            </a:extLst>
          </p:cNvPr>
          <p:cNvSpPr>
            <a:spLocks noGrp="1"/>
          </p:cNvSpPr>
          <p:nvPr>
            <p:ph type="body" idx="11" hasCustomPrompt="1"/>
          </p:nvPr>
        </p:nvSpPr>
        <p:spPr>
          <a:xfrm>
            <a:off x="838200" y="803697"/>
            <a:ext cx="10515600" cy="376606"/>
          </a:xfrm>
        </p:spPr>
        <p:txBody>
          <a:bodyPr>
            <a:normAutofit/>
          </a:bodyPr>
          <a:lstStyle>
            <a:lvl1pPr marL="0" indent="0" algn="l">
              <a:buNone/>
              <a:defRPr sz="1800">
                <a:solidFill>
                  <a:srgbClr val="5C707B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it-IT"/>
              <a:t>Sottotitolo</a:t>
            </a:r>
          </a:p>
        </p:txBody>
      </p:sp>
      <p:sp>
        <p:nvSpPr>
          <p:cNvPr id="11" name="Segnaposto piè di pagina 4">
            <a:extLst>
              <a:ext uri="{FF2B5EF4-FFF2-40B4-BE49-F238E27FC236}">
                <a16:creationId xmlns:a16="http://schemas.microsoft.com/office/drawing/2014/main" id="{35256FB3-ADEF-4701-86D6-1AB30F9A6D4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467100" y="6360319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bg1"/>
                </a:solidFill>
              </a:defRPr>
            </a:lvl1pPr>
          </a:lstStyle>
          <a:p>
            <a:r>
              <a:rPr lang="it-IT"/>
              <a:t>Istituto per il Credito Sportivo Banca Sociale per lo Sport e la Cultura</a:t>
            </a:r>
            <a:endParaRPr lang="it-IT">
              <a:solidFill>
                <a:schemeClr val="bg1"/>
              </a:solidFill>
            </a:endParaRPr>
          </a:p>
        </p:txBody>
      </p:sp>
      <p:sp>
        <p:nvSpPr>
          <p:cNvPr id="4" name="Segnaposto testo 3">
            <a:extLst>
              <a:ext uri="{FF2B5EF4-FFF2-40B4-BE49-F238E27FC236}">
                <a16:creationId xmlns:a16="http://schemas.microsoft.com/office/drawing/2014/main" id="{DD619220-D121-4E8E-A124-5AF02D367B8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936625" y="1662113"/>
            <a:ext cx="10031413" cy="3419734"/>
          </a:xfrm>
        </p:spPr>
        <p:txBody>
          <a:bodyPr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7" name="Segnaposto testo 6">
            <a:extLst>
              <a:ext uri="{FF2B5EF4-FFF2-40B4-BE49-F238E27FC236}">
                <a16:creationId xmlns:a16="http://schemas.microsoft.com/office/drawing/2014/main" id="{08B240D5-5D10-4180-A262-78835B6DA63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81205" y="5563657"/>
            <a:ext cx="5658139" cy="582612"/>
          </a:xfrm>
        </p:spPr>
        <p:txBody>
          <a:bodyPr>
            <a:normAutofit/>
          </a:bodyPr>
          <a:lstStyle>
            <a:lvl1pPr>
              <a:spcBef>
                <a:spcPts val="500"/>
              </a:spcBef>
              <a:buFont typeface="+mj-lt"/>
              <a:buAutoNum type="arabicPeriod"/>
              <a:defRPr sz="1000"/>
            </a:lvl1pPr>
          </a:lstStyle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</p:txBody>
      </p:sp>
    </p:spTree>
    <p:extLst>
      <p:ext uri="{BB962C8B-B14F-4D97-AF65-F5344CB8AC3E}">
        <p14:creationId xmlns:p14="http://schemas.microsoft.com/office/powerpoint/2010/main" val="3727363387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opertin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ottotitolo 2"/>
          <p:cNvSpPr>
            <a:spLocks noGrp="1"/>
          </p:cNvSpPr>
          <p:nvPr>
            <p:ph type="subTitle" idx="1" hasCustomPrompt="1"/>
          </p:nvPr>
        </p:nvSpPr>
        <p:spPr>
          <a:xfrm>
            <a:off x="1524000" y="4684035"/>
            <a:ext cx="9144000" cy="399838"/>
          </a:xfrm>
        </p:spPr>
        <p:txBody>
          <a:bodyPr>
            <a:normAutofit/>
          </a:bodyPr>
          <a:lstStyle>
            <a:lvl1pPr marL="0" indent="0" algn="l">
              <a:buNone/>
              <a:defRPr sz="1800" baseline="0">
                <a:solidFill>
                  <a:srgbClr val="5C707B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it-IT"/>
              <a:t>Inserire Ufficio</a:t>
            </a:r>
          </a:p>
        </p:txBody>
      </p:sp>
      <p:pic>
        <p:nvPicPr>
          <p:cNvPr id="7" name="Immagin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32782"/>
            <a:ext cx="12192000" cy="2800349"/>
          </a:xfrm>
          <a:prstGeom prst="rect">
            <a:avLst/>
          </a:prstGeom>
        </p:spPr>
      </p:pic>
      <p:sp>
        <p:nvSpPr>
          <p:cNvPr id="11" name="Rettangolo 10"/>
          <p:cNvSpPr/>
          <p:nvPr userDrawn="1"/>
        </p:nvSpPr>
        <p:spPr>
          <a:xfrm>
            <a:off x="0" y="5988676"/>
            <a:ext cx="12192000" cy="8693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pic>
        <p:nvPicPr>
          <p:cNvPr id="8" name="Immagine 7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68000" y="6423002"/>
            <a:ext cx="1224818" cy="171348"/>
          </a:xfrm>
          <a:prstGeom prst="rect">
            <a:avLst/>
          </a:prstGeom>
        </p:spPr>
      </p:pic>
      <p:pic>
        <p:nvPicPr>
          <p:cNvPr id="9" name="Immagine 8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6313" y="6423002"/>
            <a:ext cx="1136159" cy="168551"/>
          </a:xfrm>
          <a:prstGeom prst="rect">
            <a:avLst/>
          </a:prstGeom>
        </p:spPr>
      </p:pic>
      <p:sp>
        <p:nvSpPr>
          <p:cNvPr id="5" name="Segnaposto testo 4"/>
          <p:cNvSpPr>
            <a:spLocks noGrp="1"/>
          </p:cNvSpPr>
          <p:nvPr>
            <p:ph type="body" sz="quarter" idx="10" hasCustomPrompt="1"/>
          </p:nvPr>
        </p:nvSpPr>
        <p:spPr>
          <a:xfrm>
            <a:off x="1524000" y="5646567"/>
            <a:ext cx="9242425" cy="288974"/>
          </a:xfrm>
        </p:spPr>
        <p:txBody>
          <a:bodyPr>
            <a:normAutofit/>
          </a:bodyPr>
          <a:lstStyle>
            <a:lvl1pPr marL="0" indent="0" algn="r">
              <a:buNone/>
              <a:defRPr sz="1400" baseline="0"/>
            </a:lvl1pPr>
          </a:lstStyle>
          <a:p>
            <a:pPr lvl="0"/>
            <a:r>
              <a:rPr lang="it-IT"/>
              <a:t>Inserire Luogo e Data</a:t>
            </a:r>
          </a:p>
        </p:txBody>
      </p:sp>
      <p:sp>
        <p:nvSpPr>
          <p:cNvPr id="14" name="Titolo 13"/>
          <p:cNvSpPr>
            <a:spLocks noGrp="1"/>
          </p:cNvSpPr>
          <p:nvPr>
            <p:ph type="title"/>
          </p:nvPr>
        </p:nvSpPr>
        <p:spPr>
          <a:xfrm>
            <a:off x="1524000" y="3269674"/>
            <a:ext cx="10515600" cy="1236598"/>
          </a:xfrm>
          <a:noFill/>
        </p:spPr>
        <p:txBody>
          <a:bodyPr>
            <a:normAutofit/>
          </a:bodyPr>
          <a:lstStyle>
            <a:lvl1pPr>
              <a:defRPr sz="2400">
                <a:solidFill>
                  <a:schemeClr val="tx1"/>
                </a:solidFill>
              </a:defRPr>
            </a:lvl1pPr>
          </a:lstStyle>
          <a:p>
            <a:r>
              <a:rPr lang="it-IT"/>
              <a:t>Fare clic per modificare lo stile del titolo dello schema</a:t>
            </a:r>
          </a:p>
        </p:txBody>
      </p:sp>
    </p:spTree>
    <p:extLst>
      <p:ext uri="{BB962C8B-B14F-4D97-AF65-F5344CB8AC3E}">
        <p14:creationId xmlns:p14="http://schemas.microsoft.com/office/powerpoint/2010/main" val="545285867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ol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838200" y="247498"/>
            <a:ext cx="10515600" cy="484881"/>
          </a:xfrm>
        </p:spPr>
        <p:txBody>
          <a:bodyPr>
            <a:normAutofit/>
          </a:bodyPr>
          <a:lstStyle>
            <a:lvl1pPr algn="l">
              <a:defRPr sz="2200" b="1">
                <a:solidFill>
                  <a:schemeClr val="bg1"/>
                </a:solidFill>
              </a:defRPr>
            </a:lvl1pPr>
          </a:lstStyle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9" name="Segnaposto numero diapositiva 4">
            <a:extLst>
              <a:ext uri="{FF2B5EF4-FFF2-40B4-BE49-F238E27FC236}">
                <a16:creationId xmlns:a16="http://schemas.microsoft.com/office/drawing/2014/main" id="{EA5FA132-35A6-4E85-96A9-49717F3CB39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581900" y="6360319"/>
            <a:ext cx="2743200" cy="365125"/>
          </a:xfrm>
          <a:prstGeom prst="rect">
            <a:avLst/>
          </a:prstGeom>
        </p:spPr>
        <p:txBody>
          <a:bodyPr/>
          <a:lstStyle>
            <a:lvl1pPr algn="r">
              <a:defRPr sz="1200"/>
            </a:lvl1pPr>
          </a:lstStyle>
          <a:p>
            <a:fld id="{9501BE4A-6F75-0549-8D25-E25EBB4B1677}" type="slidenum">
              <a:rPr lang="it-IT" smtClean="0">
                <a:solidFill>
                  <a:schemeClr val="bg1"/>
                </a:solidFill>
              </a:rPr>
              <a:pPr/>
              <a:t>‹N›</a:t>
            </a:fld>
            <a:endParaRPr lang="it-IT" sz="1200">
              <a:solidFill>
                <a:schemeClr val="bg1"/>
              </a:solidFill>
            </a:endParaRPr>
          </a:p>
        </p:txBody>
      </p:sp>
      <p:sp>
        <p:nvSpPr>
          <p:cNvPr id="10" name="Segnaposto testo 2">
            <a:extLst>
              <a:ext uri="{FF2B5EF4-FFF2-40B4-BE49-F238E27FC236}">
                <a16:creationId xmlns:a16="http://schemas.microsoft.com/office/drawing/2014/main" id="{F35D58D9-94CF-4EB2-AE0A-74B02B019C71}"/>
              </a:ext>
            </a:extLst>
          </p:cNvPr>
          <p:cNvSpPr>
            <a:spLocks noGrp="1"/>
          </p:cNvSpPr>
          <p:nvPr>
            <p:ph type="body" idx="11" hasCustomPrompt="1"/>
          </p:nvPr>
        </p:nvSpPr>
        <p:spPr>
          <a:xfrm>
            <a:off x="838200" y="803697"/>
            <a:ext cx="10515600" cy="376606"/>
          </a:xfrm>
        </p:spPr>
        <p:txBody>
          <a:bodyPr>
            <a:normAutofit/>
          </a:bodyPr>
          <a:lstStyle>
            <a:lvl1pPr marL="0" indent="0" algn="l">
              <a:buNone/>
              <a:defRPr sz="1800">
                <a:solidFill>
                  <a:srgbClr val="5C707B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it-IT"/>
              <a:t>Sottotitolo</a:t>
            </a:r>
          </a:p>
        </p:txBody>
      </p:sp>
      <p:sp>
        <p:nvSpPr>
          <p:cNvPr id="11" name="Segnaposto piè di pagina 4">
            <a:extLst>
              <a:ext uri="{FF2B5EF4-FFF2-40B4-BE49-F238E27FC236}">
                <a16:creationId xmlns:a16="http://schemas.microsoft.com/office/drawing/2014/main" id="{35256FB3-ADEF-4701-86D6-1AB30F9A6D4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467100" y="6360319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bg1"/>
                </a:solidFill>
              </a:defRPr>
            </a:lvl1pPr>
          </a:lstStyle>
          <a:p>
            <a:r>
              <a:rPr lang="it-IT"/>
              <a:t>Istituto per il Credito Sportivo Banca Sociale per lo Sport e la Cultura</a:t>
            </a:r>
            <a:endParaRPr lang="it-IT">
              <a:solidFill>
                <a:schemeClr val="bg1"/>
              </a:solidFill>
            </a:endParaRPr>
          </a:p>
        </p:txBody>
      </p:sp>
      <p:sp>
        <p:nvSpPr>
          <p:cNvPr id="4" name="Segnaposto testo 3">
            <a:extLst>
              <a:ext uri="{FF2B5EF4-FFF2-40B4-BE49-F238E27FC236}">
                <a16:creationId xmlns:a16="http://schemas.microsoft.com/office/drawing/2014/main" id="{DD619220-D121-4E8E-A124-5AF02D367B8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936625" y="1662113"/>
            <a:ext cx="10031413" cy="3419734"/>
          </a:xfrm>
        </p:spPr>
        <p:txBody>
          <a:bodyPr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7" name="Segnaposto testo 6">
            <a:extLst>
              <a:ext uri="{FF2B5EF4-FFF2-40B4-BE49-F238E27FC236}">
                <a16:creationId xmlns:a16="http://schemas.microsoft.com/office/drawing/2014/main" id="{08B240D5-5D10-4180-A262-78835B6DA63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81205" y="5563657"/>
            <a:ext cx="5658139" cy="582612"/>
          </a:xfrm>
        </p:spPr>
        <p:txBody>
          <a:bodyPr>
            <a:normAutofit/>
          </a:bodyPr>
          <a:lstStyle>
            <a:lvl1pPr>
              <a:spcBef>
                <a:spcPts val="500"/>
              </a:spcBef>
              <a:buFont typeface="+mj-lt"/>
              <a:buAutoNum type="arabicPeriod"/>
              <a:defRPr sz="1000"/>
            </a:lvl1pPr>
          </a:lstStyle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</p:txBody>
      </p:sp>
    </p:spTree>
    <p:extLst>
      <p:ext uri="{BB962C8B-B14F-4D97-AF65-F5344CB8AC3E}">
        <p14:creationId xmlns:p14="http://schemas.microsoft.com/office/powerpoint/2010/main" val="4074391275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EXECUTIVE SUMMA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ttangolo con angoli arrotondati 2">
            <a:extLst>
              <a:ext uri="{FF2B5EF4-FFF2-40B4-BE49-F238E27FC236}">
                <a16:creationId xmlns:a16="http://schemas.microsoft.com/office/drawing/2014/main" id="{ACC0ACF9-2CD3-4A46-8F07-8ADA5641DD38}"/>
              </a:ext>
            </a:extLst>
          </p:cNvPr>
          <p:cNvSpPr/>
          <p:nvPr userDrawn="1"/>
        </p:nvSpPr>
        <p:spPr>
          <a:xfrm>
            <a:off x="753687" y="1052946"/>
            <a:ext cx="10773295" cy="4516582"/>
          </a:xfrm>
          <a:prstGeom prst="roundRect">
            <a:avLst>
              <a:gd name="adj" fmla="val 4520"/>
            </a:avLst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838200" y="247498"/>
            <a:ext cx="10515600" cy="484881"/>
          </a:xfrm>
        </p:spPr>
        <p:txBody>
          <a:bodyPr>
            <a:normAutofit/>
          </a:bodyPr>
          <a:lstStyle>
            <a:lvl1pPr algn="l">
              <a:defRPr sz="2200" b="1">
                <a:solidFill>
                  <a:schemeClr val="bg1"/>
                </a:solidFill>
              </a:defRPr>
            </a:lvl1pPr>
          </a:lstStyle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9" name="Segnaposto numero diapositiva 4">
            <a:extLst>
              <a:ext uri="{FF2B5EF4-FFF2-40B4-BE49-F238E27FC236}">
                <a16:creationId xmlns:a16="http://schemas.microsoft.com/office/drawing/2014/main" id="{EA5FA132-35A6-4E85-96A9-49717F3CB39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581900" y="6360319"/>
            <a:ext cx="2743200" cy="365125"/>
          </a:xfrm>
          <a:prstGeom prst="rect">
            <a:avLst/>
          </a:prstGeom>
        </p:spPr>
        <p:txBody>
          <a:bodyPr/>
          <a:lstStyle>
            <a:lvl1pPr algn="r">
              <a:defRPr sz="1200"/>
            </a:lvl1pPr>
          </a:lstStyle>
          <a:p>
            <a:fld id="{9501BE4A-6F75-0549-8D25-E25EBB4B1677}" type="slidenum">
              <a:rPr lang="it-IT" smtClean="0">
                <a:solidFill>
                  <a:schemeClr val="bg1"/>
                </a:solidFill>
              </a:rPr>
              <a:pPr/>
              <a:t>‹N›</a:t>
            </a:fld>
            <a:endParaRPr lang="it-IT" sz="1200">
              <a:solidFill>
                <a:schemeClr val="bg1"/>
              </a:solidFill>
            </a:endParaRPr>
          </a:p>
        </p:txBody>
      </p:sp>
      <p:sp>
        <p:nvSpPr>
          <p:cNvPr id="10" name="Segnaposto testo 2">
            <a:extLst>
              <a:ext uri="{FF2B5EF4-FFF2-40B4-BE49-F238E27FC236}">
                <a16:creationId xmlns:a16="http://schemas.microsoft.com/office/drawing/2014/main" id="{F35D58D9-94CF-4EB2-AE0A-74B02B019C71}"/>
              </a:ext>
            </a:extLst>
          </p:cNvPr>
          <p:cNvSpPr>
            <a:spLocks noGrp="1"/>
          </p:cNvSpPr>
          <p:nvPr>
            <p:ph type="body" idx="11" hasCustomPrompt="1"/>
          </p:nvPr>
        </p:nvSpPr>
        <p:spPr>
          <a:xfrm>
            <a:off x="838200" y="1088825"/>
            <a:ext cx="10515600" cy="376606"/>
          </a:xfrm>
        </p:spPr>
        <p:txBody>
          <a:bodyPr>
            <a:normAutofit/>
          </a:bodyPr>
          <a:lstStyle>
            <a:lvl1pPr marL="0" indent="0" algn="l">
              <a:buNone/>
              <a:defRPr sz="1600" b="1">
                <a:solidFill>
                  <a:srgbClr val="5C707B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it-IT"/>
              <a:t>Sottotitolo</a:t>
            </a:r>
          </a:p>
        </p:txBody>
      </p:sp>
      <p:sp>
        <p:nvSpPr>
          <p:cNvPr id="11" name="Segnaposto piè di pagina 4">
            <a:extLst>
              <a:ext uri="{FF2B5EF4-FFF2-40B4-BE49-F238E27FC236}">
                <a16:creationId xmlns:a16="http://schemas.microsoft.com/office/drawing/2014/main" id="{35256FB3-ADEF-4701-86D6-1AB30F9A6D4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467100" y="6360319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bg1"/>
                </a:solidFill>
              </a:defRPr>
            </a:lvl1pPr>
          </a:lstStyle>
          <a:p>
            <a:r>
              <a:rPr lang="it-IT"/>
              <a:t>Istituto per il Credito Sportivo Banca Sociale per lo Sport e la Cultura</a:t>
            </a:r>
            <a:endParaRPr lang="it-IT">
              <a:solidFill>
                <a:schemeClr val="bg1"/>
              </a:solidFill>
            </a:endParaRPr>
          </a:p>
        </p:txBody>
      </p:sp>
      <p:cxnSp>
        <p:nvCxnSpPr>
          <p:cNvPr id="13" name="Connettore diritto 12">
            <a:extLst>
              <a:ext uri="{FF2B5EF4-FFF2-40B4-BE49-F238E27FC236}">
                <a16:creationId xmlns:a16="http://schemas.microsoft.com/office/drawing/2014/main" id="{5DF53F4F-87E3-4A3F-AC50-ED4C1D6CB972}"/>
              </a:ext>
            </a:extLst>
          </p:cNvPr>
          <p:cNvCxnSpPr>
            <a:cxnSpLocks/>
          </p:cNvCxnSpPr>
          <p:nvPr userDrawn="1"/>
        </p:nvCxnSpPr>
        <p:spPr>
          <a:xfrm flipV="1">
            <a:off x="838200" y="1391278"/>
            <a:ext cx="10515600" cy="43291"/>
          </a:xfrm>
          <a:prstGeom prst="line">
            <a:avLst/>
          </a:prstGeom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14" name="Segnaposto testo 13">
            <a:extLst>
              <a:ext uri="{FF2B5EF4-FFF2-40B4-BE49-F238E27FC236}">
                <a16:creationId xmlns:a16="http://schemas.microsoft.com/office/drawing/2014/main" id="{B8FB7765-9C58-4AD7-B5B7-5F2E8A520964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941388" y="1657350"/>
            <a:ext cx="10358437" cy="3662363"/>
          </a:xfrm>
        </p:spPr>
        <p:txBody>
          <a:bodyPr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</p:spTree>
    <p:extLst>
      <p:ext uri="{BB962C8B-B14F-4D97-AF65-F5344CB8AC3E}">
        <p14:creationId xmlns:p14="http://schemas.microsoft.com/office/powerpoint/2010/main" val="3547600583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ontenuto del documen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 hasCustomPrompt="1"/>
          </p:nvPr>
        </p:nvSpPr>
        <p:spPr>
          <a:xfrm>
            <a:off x="838200" y="236415"/>
            <a:ext cx="10515600" cy="484881"/>
          </a:xfrm>
        </p:spPr>
        <p:txBody>
          <a:bodyPr>
            <a:normAutofit/>
          </a:bodyPr>
          <a:lstStyle>
            <a:lvl1pPr algn="l">
              <a:defRPr sz="2200" b="1">
                <a:solidFill>
                  <a:schemeClr val="bg1"/>
                </a:solidFill>
              </a:defRPr>
            </a:lvl1pPr>
          </a:lstStyle>
          <a:p>
            <a:r>
              <a:rPr lang="it-IT"/>
              <a:t>Contenuto del documento</a:t>
            </a:r>
          </a:p>
        </p:txBody>
      </p:sp>
      <p:sp>
        <p:nvSpPr>
          <p:cNvPr id="9" name="Segnaposto numero diapositiva 4">
            <a:extLst>
              <a:ext uri="{FF2B5EF4-FFF2-40B4-BE49-F238E27FC236}">
                <a16:creationId xmlns:a16="http://schemas.microsoft.com/office/drawing/2014/main" id="{EA5FA132-35A6-4E85-96A9-49717F3CB39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581900" y="6360319"/>
            <a:ext cx="2743200" cy="365125"/>
          </a:xfrm>
          <a:prstGeom prst="rect">
            <a:avLst/>
          </a:prstGeom>
        </p:spPr>
        <p:txBody>
          <a:bodyPr/>
          <a:lstStyle>
            <a:lvl1pPr algn="r">
              <a:defRPr sz="1200"/>
            </a:lvl1pPr>
          </a:lstStyle>
          <a:p>
            <a:fld id="{9501BE4A-6F75-0549-8D25-E25EBB4B1677}" type="slidenum">
              <a:rPr lang="it-IT" smtClean="0">
                <a:solidFill>
                  <a:schemeClr val="bg1"/>
                </a:solidFill>
              </a:rPr>
              <a:pPr/>
              <a:t>‹N›</a:t>
            </a:fld>
            <a:endParaRPr lang="it-IT" sz="1200">
              <a:solidFill>
                <a:schemeClr val="bg1"/>
              </a:solidFill>
            </a:endParaRPr>
          </a:p>
        </p:txBody>
      </p:sp>
      <p:sp>
        <p:nvSpPr>
          <p:cNvPr id="11" name="Segnaposto piè di pagina 4">
            <a:extLst>
              <a:ext uri="{FF2B5EF4-FFF2-40B4-BE49-F238E27FC236}">
                <a16:creationId xmlns:a16="http://schemas.microsoft.com/office/drawing/2014/main" id="{35256FB3-ADEF-4701-86D6-1AB30F9A6D4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467100" y="6360319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bg1"/>
                </a:solidFill>
              </a:defRPr>
            </a:lvl1pPr>
          </a:lstStyle>
          <a:p>
            <a:r>
              <a:rPr lang="it-IT"/>
              <a:t>Istituto per il Credito Sportivo Banca Sociale per lo Sport e la Cultura</a:t>
            </a:r>
            <a:endParaRPr lang="it-IT">
              <a:solidFill>
                <a:schemeClr val="bg1"/>
              </a:solidFill>
            </a:endParaRPr>
          </a:p>
        </p:txBody>
      </p:sp>
      <p:sp>
        <p:nvSpPr>
          <p:cNvPr id="18" name="Segnaposto testo 17">
            <a:extLst>
              <a:ext uri="{FF2B5EF4-FFF2-40B4-BE49-F238E27FC236}">
                <a16:creationId xmlns:a16="http://schemas.microsoft.com/office/drawing/2014/main" id="{C3FCFF63-3DC3-4C49-AA74-4E440D71349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158875" y="2042970"/>
            <a:ext cx="5153025" cy="1457325"/>
          </a:xfrm>
        </p:spPr>
        <p:txBody>
          <a:bodyPr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</p:spTree>
    <p:extLst>
      <p:ext uri="{BB962C8B-B14F-4D97-AF65-F5344CB8AC3E}">
        <p14:creationId xmlns:p14="http://schemas.microsoft.com/office/powerpoint/2010/main" val="1684966166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Frecce e tes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838200" y="247498"/>
            <a:ext cx="10515600" cy="484881"/>
          </a:xfrm>
        </p:spPr>
        <p:txBody>
          <a:bodyPr>
            <a:normAutofit/>
          </a:bodyPr>
          <a:lstStyle>
            <a:lvl1pPr algn="l">
              <a:defRPr sz="2200" b="1">
                <a:solidFill>
                  <a:schemeClr val="bg1"/>
                </a:solidFill>
              </a:defRPr>
            </a:lvl1pPr>
          </a:lstStyle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9" name="Segnaposto numero diapositiva 4">
            <a:extLst>
              <a:ext uri="{FF2B5EF4-FFF2-40B4-BE49-F238E27FC236}">
                <a16:creationId xmlns:a16="http://schemas.microsoft.com/office/drawing/2014/main" id="{EA5FA132-35A6-4E85-96A9-49717F3CB39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581900" y="6360319"/>
            <a:ext cx="2743200" cy="365125"/>
          </a:xfrm>
          <a:prstGeom prst="rect">
            <a:avLst/>
          </a:prstGeom>
        </p:spPr>
        <p:txBody>
          <a:bodyPr/>
          <a:lstStyle>
            <a:lvl1pPr algn="r">
              <a:defRPr sz="1200"/>
            </a:lvl1pPr>
          </a:lstStyle>
          <a:p>
            <a:fld id="{9501BE4A-6F75-0549-8D25-E25EBB4B1677}" type="slidenum">
              <a:rPr lang="it-IT" smtClean="0">
                <a:solidFill>
                  <a:schemeClr val="bg1"/>
                </a:solidFill>
              </a:rPr>
              <a:pPr/>
              <a:t>‹N›</a:t>
            </a:fld>
            <a:endParaRPr lang="it-IT" sz="1200">
              <a:solidFill>
                <a:schemeClr val="bg1"/>
              </a:solidFill>
            </a:endParaRPr>
          </a:p>
        </p:txBody>
      </p:sp>
      <p:sp>
        <p:nvSpPr>
          <p:cNvPr id="10" name="Segnaposto testo 2">
            <a:extLst>
              <a:ext uri="{FF2B5EF4-FFF2-40B4-BE49-F238E27FC236}">
                <a16:creationId xmlns:a16="http://schemas.microsoft.com/office/drawing/2014/main" id="{F35D58D9-94CF-4EB2-AE0A-74B02B019C71}"/>
              </a:ext>
            </a:extLst>
          </p:cNvPr>
          <p:cNvSpPr>
            <a:spLocks noGrp="1"/>
          </p:cNvSpPr>
          <p:nvPr>
            <p:ph type="body" idx="11" hasCustomPrompt="1"/>
          </p:nvPr>
        </p:nvSpPr>
        <p:spPr>
          <a:xfrm>
            <a:off x="838200" y="803697"/>
            <a:ext cx="10515600" cy="376606"/>
          </a:xfrm>
        </p:spPr>
        <p:txBody>
          <a:bodyPr>
            <a:normAutofit/>
          </a:bodyPr>
          <a:lstStyle>
            <a:lvl1pPr marL="0" indent="0" algn="l">
              <a:buNone/>
              <a:defRPr sz="1800">
                <a:solidFill>
                  <a:srgbClr val="5C707B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it-IT"/>
              <a:t>Sottotitolo</a:t>
            </a:r>
          </a:p>
        </p:txBody>
      </p:sp>
      <p:sp>
        <p:nvSpPr>
          <p:cNvPr id="11" name="Segnaposto piè di pagina 4">
            <a:extLst>
              <a:ext uri="{FF2B5EF4-FFF2-40B4-BE49-F238E27FC236}">
                <a16:creationId xmlns:a16="http://schemas.microsoft.com/office/drawing/2014/main" id="{35256FB3-ADEF-4701-86D6-1AB30F9A6D4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467100" y="6360319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bg1"/>
                </a:solidFill>
              </a:defRPr>
            </a:lvl1pPr>
          </a:lstStyle>
          <a:p>
            <a:r>
              <a:rPr lang="it-IT"/>
              <a:t>Istituto per il Credito Sportivo Banca Sociale per lo Sport e la Cultura</a:t>
            </a:r>
            <a:endParaRPr lang="it-IT">
              <a:solidFill>
                <a:schemeClr val="bg1"/>
              </a:solidFill>
            </a:endParaRPr>
          </a:p>
        </p:txBody>
      </p:sp>
      <p:sp>
        <p:nvSpPr>
          <p:cNvPr id="7" name="Segnaposto testo 6">
            <a:extLst>
              <a:ext uri="{FF2B5EF4-FFF2-40B4-BE49-F238E27FC236}">
                <a16:creationId xmlns:a16="http://schemas.microsoft.com/office/drawing/2014/main" id="{08B240D5-5D10-4180-A262-78835B6DA63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81205" y="5563657"/>
            <a:ext cx="5658139" cy="582612"/>
          </a:xfrm>
        </p:spPr>
        <p:txBody>
          <a:bodyPr>
            <a:normAutofit/>
          </a:bodyPr>
          <a:lstStyle>
            <a:lvl1pPr>
              <a:spcBef>
                <a:spcPts val="500"/>
              </a:spcBef>
              <a:buFont typeface="+mj-lt"/>
              <a:buAutoNum type="arabicPeriod"/>
              <a:defRPr sz="1000"/>
            </a:lvl1pPr>
          </a:lstStyle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</p:txBody>
      </p:sp>
      <p:cxnSp>
        <p:nvCxnSpPr>
          <p:cNvPr id="14" name="Connettore diritto 13">
            <a:extLst>
              <a:ext uri="{FF2B5EF4-FFF2-40B4-BE49-F238E27FC236}">
                <a16:creationId xmlns:a16="http://schemas.microsoft.com/office/drawing/2014/main" id="{D23DA227-56B9-4DB4-9934-65C43F75C16F}"/>
              </a:ext>
            </a:extLst>
          </p:cNvPr>
          <p:cNvCxnSpPr>
            <a:cxnSpLocks/>
          </p:cNvCxnSpPr>
          <p:nvPr userDrawn="1"/>
        </p:nvCxnSpPr>
        <p:spPr>
          <a:xfrm flipV="1">
            <a:off x="925005" y="1976867"/>
            <a:ext cx="2245990" cy="12702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Connettore diritto 14">
            <a:extLst>
              <a:ext uri="{FF2B5EF4-FFF2-40B4-BE49-F238E27FC236}">
                <a16:creationId xmlns:a16="http://schemas.microsoft.com/office/drawing/2014/main" id="{399B51A4-BE4A-476E-AD3A-D0175056AFFE}"/>
              </a:ext>
            </a:extLst>
          </p:cNvPr>
          <p:cNvCxnSpPr>
            <a:cxnSpLocks/>
          </p:cNvCxnSpPr>
          <p:nvPr userDrawn="1"/>
        </p:nvCxnSpPr>
        <p:spPr>
          <a:xfrm flipV="1">
            <a:off x="3300366" y="1947972"/>
            <a:ext cx="3440162" cy="28895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Connettore diritto 15">
            <a:extLst>
              <a:ext uri="{FF2B5EF4-FFF2-40B4-BE49-F238E27FC236}">
                <a16:creationId xmlns:a16="http://schemas.microsoft.com/office/drawing/2014/main" id="{566D19FC-B536-410C-B0AF-567878F6834F}"/>
              </a:ext>
            </a:extLst>
          </p:cNvPr>
          <p:cNvCxnSpPr>
            <a:cxnSpLocks/>
          </p:cNvCxnSpPr>
          <p:nvPr userDrawn="1"/>
        </p:nvCxnSpPr>
        <p:spPr>
          <a:xfrm flipV="1">
            <a:off x="6872258" y="1917276"/>
            <a:ext cx="5212109" cy="30696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Segnaposto testo 4">
            <a:extLst>
              <a:ext uri="{FF2B5EF4-FFF2-40B4-BE49-F238E27FC236}">
                <a16:creationId xmlns:a16="http://schemas.microsoft.com/office/drawing/2014/main" id="{239CC0B9-5AEA-426C-B38D-EDF1AF00064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42705" y="1559557"/>
            <a:ext cx="2160713" cy="373067"/>
          </a:xfrm>
        </p:spPr>
        <p:txBody>
          <a:bodyPr/>
          <a:lstStyle>
            <a:lvl1pPr>
              <a:buNone/>
              <a:defRPr b="1"/>
            </a:lvl1pPr>
          </a:lstStyle>
          <a:p>
            <a:pPr lvl="0"/>
            <a:r>
              <a:rPr lang="it-IT" err="1"/>
              <a:t>Xxxxxx</a:t>
            </a:r>
            <a:endParaRPr lang="it-IT"/>
          </a:p>
        </p:txBody>
      </p:sp>
      <p:sp>
        <p:nvSpPr>
          <p:cNvPr id="17" name="Segnaposto testo 4">
            <a:extLst>
              <a:ext uri="{FF2B5EF4-FFF2-40B4-BE49-F238E27FC236}">
                <a16:creationId xmlns:a16="http://schemas.microsoft.com/office/drawing/2014/main" id="{47FFCDC8-06A2-4962-AFD3-F2CFE075BF4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300366" y="1547388"/>
            <a:ext cx="2160713" cy="373067"/>
          </a:xfrm>
        </p:spPr>
        <p:txBody>
          <a:bodyPr/>
          <a:lstStyle>
            <a:lvl1pPr>
              <a:buNone/>
              <a:defRPr b="1"/>
            </a:lvl1pPr>
          </a:lstStyle>
          <a:p>
            <a:pPr lvl="0"/>
            <a:r>
              <a:rPr lang="it-IT" err="1"/>
              <a:t>Xxxxxx</a:t>
            </a:r>
            <a:endParaRPr lang="it-IT"/>
          </a:p>
        </p:txBody>
      </p:sp>
      <p:sp>
        <p:nvSpPr>
          <p:cNvPr id="18" name="Segnaposto testo 4">
            <a:extLst>
              <a:ext uri="{FF2B5EF4-FFF2-40B4-BE49-F238E27FC236}">
                <a16:creationId xmlns:a16="http://schemas.microsoft.com/office/drawing/2014/main" id="{F7EE97E5-B72F-4F4D-B830-7DCFDB5BEF8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872258" y="1544209"/>
            <a:ext cx="2160713" cy="373067"/>
          </a:xfrm>
        </p:spPr>
        <p:txBody>
          <a:bodyPr/>
          <a:lstStyle>
            <a:lvl1pPr>
              <a:buNone/>
              <a:defRPr b="1"/>
            </a:lvl1pPr>
          </a:lstStyle>
          <a:p>
            <a:pPr lvl="0"/>
            <a:r>
              <a:rPr lang="it-IT" err="1"/>
              <a:t>Xxxxxx</a:t>
            </a:r>
            <a:endParaRPr lang="it-IT"/>
          </a:p>
        </p:txBody>
      </p:sp>
      <p:sp>
        <p:nvSpPr>
          <p:cNvPr id="6" name="Freccia a pentagono 5">
            <a:extLst>
              <a:ext uri="{FF2B5EF4-FFF2-40B4-BE49-F238E27FC236}">
                <a16:creationId xmlns:a16="http://schemas.microsoft.com/office/drawing/2014/main" id="{4F55F310-F669-44AA-8A42-A006CC5E88D1}"/>
              </a:ext>
            </a:extLst>
          </p:cNvPr>
          <p:cNvSpPr/>
          <p:nvPr userDrawn="1"/>
        </p:nvSpPr>
        <p:spPr>
          <a:xfrm>
            <a:off x="933854" y="2240844"/>
            <a:ext cx="2178413" cy="1199241"/>
          </a:xfrm>
          <a:prstGeom prst="homePlate">
            <a:avLst>
              <a:gd name="adj" fmla="val 15042"/>
            </a:avLst>
          </a:prstGeom>
          <a:solidFill>
            <a:srgbClr val="5E727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endParaRPr lang="it-IT" sz="1400">
              <a:solidFill>
                <a:schemeClr val="bg1"/>
              </a:solidFill>
              <a:latin typeface="Trebuchet MS" panose="020B0703020202090204" pitchFamily="34" charset="0"/>
            </a:endParaRPr>
          </a:p>
        </p:txBody>
      </p:sp>
      <p:sp>
        <p:nvSpPr>
          <p:cNvPr id="21" name="Segnaposto testo 20">
            <a:extLst>
              <a:ext uri="{FF2B5EF4-FFF2-40B4-BE49-F238E27FC236}">
                <a16:creationId xmlns:a16="http://schemas.microsoft.com/office/drawing/2014/main" id="{4FC57061-8DBA-4AF9-8454-2A3D52180C4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300413" y="2230438"/>
            <a:ext cx="3440112" cy="1111250"/>
          </a:xfrm>
        </p:spPr>
        <p:txBody>
          <a:bodyPr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22" name="Segnaposto testo 20">
            <a:extLst>
              <a:ext uri="{FF2B5EF4-FFF2-40B4-BE49-F238E27FC236}">
                <a16:creationId xmlns:a16="http://schemas.microsoft.com/office/drawing/2014/main" id="{925CEE6C-26E5-4BFD-B9D8-09003E2C7C90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872258" y="2162022"/>
            <a:ext cx="3440112" cy="1111250"/>
          </a:xfrm>
        </p:spPr>
        <p:txBody>
          <a:bodyPr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23" name="Freccia a pentagono 22">
            <a:extLst>
              <a:ext uri="{FF2B5EF4-FFF2-40B4-BE49-F238E27FC236}">
                <a16:creationId xmlns:a16="http://schemas.microsoft.com/office/drawing/2014/main" id="{045393A7-25F5-4C39-9079-4E78D9E8A437}"/>
              </a:ext>
            </a:extLst>
          </p:cNvPr>
          <p:cNvSpPr/>
          <p:nvPr userDrawn="1"/>
        </p:nvSpPr>
        <p:spPr>
          <a:xfrm>
            <a:off x="925005" y="3800816"/>
            <a:ext cx="2178413" cy="1199241"/>
          </a:xfrm>
          <a:prstGeom prst="homePlate">
            <a:avLst>
              <a:gd name="adj" fmla="val 15042"/>
            </a:avLst>
          </a:prstGeom>
          <a:solidFill>
            <a:srgbClr val="5E727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endParaRPr lang="it-IT" sz="1400">
              <a:solidFill>
                <a:schemeClr val="bg1"/>
              </a:solidFill>
              <a:latin typeface="Trebuchet MS" panose="020B0703020202090204" pitchFamily="34" charset="0"/>
            </a:endParaRPr>
          </a:p>
        </p:txBody>
      </p:sp>
      <p:sp>
        <p:nvSpPr>
          <p:cNvPr id="24" name="Segnaposto testo 20">
            <a:extLst>
              <a:ext uri="{FF2B5EF4-FFF2-40B4-BE49-F238E27FC236}">
                <a16:creationId xmlns:a16="http://schemas.microsoft.com/office/drawing/2014/main" id="{7D99977D-010F-4A4B-AD97-2B996A504EDA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300413" y="3801495"/>
            <a:ext cx="3440112" cy="1111250"/>
          </a:xfrm>
        </p:spPr>
        <p:txBody>
          <a:bodyPr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25" name="Segnaposto testo 20">
            <a:extLst>
              <a:ext uri="{FF2B5EF4-FFF2-40B4-BE49-F238E27FC236}">
                <a16:creationId xmlns:a16="http://schemas.microsoft.com/office/drawing/2014/main" id="{2ED50C9F-A8A7-4899-B9A2-803DD30ED1C8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872258" y="3733079"/>
            <a:ext cx="3440112" cy="1111250"/>
          </a:xfrm>
        </p:spPr>
        <p:txBody>
          <a:bodyPr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27" name="Segnaposto testo 26">
            <a:extLst>
              <a:ext uri="{FF2B5EF4-FFF2-40B4-BE49-F238E27FC236}">
                <a16:creationId xmlns:a16="http://schemas.microsoft.com/office/drawing/2014/main" id="{AD1F6205-C65D-4211-BB71-6B1354772E69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1130300" y="2520950"/>
            <a:ext cx="1552575" cy="493713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28" name="Segnaposto testo 26">
            <a:extLst>
              <a:ext uri="{FF2B5EF4-FFF2-40B4-BE49-F238E27FC236}">
                <a16:creationId xmlns:a16="http://schemas.microsoft.com/office/drawing/2014/main" id="{560A7628-9427-44A1-8CA9-82B2A00693E9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1130299" y="4041847"/>
            <a:ext cx="1552575" cy="493713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</p:spTree>
    <p:extLst>
      <p:ext uri="{BB962C8B-B14F-4D97-AF65-F5344CB8AC3E}">
        <p14:creationId xmlns:p14="http://schemas.microsoft.com/office/powerpoint/2010/main" val="93838313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>
              <a:defRPr sz="1200" b="0" i="0">
                <a:solidFill>
                  <a:schemeClr val="bg1"/>
                </a:solidFill>
                <a:latin typeface="Trebuchet MS"/>
                <a:cs typeface="Trebuchet MS"/>
              </a:defRPr>
            </a:lvl1pPr>
          </a:lstStyle>
          <a:p>
            <a:pPr marL="12700">
              <a:lnSpc>
                <a:spcPct val="100000"/>
              </a:lnSpc>
              <a:spcBef>
                <a:spcPts val="25"/>
              </a:spcBef>
            </a:pPr>
            <a:r>
              <a:rPr lang="it-IT"/>
              <a:t>Istituto per il Credito Sportivo Banca Sociale per lo Sport e la Cultura</a:t>
            </a:r>
            <a:endParaRPr spc="-15" dirty="0"/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D4E9824-EA32-4ECC-A480-F99A2400FFCA}" type="datetime1">
              <a:rPr lang="en-US" smtClean="0"/>
              <a:t>7/19/2022</a:t>
            </a:fld>
            <a:endParaRPr lang="en-US"/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1200" b="0" i="0">
                <a:solidFill>
                  <a:schemeClr val="bg1"/>
                </a:solidFill>
                <a:latin typeface="Trebuchet MS"/>
                <a:cs typeface="Trebuchet MS"/>
              </a:defRPr>
            </a:lvl1pPr>
          </a:lstStyle>
          <a:p>
            <a:pPr marL="116839">
              <a:lnSpc>
                <a:spcPct val="100000"/>
              </a:lnSpc>
              <a:spcBef>
                <a:spcPts val="385"/>
              </a:spcBef>
            </a:pPr>
            <a:fld id="{81D60167-4931-47E6-BA6A-407CBD079E47}" type="slidenum">
              <a:rPr dirty="0"/>
              <a:t>‹N›</a:t>
            </a:fld>
            <a:endParaRPr dirty="0"/>
          </a:p>
        </p:txBody>
      </p:sp>
    </p:spTree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PROSSIMI PASS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ttangolo con angoli arrotondati 2">
            <a:extLst>
              <a:ext uri="{FF2B5EF4-FFF2-40B4-BE49-F238E27FC236}">
                <a16:creationId xmlns:a16="http://schemas.microsoft.com/office/drawing/2014/main" id="{ACC0ACF9-2CD3-4A46-8F07-8ADA5641DD38}"/>
              </a:ext>
            </a:extLst>
          </p:cNvPr>
          <p:cNvSpPr/>
          <p:nvPr userDrawn="1"/>
        </p:nvSpPr>
        <p:spPr>
          <a:xfrm>
            <a:off x="709352" y="1052946"/>
            <a:ext cx="10773295" cy="4131425"/>
          </a:xfrm>
          <a:prstGeom prst="roundRect">
            <a:avLst>
              <a:gd name="adj" fmla="val 4520"/>
            </a:avLst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b="1"/>
          </a:p>
        </p:txBody>
      </p:sp>
      <p:sp>
        <p:nvSpPr>
          <p:cNvPr id="2" name="Titolo 1"/>
          <p:cNvSpPr>
            <a:spLocks noGrp="1"/>
          </p:cNvSpPr>
          <p:nvPr>
            <p:ph type="title" hasCustomPrompt="1"/>
          </p:nvPr>
        </p:nvSpPr>
        <p:spPr>
          <a:xfrm>
            <a:off x="838200" y="247498"/>
            <a:ext cx="10515600" cy="484881"/>
          </a:xfrm>
        </p:spPr>
        <p:txBody>
          <a:bodyPr>
            <a:normAutofit/>
          </a:bodyPr>
          <a:lstStyle>
            <a:lvl1pPr algn="l">
              <a:defRPr sz="2200" b="1">
                <a:solidFill>
                  <a:schemeClr val="bg1"/>
                </a:solidFill>
              </a:defRPr>
            </a:lvl1pPr>
          </a:lstStyle>
          <a:p>
            <a:r>
              <a:rPr lang="it-IT"/>
              <a:t>Prossimi passi</a:t>
            </a:r>
          </a:p>
        </p:txBody>
      </p:sp>
      <p:sp>
        <p:nvSpPr>
          <p:cNvPr id="9" name="Segnaposto numero diapositiva 4">
            <a:extLst>
              <a:ext uri="{FF2B5EF4-FFF2-40B4-BE49-F238E27FC236}">
                <a16:creationId xmlns:a16="http://schemas.microsoft.com/office/drawing/2014/main" id="{EA5FA132-35A6-4E85-96A9-49717F3CB39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581900" y="6360319"/>
            <a:ext cx="2743200" cy="365125"/>
          </a:xfrm>
          <a:prstGeom prst="rect">
            <a:avLst/>
          </a:prstGeom>
        </p:spPr>
        <p:txBody>
          <a:bodyPr/>
          <a:lstStyle>
            <a:lvl1pPr algn="r">
              <a:defRPr sz="1200"/>
            </a:lvl1pPr>
          </a:lstStyle>
          <a:p>
            <a:fld id="{9501BE4A-6F75-0549-8D25-E25EBB4B1677}" type="slidenum">
              <a:rPr lang="it-IT" smtClean="0">
                <a:solidFill>
                  <a:schemeClr val="bg1"/>
                </a:solidFill>
              </a:rPr>
              <a:pPr/>
              <a:t>‹N›</a:t>
            </a:fld>
            <a:endParaRPr lang="it-IT" sz="1200">
              <a:solidFill>
                <a:schemeClr val="bg1"/>
              </a:solidFill>
            </a:endParaRPr>
          </a:p>
        </p:txBody>
      </p:sp>
      <p:sp>
        <p:nvSpPr>
          <p:cNvPr id="11" name="Segnaposto piè di pagina 4">
            <a:extLst>
              <a:ext uri="{FF2B5EF4-FFF2-40B4-BE49-F238E27FC236}">
                <a16:creationId xmlns:a16="http://schemas.microsoft.com/office/drawing/2014/main" id="{35256FB3-ADEF-4701-86D6-1AB30F9A6D4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467100" y="6360319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bg1"/>
                </a:solidFill>
              </a:defRPr>
            </a:lvl1pPr>
          </a:lstStyle>
          <a:p>
            <a:r>
              <a:rPr lang="it-IT"/>
              <a:t>Istituto per il Credito Sportivo Banca Sociale per lo Sport e la Cultura</a:t>
            </a:r>
            <a:endParaRPr lang="it-IT">
              <a:solidFill>
                <a:schemeClr val="bg1"/>
              </a:solidFill>
            </a:endParaRPr>
          </a:p>
        </p:txBody>
      </p:sp>
      <p:sp>
        <p:nvSpPr>
          <p:cNvPr id="5" name="Segnaposto testo 4">
            <a:extLst>
              <a:ext uri="{FF2B5EF4-FFF2-40B4-BE49-F238E27FC236}">
                <a16:creationId xmlns:a16="http://schemas.microsoft.com/office/drawing/2014/main" id="{9164D6A8-5FC3-4674-97CC-2E77D9AB8B9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09638" y="1223963"/>
            <a:ext cx="3319462" cy="355600"/>
          </a:xfrm>
        </p:spPr>
        <p:txBody>
          <a:bodyPr/>
          <a:lstStyle>
            <a:lvl1pPr marL="0" indent="0">
              <a:buNone/>
              <a:defRPr b="1"/>
            </a:lvl1pPr>
          </a:lstStyle>
          <a:p>
            <a:pPr lvl="0"/>
            <a:r>
              <a:rPr lang="it-IT"/>
              <a:t>Attività</a:t>
            </a:r>
          </a:p>
        </p:txBody>
      </p:sp>
      <p:sp>
        <p:nvSpPr>
          <p:cNvPr id="12" name="Segnaposto testo 4">
            <a:extLst>
              <a:ext uri="{FF2B5EF4-FFF2-40B4-BE49-F238E27FC236}">
                <a16:creationId xmlns:a16="http://schemas.microsoft.com/office/drawing/2014/main" id="{8A00C443-06FE-4C0B-A0B6-21E71F2AF63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634038" y="1223963"/>
            <a:ext cx="3319462" cy="355600"/>
          </a:xfrm>
        </p:spPr>
        <p:txBody>
          <a:bodyPr/>
          <a:lstStyle>
            <a:lvl1pPr marL="0" indent="0">
              <a:buNone/>
              <a:defRPr b="1"/>
            </a:lvl1pPr>
          </a:lstStyle>
          <a:p>
            <a:pPr lvl="0"/>
            <a:r>
              <a:rPr lang="it-IT"/>
              <a:t>Chi</a:t>
            </a:r>
          </a:p>
        </p:txBody>
      </p:sp>
      <p:sp>
        <p:nvSpPr>
          <p:cNvPr id="16" name="Segnaposto testo 4">
            <a:extLst>
              <a:ext uri="{FF2B5EF4-FFF2-40B4-BE49-F238E27FC236}">
                <a16:creationId xmlns:a16="http://schemas.microsoft.com/office/drawing/2014/main" id="{9207C149-1AC9-4D82-8B03-24AF1D6FAF2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000693" y="1223963"/>
            <a:ext cx="2215947" cy="355600"/>
          </a:xfrm>
        </p:spPr>
        <p:txBody>
          <a:bodyPr/>
          <a:lstStyle>
            <a:lvl1pPr marL="0" indent="0">
              <a:buNone/>
              <a:defRPr b="1"/>
            </a:lvl1pPr>
          </a:lstStyle>
          <a:p>
            <a:pPr lvl="0"/>
            <a:r>
              <a:rPr lang="it-IT"/>
              <a:t>Quando</a:t>
            </a:r>
          </a:p>
        </p:txBody>
      </p:sp>
      <p:cxnSp>
        <p:nvCxnSpPr>
          <p:cNvPr id="8" name="Connettore diritto 7">
            <a:extLst>
              <a:ext uri="{FF2B5EF4-FFF2-40B4-BE49-F238E27FC236}">
                <a16:creationId xmlns:a16="http://schemas.microsoft.com/office/drawing/2014/main" id="{97265B0D-3246-4233-9657-F3D1F62DC63C}"/>
              </a:ext>
            </a:extLst>
          </p:cNvPr>
          <p:cNvCxnSpPr/>
          <p:nvPr userDrawn="1"/>
        </p:nvCxnSpPr>
        <p:spPr>
          <a:xfrm flipV="1">
            <a:off x="838200" y="1673629"/>
            <a:ext cx="10515600" cy="38793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Segnaposto testo 17">
            <a:extLst>
              <a:ext uri="{FF2B5EF4-FFF2-40B4-BE49-F238E27FC236}">
                <a16:creationId xmlns:a16="http://schemas.microsoft.com/office/drawing/2014/main" id="{FCEFA0AA-8915-4129-B5E8-FD5016F51A9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909638" y="1911350"/>
            <a:ext cx="4238625" cy="2566988"/>
          </a:xfrm>
        </p:spPr>
        <p:txBody>
          <a:bodyPr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19" name="Segnaposto testo 17">
            <a:extLst>
              <a:ext uri="{FF2B5EF4-FFF2-40B4-BE49-F238E27FC236}">
                <a16:creationId xmlns:a16="http://schemas.microsoft.com/office/drawing/2014/main" id="{E6249EEE-A711-45A8-8FE6-7077F518E50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634039" y="1911350"/>
            <a:ext cx="3319462" cy="2566988"/>
          </a:xfrm>
        </p:spPr>
        <p:txBody>
          <a:bodyPr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20" name="Segnaposto testo 17">
            <a:extLst>
              <a:ext uri="{FF2B5EF4-FFF2-40B4-BE49-F238E27FC236}">
                <a16:creationId xmlns:a16="http://schemas.microsoft.com/office/drawing/2014/main" id="{A7985701-7A9B-4E6B-83E0-00C7E4AA42C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9023641" y="1900130"/>
            <a:ext cx="2192999" cy="2566988"/>
          </a:xfrm>
        </p:spPr>
        <p:txBody>
          <a:bodyPr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21" name="Segnaposto testo 6">
            <a:extLst>
              <a:ext uri="{FF2B5EF4-FFF2-40B4-BE49-F238E27FC236}">
                <a16:creationId xmlns:a16="http://schemas.microsoft.com/office/drawing/2014/main" id="{FD698E0F-49FD-4AFE-AC97-1FB05A9D409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38200" y="5392391"/>
            <a:ext cx="5658139" cy="582612"/>
          </a:xfrm>
        </p:spPr>
        <p:txBody>
          <a:bodyPr>
            <a:normAutofit/>
          </a:bodyPr>
          <a:lstStyle>
            <a:lvl1pPr>
              <a:spcBef>
                <a:spcPts val="500"/>
              </a:spcBef>
              <a:buFont typeface="+mj-lt"/>
              <a:buAutoNum type="arabicPeriod"/>
              <a:defRPr sz="1000"/>
            </a:lvl1pPr>
          </a:lstStyle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</p:txBody>
      </p:sp>
    </p:spTree>
    <p:extLst>
      <p:ext uri="{BB962C8B-B14F-4D97-AF65-F5344CB8AC3E}">
        <p14:creationId xmlns:p14="http://schemas.microsoft.com/office/powerpoint/2010/main" val="2379965100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Allega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 hasCustomPrompt="1"/>
          </p:nvPr>
        </p:nvSpPr>
        <p:spPr>
          <a:xfrm>
            <a:off x="743989" y="2896487"/>
            <a:ext cx="10515600" cy="484881"/>
          </a:xfrm>
        </p:spPr>
        <p:txBody>
          <a:bodyPr>
            <a:normAutofit/>
          </a:bodyPr>
          <a:lstStyle>
            <a:lvl1pPr algn="ctr">
              <a:defRPr sz="2200" b="1">
                <a:solidFill>
                  <a:schemeClr val="bg1"/>
                </a:solidFill>
              </a:defRPr>
            </a:lvl1pPr>
          </a:lstStyle>
          <a:p>
            <a:r>
              <a:rPr lang="it-IT"/>
              <a:t>ALLEGATI</a:t>
            </a:r>
          </a:p>
        </p:txBody>
      </p:sp>
      <p:sp>
        <p:nvSpPr>
          <p:cNvPr id="9" name="Segnaposto numero diapositiva 4">
            <a:extLst>
              <a:ext uri="{FF2B5EF4-FFF2-40B4-BE49-F238E27FC236}">
                <a16:creationId xmlns:a16="http://schemas.microsoft.com/office/drawing/2014/main" id="{EA5FA132-35A6-4E85-96A9-49717F3CB39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581900" y="6360319"/>
            <a:ext cx="2743200" cy="365125"/>
          </a:xfrm>
          <a:prstGeom prst="rect">
            <a:avLst/>
          </a:prstGeom>
        </p:spPr>
        <p:txBody>
          <a:bodyPr/>
          <a:lstStyle>
            <a:lvl1pPr algn="r">
              <a:defRPr sz="1200"/>
            </a:lvl1pPr>
          </a:lstStyle>
          <a:p>
            <a:fld id="{9501BE4A-6F75-0549-8D25-E25EBB4B1677}" type="slidenum">
              <a:rPr lang="it-IT" smtClean="0">
                <a:solidFill>
                  <a:schemeClr val="bg1"/>
                </a:solidFill>
              </a:rPr>
              <a:pPr/>
              <a:t>‹N›</a:t>
            </a:fld>
            <a:endParaRPr lang="it-IT" sz="1200">
              <a:solidFill>
                <a:schemeClr val="bg1"/>
              </a:solidFill>
            </a:endParaRPr>
          </a:p>
        </p:txBody>
      </p:sp>
      <p:sp>
        <p:nvSpPr>
          <p:cNvPr id="11" name="Segnaposto piè di pagina 4">
            <a:extLst>
              <a:ext uri="{FF2B5EF4-FFF2-40B4-BE49-F238E27FC236}">
                <a16:creationId xmlns:a16="http://schemas.microsoft.com/office/drawing/2014/main" id="{35256FB3-ADEF-4701-86D6-1AB30F9A6D4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467100" y="6360319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bg1"/>
                </a:solidFill>
              </a:defRPr>
            </a:lvl1pPr>
          </a:lstStyle>
          <a:p>
            <a:r>
              <a:rPr lang="it-IT"/>
              <a:t>Istituto per il Credito Sportivo Banca Sociale per lo Sport e la Cultura</a:t>
            </a:r>
            <a:endParaRPr lang="it-IT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4313633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ol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838200" y="247498"/>
            <a:ext cx="10515600" cy="484881"/>
          </a:xfrm>
        </p:spPr>
        <p:txBody>
          <a:bodyPr>
            <a:normAutofit/>
          </a:bodyPr>
          <a:lstStyle>
            <a:lvl1pPr algn="l">
              <a:defRPr sz="2200" b="1">
                <a:solidFill>
                  <a:schemeClr val="bg1"/>
                </a:solidFill>
              </a:defRPr>
            </a:lvl1pPr>
          </a:lstStyle>
          <a:p>
            <a:r>
              <a:rPr lang="it-IT"/>
              <a:t>Fare clic per modificare lo stile del titolo dello schema</a:t>
            </a:r>
            <a:endParaRPr lang="it-IT" dirty="0"/>
          </a:p>
        </p:txBody>
      </p:sp>
      <p:sp>
        <p:nvSpPr>
          <p:cNvPr id="9" name="Segnaposto numero diapositiva 4">
            <a:extLst>
              <a:ext uri="{FF2B5EF4-FFF2-40B4-BE49-F238E27FC236}">
                <a16:creationId xmlns:a16="http://schemas.microsoft.com/office/drawing/2014/main" id="{EA5FA132-35A6-4E85-96A9-49717F3CB39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581900" y="6360319"/>
            <a:ext cx="2743200" cy="365125"/>
          </a:xfrm>
          <a:prstGeom prst="rect">
            <a:avLst/>
          </a:prstGeom>
        </p:spPr>
        <p:txBody>
          <a:bodyPr/>
          <a:lstStyle>
            <a:lvl1pPr algn="r">
              <a:defRPr sz="1200"/>
            </a:lvl1pPr>
          </a:lstStyle>
          <a:p>
            <a:fld id="{9501BE4A-6F75-0549-8D25-E25EBB4B1677}" type="slidenum">
              <a:rPr lang="it-IT" smtClean="0">
                <a:solidFill>
                  <a:schemeClr val="bg1"/>
                </a:solidFill>
              </a:rPr>
              <a:pPr/>
              <a:t>‹N›</a:t>
            </a:fld>
            <a:endParaRPr lang="it-IT" sz="1200" dirty="0">
              <a:solidFill>
                <a:schemeClr val="bg1"/>
              </a:solidFill>
            </a:endParaRPr>
          </a:p>
        </p:txBody>
      </p:sp>
      <p:sp>
        <p:nvSpPr>
          <p:cNvPr id="10" name="Segnaposto testo 2">
            <a:extLst>
              <a:ext uri="{FF2B5EF4-FFF2-40B4-BE49-F238E27FC236}">
                <a16:creationId xmlns:a16="http://schemas.microsoft.com/office/drawing/2014/main" id="{F35D58D9-94CF-4EB2-AE0A-74B02B019C71}"/>
              </a:ext>
            </a:extLst>
          </p:cNvPr>
          <p:cNvSpPr>
            <a:spLocks noGrp="1"/>
          </p:cNvSpPr>
          <p:nvPr>
            <p:ph type="body" idx="11" hasCustomPrompt="1"/>
          </p:nvPr>
        </p:nvSpPr>
        <p:spPr>
          <a:xfrm>
            <a:off x="838200" y="803697"/>
            <a:ext cx="10515600" cy="376606"/>
          </a:xfrm>
        </p:spPr>
        <p:txBody>
          <a:bodyPr>
            <a:normAutofit/>
          </a:bodyPr>
          <a:lstStyle>
            <a:lvl1pPr marL="0" indent="0" algn="l">
              <a:buNone/>
              <a:defRPr sz="1800">
                <a:solidFill>
                  <a:srgbClr val="5C707B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it-IT" dirty="0"/>
              <a:t>Sottotitolo</a:t>
            </a:r>
          </a:p>
        </p:txBody>
      </p:sp>
      <p:sp>
        <p:nvSpPr>
          <p:cNvPr id="11" name="Segnaposto piè di pagina 4">
            <a:extLst>
              <a:ext uri="{FF2B5EF4-FFF2-40B4-BE49-F238E27FC236}">
                <a16:creationId xmlns:a16="http://schemas.microsoft.com/office/drawing/2014/main" id="{35256FB3-ADEF-4701-86D6-1AB30F9A6D4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467100" y="6360319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bg1"/>
                </a:solidFill>
              </a:defRPr>
            </a:lvl1pPr>
          </a:lstStyle>
          <a:p>
            <a:r>
              <a:rPr lang="it-IT" dirty="0"/>
              <a:t>Titolo</a:t>
            </a:r>
            <a:endParaRPr lang="it-IT" dirty="0">
              <a:solidFill>
                <a:schemeClr val="bg1"/>
              </a:solidFill>
            </a:endParaRPr>
          </a:p>
        </p:txBody>
      </p:sp>
      <p:sp>
        <p:nvSpPr>
          <p:cNvPr id="4" name="Segnaposto testo 3">
            <a:extLst>
              <a:ext uri="{FF2B5EF4-FFF2-40B4-BE49-F238E27FC236}">
                <a16:creationId xmlns:a16="http://schemas.microsoft.com/office/drawing/2014/main" id="{DD619220-D121-4E8E-A124-5AF02D367B8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936625" y="1662113"/>
            <a:ext cx="10031413" cy="3419734"/>
          </a:xfrm>
        </p:spPr>
        <p:txBody>
          <a:bodyPr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7" name="Segnaposto testo 6">
            <a:extLst>
              <a:ext uri="{FF2B5EF4-FFF2-40B4-BE49-F238E27FC236}">
                <a16:creationId xmlns:a16="http://schemas.microsoft.com/office/drawing/2014/main" id="{08B240D5-5D10-4180-A262-78835B6DA63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81205" y="5563657"/>
            <a:ext cx="5658139" cy="582612"/>
          </a:xfrm>
        </p:spPr>
        <p:txBody>
          <a:bodyPr>
            <a:normAutofit/>
          </a:bodyPr>
          <a:lstStyle>
            <a:lvl1pPr>
              <a:spcBef>
                <a:spcPts val="500"/>
              </a:spcBef>
              <a:buFont typeface="+mj-lt"/>
              <a:buAutoNum type="arabicPeriod"/>
              <a:defRPr sz="1000"/>
            </a:lvl1pPr>
          </a:lstStyle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</p:txBody>
      </p:sp>
    </p:spTree>
    <p:extLst>
      <p:ext uri="{BB962C8B-B14F-4D97-AF65-F5344CB8AC3E}">
        <p14:creationId xmlns:p14="http://schemas.microsoft.com/office/powerpoint/2010/main" val="187970672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pertin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ottotitolo 2"/>
          <p:cNvSpPr>
            <a:spLocks noGrp="1"/>
          </p:cNvSpPr>
          <p:nvPr>
            <p:ph type="subTitle" idx="1" hasCustomPrompt="1"/>
          </p:nvPr>
        </p:nvSpPr>
        <p:spPr>
          <a:xfrm>
            <a:off x="1524000" y="4684035"/>
            <a:ext cx="9144000" cy="399838"/>
          </a:xfrm>
        </p:spPr>
        <p:txBody>
          <a:bodyPr>
            <a:normAutofit/>
          </a:bodyPr>
          <a:lstStyle>
            <a:lvl1pPr marL="0" indent="0" algn="l">
              <a:buNone/>
              <a:defRPr sz="1800" baseline="0">
                <a:solidFill>
                  <a:srgbClr val="5C707B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it-IT" dirty="0"/>
              <a:t>Inserire Ufficio</a:t>
            </a:r>
          </a:p>
        </p:txBody>
      </p:sp>
      <p:pic>
        <p:nvPicPr>
          <p:cNvPr id="7" name="Immagin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32782"/>
            <a:ext cx="12192000" cy="2800349"/>
          </a:xfrm>
          <a:prstGeom prst="rect">
            <a:avLst/>
          </a:prstGeom>
        </p:spPr>
      </p:pic>
      <p:sp>
        <p:nvSpPr>
          <p:cNvPr id="11" name="Rettangolo 10"/>
          <p:cNvSpPr/>
          <p:nvPr userDrawn="1"/>
        </p:nvSpPr>
        <p:spPr>
          <a:xfrm>
            <a:off x="0" y="5988676"/>
            <a:ext cx="12192000" cy="8693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pic>
        <p:nvPicPr>
          <p:cNvPr id="8" name="Immagine 7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68000" y="6423002"/>
            <a:ext cx="1224818" cy="171348"/>
          </a:xfrm>
          <a:prstGeom prst="rect">
            <a:avLst/>
          </a:prstGeom>
        </p:spPr>
      </p:pic>
      <p:pic>
        <p:nvPicPr>
          <p:cNvPr id="9" name="Immagine 8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6313" y="6423002"/>
            <a:ext cx="1136159" cy="168551"/>
          </a:xfrm>
          <a:prstGeom prst="rect">
            <a:avLst/>
          </a:prstGeom>
        </p:spPr>
      </p:pic>
      <p:sp>
        <p:nvSpPr>
          <p:cNvPr id="5" name="Segnaposto testo 4"/>
          <p:cNvSpPr>
            <a:spLocks noGrp="1"/>
          </p:cNvSpPr>
          <p:nvPr>
            <p:ph type="body" sz="quarter" idx="10" hasCustomPrompt="1"/>
          </p:nvPr>
        </p:nvSpPr>
        <p:spPr>
          <a:xfrm>
            <a:off x="1524000" y="5646567"/>
            <a:ext cx="9242425" cy="288974"/>
          </a:xfrm>
        </p:spPr>
        <p:txBody>
          <a:bodyPr>
            <a:normAutofit/>
          </a:bodyPr>
          <a:lstStyle>
            <a:lvl1pPr marL="0" indent="0" algn="r">
              <a:buNone/>
              <a:defRPr sz="1400" baseline="0"/>
            </a:lvl1pPr>
          </a:lstStyle>
          <a:p>
            <a:pPr lvl="0"/>
            <a:r>
              <a:rPr lang="it-IT" dirty="0"/>
              <a:t>Inserire Luogo e Data</a:t>
            </a:r>
          </a:p>
        </p:txBody>
      </p:sp>
      <p:sp>
        <p:nvSpPr>
          <p:cNvPr id="14" name="Titolo 13"/>
          <p:cNvSpPr>
            <a:spLocks noGrp="1"/>
          </p:cNvSpPr>
          <p:nvPr>
            <p:ph type="title"/>
          </p:nvPr>
        </p:nvSpPr>
        <p:spPr>
          <a:xfrm>
            <a:off x="1524000" y="3269674"/>
            <a:ext cx="10515600" cy="1236598"/>
          </a:xfrm>
          <a:noFill/>
        </p:spPr>
        <p:txBody>
          <a:bodyPr>
            <a:normAutofit/>
          </a:bodyPr>
          <a:lstStyle>
            <a:lvl1pPr>
              <a:defRPr sz="2400">
                <a:solidFill>
                  <a:schemeClr val="tx1"/>
                </a:solidFill>
              </a:defRPr>
            </a:lvl1pPr>
          </a:lstStyle>
          <a:p>
            <a:r>
              <a:rPr lang="it-IT"/>
              <a:t>Fare clic per modificare lo stile del titolo dello schema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121854682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ol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838200" y="247498"/>
            <a:ext cx="10515600" cy="484881"/>
          </a:xfrm>
        </p:spPr>
        <p:txBody>
          <a:bodyPr>
            <a:normAutofit/>
          </a:bodyPr>
          <a:lstStyle>
            <a:lvl1pPr algn="l">
              <a:defRPr sz="2200" b="1">
                <a:solidFill>
                  <a:schemeClr val="bg1"/>
                </a:solidFill>
              </a:defRPr>
            </a:lvl1pPr>
          </a:lstStyle>
          <a:p>
            <a:r>
              <a:rPr lang="it-IT"/>
              <a:t>Fare clic per modificare lo stile del titolo dello schema</a:t>
            </a:r>
            <a:endParaRPr lang="it-IT" dirty="0"/>
          </a:p>
        </p:txBody>
      </p:sp>
      <p:sp>
        <p:nvSpPr>
          <p:cNvPr id="9" name="Segnaposto numero diapositiva 4">
            <a:extLst>
              <a:ext uri="{FF2B5EF4-FFF2-40B4-BE49-F238E27FC236}">
                <a16:creationId xmlns:a16="http://schemas.microsoft.com/office/drawing/2014/main" id="{EA5FA132-35A6-4E85-96A9-49717F3CB39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581900" y="6360319"/>
            <a:ext cx="2743200" cy="365125"/>
          </a:xfrm>
          <a:prstGeom prst="rect">
            <a:avLst/>
          </a:prstGeom>
        </p:spPr>
        <p:txBody>
          <a:bodyPr/>
          <a:lstStyle>
            <a:lvl1pPr algn="r">
              <a:defRPr sz="1200"/>
            </a:lvl1pPr>
          </a:lstStyle>
          <a:p>
            <a:fld id="{9501BE4A-6F75-0549-8D25-E25EBB4B1677}" type="slidenum">
              <a:rPr lang="it-IT" smtClean="0">
                <a:solidFill>
                  <a:schemeClr val="bg1"/>
                </a:solidFill>
              </a:rPr>
              <a:pPr/>
              <a:t>‹N›</a:t>
            </a:fld>
            <a:endParaRPr lang="it-IT" sz="1200" dirty="0">
              <a:solidFill>
                <a:schemeClr val="bg1"/>
              </a:solidFill>
            </a:endParaRPr>
          </a:p>
        </p:txBody>
      </p:sp>
      <p:sp>
        <p:nvSpPr>
          <p:cNvPr id="10" name="Segnaposto testo 2">
            <a:extLst>
              <a:ext uri="{FF2B5EF4-FFF2-40B4-BE49-F238E27FC236}">
                <a16:creationId xmlns:a16="http://schemas.microsoft.com/office/drawing/2014/main" id="{F35D58D9-94CF-4EB2-AE0A-74B02B019C71}"/>
              </a:ext>
            </a:extLst>
          </p:cNvPr>
          <p:cNvSpPr>
            <a:spLocks noGrp="1"/>
          </p:cNvSpPr>
          <p:nvPr>
            <p:ph type="body" idx="11" hasCustomPrompt="1"/>
          </p:nvPr>
        </p:nvSpPr>
        <p:spPr>
          <a:xfrm>
            <a:off x="838200" y="803697"/>
            <a:ext cx="10515600" cy="376606"/>
          </a:xfrm>
        </p:spPr>
        <p:txBody>
          <a:bodyPr>
            <a:normAutofit/>
          </a:bodyPr>
          <a:lstStyle>
            <a:lvl1pPr marL="0" indent="0" algn="l">
              <a:buNone/>
              <a:defRPr sz="1800">
                <a:solidFill>
                  <a:srgbClr val="5C707B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it-IT" dirty="0"/>
              <a:t>Sottotitolo</a:t>
            </a:r>
          </a:p>
        </p:txBody>
      </p:sp>
      <p:sp>
        <p:nvSpPr>
          <p:cNvPr id="11" name="Segnaposto piè di pagina 4">
            <a:extLst>
              <a:ext uri="{FF2B5EF4-FFF2-40B4-BE49-F238E27FC236}">
                <a16:creationId xmlns:a16="http://schemas.microsoft.com/office/drawing/2014/main" id="{35256FB3-ADEF-4701-86D6-1AB30F9A6D4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467100" y="6360319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bg1"/>
                </a:solidFill>
              </a:defRPr>
            </a:lvl1pPr>
          </a:lstStyle>
          <a:p>
            <a:r>
              <a:rPr lang="it-IT"/>
              <a:t>Istituto per il Credito Sportivo Banca Sociale per lo Sport e la Cultura</a:t>
            </a:r>
            <a:endParaRPr lang="it-IT" dirty="0">
              <a:solidFill>
                <a:schemeClr val="bg1"/>
              </a:solidFill>
            </a:endParaRPr>
          </a:p>
        </p:txBody>
      </p:sp>
      <p:sp>
        <p:nvSpPr>
          <p:cNvPr id="4" name="Segnaposto testo 3">
            <a:extLst>
              <a:ext uri="{FF2B5EF4-FFF2-40B4-BE49-F238E27FC236}">
                <a16:creationId xmlns:a16="http://schemas.microsoft.com/office/drawing/2014/main" id="{DD619220-D121-4E8E-A124-5AF02D367B8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936625" y="1662113"/>
            <a:ext cx="10031413" cy="3419734"/>
          </a:xfrm>
        </p:spPr>
        <p:txBody>
          <a:bodyPr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7" name="Segnaposto testo 6">
            <a:extLst>
              <a:ext uri="{FF2B5EF4-FFF2-40B4-BE49-F238E27FC236}">
                <a16:creationId xmlns:a16="http://schemas.microsoft.com/office/drawing/2014/main" id="{08B240D5-5D10-4180-A262-78835B6DA63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81205" y="5563657"/>
            <a:ext cx="5658139" cy="582612"/>
          </a:xfrm>
        </p:spPr>
        <p:txBody>
          <a:bodyPr>
            <a:normAutofit/>
          </a:bodyPr>
          <a:lstStyle>
            <a:lvl1pPr>
              <a:spcBef>
                <a:spcPts val="500"/>
              </a:spcBef>
              <a:buFont typeface="+mj-lt"/>
              <a:buAutoNum type="arabicPeriod"/>
              <a:defRPr sz="1000"/>
            </a:lvl1pPr>
          </a:lstStyle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</p:txBody>
      </p:sp>
    </p:spTree>
    <p:extLst>
      <p:ext uri="{BB962C8B-B14F-4D97-AF65-F5344CB8AC3E}">
        <p14:creationId xmlns:p14="http://schemas.microsoft.com/office/powerpoint/2010/main" val="341571750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XECUTIVE SUMMA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ttangolo con angoli arrotondati 2">
            <a:extLst>
              <a:ext uri="{FF2B5EF4-FFF2-40B4-BE49-F238E27FC236}">
                <a16:creationId xmlns:a16="http://schemas.microsoft.com/office/drawing/2014/main" id="{ACC0ACF9-2CD3-4A46-8F07-8ADA5641DD38}"/>
              </a:ext>
            </a:extLst>
          </p:cNvPr>
          <p:cNvSpPr/>
          <p:nvPr userDrawn="1"/>
        </p:nvSpPr>
        <p:spPr>
          <a:xfrm>
            <a:off x="753687" y="1052946"/>
            <a:ext cx="10773295" cy="4516582"/>
          </a:xfrm>
          <a:prstGeom prst="roundRect">
            <a:avLst>
              <a:gd name="adj" fmla="val 4520"/>
            </a:avLst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dirty="0"/>
          </a:p>
        </p:txBody>
      </p:sp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838200" y="247498"/>
            <a:ext cx="10515600" cy="484881"/>
          </a:xfrm>
        </p:spPr>
        <p:txBody>
          <a:bodyPr>
            <a:normAutofit/>
          </a:bodyPr>
          <a:lstStyle>
            <a:lvl1pPr algn="l">
              <a:defRPr sz="2200" b="1">
                <a:solidFill>
                  <a:schemeClr val="bg1"/>
                </a:solidFill>
              </a:defRPr>
            </a:lvl1pPr>
          </a:lstStyle>
          <a:p>
            <a:r>
              <a:rPr lang="it-IT"/>
              <a:t>Fare clic per modificare lo stile del titolo dello schema</a:t>
            </a:r>
            <a:endParaRPr lang="it-IT" dirty="0"/>
          </a:p>
        </p:txBody>
      </p:sp>
      <p:sp>
        <p:nvSpPr>
          <p:cNvPr id="9" name="Segnaposto numero diapositiva 4">
            <a:extLst>
              <a:ext uri="{FF2B5EF4-FFF2-40B4-BE49-F238E27FC236}">
                <a16:creationId xmlns:a16="http://schemas.microsoft.com/office/drawing/2014/main" id="{EA5FA132-35A6-4E85-96A9-49717F3CB39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581900" y="6360319"/>
            <a:ext cx="2743200" cy="365125"/>
          </a:xfrm>
          <a:prstGeom prst="rect">
            <a:avLst/>
          </a:prstGeom>
        </p:spPr>
        <p:txBody>
          <a:bodyPr/>
          <a:lstStyle>
            <a:lvl1pPr algn="r">
              <a:defRPr sz="1200"/>
            </a:lvl1pPr>
          </a:lstStyle>
          <a:p>
            <a:fld id="{9501BE4A-6F75-0549-8D25-E25EBB4B1677}" type="slidenum">
              <a:rPr lang="it-IT" smtClean="0">
                <a:solidFill>
                  <a:schemeClr val="bg1"/>
                </a:solidFill>
              </a:rPr>
              <a:pPr/>
              <a:t>‹N›</a:t>
            </a:fld>
            <a:endParaRPr lang="it-IT" sz="1200" dirty="0">
              <a:solidFill>
                <a:schemeClr val="bg1"/>
              </a:solidFill>
            </a:endParaRPr>
          </a:p>
        </p:txBody>
      </p:sp>
      <p:sp>
        <p:nvSpPr>
          <p:cNvPr id="10" name="Segnaposto testo 2">
            <a:extLst>
              <a:ext uri="{FF2B5EF4-FFF2-40B4-BE49-F238E27FC236}">
                <a16:creationId xmlns:a16="http://schemas.microsoft.com/office/drawing/2014/main" id="{F35D58D9-94CF-4EB2-AE0A-74B02B019C71}"/>
              </a:ext>
            </a:extLst>
          </p:cNvPr>
          <p:cNvSpPr>
            <a:spLocks noGrp="1"/>
          </p:cNvSpPr>
          <p:nvPr>
            <p:ph type="body" idx="11" hasCustomPrompt="1"/>
          </p:nvPr>
        </p:nvSpPr>
        <p:spPr>
          <a:xfrm>
            <a:off x="838200" y="1088825"/>
            <a:ext cx="10515600" cy="376606"/>
          </a:xfrm>
        </p:spPr>
        <p:txBody>
          <a:bodyPr>
            <a:normAutofit/>
          </a:bodyPr>
          <a:lstStyle>
            <a:lvl1pPr marL="0" indent="0" algn="l">
              <a:buNone/>
              <a:defRPr sz="1600" b="1">
                <a:solidFill>
                  <a:srgbClr val="5C707B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it-IT" dirty="0"/>
              <a:t>Sottotitolo</a:t>
            </a:r>
          </a:p>
        </p:txBody>
      </p:sp>
      <p:sp>
        <p:nvSpPr>
          <p:cNvPr id="11" name="Segnaposto piè di pagina 4">
            <a:extLst>
              <a:ext uri="{FF2B5EF4-FFF2-40B4-BE49-F238E27FC236}">
                <a16:creationId xmlns:a16="http://schemas.microsoft.com/office/drawing/2014/main" id="{35256FB3-ADEF-4701-86D6-1AB30F9A6D4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467100" y="6360319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bg1"/>
                </a:solidFill>
              </a:defRPr>
            </a:lvl1pPr>
          </a:lstStyle>
          <a:p>
            <a:r>
              <a:rPr lang="it-IT"/>
              <a:t>Istituto per il Credito Sportivo Banca Sociale per lo Sport e la Cultura</a:t>
            </a:r>
            <a:endParaRPr lang="it-IT" dirty="0">
              <a:solidFill>
                <a:schemeClr val="bg1"/>
              </a:solidFill>
            </a:endParaRPr>
          </a:p>
        </p:txBody>
      </p:sp>
      <p:cxnSp>
        <p:nvCxnSpPr>
          <p:cNvPr id="13" name="Connettore diritto 12">
            <a:extLst>
              <a:ext uri="{FF2B5EF4-FFF2-40B4-BE49-F238E27FC236}">
                <a16:creationId xmlns:a16="http://schemas.microsoft.com/office/drawing/2014/main" id="{5DF53F4F-87E3-4A3F-AC50-ED4C1D6CB972}"/>
              </a:ext>
            </a:extLst>
          </p:cNvPr>
          <p:cNvCxnSpPr>
            <a:cxnSpLocks/>
          </p:cNvCxnSpPr>
          <p:nvPr userDrawn="1"/>
        </p:nvCxnSpPr>
        <p:spPr>
          <a:xfrm flipV="1">
            <a:off x="838200" y="1391278"/>
            <a:ext cx="10515600" cy="43291"/>
          </a:xfrm>
          <a:prstGeom prst="line">
            <a:avLst/>
          </a:prstGeom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14" name="Segnaposto testo 13">
            <a:extLst>
              <a:ext uri="{FF2B5EF4-FFF2-40B4-BE49-F238E27FC236}">
                <a16:creationId xmlns:a16="http://schemas.microsoft.com/office/drawing/2014/main" id="{B8FB7765-9C58-4AD7-B5B7-5F2E8A520964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941388" y="1657350"/>
            <a:ext cx="10358437" cy="3662363"/>
          </a:xfrm>
        </p:spPr>
        <p:txBody>
          <a:bodyPr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</p:spTree>
    <p:extLst>
      <p:ext uri="{BB962C8B-B14F-4D97-AF65-F5344CB8AC3E}">
        <p14:creationId xmlns:p14="http://schemas.microsoft.com/office/powerpoint/2010/main" val="36858909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heme" Target="../theme/theme2.xml"/><Relationship Id="rId3" Type="http://schemas.openxmlformats.org/officeDocument/2006/relationships/slideLayout" Target="../slideLayouts/slideLayout9.xml"/><Relationship Id="rId7" Type="http://schemas.openxmlformats.org/officeDocument/2006/relationships/slideLayout" Target="../slideLayouts/slideLayout13.xml"/><Relationship Id="rId2" Type="http://schemas.openxmlformats.org/officeDocument/2006/relationships/slideLayout" Target="../slideLayouts/slideLayout8.xml"/><Relationship Id="rId1" Type="http://schemas.openxmlformats.org/officeDocument/2006/relationships/slideLayout" Target="../slideLayouts/slideLayout7.xml"/><Relationship Id="rId6" Type="http://schemas.openxmlformats.org/officeDocument/2006/relationships/slideLayout" Target="../slideLayouts/slideLayout12.xml"/><Relationship Id="rId5" Type="http://schemas.openxmlformats.org/officeDocument/2006/relationships/slideLayout" Target="../slideLayouts/slideLayout11.xml"/><Relationship Id="rId4" Type="http://schemas.openxmlformats.org/officeDocument/2006/relationships/slideLayout" Target="../slideLayouts/slideLayout10.xml"/><Relationship Id="rId9" Type="http://schemas.openxmlformats.org/officeDocument/2006/relationships/image" Target="../media/image2.png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6.xml"/><Relationship Id="rId7" Type="http://schemas.openxmlformats.org/officeDocument/2006/relationships/image" Target="../media/image6.png"/><Relationship Id="rId2" Type="http://schemas.openxmlformats.org/officeDocument/2006/relationships/slideLayout" Target="../slideLayouts/slideLayout15.xml"/><Relationship Id="rId1" Type="http://schemas.openxmlformats.org/officeDocument/2006/relationships/slideLayout" Target="../slideLayouts/slideLayout14.xml"/><Relationship Id="rId6" Type="http://schemas.openxmlformats.org/officeDocument/2006/relationships/theme" Target="../theme/theme3.xml"/><Relationship Id="rId5" Type="http://schemas.openxmlformats.org/officeDocument/2006/relationships/slideLayout" Target="../slideLayouts/slideLayout18.xml"/><Relationship Id="rId4" Type="http://schemas.openxmlformats.org/officeDocument/2006/relationships/slideLayout" Target="../slideLayouts/slideLayout17.xml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theme" Target="../theme/theme4.xml"/><Relationship Id="rId1" Type="http://schemas.openxmlformats.org/officeDocument/2006/relationships/slideLayout" Target="../slideLayouts/slideLayout19.xml"/></Relationships>
</file>

<file path=ppt/slideMasters/_rels/slideMaster5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32.xml"/><Relationship Id="rId18" Type="http://schemas.openxmlformats.org/officeDocument/2006/relationships/slideLayout" Target="../slideLayouts/slideLayout37.xml"/><Relationship Id="rId26" Type="http://schemas.openxmlformats.org/officeDocument/2006/relationships/slideLayout" Target="../slideLayouts/slideLayout45.xml"/><Relationship Id="rId3" Type="http://schemas.openxmlformats.org/officeDocument/2006/relationships/slideLayout" Target="../slideLayouts/slideLayout22.xml"/><Relationship Id="rId21" Type="http://schemas.openxmlformats.org/officeDocument/2006/relationships/slideLayout" Target="../slideLayouts/slideLayout40.xml"/><Relationship Id="rId34" Type="http://schemas.openxmlformats.org/officeDocument/2006/relationships/image" Target="../media/image2.png"/><Relationship Id="rId7" Type="http://schemas.openxmlformats.org/officeDocument/2006/relationships/slideLayout" Target="../slideLayouts/slideLayout26.xml"/><Relationship Id="rId12" Type="http://schemas.openxmlformats.org/officeDocument/2006/relationships/slideLayout" Target="../slideLayouts/slideLayout31.xml"/><Relationship Id="rId17" Type="http://schemas.openxmlformats.org/officeDocument/2006/relationships/slideLayout" Target="../slideLayouts/slideLayout36.xml"/><Relationship Id="rId25" Type="http://schemas.openxmlformats.org/officeDocument/2006/relationships/slideLayout" Target="../slideLayouts/slideLayout44.xml"/><Relationship Id="rId33" Type="http://schemas.openxmlformats.org/officeDocument/2006/relationships/theme" Target="../theme/theme5.xml"/><Relationship Id="rId2" Type="http://schemas.openxmlformats.org/officeDocument/2006/relationships/slideLayout" Target="../slideLayouts/slideLayout21.xml"/><Relationship Id="rId16" Type="http://schemas.openxmlformats.org/officeDocument/2006/relationships/slideLayout" Target="../slideLayouts/slideLayout35.xml"/><Relationship Id="rId20" Type="http://schemas.openxmlformats.org/officeDocument/2006/relationships/slideLayout" Target="../slideLayouts/slideLayout39.xml"/><Relationship Id="rId29" Type="http://schemas.openxmlformats.org/officeDocument/2006/relationships/slideLayout" Target="../slideLayouts/slideLayout48.xml"/><Relationship Id="rId1" Type="http://schemas.openxmlformats.org/officeDocument/2006/relationships/slideLayout" Target="../slideLayouts/slideLayout20.xml"/><Relationship Id="rId6" Type="http://schemas.openxmlformats.org/officeDocument/2006/relationships/slideLayout" Target="../slideLayouts/slideLayout25.xml"/><Relationship Id="rId11" Type="http://schemas.openxmlformats.org/officeDocument/2006/relationships/slideLayout" Target="../slideLayouts/slideLayout30.xml"/><Relationship Id="rId24" Type="http://schemas.openxmlformats.org/officeDocument/2006/relationships/slideLayout" Target="../slideLayouts/slideLayout43.xml"/><Relationship Id="rId32" Type="http://schemas.openxmlformats.org/officeDocument/2006/relationships/slideLayout" Target="../slideLayouts/slideLayout51.xml"/><Relationship Id="rId5" Type="http://schemas.openxmlformats.org/officeDocument/2006/relationships/slideLayout" Target="../slideLayouts/slideLayout24.xml"/><Relationship Id="rId15" Type="http://schemas.openxmlformats.org/officeDocument/2006/relationships/slideLayout" Target="../slideLayouts/slideLayout34.xml"/><Relationship Id="rId23" Type="http://schemas.openxmlformats.org/officeDocument/2006/relationships/slideLayout" Target="../slideLayouts/slideLayout42.xml"/><Relationship Id="rId28" Type="http://schemas.openxmlformats.org/officeDocument/2006/relationships/slideLayout" Target="../slideLayouts/slideLayout47.xml"/><Relationship Id="rId10" Type="http://schemas.openxmlformats.org/officeDocument/2006/relationships/slideLayout" Target="../slideLayouts/slideLayout29.xml"/><Relationship Id="rId19" Type="http://schemas.openxmlformats.org/officeDocument/2006/relationships/slideLayout" Target="../slideLayouts/slideLayout38.xml"/><Relationship Id="rId31" Type="http://schemas.openxmlformats.org/officeDocument/2006/relationships/slideLayout" Target="../slideLayouts/slideLayout50.xml"/><Relationship Id="rId4" Type="http://schemas.openxmlformats.org/officeDocument/2006/relationships/slideLayout" Target="../slideLayouts/slideLayout23.xml"/><Relationship Id="rId9" Type="http://schemas.openxmlformats.org/officeDocument/2006/relationships/slideLayout" Target="../slideLayouts/slideLayout28.xml"/><Relationship Id="rId14" Type="http://schemas.openxmlformats.org/officeDocument/2006/relationships/slideLayout" Target="../slideLayouts/slideLayout33.xml"/><Relationship Id="rId22" Type="http://schemas.openxmlformats.org/officeDocument/2006/relationships/slideLayout" Target="../slideLayouts/slideLayout41.xml"/><Relationship Id="rId27" Type="http://schemas.openxmlformats.org/officeDocument/2006/relationships/slideLayout" Target="../slideLayouts/slideLayout46.xml"/><Relationship Id="rId30" Type="http://schemas.openxmlformats.org/officeDocument/2006/relationships/slideLayout" Target="../slideLayouts/slideLayout49.xml"/><Relationship Id="rId8" Type="http://schemas.openxmlformats.org/officeDocument/2006/relationships/slideLayout" Target="../slideLayouts/slideLayout2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bg object 16"/>
          <p:cNvPicPr/>
          <p:nvPr/>
        </p:nvPicPr>
        <p:blipFill>
          <a:blip r:embed="rId8" cstate="print"/>
          <a:stretch>
            <a:fillRect/>
          </a:stretch>
        </p:blipFill>
        <p:spPr>
          <a:xfrm>
            <a:off x="0" y="6048755"/>
            <a:ext cx="12191999" cy="809243"/>
          </a:xfrm>
          <a:prstGeom prst="rect">
            <a:avLst/>
          </a:prstGeom>
        </p:spPr>
      </p:pic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838200" y="246888"/>
            <a:ext cx="10515600" cy="48640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2200" b="1" i="0">
                <a:solidFill>
                  <a:schemeClr val="bg1"/>
                </a:solidFill>
                <a:latin typeface="Trebuchet MS"/>
                <a:cs typeface="Trebuchet MS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871113" y="1481089"/>
            <a:ext cx="6089650" cy="26797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5115401" y="6433061"/>
            <a:ext cx="868679" cy="20256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200" b="0" i="0">
                <a:solidFill>
                  <a:schemeClr val="bg1"/>
                </a:solidFill>
                <a:latin typeface="Trebuchet MS"/>
                <a:cs typeface="Trebuchet MS"/>
              </a:defRPr>
            </a:lvl1pPr>
          </a:lstStyle>
          <a:p>
            <a:pPr marL="12700">
              <a:lnSpc>
                <a:spcPct val="100000"/>
              </a:lnSpc>
              <a:spcBef>
                <a:spcPts val="25"/>
              </a:spcBef>
            </a:pPr>
            <a:r>
              <a:rPr lang="it-IT"/>
              <a:t>Istituto per il Credito Sportivo Banca Sociale per lo Sport e la Cultura</a:t>
            </a:r>
            <a:endParaRPr spc="-15" dirty="0"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609600" y="6377940"/>
            <a:ext cx="280416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FB0608F-0E09-48F2-8CA1-C31985C05432}" type="datetime1">
              <a:rPr lang="en-US" smtClean="0"/>
              <a:t>7/19/2022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10035540" y="6352335"/>
            <a:ext cx="377190" cy="24828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200" b="0" i="0">
                <a:solidFill>
                  <a:schemeClr val="bg1"/>
                </a:solidFill>
                <a:latin typeface="Trebuchet MS"/>
                <a:cs typeface="Trebuchet MS"/>
              </a:defRPr>
            </a:lvl1pPr>
          </a:lstStyle>
          <a:p>
            <a:pPr marL="116839">
              <a:lnSpc>
                <a:spcPct val="100000"/>
              </a:lnSpc>
              <a:spcBef>
                <a:spcPts val="385"/>
              </a:spcBef>
            </a:pPr>
            <a:fld id="{81D60167-4931-47E6-BA6A-407CBD079E47}" type="slidenum">
              <a:rPr dirty="0"/>
              <a:t>‹N›</a:t>
            </a:fld>
            <a:endParaRPr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715" r:id="rId6"/>
  </p:sldLayoutIdLst>
  <p:hf hdr="0" dt="0"/>
  <p:txStyles>
    <p:titleStyle>
      <a:lvl1pPr>
        <a:defRPr>
          <a:latin typeface="+mj-lt"/>
          <a:ea typeface="+mj-ea"/>
          <a:cs typeface="+mj-cs"/>
        </a:defRPr>
      </a:lvl1pPr>
    </p:titleStyle>
    <p:body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titolo 1"/>
          <p:cNvSpPr>
            <a:spLocks noGrp="1"/>
          </p:cNvSpPr>
          <p:nvPr>
            <p:ph type="title"/>
          </p:nvPr>
        </p:nvSpPr>
        <p:spPr>
          <a:xfrm>
            <a:off x="838200" y="176822"/>
            <a:ext cx="10515600" cy="549275"/>
          </a:xfrm>
          <a:prstGeom prst="rect">
            <a:avLst/>
          </a:prstGeom>
          <a:solidFill>
            <a:schemeClr val="tx1"/>
          </a:solidFill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it-IT" dirty="0"/>
              <a:t>Fare clic per modificare lo stile del titolo</a:t>
            </a:r>
          </a:p>
        </p:txBody>
      </p:sp>
      <p:sp>
        <p:nvSpPr>
          <p:cNvPr id="3" name="Segnaposto testo 2"/>
          <p:cNvSpPr>
            <a:spLocks noGrp="1"/>
          </p:cNvSpPr>
          <p:nvPr>
            <p:ph type="body" idx="1"/>
          </p:nvPr>
        </p:nvSpPr>
        <p:spPr>
          <a:xfrm>
            <a:off x="838200" y="1298288"/>
            <a:ext cx="10515600" cy="426142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it-IT" dirty="0"/>
              <a:t>Bullet 1 </a:t>
            </a:r>
          </a:p>
          <a:p>
            <a:pPr lvl="1"/>
            <a:r>
              <a:rPr lang="it-IT" dirty="0"/>
              <a:t>Bullet 2</a:t>
            </a:r>
          </a:p>
          <a:p>
            <a:pPr lvl="2"/>
            <a:r>
              <a:rPr lang="it-IT" dirty="0"/>
              <a:t>Bullet 3</a:t>
            </a:r>
          </a:p>
          <a:p>
            <a:pPr lvl="3"/>
            <a:r>
              <a:rPr lang="it-IT" dirty="0"/>
              <a:t>Bullet 4</a:t>
            </a:r>
          </a:p>
          <a:p>
            <a:pPr lvl="4"/>
            <a:r>
              <a:rPr lang="it-IT" dirty="0"/>
              <a:t>Bullet 5</a:t>
            </a:r>
          </a:p>
          <a:p>
            <a:pPr lvl="2"/>
            <a:endParaRPr lang="it-IT" dirty="0"/>
          </a:p>
        </p:txBody>
      </p:sp>
      <p:pic>
        <p:nvPicPr>
          <p:cNvPr id="8" name="Immagine 7"/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048376"/>
            <a:ext cx="12192000" cy="809624"/>
          </a:xfrm>
          <a:prstGeom prst="rect">
            <a:avLst/>
          </a:prstGeom>
        </p:spPr>
      </p:pic>
      <p:sp>
        <p:nvSpPr>
          <p:cNvPr id="6" name="Segnaposto numero diapositiva 4">
            <a:extLst>
              <a:ext uri="{FF2B5EF4-FFF2-40B4-BE49-F238E27FC236}">
                <a16:creationId xmlns:a16="http://schemas.microsoft.com/office/drawing/2014/main" id="{898C91DA-86FE-49A6-A93B-31354B1D6B5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581900" y="6360319"/>
            <a:ext cx="2743200" cy="365125"/>
          </a:xfrm>
          <a:prstGeom prst="rect">
            <a:avLst/>
          </a:prstGeom>
        </p:spPr>
        <p:txBody>
          <a:bodyPr/>
          <a:lstStyle>
            <a:lvl1pPr algn="r">
              <a:defRPr sz="1400"/>
            </a:lvl1pPr>
          </a:lstStyle>
          <a:p>
            <a:fld id="{9501BE4A-6F75-0549-8D25-E25EBB4B1677}" type="slidenum">
              <a:rPr lang="it-IT" smtClean="0">
                <a:solidFill>
                  <a:schemeClr val="bg1"/>
                </a:solidFill>
              </a:rPr>
              <a:pPr/>
              <a:t>‹N›</a:t>
            </a:fld>
            <a:endParaRPr lang="it-IT" dirty="0">
              <a:solidFill>
                <a:schemeClr val="bg1"/>
              </a:solidFill>
            </a:endParaRPr>
          </a:p>
        </p:txBody>
      </p:sp>
      <p:sp>
        <p:nvSpPr>
          <p:cNvPr id="12" name="Segnaposto piè di pagina 4">
            <a:extLst>
              <a:ext uri="{FF2B5EF4-FFF2-40B4-BE49-F238E27FC236}">
                <a16:creationId xmlns:a16="http://schemas.microsoft.com/office/drawing/2014/main" id="{98D66951-2DFB-4DCE-9343-D4E8EF505E0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467100" y="6360319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bg1"/>
                </a:solidFill>
              </a:defRPr>
            </a:lvl1pPr>
          </a:lstStyle>
          <a:p>
            <a:r>
              <a:rPr lang="it-IT"/>
              <a:t>Istituto per il Credito Sportivo Banca Sociale per lo Sport e la Cultura</a:t>
            </a:r>
            <a:endParaRPr lang="it-IT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1504841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7" r:id="rId1"/>
    <p:sldLayoutId id="2147483668" r:id="rId2"/>
    <p:sldLayoutId id="2147483669" r:id="rId3"/>
    <p:sldLayoutId id="2147483670" r:id="rId4"/>
    <p:sldLayoutId id="2147483671" r:id="rId5"/>
    <p:sldLayoutId id="2147483672" r:id="rId6"/>
    <p:sldLayoutId id="2147483673" r:id="rId7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200" b="1" kern="1200">
          <a:solidFill>
            <a:schemeClr val="bg1"/>
          </a:solidFill>
          <a:effectLst>
            <a:outerShdw blurRad="38100" dist="38100" dir="2700000" algn="tl">
              <a:srgbClr val="000000">
                <a:alpha val="43137"/>
              </a:srgbClr>
            </a:outerShdw>
          </a:effectLst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Clr>
          <a:schemeClr val="bg2">
            <a:lumMod val="75000"/>
          </a:schemeClr>
        </a:buClr>
        <a:buSzPct val="100000"/>
        <a:buFont typeface="Trebuchet MS" panose="020B0603020202020204" pitchFamily="34" charset="0"/>
        <a:buChar char="•"/>
        <a:defRPr sz="140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1pPr>
      <a:lvl2pPr marL="449263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40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2pPr>
      <a:lvl3pPr marL="714375" indent="-249238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Ø"/>
        <a:defRPr sz="140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3pPr>
      <a:lvl4pPr marL="985838" indent="-241300" algn="l" defTabSz="914400" rtl="0" eaLnBrk="1" latinLnBrk="0" hangingPunct="1">
        <a:lnSpc>
          <a:spcPct val="90000"/>
        </a:lnSpc>
        <a:spcBef>
          <a:spcPts val="500"/>
        </a:spcBef>
        <a:buFont typeface="Trebuchet MS" panose="020B0603020202020204" pitchFamily="34" charset="0"/>
        <a:buChar char="‐"/>
        <a:defRPr sz="140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4pPr>
      <a:lvl5pPr marL="1257300" indent="-228600" algn="l" defTabSz="914400" rtl="0" eaLnBrk="1" latinLnBrk="0" hangingPunct="1">
        <a:lnSpc>
          <a:spcPct val="90000"/>
        </a:lnSpc>
        <a:spcBef>
          <a:spcPts val="500"/>
        </a:spcBef>
        <a:buFont typeface="Trebuchet MS" panose="020B0603020202020204" pitchFamily="34" charset="0"/>
        <a:buChar char="∙"/>
        <a:defRPr sz="140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it-I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0" y="6048755"/>
            <a:ext cx="12192000" cy="809243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" name="bg object 17"/>
          <p:cNvSpPr/>
          <p:nvPr/>
        </p:nvSpPr>
        <p:spPr>
          <a:xfrm>
            <a:off x="838200" y="246888"/>
            <a:ext cx="10515600" cy="486409"/>
          </a:xfrm>
          <a:custGeom>
            <a:avLst/>
            <a:gdLst/>
            <a:ahLst/>
            <a:cxnLst/>
            <a:rect l="l" t="t" r="r" b="b"/>
            <a:pathLst>
              <a:path w="10515600" h="486409">
                <a:moveTo>
                  <a:pt x="10515600" y="0"/>
                </a:moveTo>
                <a:lnTo>
                  <a:pt x="0" y="0"/>
                </a:lnTo>
                <a:lnTo>
                  <a:pt x="0" y="486155"/>
                </a:lnTo>
                <a:lnTo>
                  <a:pt x="10515600" y="486155"/>
                </a:lnTo>
                <a:lnTo>
                  <a:pt x="10515600" y="0"/>
                </a:lnTo>
                <a:close/>
              </a:path>
            </a:pathLst>
          </a:custGeom>
          <a:solidFill>
            <a:srgbClr val="5C717C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838200" y="246888"/>
            <a:ext cx="10515600" cy="48640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2200" b="1" i="0">
                <a:solidFill>
                  <a:schemeClr val="bg1"/>
                </a:solidFill>
                <a:latin typeface="Trebuchet MS"/>
                <a:cs typeface="Trebuchet MS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853753" y="2863137"/>
            <a:ext cx="6425565" cy="292036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000" b="0" i="0">
                <a:solidFill>
                  <a:srgbClr val="5C707B"/>
                </a:solidFill>
                <a:latin typeface="Trebuchet MS"/>
                <a:cs typeface="Trebuchet MS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4142384" y="6443471"/>
            <a:ext cx="2764154" cy="20256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200" b="0" i="0">
                <a:solidFill>
                  <a:schemeClr val="bg1"/>
                </a:solidFill>
                <a:latin typeface="Trebuchet MS"/>
                <a:cs typeface="Trebuchet MS"/>
              </a:defRPr>
            </a:lvl1pPr>
          </a:lstStyle>
          <a:p>
            <a:pPr marL="12700">
              <a:lnSpc>
                <a:spcPct val="100000"/>
              </a:lnSpc>
              <a:spcBef>
                <a:spcPts val="25"/>
              </a:spcBef>
            </a:pPr>
            <a:r>
              <a:rPr lang="it-IT" spc="-5"/>
              <a:t>Istituto per il Credito Sportivo Banca Sociale per lo Sport e la Cultura</a:t>
            </a:r>
            <a:endParaRPr spc="-5" dirty="0"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609600" y="6377940"/>
            <a:ext cx="280416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0C9EA10-E9AA-4769-8B11-96AC51C5C8AF}" type="datetime1">
              <a:rPr lang="en-US" smtClean="0"/>
              <a:t>7/19/2022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10035540" y="6398068"/>
            <a:ext cx="235584" cy="20256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200" b="0" i="0">
                <a:solidFill>
                  <a:schemeClr val="bg1"/>
                </a:solidFill>
                <a:latin typeface="Trebuchet MS"/>
                <a:cs typeface="Trebuchet MS"/>
              </a:defRPr>
            </a:lvl1pPr>
          </a:lstStyle>
          <a:p>
            <a:pPr marL="38100">
              <a:lnSpc>
                <a:spcPct val="100000"/>
              </a:lnSpc>
              <a:spcBef>
                <a:spcPts val="25"/>
              </a:spcBef>
            </a:pPr>
            <a:fld id="{81D60167-4931-47E6-BA6A-407CBD079E47}" type="slidenum">
              <a:rPr spc="-5" dirty="0"/>
              <a:t>‹N›</a:t>
            </a:fld>
            <a:endParaRPr spc="-5" dirty="0"/>
          </a:p>
        </p:txBody>
      </p:sp>
    </p:spTree>
    <p:extLst>
      <p:ext uri="{BB962C8B-B14F-4D97-AF65-F5344CB8AC3E}">
        <p14:creationId xmlns:p14="http://schemas.microsoft.com/office/powerpoint/2010/main" val="242316300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5" r:id="rId1"/>
    <p:sldLayoutId id="2147483676" r:id="rId2"/>
    <p:sldLayoutId id="2147483677" r:id="rId3"/>
    <p:sldLayoutId id="2147483678" r:id="rId4"/>
    <p:sldLayoutId id="2147483679" r:id="rId5"/>
  </p:sldLayoutIdLst>
  <p:hf hdr="0" dt="0"/>
  <p:txStyles>
    <p:titleStyle>
      <a:lvl1pPr>
        <a:defRPr>
          <a:latin typeface="+mj-lt"/>
          <a:ea typeface="+mj-ea"/>
          <a:cs typeface="+mj-cs"/>
        </a:defRPr>
      </a:lvl1pPr>
    </p:titleStyle>
    <p:body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titolo 1"/>
          <p:cNvSpPr>
            <a:spLocks noGrp="1"/>
          </p:cNvSpPr>
          <p:nvPr>
            <p:ph type="title"/>
          </p:nvPr>
        </p:nvSpPr>
        <p:spPr>
          <a:xfrm>
            <a:off x="838200" y="176822"/>
            <a:ext cx="10515600" cy="549275"/>
          </a:xfrm>
          <a:prstGeom prst="rect">
            <a:avLst/>
          </a:prstGeom>
          <a:solidFill>
            <a:schemeClr val="tx1"/>
          </a:solidFill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it-IT"/>
              <a:t>Fare clic per modificare lo stile del titolo</a:t>
            </a:r>
          </a:p>
        </p:txBody>
      </p:sp>
      <p:sp>
        <p:nvSpPr>
          <p:cNvPr id="3" name="Segnaposto testo 2"/>
          <p:cNvSpPr>
            <a:spLocks noGrp="1"/>
          </p:cNvSpPr>
          <p:nvPr>
            <p:ph type="body" idx="1"/>
          </p:nvPr>
        </p:nvSpPr>
        <p:spPr>
          <a:xfrm>
            <a:off x="838200" y="1298288"/>
            <a:ext cx="10515600" cy="426142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it-IT"/>
              <a:t>Bullet 1 </a:t>
            </a:r>
          </a:p>
          <a:p>
            <a:pPr lvl="1"/>
            <a:r>
              <a:rPr lang="it-IT"/>
              <a:t>Bullet 2</a:t>
            </a:r>
          </a:p>
          <a:p>
            <a:pPr lvl="2"/>
            <a:r>
              <a:rPr lang="it-IT"/>
              <a:t>Bullet 3</a:t>
            </a:r>
          </a:p>
          <a:p>
            <a:pPr lvl="3"/>
            <a:r>
              <a:rPr lang="it-IT"/>
              <a:t>Bullet 4</a:t>
            </a:r>
          </a:p>
          <a:p>
            <a:pPr lvl="4"/>
            <a:r>
              <a:rPr lang="it-IT"/>
              <a:t>Bullet 5</a:t>
            </a:r>
          </a:p>
          <a:p>
            <a:pPr lvl="2"/>
            <a:endParaRPr lang="it-IT"/>
          </a:p>
        </p:txBody>
      </p:sp>
      <p:pic>
        <p:nvPicPr>
          <p:cNvPr id="8" name="Immagine 7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6048376"/>
            <a:ext cx="12192000" cy="809624"/>
          </a:xfrm>
          <a:prstGeom prst="rect">
            <a:avLst/>
          </a:prstGeom>
        </p:spPr>
      </p:pic>
      <p:sp>
        <p:nvSpPr>
          <p:cNvPr id="6" name="Segnaposto numero diapositiva 4">
            <a:extLst>
              <a:ext uri="{FF2B5EF4-FFF2-40B4-BE49-F238E27FC236}">
                <a16:creationId xmlns:a16="http://schemas.microsoft.com/office/drawing/2014/main" id="{898C91DA-86FE-49A6-A93B-31354B1D6B5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581900" y="6360319"/>
            <a:ext cx="2743200" cy="365125"/>
          </a:xfrm>
          <a:prstGeom prst="rect">
            <a:avLst/>
          </a:prstGeom>
        </p:spPr>
        <p:txBody>
          <a:bodyPr/>
          <a:lstStyle>
            <a:lvl1pPr algn="r">
              <a:defRPr sz="1400"/>
            </a:lvl1pPr>
          </a:lstStyle>
          <a:p>
            <a:fld id="{9501BE4A-6F75-0549-8D25-E25EBB4B1677}" type="slidenum">
              <a:rPr lang="it-IT" smtClean="0">
                <a:solidFill>
                  <a:schemeClr val="bg1"/>
                </a:solidFill>
              </a:rPr>
              <a:pPr/>
              <a:t>‹N›</a:t>
            </a:fld>
            <a:endParaRPr lang="it-IT">
              <a:solidFill>
                <a:schemeClr val="bg1"/>
              </a:solidFill>
            </a:endParaRPr>
          </a:p>
        </p:txBody>
      </p:sp>
      <p:sp>
        <p:nvSpPr>
          <p:cNvPr id="12" name="Segnaposto piè di pagina 4">
            <a:extLst>
              <a:ext uri="{FF2B5EF4-FFF2-40B4-BE49-F238E27FC236}">
                <a16:creationId xmlns:a16="http://schemas.microsoft.com/office/drawing/2014/main" id="{98D66951-2DFB-4DCE-9343-D4E8EF505E0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467100" y="6360319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bg1"/>
                </a:solidFill>
              </a:defRPr>
            </a:lvl1pPr>
          </a:lstStyle>
          <a:p>
            <a:r>
              <a:rPr lang="it-IT"/>
              <a:t>Istituto per il Credito Sportivo Banca Sociale per lo Sport e la Cultura</a:t>
            </a:r>
            <a:endParaRPr lang="it-IT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334975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1" r:id="rId1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200" b="1" kern="1200">
          <a:solidFill>
            <a:schemeClr val="bg1"/>
          </a:solidFill>
          <a:effectLst>
            <a:outerShdw blurRad="38100" dist="38100" dir="2700000" algn="tl">
              <a:srgbClr val="000000">
                <a:alpha val="43137"/>
              </a:srgbClr>
            </a:outerShdw>
          </a:effectLst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Clr>
          <a:schemeClr val="bg2">
            <a:lumMod val="75000"/>
          </a:schemeClr>
        </a:buClr>
        <a:buSzPct val="100000"/>
        <a:buFont typeface="Trebuchet MS" panose="020B0603020202020204" pitchFamily="34" charset="0"/>
        <a:buChar char="•"/>
        <a:defRPr sz="140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1pPr>
      <a:lvl2pPr marL="449263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40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2pPr>
      <a:lvl3pPr marL="714375" indent="-249238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Ø"/>
        <a:defRPr sz="140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3pPr>
      <a:lvl4pPr marL="985838" indent="-241300" algn="l" defTabSz="914400" rtl="0" eaLnBrk="1" latinLnBrk="0" hangingPunct="1">
        <a:lnSpc>
          <a:spcPct val="90000"/>
        </a:lnSpc>
        <a:spcBef>
          <a:spcPts val="500"/>
        </a:spcBef>
        <a:buFont typeface="Trebuchet MS" panose="020B0603020202020204" pitchFamily="34" charset="0"/>
        <a:buChar char="‐"/>
        <a:defRPr sz="140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4pPr>
      <a:lvl5pPr marL="1257300" indent="-228600" algn="l" defTabSz="914400" rtl="0" eaLnBrk="1" latinLnBrk="0" hangingPunct="1">
        <a:lnSpc>
          <a:spcPct val="90000"/>
        </a:lnSpc>
        <a:spcBef>
          <a:spcPts val="500"/>
        </a:spcBef>
        <a:buFont typeface="Trebuchet MS" panose="020B0603020202020204" pitchFamily="34" charset="0"/>
        <a:buChar char="∙"/>
        <a:defRPr sz="140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it-I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titolo 1"/>
          <p:cNvSpPr>
            <a:spLocks noGrp="1"/>
          </p:cNvSpPr>
          <p:nvPr>
            <p:ph type="title"/>
          </p:nvPr>
        </p:nvSpPr>
        <p:spPr>
          <a:xfrm>
            <a:off x="838200" y="176822"/>
            <a:ext cx="10515600" cy="549275"/>
          </a:xfrm>
          <a:prstGeom prst="rect">
            <a:avLst/>
          </a:prstGeom>
          <a:solidFill>
            <a:schemeClr val="tx1"/>
          </a:solidFill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it-IT"/>
              <a:t>Fare clic per modificare lo stile del titolo</a:t>
            </a:r>
          </a:p>
        </p:txBody>
      </p:sp>
      <p:sp>
        <p:nvSpPr>
          <p:cNvPr id="3" name="Segnaposto testo 2"/>
          <p:cNvSpPr>
            <a:spLocks noGrp="1"/>
          </p:cNvSpPr>
          <p:nvPr>
            <p:ph type="body" idx="1"/>
          </p:nvPr>
        </p:nvSpPr>
        <p:spPr>
          <a:xfrm>
            <a:off x="838200" y="1298288"/>
            <a:ext cx="10515600" cy="426142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it-IT"/>
              <a:t>Bullet 1 </a:t>
            </a:r>
          </a:p>
          <a:p>
            <a:pPr lvl="1"/>
            <a:r>
              <a:rPr lang="it-IT"/>
              <a:t>Bullet 2</a:t>
            </a:r>
          </a:p>
          <a:p>
            <a:pPr lvl="2"/>
            <a:r>
              <a:rPr lang="it-IT"/>
              <a:t>Bullet 3</a:t>
            </a:r>
          </a:p>
          <a:p>
            <a:pPr lvl="3"/>
            <a:r>
              <a:rPr lang="it-IT"/>
              <a:t>Bullet 4</a:t>
            </a:r>
          </a:p>
          <a:p>
            <a:pPr lvl="4"/>
            <a:r>
              <a:rPr lang="it-IT"/>
              <a:t>Bullet 5</a:t>
            </a:r>
          </a:p>
          <a:p>
            <a:pPr lvl="2"/>
            <a:endParaRPr lang="it-IT"/>
          </a:p>
        </p:txBody>
      </p:sp>
      <p:pic>
        <p:nvPicPr>
          <p:cNvPr id="8" name="Immagine 7"/>
          <p:cNvPicPr>
            <a:picLocks noChangeAspect="1"/>
          </p:cNvPicPr>
          <p:nvPr userDrawn="1"/>
        </p:nvPicPr>
        <p:blipFill>
          <a:blip r:embed="rId3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048376"/>
            <a:ext cx="12192000" cy="809624"/>
          </a:xfrm>
          <a:prstGeom prst="rect">
            <a:avLst/>
          </a:prstGeom>
        </p:spPr>
      </p:pic>
      <p:sp>
        <p:nvSpPr>
          <p:cNvPr id="6" name="Segnaposto numero diapositiva 4">
            <a:extLst>
              <a:ext uri="{FF2B5EF4-FFF2-40B4-BE49-F238E27FC236}">
                <a16:creationId xmlns:a16="http://schemas.microsoft.com/office/drawing/2014/main" id="{898C91DA-86FE-49A6-A93B-31354B1D6B5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581900" y="6360319"/>
            <a:ext cx="2743200" cy="365125"/>
          </a:xfrm>
          <a:prstGeom prst="rect">
            <a:avLst/>
          </a:prstGeom>
        </p:spPr>
        <p:txBody>
          <a:bodyPr/>
          <a:lstStyle>
            <a:lvl1pPr algn="r">
              <a:defRPr sz="1400"/>
            </a:lvl1pPr>
          </a:lstStyle>
          <a:p>
            <a:fld id="{9501BE4A-6F75-0549-8D25-E25EBB4B1677}" type="slidenum">
              <a:rPr lang="it-IT" smtClean="0">
                <a:solidFill>
                  <a:schemeClr val="bg1"/>
                </a:solidFill>
              </a:rPr>
              <a:pPr/>
              <a:t>‹N›</a:t>
            </a:fld>
            <a:endParaRPr lang="it-IT">
              <a:solidFill>
                <a:schemeClr val="bg1"/>
              </a:solidFill>
            </a:endParaRPr>
          </a:p>
        </p:txBody>
      </p:sp>
      <p:sp>
        <p:nvSpPr>
          <p:cNvPr id="12" name="Segnaposto piè di pagina 4">
            <a:extLst>
              <a:ext uri="{FF2B5EF4-FFF2-40B4-BE49-F238E27FC236}">
                <a16:creationId xmlns:a16="http://schemas.microsoft.com/office/drawing/2014/main" id="{98D66951-2DFB-4DCE-9343-D4E8EF505E0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467100" y="6360319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bg1"/>
                </a:solidFill>
              </a:defRPr>
            </a:lvl1pPr>
          </a:lstStyle>
          <a:p>
            <a:r>
              <a:rPr lang="it-IT"/>
              <a:t>Istituto per il Credito Sportivo Banca Sociale per lo Sport e la Cultura</a:t>
            </a:r>
            <a:endParaRPr lang="it-IT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069133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3" r:id="rId1"/>
    <p:sldLayoutId id="2147483684" r:id="rId2"/>
    <p:sldLayoutId id="2147483685" r:id="rId3"/>
    <p:sldLayoutId id="2147483686" r:id="rId4"/>
    <p:sldLayoutId id="2147483687" r:id="rId5"/>
    <p:sldLayoutId id="2147483688" r:id="rId6"/>
    <p:sldLayoutId id="2147483689" r:id="rId7"/>
    <p:sldLayoutId id="2147483690" r:id="rId8"/>
    <p:sldLayoutId id="2147483691" r:id="rId9"/>
    <p:sldLayoutId id="2147483692" r:id="rId10"/>
    <p:sldLayoutId id="2147483693" r:id="rId11"/>
    <p:sldLayoutId id="2147483694" r:id="rId12"/>
    <p:sldLayoutId id="2147483695" r:id="rId13"/>
    <p:sldLayoutId id="2147483696" r:id="rId14"/>
    <p:sldLayoutId id="2147483697" r:id="rId15"/>
    <p:sldLayoutId id="2147483698" r:id="rId16"/>
    <p:sldLayoutId id="2147483699" r:id="rId17"/>
    <p:sldLayoutId id="2147483700" r:id="rId18"/>
    <p:sldLayoutId id="2147483701" r:id="rId19"/>
    <p:sldLayoutId id="2147483702" r:id="rId20"/>
    <p:sldLayoutId id="2147483703" r:id="rId21"/>
    <p:sldLayoutId id="2147483704" r:id="rId22"/>
    <p:sldLayoutId id="2147483705" r:id="rId23"/>
    <p:sldLayoutId id="2147483706" r:id="rId24"/>
    <p:sldLayoutId id="2147483707" r:id="rId25"/>
    <p:sldLayoutId id="2147483708" r:id="rId26"/>
    <p:sldLayoutId id="2147483709" r:id="rId27"/>
    <p:sldLayoutId id="2147483710" r:id="rId28"/>
    <p:sldLayoutId id="2147483711" r:id="rId29"/>
    <p:sldLayoutId id="2147483712" r:id="rId30"/>
    <p:sldLayoutId id="2147483713" r:id="rId31"/>
    <p:sldLayoutId id="2147483714" r:id="rId32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200" b="1" kern="1200">
          <a:solidFill>
            <a:schemeClr val="bg1"/>
          </a:solidFill>
          <a:effectLst>
            <a:outerShdw blurRad="38100" dist="38100" dir="2700000" algn="tl">
              <a:srgbClr val="000000">
                <a:alpha val="43137"/>
              </a:srgbClr>
            </a:outerShdw>
          </a:effectLst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Clr>
          <a:schemeClr val="bg2">
            <a:lumMod val="75000"/>
          </a:schemeClr>
        </a:buClr>
        <a:buSzPct val="100000"/>
        <a:buFont typeface="Trebuchet MS" panose="020B0603020202020204" pitchFamily="34" charset="0"/>
        <a:buChar char="•"/>
        <a:defRPr sz="140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1pPr>
      <a:lvl2pPr marL="449263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40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2pPr>
      <a:lvl3pPr marL="714375" indent="-249238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Ø"/>
        <a:defRPr sz="140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3pPr>
      <a:lvl4pPr marL="985838" indent="-241300" algn="l" defTabSz="914400" rtl="0" eaLnBrk="1" latinLnBrk="0" hangingPunct="1">
        <a:lnSpc>
          <a:spcPct val="90000"/>
        </a:lnSpc>
        <a:spcBef>
          <a:spcPts val="500"/>
        </a:spcBef>
        <a:buFont typeface="Trebuchet MS" panose="020B0603020202020204" pitchFamily="34" charset="0"/>
        <a:buChar char="‐"/>
        <a:defRPr sz="140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4pPr>
      <a:lvl5pPr marL="1257300" indent="-228600" algn="l" defTabSz="914400" rtl="0" eaLnBrk="1" latinLnBrk="0" hangingPunct="1">
        <a:lnSpc>
          <a:spcPct val="90000"/>
        </a:lnSpc>
        <a:spcBef>
          <a:spcPts val="500"/>
        </a:spcBef>
        <a:buFont typeface="Trebuchet MS" panose="020B0603020202020204" pitchFamily="34" charset="0"/>
        <a:buChar char="∙"/>
        <a:defRPr sz="140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it-I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jpg"/><Relationship Id="rId1" Type="http://schemas.openxmlformats.org/officeDocument/2006/relationships/slideLayout" Target="../slideLayouts/slideLayout27.xml"/><Relationship Id="rId4" Type="http://schemas.openxmlformats.org/officeDocument/2006/relationships/image" Target="../media/image9.png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0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9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5" Type="http://schemas.openxmlformats.org/officeDocument/2006/relationships/image" Target="../media/image34.emf"/><Relationship Id="rId4" Type="http://schemas.openxmlformats.org/officeDocument/2006/relationships/oleObject" Target="../embeddings/oleObject2.bin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3.png"/><Relationship Id="rId13" Type="http://schemas.openxmlformats.org/officeDocument/2006/relationships/image" Target="../media/image48.png"/><Relationship Id="rId18" Type="http://schemas.openxmlformats.org/officeDocument/2006/relationships/image" Target="../media/image53.jpg"/><Relationship Id="rId3" Type="http://schemas.openxmlformats.org/officeDocument/2006/relationships/image" Target="../media/image38.png"/><Relationship Id="rId21" Type="http://schemas.openxmlformats.org/officeDocument/2006/relationships/image" Target="../media/image56.png"/><Relationship Id="rId7" Type="http://schemas.openxmlformats.org/officeDocument/2006/relationships/image" Target="../media/image42.png"/><Relationship Id="rId12" Type="http://schemas.openxmlformats.org/officeDocument/2006/relationships/image" Target="../media/image47.jpg"/><Relationship Id="rId17" Type="http://schemas.openxmlformats.org/officeDocument/2006/relationships/image" Target="../media/image52.jpg"/><Relationship Id="rId2" Type="http://schemas.openxmlformats.org/officeDocument/2006/relationships/image" Target="../media/image35.png"/><Relationship Id="rId16" Type="http://schemas.openxmlformats.org/officeDocument/2006/relationships/image" Target="../media/image51.png"/><Relationship Id="rId20" Type="http://schemas.openxmlformats.org/officeDocument/2006/relationships/image" Target="../media/image55.jp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1.jpg"/><Relationship Id="rId11" Type="http://schemas.openxmlformats.org/officeDocument/2006/relationships/image" Target="../media/image46.jpg"/><Relationship Id="rId5" Type="http://schemas.openxmlformats.org/officeDocument/2006/relationships/image" Target="../media/image40.jpg"/><Relationship Id="rId15" Type="http://schemas.openxmlformats.org/officeDocument/2006/relationships/image" Target="../media/image50.jpg"/><Relationship Id="rId10" Type="http://schemas.openxmlformats.org/officeDocument/2006/relationships/image" Target="../media/image45.png"/><Relationship Id="rId19" Type="http://schemas.openxmlformats.org/officeDocument/2006/relationships/image" Target="../media/image54.png"/><Relationship Id="rId4" Type="http://schemas.openxmlformats.org/officeDocument/2006/relationships/image" Target="../media/image39.png"/><Relationship Id="rId9" Type="http://schemas.openxmlformats.org/officeDocument/2006/relationships/image" Target="../media/image44.png"/><Relationship Id="rId14" Type="http://schemas.openxmlformats.org/officeDocument/2006/relationships/image" Target="../media/image49.jp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63.jpg"/><Relationship Id="rId13" Type="http://schemas.openxmlformats.org/officeDocument/2006/relationships/image" Target="../media/image68.jpg"/><Relationship Id="rId3" Type="http://schemas.openxmlformats.org/officeDocument/2006/relationships/image" Target="../media/image58.jpg"/><Relationship Id="rId7" Type="http://schemas.openxmlformats.org/officeDocument/2006/relationships/image" Target="../media/image62.jpg"/><Relationship Id="rId12" Type="http://schemas.openxmlformats.org/officeDocument/2006/relationships/image" Target="../media/image67.jpg"/><Relationship Id="rId17" Type="http://schemas.openxmlformats.org/officeDocument/2006/relationships/image" Target="../media/image72.jpg"/><Relationship Id="rId2" Type="http://schemas.openxmlformats.org/officeDocument/2006/relationships/image" Target="../media/image57.png"/><Relationship Id="rId16" Type="http://schemas.openxmlformats.org/officeDocument/2006/relationships/image" Target="../media/image71.jp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61.jpg"/><Relationship Id="rId11" Type="http://schemas.openxmlformats.org/officeDocument/2006/relationships/image" Target="../media/image66.jpg"/><Relationship Id="rId5" Type="http://schemas.openxmlformats.org/officeDocument/2006/relationships/image" Target="../media/image60.jpg"/><Relationship Id="rId15" Type="http://schemas.openxmlformats.org/officeDocument/2006/relationships/image" Target="../media/image70.jpg"/><Relationship Id="rId10" Type="http://schemas.openxmlformats.org/officeDocument/2006/relationships/image" Target="../media/image65.jpg"/><Relationship Id="rId4" Type="http://schemas.openxmlformats.org/officeDocument/2006/relationships/image" Target="../media/image59.jpg"/><Relationship Id="rId9" Type="http://schemas.openxmlformats.org/officeDocument/2006/relationships/image" Target="../media/image64.jpg"/><Relationship Id="rId14" Type="http://schemas.openxmlformats.org/officeDocument/2006/relationships/image" Target="../media/image69.jp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4.png"/><Relationship Id="rId2" Type="http://schemas.openxmlformats.org/officeDocument/2006/relationships/image" Target="../media/image73.png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76.png"/><Relationship Id="rId4" Type="http://schemas.openxmlformats.org/officeDocument/2006/relationships/image" Target="../media/image75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8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image" Target="../media/image12.png"/><Relationship Id="rId7" Type="http://schemas.openxmlformats.org/officeDocument/2006/relationships/image" Target="../media/image16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8.xml"/><Relationship Id="rId6" Type="http://schemas.openxmlformats.org/officeDocument/2006/relationships/image" Target="../media/image15.png"/><Relationship Id="rId5" Type="http://schemas.openxmlformats.org/officeDocument/2006/relationships/image" Target="../media/image14.png"/><Relationship Id="rId4" Type="http://schemas.openxmlformats.org/officeDocument/2006/relationships/image" Target="../media/image13.png"/><Relationship Id="rId9" Type="http://schemas.openxmlformats.org/officeDocument/2006/relationships/image" Target="../media/image18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8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png"/><Relationship Id="rId13" Type="http://schemas.microsoft.com/office/2014/relationships/chartEx" Target="../charts/chartEx1.xml"/><Relationship Id="rId18" Type="http://schemas.microsoft.com/office/2014/relationships/chartEx" Target="../charts/chartEx3.xml"/><Relationship Id="rId3" Type="http://schemas.openxmlformats.org/officeDocument/2006/relationships/image" Target="../media/image20.png"/><Relationship Id="rId7" Type="http://schemas.openxmlformats.org/officeDocument/2006/relationships/image" Target="../media/image24.png"/><Relationship Id="rId12" Type="http://schemas.openxmlformats.org/officeDocument/2006/relationships/image" Target="../media/image29.png"/><Relationship Id="rId17" Type="http://schemas.openxmlformats.org/officeDocument/2006/relationships/chart" Target="../charts/chart2.xml"/><Relationship Id="rId2" Type="http://schemas.openxmlformats.org/officeDocument/2006/relationships/image" Target="../media/image19.png"/><Relationship Id="rId16" Type="http://schemas.openxmlformats.org/officeDocument/2006/relationships/image" Target="../media/image36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3.png"/><Relationship Id="rId11" Type="http://schemas.openxmlformats.org/officeDocument/2006/relationships/image" Target="../media/image28.png"/><Relationship Id="rId5" Type="http://schemas.openxmlformats.org/officeDocument/2006/relationships/image" Target="../media/image22.png"/><Relationship Id="rId15" Type="http://schemas.microsoft.com/office/2014/relationships/chartEx" Target="../charts/chartEx2.xml"/><Relationship Id="rId10" Type="http://schemas.openxmlformats.org/officeDocument/2006/relationships/image" Target="../media/image27.png"/><Relationship Id="rId19" Type="http://schemas.openxmlformats.org/officeDocument/2006/relationships/image" Target="../media/image37.png"/><Relationship Id="rId4" Type="http://schemas.openxmlformats.org/officeDocument/2006/relationships/image" Target="../media/image21.png"/><Relationship Id="rId9" Type="http://schemas.openxmlformats.org/officeDocument/2006/relationships/image" Target="../media/image26.png"/><Relationship Id="rId14" Type="http://schemas.openxmlformats.org/officeDocument/2006/relationships/image" Target="../media/image350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33.png"/><Relationship Id="rId4" Type="http://schemas.openxmlformats.org/officeDocument/2006/relationships/image" Target="../media/image32.png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object 2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0" y="0"/>
            <a:ext cx="12191999" cy="2767583"/>
          </a:xfrm>
          <a:prstGeom prst="rect">
            <a:avLst/>
          </a:prstGeom>
        </p:spPr>
      </p:pic>
      <p:grpSp>
        <p:nvGrpSpPr>
          <p:cNvPr id="3" name="object 3"/>
          <p:cNvGrpSpPr/>
          <p:nvPr/>
        </p:nvGrpSpPr>
        <p:grpSpPr>
          <a:xfrm>
            <a:off x="0" y="5989320"/>
            <a:ext cx="12192000" cy="868680"/>
            <a:chOff x="0" y="5989320"/>
            <a:chExt cx="12192000" cy="868680"/>
          </a:xfrm>
        </p:grpSpPr>
        <p:sp>
          <p:nvSpPr>
            <p:cNvPr id="4" name="object 4"/>
            <p:cNvSpPr/>
            <p:nvPr/>
          </p:nvSpPr>
          <p:spPr>
            <a:xfrm>
              <a:off x="0" y="5989320"/>
              <a:ext cx="12192000" cy="868680"/>
            </a:xfrm>
            <a:custGeom>
              <a:avLst/>
              <a:gdLst/>
              <a:ahLst/>
              <a:cxnLst/>
              <a:rect l="l" t="t" r="r" b="b"/>
              <a:pathLst>
                <a:path w="12192000" h="868679">
                  <a:moveTo>
                    <a:pt x="12192000" y="0"/>
                  </a:moveTo>
                  <a:lnTo>
                    <a:pt x="0" y="0"/>
                  </a:lnTo>
                  <a:lnTo>
                    <a:pt x="0" y="868679"/>
                  </a:lnTo>
                  <a:lnTo>
                    <a:pt x="12192000" y="868679"/>
                  </a:lnTo>
                  <a:lnTo>
                    <a:pt x="12192000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5" name="object 5"/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10668000" y="6423660"/>
              <a:ext cx="1225295" cy="170687"/>
            </a:xfrm>
            <a:prstGeom prst="rect">
              <a:avLst/>
            </a:prstGeom>
          </p:spPr>
        </p:pic>
        <p:pic>
          <p:nvPicPr>
            <p:cNvPr id="6" name="object 6"/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266700" y="6423660"/>
              <a:ext cx="1135379" cy="167639"/>
            </a:xfrm>
            <a:prstGeom prst="rect">
              <a:avLst/>
            </a:prstGeom>
          </p:spPr>
        </p:pic>
      </p:grpSp>
      <p:sp>
        <p:nvSpPr>
          <p:cNvPr id="7" name="object 7"/>
          <p:cNvSpPr txBox="1"/>
          <p:nvPr/>
        </p:nvSpPr>
        <p:spPr>
          <a:xfrm>
            <a:off x="9365995" y="5652160"/>
            <a:ext cx="1899768" cy="228268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it-IT" sz="1400" spc="-65" dirty="0">
                <a:solidFill>
                  <a:srgbClr val="767070"/>
                </a:solidFill>
                <a:latin typeface="Trebuchet MS"/>
                <a:cs typeface="Trebuchet MS"/>
              </a:rPr>
              <a:t>Agrigento, 19 Luglio 2022</a:t>
            </a:r>
            <a:endParaRPr sz="1400" dirty="0">
              <a:latin typeface="Trebuchet MS"/>
              <a:cs typeface="Trebuchet MS"/>
            </a:endParaRPr>
          </a:p>
        </p:txBody>
      </p:sp>
      <p:sp>
        <p:nvSpPr>
          <p:cNvPr id="11" name="object 11"/>
          <p:cNvSpPr txBox="1"/>
          <p:nvPr/>
        </p:nvSpPr>
        <p:spPr>
          <a:xfrm>
            <a:off x="1127464" y="3653439"/>
            <a:ext cx="10765831" cy="627736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2000" b="1" i="0" u="none" strike="noStrike" kern="1200" cap="none" spc="-65" normalizeH="0" baseline="0" noProof="0" dirty="0">
                <a:ln>
                  <a:noFill/>
                </a:ln>
                <a:solidFill>
                  <a:srgbClr val="767070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Istituto per il Credito Sportivo </a:t>
            </a:r>
            <a:br>
              <a:rPr kumimoji="0" lang="it-IT" sz="2000" b="1" i="0" u="none" strike="noStrike" kern="1200" cap="none" spc="-65" normalizeH="0" baseline="0" noProof="0" dirty="0">
                <a:ln>
                  <a:noFill/>
                </a:ln>
                <a:solidFill>
                  <a:srgbClr val="767070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</a:br>
            <a:r>
              <a:rPr kumimoji="0" lang="it-IT" sz="2000" b="1" i="0" u="none" strike="noStrike" kern="1200" cap="none" spc="-65" normalizeH="0" baseline="0" noProof="0" dirty="0">
                <a:ln>
                  <a:noFill/>
                </a:ln>
                <a:solidFill>
                  <a:srgbClr val="767070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Banca </a:t>
            </a:r>
            <a:r>
              <a:rPr lang="it-IT" sz="2000" b="1" spc="-65" dirty="0">
                <a:solidFill>
                  <a:srgbClr val="767070"/>
                </a:solidFill>
                <a:latin typeface="Trebuchet MS"/>
              </a:rPr>
              <a:t>S</a:t>
            </a:r>
            <a:r>
              <a:rPr kumimoji="0" lang="it-IT" sz="2000" b="1" i="0" u="none" strike="noStrike" kern="1200" cap="none" spc="-65" normalizeH="0" baseline="0" noProof="0" dirty="0" err="1">
                <a:ln>
                  <a:noFill/>
                </a:ln>
                <a:solidFill>
                  <a:srgbClr val="767070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ociale</a:t>
            </a:r>
            <a:r>
              <a:rPr kumimoji="0" lang="it-IT" sz="2000" b="1" i="0" u="none" strike="noStrike" kern="1200" cap="none" spc="-65" normalizeH="0" baseline="0" noProof="0" dirty="0">
                <a:ln>
                  <a:noFill/>
                </a:ln>
                <a:solidFill>
                  <a:srgbClr val="767070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 per lo sviluppo sostenibile dello Sport e della  Cultura</a:t>
            </a:r>
          </a:p>
        </p:txBody>
      </p:sp>
      <p:sp>
        <p:nvSpPr>
          <p:cNvPr id="9" name="Segnaposto numero diapositiva 8">
            <a:extLst>
              <a:ext uri="{FF2B5EF4-FFF2-40B4-BE49-F238E27FC236}">
                <a16:creationId xmlns:a16="http://schemas.microsoft.com/office/drawing/2014/main" id="{648CCD43-E8BF-4385-90FD-0EA16F9487C8}"/>
              </a:ext>
            </a:extLst>
          </p:cNvPr>
          <p:cNvSpPr>
            <a:spLocks noGrp="1"/>
          </p:cNvSpPr>
          <p:nvPr>
            <p:ph type="sldNum" sz="quarter" idx="7"/>
          </p:nvPr>
        </p:nvSpPr>
        <p:spPr/>
        <p:txBody>
          <a:bodyPr/>
          <a:lstStyle/>
          <a:p>
            <a:pPr marL="116839">
              <a:lnSpc>
                <a:spcPct val="100000"/>
              </a:lnSpc>
              <a:spcBef>
                <a:spcPts val="385"/>
              </a:spcBef>
            </a:pPr>
            <a:fld id="{81D60167-4931-47E6-BA6A-407CBD079E47}" type="slidenum">
              <a:rPr lang="it-IT" smtClean="0"/>
              <a:t>1</a:t>
            </a:fld>
            <a:endParaRPr lang="it-IT"/>
          </a:p>
        </p:txBody>
      </p:sp>
      <p:sp>
        <p:nvSpPr>
          <p:cNvPr id="10" name="Segnaposto piè di pagina 9">
            <a:extLst>
              <a:ext uri="{FF2B5EF4-FFF2-40B4-BE49-F238E27FC236}">
                <a16:creationId xmlns:a16="http://schemas.microsoft.com/office/drawing/2014/main" id="{1F700043-1D36-4DE2-BC4E-FB2F78BDB200}"/>
              </a:ext>
            </a:extLst>
          </p:cNvPr>
          <p:cNvSpPr>
            <a:spLocks noGrp="1"/>
          </p:cNvSpPr>
          <p:nvPr>
            <p:ph type="ftr" sz="quarter" idx="5"/>
          </p:nvPr>
        </p:nvSpPr>
        <p:spPr/>
        <p:txBody>
          <a:bodyPr/>
          <a:lstStyle/>
          <a:p>
            <a:pPr marL="12700">
              <a:lnSpc>
                <a:spcPct val="100000"/>
              </a:lnSpc>
              <a:spcBef>
                <a:spcPts val="25"/>
              </a:spcBef>
            </a:pPr>
            <a:r>
              <a:rPr lang="it-IT" spc="-15"/>
              <a:t>Istituto per il Credito Sportivo Banca Sociale per lo Sport e la Cultura</a:t>
            </a:r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4EFE8837-632C-4C76-9AD4-40E683397E5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it-IT" dirty="0"/>
              <a:t>Mutuo Messa  a norma</a:t>
            </a:r>
          </a:p>
        </p:txBody>
      </p:sp>
      <p:sp>
        <p:nvSpPr>
          <p:cNvPr id="3" name="Segnaposto numero diapositiva 2">
            <a:extLst>
              <a:ext uri="{FF2B5EF4-FFF2-40B4-BE49-F238E27FC236}">
                <a16:creationId xmlns:a16="http://schemas.microsoft.com/office/drawing/2014/main" id="{324CE75F-B0B8-4C65-91F1-7AB81A7ACBC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501BE4A-6F75-0549-8D25-E25EBB4B1677}" type="slidenum">
              <a:rPr kumimoji="0" lang="it-IT" sz="12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it-IT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sp>
        <p:nvSpPr>
          <p:cNvPr id="5" name="Segnaposto testo 4">
            <a:extLst>
              <a:ext uri="{FF2B5EF4-FFF2-40B4-BE49-F238E27FC236}">
                <a16:creationId xmlns:a16="http://schemas.microsoft.com/office/drawing/2014/main" id="{0A09D587-B6E9-4CC5-AA63-6C00DD5A384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>
            <a:normAutofit/>
          </a:bodyPr>
          <a:lstStyle/>
          <a:p>
            <a:r>
              <a:rPr lang="it-IT" dirty="0"/>
              <a:t>Caratteristiche principali</a:t>
            </a:r>
          </a:p>
        </p:txBody>
      </p:sp>
      <p:sp>
        <p:nvSpPr>
          <p:cNvPr id="12" name="Segnaposto testo 4">
            <a:extLst>
              <a:ext uri="{FF2B5EF4-FFF2-40B4-BE49-F238E27FC236}">
                <a16:creationId xmlns:a16="http://schemas.microsoft.com/office/drawing/2014/main" id="{37221FB5-73BC-4384-A2BA-5CE902FF6B7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459683" y="2466363"/>
            <a:ext cx="9521505" cy="3724712"/>
          </a:xfrm>
        </p:spPr>
        <p:txBody>
          <a:bodyPr>
            <a:normAutofit/>
          </a:bodyPr>
          <a:lstStyle/>
          <a:p>
            <a:pPr marL="228600" marR="0" lvl="0" indent="-228600" algn="just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E7E6E6">
                  <a:lumMod val="75000"/>
                </a:srgbClr>
              </a:buClr>
              <a:buSzPct val="100000"/>
              <a:buFont typeface="Trebuchet MS" panose="020B0603020202020204" pitchFamily="34" charset="0"/>
              <a:buChar char="•"/>
              <a:tabLst/>
              <a:defRPr/>
            </a:pPr>
            <a:r>
              <a:rPr kumimoji="0" lang="it-IT" sz="1100" b="1" i="0" u="none" strike="noStrike" kern="1200" cap="none" spc="0" normalizeH="0" baseline="0" noProof="0" dirty="0">
                <a:ln>
                  <a:noFill/>
                </a:ln>
                <a:solidFill>
                  <a:srgbClr val="E7E6E6">
                    <a:lumMod val="50000"/>
                  </a:srgbClr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Beneficiari</a:t>
            </a:r>
            <a:r>
              <a:rPr kumimoji="0" lang="it-IT" sz="1050" b="1" i="0" u="none" strike="noStrike" kern="1200" cap="none" spc="0" normalizeH="0" baseline="0" noProof="0" dirty="0">
                <a:ln>
                  <a:noFill/>
                </a:ln>
                <a:solidFill>
                  <a:srgbClr val="E7E6E6">
                    <a:lumMod val="50000"/>
                  </a:srgbClr>
                </a:solidFill>
                <a:effectLst/>
                <a:uLnTx/>
                <a:uFillTx/>
                <a:latin typeface="CIDFont+F3"/>
                <a:ea typeface="+mn-ea"/>
                <a:cs typeface="+mn-cs"/>
              </a:rPr>
              <a:t>:</a:t>
            </a:r>
            <a:r>
              <a:rPr kumimoji="0" lang="it-IT" sz="1050" b="0" i="0" u="none" strike="noStrike" kern="1200" cap="none" spc="0" normalizeH="0" baseline="0" noProof="0" dirty="0">
                <a:ln>
                  <a:noFill/>
                </a:ln>
                <a:solidFill>
                  <a:srgbClr val="E7E6E6">
                    <a:lumMod val="50000"/>
                  </a:srgbClr>
                </a:solidFill>
                <a:effectLst/>
                <a:uLnTx/>
                <a:uFillTx/>
                <a:latin typeface="CIDFont+F3"/>
                <a:ea typeface="+mn-ea"/>
                <a:cs typeface="+mn-cs"/>
              </a:rPr>
              <a:t> </a:t>
            </a:r>
            <a:r>
              <a:rPr kumimoji="0" lang="it-IT" sz="1100" b="0" i="0" u="none" strike="noStrike" kern="1200" cap="none" spc="0" normalizeH="0" baseline="0" noProof="0" dirty="0">
                <a:ln>
                  <a:noFill/>
                </a:ln>
                <a:solidFill>
                  <a:srgbClr val="E7E6E6">
                    <a:lumMod val="50000"/>
                  </a:srgbClr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Soggetti di natura privatistica (escluse persone fisiche) ed Enti Pubblici diversi dagli Enti Locali </a:t>
            </a:r>
          </a:p>
          <a:p>
            <a:pPr marL="228600" marR="0" lvl="0" indent="-228600" algn="just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E7E6E6">
                  <a:lumMod val="75000"/>
                </a:srgbClr>
              </a:buClr>
              <a:buSzPct val="100000"/>
              <a:buFont typeface="Trebuchet MS" panose="020B0603020202020204" pitchFamily="34" charset="0"/>
              <a:buChar char="•"/>
              <a:tabLst/>
              <a:defRPr/>
            </a:pPr>
            <a:r>
              <a:rPr lang="it-IT" sz="1100" b="1" dirty="0">
                <a:solidFill>
                  <a:srgbClr val="E7E6E6">
                    <a:lumMod val="50000"/>
                  </a:srgbClr>
                </a:solidFill>
                <a:latin typeface="Trebuchet MS"/>
              </a:rPr>
              <a:t>Attività finanziata: </a:t>
            </a:r>
            <a:r>
              <a:rPr lang="it-IT" sz="1100" dirty="0">
                <a:solidFill>
                  <a:srgbClr val="E7E6E6">
                    <a:lumMod val="50000"/>
                  </a:srgbClr>
                </a:solidFill>
                <a:latin typeface="Trebuchet MS"/>
              </a:rPr>
              <a:t>Interventi di abbattimento delle barriere architettoniche, lavori che prevedono l’adeguamento di impianti sportivi già esistenti alle normative statali o di altro soggetto della Pubblica Amministrazione, nonché a norme CONI o di Federazioni Sportive Nazionali cogenti per la pratica sportiva o la disputa d’incontri agonistici. </a:t>
            </a:r>
          </a:p>
          <a:p>
            <a:pPr marL="228600" marR="0" lvl="0" indent="-228600" algn="just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E7E6E6">
                  <a:lumMod val="75000"/>
                </a:srgbClr>
              </a:buClr>
              <a:buSzPct val="100000"/>
              <a:buFont typeface="Trebuchet MS" panose="020B0603020202020204" pitchFamily="34" charset="0"/>
              <a:buChar char="•"/>
              <a:tabLst/>
              <a:defRPr/>
            </a:pPr>
            <a:r>
              <a:rPr lang="it-IT" sz="1100" b="1" dirty="0">
                <a:solidFill>
                  <a:srgbClr val="E7E6E6">
                    <a:lumMod val="50000"/>
                  </a:srgbClr>
                </a:solidFill>
                <a:latin typeface="Trebuchet MS"/>
              </a:rPr>
              <a:t>Forma tecnica:  </a:t>
            </a:r>
            <a:r>
              <a:rPr lang="it-IT" sz="1100" dirty="0">
                <a:solidFill>
                  <a:srgbClr val="E7E6E6">
                    <a:lumMod val="50000"/>
                  </a:srgbClr>
                </a:solidFill>
                <a:latin typeface="Trebuchet MS"/>
              </a:rPr>
              <a:t>Finanziamento a medio lungo termine, con piano di ammortamento alla francese, che può anche essere garantito da ipoteca e in questo caso si chiama “ipotecario” </a:t>
            </a:r>
          </a:p>
          <a:p>
            <a:pPr marL="228600" marR="0" lvl="0" indent="-228600" algn="just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E7E6E6">
                  <a:lumMod val="75000"/>
                </a:srgbClr>
              </a:buClr>
              <a:buSzPct val="100000"/>
              <a:buFont typeface="Trebuchet MS" panose="020B0603020202020204" pitchFamily="34" charset="0"/>
              <a:buChar char="•"/>
              <a:tabLst/>
              <a:defRPr/>
            </a:pPr>
            <a:r>
              <a:rPr lang="it-IT" sz="1100" b="1" dirty="0">
                <a:solidFill>
                  <a:srgbClr val="E7E6E6">
                    <a:lumMod val="50000"/>
                  </a:srgbClr>
                </a:solidFill>
                <a:latin typeface="Trebuchet MS"/>
              </a:rPr>
              <a:t>Durata</a:t>
            </a:r>
            <a:r>
              <a:rPr lang="it-IT" sz="1100" dirty="0">
                <a:solidFill>
                  <a:srgbClr val="E7E6E6">
                    <a:lumMod val="50000"/>
                  </a:srgbClr>
                </a:solidFill>
                <a:latin typeface="Trebuchet MS"/>
              </a:rPr>
              <a:t>: Di norma fino ad un massimo di 20 anni </a:t>
            </a:r>
          </a:p>
          <a:p>
            <a:pPr marL="228600" marR="0" lvl="0" indent="-228600" algn="just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E7E6E6">
                  <a:lumMod val="75000"/>
                </a:srgbClr>
              </a:buClr>
              <a:buSzPct val="100000"/>
              <a:buFont typeface="Trebuchet MS" panose="020B0603020202020204" pitchFamily="34" charset="0"/>
              <a:buChar char="•"/>
              <a:tabLst/>
              <a:defRPr/>
            </a:pPr>
            <a:r>
              <a:rPr lang="it-IT" sz="1100" b="1" dirty="0">
                <a:solidFill>
                  <a:srgbClr val="E7E6E6">
                    <a:lumMod val="50000"/>
                  </a:srgbClr>
                </a:solidFill>
                <a:latin typeface="Trebuchet MS"/>
              </a:rPr>
              <a:t>Tasso Fisso</a:t>
            </a:r>
            <a:r>
              <a:rPr lang="it-IT" sz="1100" dirty="0">
                <a:solidFill>
                  <a:srgbClr val="E7E6E6">
                    <a:lumMod val="50000"/>
                  </a:srgbClr>
                </a:solidFill>
                <a:latin typeface="Trebuchet MS"/>
              </a:rPr>
              <a:t>: IRS di durata pari a quella del mutuo + spread massimo 3,60% </a:t>
            </a:r>
            <a:br>
              <a:rPr lang="it-IT" sz="1100" dirty="0">
                <a:solidFill>
                  <a:srgbClr val="E7E6E6">
                    <a:lumMod val="50000"/>
                  </a:srgbClr>
                </a:solidFill>
                <a:latin typeface="Trebuchet MS"/>
              </a:rPr>
            </a:br>
            <a:r>
              <a:rPr lang="it-IT" sz="1100" dirty="0">
                <a:solidFill>
                  <a:srgbClr val="E7E6E6">
                    <a:lumMod val="50000"/>
                  </a:srgbClr>
                </a:solidFill>
                <a:latin typeface="Trebuchet MS"/>
              </a:rPr>
              <a:t>	</a:t>
            </a:r>
            <a:r>
              <a:rPr lang="it-IT" sz="1100" b="1" dirty="0">
                <a:solidFill>
                  <a:srgbClr val="E7E6E6">
                    <a:lumMod val="50000"/>
                  </a:srgbClr>
                </a:solidFill>
                <a:latin typeface="Trebuchet MS"/>
              </a:rPr>
              <a:t>Variabile</a:t>
            </a:r>
            <a:r>
              <a:rPr lang="it-IT" sz="1100" dirty="0">
                <a:solidFill>
                  <a:srgbClr val="E7E6E6">
                    <a:lumMod val="50000"/>
                  </a:srgbClr>
                </a:solidFill>
                <a:latin typeface="Trebuchet MS"/>
              </a:rPr>
              <a:t>: Euribor 6M 360 + spread massimo 3,40% </a:t>
            </a:r>
          </a:p>
          <a:p>
            <a:pPr marL="228600" marR="0" lvl="0" indent="-228600" algn="just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E7E6E6">
                  <a:lumMod val="75000"/>
                </a:srgbClr>
              </a:buClr>
              <a:buSzPct val="100000"/>
              <a:buFont typeface="Trebuchet MS" panose="020B0603020202020204" pitchFamily="34" charset="0"/>
              <a:buChar char="•"/>
              <a:tabLst/>
              <a:defRPr/>
            </a:pPr>
            <a:r>
              <a:rPr lang="it-IT" sz="1100" b="1" dirty="0">
                <a:solidFill>
                  <a:srgbClr val="E7E6E6">
                    <a:lumMod val="50000"/>
                  </a:srgbClr>
                </a:solidFill>
                <a:latin typeface="Trebuchet MS"/>
              </a:rPr>
              <a:t>Spese istruttoria</a:t>
            </a:r>
            <a:r>
              <a:rPr lang="it-IT" sz="1100" dirty="0">
                <a:solidFill>
                  <a:srgbClr val="E7E6E6">
                    <a:lumMod val="50000"/>
                  </a:srgbClr>
                </a:solidFill>
                <a:latin typeface="Trebuchet MS"/>
              </a:rPr>
              <a:t>: fino a € 100.000 € 500 oltre € 100.000 0,50% con un massimo di € 5.000 (*) In caso d’istruttorie di particolare complessità le commissioni saranno concordate con il cliente </a:t>
            </a:r>
          </a:p>
          <a:p>
            <a:pPr marL="228600" marR="0" lvl="0" indent="-228600" algn="just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E7E6E6">
                  <a:lumMod val="75000"/>
                </a:srgbClr>
              </a:buClr>
              <a:buSzPct val="100000"/>
              <a:buFont typeface="Trebuchet MS" panose="020B0603020202020204" pitchFamily="34" charset="0"/>
              <a:buChar char="•"/>
              <a:tabLst/>
              <a:defRPr/>
            </a:pPr>
            <a:r>
              <a:rPr lang="it-IT" sz="1100" b="1" dirty="0">
                <a:solidFill>
                  <a:srgbClr val="E7E6E6">
                    <a:lumMod val="50000"/>
                  </a:srgbClr>
                </a:solidFill>
                <a:latin typeface="Trebuchet MS"/>
              </a:rPr>
              <a:t>Garanzie:</a:t>
            </a:r>
            <a:r>
              <a:rPr lang="it-IT" sz="1100" dirty="0">
                <a:solidFill>
                  <a:srgbClr val="E7E6E6">
                    <a:lumMod val="50000"/>
                  </a:srgbClr>
                </a:solidFill>
                <a:latin typeface="Trebuchet MS"/>
              </a:rPr>
              <a:t> Garanzie reali o fideiussorie, Fondo di Garanzia per l’Impiantistica Sportiva ex lege 289/2002 </a:t>
            </a:r>
          </a:p>
          <a:p>
            <a:pPr marL="228600" marR="0" lvl="0" indent="-228600" algn="just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E7E6E6">
                  <a:lumMod val="75000"/>
                </a:srgbClr>
              </a:buClr>
              <a:buSzPct val="100000"/>
              <a:buFont typeface="Trebuchet MS" panose="020B0603020202020204" pitchFamily="34" charset="0"/>
              <a:buChar char="•"/>
              <a:tabLst/>
              <a:defRPr/>
            </a:pPr>
            <a:r>
              <a:rPr lang="it-IT" sz="1100" b="1" dirty="0">
                <a:solidFill>
                  <a:srgbClr val="E7E6E6">
                    <a:lumMod val="50000"/>
                  </a:srgbClr>
                </a:solidFill>
                <a:latin typeface="Trebuchet MS"/>
              </a:rPr>
              <a:t>Contributi</a:t>
            </a:r>
            <a:r>
              <a:rPr lang="it-IT" sz="1100" dirty="0">
                <a:solidFill>
                  <a:srgbClr val="E7E6E6">
                    <a:lumMod val="50000"/>
                  </a:srgbClr>
                </a:solidFill>
                <a:latin typeface="Trebuchet MS"/>
              </a:rPr>
              <a:t>:1,20% per mutui fino a 20 anni come da Piano Operativo del Fondo Contributi negli interessi.</a:t>
            </a:r>
          </a:p>
        </p:txBody>
      </p:sp>
      <p:sp>
        <p:nvSpPr>
          <p:cNvPr id="4" name="Segnaposto piè di pagina 3">
            <a:extLst>
              <a:ext uri="{FF2B5EF4-FFF2-40B4-BE49-F238E27FC236}">
                <a16:creationId xmlns:a16="http://schemas.microsoft.com/office/drawing/2014/main" id="{0075B8AE-164D-40EF-9628-25DFEC85D75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962400" y="6329978"/>
            <a:ext cx="4114800" cy="365125"/>
          </a:xfrm>
        </p:spPr>
        <p:txBody>
          <a:bodyPr/>
          <a:lstStyle/>
          <a:p>
            <a:r>
              <a:rPr lang="it-IT" dirty="0"/>
              <a:t>Istituto per il Credito Sportivo Banca Sociale per lo Sport e la Cultura</a:t>
            </a:r>
            <a:endParaRPr lang="it-IT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0938743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ggetto 3" hidden="1">
            <a:extLst>
              <a:ext uri="{FF2B5EF4-FFF2-40B4-BE49-F238E27FC236}">
                <a16:creationId xmlns:a16="http://schemas.microsoft.com/office/drawing/2014/main" id="{75742388-704A-4554-8D14-8A47EB25736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4" imgW="395" imgH="396" progId="TCLayout.ActiveDocument.1">
                  <p:embed/>
                </p:oleObj>
              </mc:Choice>
              <mc:Fallback>
                <p:oleObj name="Diapositiva think-cell" r:id="rId4" imgW="395" imgH="396" progId="TCLayout.ActiveDocument.1">
                  <p:embed/>
                  <p:pic>
                    <p:nvPicPr>
                      <p:cNvPr id="4" name="Oggetto 3" hidden="1">
                        <a:extLst>
                          <a:ext uri="{FF2B5EF4-FFF2-40B4-BE49-F238E27FC236}">
                            <a16:creationId xmlns:a16="http://schemas.microsoft.com/office/drawing/2014/main" id="{75742388-704A-4554-8D14-8A47EB25736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ttangolo 5" hidden="1">
            <a:extLst>
              <a:ext uri="{FF2B5EF4-FFF2-40B4-BE49-F238E27FC236}">
                <a16:creationId xmlns:a16="http://schemas.microsoft.com/office/drawing/2014/main" id="{9828E335-62C4-4D56-93AE-AF41A8B03339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22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" name="Titolo 1">
            <a:extLst>
              <a:ext uri="{FF2B5EF4-FFF2-40B4-BE49-F238E27FC236}">
                <a16:creationId xmlns:a16="http://schemas.microsoft.com/office/drawing/2014/main" id="{1BFAE09C-FC3D-4A49-AFBC-2462FCC1747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247498"/>
            <a:ext cx="10515600" cy="573498"/>
          </a:xfrm>
        </p:spPr>
        <p:txBody>
          <a:bodyPr>
            <a:normAutofit/>
          </a:bodyPr>
          <a:lstStyle/>
          <a:p>
            <a:r>
              <a:rPr lang="it-IT" dirty="0">
                <a:latin typeface="Trebuchet MS" panose="020B0603020202020204" pitchFamily="34" charset="0"/>
                <a:cs typeface="Arial" panose="020B0604020202020204" pitchFamily="34" charset="0"/>
              </a:rPr>
              <a:t>L’iniziativa a tasso 0 per parrocchie ed enti religiosi in ambito sport</a:t>
            </a:r>
          </a:p>
        </p:txBody>
      </p:sp>
      <p:sp>
        <p:nvSpPr>
          <p:cNvPr id="113" name="Segnaposto numero diapositiva 2">
            <a:extLst>
              <a:ext uri="{FF2B5EF4-FFF2-40B4-BE49-F238E27FC236}">
                <a16:creationId xmlns:a16="http://schemas.microsoft.com/office/drawing/2014/main" id="{B65BF605-D725-4A3F-BDE3-34DDFE0284D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581900" y="6360319"/>
            <a:ext cx="2743200" cy="365125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15</a:t>
            </a:r>
          </a:p>
        </p:txBody>
      </p:sp>
      <p:sp>
        <p:nvSpPr>
          <p:cNvPr id="60" name="Segnaposto testo 4">
            <a:extLst>
              <a:ext uri="{FF2B5EF4-FFF2-40B4-BE49-F238E27FC236}">
                <a16:creationId xmlns:a16="http://schemas.microsoft.com/office/drawing/2014/main" id="{BBE5D43C-317F-40E4-A3B3-5CA847F26A5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838200" y="1094677"/>
            <a:ext cx="10194926" cy="4531681"/>
          </a:xfrm>
        </p:spPr>
        <p:txBody>
          <a:bodyPr>
            <a:normAutofit/>
          </a:bodyPr>
          <a:lstStyle/>
          <a:p>
            <a:pPr algn="just"/>
            <a:r>
              <a:rPr lang="it-IT" sz="1400" dirty="0"/>
              <a:t>L’Istituto per il Credito Sportivo intende proporre alle Parrocchie, Diocesi, Enti e Istituti Religiosi la seguente iniziativa a </a:t>
            </a:r>
            <a:r>
              <a:rPr lang="it-IT" sz="1400"/>
              <a:t>tasso zero</a:t>
            </a:r>
            <a:endParaRPr lang="it-IT" sz="1400" dirty="0"/>
          </a:p>
        </p:txBody>
      </p:sp>
      <p:sp>
        <p:nvSpPr>
          <p:cNvPr id="64" name="Rettangolo 63">
            <a:extLst>
              <a:ext uri="{FF2B5EF4-FFF2-40B4-BE49-F238E27FC236}">
                <a16:creationId xmlns:a16="http://schemas.microsoft.com/office/drawing/2014/main" id="{3C83300B-5CC6-4E00-A33B-978CD697BA55}"/>
              </a:ext>
            </a:extLst>
          </p:cNvPr>
          <p:cNvSpPr/>
          <p:nvPr/>
        </p:nvSpPr>
        <p:spPr>
          <a:xfrm>
            <a:off x="838201" y="2609716"/>
            <a:ext cx="3760693" cy="662405"/>
          </a:xfrm>
          <a:prstGeom prst="rect">
            <a:avLst/>
          </a:prstGeom>
          <a:noFill/>
          <a:ln w="381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sp>
        <p:nvSpPr>
          <p:cNvPr id="67" name="Rettangolo 66">
            <a:extLst>
              <a:ext uri="{FF2B5EF4-FFF2-40B4-BE49-F238E27FC236}">
                <a16:creationId xmlns:a16="http://schemas.microsoft.com/office/drawing/2014/main" id="{8FB5CCC8-8E81-4F96-A0A6-69F512567320}"/>
              </a:ext>
            </a:extLst>
          </p:cNvPr>
          <p:cNvSpPr/>
          <p:nvPr/>
        </p:nvSpPr>
        <p:spPr>
          <a:xfrm>
            <a:off x="5598460" y="2609716"/>
            <a:ext cx="5755339" cy="662405"/>
          </a:xfrm>
          <a:prstGeom prst="rect">
            <a:avLst/>
          </a:prstGeom>
          <a:noFill/>
          <a:ln w="381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sp>
        <p:nvSpPr>
          <p:cNvPr id="74" name="Rettangolo 73">
            <a:extLst>
              <a:ext uri="{FF2B5EF4-FFF2-40B4-BE49-F238E27FC236}">
                <a16:creationId xmlns:a16="http://schemas.microsoft.com/office/drawing/2014/main" id="{A1718BA8-57A0-4A8A-8323-CA02EA2CEEB4}"/>
              </a:ext>
            </a:extLst>
          </p:cNvPr>
          <p:cNvSpPr/>
          <p:nvPr/>
        </p:nvSpPr>
        <p:spPr>
          <a:xfrm>
            <a:off x="838201" y="3432764"/>
            <a:ext cx="3760693" cy="662405"/>
          </a:xfrm>
          <a:prstGeom prst="rect">
            <a:avLst/>
          </a:prstGeom>
          <a:noFill/>
          <a:ln w="381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sp>
        <p:nvSpPr>
          <p:cNvPr id="79" name="Rettangolo 78">
            <a:extLst>
              <a:ext uri="{FF2B5EF4-FFF2-40B4-BE49-F238E27FC236}">
                <a16:creationId xmlns:a16="http://schemas.microsoft.com/office/drawing/2014/main" id="{511AF3C8-E6E3-420B-9D31-0F52B2E305CC}"/>
              </a:ext>
            </a:extLst>
          </p:cNvPr>
          <p:cNvSpPr/>
          <p:nvPr/>
        </p:nvSpPr>
        <p:spPr>
          <a:xfrm>
            <a:off x="5598460" y="3432764"/>
            <a:ext cx="5755339" cy="662405"/>
          </a:xfrm>
          <a:prstGeom prst="rect">
            <a:avLst/>
          </a:prstGeom>
          <a:noFill/>
          <a:ln w="381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sp>
        <p:nvSpPr>
          <p:cNvPr id="83" name="Rettangolo 82">
            <a:extLst>
              <a:ext uri="{FF2B5EF4-FFF2-40B4-BE49-F238E27FC236}">
                <a16:creationId xmlns:a16="http://schemas.microsoft.com/office/drawing/2014/main" id="{D0312513-EBCF-4829-9DF0-D92F6949B1B5}"/>
              </a:ext>
            </a:extLst>
          </p:cNvPr>
          <p:cNvSpPr/>
          <p:nvPr/>
        </p:nvSpPr>
        <p:spPr>
          <a:xfrm>
            <a:off x="838201" y="4255812"/>
            <a:ext cx="3760693" cy="662405"/>
          </a:xfrm>
          <a:prstGeom prst="rect">
            <a:avLst/>
          </a:prstGeom>
          <a:noFill/>
          <a:ln w="381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sp>
        <p:nvSpPr>
          <p:cNvPr id="84" name="Rettangolo 83">
            <a:extLst>
              <a:ext uri="{FF2B5EF4-FFF2-40B4-BE49-F238E27FC236}">
                <a16:creationId xmlns:a16="http://schemas.microsoft.com/office/drawing/2014/main" id="{CE75CAB0-E578-4FDA-85EF-13F1CEFE1EF1}"/>
              </a:ext>
            </a:extLst>
          </p:cNvPr>
          <p:cNvSpPr/>
          <p:nvPr/>
        </p:nvSpPr>
        <p:spPr>
          <a:xfrm>
            <a:off x="5598460" y="4255812"/>
            <a:ext cx="5755339" cy="662405"/>
          </a:xfrm>
          <a:prstGeom prst="rect">
            <a:avLst/>
          </a:prstGeom>
          <a:noFill/>
          <a:ln w="381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sp>
        <p:nvSpPr>
          <p:cNvPr id="8" name="Triangolo isoscele 7">
            <a:extLst>
              <a:ext uri="{FF2B5EF4-FFF2-40B4-BE49-F238E27FC236}">
                <a16:creationId xmlns:a16="http://schemas.microsoft.com/office/drawing/2014/main" id="{9A848BE5-2CB6-47AB-9B53-28299853FE9F}"/>
              </a:ext>
            </a:extLst>
          </p:cNvPr>
          <p:cNvSpPr/>
          <p:nvPr/>
        </p:nvSpPr>
        <p:spPr>
          <a:xfrm rot="5400000">
            <a:off x="4856629" y="2669245"/>
            <a:ext cx="519953" cy="461682"/>
          </a:xfrm>
          <a:prstGeom prst="triangle">
            <a:avLst/>
          </a:prstGeom>
          <a:noFill/>
          <a:ln w="190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sp>
        <p:nvSpPr>
          <p:cNvPr id="93" name="Triangolo isoscele 92">
            <a:extLst>
              <a:ext uri="{FF2B5EF4-FFF2-40B4-BE49-F238E27FC236}">
                <a16:creationId xmlns:a16="http://schemas.microsoft.com/office/drawing/2014/main" id="{A90AD0CC-E14F-4583-B005-FFCF5A36B5BA}"/>
              </a:ext>
            </a:extLst>
          </p:cNvPr>
          <p:cNvSpPr/>
          <p:nvPr/>
        </p:nvSpPr>
        <p:spPr>
          <a:xfrm rot="5400000">
            <a:off x="4856629" y="3500698"/>
            <a:ext cx="519953" cy="461682"/>
          </a:xfrm>
          <a:prstGeom prst="triangle">
            <a:avLst/>
          </a:prstGeom>
          <a:noFill/>
          <a:ln w="190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sp>
        <p:nvSpPr>
          <p:cNvPr id="97" name="Triangolo isoscele 96">
            <a:extLst>
              <a:ext uri="{FF2B5EF4-FFF2-40B4-BE49-F238E27FC236}">
                <a16:creationId xmlns:a16="http://schemas.microsoft.com/office/drawing/2014/main" id="{7F41DCB2-534B-4F58-BED0-E25E7A300FA6}"/>
              </a:ext>
            </a:extLst>
          </p:cNvPr>
          <p:cNvSpPr/>
          <p:nvPr/>
        </p:nvSpPr>
        <p:spPr>
          <a:xfrm rot="5400000">
            <a:off x="4856629" y="4332151"/>
            <a:ext cx="519953" cy="461682"/>
          </a:xfrm>
          <a:prstGeom prst="triangle">
            <a:avLst/>
          </a:prstGeom>
          <a:noFill/>
          <a:ln w="190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sp>
        <p:nvSpPr>
          <p:cNvPr id="99" name="Segnaposto testo 4">
            <a:extLst>
              <a:ext uri="{FF2B5EF4-FFF2-40B4-BE49-F238E27FC236}">
                <a16:creationId xmlns:a16="http://schemas.microsoft.com/office/drawing/2014/main" id="{171B2E77-B00F-4918-97F0-BA30F5BFA489}"/>
              </a:ext>
            </a:extLst>
          </p:cNvPr>
          <p:cNvSpPr txBox="1">
            <a:spLocks/>
          </p:cNvSpPr>
          <p:nvPr/>
        </p:nvSpPr>
        <p:spPr>
          <a:xfrm>
            <a:off x="838199" y="2747945"/>
            <a:ext cx="3760695" cy="39867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bg2">
                  <a:lumMod val="75000"/>
                </a:schemeClr>
              </a:buClr>
              <a:buSzPct val="100000"/>
              <a:buFont typeface="Trebuchet MS" panose="020B0603020202020204" pitchFamily="34" charset="0"/>
              <a:buNone/>
              <a:defRPr sz="1800" kern="1200">
                <a:solidFill>
                  <a:srgbClr val="5C707B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Trebuchet MS" panose="020B0603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Trebuchet MS" panose="020B0603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E7E6E6">
                  <a:lumMod val="75000"/>
                </a:srgbClr>
              </a:buClr>
              <a:buSzPct val="100000"/>
              <a:buFont typeface="Trebuchet MS" panose="020B0603020202020204" pitchFamily="34" charset="0"/>
              <a:buNone/>
              <a:tabLst/>
              <a:defRPr/>
            </a:pPr>
            <a:r>
              <a:rPr kumimoji="0" lang="it-IT" sz="2000" b="1" i="0" u="none" strike="noStrike" kern="1200" cap="none" spc="0" normalizeH="0" baseline="0" noProof="0" dirty="0">
                <a:ln>
                  <a:noFill/>
                </a:ln>
                <a:solidFill>
                  <a:srgbClr val="5C707B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IMPORTO MASSIMO</a:t>
            </a:r>
            <a:endParaRPr kumimoji="0" lang="it-IT" sz="2000" b="0" i="0" u="none" strike="noStrike" kern="1200" cap="none" spc="0" normalizeH="0" baseline="0" noProof="0" dirty="0">
              <a:ln>
                <a:noFill/>
              </a:ln>
              <a:solidFill>
                <a:srgbClr val="5C707B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E7E6E6">
                  <a:lumMod val="75000"/>
                </a:srgbClr>
              </a:buClr>
              <a:buSzPct val="100000"/>
              <a:buFont typeface="Trebuchet MS" panose="020B0603020202020204" pitchFamily="34" charset="0"/>
              <a:buNone/>
              <a:tabLst/>
              <a:defRPr/>
            </a:pPr>
            <a:endParaRPr kumimoji="0" lang="it-IT" sz="2000" b="0" i="0" u="none" strike="noStrike" kern="1200" cap="none" spc="0" normalizeH="0" baseline="0" noProof="0" dirty="0">
              <a:ln>
                <a:noFill/>
              </a:ln>
              <a:solidFill>
                <a:srgbClr val="5C707B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sp>
        <p:nvSpPr>
          <p:cNvPr id="100" name="Segnaposto testo 4">
            <a:extLst>
              <a:ext uri="{FF2B5EF4-FFF2-40B4-BE49-F238E27FC236}">
                <a16:creationId xmlns:a16="http://schemas.microsoft.com/office/drawing/2014/main" id="{EB7722D8-BFAF-4220-A59E-E0F0AEDE96E9}"/>
              </a:ext>
            </a:extLst>
          </p:cNvPr>
          <p:cNvSpPr txBox="1">
            <a:spLocks/>
          </p:cNvSpPr>
          <p:nvPr/>
        </p:nvSpPr>
        <p:spPr>
          <a:xfrm>
            <a:off x="838200" y="3596136"/>
            <a:ext cx="3796551" cy="39867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bg2">
                  <a:lumMod val="75000"/>
                </a:schemeClr>
              </a:buClr>
              <a:buSzPct val="100000"/>
              <a:buFont typeface="Trebuchet MS" panose="020B0603020202020204" pitchFamily="34" charset="0"/>
              <a:buNone/>
              <a:defRPr sz="1800" kern="1200">
                <a:solidFill>
                  <a:srgbClr val="5C707B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Trebuchet MS" panose="020B0603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Trebuchet MS" panose="020B0603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E7E6E6">
                  <a:lumMod val="75000"/>
                </a:srgbClr>
              </a:buClr>
              <a:buSzPct val="100000"/>
              <a:buFont typeface="Trebuchet MS" panose="020B0603020202020204" pitchFamily="34" charset="0"/>
              <a:buNone/>
              <a:tabLst/>
              <a:defRPr/>
            </a:pPr>
            <a:r>
              <a:rPr kumimoji="0" lang="it-IT" sz="2000" b="1" i="0" u="none" strike="noStrike" kern="1200" cap="none" spc="0" normalizeH="0" baseline="0" noProof="0" dirty="0">
                <a:ln>
                  <a:noFill/>
                </a:ln>
                <a:solidFill>
                  <a:srgbClr val="5C707B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CONTRIBUZIONE TOTALE</a:t>
            </a:r>
          </a:p>
        </p:txBody>
      </p:sp>
      <p:sp>
        <p:nvSpPr>
          <p:cNvPr id="101" name="Segnaposto testo 4">
            <a:extLst>
              <a:ext uri="{FF2B5EF4-FFF2-40B4-BE49-F238E27FC236}">
                <a16:creationId xmlns:a16="http://schemas.microsoft.com/office/drawing/2014/main" id="{5753FF4F-7006-49B6-A891-3FA6DF2008AB}"/>
              </a:ext>
            </a:extLst>
          </p:cNvPr>
          <p:cNvSpPr txBox="1">
            <a:spLocks/>
          </p:cNvSpPr>
          <p:nvPr/>
        </p:nvSpPr>
        <p:spPr>
          <a:xfrm>
            <a:off x="838200" y="4387678"/>
            <a:ext cx="3760692" cy="39867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bg2">
                  <a:lumMod val="75000"/>
                </a:schemeClr>
              </a:buClr>
              <a:buSzPct val="100000"/>
              <a:buFont typeface="Trebuchet MS" panose="020B0603020202020204" pitchFamily="34" charset="0"/>
              <a:buNone/>
              <a:defRPr sz="1800" kern="1200">
                <a:solidFill>
                  <a:srgbClr val="5C707B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Trebuchet MS" panose="020B0603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Trebuchet MS" panose="020B0603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E7E6E6">
                  <a:lumMod val="75000"/>
                </a:srgbClr>
              </a:buClr>
              <a:buSzPct val="100000"/>
              <a:buFont typeface="Trebuchet MS" panose="020B0603020202020204" pitchFamily="34" charset="0"/>
              <a:buNone/>
              <a:tabLst/>
              <a:defRPr/>
            </a:pPr>
            <a:r>
              <a:rPr kumimoji="0" lang="it-IT" sz="2000" b="1" i="0" u="none" strike="noStrike" kern="1200" cap="none" spc="0" normalizeH="0" baseline="0" noProof="0" dirty="0">
                <a:ln>
                  <a:noFill/>
                </a:ln>
                <a:solidFill>
                  <a:srgbClr val="5C707B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GARANZIE</a:t>
            </a:r>
            <a:endParaRPr kumimoji="0" lang="it-IT" sz="2000" b="0" i="0" u="none" strike="noStrike" kern="1200" cap="none" spc="0" normalizeH="0" baseline="0" noProof="0" dirty="0">
              <a:ln>
                <a:noFill/>
              </a:ln>
              <a:solidFill>
                <a:srgbClr val="5C707B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sp>
        <p:nvSpPr>
          <p:cNvPr id="103" name="Segnaposto testo 4">
            <a:extLst>
              <a:ext uri="{FF2B5EF4-FFF2-40B4-BE49-F238E27FC236}">
                <a16:creationId xmlns:a16="http://schemas.microsoft.com/office/drawing/2014/main" id="{3944CF25-F83B-4ED7-802D-86CE4F142764}"/>
              </a:ext>
            </a:extLst>
          </p:cNvPr>
          <p:cNvSpPr txBox="1">
            <a:spLocks/>
          </p:cNvSpPr>
          <p:nvPr/>
        </p:nvSpPr>
        <p:spPr>
          <a:xfrm>
            <a:off x="5634317" y="2747945"/>
            <a:ext cx="5719482" cy="302441"/>
          </a:xfrm>
          <a:prstGeom prst="rect">
            <a:avLst/>
          </a:prstGeom>
        </p:spPr>
        <p:txBody>
          <a:bodyPr vert="horz" lIns="91440" tIns="45720" rIns="91440" bIns="45720" rtlCol="0">
            <a:normAutofit lnSpcReduction="10000"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bg2">
                  <a:lumMod val="75000"/>
                </a:schemeClr>
              </a:buClr>
              <a:buSzPct val="100000"/>
              <a:buFont typeface="Trebuchet MS" panose="020B0603020202020204" pitchFamily="34" charset="0"/>
              <a:buNone/>
              <a:defRPr sz="1800" kern="1200">
                <a:solidFill>
                  <a:srgbClr val="5C707B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Trebuchet MS" panose="020B0603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Trebuchet MS" panose="020B0603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E7E6E6">
                  <a:lumMod val="75000"/>
                </a:srgbClr>
              </a:buClr>
              <a:buSzPct val="100000"/>
              <a:buFont typeface="Trebuchet MS" panose="020B0603020202020204" pitchFamily="34" charset="0"/>
              <a:buNone/>
              <a:tabLst/>
              <a:defRPr/>
            </a:pPr>
            <a:r>
              <a:rPr kumimoji="0" lang="it-IT" sz="1600" b="0" i="0" u="none" strike="noStrike" kern="1200" cap="none" spc="0" normalizeH="0" baseline="0" noProof="0">
                <a:ln>
                  <a:noFill/>
                </a:ln>
                <a:solidFill>
                  <a:srgbClr val="5C707B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500.000,00 </a:t>
            </a:r>
            <a:r>
              <a:rPr kumimoji="0" lang="it-IT" sz="1600" b="0" i="0" u="none" strike="noStrike" kern="1200" cap="none" spc="0" normalizeH="0" baseline="0" noProof="0" dirty="0">
                <a:ln>
                  <a:noFill/>
                </a:ln>
                <a:solidFill>
                  <a:srgbClr val="5C707B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€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E7E6E6">
                  <a:lumMod val="75000"/>
                </a:srgbClr>
              </a:buClr>
              <a:buSzPct val="100000"/>
              <a:buFont typeface="Trebuchet MS" panose="020B0603020202020204" pitchFamily="34" charset="0"/>
              <a:buNone/>
              <a:tabLst/>
              <a:defRPr/>
            </a:pPr>
            <a:endParaRPr kumimoji="0" lang="it-IT" sz="1600" b="0" i="0" u="none" strike="noStrike" kern="1200" cap="none" spc="0" normalizeH="0" baseline="0" noProof="0" dirty="0">
              <a:ln>
                <a:noFill/>
              </a:ln>
              <a:solidFill>
                <a:srgbClr val="5C707B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sp>
        <p:nvSpPr>
          <p:cNvPr id="104" name="Segnaposto testo 4">
            <a:extLst>
              <a:ext uri="{FF2B5EF4-FFF2-40B4-BE49-F238E27FC236}">
                <a16:creationId xmlns:a16="http://schemas.microsoft.com/office/drawing/2014/main" id="{CD9BF50C-D0E3-4AAF-8B4D-C229A49EEBB4}"/>
              </a:ext>
            </a:extLst>
          </p:cNvPr>
          <p:cNvSpPr txBox="1">
            <a:spLocks/>
          </p:cNvSpPr>
          <p:nvPr/>
        </p:nvSpPr>
        <p:spPr>
          <a:xfrm>
            <a:off x="5634318" y="3596136"/>
            <a:ext cx="5719475" cy="39867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bg2">
                  <a:lumMod val="75000"/>
                </a:schemeClr>
              </a:buClr>
              <a:buSzPct val="100000"/>
              <a:buFont typeface="Trebuchet MS" panose="020B0603020202020204" pitchFamily="34" charset="0"/>
              <a:buNone/>
              <a:defRPr sz="1800" kern="1200">
                <a:solidFill>
                  <a:srgbClr val="5C707B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Trebuchet MS" panose="020B0603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Trebuchet MS" panose="020B0603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E7E6E6">
                  <a:lumMod val="75000"/>
                </a:srgbClr>
              </a:buClr>
              <a:buSzPct val="100000"/>
              <a:buFont typeface="Trebuchet MS" panose="020B0603020202020204" pitchFamily="34" charset="0"/>
              <a:buNone/>
              <a:tabLst/>
              <a:defRPr/>
            </a:pPr>
            <a:r>
              <a:rPr kumimoji="0" lang="it-IT" sz="1600" b="0" i="0" u="none" strike="noStrike" kern="1200" cap="none" spc="0" normalizeH="0" baseline="0" noProof="0" dirty="0">
                <a:ln>
                  <a:noFill/>
                </a:ln>
                <a:solidFill>
                  <a:srgbClr val="5C707B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Totale abbattimento degli interessi su mutui fino a 15 anni</a:t>
            </a:r>
            <a:endParaRPr kumimoji="0" lang="it-IT" sz="1600" b="1" i="0" u="none" strike="noStrike" kern="1200" cap="none" spc="0" normalizeH="0" baseline="0" noProof="0" dirty="0">
              <a:ln>
                <a:noFill/>
              </a:ln>
              <a:solidFill>
                <a:srgbClr val="5C707B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sp>
        <p:nvSpPr>
          <p:cNvPr id="105" name="Segnaposto testo 4">
            <a:extLst>
              <a:ext uri="{FF2B5EF4-FFF2-40B4-BE49-F238E27FC236}">
                <a16:creationId xmlns:a16="http://schemas.microsoft.com/office/drawing/2014/main" id="{270B57DE-1254-46FC-94F6-0C6E736B0E8E}"/>
              </a:ext>
            </a:extLst>
          </p:cNvPr>
          <p:cNvSpPr txBox="1">
            <a:spLocks/>
          </p:cNvSpPr>
          <p:nvPr/>
        </p:nvSpPr>
        <p:spPr>
          <a:xfrm>
            <a:off x="5634317" y="4226308"/>
            <a:ext cx="5719477" cy="92839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bg2">
                  <a:lumMod val="75000"/>
                </a:schemeClr>
              </a:buClr>
              <a:buSzPct val="100000"/>
              <a:buFont typeface="Trebuchet MS" panose="020B0603020202020204" pitchFamily="34" charset="0"/>
              <a:buNone/>
              <a:defRPr sz="1800" kern="1200">
                <a:solidFill>
                  <a:srgbClr val="5C707B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Trebuchet MS" panose="020B0603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Trebuchet MS" panose="020B0603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E7E6E6">
                  <a:lumMod val="75000"/>
                </a:srgbClr>
              </a:buClr>
              <a:buSzPct val="100000"/>
              <a:buFont typeface="Trebuchet MS" panose="020B0603020202020204" pitchFamily="34" charset="0"/>
              <a:buNone/>
              <a:tabLst/>
              <a:defRPr/>
            </a:pPr>
            <a:r>
              <a:rPr kumimoji="0" lang="it-IT" sz="1600" b="1" i="1" u="none" strike="noStrike" kern="1200" cap="none" spc="0" normalizeH="0" baseline="0" noProof="0" dirty="0">
                <a:ln>
                  <a:noFill/>
                </a:ln>
                <a:solidFill>
                  <a:srgbClr val="5C707B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Per le sole parrocchie, </a:t>
            </a:r>
            <a:r>
              <a:rPr kumimoji="0" lang="it-IT" sz="1600" b="0" i="1" u="none" strike="noStrike" kern="1200" cap="none" spc="0" normalizeH="0" baseline="0" noProof="0" dirty="0">
                <a:ln>
                  <a:noFill/>
                </a:ln>
                <a:solidFill>
                  <a:srgbClr val="5C707B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sui mutui </a:t>
            </a:r>
            <a:r>
              <a:rPr kumimoji="0" lang="it-IT" sz="1600" b="0" i="0" u="none" strike="noStrike" kern="1200" cap="none" spc="0" normalizeH="0" baseline="0" noProof="0" dirty="0">
                <a:ln>
                  <a:noFill/>
                </a:ln>
                <a:solidFill>
                  <a:srgbClr val="5C707B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fino a 250.000 € e durata 15 anni è prevista la sola garanzia del Fondo di Garanzia per l’impiantistica sportiva ex lege 289/2002 gestito da ICS</a:t>
            </a:r>
          </a:p>
        </p:txBody>
      </p:sp>
      <p:sp>
        <p:nvSpPr>
          <p:cNvPr id="109" name="Rettangolo 108">
            <a:extLst>
              <a:ext uri="{FF2B5EF4-FFF2-40B4-BE49-F238E27FC236}">
                <a16:creationId xmlns:a16="http://schemas.microsoft.com/office/drawing/2014/main" id="{A5858653-F295-4184-BC29-A7C23340EAEE}"/>
              </a:ext>
            </a:extLst>
          </p:cNvPr>
          <p:cNvSpPr/>
          <p:nvPr/>
        </p:nvSpPr>
        <p:spPr>
          <a:xfrm>
            <a:off x="838201" y="1776925"/>
            <a:ext cx="3760693" cy="662405"/>
          </a:xfrm>
          <a:prstGeom prst="rect">
            <a:avLst/>
          </a:prstGeom>
          <a:noFill/>
          <a:ln w="381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sp>
        <p:nvSpPr>
          <p:cNvPr id="110" name="Rettangolo 109">
            <a:extLst>
              <a:ext uri="{FF2B5EF4-FFF2-40B4-BE49-F238E27FC236}">
                <a16:creationId xmlns:a16="http://schemas.microsoft.com/office/drawing/2014/main" id="{C9BD0D0D-252E-445D-B01D-2BBDBA830AF7}"/>
              </a:ext>
            </a:extLst>
          </p:cNvPr>
          <p:cNvSpPr/>
          <p:nvPr/>
        </p:nvSpPr>
        <p:spPr>
          <a:xfrm>
            <a:off x="5598460" y="1776925"/>
            <a:ext cx="5755339" cy="662405"/>
          </a:xfrm>
          <a:prstGeom prst="rect">
            <a:avLst/>
          </a:prstGeom>
          <a:noFill/>
          <a:ln w="381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sp>
        <p:nvSpPr>
          <p:cNvPr id="111" name="Triangolo isoscele 110">
            <a:extLst>
              <a:ext uri="{FF2B5EF4-FFF2-40B4-BE49-F238E27FC236}">
                <a16:creationId xmlns:a16="http://schemas.microsoft.com/office/drawing/2014/main" id="{11A6E7FF-BADD-407A-9948-A1EF61A23FC4}"/>
              </a:ext>
            </a:extLst>
          </p:cNvPr>
          <p:cNvSpPr/>
          <p:nvPr/>
        </p:nvSpPr>
        <p:spPr>
          <a:xfrm rot="5400000">
            <a:off x="4856629" y="1836454"/>
            <a:ext cx="519953" cy="461682"/>
          </a:xfrm>
          <a:prstGeom prst="triangle">
            <a:avLst/>
          </a:prstGeom>
          <a:noFill/>
          <a:ln w="190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sp>
        <p:nvSpPr>
          <p:cNvPr id="112" name="Segnaposto testo 4">
            <a:extLst>
              <a:ext uri="{FF2B5EF4-FFF2-40B4-BE49-F238E27FC236}">
                <a16:creationId xmlns:a16="http://schemas.microsoft.com/office/drawing/2014/main" id="{4123EC69-6201-48EA-8CAA-3A873F267D05}"/>
              </a:ext>
            </a:extLst>
          </p:cNvPr>
          <p:cNvSpPr txBox="1">
            <a:spLocks/>
          </p:cNvSpPr>
          <p:nvPr/>
        </p:nvSpPr>
        <p:spPr>
          <a:xfrm>
            <a:off x="838199" y="1915154"/>
            <a:ext cx="3760695" cy="39867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bg2">
                  <a:lumMod val="75000"/>
                </a:schemeClr>
              </a:buClr>
              <a:buSzPct val="100000"/>
              <a:buFont typeface="Trebuchet MS" panose="020B0603020202020204" pitchFamily="34" charset="0"/>
              <a:buNone/>
              <a:defRPr sz="1800" kern="1200">
                <a:solidFill>
                  <a:srgbClr val="5C707B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Trebuchet MS" panose="020B0603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Trebuchet MS" panose="020B0603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E7E6E6">
                  <a:lumMod val="75000"/>
                </a:srgbClr>
              </a:buClr>
              <a:buSzPct val="100000"/>
              <a:buFont typeface="Trebuchet MS" panose="020B0603020202020204" pitchFamily="34" charset="0"/>
              <a:buNone/>
              <a:tabLst/>
              <a:defRPr/>
            </a:pPr>
            <a:r>
              <a:rPr kumimoji="0" lang="it-IT" sz="2000" b="1" i="0" u="none" strike="noStrike" kern="1200" cap="none" spc="0" normalizeH="0" baseline="0" noProof="0" dirty="0">
                <a:ln>
                  <a:noFill/>
                </a:ln>
                <a:solidFill>
                  <a:srgbClr val="5C707B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FINALITA’</a:t>
            </a:r>
            <a:endParaRPr kumimoji="0" lang="it-IT" sz="2000" b="0" i="0" u="none" strike="noStrike" kern="1200" cap="none" spc="0" normalizeH="0" baseline="0" noProof="0" dirty="0">
              <a:ln>
                <a:noFill/>
              </a:ln>
              <a:solidFill>
                <a:srgbClr val="5C707B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E7E6E6">
                  <a:lumMod val="75000"/>
                </a:srgbClr>
              </a:buClr>
              <a:buSzPct val="100000"/>
              <a:buFont typeface="Trebuchet MS" panose="020B0603020202020204" pitchFamily="34" charset="0"/>
              <a:buNone/>
              <a:tabLst/>
              <a:defRPr/>
            </a:pPr>
            <a:endParaRPr kumimoji="0" lang="it-IT" sz="2000" b="0" i="0" u="none" strike="noStrike" kern="1200" cap="none" spc="0" normalizeH="0" baseline="0" noProof="0" dirty="0">
              <a:ln>
                <a:noFill/>
              </a:ln>
              <a:solidFill>
                <a:srgbClr val="5C707B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sp>
        <p:nvSpPr>
          <p:cNvPr id="114" name="Segnaposto testo 4">
            <a:extLst>
              <a:ext uri="{FF2B5EF4-FFF2-40B4-BE49-F238E27FC236}">
                <a16:creationId xmlns:a16="http://schemas.microsoft.com/office/drawing/2014/main" id="{7870AF01-9C93-4A63-9CE4-99125EC605FC}"/>
              </a:ext>
            </a:extLst>
          </p:cNvPr>
          <p:cNvSpPr txBox="1">
            <a:spLocks/>
          </p:cNvSpPr>
          <p:nvPr/>
        </p:nvSpPr>
        <p:spPr>
          <a:xfrm>
            <a:off x="5616253" y="1736355"/>
            <a:ext cx="5719482" cy="39867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bg2">
                  <a:lumMod val="75000"/>
                </a:schemeClr>
              </a:buClr>
              <a:buSzPct val="100000"/>
              <a:buFont typeface="Trebuchet MS" panose="020B0603020202020204" pitchFamily="34" charset="0"/>
              <a:buNone/>
              <a:defRPr sz="1800" kern="1200">
                <a:solidFill>
                  <a:srgbClr val="5C707B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Trebuchet MS" panose="020B0603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Trebuchet MS" panose="020B0603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E7E6E6">
                  <a:lumMod val="75000"/>
                </a:srgbClr>
              </a:buClr>
              <a:buSzPct val="100000"/>
              <a:buFont typeface="Trebuchet MS" panose="020B0603020202020204" pitchFamily="34" charset="0"/>
              <a:buNone/>
              <a:tabLst/>
              <a:defRPr/>
            </a:pPr>
            <a:r>
              <a:rPr kumimoji="0" lang="it-IT" sz="1600" b="0" i="0" u="none" strike="noStrike" kern="1200" cap="none" spc="0" normalizeH="0" baseline="0" noProof="0" dirty="0">
                <a:ln>
                  <a:noFill/>
                </a:ln>
                <a:solidFill>
                  <a:srgbClr val="5C707B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Interventi relativi a impianti sportivi aperti al pubblico, accompagnati da un progetto educativo finalizzato a favorire l’ inclusione sociale </a:t>
            </a:r>
          </a:p>
        </p:txBody>
      </p:sp>
      <p:sp>
        <p:nvSpPr>
          <p:cNvPr id="3" name="Segnaposto piè di pagina 2">
            <a:extLst>
              <a:ext uri="{FF2B5EF4-FFF2-40B4-BE49-F238E27FC236}">
                <a16:creationId xmlns:a16="http://schemas.microsoft.com/office/drawing/2014/main" id="{E94C3B95-73D3-4D09-9419-D7491B8AC66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267200" y="6177756"/>
            <a:ext cx="4114800" cy="365125"/>
          </a:xfrm>
        </p:spPr>
        <p:txBody>
          <a:bodyPr/>
          <a:lstStyle/>
          <a:p>
            <a:r>
              <a:rPr lang="it-IT" dirty="0"/>
              <a:t>Istituto per il Credito Sportivo Banca Sociale per lo Sport e la Cultura</a:t>
            </a:r>
            <a:endParaRPr lang="it-IT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0532901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2A27C30F-0A08-4B08-B123-AB080FEEF76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/>
              <a:t>Superbonus</a:t>
            </a:r>
          </a:p>
        </p:txBody>
      </p:sp>
      <p:sp>
        <p:nvSpPr>
          <p:cNvPr id="3" name="Segnaposto numero diapositiva 2">
            <a:extLst>
              <a:ext uri="{FF2B5EF4-FFF2-40B4-BE49-F238E27FC236}">
                <a16:creationId xmlns:a16="http://schemas.microsoft.com/office/drawing/2014/main" id="{FE3C6826-5CB7-4C0F-9DB2-CD0C8BF1A53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501BE4A-6F75-0549-8D25-E25EBB4B1677}" type="slidenum">
              <a:rPr kumimoji="0" lang="it-IT" sz="12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it-IT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sp>
        <p:nvSpPr>
          <p:cNvPr id="8" name="Rettangolo con angoli arrotondati 7">
            <a:extLst>
              <a:ext uri="{FF2B5EF4-FFF2-40B4-BE49-F238E27FC236}">
                <a16:creationId xmlns:a16="http://schemas.microsoft.com/office/drawing/2014/main" id="{D01B4413-C46C-4885-8C2A-02D9A4ECD2B0}"/>
              </a:ext>
            </a:extLst>
          </p:cNvPr>
          <p:cNvSpPr/>
          <p:nvPr/>
        </p:nvSpPr>
        <p:spPr>
          <a:xfrm>
            <a:off x="838200" y="869576"/>
            <a:ext cx="5159188" cy="4912660"/>
          </a:xfrm>
          <a:prstGeom prst="roundRect">
            <a:avLst/>
          </a:prstGeom>
          <a:solidFill>
            <a:schemeClr val="tx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Il Superbonus 110% è un’importante agevolazione fiscale prevista dal Decreto Rilancio che eleva al 110% la detrazione fiscale relativa alle spese sostenute dal 1° luglio 2020 al 30 giugno 2022 per specifici interventi in ambito di efficienza energetica, interventi antisismici, installazione di impianti fotovoltaici, infrastrutture per la ricarica di veicoli elettrici e altre spese per attività tecniche come ad esempio le asseverazioni, i visti di conformità e gli oneri progettuali. In particolare, Il comma 9, lett. e), dell’art. 119 del D.L. n. 34/2020, nel testo della Legge di conversione n. 77/2020, prevede che possono beneficiare del bonus del 110% anche le Associazioni e le Società Sportive Dilettantistiche, iscritte nel Registro CONI, limitatamente ai lavori sui soli immobili o parti di immobili adibiti a spogliatoi, nonché Le Onlus e le </a:t>
            </a:r>
            <a:r>
              <a:rPr kumimoji="0" lang="it-IT" sz="12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Aps</a:t>
            </a:r>
            <a:r>
              <a:rPr kumimoji="0" lang="it-IT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, operanti nel mondo della cultura,  per gli immobili destinati a sedi sociale a prescindere dalla categoria catastale e dalla destinazione d’uso urbanistica dello stesso, rispettando comunque le altre indicazioni richieste dalla legge.</a:t>
            </a:r>
          </a:p>
        </p:txBody>
      </p:sp>
      <p:sp>
        <p:nvSpPr>
          <p:cNvPr id="11" name="Rettangolo con angoli arrotondati 10">
            <a:extLst>
              <a:ext uri="{FF2B5EF4-FFF2-40B4-BE49-F238E27FC236}">
                <a16:creationId xmlns:a16="http://schemas.microsoft.com/office/drawing/2014/main" id="{A032CCDA-7BE8-4C64-9768-852DE34042BF}"/>
              </a:ext>
            </a:extLst>
          </p:cNvPr>
          <p:cNvSpPr/>
          <p:nvPr/>
        </p:nvSpPr>
        <p:spPr>
          <a:xfrm>
            <a:off x="6835589" y="2312894"/>
            <a:ext cx="4518211" cy="1891553"/>
          </a:xfrm>
          <a:prstGeom prst="roundRect">
            <a:avLst/>
          </a:prstGeom>
          <a:solidFill>
            <a:schemeClr val="accent2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Il prezzo cui ICS acquisterà tali crediti è di 102€ ogni 110€ di credito lordo ceduto (92,7% del valore nominale del credito d’imposta maturato). </a:t>
            </a: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Non sono previste ulteriori spese a carico del cedente.</a:t>
            </a:r>
          </a:p>
        </p:txBody>
      </p:sp>
      <p:sp>
        <p:nvSpPr>
          <p:cNvPr id="4" name="Segnaposto piè di pagina 3">
            <a:extLst>
              <a:ext uri="{FF2B5EF4-FFF2-40B4-BE49-F238E27FC236}">
                <a16:creationId xmlns:a16="http://schemas.microsoft.com/office/drawing/2014/main" id="{D73188A3-67BE-4440-B9E7-A5405CE9EC4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939988" y="6222651"/>
            <a:ext cx="4114800" cy="365125"/>
          </a:xfrm>
        </p:spPr>
        <p:txBody>
          <a:bodyPr/>
          <a:lstStyle/>
          <a:p>
            <a:r>
              <a:rPr lang="it-IT" dirty="0"/>
              <a:t>Istituto per il Credito Sportivo Banca Sociale per lo Sport e la Cultura</a:t>
            </a:r>
            <a:endParaRPr lang="it-IT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8412956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CC5F637C-86A5-4BAA-B756-D54B454C25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246888"/>
            <a:ext cx="10515600" cy="338554"/>
          </a:xfrm>
        </p:spPr>
        <p:txBody>
          <a:bodyPr/>
          <a:lstStyle/>
          <a:p>
            <a:r>
              <a:rPr lang="it-IT" dirty="0"/>
              <a:t>Altre Detrazioni Fiscali</a:t>
            </a:r>
          </a:p>
        </p:txBody>
      </p:sp>
      <p:sp>
        <p:nvSpPr>
          <p:cNvPr id="3" name="Rettangolo con angoli arrotondati 2">
            <a:extLst>
              <a:ext uri="{FF2B5EF4-FFF2-40B4-BE49-F238E27FC236}">
                <a16:creationId xmlns:a16="http://schemas.microsoft.com/office/drawing/2014/main" id="{22E9E644-A9E1-4604-B60B-317C2F61215C}"/>
              </a:ext>
            </a:extLst>
          </p:cNvPr>
          <p:cNvSpPr/>
          <p:nvPr/>
        </p:nvSpPr>
        <p:spPr>
          <a:xfrm>
            <a:off x="838199" y="865093"/>
            <a:ext cx="5750859" cy="5024719"/>
          </a:xfrm>
          <a:prstGeom prst="roundRect">
            <a:avLst/>
          </a:prstGeom>
          <a:solidFill>
            <a:srgbClr val="5C717C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</a:rPr>
              <a:t>Il D.L. n. 34/2020 convertito con modifiche nella L. n. 77/2020, offre altresì la possibilità di cedere altre forme di detrazione fiscali rivenienti da: </a:t>
            </a: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</a:rPr>
              <a:t>• Ecobonus ordinario (efficienza energetica e installazione di impianti fotovoltaici), ai sensi dell’art. 14 del DL n. 63/2013) e dell’art.16-bis, comma 1, lettera h) del Tuir, con detrazioni del 50% o 65% in funzione degli interventi, ripartito in 10 quote annuali;</a:t>
            </a: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</a:rPr>
              <a:t>• </a:t>
            </a:r>
            <a:r>
              <a:rPr kumimoji="0" lang="it-IT" sz="12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</a:rPr>
              <a:t>Sismabonus</a:t>
            </a:r>
            <a:r>
              <a:rPr kumimoji="0" lang="it-IT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</a:rPr>
              <a:t> ordinario (misure antisismiche), ai sensi dell’art. 16, commi da 1-bis a 1-septies del DL n. 63/2013, con detrazione del 50%, 70%, 75%, 80% o 85% in funzione degli interventi, ripartito in 5 quote annuali;</a:t>
            </a: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</a:rPr>
              <a:t>• Ristrutturazione (recupero patrimonio edilizio), ai sensi dell'art. 16-bis, comma 1, lettere a) e b), del Tuir, ripartito in 10 quote annuali;</a:t>
            </a: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</a:rPr>
              <a:t>• Recupero o restauro facciate, ai sensi art. 1, comma 219 e 220, della L. n. 160/2019, con detrazione del 90%, ripartito in 10 quote annuali;</a:t>
            </a: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</a:rPr>
              <a:t>•  Installazione di colonnine per la ricarica dei veicoli elettrici, ai sensi dell’art.16-ter del DL n. 63/2013, con detrazioni del 50%, ripartito in 10 quote annuali.</a:t>
            </a: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</a:rPr>
              <a:t>I beneficiari dei suddetti bonus sono le Associazioni e le Società Sportive Dilettantistiche, iscritte nel Registro CONI, nonché Le Onlus e le </a:t>
            </a:r>
            <a:r>
              <a:rPr kumimoji="0" lang="it-IT" sz="12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</a:rPr>
              <a:t>Aps</a:t>
            </a:r>
            <a:r>
              <a:rPr kumimoji="0" lang="it-IT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</a:rPr>
              <a:t>, operanti nel mondo della cultura, per gli immobili destinati a sedi sociale a prescindere dalla categoria catastale e dalla destinazione d’uso urbanistica dello stesso, rispettando comunque le altre indicazioni richieste dalla legge.</a:t>
            </a:r>
          </a:p>
        </p:txBody>
      </p:sp>
      <p:sp>
        <p:nvSpPr>
          <p:cNvPr id="4" name="Rettangolo con angoli arrotondati 3">
            <a:extLst>
              <a:ext uri="{FF2B5EF4-FFF2-40B4-BE49-F238E27FC236}">
                <a16:creationId xmlns:a16="http://schemas.microsoft.com/office/drawing/2014/main" id="{854331FA-A964-4639-BD0A-53C2852EF432}"/>
              </a:ext>
            </a:extLst>
          </p:cNvPr>
          <p:cNvSpPr/>
          <p:nvPr/>
        </p:nvSpPr>
        <p:spPr>
          <a:xfrm>
            <a:off x="6835589" y="1739153"/>
            <a:ext cx="4518211" cy="3263153"/>
          </a:xfrm>
          <a:prstGeom prst="roundRect">
            <a:avLst/>
          </a:prstGeom>
          <a:solidFill>
            <a:schemeClr val="accent2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just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rebuchet MS" panose="020B0603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l prezzo cui ICS acquisterà tali crediti è di:</a:t>
            </a:r>
          </a:p>
          <a:p>
            <a:pPr marL="342900" marR="0" lvl="0" indent="-342900" algn="just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Char char=""/>
              <a:tabLst/>
              <a:defRPr/>
            </a:pPr>
            <a:r>
              <a:rPr kumimoji="0" lang="it-IT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rebuchet MS" panose="020B0603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90€ per ogni 100€ di credito d’imposta (90% del valore nominale del credito d’imposta maturato), per i Crediti d’Imposta detraibili in 5 anni, diversi dal Superbonus 110%;</a:t>
            </a:r>
          </a:p>
          <a:p>
            <a:pPr marL="342900" marR="0" lvl="0" indent="-342900" algn="just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Symbol" panose="05050102010706020507" pitchFamily="18" charset="2"/>
              <a:buChar char=""/>
              <a:tabLst/>
              <a:defRPr/>
            </a:pPr>
            <a:r>
              <a:rPr kumimoji="0" lang="it-IT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rebuchet MS" panose="020B0603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85€ per ogni 100€ di credito d’imposta (85% del valore nominale del credito d’imposta maturato), per i Crediti d’Imposta detraibili in 10 anni.</a:t>
            </a: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</a:rPr>
              <a:t>Non sono previste ulteriori spese a carico del cedente.</a:t>
            </a:r>
          </a:p>
        </p:txBody>
      </p:sp>
      <p:sp>
        <p:nvSpPr>
          <p:cNvPr id="6" name="Segnaposto numero diapositiva 2">
            <a:extLst>
              <a:ext uri="{FF2B5EF4-FFF2-40B4-BE49-F238E27FC236}">
                <a16:creationId xmlns:a16="http://schemas.microsoft.com/office/drawing/2014/main" id="{9595DC03-2E55-43DA-A846-24564ACECAFA}"/>
              </a:ext>
            </a:extLst>
          </p:cNvPr>
          <p:cNvSpPr txBox="1">
            <a:spLocks/>
          </p:cNvSpPr>
          <p:nvPr/>
        </p:nvSpPr>
        <p:spPr>
          <a:xfrm>
            <a:off x="7581900" y="6360319"/>
            <a:ext cx="2743200" cy="365125"/>
          </a:xfrm>
          <a:prstGeom prst="rect">
            <a:avLst/>
          </a:prstGeom>
        </p:spPr>
        <p:txBody>
          <a:bodyPr/>
          <a:lstStyle>
            <a:defPPr>
              <a:defRPr lang="it-IT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defRPr/>
            </a:pPr>
            <a:fld id="{9501BE4A-6F75-0549-8D25-E25EBB4B1677}" type="slidenum">
              <a:rPr lang="it-IT" sz="1200" smtClean="0">
                <a:solidFill>
                  <a:srgbClr val="FFFFFF"/>
                </a:solidFill>
                <a:latin typeface="Trebuchet MS"/>
              </a:rPr>
              <a:pPr algn="r">
                <a:defRPr/>
              </a:pPr>
              <a:t>13</a:t>
            </a:fld>
            <a:endParaRPr lang="it-IT" sz="1200" dirty="0">
              <a:solidFill>
                <a:srgbClr val="FFFFFF"/>
              </a:solidFill>
              <a:latin typeface="Trebuchet MS"/>
            </a:endParaRPr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8D83EAD4-96DF-4533-8C76-7034AAFF1720}"/>
              </a:ext>
            </a:extLst>
          </p:cNvPr>
          <p:cNvSpPr>
            <a:spLocks noGrp="1"/>
          </p:cNvSpPr>
          <p:nvPr>
            <p:ph type="ftr" sz="quarter" idx="5"/>
          </p:nvPr>
        </p:nvSpPr>
        <p:spPr>
          <a:xfrm>
            <a:off x="4495800" y="6300199"/>
            <a:ext cx="2743200" cy="425245"/>
          </a:xfrm>
        </p:spPr>
        <p:txBody>
          <a:bodyPr/>
          <a:lstStyle/>
          <a:p>
            <a:pPr marL="12700">
              <a:lnSpc>
                <a:spcPct val="100000"/>
              </a:lnSpc>
              <a:spcBef>
                <a:spcPts val="25"/>
              </a:spcBef>
            </a:pPr>
            <a:r>
              <a:rPr lang="it-IT" spc="-5" dirty="0"/>
              <a:t>Istituto per il Credito Sportivo Banca Sociale per lo Sport e la Cultura</a:t>
            </a:r>
          </a:p>
        </p:txBody>
      </p:sp>
      <p:sp>
        <p:nvSpPr>
          <p:cNvPr id="8" name="Segnaposto numero diapositiva 7">
            <a:extLst>
              <a:ext uri="{FF2B5EF4-FFF2-40B4-BE49-F238E27FC236}">
                <a16:creationId xmlns:a16="http://schemas.microsoft.com/office/drawing/2014/main" id="{29AB7F1D-F03E-42EF-BB9F-FA9CF4D3C2A5}"/>
              </a:ext>
            </a:extLst>
          </p:cNvPr>
          <p:cNvSpPr>
            <a:spLocks noGrp="1"/>
          </p:cNvSpPr>
          <p:nvPr>
            <p:ph type="sldNum" sz="quarter" idx="7"/>
          </p:nvPr>
        </p:nvSpPr>
        <p:spPr/>
        <p:txBody>
          <a:bodyPr/>
          <a:lstStyle/>
          <a:p>
            <a:pPr marL="38100">
              <a:lnSpc>
                <a:spcPct val="100000"/>
              </a:lnSpc>
              <a:spcBef>
                <a:spcPts val="25"/>
              </a:spcBef>
            </a:pPr>
            <a:fld id="{81D60167-4931-47E6-BA6A-407CBD079E47}" type="slidenum">
              <a:rPr lang="it-IT" spc="-5" smtClean="0"/>
              <a:t>13</a:t>
            </a:fld>
            <a:endParaRPr lang="it-IT" spc="-5" dirty="0"/>
          </a:p>
        </p:txBody>
      </p:sp>
    </p:spTree>
    <p:extLst>
      <p:ext uri="{BB962C8B-B14F-4D97-AF65-F5344CB8AC3E}">
        <p14:creationId xmlns:p14="http://schemas.microsoft.com/office/powerpoint/2010/main" val="363691733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object 2"/>
          <p:cNvGrpSpPr/>
          <p:nvPr/>
        </p:nvGrpSpPr>
        <p:grpSpPr>
          <a:xfrm>
            <a:off x="3572002" y="1173222"/>
            <a:ext cx="3350260" cy="2532380"/>
            <a:chOff x="3572002" y="1173222"/>
            <a:chExt cx="3350260" cy="2532380"/>
          </a:xfrm>
        </p:grpSpPr>
        <p:sp>
          <p:nvSpPr>
            <p:cNvPr id="3" name="object 3"/>
            <p:cNvSpPr/>
            <p:nvPr/>
          </p:nvSpPr>
          <p:spPr>
            <a:xfrm>
              <a:off x="3578352" y="1179572"/>
              <a:ext cx="3337560" cy="687705"/>
            </a:xfrm>
            <a:custGeom>
              <a:avLst/>
              <a:gdLst/>
              <a:ahLst/>
              <a:cxnLst/>
              <a:rect l="l" t="t" r="r" b="b"/>
              <a:pathLst>
                <a:path w="3337559" h="687705">
                  <a:moveTo>
                    <a:pt x="2943390" y="0"/>
                  </a:moveTo>
                  <a:lnTo>
                    <a:pt x="2943390" y="89750"/>
                  </a:lnTo>
                  <a:lnTo>
                    <a:pt x="0" y="89750"/>
                  </a:lnTo>
                  <a:lnTo>
                    <a:pt x="0" y="597585"/>
                  </a:lnTo>
                  <a:lnTo>
                    <a:pt x="2943390" y="597585"/>
                  </a:lnTo>
                  <a:lnTo>
                    <a:pt x="2943390" y="687324"/>
                  </a:lnTo>
                  <a:lnTo>
                    <a:pt x="3337560" y="343662"/>
                  </a:lnTo>
                  <a:lnTo>
                    <a:pt x="2943390" y="0"/>
                  </a:lnTo>
                  <a:close/>
                </a:path>
              </a:pathLst>
            </a:custGeom>
            <a:solidFill>
              <a:srgbClr val="D9D9D9"/>
            </a:solid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" name="object 4"/>
            <p:cNvSpPr/>
            <p:nvPr/>
          </p:nvSpPr>
          <p:spPr>
            <a:xfrm>
              <a:off x="3578352" y="1179572"/>
              <a:ext cx="3337560" cy="687705"/>
            </a:xfrm>
            <a:custGeom>
              <a:avLst/>
              <a:gdLst/>
              <a:ahLst/>
              <a:cxnLst/>
              <a:rect l="l" t="t" r="r" b="b"/>
              <a:pathLst>
                <a:path w="3337559" h="687705">
                  <a:moveTo>
                    <a:pt x="0" y="89750"/>
                  </a:moveTo>
                  <a:lnTo>
                    <a:pt x="2943390" y="89750"/>
                  </a:lnTo>
                  <a:lnTo>
                    <a:pt x="2943390" y="0"/>
                  </a:lnTo>
                  <a:lnTo>
                    <a:pt x="3337560" y="343662"/>
                  </a:lnTo>
                  <a:lnTo>
                    <a:pt x="2943390" y="687324"/>
                  </a:lnTo>
                  <a:lnTo>
                    <a:pt x="2943390" y="597585"/>
                  </a:lnTo>
                  <a:lnTo>
                    <a:pt x="0" y="597585"/>
                  </a:lnTo>
                  <a:lnTo>
                    <a:pt x="0" y="89750"/>
                  </a:lnTo>
                  <a:close/>
                </a:path>
              </a:pathLst>
            </a:custGeom>
            <a:ln w="12699">
              <a:solidFill>
                <a:srgbClr val="415158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" name="object 5"/>
            <p:cNvSpPr/>
            <p:nvPr/>
          </p:nvSpPr>
          <p:spPr>
            <a:xfrm>
              <a:off x="3578352" y="1763265"/>
              <a:ext cx="3335020" cy="687705"/>
            </a:xfrm>
            <a:custGeom>
              <a:avLst/>
              <a:gdLst/>
              <a:ahLst/>
              <a:cxnLst/>
              <a:rect l="l" t="t" r="r" b="b"/>
              <a:pathLst>
                <a:path w="3335020" h="687705">
                  <a:moveTo>
                    <a:pt x="2940342" y="0"/>
                  </a:moveTo>
                  <a:lnTo>
                    <a:pt x="2940342" y="89750"/>
                  </a:lnTo>
                  <a:lnTo>
                    <a:pt x="0" y="89750"/>
                  </a:lnTo>
                  <a:lnTo>
                    <a:pt x="0" y="597573"/>
                  </a:lnTo>
                  <a:lnTo>
                    <a:pt x="2940342" y="597573"/>
                  </a:lnTo>
                  <a:lnTo>
                    <a:pt x="2940342" y="687324"/>
                  </a:lnTo>
                  <a:lnTo>
                    <a:pt x="3334512" y="343662"/>
                  </a:lnTo>
                  <a:lnTo>
                    <a:pt x="2940342" y="0"/>
                  </a:lnTo>
                  <a:close/>
                </a:path>
              </a:pathLst>
            </a:custGeom>
            <a:solidFill>
              <a:srgbClr val="D9D9D9"/>
            </a:solid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" name="object 6"/>
            <p:cNvSpPr/>
            <p:nvPr/>
          </p:nvSpPr>
          <p:spPr>
            <a:xfrm>
              <a:off x="3578352" y="1763265"/>
              <a:ext cx="3335020" cy="687705"/>
            </a:xfrm>
            <a:custGeom>
              <a:avLst/>
              <a:gdLst/>
              <a:ahLst/>
              <a:cxnLst/>
              <a:rect l="l" t="t" r="r" b="b"/>
              <a:pathLst>
                <a:path w="3335020" h="687705">
                  <a:moveTo>
                    <a:pt x="0" y="89750"/>
                  </a:moveTo>
                  <a:lnTo>
                    <a:pt x="2940342" y="89750"/>
                  </a:lnTo>
                  <a:lnTo>
                    <a:pt x="2940342" y="0"/>
                  </a:lnTo>
                  <a:lnTo>
                    <a:pt x="3334512" y="343662"/>
                  </a:lnTo>
                  <a:lnTo>
                    <a:pt x="2940342" y="687324"/>
                  </a:lnTo>
                  <a:lnTo>
                    <a:pt x="2940342" y="597573"/>
                  </a:lnTo>
                  <a:lnTo>
                    <a:pt x="0" y="597573"/>
                  </a:lnTo>
                  <a:lnTo>
                    <a:pt x="0" y="89750"/>
                  </a:lnTo>
                  <a:close/>
                </a:path>
              </a:pathLst>
            </a:custGeom>
            <a:ln w="12699">
              <a:solidFill>
                <a:srgbClr val="415158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" name="object 7"/>
            <p:cNvSpPr/>
            <p:nvPr/>
          </p:nvSpPr>
          <p:spPr>
            <a:xfrm>
              <a:off x="3578352" y="2375910"/>
              <a:ext cx="3336290" cy="687705"/>
            </a:xfrm>
            <a:custGeom>
              <a:avLst/>
              <a:gdLst/>
              <a:ahLst/>
              <a:cxnLst/>
              <a:rect l="l" t="t" r="r" b="b"/>
              <a:pathLst>
                <a:path w="3336290" h="687705">
                  <a:moveTo>
                    <a:pt x="2941866" y="0"/>
                  </a:moveTo>
                  <a:lnTo>
                    <a:pt x="2941866" y="89750"/>
                  </a:lnTo>
                  <a:lnTo>
                    <a:pt x="0" y="89750"/>
                  </a:lnTo>
                  <a:lnTo>
                    <a:pt x="0" y="597585"/>
                  </a:lnTo>
                  <a:lnTo>
                    <a:pt x="2941866" y="597585"/>
                  </a:lnTo>
                  <a:lnTo>
                    <a:pt x="2941866" y="687324"/>
                  </a:lnTo>
                  <a:lnTo>
                    <a:pt x="3336036" y="343674"/>
                  </a:lnTo>
                  <a:lnTo>
                    <a:pt x="2941866" y="0"/>
                  </a:lnTo>
                  <a:close/>
                </a:path>
              </a:pathLst>
            </a:custGeom>
            <a:solidFill>
              <a:srgbClr val="D9D9D9"/>
            </a:solid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" name="object 8"/>
            <p:cNvSpPr/>
            <p:nvPr/>
          </p:nvSpPr>
          <p:spPr>
            <a:xfrm>
              <a:off x="3578352" y="2375910"/>
              <a:ext cx="3336290" cy="687705"/>
            </a:xfrm>
            <a:custGeom>
              <a:avLst/>
              <a:gdLst/>
              <a:ahLst/>
              <a:cxnLst/>
              <a:rect l="l" t="t" r="r" b="b"/>
              <a:pathLst>
                <a:path w="3336290" h="687705">
                  <a:moveTo>
                    <a:pt x="0" y="89750"/>
                  </a:moveTo>
                  <a:lnTo>
                    <a:pt x="2941866" y="89750"/>
                  </a:lnTo>
                  <a:lnTo>
                    <a:pt x="2941866" y="0"/>
                  </a:lnTo>
                  <a:lnTo>
                    <a:pt x="3336036" y="343674"/>
                  </a:lnTo>
                  <a:lnTo>
                    <a:pt x="2941866" y="687324"/>
                  </a:lnTo>
                  <a:lnTo>
                    <a:pt x="2941866" y="597585"/>
                  </a:lnTo>
                  <a:lnTo>
                    <a:pt x="0" y="597585"/>
                  </a:lnTo>
                  <a:lnTo>
                    <a:pt x="0" y="89750"/>
                  </a:lnTo>
                  <a:close/>
                </a:path>
              </a:pathLst>
            </a:custGeom>
            <a:ln w="12699">
              <a:solidFill>
                <a:srgbClr val="415158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9" name="object 9"/>
            <p:cNvSpPr/>
            <p:nvPr/>
          </p:nvSpPr>
          <p:spPr>
            <a:xfrm>
              <a:off x="3578352" y="3011421"/>
              <a:ext cx="3335020" cy="687705"/>
            </a:xfrm>
            <a:custGeom>
              <a:avLst/>
              <a:gdLst/>
              <a:ahLst/>
              <a:cxnLst/>
              <a:rect l="l" t="t" r="r" b="b"/>
              <a:pathLst>
                <a:path w="3335020" h="687704">
                  <a:moveTo>
                    <a:pt x="2940342" y="0"/>
                  </a:moveTo>
                  <a:lnTo>
                    <a:pt x="2940342" y="89750"/>
                  </a:lnTo>
                  <a:lnTo>
                    <a:pt x="0" y="89750"/>
                  </a:lnTo>
                  <a:lnTo>
                    <a:pt x="0" y="597573"/>
                  </a:lnTo>
                  <a:lnTo>
                    <a:pt x="2940342" y="597573"/>
                  </a:lnTo>
                  <a:lnTo>
                    <a:pt x="2940342" y="687324"/>
                  </a:lnTo>
                  <a:lnTo>
                    <a:pt x="3334512" y="343662"/>
                  </a:lnTo>
                  <a:lnTo>
                    <a:pt x="2940342" y="0"/>
                  </a:lnTo>
                  <a:close/>
                </a:path>
              </a:pathLst>
            </a:custGeom>
            <a:solidFill>
              <a:srgbClr val="D9D9D9"/>
            </a:solid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0" name="object 10"/>
            <p:cNvSpPr/>
            <p:nvPr/>
          </p:nvSpPr>
          <p:spPr>
            <a:xfrm>
              <a:off x="3578352" y="3011421"/>
              <a:ext cx="3335020" cy="687705"/>
            </a:xfrm>
            <a:custGeom>
              <a:avLst/>
              <a:gdLst/>
              <a:ahLst/>
              <a:cxnLst/>
              <a:rect l="l" t="t" r="r" b="b"/>
              <a:pathLst>
                <a:path w="3335020" h="687704">
                  <a:moveTo>
                    <a:pt x="0" y="89750"/>
                  </a:moveTo>
                  <a:lnTo>
                    <a:pt x="2940342" y="89750"/>
                  </a:lnTo>
                  <a:lnTo>
                    <a:pt x="2940342" y="0"/>
                  </a:lnTo>
                  <a:lnTo>
                    <a:pt x="3334512" y="343662"/>
                  </a:lnTo>
                  <a:lnTo>
                    <a:pt x="2940342" y="687324"/>
                  </a:lnTo>
                  <a:lnTo>
                    <a:pt x="2940342" y="597573"/>
                  </a:lnTo>
                  <a:lnTo>
                    <a:pt x="0" y="597573"/>
                  </a:lnTo>
                  <a:lnTo>
                    <a:pt x="0" y="89750"/>
                  </a:lnTo>
                  <a:close/>
                </a:path>
              </a:pathLst>
            </a:custGeom>
            <a:ln w="12699">
              <a:solidFill>
                <a:srgbClr val="415158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11" name="object 11"/>
          <p:cNvGrpSpPr/>
          <p:nvPr/>
        </p:nvGrpSpPr>
        <p:grpSpPr>
          <a:xfrm>
            <a:off x="3572002" y="3597904"/>
            <a:ext cx="3348990" cy="974725"/>
            <a:chOff x="3572002" y="3597904"/>
            <a:chExt cx="3348990" cy="974725"/>
          </a:xfrm>
        </p:grpSpPr>
        <p:sp>
          <p:nvSpPr>
            <p:cNvPr id="12" name="object 12"/>
            <p:cNvSpPr/>
            <p:nvPr/>
          </p:nvSpPr>
          <p:spPr>
            <a:xfrm>
              <a:off x="3578352" y="3878574"/>
              <a:ext cx="3336290" cy="687705"/>
            </a:xfrm>
            <a:custGeom>
              <a:avLst/>
              <a:gdLst/>
              <a:ahLst/>
              <a:cxnLst/>
              <a:rect l="l" t="t" r="r" b="b"/>
              <a:pathLst>
                <a:path w="3336290" h="687704">
                  <a:moveTo>
                    <a:pt x="0" y="89750"/>
                  </a:moveTo>
                  <a:lnTo>
                    <a:pt x="2941866" y="89750"/>
                  </a:lnTo>
                  <a:lnTo>
                    <a:pt x="2941866" y="0"/>
                  </a:lnTo>
                  <a:lnTo>
                    <a:pt x="3336036" y="343674"/>
                  </a:lnTo>
                  <a:lnTo>
                    <a:pt x="2941866" y="687324"/>
                  </a:lnTo>
                  <a:lnTo>
                    <a:pt x="2941866" y="597585"/>
                  </a:lnTo>
                  <a:lnTo>
                    <a:pt x="0" y="597585"/>
                  </a:lnTo>
                  <a:lnTo>
                    <a:pt x="0" y="89750"/>
                  </a:lnTo>
                  <a:close/>
                </a:path>
              </a:pathLst>
            </a:custGeom>
            <a:ln w="12699">
              <a:solidFill>
                <a:srgbClr val="415158"/>
              </a:solidFill>
              <a:prstDash val="sysDash"/>
            </a:ln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3" name="object 13"/>
            <p:cNvSpPr/>
            <p:nvPr/>
          </p:nvSpPr>
          <p:spPr>
            <a:xfrm>
              <a:off x="3578352" y="3726177"/>
              <a:ext cx="3335020" cy="687705"/>
            </a:xfrm>
            <a:custGeom>
              <a:avLst/>
              <a:gdLst/>
              <a:ahLst/>
              <a:cxnLst/>
              <a:rect l="l" t="t" r="r" b="b"/>
              <a:pathLst>
                <a:path w="3335020" h="687704">
                  <a:moveTo>
                    <a:pt x="2940342" y="0"/>
                  </a:moveTo>
                  <a:lnTo>
                    <a:pt x="2940342" y="89750"/>
                  </a:lnTo>
                  <a:lnTo>
                    <a:pt x="0" y="89750"/>
                  </a:lnTo>
                  <a:lnTo>
                    <a:pt x="0" y="597573"/>
                  </a:lnTo>
                  <a:lnTo>
                    <a:pt x="2940342" y="597573"/>
                  </a:lnTo>
                  <a:lnTo>
                    <a:pt x="2940342" y="687323"/>
                  </a:lnTo>
                  <a:lnTo>
                    <a:pt x="3334512" y="343661"/>
                  </a:lnTo>
                  <a:lnTo>
                    <a:pt x="2940342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4" name="object 14"/>
            <p:cNvSpPr/>
            <p:nvPr/>
          </p:nvSpPr>
          <p:spPr>
            <a:xfrm>
              <a:off x="3578352" y="3726177"/>
              <a:ext cx="3335020" cy="687705"/>
            </a:xfrm>
            <a:custGeom>
              <a:avLst/>
              <a:gdLst/>
              <a:ahLst/>
              <a:cxnLst/>
              <a:rect l="l" t="t" r="r" b="b"/>
              <a:pathLst>
                <a:path w="3335020" h="687704">
                  <a:moveTo>
                    <a:pt x="0" y="89750"/>
                  </a:moveTo>
                  <a:lnTo>
                    <a:pt x="2940342" y="89750"/>
                  </a:lnTo>
                  <a:lnTo>
                    <a:pt x="2940342" y="0"/>
                  </a:lnTo>
                  <a:lnTo>
                    <a:pt x="3334512" y="343661"/>
                  </a:lnTo>
                  <a:lnTo>
                    <a:pt x="2940342" y="687323"/>
                  </a:lnTo>
                  <a:lnTo>
                    <a:pt x="2940342" y="597573"/>
                  </a:lnTo>
                  <a:lnTo>
                    <a:pt x="0" y="597573"/>
                  </a:lnTo>
                  <a:lnTo>
                    <a:pt x="0" y="89750"/>
                  </a:lnTo>
                  <a:close/>
                </a:path>
              </a:pathLst>
            </a:custGeom>
            <a:ln w="12699">
              <a:solidFill>
                <a:srgbClr val="415158"/>
              </a:solidFill>
              <a:prstDash val="sysDash"/>
            </a:ln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5" name="object 15"/>
            <p:cNvSpPr/>
            <p:nvPr/>
          </p:nvSpPr>
          <p:spPr>
            <a:xfrm>
              <a:off x="3578352" y="3604254"/>
              <a:ext cx="3336290" cy="687705"/>
            </a:xfrm>
            <a:custGeom>
              <a:avLst/>
              <a:gdLst/>
              <a:ahLst/>
              <a:cxnLst/>
              <a:rect l="l" t="t" r="r" b="b"/>
              <a:pathLst>
                <a:path w="3336290" h="687704">
                  <a:moveTo>
                    <a:pt x="2941866" y="0"/>
                  </a:moveTo>
                  <a:lnTo>
                    <a:pt x="2941866" y="89750"/>
                  </a:lnTo>
                  <a:lnTo>
                    <a:pt x="0" y="89750"/>
                  </a:lnTo>
                  <a:lnTo>
                    <a:pt x="0" y="597585"/>
                  </a:lnTo>
                  <a:lnTo>
                    <a:pt x="2941866" y="597585"/>
                  </a:lnTo>
                  <a:lnTo>
                    <a:pt x="2941866" y="687324"/>
                  </a:lnTo>
                  <a:lnTo>
                    <a:pt x="3336036" y="343674"/>
                  </a:lnTo>
                  <a:lnTo>
                    <a:pt x="2941866" y="0"/>
                  </a:lnTo>
                  <a:close/>
                </a:path>
              </a:pathLst>
            </a:custGeom>
            <a:solidFill>
              <a:srgbClr val="D9D9D9"/>
            </a:solid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6" name="object 16"/>
            <p:cNvSpPr/>
            <p:nvPr/>
          </p:nvSpPr>
          <p:spPr>
            <a:xfrm>
              <a:off x="3578352" y="3604254"/>
              <a:ext cx="3336290" cy="687705"/>
            </a:xfrm>
            <a:custGeom>
              <a:avLst/>
              <a:gdLst/>
              <a:ahLst/>
              <a:cxnLst/>
              <a:rect l="l" t="t" r="r" b="b"/>
              <a:pathLst>
                <a:path w="3336290" h="687704">
                  <a:moveTo>
                    <a:pt x="0" y="89750"/>
                  </a:moveTo>
                  <a:lnTo>
                    <a:pt x="2941866" y="89750"/>
                  </a:lnTo>
                  <a:lnTo>
                    <a:pt x="2941866" y="0"/>
                  </a:lnTo>
                  <a:lnTo>
                    <a:pt x="3336036" y="343674"/>
                  </a:lnTo>
                  <a:lnTo>
                    <a:pt x="2941866" y="687324"/>
                  </a:lnTo>
                  <a:lnTo>
                    <a:pt x="2941866" y="597585"/>
                  </a:lnTo>
                  <a:lnTo>
                    <a:pt x="0" y="597585"/>
                  </a:lnTo>
                  <a:lnTo>
                    <a:pt x="0" y="89750"/>
                  </a:lnTo>
                  <a:close/>
                </a:path>
              </a:pathLst>
            </a:custGeom>
            <a:ln w="12699">
              <a:solidFill>
                <a:srgbClr val="415158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17" name="object 17"/>
          <p:cNvGrpSpPr/>
          <p:nvPr/>
        </p:nvGrpSpPr>
        <p:grpSpPr>
          <a:xfrm>
            <a:off x="755904" y="214884"/>
            <a:ext cx="10598150" cy="623570"/>
            <a:chOff x="755904" y="214884"/>
            <a:chExt cx="10598150" cy="623570"/>
          </a:xfrm>
        </p:grpSpPr>
        <p:sp>
          <p:nvSpPr>
            <p:cNvPr id="18" name="object 18"/>
            <p:cNvSpPr/>
            <p:nvPr/>
          </p:nvSpPr>
          <p:spPr>
            <a:xfrm>
              <a:off x="838200" y="246888"/>
              <a:ext cx="10515600" cy="486409"/>
            </a:xfrm>
            <a:custGeom>
              <a:avLst/>
              <a:gdLst/>
              <a:ahLst/>
              <a:cxnLst/>
              <a:rect l="l" t="t" r="r" b="b"/>
              <a:pathLst>
                <a:path w="10515600" h="486409">
                  <a:moveTo>
                    <a:pt x="10515600" y="0"/>
                  </a:moveTo>
                  <a:lnTo>
                    <a:pt x="0" y="0"/>
                  </a:lnTo>
                  <a:lnTo>
                    <a:pt x="0" y="486155"/>
                  </a:lnTo>
                  <a:lnTo>
                    <a:pt x="10515600" y="486155"/>
                  </a:lnTo>
                  <a:lnTo>
                    <a:pt x="10515600" y="0"/>
                  </a:lnTo>
                  <a:close/>
                </a:path>
              </a:pathLst>
            </a:custGeom>
            <a:solidFill>
              <a:srgbClr val="5C707B"/>
            </a:solid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pic>
          <p:nvPicPr>
            <p:cNvPr id="19" name="object 19"/>
            <p:cNvPicPr/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755904" y="214884"/>
              <a:ext cx="2575559" cy="623315"/>
            </a:xfrm>
            <a:prstGeom prst="rect">
              <a:avLst/>
            </a:prstGeom>
          </p:spPr>
        </p:pic>
      </p:grpSp>
      <p:sp>
        <p:nvSpPr>
          <p:cNvPr id="20" name="object 20"/>
          <p:cNvSpPr txBox="1">
            <a:spLocks noGrp="1"/>
          </p:cNvSpPr>
          <p:nvPr>
            <p:ph type="title"/>
          </p:nvPr>
        </p:nvSpPr>
        <p:spPr>
          <a:xfrm>
            <a:off x="838200" y="246888"/>
            <a:ext cx="10515600" cy="389209"/>
          </a:xfrm>
          <a:prstGeom prst="rect">
            <a:avLst/>
          </a:prstGeom>
        </p:spPr>
        <p:txBody>
          <a:bodyPr vert="horz" wrap="square" lIns="0" tIns="50165" rIns="0" bIns="0" rtlCol="0">
            <a:spAutoFit/>
          </a:bodyPr>
          <a:lstStyle/>
          <a:p>
            <a:pPr marL="91440">
              <a:lnSpc>
                <a:spcPct val="100000"/>
              </a:lnSpc>
              <a:spcBef>
                <a:spcPts val="395"/>
              </a:spcBef>
            </a:pPr>
            <a:r>
              <a:rPr spc="-5" dirty="0"/>
              <a:t>Il</a:t>
            </a:r>
            <a:r>
              <a:rPr spc="-40" dirty="0"/>
              <a:t> </a:t>
            </a:r>
            <a:r>
              <a:rPr spc="-5" dirty="0"/>
              <a:t>nostro</a:t>
            </a:r>
            <a:r>
              <a:rPr spc="-25" dirty="0"/>
              <a:t> </a:t>
            </a:r>
            <a:r>
              <a:rPr spc="-5" dirty="0" err="1"/>
              <a:t>modello</a:t>
            </a:r>
            <a:r>
              <a:rPr lang="it-IT" spc="-5" dirty="0"/>
              <a:t> di </a:t>
            </a:r>
            <a:r>
              <a:rPr lang="it-IT" spc="-5" dirty="0" err="1"/>
              <a:t>Advisory</a:t>
            </a:r>
            <a:r>
              <a:rPr lang="it-IT" spc="-5" dirty="0"/>
              <a:t> </a:t>
            </a:r>
            <a:endParaRPr spc="-5" dirty="0"/>
          </a:p>
        </p:txBody>
      </p:sp>
      <p:sp>
        <p:nvSpPr>
          <p:cNvPr id="21" name="object 21"/>
          <p:cNvSpPr txBox="1"/>
          <p:nvPr/>
        </p:nvSpPr>
        <p:spPr>
          <a:xfrm>
            <a:off x="746329" y="1174387"/>
            <a:ext cx="1149350" cy="3310254"/>
          </a:xfrm>
          <a:prstGeom prst="rect">
            <a:avLst/>
          </a:prstGeom>
          <a:solidFill>
            <a:srgbClr val="60707E"/>
          </a:solidFill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6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 New Roman"/>
              <a:ea typeface="+mn-ea"/>
              <a:cs typeface="Times New Roman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6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 New Roman"/>
              <a:ea typeface="+mn-ea"/>
              <a:cs typeface="Times New Roman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6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 New Roman"/>
              <a:ea typeface="+mn-ea"/>
              <a:cs typeface="Times New Roman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6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 New Roman"/>
              <a:ea typeface="+mn-ea"/>
              <a:cs typeface="Times New Roman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6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 New Roman"/>
              <a:ea typeface="+mn-ea"/>
              <a:cs typeface="Times New Roman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6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 New Roman"/>
              <a:ea typeface="+mn-ea"/>
              <a:cs typeface="Times New Roman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45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 New Roman"/>
              <a:ea typeface="+mn-ea"/>
              <a:cs typeface="Times New Roman"/>
            </a:endParaRPr>
          </a:p>
          <a:p>
            <a:pPr marL="238760" marR="183515" lvl="0" indent="138430" algn="l" defTabSz="914400" rtl="0" eaLnBrk="1" fontAlgn="auto" latinLnBrk="0" hangingPunct="1">
              <a:lnSpc>
                <a:spcPct val="100000"/>
              </a:lnSpc>
              <a:spcBef>
                <a:spcPts val="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400" b="1" i="0" u="none" strike="noStrike" kern="1200" cap="none" spc="-4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Team </a:t>
            </a:r>
            <a:r>
              <a:rPr kumimoji="0" sz="1400" b="1" i="0" u="none" strike="noStrike" kern="1200" cap="none" spc="-3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 </a:t>
            </a:r>
            <a:r>
              <a:rPr kumimoji="0" sz="1400" b="1" i="0" u="none" strike="noStrike" kern="1200" cap="none" spc="-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A</a:t>
            </a:r>
            <a:r>
              <a:rPr kumimoji="0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d</a:t>
            </a:r>
            <a:r>
              <a:rPr kumimoji="0" sz="1400" b="1" i="0" u="none" strike="noStrike" kern="1200" cap="none" spc="5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v</a:t>
            </a:r>
            <a:r>
              <a:rPr kumimoji="0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i</a:t>
            </a:r>
            <a:r>
              <a:rPr kumimoji="0" sz="1400" b="1" i="0" u="none" strike="noStrike" kern="1200" cap="none" spc="-1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s</a:t>
            </a:r>
            <a:r>
              <a:rPr kumimoji="0" sz="1400" b="1" i="0" u="none" strike="noStrike" kern="1200" cap="none" spc="-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o</a:t>
            </a:r>
            <a:r>
              <a:rPr kumimoji="0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ry</a:t>
            </a:r>
            <a:endParaRPr kumimoji="0" sz="1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rebuchet MS"/>
              <a:ea typeface="+mn-ea"/>
              <a:cs typeface="Trebuchet MS"/>
            </a:endParaRPr>
          </a:p>
        </p:txBody>
      </p:sp>
      <p:sp>
        <p:nvSpPr>
          <p:cNvPr id="22" name="object 22"/>
          <p:cNvSpPr/>
          <p:nvPr/>
        </p:nvSpPr>
        <p:spPr>
          <a:xfrm>
            <a:off x="2052827" y="1179575"/>
            <a:ext cx="1414780" cy="1572895"/>
          </a:xfrm>
          <a:custGeom>
            <a:avLst/>
            <a:gdLst/>
            <a:ahLst/>
            <a:cxnLst/>
            <a:rect l="l" t="t" r="r" b="b"/>
            <a:pathLst>
              <a:path w="1414779" h="1572895">
                <a:moveTo>
                  <a:pt x="0" y="0"/>
                </a:moveTo>
                <a:lnTo>
                  <a:pt x="1414272" y="0"/>
                </a:lnTo>
                <a:lnTo>
                  <a:pt x="1414272" y="1572768"/>
                </a:lnTo>
                <a:lnTo>
                  <a:pt x="0" y="1572768"/>
                </a:lnTo>
                <a:lnTo>
                  <a:pt x="0" y="0"/>
                </a:lnTo>
                <a:close/>
              </a:path>
            </a:pathLst>
          </a:custGeom>
          <a:ln w="12700">
            <a:solidFill>
              <a:srgbClr val="8B8B8B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3" name="object 23"/>
          <p:cNvSpPr txBox="1"/>
          <p:nvPr/>
        </p:nvSpPr>
        <p:spPr>
          <a:xfrm>
            <a:off x="2059177" y="1840631"/>
            <a:ext cx="1402080" cy="239395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0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400" b="0" i="0" u="none" strike="noStrike" kern="1200" cap="none" spc="-5" normalizeH="0" baseline="0" noProof="0" dirty="0">
                <a:ln>
                  <a:noFill/>
                </a:ln>
                <a:solidFill>
                  <a:srgbClr val="5C707B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Sport</a:t>
            </a:r>
            <a:endParaRPr kumimoji="0" sz="1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rebuchet MS"/>
              <a:ea typeface="+mn-ea"/>
              <a:cs typeface="Trebuchet MS"/>
            </a:endParaRPr>
          </a:p>
        </p:txBody>
      </p:sp>
      <p:sp>
        <p:nvSpPr>
          <p:cNvPr id="24" name="object 24"/>
          <p:cNvSpPr/>
          <p:nvPr/>
        </p:nvSpPr>
        <p:spPr>
          <a:xfrm>
            <a:off x="2052827" y="2747772"/>
            <a:ext cx="1414780" cy="1734820"/>
          </a:xfrm>
          <a:custGeom>
            <a:avLst/>
            <a:gdLst/>
            <a:ahLst/>
            <a:cxnLst/>
            <a:rect l="l" t="t" r="r" b="b"/>
            <a:pathLst>
              <a:path w="1414779" h="1734820">
                <a:moveTo>
                  <a:pt x="0" y="0"/>
                </a:moveTo>
                <a:lnTo>
                  <a:pt x="1414272" y="0"/>
                </a:lnTo>
                <a:lnTo>
                  <a:pt x="1414272" y="1734312"/>
                </a:lnTo>
                <a:lnTo>
                  <a:pt x="0" y="1734312"/>
                </a:lnTo>
                <a:lnTo>
                  <a:pt x="0" y="0"/>
                </a:lnTo>
                <a:close/>
              </a:path>
            </a:pathLst>
          </a:custGeom>
          <a:ln w="12700">
            <a:solidFill>
              <a:srgbClr val="8B8B8B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5" name="object 25"/>
          <p:cNvSpPr txBox="1"/>
          <p:nvPr/>
        </p:nvSpPr>
        <p:spPr>
          <a:xfrm>
            <a:off x="2059177" y="3489905"/>
            <a:ext cx="1402080" cy="239395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407034" marR="0" lvl="0" indent="0" algn="l" defTabSz="914400" rtl="0" eaLnBrk="1" fontAlgn="auto" latinLnBrk="0" hangingPunct="1">
              <a:lnSpc>
                <a:spcPct val="100000"/>
              </a:lnSpc>
              <a:spcBef>
                <a:spcPts val="10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400" b="0" i="0" u="none" strike="noStrike" kern="1200" cap="none" spc="0" normalizeH="0" baseline="0" noProof="0" dirty="0">
                <a:ln>
                  <a:noFill/>
                </a:ln>
                <a:solidFill>
                  <a:srgbClr val="5C707B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Cultura</a:t>
            </a:r>
            <a:endParaRPr kumimoji="0" sz="1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rebuchet MS"/>
              <a:ea typeface="+mn-ea"/>
              <a:cs typeface="Trebuchet MS"/>
            </a:endParaRPr>
          </a:p>
        </p:txBody>
      </p:sp>
      <p:sp>
        <p:nvSpPr>
          <p:cNvPr id="26" name="object 26"/>
          <p:cNvSpPr txBox="1"/>
          <p:nvPr/>
        </p:nvSpPr>
        <p:spPr>
          <a:xfrm>
            <a:off x="688188" y="4807991"/>
            <a:ext cx="3719195" cy="986790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 marR="0" lvl="0" indent="0" algn="l" defTabSz="914400" rtl="0" eaLnBrk="1" fontAlgn="auto" latinLnBrk="0" hangingPunct="1">
              <a:lnSpc>
                <a:spcPct val="100000"/>
              </a:lnSpc>
              <a:spcBef>
                <a:spcPts val="10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050" b="0" i="0" u="none" strike="noStrike" kern="1200" cap="none" spc="0" normalizeH="0" baseline="0" noProof="0" dirty="0">
                <a:ln>
                  <a:noFill/>
                </a:ln>
                <a:solidFill>
                  <a:srgbClr val="5C707B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Competenze</a:t>
            </a:r>
            <a:r>
              <a:rPr kumimoji="0" sz="1050" b="0" i="0" u="none" strike="noStrike" kern="1200" cap="none" spc="-70" normalizeH="0" baseline="0" noProof="0" dirty="0">
                <a:ln>
                  <a:noFill/>
                </a:ln>
                <a:solidFill>
                  <a:srgbClr val="5C707B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 </a:t>
            </a:r>
            <a:r>
              <a:rPr kumimoji="0" sz="1050" b="0" i="0" u="none" strike="noStrike" kern="1200" cap="none" spc="-5" normalizeH="0" baseline="0" noProof="0" dirty="0">
                <a:ln>
                  <a:noFill/>
                </a:ln>
                <a:solidFill>
                  <a:srgbClr val="5C707B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di:</a:t>
            </a:r>
            <a:endParaRPr kumimoji="0" sz="105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rebuchet MS"/>
              <a:ea typeface="+mn-ea"/>
              <a:cs typeface="Trebuchet MS"/>
            </a:endParaRPr>
          </a:p>
          <a:p>
            <a:pPr marL="184785" marR="198755" lvl="0" indent="-17272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 MT"/>
              <a:buChar char="•"/>
              <a:tabLst>
                <a:tab pos="185420" algn="l"/>
              </a:tabLst>
              <a:defRPr/>
            </a:pPr>
            <a:r>
              <a:rPr kumimoji="0" sz="1050" b="0" i="0" u="none" strike="noStrike" kern="1200" cap="none" spc="-5" normalizeH="0" baseline="0" noProof="0" dirty="0">
                <a:ln>
                  <a:noFill/>
                </a:ln>
                <a:solidFill>
                  <a:srgbClr val="5C707B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progettazione </a:t>
            </a:r>
            <a:r>
              <a:rPr kumimoji="0" sz="1050" b="0" i="0" u="none" strike="noStrike" kern="1200" cap="none" spc="0" normalizeH="0" baseline="0" noProof="0" dirty="0">
                <a:ln>
                  <a:noFill/>
                </a:ln>
                <a:solidFill>
                  <a:srgbClr val="5C707B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e </a:t>
            </a:r>
            <a:r>
              <a:rPr kumimoji="0" sz="1050" b="0" i="0" u="none" strike="noStrike" kern="1200" cap="none" spc="-5" normalizeH="0" baseline="0" noProof="0" dirty="0">
                <a:ln>
                  <a:noFill/>
                </a:ln>
                <a:solidFill>
                  <a:srgbClr val="5C707B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valorizzazione </a:t>
            </a:r>
            <a:r>
              <a:rPr kumimoji="0" sz="1050" b="0" i="0" u="none" strike="noStrike" kern="1200" cap="none" spc="0" normalizeH="0" baseline="0" noProof="0" dirty="0">
                <a:ln>
                  <a:noFill/>
                </a:ln>
                <a:solidFill>
                  <a:srgbClr val="5C707B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infrastrutture </a:t>
            </a:r>
            <a:r>
              <a:rPr kumimoji="0" sz="1050" b="0" i="0" u="none" strike="noStrike" kern="1200" cap="none" spc="-5" normalizeH="0" baseline="0" noProof="0" dirty="0">
                <a:ln>
                  <a:noFill/>
                </a:ln>
                <a:solidFill>
                  <a:srgbClr val="5C707B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sportive </a:t>
            </a:r>
            <a:r>
              <a:rPr kumimoji="0" sz="1050" b="0" i="0" u="none" strike="noStrike" kern="1200" cap="none" spc="0" normalizeH="0" baseline="0" noProof="0" dirty="0">
                <a:ln>
                  <a:noFill/>
                </a:ln>
                <a:solidFill>
                  <a:srgbClr val="5C707B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e </a:t>
            </a:r>
            <a:r>
              <a:rPr kumimoji="0" sz="1050" b="0" i="0" u="none" strike="noStrike" kern="1200" cap="none" spc="-305" normalizeH="0" baseline="0" noProof="0" dirty="0">
                <a:ln>
                  <a:noFill/>
                </a:ln>
                <a:solidFill>
                  <a:srgbClr val="5C707B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 </a:t>
            </a:r>
            <a:r>
              <a:rPr kumimoji="0" sz="1050" b="0" i="0" u="none" strike="noStrike" kern="1200" cap="none" spc="0" normalizeH="0" baseline="0" noProof="0" dirty="0">
                <a:ln>
                  <a:noFill/>
                </a:ln>
                <a:solidFill>
                  <a:srgbClr val="5C707B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culturali</a:t>
            </a:r>
            <a:endParaRPr kumimoji="0" sz="105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rebuchet MS"/>
              <a:ea typeface="+mn-ea"/>
              <a:cs typeface="Trebuchet MS"/>
            </a:endParaRPr>
          </a:p>
          <a:p>
            <a:pPr marL="184785" marR="0" lvl="0" indent="-17272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 MT"/>
              <a:buChar char="•"/>
              <a:tabLst>
                <a:tab pos="185420" algn="l"/>
              </a:tabLst>
              <a:defRPr/>
            </a:pPr>
            <a:r>
              <a:rPr kumimoji="0" sz="1050" b="0" i="0" u="none" strike="noStrike" kern="1200" cap="none" spc="0" normalizeH="0" baseline="0" noProof="0" dirty="0">
                <a:ln>
                  <a:noFill/>
                </a:ln>
                <a:solidFill>
                  <a:srgbClr val="5C707B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gestione</a:t>
            </a:r>
            <a:r>
              <a:rPr kumimoji="0" sz="1050" b="0" i="0" u="none" strike="noStrike" kern="1200" cap="none" spc="-35" normalizeH="0" baseline="0" noProof="0" dirty="0">
                <a:ln>
                  <a:noFill/>
                </a:ln>
                <a:solidFill>
                  <a:srgbClr val="5C707B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 </a:t>
            </a:r>
            <a:r>
              <a:rPr kumimoji="0" sz="1050" b="0" i="0" u="none" strike="noStrike" kern="1200" cap="none" spc="0" normalizeH="0" baseline="0" noProof="0" dirty="0">
                <a:ln>
                  <a:noFill/>
                </a:ln>
                <a:solidFill>
                  <a:srgbClr val="5C707B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team</a:t>
            </a:r>
            <a:r>
              <a:rPr kumimoji="0" sz="1050" b="0" i="0" u="none" strike="noStrike" kern="1200" cap="none" spc="-25" normalizeH="0" baseline="0" noProof="0" dirty="0">
                <a:ln>
                  <a:noFill/>
                </a:ln>
                <a:solidFill>
                  <a:srgbClr val="5C707B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 </a:t>
            </a:r>
            <a:r>
              <a:rPr kumimoji="0" sz="1050" b="0" i="0" u="none" strike="noStrike" kern="1200" cap="none" spc="-5" normalizeH="0" baseline="0" noProof="0" dirty="0">
                <a:ln>
                  <a:noFill/>
                </a:ln>
                <a:solidFill>
                  <a:srgbClr val="5C707B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multidisciplinari</a:t>
            </a:r>
            <a:endParaRPr kumimoji="0" sz="105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rebuchet MS"/>
              <a:ea typeface="+mn-ea"/>
              <a:cs typeface="Trebuchet MS"/>
            </a:endParaRPr>
          </a:p>
          <a:p>
            <a:pPr marL="184785" marR="0" lvl="0" indent="-17272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 MT"/>
              <a:buChar char="•"/>
              <a:tabLst>
                <a:tab pos="185420" algn="l"/>
              </a:tabLst>
              <a:defRPr/>
            </a:pPr>
            <a:r>
              <a:rPr kumimoji="0" sz="1050" b="0" i="0" u="none" strike="noStrike" kern="1200" cap="none" spc="-5" normalizeH="0" baseline="0" noProof="0" dirty="0">
                <a:ln>
                  <a:noFill/>
                </a:ln>
                <a:solidFill>
                  <a:srgbClr val="5C707B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strutturazione</a:t>
            </a:r>
            <a:r>
              <a:rPr kumimoji="0" sz="1050" b="0" i="0" u="none" strike="noStrike" kern="1200" cap="none" spc="-35" normalizeH="0" baseline="0" noProof="0" dirty="0">
                <a:ln>
                  <a:noFill/>
                </a:ln>
                <a:solidFill>
                  <a:srgbClr val="5C707B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 </a:t>
            </a:r>
            <a:r>
              <a:rPr kumimoji="0" sz="1050" b="0" i="0" u="none" strike="noStrike" kern="1200" cap="none" spc="-5" normalizeH="0" baseline="0" noProof="0" dirty="0">
                <a:ln>
                  <a:noFill/>
                </a:ln>
                <a:solidFill>
                  <a:srgbClr val="5C707B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operazioni</a:t>
            </a:r>
            <a:r>
              <a:rPr kumimoji="0" sz="1050" b="0" i="0" u="none" strike="noStrike" kern="1200" cap="none" spc="0" normalizeH="0" baseline="0" noProof="0" dirty="0">
                <a:ln>
                  <a:noFill/>
                </a:ln>
                <a:solidFill>
                  <a:srgbClr val="5C707B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 </a:t>
            </a:r>
            <a:r>
              <a:rPr kumimoji="0" sz="1050" b="0" i="0" u="none" strike="noStrike" kern="1200" cap="none" spc="-5" normalizeH="0" baseline="0" noProof="0" dirty="0">
                <a:ln>
                  <a:noFill/>
                </a:ln>
                <a:solidFill>
                  <a:srgbClr val="5C707B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finanziarie</a:t>
            </a:r>
            <a:r>
              <a:rPr kumimoji="0" sz="1050" b="0" i="0" u="none" strike="noStrike" kern="1200" cap="none" spc="-10" normalizeH="0" baseline="0" noProof="0" dirty="0">
                <a:ln>
                  <a:noFill/>
                </a:ln>
                <a:solidFill>
                  <a:srgbClr val="5C707B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 </a:t>
            </a:r>
            <a:r>
              <a:rPr kumimoji="0" sz="1050" b="0" i="0" u="none" strike="noStrike" kern="1200" cap="none" spc="0" normalizeH="0" baseline="0" noProof="0" dirty="0">
                <a:ln>
                  <a:noFill/>
                </a:ln>
                <a:solidFill>
                  <a:srgbClr val="5C707B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debito</a:t>
            </a:r>
            <a:r>
              <a:rPr kumimoji="0" sz="1050" b="0" i="0" u="none" strike="noStrike" kern="1200" cap="none" spc="-10" normalizeH="0" baseline="0" noProof="0" dirty="0">
                <a:ln>
                  <a:noFill/>
                </a:ln>
                <a:solidFill>
                  <a:srgbClr val="5C707B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 </a:t>
            </a:r>
            <a:r>
              <a:rPr kumimoji="0" sz="1050" b="0" i="0" u="none" strike="noStrike" kern="1200" cap="none" spc="0" normalizeH="0" baseline="0" noProof="0" dirty="0">
                <a:ln>
                  <a:noFill/>
                </a:ln>
                <a:solidFill>
                  <a:srgbClr val="5C707B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e</a:t>
            </a:r>
            <a:r>
              <a:rPr kumimoji="0" sz="1050" b="0" i="0" u="none" strike="noStrike" kern="1200" cap="none" spc="5" normalizeH="0" baseline="0" noProof="0" dirty="0">
                <a:ln>
                  <a:noFill/>
                </a:ln>
                <a:solidFill>
                  <a:srgbClr val="5C707B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 </a:t>
            </a:r>
            <a:r>
              <a:rPr kumimoji="0" sz="1050" b="0" i="0" u="none" strike="noStrike" kern="1200" cap="none" spc="0" normalizeH="0" baseline="0" noProof="0" dirty="0">
                <a:ln>
                  <a:noFill/>
                </a:ln>
                <a:solidFill>
                  <a:srgbClr val="5C707B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equity</a:t>
            </a:r>
            <a:endParaRPr kumimoji="0" sz="105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rebuchet MS"/>
              <a:ea typeface="+mn-ea"/>
              <a:cs typeface="Trebuchet MS"/>
            </a:endParaRPr>
          </a:p>
          <a:p>
            <a:pPr marL="184785" marR="0" lvl="0" indent="-17272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 MT"/>
              <a:buChar char="•"/>
              <a:tabLst>
                <a:tab pos="185420" algn="l"/>
              </a:tabLst>
              <a:defRPr/>
            </a:pPr>
            <a:r>
              <a:rPr kumimoji="0" sz="1050" b="0" i="0" u="none" strike="noStrike" kern="1200" cap="none" spc="0" normalizeH="0" baseline="0" noProof="0" dirty="0">
                <a:ln>
                  <a:noFill/>
                </a:ln>
                <a:solidFill>
                  <a:srgbClr val="5C707B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accesso</a:t>
            </a:r>
            <a:r>
              <a:rPr kumimoji="0" sz="1050" b="0" i="0" u="none" strike="noStrike" kern="1200" cap="none" spc="-40" normalizeH="0" baseline="0" noProof="0" dirty="0">
                <a:ln>
                  <a:noFill/>
                </a:ln>
                <a:solidFill>
                  <a:srgbClr val="5C707B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 </a:t>
            </a:r>
            <a:r>
              <a:rPr kumimoji="0" sz="1050" b="0" i="0" u="none" strike="noStrike" kern="1200" cap="none" spc="0" normalizeH="0" baseline="0" noProof="0" dirty="0">
                <a:ln>
                  <a:noFill/>
                </a:ln>
                <a:solidFill>
                  <a:srgbClr val="5C707B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ed</a:t>
            </a:r>
            <a:r>
              <a:rPr kumimoji="0" sz="1050" b="0" i="0" u="none" strike="noStrike" kern="1200" cap="none" spc="-10" normalizeH="0" baseline="0" noProof="0" dirty="0">
                <a:ln>
                  <a:noFill/>
                </a:ln>
                <a:solidFill>
                  <a:srgbClr val="5C707B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 </a:t>
            </a:r>
            <a:r>
              <a:rPr kumimoji="0" sz="1050" b="0" i="0" u="none" strike="noStrike" kern="1200" cap="none" spc="0" normalizeH="0" baseline="0" noProof="0" dirty="0">
                <a:ln>
                  <a:noFill/>
                </a:ln>
                <a:solidFill>
                  <a:srgbClr val="5C707B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utilizzo</a:t>
            </a:r>
            <a:r>
              <a:rPr kumimoji="0" sz="1050" b="0" i="0" u="none" strike="noStrike" kern="1200" cap="none" spc="-35" normalizeH="0" baseline="0" noProof="0" dirty="0">
                <a:ln>
                  <a:noFill/>
                </a:ln>
                <a:solidFill>
                  <a:srgbClr val="5C707B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 </a:t>
            </a:r>
            <a:r>
              <a:rPr kumimoji="0" sz="1050" b="0" i="0" u="none" strike="noStrike" kern="1200" cap="none" spc="0" normalizeH="0" baseline="0" noProof="0" dirty="0">
                <a:ln>
                  <a:noFill/>
                </a:ln>
                <a:solidFill>
                  <a:srgbClr val="5C707B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strumenti</a:t>
            </a:r>
            <a:r>
              <a:rPr kumimoji="0" sz="1050" b="0" i="0" u="none" strike="noStrike" kern="1200" cap="none" spc="-20" normalizeH="0" baseline="0" noProof="0" dirty="0">
                <a:ln>
                  <a:noFill/>
                </a:ln>
                <a:solidFill>
                  <a:srgbClr val="5C707B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 </a:t>
            </a:r>
            <a:r>
              <a:rPr kumimoji="0" sz="1050" b="0" i="0" u="none" strike="noStrike" kern="1200" cap="none" spc="0" normalizeH="0" baseline="0" noProof="0" dirty="0">
                <a:ln>
                  <a:noFill/>
                </a:ln>
                <a:solidFill>
                  <a:srgbClr val="5C707B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agevolati</a:t>
            </a:r>
            <a:r>
              <a:rPr kumimoji="0" sz="1050" b="0" i="0" u="none" strike="noStrike" kern="1200" cap="none" spc="-30" normalizeH="0" baseline="0" noProof="0" dirty="0">
                <a:ln>
                  <a:noFill/>
                </a:ln>
                <a:solidFill>
                  <a:srgbClr val="5C707B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 </a:t>
            </a:r>
            <a:r>
              <a:rPr kumimoji="0" sz="1050" b="0" i="0" u="none" strike="noStrike" kern="1200" cap="none" spc="0" normalizeH="0" baseline="0" noProof="0" dirty="0">
                <a:ln>
                  <a:noFill/>
                </a:ln>
                <a:solidFill>
                  <a:srgbClr val="5C707B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e</a:t>
            </a:r>
            <a:r>
              <a:rPr kumimoji="0" sz="1050" b="0" i="0" u="none" strike="noStrike" kern="1200" cap="none" spc="-5" normalizeH="0" baseline="0" noProof="0" dirty="0">
                <a:ln>
                  <a:noFill/>
                </a:ln>
                <a:solidFill>
                  <a:srgbClr val="5C707B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 operazioni</a:t>
            </a:r>
            <a:r>
              <a:rPr kumimoji="0" sz="1050" b="0" i="0" u="none" strike="noStrike" kern="1200" cap="none" spc="-10" normalizeH="0" baseline="0" noProof="0" dirty="0">
                <a:ln>
                  <a:noFill/>
                </a:ln>
                <a:solidFill>
                  <a:srgbClr val="5C707B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 </a:t>
            </a:r>
            <a:r>
              <a:rPr kumimoji="0" sz="1050" b="0" i="0" u="none" strike="noStrike" kern="1200" cap="none" spc="0" normalizeH="0" baseline="0" noProof="0" dirty="0">
                <a:ln>
                  <a:noFill/>
                </a:ln>
                <a:solidFill>
                  <a:srgbClr val="5C707B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di</a:t>
            </a:r>
            <a:r>
              <a:rPr kumimoji="0" sz="1050" b="0" i="0" u="none" strike="noStrike" kern="1200" cap="none" spc="-10" normalizeH="0" baseline="0" noProof="0" dirty="0">
                <a:ln>
                  <a:noFill/>
                </a:ln>
                <a:solidFill>
                  <a:srgbClr val="5C707B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 </a:t>
            </a:r>
            <a:r>
              <a:rPr kumimoji="0" sz="1050" b="0" i="0" u="none" strike="noStrike" kern="1200" cap="none" spc="-5" normalizeH="0" baseline="0" noProof="0" dirty="0">
                <a:ln>
                  <a:noFill/>
                </a:ln>
                <a:solidFill>
                  <a:srgbClr val="5C707B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PPP</a:t>
            </a:r>
            <a:endParaRPr kumimoji="0" sz="105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rebuchet MS"/>
              <a:ea typeface="+mn-ea"/>
              <a:cs typeface="Trebuchet MS"/>
            </a:endParaRPr>
          </a:p>
        </p:txBody>
      </p:sp>
      <p:sp>
        <p:nvSpPr>
          <p:cNvPr id="27" name="object 27"/>
          <p:cNvSpPr txBox="1"/>
          <p:nvPr/>
        </p:nvSpPr>
        <p:spPr>
          <a:xfrm>
            <a:off x="3768597" y="1351581"/>
            <a:ext cx="2386330" cy="3911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634365" marR="5080" lvl="0" indent="-622300" algn="l" defTabSz="9144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200" b="0" i="1" u="none" strike="noStrike" kern="1200" cap="none" spc="-5" normalizeH="0" baseline="0" noProof="0" dirty="0">
                <a:ln>
                  <a:noFill/>
                </a:ln>
                <a:solidFill>
                  <a:srgbClr val="5C707B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Advisory tecnico </a:t>
            </a:r>
            <a:r>
              <a:rPr kumimoji="0" sz="1200" b="0" i="1" u="none" strike="noStrike" kern="1200" cap="none" spc="0" normalizeH="0" baseline="0" noProof="0" dirty="0">
                <a:ln>
                  <a:noFill/>
                </a:ln>
                <a:solidFill>
                  <a:srgbClr val="5C707B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per </a:t>
            </a:r>
            <a:r>
              <a:rPr kumimoji="0" sz="1200" b="0" i="1" u="none" strike="noStrike" kern="1200" cap="none" spc="-5" normalizeH="0" baseline="0" noProof="0" dirty="0">
                <a:ln>
                  <a:noFill/>
                </a:ln>
                <a:solidFill>
                  <a:srgbClr val="5C707B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realizzazione </a:t>
            </a:r>
            <a:r>
              <a:rPr kumimoji="0" sz="1200" b="0" i="1" u="none" strike="noStrike" kern="1200" cap="none" spc="-350" normalizeH="0" baseline="0" noProof="0" dirty="0">
                <a:ln>
                  <a:noFill/>
                </a:ln>
                <a:solidFill>
                  <a:srgbClr val="5C707B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 </a:t>
            </a:r>
            <a:r>
              <a:rPr kumimoji="0" sz="1200" b="0" i="1" u="none" strike="noStrike" kern="1200" cap="none" spc="0" normalizeH="0" baseline="0" noProof="0" dirty="0">
                <a:ln>
                  <a:noFill/>
                </a:ln>
                <a:solidFill>
                  <a:srgbClr val="5C707B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e</a:t>
            </a:r>
            <a:r>
              <a:rPr kumimoji="0" sz="1200" b="0" i="1" u="none" strike="noStrike" kern="1200" cap="none" spc="-5" normalizeH="0" baseline="0" noProof="0" dirty="0">
                <a:ln>
                  <a:noFill/>
                </a:ln>
                <a:solidFill>
                  <a:srgbClr val="5C707B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 valorizzazione</a:t>
            </a:r>
            <a:endParaRPr kumimoji="0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rebuchet MS"/>
              <a:ea typeface="+mn-ea"/>
              <a:cs typeface="Trebuchet MS"/>
            </a:endParaRPr>
          </a:p>
        </p:txBody>
      </p:sp>
      <p:sp>
        <p:nvSpPr>
          <p:cNvPr id="28" name="object 28"/>
          <p:cNvSpPr txBox="1"/>
          <p:nvPr/>
        </p:nvSpPr>
        <p:spPr>
          <a:xfrm>
            <a:off x="4117441" y="1988917"/>
            <a:ext cx="1561465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0" lvl="0" indent="0" algn="l" defTabSz="9144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200" b="0" i="1" u="none" strike="noStrike" kern="1200" cap="none" spc="-5" normalizeH="0" baseline="0" noProof="0" dirty="0">
                <a:ln>
                  <a:noFill/>
                </a:ln>
                <a:solidFill>
                  <a:srgbClr val="5C707B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Advisory</a:t>
            </a:r>
            <a:r>
              <a:rPr kumimoji="0" sz="1200" b="0" i="1" u="none" strike="noStrike" kern="1200" cap="none" spc="-40" normalizeH="0" baseline="0" noProof="0" dirty="0">
                <a:ln>
                  <a:noFill/>
                </a:ln>
                <a:solidFill>
                  <a:srgbClr val="5C707B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 </a:t>
            </a:r>
            <a:r>
              <a:rPr kumimoji="0" sz="1200" b="0" i="1" u="none" strike="noStrike" kern="1200" cap="none" spc="-5" normalizeH="0" baseline="0" noProof="0" dirty="0">
                <a:ln>
                  <a:noFill/>
                </a:ln>
                <a:solidFill>
                  <a:srgbClr val="5C707B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Business</a:t>
            </a:r>
            <a:r>
              <a:rPr kumimoji="0" sz="1200" b="0" i="1" u="none" strike="noStrike" kern="1200" cap="none" spc="-30" normalizeH="0" baseline="0" noProof="0" dirty="0">
                <a:ln>
                  <a:noFill/>
                </a:ln>
                <a:solidFill>
                  <a:srgbClr val="5C707B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 </a:t>
            </a:r>
            <a:r>
              <a:rPr kumimoji="0" sz="1200" b="0" i="1" u="none" strike="noStrike" kern="1200" cap="none" spc="-5" normalizeH="0" baseline="0" noProof="0" dirty="0">
                <a:ln>
                  <a:noFill/>
                </a:ln>
                <a:solidFill>
                  <a:srgbClr val="5C707B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Plan</a:t>
            </a:r>
            <a:endParaRPr kumimoji="0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rebuchet MS"/>
              <a:ea typeface="+mn-ea"/>
              <a:cs typeface="Trebuchet MS"/>
            </a:endParaRPr>
          </a:p>
        </p:txBody>
      </p:sp>
      <p:sp>
        <p:nvSpPr>
          <p:cNvPr id="29" name="object 29"/>
          <p:cNvSpPr txBox="1"/>
          <p:nvPr/>
        </p:nvSpPr>
        <p:spPr>
          <a:xfrm>
            <a:off x="3978757" y="2580991"/>
            <a:ext cx="1839595" cy="3911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547370" marR="5080" lvl="0" indent="-535305" algn="l" defTabSz="9144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200" b="0" i="1" u="none" strike="noStrike" kern="1200" cap="none" spc="-5" normalizeH="0" baseline="0" noProof="0" dirty="0">
                <a:ln>
                  <a:noFill/>
                </a:ln>
                <a:solidFill>
                  <a:srgbClr val="5C707B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Strutturazione</a:t>
            </a:r>
            <a:r>
              <a:rPr kumimoji="0" sz="1200" b="0" i="1" u="none" strike="noStrike" kern="1200" cap="none" spc="-80" normalizeH="0" baseline="0" noProof="0" dirty="0">
                <a:ln>
                  <a:noFill/>
                </a:ln>
                <a:solidFill>
                  <a:srgbClr val="5C707B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 </a:t>
            </a:r>
            <a:r>
              <a:rPr kumimoji="0" sz="1200" b="0" i="1" u="none" strike="noStrike" kern="1200" cap="none" spc="0" normalizeH="0" baseline="0" noProof="0" dirty="0">
                <a:ln>
                  <a:noFill/>
                </a:ln>
                <a:solidFill>
                  <a:srgbClr val="5C707B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operazione </a:t>
            </a:r>
            <a:r>
              <a:rPr kumimoji="0" sz="1200" b="0" i="1" u="none" strike="noStrike" kern="1200" cap="none" spc="-345" normalizeH="0" baseline="0" noProof="0" dirty="0">
                <a:ln>
                  <a:noFill/>
                </a:ln>
                <a:solidFill>
                  <a:srgbClr val="5C707B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 </a:t>
            </a:r>
            <a:r>
              <a:rPr kumimoji="0" sz="1200" b="0" i="1" u="none" strike="noStrike" kern="1200" cap="none" spc="-5" normalizeH="0" baseline="0" noProof="0" dirty="0">
                <a:ln>
                  <a:noFill/>
                </a:ln>
                <a:solidFill>
                  <a:srgbClr val="5C707B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finanziaria</a:t>
            </a:r>
            <a:endParaRPr kumimoji="0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rebuchet MS"/>
              <a:ea typeface="+mn-ea"/>
              <a:cs typeface="Trebuchet MS"/>
            </a:endParaRPr>
          </a:p>
        </p:txBody>
      </p:sp>
      <p:sp>
        <p:nvSpPr>
          <p:cNvPr id="30" name="object 30"/>
          <p:cNvSpPr txBox="1"/>
          <p:nvPr/>
        </p:nvSpPr>
        <p:spPr>
          <a:xfrm>
            <a:off x="3835806" y="3209946"/>
            <a:ext cx="2350135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0" lvl="0" indent="0" algn="l" defTabSz="9144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200" b="0" i="1" u="none" strike="noStrike" kern="1200" cap="none" spc="0" normalizeH="0" baseline="0" noProof="0" dirty="0">
                <a:ln>
                  <a:noFill/>
                </a:ln>
                <a:solidFill>
                  <a:srgbClr val="5C707B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Scouting</a:t>
            </a:r>
            <a:r>
              <a:rPr kumimoji="0" sz="1200" b="0" i="1" u="none" strike="noStrike" kern="1200" cap="none" spc="-45" normalizeH="0" baseline="0" noProof="0" dirty="0">
                <a:ln>
                  <a:noFill/>
                </a:ln>
                <a:solidFill>
                  <a:srgbClr val="5C707B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 </a:t>
            </a:r>
            <a:r>
              <a:rPr kumimoji="0" sz="1200" b="0" i="1" u="none" strike="noStrike" kern="1200" cap="none" spc="-5" normalizeH="0" baseline="0" noProof="0" dirty="0">
                <a:ln>
                  <a:noFill/>
                </a:ln>
                <a:solidFill>
                  <a:srgbClr val="5C707B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investitori</a:t>
            </a:r>
            <a:r>
              <a:rPr kumimoji="0" sz="1200" b="0" i="1" u="none" strike="noStrike" kern="1200" cap="none" spc="-35" normalizeH="0" baseline="0" noProof="0" dirty="0">
                <a:ln>
                  <a:noFill/>
                </a:ln>
                <a:solidFill>
                  <a:srgbClr val="5C707B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 </a:t>
            </a:r>
            <a:r>
              <a:rPr kumimoji="0" sz="1200" b="0" i="1" u="none" strike="noStrike" kern="1200" cap="none" spc="0" normalizeH="0" baseline="0" noProof="0" dirty="0">
                <a:ln>
                  <a:noFill/>
                </a:ln>
                <a:solidFill>
                  <a:srgbClr val="5C707B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e</a:t>
            </a:r>
            <a:r>
              <a:rPr kumimoji="0" sz="1200" b="0" i="1" u="none" strike="noStrike" kern="1200" cap="none" spc="10" normalizeH="0" baseline="0" noProof="0" dirty="0">
                <a:ln>
                  <a:noFill/>
                </a:ln>
                <a:solidFill>
                  <a:srgbClr val="5C707B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 </a:t>
            </a:r>
            <a:r>
              <a:rPr kumimoji="0" sz="1200" b="0" i="1" u="none" strike="noStrike" kern="1200" cap="none" spc="-5" normalizeH="0" baseline="0" noProof="0" dirty="0">
                <a:ln>
                  <a:noFill/>
                </a:ln>
                <a:solidFill>
                  <a:srgbClr val="5C707B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finanziatori</a:t>
            </a:r>
            <a:endParaRPr kumimoji="0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rebuchet MS"/>
              <a:ea typeface="+mn-ea"/>
              <a:cs typeface="Trebuchet MS"/>
            </a:endParaRPr>
          </a:p>
        </p:txBody>
      </p:sp>
      <p:sp>
        <p:nvSpPr>
          <p:cNvPr id="31" name="object 31"/>
          <p:cNvSpPr txBox="1"/>
          <p:nvPr/>
        </p:nvSpPr>
        <p:spPr>
          <a:xfrm>
            <a:off x="4231894" y="3789981"/>
            <a:ext cx="1459865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0" lvl="0" indent="0" algn="l" defTabSz="9144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200" b="0" i="1" u="none" strike="noStrike" kern="1200" cap="none" spc="0" normalizeH="0" baseline="0" noProof="0" dirty="0">
                <a:ln>
                  <a:noFill/>
                </a:ln>
                <a:solidFill>
                  <a:srgbClr val="5C707B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Scouting</a:t>
            </a:r>
            <a:r>
              <a:rPr kumimoji="0" sz="1200" b="0" i="1" u="none" strike="noStrike" kern="1200" cap="none" spc="-90" normalizeH="0" baseline="0" noProof="0" dirty="0">
                <a:ln>
                  <a:noFill/>
                </a:ln>
                <a:solidFill>
                  <a:srgbClr val="5C707B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 </a:t>
            </a:r>
            <a:r>
              <a:rPr kumimoji="0" sz="1200" b="0" i="1" u="none" strike="noStrike" kern="1200" cap="none" spc="-5" normalizeH="0" baseline="0" noProof="0" dirty="0">
                <a:ln>
                  <a:noFill/>
                </a:ln>
                <a:solidFill>
                  <a:srgbClr val="5C707B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Sponsorship</a:t>
            </a:r>
            <a:endParaRPr kumimoji="0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rebuchet MS"/>
              <a:ea typeface="+mn-ea"/>
              <a:cs typeface="Trebuchet MS"/>
            </a:endParaRPr>
          </a:p>
        </p:txBody>
      </p:sp>
      <p:sp>
        <p:nvSpPr>
          <p:cNvPr id="32" name="object 32"/>
          <p:cNvSpPr txBox="1"/>
          <p:nvPr/>
        </p:nvSpPr>
        <p:spPr>
          <a:xfrm>
            <a:off x="4607472" y="4970257"/>
            <a:ext cx="3829050" cy="666750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84785" marR="5080" lvl="0" indent="-172720" algn="l" defTabSz="914400" rtl="0" eaLnBrk="1" fontAlgn="auto" latinLnBrk="0" hangingPunct="1">
              <a:lnSpc>
                <a:spcPct val="100000"/>
              </a:lnSpc>
              <a:spcBef>
                <a:spcPts val="105"/>
              </a:spcBef>
              <a:spcAft>
                <a:spcPts val="0"/>
              </a:spcAft>
              <a:buClrTx/>
              <a:buSzTx/>
              <a:buFont typeface="Arial MT"/>
              <a:buChar char="•"/>
              <a:tabLst>
                <a:tab pos="185420" algn="l"/>
              </a:tabLst>
              <a:defRPr/>
            </a:pPr>
            <a:r>
              <a:rPr kumimoji="0" sz="1050" b="0" i="0" u="none" strike="noStrike" kern="1200" cap="none" spc="-5" normalizeH="0" baseline="0" noProof="0" dirty="0">
                <a:ln>
                  <a:noFill/>
                </a:ln>
                <a:solidFill>
                  <a:srgbClr val="5C707B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Servizi </a:t>
            </a:r>
            <a:r>
              <a:rPr kumimoji="0" sz="1050" b="0" i="0" u="none" strike="noStrike" kern="1200" cap="none" spc="0" normalizeH="0" baseline="0" noProof="0" dirty="0">
                <a:ln>
                  <a:noFill/>
                </a:ln>
                <a:solidFill>
                  <a:srgbClr val="5C707B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end-to-end </a:t>
            </a:r>
            <a:r>
              <a:rPr kumimoji="0" sz="1050" b="0" i="0" u="none" strike="noStrike" kern="1200" cap="none" spc="-5" normalizeH="0" baseline="0" noProof="0" dirty="0">
                <a:ln>
                  <a:noFill/>
                </a:ln>
                <a:solidFill>
                  <a:srgbClr val="5C707B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modulari </a:t>
            </a:r>
            <a:r>
              <a:rPr kumimoji="0" sz="1050" b="0" i="0" u="none" strike="noStrike" kern="1200" cap="none" spc="0" normalizeH="0" baseline="0" noProof="0" dirty="0">
                <a:ln>
                  <a:noFill/>
                </a:ln>
                <a:solidFill>
                  <a:srgbClr val="5C707B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per </a:t>
            </a:r>
            <a:r>
              <a:rPr kumimoji="0" sz="1050" b="0" i="0" u="none" strike="noStrike" kern="1200" cap="none" spc="-5" normalizeH="0" baseline="0" noProof="0" dirty="0">
                <a:ln>
                  <a:noFill/>
                </a:ln>
                <a:solidFill>
                  <a:srgbClr val="5C707B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originare operazioni </a:t>
            </a:r>
            <a:r>
              <a:rPr kumimoji="0" sz="1050" b="0" i="0" u="none" strike="noStrike" kern="1200" cap="none" spc="0" normalizeH="0" baseline="0" noProof="0" dirty="0">
                <a:ln>
                  <a:noFill/>
                </a:ln>
                <a:solidFill>
                  <a:srgbClr val="5C707B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 infrastrutturali</a:t>
            </a:r>
            <a:r>
              <a:rPr kumimoji="0" sz="1050" b="0" i="0" u="none" strike="noStrike" kern="1200" cap="none" spc="-55" normalizeH="0" baseline="0" noProof="0" dirty="0">
                <a:ln>
                  <a:noFill/>
                </a:ln>
                <a:solidFill>
                  <a:srgbClr val="5C707B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 </a:t>
            </a:r>
            <a:r>
              <a:rPr kumimoji="0" sz="1050" b="0" i="0" u="none" strike="noStrike" kern="1200" cap="none" spc="0" normalizeH="0" baseline="0" noProof="0" dirty="0">
                <a:ln>
                  <a:noFill/>
                </a:ln>
                <a:solidFill>
                  <a:srgbClr val="5C707B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facendo</a:t>
            </a:r>
            <a:r>
              <a:rPr kumimoji="0" sz="1050" b="0" i="0" u="none" strike="noStrike" kern="1200" cap="none" spc="-25" normalizeH="0" baseline="0" noProof="0" dirty="0">
                <a:ln>
                  <a:noFill/>
                </a:ln>
                <a:solidFill>
                  <a:srgbClr val="5C707B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 </a:t>
            </a:r>
            <a:r>
              <a:rPr kumimoji="0" sz="1050" b="0" i="0" u="none" strike="noStrike" kern="1200" cap="none" spc="0" normalizeH="0" baseline="0" noProof="0" dirty="0">
                <a:ln>
                  <a:noFill/>
                </a:ln>
                <a:solidFill>
                  <a:srgbClr val="5C707B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leva</a:t>
            </a:r>
            <a:r>
              <a:rPr kumimoji="0" sz="1050" b="0" i="0" u="none" strike="noStrike" kern="1200" cap="none" spc="-15" normalizeH="0" baseline="0" noProof="0" dirty="0">
                <a:ln>
                  <a:noFill/>
                </a:ln>
                <a:solidFill>
                  <a:srgbClr val="5C707B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 </a:t>
            </a:r>
            <a:r>
              <a:rPr kumimoji="0" sz="1050" b="0" i="0" u="none" strike="noStrike" kern="1200" cap="none" spc="0" normalizeH="0" baseline="0" noProof="0" dirty="0">
                <a:ln>
                  <a:noFill/>
                </a:ln>
                <a:solidFill>
                  <a:srgbClr val="5C707B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su</a:t>
            </a:r>
            <a:r>
              <a:rPr kumimoji="0" sz="1050" b="0" i="0" u="none" strike="noStrike" kern="1200" cap="none" spc="-30" normalizeH="0" baseline="0" noProof="0" dirty="0">
                <a:ln>
                  <a:noFill/>
                </a:ln>
                <a:solidFill>
                  <a:srgbClr val="5C707B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 </a:t>
            </a:r>
            <a:r>
              <a:rPr kumimoji="0" sz="1050" b="0" i="0" u="none" strike="noStrike" kern="1200" cap="none" spc="0" normalizeH="0" baseline="0" noProof="0" dirty="0">
                <a:ln>
                  <a:noFill/>
                </a:ln>
                <a:solidFill>
                  <a:srgbClr val="5C707B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un</a:t>
            </a:r>
            <a:r>
              <a:rPr kumimoji="0" sz="1050" b="0" i="0" u="none" strike="noStrike" kern="1200" cap="none" spc="-15" normalizeH="0" baseline="0" noProof="0" dirty="0">
                <a:ln>
                  <a:noFill/>
                </a:ln>
                <a:solidFill>
                  <a:srgbClr val="5C707B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 </a:t>
            </a:r>
            <a:r>
              <a:rPr kumimoji="0" sz="1050" b="0" i="0" u="none" strike="noStrike" kern="1200" cap="none" spc="0" normalizeH="0" baseline="0" noProof="0" dirty="0">
                <a:ln>
                  <a:noFill/>
                </a:ln>
                <a:solidFill>
                  <a:srgbClr val="5C707B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set</a:t>
            </a:r>
            <a:r>
              <a:rPr kumimoji="0" sz="1050" b="0" i="0" u="none" strike="noStrike" kern="1200" cap="none" spc="-25" normalizeH="0" baseline="0" noProof="0" dirty="0">
                <a:ln>
                  <a:noFill/>
                </a:ln>
                <a:solidFill>
                  <a:srgbClr val="5C707B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 </a:t>
            </a:r>
            <a:r>
              <a:rPr kumimoji="0" sz="1050" b="0" i="0" u="none" strike="noStrike" kern="1200" cap="none" spc="0" normalizeH="0" baseline="0" noProof="0" dirty="0">
                <a:ln>
                  <a:noFill/>
                </a:ln>
                <a:solidFill>
                  <a:srgbClr val="5C707B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consolidato</a:t>
            </a:r>
            <a:r>
              <a:rPr kumimoji="0" sz="1050" b="0" i="0" u="none" strike="noStrike" kern="1200" cap="none" spc="-45" normalizeH="0" baseline="0" noProof="0" dirty="0">
                <a:ln>
                  <a:noFill/>
                </a:ln>
                <a:solidFill>
                  <a:srgbClr val="5C707B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 </a:t>
            </a:r>
            <a:r>
              <a:rPr kumimoji="0" sz="1050" b="0" i="0" u="none" strike="noStrike" kern="1200" cap="none" spc="0" normalizeH="0" baseline="0" noProof="0" dirty="0">
                <a:ln>
                  <a:noFill/>
                </a:ln>
                <a:solidFill>
                  <a:srgbClr val="5C707B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di</a:t>
            </a:r>
            <a:r>
              <a:rPr kumimoji="0" sz="1050" b="0" i="0" u="none" strike="noStrike" kern="1200" cap="none" spc="-15" normalizeH="0" baseline="0" noProof="0" dirty="0">
                <a:ln>
                  <a:noFill/>
                </a:ln>
                <a:solidFill>
                  <a:srgbClr val="5C707B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 </a:t>
            </a:r>
            <a:r>
              <a:rPr kumimoji="0" sz="1050" b="0" i="0" u="none" strike="noStrike" kern="1200" cap="none" spc="0" normalizeH="0" baseline="0" noProof="0" dirty="0">
                <a:ln>
                  <a:noFill/>
                </a:ln>
                <a:solidFill>
                  <a:srgbClr val="5C707B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partner </a:t>
            </a:r>
            <a:r>
              <a:rPr kumimoji="0" sz="1050" b="0" i="0" u="none" strike="noStrike" kern="1200" cap="none" spc="-300" normalizeH="0" baseline="0" noProof="0" dirty="0">
                <a:ln>
                  <a:noFill/>
                </a:ln>
                <a:solidFill>
                  <a:srgbClr val="5C707B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 </a:t>
            </a:r>
            <a:r>
              <a:rPr kumimoji="0" sz="1050" b="0" i="0" u="none" strike="noStrike" kern="1200" cap="none" spc="0" normalizeH="0" baseline="0" noProof="0" dirty="0">
                <a:ln>
                  <a:noFill/>
                </a:ln>
                <a:solidFill>
                  <a:srgbClr val="5C707B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da</a:t>
            </a:r>
            <a:r>
              <a:rPr kumimoji="0" sz="1050" b="0" i="0" u="none" strike="noStrike" kern="1200" cap="none" spc="-10" normalizeH="0" baseline="0" noProof="0" dirty="0">
                <a:ln>
                  <a:noFill/>
                </a:ln>
                <a:solidFill>
                  <a:srgbClr val="5C707B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 </a:t>
            </a:r>
            <a:r>
              <a:rPr kumimoji="0" sz="1050" b="0" i="0" u="none" strike="noStrike" kern="1200" cap="none" spc="-5" normalizeH="0" baseline="0" noProof="0" dirty="0">
                <a:ln>
                  <a:noFill/>
                </a:ln>
                <a:solidFill>
                  <a:srgbClr val="5C707B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espandere</a:t>
            </a:r>
            <a:r>
              <a:rPr kumimoji="0" sz="1050" b="0" i="0" u="none" strike="noStrike" kern="1200" cap="none" spc="-20" normalizeH="0" baseline="0" noProof="0" dirty="0">
                <a:ln>
                  <a:noFill/>
                </a:ln>
                <a:solidFill>
                  <a:srgbClr val="5C707B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 </a:t>
            </a:r>
            <a:r>
              <a:rPr kumimoji="0" sz="1050" b="0" i="0" u="none" strike="noStrike" kern="1200" cap="none" spc="-5" normalizeH="0" baseline="0" noProof="0" dirty="0">
                <a:ln>
                  <a:noFill/>
                </a:ln>
                <a:solidFill>
                  <a:srgbClr val="5C707B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selettivamente</a:t>
            </a:r>
            <a:endParaRPr kumimoji="0" sz="105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rebuchet MS"/>
              <a:ea typeface="+mn-ea"/>
              <a:cs typeface="Trebuchet MS"/>
            </a:endParaRPr>
          </a:p>
          <a:p>
            <a:pPr marL="184785" marR="0" lvl="0" indent="-17272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 MT"/>
              <a:buChar char="•"/>
              <a:tabLst>
                <a:tab pos="185420" algn="l"/>
              </a:tabLst>
              <a:defRPr/>
            </a:pPr>
            <a:r>
              <a:rPr kumimoji="0" sz="1050" b="0" i="0" u="none" strike="noStrike" kern="1200" cap="none" spc="0" normalizeH="0" baseline="0" noProof="0" dirty="0">
                <a:ln>
                  <a:noFill/>
                </a:ln>
                <a:solidFill>
                  <a:srgbClr val="5C707B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A</a:t>
            </a:r>
            <a:r>
              <a:rPr kumimoji="0" sz="1050" b="0" i="0" u="none" strike="noStrike" kern="1200" cap="none" spc="-10" normalizeH="0" baseline="0" noProof="0" dirty="0">
                <a:ln>
                  <a:noFill/>
                </a:ln>
                <a:solidFill>
                  <a:srgbClr val="5C707B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 </a:t>
            </a:r>
            <a:r>
              <a:rPr kumimoji="0" sz="1050" b="0" i="0" u="none" strike="noStrike" kern="1200" cap="none" spc="0" normalizeH="0" baseline="0" noProof="0" dirty="0">
                <a:ln>
                  <a:noFill/>
                </a:ln>
                <a:solidFill>
                  <a:srgbClr val="5C707B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tendere</a:t>
            </a:r>
            <a:r>
              <a:rPr kumimoji="0" sz="1050" b="0" i="0" u="none" strike="noStrike" kern="1200" cap="none" spc="-10" normalizeH="0" baseline="0" noProof="0" dirty="0">
                <a:ln>
                  <a:noFill/>
                </a:ln>
                <a:solidFill>
                  <a:srgbClr val="5C707B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 </a:t>
            </a:r>
            <a:r>
              <a:rPr kumimoji="0" sz="1050" b="0" i="0" u="none" strike="noStrike" kern="1200" cap="none" spc="-5" normalizeH="0" baseline="0" noProof="0" dirty="0">
                <a:ln>
                  <a:noFill/>
                </a:ln>
                <a:solidFill>
                  <a:srgbClr val="5C707B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non</a:t>
            </a:r>
            <a:r>
              <a:rPr kumimoji="0" sz="1050" b="0" i="0" u="none" strike="noStrike" kern="1200" cap="none" spc="-25" normalizeH="0" baseline="0" noProof="0" dirty="0">
                <a:ln>
                  <a:noFill/>
                </a:ln>
                <a:solidFill>
                  <a:srgbClr val="5C707B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 </a:t>
            </a:r>
            <a:r>
              <a:rPr kumimoji="0" sz="1050" b="0" i="0" u="none" strike="noStrike" kern="1200" cap="none" spc="0" normalizeH="0" baseline="0" noProof="0" dirty="0">
                <a:ln>
                  <a:noFill/>
                </a:ln>
                <a:solidFill>
                  <a:srgbClr val="5C707B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solo</a:t>
            </a:r>
            <a:r>
              <a:rPr kumimoji="0" sz="1050" b="0" i="0" u="none" strike="noStrike" kern="1200" cap="none" spc="-15" normalizeH="0" baseline="0" noProof="0" dirty="0">
                <a:ln>
                  <a:noFill/>
                </a:ln>
                <a:solidFill>
                  <a:srgbClr val="5C707B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 </a:t>
            </a:r>
            <a:r>
              <a:rPr kumimoji="0" sz="1050" b="0" i="0" u="none" strike="noStrike" kern="1200" cap="none" spc="0" normalizeH="0" baseline="0" noProof="0" dirty="0">
                <a:ln>
                  <a:noFill/>
                </a:ln>
                <a:solidFill>
                  <a:srgbClr val="5C707B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sulla</a:t>
            </a:r>
            <a:r>
              <a:rPr kumimoji="0" sz="1050" b="0" i="0" u="none" strike="noStrike" kern="1200" cap="none" spc="-25" normalizeH="0" baseline="0" noProof="0" dirty="0">
                <a:ln>
                  <a:noFill/>
                </a:ln>
                <a:solidFill>
                  <a:srgbClr val="5C707B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 </a:t>
            </a:r>
            <a:r>
              <a:rPr kumimoji="0" sz="1050" b="0" i="0" u="none" strike="noStrike" kern="1200" cap="none" spc="-5" normalizeH="0" baseline="0" noProof="0" dirty="0">
                <a:ln>
                  <a:noFill/>
                </a:ln>
                <a:solidFill>
                  <a:srgbClr val="5C707B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parte</a:t>
            </a:r>
            <a:r>
              <a:rPr kumimoji="0" sz="1050" b="0" i="0" u="none" strike="noStrike" kern="1200" cap="none" spc="-25" normalizeH="0" baseline="0" noProof="0" dirty="0">
                <a:ln>
                  <a:noFill/>
                </a:ln>
                <a:solidFill>
                  <a:srgbClr val="5C707B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 </a:t>
            </a:r>
            <a:r>
              <a:rPr kumimoji="0" sz="1050" b="0" i="0" u="none" strike="noStrike" kern="1200" cap="none" spc="0" normalizeH="0" baseline="0" noProof="0" dirty="0">
                <a:ln>
                  <a:noFill/>
                </a:ln>
                <a:solidFill>
                  <a:srgbClr val="5C707B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investimenti</a:t>
            </a:r>
            <a:endParaRPr kumimoji="0" sz="105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rebuchet MS"/>
              <a:ea typeface="+mn-ea"/>
              <a:cs typeface="Trebuchet MS"/>
            </a:endParaRPr>
          </a:p>
        </p:txBody>
      </p:sp>
      <p:grpSp>
        <p:nvGrpSpPr>
          <p:cNvPr id="33" name="object 33"/>
          <p:cNvGrpSpPr/>
          <p:nvPr/>
        </p:nvGrpSpPr>
        <p:grpSpPr>
          <a:xfrm>
            <a:off x="7753188" y="1188944"/>
            <a:ext cx="3172460" cy="3162935"/>
            <a:chOff x="7753188" y="1188944"/>
            <a:chExt cx="3172460" cy="3162935"/>
          </a:xfrm>
        </p:grpSpPr>
        <p:sp>
          <p:nvSpPr>
            <p:cNvPr id="34" name="object 34"/>
            <p:cNvSpPr/>
            <p:nvPr/>
          </p:nvSpPr>
          <p:spPr>
            <a:xfrm>
              <a:off x="9424954" y="1190525"/>
              <a:ext cx="1090930" cy="1395095"/>
            </a:xfrm>
            <a:custGeom>
              <a:avLst/>
              <a:gdLst/>
              <a:ahLst/>
              <a:cxnLst/>
              <a:rect l="l" t="t" r="r" b="b"/>
              <a:pathLst>
                <a:path w="1090929" h="1395095">
                  <a:moveTo>
                    <a:pt x="0" y="0"/>
                  </a:moveTo>
                  <a:lnTo>
                    <a:pt x="0" y="1395056"/>
                  </a:lnTo>
                  <a:lnTo>
                    <a:pt x="1090701" y="525246"/>
                  </a:lnTo>
                  <a:lnTo>
                    <a:pt x="1058287" y="486085"/>
                  </a:lnTo>
                  <a:lnTo>
                    <a:pt x="1024604" y="448275"/>
                  </a:lnTo>
                  <a:lnTo>
                    <a:pt x="989696" y="411838"/>
                  </a:lnTo>
                  <a:lnTo>
                    <a:pt x="953606" y="376795"/>
                  </a:lnTo>
                  <a:lnTo>
                    <a:pt x="916377" y="343165"/>
                  </a:lnTo>
                  <a:lnTo>
                    <a:pt x="878055" y="310972"/>
                  </a:lnTo>
                  <a:lnTo>
                    <a:pt x="838681" y="280234"/>
                  </a:lnTo>
                  <a:lnTo>
                    <a:pt x="798300" y="250975"/>
                  </a:lnTo>
                  <a:lnTo>
                    <a:pt x="756955" y="223214"/>
                  </a:lnTo>
                  <a:lnTo>
                    <a:pt x="714691" y="196972"/>
                  </a:lnTo>
                  <a:lnTo>
                    <a:pt x="671550" y="172271"/>
                  </a:lnTo>
                  <a:lnTo>
                    <a:pt x="627576" y="149132"/>
                  </a:lnTo>
                  <a:lnTo>
                    <a:pt x="582814" y="127576"/>
                  </a:lnTo>
                  <a:lnTo>
                    <a:pt x="537306" y="107623"/>
                  </a:lnTo>
                  <a:lnTo>
                    <a:pt x="491096" y="89295"/>
                  </a:lnTo>
                  <a:lnTo>
                    <a:pt x="444228" y="72613"/>
                  </a:lnTo>
                  <a:lnTo>
                    <a:pt x="396745" y="57597"/>
                  </a:lnTo>
                  <a:lnTo>
                    <a:pt x="348692" y="44269"/>
                  </a:lnTo>
                  <a:lnTo>
                    <a:pt x="300111" y="32650"/>
                  </a:lnTo>
                  <a:lnTo>
                    <a:pt x="251047" y="22761"/>
                  </a:lnTo>
                  <a:lnTo>
                    <a:pt x="201543" y="14623"/>
                  </a:lnTo>
                  <a:lnTo>
                    <a:pt x="151643" y="8257"/>
                  </a:lnTo>
                  <a:lnTo>
                    <a:pt x="101389" y="3683"/>
                  </a:lnTo>
                  <a:lnTo>
                    <a:pt x="50827" y="92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4D5D6E">
                <a:alpha val="50195"/>
              </a:srgbClr>
            </a:solid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5" name="object 35"/>
            <p:cNvSpPr/>
            <p:nvPr/>
          </p:nvSpPr>
          <p:spPr>
            <a:xfrm>
              <a:off x="9492907" y="1848294"/>
              <a:ext cx="1433195" cy="2292350"/>
            </a:xfrm>
            <a:custGeom>
              <a:avLst/>
              <a:gdLst/>
              <a:ahLst/>
              <a:cxnLst/>
              <a:rect l="l" t="t" r="r" b="b"/>
              <a:pathLst>
                <a:path w="1433195" h="2292350">
                  <a:moveTo>
                    <a:pt x="1360081" y="1345450"/>
                  </a:moveTo>
                  <a:lnTo>
                    <a:pt x="0" y="1035024"/>
                  </a:lnTo>
                  <a:lnTo>
                    <a:pt x="605294" y="2291918"/>
                  </a:lnTo>
                  <a:lnTo>
                    <a:pt x="650684" y="2269032"/>
                  </a:lnTo>
                  <a:lnTo>
                    <a:pt x="695045" y="2244610"/>
                  </a:lnTo>
                  <a:lnTo>
                    <a:pt x="738327" y="2218690"/>
                  </a:lnTo>
                  <a:lnTo>
                    <a:pt x="780529" y="2191308"/>
                  </a:lnTo>
                  <a:lnTo>
                    <a:pt x="821601" y="2162492"/>
                  </a:lnTo>
                  <a:lnTo>
                    <a:pt x="861517" y="2132292"/>
                  </a:lnTo>
                  <a:lnTo>
                    <a:pt x="900239" y="2100745"/>
                  </a:lnTo>
                  <a:lnTo>
                    <a:pt x="937755" y="2067890"/>
                  </a:lnTo>
                  <a:lnTo>
                    <a:pt x="974026" y="2033765"/>
                  </a:lnTo>
                  <a:lnTo>
                    <a:pt x="1009015" y="1998395"/>
                  </a:lnTo>
                  <a:lnTo>
                    <a:pt x="1042695" y="1961832"/>
                  </a:lnTo>
                  <a:lnTo>
                    <a:pt x="1075029" y="1924113"/>
                  </a:lnTo>
                  <a:lnTo>
                    <a:pt x="1106004" y="1885276"/>
                  </a:lnTo>
                  <a:lnTo>
                    <a:pt x="1135583" y="1845348"/>
                  </a:lnTo>
                  <a:lnTo>
                    <a:pt x="1163739" y="1804365"/>
                  </a:lnTo>
                  <a:lnTo>
                    <a:pt x="1190434" y="1762391"/>
                  </a:lnTo>
                  <a:lnTo>
                    <a:pt x="1215631" y="1719440"/>
                  </a:lnTo>
                  <a:lnTo>
                    <a:pt x="1239329" y="1675561"/>
                  </a:lnTo>
                  <a:lnTo>
                    <a:pt x="1261465" y="1630781"/>
                  </a:lnTo>
                  <a:lnTo>
                    <a:pt x="1282014" y="1585150"/>
                  </a:lnTo>
                  <a:lnTo>
                    <a:pt x="1300975" y="1538693"/>
                  </a:lnTo>
                  <a:lnTo>
                    <a:pt x="1318285" y="1491462"/>
                  </a:lnTo>
                  <a:lnTo>
                    <a:pt x="1333919" y="1443482"/>
                  </a:lnTo>
                  <a:lnTo>
                    <a:pt x="1347863" y="1394802"/>
                  </a:lnTo>
                  <a:lnTo>
                    <a:pt x="1360081" y="1345450"/>
                  </a:lnTo>
                  <a:close/>
                </a:path>
                <a:path w="1433195" h="2292350">
                  <a:moveTo>
                    <a:pt x="1432737" y="880376"/>
                  </a:moveTo>
                  <a:lnTo>
                    <a:pt x="1432217" y="830427"/>
                  </a:lnTo>
                  <a:lnTo>
                    <a:pt x="1429918" y="780618"/>
                  </a:lnTo>
                  <a:lnTo>
                    <a:pt x="1425854" y="730986"/>
                  </a:lnTo>
                  <a:lnTo>
                    <a:pt x="1420012" y="681570"/>
                  </a:lnTo>
                  <a:lnTo>
                    <a:pt x="1412430" y="632447"/>
                  </a:lnTo>
                  <a:lnTo>
                    <a:pt x="1403108" y="583641"/>
                  </a:lnTo>
                  <a:lnTo>
                    <a:pt x="1392047" y="535203"/>
                  </a:lnTo>
                  <a:lnTo>
                    <a:pt x="1379270" y="487184"/>
                  </a:lnTo>
                  <a:lnTo>
                    <a:pt x="1364792" y="439623"/>
                  </a:lnTo>
                  <a:lnTo>
                    <a:pt x="1348613" y="392582"/>
                  </a:lnTo>
                  <a:lnTo>
                    <a:pt x="1330744" y="346100"/>
                  </a:lnTo>
                  <a:lnTo>
                    <a:pt x="1311211" y="300215"/>
                  </a:lnTo>
                  <a:lnTo>
                    <a:pt x="1290002" y="254990"/>
                  </a:lnTo>
                  <a:lnTo>
                    <a:pt x="1267142" y="210464"/>
                  </a:lnTo>
                  <a:lnTo>
                    <a:pt x="1242631" y="166687"/>
                  </a:lnTo>
                  <a:lnTo>
                    <a:pt x="1216507" y="123698"/>
                  </a:lnTo>
                  <a:lnTo>
                    <a:pt x="1188745" y="81559"/>
                  </a:lnTo>
                  <a:lnTo>
                    <a:pt x="1159370" y="40309"/>
                  </a:lnTo>
                  <a:lnTo>
                    <a:pt x="1128407" y="0"/>
                  </a:lnTo>
                  <a:lnTo>
                    <a:pt x="37706" y="869797"/>
                  </a:lnTo>
                  <a:lnTo>
                    <a:pt x="1397787" y="1180236"/>
                  </a:lnTo>
                  <a:lnTo>
                    <a:pt x="1408201" y="1130477"/>
                  </a:lnTo>
                  <a:lnTo>
                    <a:pt x="1416761" y="1080566"/>
                  </a:lnTo>
                  <a:lnTo>
                    <a:pt x="1423479" y="1030554"/>
                  </a:lnTo>
                  <a:lnTo>
                    <a:pt x="1428381" y="980490"/>
                  </a:lnTo>
                  <a:lnTo>
                    <a:pt x="1431467" y="930414"/>
                  </a:lnTo>
                  <a:lnTo>
                    <a:pt x="1432737" y="880376"/>
                  </a:lnTo>
                  <a:close/>
                </a:path>
              </a:pathLst>
            </a:custGeom>
            <a:solidFill>
              <a:srgbClr val="4D5D6E">
                <a:alpha val="70195"/>
              </a:srgbClr>
            </a:solid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6" name="object 36"/>
            <p:cNvSpPr/>
            <p:nvPr/>
          </p:nvSpPr>
          <p:spPr>
            <a:xfrm>
              <a:off x="8734930" y="2956846"/>
              <a:ext cx="1210945" cy="1395095"/>
            </a:xfrm>
            <a:custGeom>
              <a:avLst/>
              <a:gdLst/>
              <a:ahLst/>
              <a:cxnLst/>
              <a:rect l="l" t="t" r="r" b="b"/>
              <a:pathLst>
                <a:path w="1210945" h="1395095">
                  <a:moveTo>
                    <a:pt x="605282" y="0"/>
                  </a:moveTo>
                  <a:lnTo>
                    <a:pt x="0" y="1256906"/>
                  </a:lnTo>
                  <a:lnTo>
                    <a:pt x="46194" y="1278126"/>
                  </a:lnTo>
                  <a:lnTo>
                    <a:pt x="92945" y="1297577"/>
                  </a:lnTo>
                  <a:lnTo>
                    <a:pt x="140206" y="1315261"/>
                  </a:lnTo>
                  <a:lnTo>
                    <a:pt x="187926" y="1331176"/>
                  </a:lnTo>
                  <a:lnTo>
                    <a:pt x="236058" y="1345322"/>
                  </a:lnTo>
                  <a:lnTo>
                    <a:pt x="284553" y="1357700"/>
                  </a:lnTo>
                  <a:lnTo>
                    <a:pt x="333363" y="1368310"/>
                  </a:lnTo>
                  <a:lnTo>
                    <a:pt x="382440" y="1377152"/>
                  </a:lnTo>
                  <a:lnTo>
                    <a:pt x="431734" y="1384225"/>
                  </a:lnTo>
                  <a:lnTo>
                    <a:pt x="481199" y="1389530"/>
                  </a:lnTo>
                  <a:lnTo>
                    <a:pt x="530784" y="1393067"/>
                  </a:lnTo>
                  <a:lnTo>
                    <a:pt x="580442" y="1394835"/>
                  </a:lnTo>
                  <a:lnTo>
                    <a:pt x="630124" y="1394835"/>
                  </a:lnTo>
                  <a:lnTo>
                    <a:pt x="679782" y="1393067"/>
                  </a:lnTo>
                  <a:lnTo>
                    <a:pt x="729368" y="1389530"/>
                  </a:lnTo>
                  <a:lnTo>
                    <a:pt x="778832" y="1384225"/>
                  </a:lnTo>
                  <a:lnTo>
                    <a:pt x="828128" y="1377152"/>
                  </a:lnTo>
                  <a:lnTo>
                    <a:pt x="877205" y="1368310"/>
                  </a:lnTo>
                  <a:lnTo>
                    <a:pt x="926016" y="1357700"/>
                  </a:lnTo>
                  <a:lnTo>
                    <a:pt x="974512" y="1345322"/>
                  </a:lnTo>
                  <a:lnTo>
                    <a:pt x="1022645" y="1331176"/>
                  </a:lnTo>
                  <a:lnTo>
                    <a:pt x="1070366" y="1315261"/>
                  </a:lnTo>
                  <a:lnTo>
                    <a:pt x="1117627" y="1297577"/>
                  </a:lnTo>
                  <a:lnTo>
                    <a:pt x="1164380" y="1278126"/>
                  </a:lnTo>
                  <a:lnTo>
                    <a:pt x="1210576" y="1256906"/>
                  </a:lnTo>
                  <a:lnTo>
                    <a:pt x="605282" y="0"/>
                  </a:lnTo>
                  <a:close/>
                </a:path>
              </a:pathLst>
            </a:custGeom>
            <a:solidFill>
              <a:srgbClr val="4D5D6E">
                <a:alpha val="79608"/>
              </a:srgbClr>
            </a:solid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7" name="object 37"/>
            <p:cNvSpPr/>
            <p:nvPr/>
          </p:nvSpPr>
          <p:spPr>
            <a:xfrm>
              <a:off x="7827439" y="2883311"/>
              <a:ext cx="1360170" cy="1257300"/>
            </a:xfrm>
            <a:custGeom>
              <a:avLst/>
              <a:gdLst/>
              <a:ahLst/>
              <a:cxnLst/>
              <a:rect l="l" t="t" r="r" b="b"/>
              <a:pathLst>
                <a:path w="1360170" h="1257300">
                  <a:moveTo>
                    <a:pt x="1360081" y="0"/>
                  </a:moveTo>
                  <a:lnTo>
                    <a:pt x="0" y="310438"/>
                  </a:lnTo>
                  <a:lnTo>
                    <a:pt x="12211" y="359786"/>
                  </a:lnTo>
                  <a:lnTo>
                    <a:pt x="26153" y="408467"/>
                  </a:lnTo>
                  <a:lnTo>
                    <a:pt x="41794" y="456442"/>
                  </a:lnTo>
                  <a:lnTo>
                    <a:pt x="59105" y="503675"/>
                  </a:lnTo>
                  <a:lnTo>
                    <a:pt x="78055" y="550127"/>
                  </a:lnTo>
                  <a:lnTo>
                    <a:pt x="98613" y="595761"/>
                  </a:lnTo>
                  <a:lnTo>
                    <a:pt x="120751" y="640538"/>
                  </a:lnTo>
                  <a:lnTo>
                    <a:pt x="144437" y="684421"/>
                  </a:lnTo>
                  <a:lnTo>
                    <a:pt x="169642" y="727372"/>
                  </a:lnTo>
                  <a:lnTo>
                    <a:pt x="196334" y="769352"/>
                  </a:lnTo>
                  <a:lnTo>
                    <a:pt x="224485" y="810325"/>
                  </a:lnTo>
                  <a:lnTo>
                    <a:pt x="254064" y="850252"/>
                  </a:lnTo>
                  <a:lnTo>
                    <a:pt x="285040" y="889095"/>
                  </a:lnTo>
                  <a:lnTo>
                    <a:pt x="317384" y="926817"/>
                  </a:lnTo>
                  <a:lnTo>
                    <a:pt x="351065" y="963379"/>
                  </a:lnTo>
                  <a:lnTo>
                    <a:pt x="386053" y="998744"/>
                  </a:lnTo>
                  <a:lnTo>
                    <a:pt x="422318" y="1032874"/>
                  </a:lnTo>
                  <a:lnTo>
                    <a:pt x="459830" y="1065731"/>
                  </a:lnTo>
                  <a:lnTo>
                    <a:pt x="498559" y="1097278"/>
                  </a:lnTo>
                  <a:lnTo>
                    <a:pt x="538473" y="1127475"/>
                  </a:lnTo>
                  <a:lnTo>
                    <a:pt x="579544" y="1156286"/>
                  </a:lnTo>
                  <a:lnTo>
                    <a:pt x="621741" y="1183672"/>
                  </a:lnTo>
                  <a:lnTo>
                    <a:pt x="665034" y="1209596"/>
                  </a:lnTo>
                  <a:lnTo>
                    <a:pt x="709392" y="1234020"/>
                  </a:lnTo>
                  <a:lnTo>
                    <a:pt x="754786" y="1256906"/>
                  </a:lnTo>
                  <a:lnTo>
                    <a:pt x="1360081" y="0"/>
                  </a:lnTo>
                  <a:close/>
                </a:path>
              </a:pathLst>
            </a:custGeom>
            <a:solidFill>
              <a:srgbClr val="4D5D6E"/>
            </a:solid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8" name="object 38"/>
            <p:cNvSpPr/>
            <p:nvPr/>
          </p:nvSpPr>
          <p:spPr>
            <a:xfrm>
              <a:off x="7754776" y="1848279"/>
              <a:ext cx="1395095" cy="1180465"/>
            </a:xfrm>
            <a:custGeom>
              <a:avLst/>
              <a:gdLst/>
              <a:ahLst/>
              <a:cxnLst/>
              <a:rect l="l" t="t" r="r" b="b"/>
              <a:pathLst>
                <a:path w="1395095" h="1180464">
                  <a:moveTo>
                    <a:pt x="304331" y="0"/>
                  </a:moveTo>
                  <a:lnTo>
                    <a:pt x="273363" y="40315"/>
                  </a:lnTo>
                  <a:lnTo>
                    <a:pt x="243995" y="81567"/>
                  </a:lnTo>
                  <a:lnTo>
                    <a:pt x="216238" y="123708"/>
                  </a:lnTo>
                  <a:lnTo>
                    <a:pt x="190102" y="166691"/>
                  </a:lnTo>
                  <a:lnTo>
                    <a:pt x="165599" y="210469"/>
                  </a:lnTo>
                  <a:lnTo>
                    <a:pt x="142739" y="254995"/>
                  </a:lnTo>
                  <a:lnTo>
                    <a:pt x="121533" y="300221"/>
                  </a:lnTo>
                  <a:lnTo>
                    <a:pt x="101992" y="346101"/>
                  </a:lnTo>
                  <a:lnTo>
                    <a:pt x="84127" y="392586"/>
                  </a:lnTo>
                  <a:lnTo>
                    <a:pt x="67948" y="439630"/>
                  </a:lnTo>
                  <a:lnTo>
                    <a:pt x="53466" y="487186"/>
                  </a:lnTo>
                  <a:lnTo>
                    <a:pt x="40691" y="535206"/>
                  </a:lnTo>
                  <a:lnTo>
                    <a:pt x="29636" y="583644"/>
                  </a:lnTo>
                  <a:lnTo>
                    <a:pt x="20310" y="632451"/>
                  </a:lnTo>
                  <a:lnTo>
                    <a:pt x="12724" y="681580"/>
                  </a:lnTo>
                  <a:lnTo>
                    <a:pt x="6890" y="730986"/>
                  </a:lnTo>
                  <a:lnTo>
                    <a:pt x="2817" y="780619"/>
                  </a:lnTo>
                  <a:lnTo>
                    <a:pt x="516" y="830434"/>
                  </a:lnTo>
                  <a:lnTo>
                    <a:pt x="0" y="880382"/>
                  </a:lnTo>
                  <a:lnTo>
                    <a:pt x="1277" y="930417"/>
                  </a:lnTo>
                  <a:lnTo>
                    <a:pt x="4359" y="980491"/>
                  </a:lnTo>
                  <a:lnTo>
                    <a:pt x="9256" y="1030557"/>
                  </a:lnTo>
                  <a:lnTo>
                    <a:pt x="15981" y="1080568"/>
                  </a:lnTo>
                  <a:lnTo>
                    <a:pt x="24542" y="1130477"/>
                  </a:lnTo>
                  <a:lnTo>
                    <a:pt x="34951" y="1180236"/>
                  </a:lnTo>
                  <a:lnTo>
                    <a:pt x="1395033" y="869810"/>
                  </a:lnTo>
                  <a:lnTo>
                    <a:pt x="304331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9" name="object 39"/>
            <p:cNvSpPr/>
            <p:nvPr/>
          </p:nvSpPr>
          <p:spPr>
            <a:xfrm>
              <a:off x="7754776" y="1848279"/>
              <a:ext cx="1395095" cy="1180465"/>
            </a:xfrm>
            <a:custGeom>
              <a:avLst/>
              <a:gdLst/>
              <a:ahLst/>
              <a:cxnLst/>
              <a:rect l="l" t="t" r="r" b="b"/>
              <a:pathLst>
                <a:path w="1395095" h="1180464">
                  <a:moveTo>
                    <a:pt x="34951" y="1180236"/>
                  </a:moveTo>
                  <a:lnTo>
                    <a:pt x="24542" y="1130477"/>
                  </a:lnTo>
                  <a:lnTo>
                    <a:pt x="15981" y="1080568"/>
                  </a:lnTo>
                  <a:lnTo>
                    <a:pt x="9256" y="1030557"/>
                  </a:lnTo>
                  <a:lnTo>
                    <a:pt x="4359" y="980491"/>
                  </a:lnTo>
                  <a:lnTo>
                    <a:pt x="1277" y="930417"/>
                  </a:lnTo>
                  <a:lnTo>
                    <a:pt x="0" y="880382"/>
                  </a:lnTo>
                  <a:lnTo>
                    <a:pt x="516" y="830434"/>
                  </a:lnTo>
                  <a:lnTo>
                    <a:pt x="2817" y="780619"/>
                  </a:lnTo>
                  <a:lnTo>
                    <a:pt x="6890" y="730986"/>
                  </a:lnTo>
                  <a:lnTo>
                    <a:pt x="12724" y="681580"/>
                  </a:lnTo>
                  <a:lnTo>
                    <a:pt x="20310" y="632451"/>
                  </a:lnTo>
                  <a:lnTo>
                    <a:pt x="29636" y="583644"/>
                  </a:lnTo>
                  <a:lnTo>
                    <a:pt x="40691" y="535206"/>
                  </a:lnTo>
                  <a:lnTo>
                    <a:pt x="53466" y="487186"/>
                  </a:lnTo>
                  <a:lnTo>
                    <a:pt x="67948" y="439630"/>
                  </a:lnTo>
                  <a:lnTo>
                    <a:pt x="84127" y="392586"/>
                  </a:lnTo>
                  <a:lnTo>
                    <a:pt x="101992" y="346101"/>
                  </a:lnTo>
                  <a:lnTo>
                    <a:pt x="121533" y="300221"/>
                  </a:lnTo>
                  <a:lnTo>
                    <a:pt x="142739" y="254995"/>
                  </a:lnTo>
                  <a:lnTo>
                    <a:pt x="165599" y="210469"/>
                  </a:lnTo>
                  <a:lnTo>
                    <a:pt x="190102" y="166691"/>
                  </a:lnTo>
                  <a:lnTo>
                    <a:pt x="216238" y="123708"/>
                  </a:lnTo>
                  <a:lnTo>
                    <a:pt x="243995" y="81567"/>
                  </a:lnTo>
                  <a:lnTo>
                    <a:pt x="273363" y="40315"/>
                  </a:lnTo>
                  <a:lnTo>
                    <a:pt x="304331" y="0"/>
                  </a:lnTo>
                  <a:lnTo>
                    <a:pt x="1395033" y="869810"/>
                  </a:lnTo>
                  <a:lnTo>
                    <a:pt x="34951" y="1180236"/>
                  </a:lnTo>
                  <a:close/>
                </a:path>
              </a:pathLst>
            </a:custGeom>
            <a:ln w="3175">
              <a:solidFill>
                <a:srgbClr val="212121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0" name="object 40"/>
            <p:cNvSpPr/>
            <p:nvPr/>
          </p:nvSpPr>
          <p:spPr>
            <a:xfrm>
              <a:off x="8164778" y="1190532"/>
              <a:ext cx="1090930" cy="1395095"/>
            </a:xfrm>
            <a:custGeom>
              <a:avLst/>
              <a:gdLst/>
              <a:ahLst/>
              <a:cxnLst/>
              <a:rect l="l" t="t" r="r" b="b"/>
              <a:pathLst>
                <a:path w="1090929" h="1395095">
                  <a:moveTo>
                    <a:pt x="1090701" y="0"/>
                  </a:moveTo>
                  <a:lnTo>
                    <a:pt x="1039873" y="924"/>
                  </a:lnTo>
                  <a:lnTo>
                    <a:pt x="989311" y="3683"/>
                  </a:lnTo>
                  <a:lnTo>
                    <a:pt x="939058" y="8256"/>
                  </a:lnTo>
                  <a:lnTo>
                    <a:pt x="889157" y="14622"/>
                  </a:lnTo>
                  <a:lnTo>
                    <a:pt x="839653" y="22760"/>
                  </a:lnTo>
                  <a:lnTo>
                    <a:pt x="790589" y="32649"/>
                  </a:lnTo>
                  <a:lnTo>
                    <a:pt x="742008" y="44267"/>
                  </a:lnTo>
                  <a:lnTo>
                    <a:pt x="693955" y="57594"/>
                  </a:lnTo>
                  <a:lnTo>
                    <a:pt x="646472" y="72609"/>
                  </a:lnTo>
                  <a:lnTo>
                    <a:pt x="599604" y="89291"/>
                  </a:lnTo>
                  <a:lnTo>
                    <a:pt x="553395" y="107619"/>
                  </a:lnTo>
                  <a:lnTo>
                    <a:pt x="507887" y="127571"/>
                  </a:lnTo>
                  <a:lnTo>
                    <a:pt x="463124" y="149127"/>
                  </a:lnTo>
                  <a:lnTo>
                    <a:pt x="419150" y="172266"/>
                  </a:lnTo>
                  <a:lnTo>
                    <a:pt x="376010" y="196967"/>
                  </a:lnTo>
                  <a:lnTo>
                    <a:pt x="333745" y="223208"/>
                  </a:lnTo>
                  <a:lnTo>
                    <a:pt x="292400" y="250969"/>
                  </a:lnTo>
                  <a:lnTo>
                    <a:pt x="252019" y="280229"/>
                  </a:lnTo>
                  <a:lnTo>
                    <a:pt x="212646" y="310966"/>
                  </a:lnTo>
                  <a:lnTo>
                    <a:pt x="174323" y="343160"/>
                  </a:lnTo>
                  <a:lnTo>
                    <a:pt x="137095" y="376790"/>
                  </a:lnTo>
                  <a:lnTo>
                    <a:pt x="101005" y="411835"/>
                  </a:lnTo>
                  <a:lnTo>
                    <a:pt x="66096" y="448273"/>
                  </a:lnTo>
                  <a:lnTo>
                    <a:pt x="32413" y="486084"/>
                  </a:lnTo>
                  <a:lnTo>
                    <a:pt x="0" y="525246"/>
                  </a:lnTo>
                  <a:lnTo>
                    <a:pt x="1090701" y="1395044"/>
                  </a:lnTo>
                  <a:lnTo>
                    <a:pt x="1090701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1" name="object 41"/>
            <p:cNvSpPr/>
            <p:nvPr/>
          </p:nvSpPr>
          <p:spPr>
            <a:xfrm>
              <a:off x="8164778" y="1190532"/>
              <a:ext cx="1090930" cy="1395095"/>
            </a:xfrm>
            <a:custGeom>
              <a:avLst/>
              <a:gdLst/>
              <a:ahLst/>
              <a:cxnLst/>
              <a:rect l="l" t="t" r="r" b="b"/>
              <a:pathLst>
                <a:path w="1090929" h="1395095">
                  <a:moveTo>
                    <a:pt x="0" y="525246"/>
                  </a:moveTo>
                  <a:lnTo>
                    <a:pt x="32413" y="486084"/>
                  </a:lnTo>
                  <a:lnTo>
                    <a:pt x="66096" y="448273"/>
                  </a:lnTo>
                  <a:lnTo>
                    <a:pt x="101005" y="411835"/>
                  </a:lnTo>
                  <a:lnTo>
                    <a:pt x="137095" y="376790"/>
                  </a:lnTo>
                  <a:lnTo>
                    <a:pt x="174323" y="343160"/>
                  </a:lnTo>
                  <a:lnTo>
                    <a:pt x="212646" y="310966"/>
                  </a:lnTo>
                  <a:lnTo>
                    <a:pt x="252019" y="280229"/>
                  </a:lnTo>
                  <a:lnTo>
                    <a:pt x="292400" y="250969"/>
                  </a:lnTo>
                  <a:lnTo>
                    <a:pt x="333745" y="223208"/>
                  </a:lnTo>
                  <a:lnTo>
                    <a:pt x="376010" y="196967"/>
                  </a:lnTo>
                  <a:lnTo>
                    <a:pt x="419150" y="172266"/>
                  </a:lnTo>
                  <a:lnTo>
                    <a:pt x="463124" y="149127"/>
                  </a:lnTo>
                  <a:lnTo>
                    <a:pt x="507887" y="127571"/>
                  </a:lnTo>
                  <a:lnTo>
                    <a:pt x="553395" y="107619"/>
                  </a:lnTo>
                  <a:lnTo>
                    <a:pt x="599604" y="89291"/>
                  </a:lnTo>
                  <a:lnTo>
                    <a:pt x="646472" y="72609"/>
                  </a:lnTo>
                  <a:lnTo>
                    <a:pt x="693955" y="57594"/>
                  </a:lnTo>
                  <a:lnTo>
                    <a:pt x="742008" y="44267"/>
                  </a:lnTo>
                  <a:lnTo>
                    <a:pt x="790589" y="32649"/>
                  </a:lnTo>
                  <a:lnTo>
                    <a:pt x="839653" y="22760"/>
                  </a:lnTo>
                  <a:lnTo>
                    <a:pt x="889157" y="14622"/>
                  </a:lnTo>
                  <a:lnTo>
                    <a:pt x="939058" y="8256"/>
                  </a:lnTo>
                  <a:lnTo>
                    <a:pt x="989311" y="3683"/>
                  </a:lnTo>
                  <a:lnTo>
                    <a:pt x="1039873" y="924"/>
                  </a:lnTo>
                  <a:lnTo>
                    <a:pt x="1090701" y="0"/>
                  </a:lnTo>
                  <a:lnTo>
                    <a:pt x="1090701" y="1395044"/>
                  </a:lnTo>
                  <a:lnTo>
                    <a:pt x="0" y="525246"/>
                  </a:lnTo>
                  <a:close/>
                </a:path>
              </a:pathLst>
            </a:custGeom>
            <a:ln w="3175">
              <a:solidFill>
                <a:srgbClr val="212121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42" name="object 42"/>
          <p:cNvSpPr txBox="1"/>
          <p:nvPr/>
        </p:nvSpPr>
        <p:spPr>
          <a:xfrm>
            <a:off x="8477112" y="4433069"/>
            <a:ext cx="2360295" cy="39179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84785" marR="0" lvl="0" indent="-172720" algn="l" defTabSz="9144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 typeface="Arial MT"/>
              <a:buChar char="•"/>
              <a:tabLst>
                <a:tab pos="184785" algn="l"/>
                <a:tab pos="185420" algn="l"/>
              </a:tabLst>
              <a:defRPr/>
            </a:pPr>
            <a:r>
              <a:rPr kumimoji="0" sz="800" b="0" i="1" u="none" strike="noStrike" kern="1200" cap="none" spc="-5" normalizeH="0" baseline="0" noProof="0" dirty="0">
                <a:ln>
                  <a:noFill/>
                </a:ln>
                <a:solidFill>
                  <a:srgbClr val="5C707B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analisi</a:t>
            </a:r>
            <a:r>
              <a:rPr kumimoji="0" sz="800" b="0" i="1" u="none" strike="noStrike" kern="1200" cap="none" spc="5" normalizeH="0" baseline="0" noProof="0" dirty="0">
                <a:ln>
                  <a:noFill/>
                </a:ln>
                <a:solidFill>
                  <a:srgbClr val="5C707B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 </a:t>
            </a:r>
            <a:r>
              <a:rPr kumimoji="0" sz="800" b="0" i="1" u="none" strike="noStrike" kern="1200" cap="none" spc="-5" normalizeH="0" baseline="0" noProof="0" dirty="0">
                <a:ln>
                  <a:noFill/>
                </a:ln>
                <a:solidFill>
                  <a:srgbClr val="5C707B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di </a:t>
            </a:r>
            <a:r>
              <a:rPr kumimoji="0" sz="800" b="0" i="1" u="none" strike="noStrike" kern="1200" cap="none" spc="0" normalizeH="0" baseline="0" noProof="0" dirty="0">
                <a:ln>
                  <a:noFill/>
                </a:ln>
                <a:solidFill>
                  <a:srgbClr val="5C707B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mercato</a:t>
            </a:r>
            <a:r>
              <a:rPr kumimoji="0" sz="800" b="0" i="1" u="none" strike="noStrike" kern="1200" cap="none" spc="-30" normalizeH="0" baseline="0" noProof="0" dirty="0">
                <a:ln>
                  <a:noFill/>
                </a:ln>
                <a:solidFill>
                  <a:srgbClr val="5C707B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 </a:t>
            </a:r>
            <a:r>
              <a:rPr kumimoji="0" sz="800" b="0" i="1" u="none" strike="noStrike" kern="1200" cap="none" spc="0" normalizeH="0" baseline="0" noProof="0" dirty="0">
                <a:ln>
                  <a:noFill/>
                </a:ln>
                <a:solidFill>
                  <a:srgbClr val="5C707B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&amp;</a:t>
            </a:r>
            <a:r>
              <a:rPr kumimoji="0" sz="800" b="0" i="1" u="none" strike="noStrike" kern="1200" cap="none" spc="-30" normalizeH="0" baseline="0" noProof="0" dirty="0">
                <a:ln>
                  <a:noFill/>
                </a:ln>
                <a:solidFill>
                  <a:srgbClr val="5C707B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 </a:t>
            </a:r>
            <a:r>
              <a:rPr kumimoji="0" sz="800" b="0" i="1" u="none" strike="noStrike" kern="1200" cap="none" spc="0" normalizeH="0" baseline="0" noProof="0" dirty="0">
                <a:ln>
                  <a:noFill/>
                </a:ln>
                <a:solidFill>
                  <a:srgbClr val="5C707B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benchmark</a:t>
            </a:r>
            <a:r>
              <a:rPr kumimoji="0" sz="800" b="0" i="1" u="none" strike="noStrike" kern="1200" cap="none" spc="-30" normalizeH="0" baseline="0" noProof="0" dirty="0">
                <a:ln>
                  <a:noFill/>
                </a:ln>
                <a:solidFill>
                  <a:srgbClr val="5C707B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 </a:t>
            </a:r>
            <a:r>
              <a:rPr kumimoji="0" sz="800" b="0" i="1" u="none" strike="noStrike" kern="1200" cap="none" spc="0" normalizeH="0" baseline="0" noProof="0" dirty="0">
                <a:ln>
                  <a:noFill/>
                </a:ln>
                <a:solidFill>
                  <a:srgbClr val="5C707B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internazionale</a:t>
            </a:r>
            <a:endParaRPr kumimoji="0" sz="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rebuchet MS"/>
              <a:ea typeface="+mn-ea"/>
              <a:cs typeface="Trebuchet MS"/>
            </a:endParaRPr>
          </a:p>
          <a:p>
            <a:pPr marL="184785" marR="0" lvl="0" indent="-17272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 MT"/>
              <a:buChar char="•"/>
              <a:tabLst>
                <a:tab pos="184785" algn="l"/>
                <a:tab pos="185420" algn="l"/>
              </a:tabLst>
              <a:defRPr/>
            </a:pPr>
            <a:r>
              <a:rPr kumimoji="0" sz="800" b="0" i="1" u="none" strike="noStrike" kern="1200" cap="none" spc="0" normalizeH="0" baseline="0" noProof="0" dirty="0">
                <a:ln>
                  <a:noFill/>
                </a:ln>
                <a:solidFill>
                  <a:srgbClr val="5C707B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ricavi</a:t>
            </a:r>
            <a:r>
              <a:rPr kumimoji="0" sz="800" b="0" i="1" u="none" strike="noStrike" kern="1200" cap="none" spc="-25" normalizeH="0" baseline="0" noProof="0" dirty="0">
                <a:ln>
                  <a:noFill/>
                </a:ln>
                <a:solidFill>
                  <a:srgbClr val="5C707B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 </a:t>
            </a:r>
            <a:r>
              <a:rPr kumimoji="0" sz="800" b="0" i="1" u="none" strike="noStrike" kern="1200" cap="none" spc="-5" normalizeH="0" baseline="0" noProof="0" dirty="0">
                <a:ln>
                  <a:noFill/>
                </a:ln>
                <a:solidFill>
                  <a:srgbClr val="5C707B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da</a:t>
            </a:r>
            <a:r>
              <a:rPr kumimoji="0" sz="800" b="0" i="1" u="none" strike="noStrike" kern="1200" cap="none" spc="5" normalizeH="0" baseline="0" noProof="0" dirty="0">
                <a:ln>
                  <a:noFill/>
                </a:ln>
                <a:solidFill>
                  <a:srgbClr val="5C707B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 </a:t>
            </a:r>
            <a:r>
              <a:rPr kumimoji="0" sz="800" b="0" i="1" u="none" strike="noStrike" kern="1200" cap="none" spc="0" normalizeH="0" baseline="0" noProof="0" dirty="0">
                <a:ln>
                  <a:noFill/>
                </a:ln>
                <a:solidFill>
                  <a:srgbClr val="5C707B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impianto,</a:t>
            </a:r>
            <a:r>
              <a:rPr kumimoji="0" sz="800" b="0" i="1" u="none" strike="noStrike" kern="1200" cap="none" spc="-10" normalizeH="0" baseline="0" noProof="0" dirty="0">
                <a:ln>
                  <a:noFill/>
                </a:ln>
                <a:solidFill>
                  <a:srgbClr val="5C707B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 </a:t>
            </a:r>
            <a:r>
              <a:rPr kumimoji="0" sz="800" b="0" i="1" u="none" strike="noStrike" kern="1200" cap="none" spc="0" normalizeH="0" baseline="0" noProof="0" dirty="0">
                <a:ln>
                  <a:noFill/>
                </a:ln>
                <a:solidFill>
                  <a:srgbClr val="5C707B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Naming</a:t>
            </a:r>
            <a:r>
              <a:rPr kumimoji="0" sz="800" b="0" i="1" u="none" strike="noStrike" kern="1200" cap="none" spc="-25" normalizeH="0" baseline="0" noProof="0" dirty="0">
                <a:ln>
                  <a:noFill/>
                </a:ln>
                <a:solidFill>
                  <a:srgbClr val="5C707B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 </a:t>
            </a:r>
            <a:r>
              <a:rPr kumimoji="0" sz="800" b="0" i="1" u="none" strike="noStrike" kern="1200" cap="none" spc="0" normalizeH="0" baseline="0" noProof="0" dirty="0">
                <a:ln>
                  <a:noFill/>
                </a:ln>
                <a:solidFill>
                  <a:srgbClr val="5C707B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&amp;</a:t>
            </a:r>
            <a:r>
              <a:rPr kumimoji="0" sz="800" b="0" i="1" u="none" strike="noStrike" kern="1200" cap="none" spc="-20" normalizeH="0" baseline="0" noProof="0" dirty="0">
                <a:ln>
                  <a:noFill/>
                </a:ln>
                <a:solidFill>
                  <a:srgbClr val="5C707B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 </a:t>
            </a:r>
            <a:r>
              <a:rPr kumimoji="0" sz="800" b="0" i="1" u="none" strike="noStrike" kern="1200" cap="none" spc="-5" normalizeH="0" baseline="0" noProof="0" dirty="0">
                <a:ln>
                  <a:noFill/>
                </a:ln>
                <a:solidFill>
                  <a:srgbClr val="5C707B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hospitality,</a:t>
            </a:r>
            <a:r>
              <a:rPr kumimoji="0" sz="800" b="0" i="1" u="none" strike="noStrike" kern="1200" cap="none" spc="25" normalizeH="0" baseline="0" noProof="0" dirty="0">
                <a:ln>
                  <a:noFill/>
                </a:ln>
                <a:solidFill>
                  <a:srgbClr val="5C707B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 </a:t>
            </a:r>
            <a:r>
              <a:rPr kumimoji="0" sz="800" b="0" i="1" u="none" strike="noStrike" kern="1200" cap="none" spc="-5" normalizeH="0" baseline="0" noProof="0" dirty="0">
                <a:ln>
                  <a:noFill/>
                </a:ln>
                <a:solidFill>
                  <a:srgbClr val="5C707B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etc</a:t>
            </a:r>
            <a:endParaRPr kumimoji="0" sz="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rebuchet MS"/>
              <a:ea typeface="+mn-ea"/>
              <a:cs typeface="Trebuchet MS"/>
            </a:endParaRPr>
          </a:p>
          <a:p>
            <a:pPr marL="184785" marR="0" lvl="0" indent="-17272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 MT"/>
              <a:buChar char="•"/>
              <a:tabLst>
                <a:tab pos="184785" algn="l"/>
                <a:tab pos="185420" algn="l"/>
              </a:tabLst>
              <a:defRPr/>
            </a:pPr>
            <a:r>
              <a:rPr kumimoji="0" sz="800" b="0" i="1" u="none" strike="noStrike" kern="1200" cap="none" spc="-5" normalizeH="0" baseline="0" noProof="0" dirty="0">
                <a:ln>
                  <a:noFill/>
                </a:ln>
                <a:solidFill>
                  <a:srgbClr val="5C707B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Gestore</a:t>
            </a:r>
            <a:r>
              <a:rPr kumimoji="0" sz="800" b="0" i="1" u="none" strike="noStrike" kern="1200" cap="none" spc="-40" normalizeH="0" baseline="0" noProof="0" dirty="0">
                <a:ln>
                  <a:noFill/>
                </a:ln>
                <a:solidFill>
                  <a:srgbClr val="5C707B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 </a:t>
            </a:r>
            <a:r>
              <a:rPr kumimoji="0" sz="800" b="0" i="1" u="none" strike="noStrike" kern="1200" cap="none" spc="-5" normalizeH="0" baseline="0" noProof="0" dirty="0">
                <a:ln>
                  <a:noFill/>
                </a:ln>
                <a:solidFill>
                  <a:srgbClr val="5C707B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potenziale</a:t>
            </a:r>
            <a:endParaRPr kumimoji="0" sz="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rebuchet MS"/>
              <a:ea typeface="+mn-ea"/>
              <a:cs typeface="Trebuchet MS"/>
            </a:endParaRPr>
          </a:p>
        </p:txBody>
      </p:sp>
      <p:sp>
        <p:nvSpPr>
          <p:cNvPr id="43" name="object 43"/>
          <p:cNvSpPr txBox="1"/>
          <p:nvPr/>
        </p:nvSpPr>
        <p:spPr>
          <a:xfrm>
            <a:off x="10666507" y="3704120"/>
            <a:ext cx="1383030" cy="39243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84785" marR="0" lvl="0" indent="-172720" algn="l" defTabSz="9144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 typeface="Arial MT"/>
              <a:buChar char="•"/>
              <a:tabLst>
                <a:tab pos="184785" algn="l"/>
                <a:tab pos="185420" algn="l"/>
              </a:tabLst>
              <a:defRPr/>
            </a:pPr>
            <a:r>
              <a:rPr kumimoji="0" sz="800" b="0" i="1" u="none" strike="noStrike" kern="1200" cap="none" spc="-5" normalizeH="0" baseline="0" noProof="0" dirty="0">
                <a:ln>
                  <a:noFill/>
                </a:ln>
                <a:solidFill>
                  <a:srgbClr val="5C707B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analisi</a:t>
            </a:r>
            <a:r>
              <a:rPr kumimoji="0" sz="800" b="0" i="1" u="none" strike="noStrike" kern="1200" cap="none" spc="0" normalizeH="0" baseline="0" noProof="0" dirty="0">
                <a:ln>
                  <a:noFill/>
                </a:ln>
                <a:solidFill>
                  <a:srgbClr val="5C707B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 del</a:t>
            </a:r>
            <a:r>
              <a:rPr kumimoji="0" sz="800" b="0" i="1" u="none" strike="noStrike" kern="1200" cap="none" spc="-20" normalizeH="0" baseline="0" noProof="0" dirty="0">
                <a:ln>
                  <a:noFill/>
                </a:ln>
                <a:solidFill>
                  <a:srgbClr val="5C707B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 </a:t>
            </a:r>
            <a:r>
              <a:rPr kumimoji="0" sz="800" b="0" i="1" u="none" strike="noStrike" kern="1200" cap="none" spc="-5" normalizeH="0" baseline="0" noProof="0" dirty="0">
                <a:ln>
                  <a:noFill/>
                </a:ln>
                <a:solidFill>
                  <a:srgbClr val="5C707B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contesto</a:t>
            </a:r>
            <a:endParaRPr kumimoji="0" sz="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rebuchet MS"/>
              <a:ea typeface="+mn-ea"/>
              <a:cs typeface="Trebuchet MS"/>
            </a:endParaRPr>
          </a:p>
          <a:p>
            <a:pPr marL="184785" marR="0" lvl="0" indent="-172720" algn="l" defTabSz="914400" rtl="0" eaLnBrk="1" fontAlgn="auto" latinLnBrk="0" hangingPunct="1">
              <a:lnSpc>
                <a:spcPct val="100000"/>
              </a:lnSpc>
              <a:spcBef>
                <a:spcPts val="5"/>
              </a:spcBef>
              <a:spcAft>
                <a:spcPts val="0"/>
              </a:spcAft>
              <a:buClrTx/>
              <a:buSzTx/>
              <a:buFont typeface="Arial MT"/>
              <a:buChar char="•"/>
              <a:tabLst>
                <a:tab pos="184785" algn="l"/>
                <a:tab pos="185420" algn="l"/>
              </a:tabLst>
              <a:defRPr/>
            </a:pPr>
            <a:r>
              <a:rPr kumimoji="0" sz="800" b="0" i="1" u="none" strike="noStrike" kern="1200" cap="none" spc="0" normalizeH="0" baseline="0" noProof="0" dirty="0">
                <a:ln>
                  <a:noFill/>
                </a:ln>
                <a:solidFill>
                  <a:srgbClr val="5C707B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conce</a:t>
            </a:r>
            <a:r>
              <a:rPr kumimoji="0" sz="800" b="0" i="1" u="none" strike="noStrike" kern="1200" cap="none" spc="-5" normalizeH="0" baseline="0" noProof="0" dirty="0">
                <a:ln>
                  <a:noFill/>
                </a:ln>
                <a:solidFill>
                  <a:srgbClr val="5C707B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p</a:t>
            </a:r>
            <a:r>
              <a:rPr kumimoji="0" sz="800" b="0" i="1" u="none" strike="noStrike" kern="1200" cap="none" spc="0" normalizeH="0" baseline="0" noProof="0" dirty="0">
                <a:ln>
                  <a:noFill/>
                </a:ln>
                <a:solidFill>
                  <a:srgbClr val="5C707B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t</a:t>
            </a:r>
            <a:r>
              <a:rPr kumimoji="0" sz="800" b="0" i="1" u="none" strike="noStrike" kern="1200" cap="none" spc="-40" normalizeH="0" baseline="0" noProof="0" dirty="0">
                <a:ln>
                  <a:noFill/>
                </a:ln>
                <a:solidFill>
                  <a:srgbClr val="5C707B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 </a:t>
            </a:r>
            <a:r>
              <a:rPr kumimoji="0" sz="800" b="0" i="1" u="none" strike="noStrike" kern="1200" cap="none" spc="-5" normalizeH="0" baseline="0" noProof="0" dirty="0">
                <a:ln>
                  <a:noFill/>
                </a:ln>
                <a:solidFill>
                  <a:srgbClr val="5C707B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a</a:t>
            </a:r>
            <a:r>
              <a:rPr kumimoji="0" sz="800" b="0" i="1" u="none" strike="noStrike" kern="1200" cap="none" spc="0" normalizeH="0" baseline="0" noProof="0" dirty="0">
                <a:ln>
                  <a:noFill/>
                </a:ln>
                <a:solidFill>
                  <a:srgbClr val="5C707B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ree</a:t>
            </a:r>
            <a:r>
              <a:rPr kumimoji="0" sz="800" b="0" i="1" u="none" strike="noStrike" kern="1200" cap="none" spc="-15" normalizeH="0" baseline="0" noProof="0" dirty="0">
                <a:ln>
                  <a:noFill/>
                </a:ln>
                <a:solidFill>
                  <a:srgbClr val="5C707B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 </a:t>
            </a:r>
            <a:r>
              <a:rPr kumimoji="0" sz="800" b="0" i="1" u="none" strike="noStrike" kern="1200" cap="none" spc="0" normalizeH="0" baseline="0" noProof="0" dirty="0">
                <a:ln>
                  <a:noFill/>
                </a:ln>
                <a:solidFill>
                  <a:srgbClr val="5C707B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commer</a:t>
            </a:r>
            <a:r>
              <a:rPr kumimoji="0" sz="800" b="0" i="1" u="none" strike="noStrike" kern="1200" cap="none" spc="-10" normalizeH="0" baseline="0" noProof="0" dirty="0">
                <a:ln>
                  <a:noFill/>
                </a:ln>
                <a:solidFill>
                  <a:srgbClr val="5C707B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c</a:t>
            </a:r>
            <a:r>
              <a:rPr kumimoji="0" sz="800" b="0" i="1" u="none" strike="noStrike" kern="1200" cap="none" spc="5" normalizeH="0" baseline="0" noProof="0" dirty="0">
                <a:ln>
                  <a:noFill/>
                </a:ln>
                <a:solidFill>
                  <a:srgbClr val="5C707B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i</a:t>
            </a:r>
            <a:r>
              <a:rPr kumimoji="0" sz="800" b="0" i="1" u="none" strike="noStrike" kern="1200" cap="none" spc="-5" normalizeH="0" baseline="0" noProof="0" dirty="0">
                <a:ln>
                  <a:noFill/>
                </a:ln>
                <a:solidFill>
                  <a:srgbClr val="5C707B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a</a:t>
            </a:r>
            <a:r>
              <a:rPr kumimoji="0" sz="800" b="0" i="1" u="none" strike="noStrike" kern="1200" cap="none" spc="-10" normalizeH="0" baseline="0" noProof="0" dirty="0">
                <a:ln>
                  <a:noFill/>
                </a:ln>
                <a:solidFill>
                  <a:srgbClr val="5C707B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l</a:t>
            </a:r>
            <a:r>
              <a:rPr kumimoji="0" sz="800" b="0" i="1" u="none" strike="noStrike" kern="1200" cap="none" spc="0" normalizeH="0" baseline="0" noProof="0" dirty="0">
                <a:ln>
                  <a:noFill/>
                </a:ln>
                <a:solidFill>
                  <a:srgbClr val="5C707B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i</a:t>
            </a:r>
            <a:endParaRPr kumimoji="0" sz="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rebuchet MS"/>
              <a:ea typeface="+mn-ea"/>
              <a:cs typeface="Trebuchet MS"/>
            </a:endParaRPr>
          </a:p>
          <a:p>
            <a:pPr marL="184785" marR="0" lvl="0" indent="-17272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 MT"/>
              <a:buChar char="•"/>
              <a:tabLst>
                <a:tab pos="184785" algn="l"/>
                <a:tab pos="185420" algn="l"/>
              </a:tabLst>
              <a:defRPr/>
            </a:pPr>
            <a:r>
              <a:rPr kumimoji="0" sz="800" b="0" i="1" u="none" strike="noStrike" kern="1200" cap="none" spc="0" normalizeH="0" baseline="0" noProof="0" dirty="0">
                <a:ln>
                  <a:noFill/>
                </a:ln>
                <a:solidFill>
                  <a:srgbClr val="5C707B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ricavi</a:t>
            </a:r>
            <a:r>
              <a:rPr kumimoji="0" sz="800" b="0" i="1" u="none" strike="noStrike" kern="1200" cap="none" spc="-50" normalizeH="0" baseline="0" noProof="0" dirty="0">
                <a:ln>
                  <a:noFill/>
                </a:ln>
                <a:solidFill>
                  <a:srgbClr val="5C707B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 </a:t>
            </a:r>
            <a:r>
              <a:rPr kumimoji="0" sz="800" b="0" i="1" u="none" strike="noStrike" kern="1200" cap="none" spc="-5" normalizeH="0" baseline="0" noProof="0" dirty="0">
                <a:ln>
                  <a:noFill/>
                </a:ln>
                <a:solidFill>
                  <a:srgbClr val="5C707B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da</a:t>
            </a:r>
            <a:r>
              <a:rPr kumimoji="0" sz="800" b="0" i="1" u="none" strike="noStrike" kern="1200" cap="none" spc="-20" normalizeH="0" baseline="0" noProof="0" dirty="0">
                <a:ln>
                  <a:noFill/>
                </a:ln>
                <a:solidFill>
                  <a:srgbClr val="5C707B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 </a:t>
            </a:r>
            <a:r>
              <a:rPr kumimoji="0" sz="800" b="0" i="1" u="none" strike="noStrike" kern="1200" cap="none" spc="0" normalizeH="0" baseline="0" noProof="0" dirty="0">
                <a:ln>
                  <a:noFill/>
                </a:ln>
                <a:solidFill>
                  <a:srgbClr val="5C707B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commerciale</a:t>
            </a:r>
            <a:endParaRPr kumimoji="0" sz="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rebuchet MS"/>
              <a:ea typeface="+mn-ea"/>
              <a:cs typeface="Trebuchet MS"/>
            </a:endParaRPr>
          </a:p>
        </p:txBody>
      </p:sp>
      <p:sp>
        <p:nvSpPr>
          <p:cNvPr id="44" name="object 44"/>
          <p:cNvSpPr txBox="1"/>
          <p:nvPr/>
        </p:nvSpPr>
        <p:spPr>
          <a:xfrm>
            <a:off x="10267655" y="1017191"/>
            <a:ext cx="1265555" cy="392430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84785" marR="0" lvl="0" indent="-172720" algn="l" defTabSz="914400" rtl="0" eaLnBrk="1" fontAlgn="auto" latinLnBrk="0" hangingPunct="1">
              <a:lnSpc>
                <a:spcPct val="100000"/>
              </a:lnSpc>
              <a:spcBef>
                <a:spcPts val="105"/>
              </a:spcBef>
              <a:spcAft>
                <a:spcPts val="0"/>
              </a:spcAft>
              <a:buClrTx/>
              <a:buSzTx/>
              <a:buFont typeface="Arial MT"/>
              <a:buChar char="•"/>
              <a:tabLst>
                <a:tab pos="184785" algn="l"/>
                <a:tab pos="185420" algn="l"/>
              </a:tabLst>
              <a:defRPr/>
            </a:pPr>
            <a:r>
              <a:rPr kumimoji="0" sz="800" b="0" i="1" u="none" strike="noStrike" kern="1200" cap="none" spc="0" normalizeH="0" baseline="0" noProof="0" dirty="0">
                <a:ln>
                  <a:noFill/>
                </a:ln>
                <a:solidFill>
                  <a:srgbClr val="5C707B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conce</a:t>
            </a:r>
            <a:r>
              <a:rPr kumimoji="0" sz="800" b="0" i="1" u="none" strike="noStrike" kern="1200" cap="none" spc="-5" normalizeH="0" baseline="0" noProof="0" dirty="0">
                <a:ln>
                  <a:noFill/>
                </a:ln>
                <a:solidFill>
                  <a:srgbClr val="5C707B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p</a:t>
            </a:r>
            <a:r>
              <a:rPr kumimoji="0" sz="800" b="0" i="1" u="none" strike="noStrike" kern="1200" cap="none" spc="0" normalizeH="0" baseline="0" noProof="0" dirty="0">
                <a:ln>
                  <a:noFill/>
                </a:ln>
                <a:solidFill>
                  <a:srgbClr val="5C707B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t</a:t>
            </a:r>
            <a:r>
              <a:rPr kumimoji="0" sz="800" b="0" i="1" u="none" strike="noStrike" kern="1200" cap="none" spc="-40" normalizeH="0" baseline="0" noProof="0" dirty="0">
                <a:ln>
                  <a:noFill/>
                </a:ln>
                <a:solidFill>
                  <a:srgbClr val="5C707B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 </a:t>
            </a:r>
            <a:r>
              <a:rPr kumimoji="0" sz="800" b="0" i="1" u="none" strike="noStrike" kern="1200" cap="none" spc="-5" normalizeH="0" baseline="0" noProof="0" dirty="0">
                <a:ln>
                  <a:noFill/>
                </a:ln>
                <a:solidFill>
                  <a:srgbClr val="5C707B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st</a:t>
            </a:r>
            <a:r>
              <a:rPr kumimoji="0" sz="800" b="0" i="1" u="none" strike="noStrike" kern="1200" cap="none" spc="0" normalizeH="0" baseline="0" noProof="0" dirty="0">
                <a:ln>
                  <a:noFill/>
                </a:ln>
                <a:solidFill>
                  <a:srgbClr val="5C707B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r</a:t>
            </a:r>
            <a:r>
              <a:rPr kumimoji="0" sz="800" b="0" i="1" u="none" strike="noStrike" kern="1200" cap="none" spc="-5" normalizeH="0" baseline="0" noProof="0" dirty="0">
                <a:ln>
                  <a:noFill/>
                </a:ln>
                <a:solidFill>
                  <a:srgbClr val="5C707B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at</a:t>
            </a:r>
            <a:r>
              <a:rPr kumimoji="0" sz="800" b="0" i="1" u="none" strike="noStrike" kern="1200" cap="none" spc="0" normalizeH="0" baseline="0" noProof="0" dirty="0">
                <a:ln>
                  <a:noFill/>
                </a:ln>
                <a:solidFill>
                  <a:srgbClr val="5C707B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eg</a:t>
            </a:r>
            <a:r>
              <a:rPr kumimoji="0" sz="800" b="0" i="1" u="none" strike="noStrike" kern="1200" cap="none" spc="5" normalizeH="0" baseline="0" noProof="0" dirty="0">
                <a:ln>
                  <a:noFill/>
                </a:ln>
                <a:solidFill>
                  <a:srgbClr val="5C707B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i</a:t>
            </a:r>
            <a:r>
              <a:rPr kumimoji="0" sz="800" b="0" i="1" u="none" strike="noStrike" kern="1200" cap="none" spc="0" normalizeH="0" baseline="0" noProof="0" dirty="0">
                <a:ln>
                  <a:noFill/>
                </a:ln>
                <a:solidFill>
                  <a:srgbClr val="5C707B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co</a:t>
            </a:r>
            <a:endParaRPr kumimoji="0" sz="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rebuchet MS"/>
              <a:ea typeface="+mn-ea"/>
              <a:cs typeface="Trebuchet MS"/>
            </a:endParaRPr>
          </a:p>
          <a:p>
            <a:pPr marL="184785" marR="0" lvl="0" indent="-17272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 MT"/>
              <a:buChar char="•"/>
              <a:tabLst>
                <a:tab pos="184785" algn="l"/>
                <a:tab pos="185420" algn="l"/>
              </a:tabLst>
              <a:defRPr/>
            </a:pPr>
            <a:r>
              <a:rPr kumimoji="0" sz="800" b="0" i="1" u="none" strike="noStrike" kern="1200" cap="none" spc="-5" normalizeH="0" baseline="0" noProof="0" dirty="0">
                <a:ln>
                  <a:noFill/>
                </a:ln>
                <a:solidFill>
                  <a:srgbClr val="5C707B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d</a:t>
            </a:r>
            <a:r>
              <a:rPr kumimoji="0" sz="800" b="0" i="1" u="none" strike="noStrike" kern="1200" cap="none" spc="0" normalizeH="0" baseline="0" noProof="0" dirty="0">
                <a:ln>
                  <a:noFill/>
                </a:ln>
                <a:solidFill>
                  <a:srgbClr val="5C707B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e</a:t>
            </a:r>
            <a:r>
              <a:rPr kumimoji="0" sz="800" b="0" i="1" u="none" strike="noStrike" kern="1200" cap="none" spc="-5" normalizeH="0" baseline="0" noProof="0" dirty="0">
                <a:ln>
                  <a:noFill/>
                </a:ln>
                <a:solidFill>
                  <a:srgbClr val="5C707B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s</a:t>
            </a:r>
            <a:r>
              <a:rPr kumimoji="0" sz="800" b="0" i="1" u="none" strike="noStrike" kern="1200" cap="none" spc="5" normalizeH="0" baseline="0" noProof="0" dirty="0">
                <a:ln>
                  <a:noFill/>
                </a:ln>
                <a:solidFill>
                  <a:srgbClr val="5C707B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i</a:t>
            </a:r>
            <a:r>
              <a:rPr kumimoji="0" sz="800" b="0" i="1" u="none" strike="noStrike" kern="1200" cap="none" spc="0" normalizeH="0" baseline="0" noProof="0" dirty="0">
                <a:ln>
                  <a:noFill/>
                </a:ln>
                <a:solidFill>
                  <a:srgbClr val="5C707B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gn</a:t>
            </a:r>
            <a:r>
              <a:rPr kumimoji="0" sz="800" b="0" i="1" u="none" strike="noStrike" kern="1200" cap="none" spc="-25" normalizeH="0" baseline="0" noProof="0" dirty="0">
                <a:ln>
                  <a:noFill/>
                </a:ln>
                <a:solidFill>
                  <a:srgbClr val="5C707B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 </a:t>
            </a:r>
            <a:r>
              <a:rPr kumimoji="0" sz="800" b="0" i="1" u="none" strike="noStrike" kern="1200" cap="none" spc="0" normalizeH="0" baseline="0" noProof="0" dirty="0">
                <a:ln>
                  <a:noFill/>
                </a:ln>
                <a:solidFill>
                  <a:srgbClr val="5C707B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f</a:t>
            </a:r>
            <a:r>
              <a:rPr kumimoji="0" sz="800" b="0" i="1" u="none" strike="noStrike" kern="1200" cap="none" spc="-5" normalizeH="0" baseline="0" noProof="0" dirty="0">
                <a:ln>
                  <a:noFill/>
                </a:ln>
                <a:solidFill>
                  <a:srgbClr val="5C707B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u</a:t>
            </a:r>
            <a:r>
              <a:rPr kumimoji="0" sz="800" b="0" i="1" u="none" strike="noStrike" kern="1200" cap="none" spc="0" normalizeH="0" baseline="0" noProof="0" dirty="0">
                <a:ln>
                  <a:noFill/>
                </a:ln>
                <a:solidFill>
                  <a:srgbClr val="5C707B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nz</a:t>
            </a:r>
            <a:r>
              <a:rPr kumimoji="0" sz="800" b="0" i="1" u="none" strike="noStrike" kern="1200" cap="none" spc="5" normalizeH="0" baseline="0" noProof="0" dirty="0">
                <a:ln>
                  <a:noFill/>
                </a:ln>
                <a:solidFill>
                  <a:srgbClr val="5C707B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i</a:t>
            </a:r>
            <a:r>
              <a:rPr kumimoji="0" sz="800" b="0" i="1" u="none" strike="noStrike" kern="1200" cap="none" spc="0" normalizeH="0" baseline="0" noProof="0" dirty="0">
                <a:ln>
                  <a:noFill/>
                </a:ln>
                <a:solidFill>
                  <a:srgbClr val="5C707B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on</a:t>
            </a:r>
            <a:r>
              <a:rPr kumimoji="0" sz="800" b="0" i="1" u="none" strike="noStrike" kern="1200" cap="none" spc="-5" normalizeH="0" baseline="0" noProof="0" dirty="0">
                <a:ln>
                  <a:noFill/>
                </a:ln>
                <a:solidFill>
                  <a:srgbClr val="5C707B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a</a:t>
            </a:r>
            <a:r>
              <a:rPr kumimoji="0" sz="800" b="0" i="1" u="none" strike="noStrike" kern="1200" cap="none" spc="-10" normalizeH="0" baseline="0" noProof="0" dirty="0">
                <a:ln>
                  <a:noFill/>
                </a:ln>
                <a:solidFill>
                  <a:srgbClr val="5C707B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l</a:t>
            </a:r>
            <a:r>
              <a:rPr kumimoji="0" sz="800" b="0" i="1" u="none" strike="noStrike" kern="1200" cap="none" spc="0" normalizeH="0" baseline="0" noProof="0" dirty="0">
                <a:ln>
                  <a:noFill/>
                </a:ln>
                <a:solidFill>
                  <a:srgbClr val="5C707B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e</a:t>
            </a:r>
            <a:endParaRPr kumimoji="0" sz="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rebuchet MS"/>
              <a:ea typeface="+mn-ea"/>
              <a:cs typeface="Trebuchet MS"/>
            </a:endParaRPr>
          </a:p>
          <a:p>
            <a:pPr marL="184785" marR="0" lvl="0" indent="-17272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 MT"/>
              <a:buChar char="•"/>
              <a:tabLst>
                <a:tab pos="184785" algn="l"/>
                <a:tab pos="185420" algn="l"/>
              </a:tabLst>
              <a:defRPr/>
            </a:pPr>
            <a:r>
              <a:rPr kumimoji="0" sz="800" b="0" i="1" u="none" strike="noStrike" kern="1200" cap="none" spc="0" normalizeH="0" baseline="0" noProof="0" dirty="0">
                <a:ln>
                  <a:noFill/>
                </a:ln>
                <a:solidFill>
                  <a:srgbClr val="5C707B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requisiti</a:t>
            </a:r>
            <a:r>
              <a:rPr kumimoji="0" sz="800" b="0" i="1" u="none" strike="noStrike" kern="1200" cap="none" spc="-50" normalizeH="0" baseline="0" noProof="0" dirty="0">
                <a:ln>
                  <a:noFill/>
                </a:ln>
                <a:solidFill>
                  <a:srgbClr val="5C707B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 </a:t>
            </a:r>
            <a:r>
              <a:rPr kumimoji="0" sz="800" b="0" i="1" u="none" strike="noStrike" kern="1200" cap="none" spc="0" normalizeH="0" baseline="0" noProof="0" dirty="0">
                <a:ln>
                  <a:noFill/>
                </a:ln>
                <a:solidFill>
                  <a:srgbClr val="5C707B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internazionali</a:t>
            </a:r>
            <a:endParaRPr kumimoji="0" sz="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rebuchet MS"/>
              <a:ea typeface="+mn-ea"/>
              <a:cs typeface="Trebuchet MS"/>
            </a:endParaRPr>
          </a:p>
        </p:txBody>
      </p:sp>
      <p:sp>
        <p:nvSpPr>
          <p:cNvPr id="45" name="object 45"/>
          <p:cNvSpPr txBox="1"/>
          <p:nvPr/>
        </p:nvSpPr>
        <p:spPr>
          <a:xfrm>
            <a:off x="11036524" y="2251410"/>
            <a:ext cx="989330" cy="391795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84785" marR="0" lvl="0" indent="-172720" algn="l" defTabSz="914400" rtl="0" eaLnBrk="1" fontAlgn="auto" latinLnBrk="0" hangingPunct="1">
              <a:lnSpc>
                <a:spcPct val="100000"/>
              </a:lnSpc>
              <a:spcBef>
                <a:spcPts val="105"/>
              </a:spcBef>
              <a:spcAft>
                <a:spcPts val="0"/>
              </a:spcAft>
              <a:buClrTx/>
              <a:buSzTx/>
              <a:buFont typeface="Arial MT"/>
              <a:buChar char="•"/>
              <a:tabLst>
                <a:tab pos="184785" algn="l"/>
                <a:tab pos="185420" algn="l"/>
              </a:tabLst>
              <a:defRPr/>
            </a:pPr>
            <a:r>
              <a:rPr kumimoji="0" sz="800" b="0" i="1" u="none" strike="noStrike" kern="1200" cap="none" spc="-5" normalizeH="0" baseline="0" noProof="0" dirty="0">
                <a:ln>
                  <a:noFill/>
                </a:ln>
                <a:solidFill>
                  <a:srgbClr val="5C707B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assistenza</a:t>
            </a:r>
            <a:r>
              <a:rPr kumimoji="0" sz="800" b="0" i="1" u="none" strike="noStrike" kern="1200" cap="none" spc="-45" normalizeH="0" baseline="0" noProof="0" dirty="0">
                <a:ln>
                  <a:noFill/>
                </a:ln>
                <a:solidFill>
                  <a:srgbClr val="5C707B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 </a:t>
            </a:r>
            <a:r>
              <a:rPr kumimoji="0" sz="800" b="0" i="1" u="none" strike="noStrike" kern="1200" cap="none" spc="-5" normalizeH="0" baseline="0" noProof="0" dirty="0">
                <a:ln>
                  <a:noFill/>
                </a:ln>
                <a:solidFill>
                  <a:srgbClr val="5C707B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legale</a:t>
            </a:r>
            <a:endParaRPr kumimoji="0" sz="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rebuchet MS"/>
              <a:ea typeface="+mn-ea"/>
              <a:cs typeface="Trebuchet MS"/>
            </a:endParaRPr>
          </a:p>
          <a:p>
            <a:pPr marL="184785" marR="0" lvl="0" indent="-17272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 MT"/>
              <a:buChar char="•"/>
              <a:tabLst>
                <a:tab pos="184785" algn="l"/>
                <a:tab pos="185420" algn="l"/>
              </a:tabLst>
              <a:defRPr/>
            </a:pPr>
            <a:r>
              <a:rPr kumimoji="0" sz="800" b="0" i="1" u="none" strike="noStrike" kern="1200" cap="none" spc="0" normalizeH="0" baseline="0" noProof="0" dirty="0">
                <a:ln>
                  <a:noFill/>
                </a:ln>
                <a:solidFill>
                  <a:srgbClr val="5C707B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iter</a:t>
            </a:r>
            <a:r>
              <a:rPr kumimoji="0" sz="800" b="0" i="1" u="none" strike="noStrike" kern="1200" cap="none" spc="-35" normalizeH="0" baseline="0" noProof="0" dirty="0">
                <a:ln>
                  <a:noFill/>
                </a:ln>
                <a:solidFill>
                  <a:srgbClr val="5C707B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 </a:t>
            </a:r>
            <a:r>
              <a:rPr kumimoji="0" sz="800" b="0" i="1" u="none" strike="noStrike" kern="1200" cap="none" spc="-5" normalizeH="0" baseline="0" noProof="0" dirty="0">
                <a:ln>
                  <a:noFill/>
                </a:ln>
                <a:solidFill>
                  <a:srgbClr val="5C707B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legge</a:t>
            </a:r>
            <a:r>
              <a:rPr kumimoji="0" sz="800" b="0" i="1" u="none" strike="noStrike" kern="1200" cap="none" spc="-45" normalizeH="0" baseline="0" noProof="0" dirty="0">
                <a:ln>
                  <a:noFill/>
                </a:ln>
                <a:solidFill>
                  <a:srgbClr val="5C707B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 </a:t>
            </a:r>
            <a:r>
              <a:rPr kumimoji="0" sz="800" b="0" i="1" u="none" strike="noStrike" kern="1200" cap="none" spc="-5" normalizeH="0" baseline="0" noProof="0" dirty="0">
                <a:ln>
                  <a:noFill/>
                </a:ln>
                <a:solidFill>
                  <a:srgbClr val="5C707B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147</a:t>
            </a:r>
            <a:endParaRPr kumimoji="0" sz="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rebuchet MS"/>
              <a:ea typeface="+mn-ea"/>
              <a:cs typeface="Trebuchet MS"/>
            </a:endParaRPr>
          </a:p>
          <a:p>
            <a:pPr marL="184785" marR="0" lvl="0" indent="-17272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 MT"/>
              <a:buChar char="•"/>
              <a:tabLst>
                <a:tab pos="184785" algn="l"/>
                <a:tab pos="185420" algn="l"/>
              </a:tabLst>
              <a:defRPr/>
            </a:pPr>
            <a:r>
              <a:rPr kumimoji="0" sz="800" b="0" i="1" u="none" strike="noStrike" kern="1200" cap="none" spc="-5" normalizeH="0" baseline="0" noProof="0" dirty="0">
                <a:ln>
                  <a:noFill/>
                </a:ln>
                <a:solidFill>
                  <a:srgbClr val="5C707B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p</a:t>
            </a:r>
            <a:r>
              <a:rPr kumimoji="0" sz="800" b="0" i="1" u="none" strike="noStrike" kern="1200" cap="none" spc="0" normalizeH="0" baseline="0" noProof="0" dirty="0">
                <a:ln>
                  <a:noFill/>
                </a:ln>
                <a:solidFill>
                  <a:srgbClr val="5C707B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ro</a:t>
            </a:r>
            <a:r>
              <a:rPr kumimoji="0" sz="800" b="0" i="1" u="none" strike="noStrike" kern="1200" cap="none" spc="5" normalizeH="0" baseline="0" noProof="0" dirty="0">
                <a:ln>
                  <a:noFill/>
                </a:ln>
                <a:solidFill>
                  <a:srgbClr val="5C707B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j</a:t>
            </a:r>
            <a:r>
              <a:rPr kumimoji="0" sz="800" b="0" i="1" u="none" strike="noStrike" kern="1200" cap="none" spc="0" normalizeH="0" baseline="0" noProof="0" dirty="0">
                <a:ln>
                  <a:noFill/>
                </a:ln>
                <a:solidFill>
                  <a:srgbClr val="5C707B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ect</a:t>
            </a:r>
            <a:r>
              <a:rPr kumimoji="0" sz="800" b="0" i="1" u="none" strike="noStrike" kern="1200" cap="none" spc="-30" normalizeH="0" baseline="0" noProof="0" dirty="0">
                <a:ln>
                  <a:noFill/>
                </a:ln>
                <a:solidFill>
                  <a:srgbClr val="5C707B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 </a:t>
            </a:r>
            <a:r>
              <a:rPr kumimoji="0" sz="800" b="0" i="1" u="none" strike="noStrike" kern="1200" cap="none" spc="0" normalizeH="0" baseline="0" noProof="0" dirty="0">
                <a:ln>
                  <a:noFill/>
                </a:ln>
                <a:solidFill>
                  <a:srgbClr val="5C707B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f</a:t>
            </a:r>
            <a:r>
              <a:rPr kumimoji="0" sz="800" b="0" i="1" u="none" strike="noStrike" kern="1200" cap="none" spc="5" normalizeH="0" baseline="0" noProof="0" dirty="0">
                <a:ln>
                  <a:noFill/>
                </a:ln>
                <a:solidFill>
                  <a:srgbClr val="5C707B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in</a:t>
            </a:r>
            <a:r>
              <a:rPr kumimoji="0" sz="800" b="0" i="1" u="none" strike="noStrike" kern="1200" cap="none" spc="-5" normalizeH="0" baseline="0" noProof="0" dirty="0">
                <a:ln>
                  <a:noFill/>
                </a:ln>
                <a:solidFill>
                  <a:srgbClr val="5C707B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a</a:t>
            </a:r>
            <a:r>
              <a:rPr kumimoji="0" sz="800" b="0" i="1" u="none" strike="noStrike" kern="1200" cap="none" spc="0" normalizeH="0" baseline="0" noProof="0" dirty="0">
                <a:ln>
                  <a:noFill/>
                </a:ln>
                <a:solidFill>
                  <a:srgbClr val="5C707B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nc</a:t>
            </a:r>
            <a:r>
              <a:rPr kumimoji="0" sz="800" b="0" i="1" u="none" strike="noStrike" kern="1200" cap="none" spc="5" normalizeH="0" baseline="0" noProof="0" dirty="0">
                <a:ln>
                  <a:noFill/>
                </a:ln>
                <a:solidFill>
                  <a:srgbClr val="5C707B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ing</a:t>
            </a:r>
            <a:endParaRPr kumimoji="0" sz="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rebuchet MS"/>
              <a:ea typeface="+mn-ea"/>
              <a:cs typeface="Trebuchet MS"/>
            </a:endParaRPr>
          </a:p>
        </p:txBody>
      </p:sp>
      <p:sp>
        <p:nvSpPr>
          <p:cNvPr id="46" name="object 46"/>
          <p:cNvSpPr txBox="1"/>
          <p:nvPr/>
        </p:nvSpPr>
        <p:spPr>
          <a:xfrm>
            <a:off x="7022555" y="3739932"/>
            <a:ext cx="1179830" cy="51371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84785" marR="218440" lvl="0" indent="-172720" algn="l" defTabSz="9144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 typeface="Arial MT"/>
              <a:buChar char="•"/>
              <a:tabLst>
                <a:tab pos="184785" algn="l"/>
                <a:tab pos="185420" algn="l"/>
              </a:tabLst>
              <a:defRPr/>
            </a:pPr>
            <a:r>
              <a:rPr kumimoji="0" sz="800" b="0" i="1" u="none" strike="noStrike" kern="1200" cap="none" spc="-5" normalizeH="0" baseline="0" noProof="0" dirty="0">
                <a:ln>
                  <a:noFill/>
                </a:ln>
                <a:solidFill>
                  <a:srgbClr val="5C707B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p</a:t>
            </a:r>
            <a:r>
              <a:rPr kumimoji="0" sz="800" b="0" i="1" u="none" strike="noStrike" kern="1200" cap="none" spc="5" normalizeH="0" baseline="0" noProof="0" dirty="0">
                <a:ln>
                  <a:noFill/>
                </a:ln>
                <a:solidFill>
                  <a:srgbClr val="5C707B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i</a:t>
            </a:r>
            <a:r>
              <a:rPr kumimoji="0" sz="800" b="0" i="1" u="none" strike="noStrike" kern="1200" cap="none" spc="-5" normalizeH="0" baseline="0" noProof="0" dirty="0">
                <a:ln>
                  <a:noFill/>
                </a:ln>
                <a:solidFill>
                  <a:srgbClr val="5C707B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a</a:t>
            </a:r>
            <a:r>
              <a:rPr kumimoji="0" sz="800" b="0" i="1" u="none" strike="noStrike" kern="1200" cap="none" spc="0" normalizeH="0" baseline="0" noProof="0" dirty="0">
                <a:ln>
                  <a:noFill/>
                </a:ln>
                <a:solidFill>
                  <a:srgbClr val="5C707B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no</a:t>
            </a:r>
            <a:r>
              <a:rPr kumimoji="0" sz="800" b="0" i="1" u="none" strike="noStrike" kern="1200" cap="none" spc="-15" normalizeH="0" baseline="0" noProof="0" dirty="0">
                <a:ln>
                  <a:noFill/>
                </a:ln>
                <a:solidFill>
                  <a:srgbClr val="5C707B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 </a:t>
            </a:r>
            <a:r>
              <a:rPr kumimoji="0" sz="800" b="0" i="1" u="none" strike="noStrike" kern="1200" cap="none" spc="0" normalizeH="0" baseline="0" noProof="0" dirty="0">
                <a:ln>
                  <a:noFill/>
                </a:ln>
                <a:solidFill>
                  <a:srgbClr val="5C707B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econom</a:t>
            </a:r>
            <a:r>
              <a:rPr kumimoji="0" sz="800" b="0" i="1" u="none" strike="noStrike" kern="1200" cap="none" spc="-10" normalizeH="0" baseline="0" noProof="0" dirty="0">
                <a:ln>
                  <a:noFill/>
                </a:ln>
                <a:solidFill>
                  <a:srgbClr val="5C707B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i</a:t>
            </a:r>
            <a:r>
              <a:rPr kumimoji="0" sz="800" b="0" i="1" u="none" strike="noStrike" kern="1200" cap="none" spc="0" normalizeH="0" baseline="0" noProof="0" dirty="0">
                <a:ln>
                  <a:noFill/>
                </a:ln>
                <a:solidFill>
                  <a:srgbClr val="5C707B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co  finanziario</a:t>
            </a:r>
            <a:endParaRPr kumimoji="0" sz="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rebuchet MS"/>
              <a:ea typeface="+mn-ea"/>
              <a:cs typeface="Trebuchet MS"/>
            </a:endParaRPr>
          </a:p>
          <a:p>
            <a:pPr marL="184785" marR="5080" lvl="0" indent="-17272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 MT"/>
              <a:buChar char="•"/>
              <a:tabLst>
                <a:tab pos="184785" algn="l"/>
                <a:tab pos="185420" algn="l"/>
              </a:tabLst>
              <a:defRPr/>
            </a:pPr>
            <a:r>
              <a:rPr kumimoji="0" sz="800" b="0" i="1" u="none" strike="noStrike" kern="1200" cap="none" spc="-5" normalizeH="0" baseline="0" noProof="0" dirty="0">
                <a:ln>
                  <a:noFill/>
                </a:ln>
                <a:solidFill>
                  <a:srgbClr val="5C707B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supporto all’Advisory </a:t>
            </a:r>
            <a:r>
              <a:rPr kumimoji="0" sz="800" b="0" i="1" u="none" strike="noStrike" kern="1200" cap="none" spc="-229" normalizeH="0" baseline="0" noProof="0" dirty="0">
                <a:ln>
                  <a:noFill/>
                </a:ln>
                <a:solidFill>
                  <a:srgbClr val="5C707B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 </a:t>
            </a:r>
            <a:r>
              <a:rPr kumimoji="0" sz="800" b="0" i="1" u="none" strike="noStrike" kern="1200" cap="none" spc="0" normalizeH="0" baseline="0" noProof="0" dirty="0">
                <a:ln>
                  <a:noFill/>
                </a:ln>
                <a:solidFill>
                  <a:srgbClr val="5C707B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bancaria</a:t>
            </a:r>
            <a:endParaRPr kumimoji="0" sz="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rebuchet MS"/>
              <a:ea typeface="+mn-ea"/>
              <a:cs typeface="Trebuchet MS"/>
            </a:endParaRPr>
          </a:p>
        </p:txBody>
      </p:sp>
      <p:sp>
        <p:nvSpPr>
          <p:cNvPr id="47" name="object 47"/>
          <p:cNvSpPr txBox="1"/>
          <p:nvPr/>
        </p:nvSpPr>
        <p:spPr>
          <a:xfrm>
            <a:off x="7633468" y="1011504"/>
            <a:ext cx="1022350" cy="391795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89230" marR="0" lvl="0" indent="-177165" algn="l" defTabSz="914400" rtl="0" eaLnBrk="1" fontAlgn="auto" latinLnBrk="0" hangingPunct="1">
              <a:lnSpc>
                <a:spcPct val="100000"/>
              </a:lnSpc>
              <a:spcBef>
                <a:spcPts val="105"/>
              </a:spcBef>
              <a:spcAft>
                <a:spcPts val="0"/>
              </a:spcAft>
              <a:buClrTx/>
              <a:buSzTx/>
              <a:buFont typeface="Arial MT"/>
              <a:buChar char="•"/>
              <a:tabLst>
                <a:tab pos="189230" algn="l"/>
                <a:tab pos="189865" algn="l"/>
              </a:tabLst>
              <a:defRPr/>
            </a:pPr>
            <a:r>
              <a:rPr kumimoji="0" sz="800" b="0" i="1" u="none" strike="noStrike" kern="1200" cap="none" spc="0" normalizeH="0" baseline="0" noProof="0" dirty="0">
                <a:ln>
                  <a:noFill/>
                </a:ln>
                <a:solidFill>
                  <a:srgbClr val="5C707B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arrangement</a:t>
            </a:r>
            <a:endParaRPr kumimoji="0" sz="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rebuchet MS"/>
              <a:ea typeface="+mn-ea"/>
              <a:cs typeface="Trebuchet MS"/>
            </a:endParaRPr>
          </a:p>
          <a:p>
            <a:pPr marL="189230" marR="0" lvl="0" indent="-17716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 MT"/>
              <a:buChar char="•"/>
              <a:tabLst>
                <a:tab pos="189230" algn="l"/>
                <a:tab pos="189865" algn="l"/>
              </a:tabLst>
              <a:defRPr/>
            </a:pPr>
            <a:r>
              <a:rPr kumimoji="0" sz="800" b="0" i="1" u="none" strike="noStrike" kern="1200" cap="none" spc="-5" normalizeH="0" baseline="0" noProof="0" dirty="0">
                <a:ln>
                  <a:noFill/>
                </a:ln>
                <a:solidFill>
                  <a:srgbClr val="5C707B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capitale</a:t>
            </a:r>
            <a:r>
              <a:rPr kumimoji="0" sz="800" b="0" i="1" u="none" strike="noStrike" kern="1200" cap="none" spc="-15" normalizeH="0" baseline="0" noProof="0" dirty="0">
                <a:ln>
                  <a:noFill/>
                </a:ln>
                <a:solidFill>
                  <a:srgbClr val="5C707B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 </a:t>
            </a:r>
            <a:r>
              <a:rPr kumimoji="0" sz="800" b="0" i="1" u="none" strike="noStrike" kern="1200" cap="none" spc="-5" normalizeH="0" baseline="0" noProof="0" dirty="0">
                <a:ln>
                  <a:noFill/>
                </a:ln>
                <a:solidFill>
                  <a:srgbClr val="5C707B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di</a:t>
            </a:r>
            <a:r>
              <a:rPr kumimoji="0" sz="800" b="0" i="1" u="none" strike="noStrike" kern="1200" cap="none" spc="-25" normalizeH="0" baseline="0" noProof="0" dirty="0">
                <a:ln>
                  <a:noFill/>
                </a:ln>
                <a:solidFill>
                  <a:srgbClr val="5C707B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 </a:t>
            </a:r>
            <a:r>
              <a:rPr kumimoji="0" sz="800" b="0" i="1" u="none" strike="noStrike" kern="1200" cap="none" spc="0" normalizeH="0" baseline="0" noProof="0" dirty="0">
                <a:ln>
                  <a:noFill/>
                </a:ln>
                <a:solidFill>
                  <a:srgbClr val="5C707B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debito</a:t>
            </a:r>
            <a:endParaRPr kumimoji="0" sz="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rebuchet MS"/>
              <a:ea typeface="+mn-ea"/>
              <a:cs typeface="Trebuchet MS"/>
            </a:endParaRPr>
          </a:p>
          <a:p>
            <a:pPr marL="189230" marR="0" lvl="0" indent="-17716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 MT"/>
              <a:buChar char="•"/>
              <a:tabLst>
                <a:tab pos="189230" algn="l"/>
                <a:tab pos="189865" algn="l"/>
              </a:tabLst>
              <a:defRPr/>
            </a:pPr>
            <a:r>
              <a:rPr kumimoji="0" sz="800" b="0" i="1" u="none" strike="noStrike" kern="1200" cap="none" spc="0" normalizeH="0" baseline="0" noProof="0" dirty="0">
                <a:ln>
                  <a:noFill/>
                </a:ln>
                <a:solidFill>
                  <a:srgbClr val="5C707B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equity</a:t>
            </a:r>
            <a:endParaRPr kumimoji="0" sz="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rebuchet MS"/>
              <a:ea typeface="+mn-ea"/>
              <a:cs typeface="Trebuchet MS"/>
            </a:endParaRPr>
          </a:p>
        </p:txBody>
      </p:sp>
      <p:sp>
        <p:nvSpPr>
          <p:cNvPr id="48" name="object 48"/>
          <p:cNvSpPr txBox="1"/>
          <p:nvPr/>
        </p:nvSpPr>
        <p:spPr>
          <a:xfrm>
            <a:off x="7153662" y="2130199"/>
            <a:ext cx="495300" cy="269875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89230" marR="0" lvl="0" indent="-177165" algn="l" defTabSz="914400" rtl="0" eaLnBrk="1" fontAlgn="auto" latinLnBrk="0" hangingPunct="1">
              <a:lnSpc>
                <a:spcPct val="100000"/>
              </a:lnSpc>
              <a:spcBef>
                <a:spcPts val="105"/>
              </a:spcBef>
              <a:spcAft>
                <a:spcPts val="0"/>
              </a:spcAft>
              <a:buClrTx/>
              <a:buSzTx/>
              <a:buFont typeface="Arial MT"/>
              <a:buChar char="•"/>
              <a:tabLst>
                <a:tab pos="189230" algn="l"/>
                <a:tab pos="189865" algn="l"/>
              </a:tabLst>
              <a:defRPr/>
            </a:pPr>
            <a:r>
              <a:rPr kumimoji="0" sz="800" b="0" i="1" u="none" strike="noStrike" kern="1200" cap="none" spc="0" normalizeH="0" baseline="0" noProof="0" dirty="0">
                <a:ln>
                  <a:noFill/>
                </a:ln>
                <a:solidFill>
                  <a:srgbClr val="5C707B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E</a:t>
            </a:r>
            <a:r>
              <a:rPr kumimoji="0" sz="800" b="0" i="1" u="none" strike="noStrike" kern="1200" cap="none" spc="-5" normalizeH="0" baseline="0" noProof="0" dirty="0">
                <a:ln>
                  <a:noFill/>
                </a:ln>
                <a:solidFill>
                  <a:srgbClr val="5C707B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qu</a:t>
            </a:r>
            <a:r>
              <a:rPr kumimoji="0" sz="800" b="0" i="1" u="none" strike="noStrike" kern="1200" cap="none" spc="5" normalizeH="0" baseline="0" noProof="0" dirty="0">
                <a:ln>
                  <a:noFill/>
                </a:ln>
                <a:solidFill>
                  <a:srgbClr val="5C707B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i</a:t>
            </a:r>
            <a:r>
              <a:rPr kumimoji="0" sz="800" b="0" i="1" u="none" strike="noStrike" kern="1200" cap="none" spc="-5" normalizeH="0" baseline="0" noProof="0" dirty="0">
                <a:ln>
                  <a:noFill/>
                </a:ln>
                <a:solidFill>
                  <a:srgbClr val="5C707B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t</a:t>
            </a:r>
            <a:r>
              <a:rPr kumimoji="0" sz="800" b="0" i="1" u="none" strike="noStrike" kern="1200" cap="none" spc="0" normalizeH="0" baseline="0" noProof="0" dirty="0">
                <a:ln>
                  <a:noFill/>
                </a:ln>
                <a:solidFill>
                  <a:srgbClr val="5C707B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y</a:t>
            </a:r>
            <a:endParaRPr kumimoji="0" sz="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rebuchet MS"/>
              <a:ea typeface="+mn-ea"/>
              <a:cs typeface="Trebuchet MS"/>
            </a:endParaRPr>
          </a:p>
          <a:p>
            <a:pPr marL="189230" marR="0" lvl="0" indent="-17716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 MT"/>
              <a:buChar char="•"/>
              <a:tabLst>
                <a:tab pos="189230" algn="l"/>
                <a:tab pos="189865" algn="l"/>
              </a:tabLst>
              <a:defRPr/>
            </a:pPr>
            <a:r>
              <a:rPr kumimoji="0" sz="800" b="0" i="1" u="none" strike="noStrike" kern="1200" cap="none" spc="-5" normalizeH="0" baseline="0" noProof="0" dirty="0">
                <a:ln>
                  <a:noFill/>
                </a:ln>
                <a:solidFill>
                  <a:srgbClr val="5C707B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Fondo</a:t>
            </a:r>
            <a:endParaRPr kumimoji="0" sz="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rebuchet MS"/>
              <a:ea typeface="+mn-ea"/>
              <a:cs typeface="Trebuchet MS"/>
            </a:endParaRPr>
          </a:p>
        </p:txBody>
      </p:sp>
      <p:grpSp>
        <p:nvGrpSpPr>
          <p:cNvPr id="49" name="object 49"/>
          <p:cNvGrpSpPr/>
          <p:nvPr/>
        </p:nvGrpSpPr>
        <p:grpSpPr>
          <a:xfrm>
            <a:off x="7961376" y="1554480"/>
            <a:ext cx="2981325" cy="2632075"/>
            <a:chOff x="7961376" y="1554480"/>
            <a:chExt cx="2981325" cy="2632075"/>
          </a:xfrm>
        </p:grpSpPr>
        <p:pic>
          <p:nvPicPr>
            <p:cNvPr id="50" name="object 50"/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9509760" y="1828800"/>
              <a:ext cx="445007" cy="316991"/>
            </a:xfrm>
            <a:prstGeom prst="rect">
              <a:avLst/>
            </a:prstGeom>
          </p:spPr>
        </p:pic>
        <p:pic>
          <p:nvPicPr>
            <p:cNvPr id="51" name="object 51"/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8162544" y="3543300"/>
              <a:ext cx="627887" cy="120395"/>
            </a:xfrm>
            <a:prstGeom prst="rect">
              <a:avLst/>
            </a:prstGeom>
          </p:spPr>
        </p:pic>
        <p:pic>
          <p:nvPicPr>
            <p:cNvPr id="52" name="object 52"/>
            <p:cNvPicPr/>
            <p:nvPr/>
          </p:nvPicPr>
          <p:blipFill>
            <a:blip r:embed="rId5" cstate="print"/>
            <a:stretch>
              <a:fillRect/>
            </a:stretch>
          </p:blipFill>
          <p:spPr>
            <a:xfrm>
              <a:off x="8618219" y="1554480"/>
              <a:ext cx="443482" cy="419099"/>
            </a:xfrm>
            <a:prstGeom prst="rect">
              <a:avLst/>
            </a:prstGeom>
          </p:spPr>
        </p:pic>
        <p:sp>
          <p:nvSpPr>
            <p:cNvPr id="53" name="object 53"/>
            <p:cNvSpPr/>
            <p:nvPr/>
          </p:nvSpPr>
          <p:spPr>
            <a:xfrm>
              <a:off x="8944355" y="2311908"/>
              <a:ext cx="829310" cy="829310"/>
            </a:xfrm>
            <a:custGeom>
              <a:avLst/>
              <a:gdLst/>
              <a:ahLst/>
              <a:cxnLst/>
              <a:rect l="l" t="t" r="r" b="b"/>
              <a:pathLst>
                <a:path w="829309" h="829310">
                  <a:moveTo>
                    <a:pt x="414528" y="0"/>
                  </a:moveTo>
                  <a:lnTo>
                    <a:pt x="366184" y="2788"/>
                  </a:lnTo>
                  <a:lnTo>
                    <a:pt x="319478" y="10947"/>
                  </a:lnTo>
                  <a:lnTo>
                    <a:pt x="274722" y="24165"/>
                  </a:lnTo>
                  <a:lnTo>
                    <a:pt x="232226" y="42132"/>
                  </a:lnTo>
                  <a:lnTo>
                    <a:pt x="192302" y="64535"/>
                  </a:lnTo>
                  <a:lnTo>
                    <a:pt x="155259" y="91065"/>
                  </a:lnTo>
                  <a:lnTo>
                    <a:pt x="121410" y="121410"/>
                  </a:lnTo>
                  <a:lnTo>
                    <a:pt x="91065" y="155259"/>
                  </a:lnTo>
                  <a:lnTo>
                    <a:pt x="64535" y="192302"/>
                  </a:lnTo>
                  <a:lnTo>
                    <a:pt x="42132" y="232226"/>
                  </a:lnTo>
                  <a:lnTo>
                    <a:pt x="24165" y="274722"/>
                  </a:lnTo>
                  <a:lnTo>
                    <a:pt x="10947" y="319478"/>
                  </a:lnTo>
                  <a:lnTo>
                    <a:pt x="2788" y="366184"/>
                  </a:lnTo>
                  <a:lnTo>
                    <a:pt x="0" y="414527"/>
                  </a:lnTo>
                  <a:lnTo>
                    <a:pt x="2788" y="462871"/>
                  </a:lnTo>
                  <a:lnTo>
                    <a:pt x="10947" y="509577"/>
                  </a:lnTo>
                  <a:lnTo>
                    <a:pt x="24165" y="554333"/>
                  </a:lnTo>
                  <a:lnTo>
                    <a:pt x="42132" y="596829"/>
                  </a:lnTo>
                  <a:lnTo>
                    <a:pt x="64535" y="636753"/>
                  </a:lnTo>
                  <a:lnTo>
                    <a:pt x="91065" y="673796"/>
                  </a:lnTo>
                  <a:lnTo>
                    <a:pt x="121410" y="707645"/>
                  </a:lnTo>
                  <a:lnTo>
                    <a:pt x="155259" y="737990"/>
                  </a:lnTo>
                  <a:lnTo>
                    <a:pt x="192302" y="764520"/>
                  </a:lnTo>
                  <a:lnTo>
                    <a:pt x="232226" y="786923"/>
                  </a:lnTo>
                  <a:lnTo>
                    <a:pt x="274722" y="804890"/>
                  </a:lnTo>
                  <a:lnTo>
                    <a:pt x="319478" y="818108"/>
                  </a:lnTo>
                  <a:lnTo>
                    <a:pt x="366184" y="826267"/>
                  </a:lnTo>
                  <a:lnTo>
                    <a:pt x="414528" y="829055"/>
                  </a:lnTo>
                  <a:lnTo>
                    <a:pt x="462871" y="826267"/>
                  </a:lnTo>
                  <a:lnTo>
                    <a:pt x="509577" y="818108"/>
                  </a:lnTo>
                  <a:lnTo>
                    <a:pt x="554333" y="804890"/>
                  </a:lnTo>
                  <a:lnTo>
                    <a:pt x="596829" y="786923"/>
                  </a:lnTo>
                  <a:lnTo>
                    <a:pt x="636753" y="764520"/>
                  </a:lnTo>
                  <a:lnTo>
                    <a:pt x="673796" y="737990"/>
                  </a:lnTo>
                  <a:lnTo>
                    <a:pt x="707645" y="707645"/>
                  </a:lnTo>
                  <a:lnTo>
                    <a:pt x="737990" y="673796"/>
                  </a:lnTo>
                  <a:lnTo>
                    <a:pt x="764520" y="636753"/>
                  </a:lnTo>
                  <a:lnTo>
                    <a:pt x="786923" y="596829"/>
                  </a:lnTo>
                  <a:lnTo>
                    <a:pt x="804890" y="554333"/>
                  </a:lnTo>
                  <a:lnTo>
                    <a:pt x="818108" y="509577"/>
                  </a:lnTo>
                  <a:lnTo>
                    <a:pt x="826267" y="462871"/>
                  </a:lnTo>
                  <a:lnTo>
                    <a:pt x="829056" y="414527"/>
                  </a:lnTo>
                  <a:lnTo>
                    <a:pt x="826267" y="366184"/>
                  </a:lnTo>
                  <a:lnTo>
                    <a:pt x="818108" y="319478"/>
                  </a:lnTo>
                  <a:lnTo>
                    <a:pt x="804890" y="274722"/>
                  </a:lnTo>
                  <a:lnTo>
                    <a:pt x="786923" y="232226"/>
                  </a:lnTo>
                  <a:lnTo>
                    <a:pt x="764520" y="192302"/>
                  </a:lnTo>
                  <a:lnTo>
                    <a:pt x="737990" y="155259"/>
                  </a:lnTo>
                  <a:lnTo>
                    <a:pt x="707645" y="121410"/>
                  </a:lnTo>
                  <a:lnTo>
                    <a:pt x="673796" y="91065"/>
                  </a:lnTo>
                  <a:lnTo>
                    <a:pt x="636753" y="64535"/>
                  </a:lnTo>
                  <a:lnTo>
                    <a:pt x="596829" y="42132"/>
                  </a:lnTo>
                  <a:lnTo>
                    <a:pt x="554333" y="24165"/>
                  </a:lnTo>
                  <a:lnTo>
                    <a:pt x="509577" y="10947"/>
                  </a:lnTo>
                  <a:lnTo>
                    <a:pt x="462871" y="2788"/>
                  </a:lnTo>
                  <a:lnTo>
                    <a:pt x="414528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4" name="object 54"/>
            <p:cNvSpPr/>
            <p:nvPr/>
          </p:nvSpPr>
          <p:spPr>
            <a:xfrm>
              <a:off x="8944355" y="2311906"/>
              <a:ext cx="829310" cy="829310"/>
            </a:xfrm>
            <a:custGeom>
              <a:avLst/>
              <a:gdLst/>
              <a:ahLst/>
              <a:cxnLst/>
              <a:rect l="l" t="t" r="r" b="b"/>
              <a:pathLst>
                <a:path w="829309" h="829310">
                  <a:moveTo>
                    <a:pt x="0" y="414527"/>
                  </a:moveTo>
                  <a:lnTo>
                    <a:pt x="2788" y="366184"/>
                  </a:lnTo>
                  <a:lnTo>
                    <a:pt x="10947" y="319478"/>
                  </a:lnTo>
                  <a:lnTo>
                    <a:pt x="24165" y="274722"/>
                  </a:lnTo>
                  <a:lnTo>
                    <a:pt x="42132" y="232226"/>
                  </a:lnTo>
                  <a:lnTo>
                    <a:pt x="64535" y="192302"/>
                  </a:lnTo>
                  <a:lnTo>
                    <a:pt x="91065" y="155259"/>
                  </a:lnTo>
                  <a:lnTo>
                    <a:pt x="121410" y="121410"/>
                  </a:lnTo>
                  <a:lnTo>
                    <a:pt x="155259" y="91065"/>
                  </a:lnTo>
                  <a:lnTo>
                    <a:pt x="192302" y="64535"/>
                  </a:lnTo>
                  <a:lnTo>
                    <a:pt x="232226" y="42132"/>
                  </a:lnTo>
                  <a:lnTo>
                    <a:pt x="274722" y="24165"/>
                  </a:lnTo>
                  <a:lnTo>
                    <a:pt x="319478" y="10947"/>
                  </a:lnTo>
                  <a:lnTo>
                    <a:pt x="366184" y="2788"/>
                  </a:lnTo>
                  <a:lnTo>
                    <a:pt x="414528" y="0"/>
                  </a:lnTo>
                  <a:lnTo>
                    <a:pt x="462871" y="2788"/>
                  </a:lnTo>
                  <a:lnTo>
                    <a:pt x="509577" y="10947"/>
                  </a:lnTo>
                  <a:lnTo>
                    <a:pt x="554333" y="24165"/>
                  </a:lnTo>
                  <a:lnTo>
                    <a:pt x="596829" y="42132"/>
                  </a:lnTo>
                  <a:lnTo>
                    <a:pt x="636753" y="64535"/>
                  </a:lnTo>
                  <a:lnTo>
                    <a:pt x="673796" y="91065"/>
                  </a:lnTo>
                  <a:lnTo>
                    <a:pt x="707645" y="121410"/>
                  </a:lnTo>
                  <a:lnTo>
                    <a:pt x="737990" y="155259"/>
                  </a:lnTo>
                  <a:lnTo>
                    <a:pt x="764520" y="192302"/>
                  </a:lnTo>
                  <a:lnTo>
                    <a:pt x="786923" y="232226"/>
                  </a:lnTo>
                  <a:lnTo>
                    <a:pt x="804890" y="274722"/>
                  </a:lnTo>
                  <a:lnTo>
                    <a:pt x="818108" y="319478"/>
                  </a:lnTo>
                  <a:lnTo>
                    <a:pt x="826267" y="366184"/>
                  </a:lnTo>
                  <a:lnTo>
                    <a:pt x="829056" y="414527"/>
                  </a:lnTo>
                  <a:lnTo>
                    <a:pt x="826267" y="462871"/>
                  </a:lnTo>
                  <a:lnTo>
                    <a:pt x="818108" y="509577"/>
                  </a:lnTo>
                  <a:lnTo>
                    <a:pt x="804890" y="554333"/>
                  </a:lnTo>
                  <a:lnTo>
                    <a:pt x="786923" y="596829"/>
                  </a:lnTo>
                  <a:lnTo>
                    <a:pt x="764520" y="636753"/>
                  </a:lnTo>
                  <a:lnTo>
                    <a:pt x="737990" y="673796"/>
                  </a:lnTo>
                  <a:lnTo>
                    <a:pt x="707645" y="707645"/>
                  </a:lnTo>
                  <a:lnTo>
                    <a:pt x="673796" y="737990"/>
                  </a:lnTo>
                  <a:lnTo>
                    <a:pt x="636753" y="764520"/>
                  </a:lnTo>
                  <a:lnTo>
                    <a:pt x="596829" y="786923"/>
                  </a:lnTo>
                  <a:lnTo>
                    <a:pt x="554333" y="804890"/>
                  </a:lnTo>
                  <a:lnTo>
                    <a:pt x="509577" y="818108"/>
                  </a:lnTo>
                  <a:lnTo>
                    <a:pt x="462871" y="826267"/>
                  </a:lnTo>
                  <a:lnTo>
                    <a:pt x="414528" y="829055"/>
                  </a:lnTo>
                  <a:lnTo>
                    <a:pt x="366184" y="826267"/>
                  </a:lnTo>
                  <a:lnTo>
                    <a:pt x="319478" y="818108"/>
                  </a:lnTo>
                  <a:lnTo>
                    <a:pt x="274722" y="804890"/>
                  </a:lnTo>
                  <a:lnTo>
                    <a:pt x="232226" y="786923"/>
                  </a:lnTo>
                  <a:lnTo>
                    <a:pt x="192302" y="764520"/>
                  </a:lnTo>
                  <a:lnTo>
                    <a:pt x="155259" y="737990"/>
                  </a:lnTo>
                  <a:lnTo>
                    <a:pt x="121410" y="707645"/>
                  </a:lnTo>
                  <a:lnTo>
                    <a:pt x="91065" y="673796"/>
                  </a:lnTo>
                  <a:lnTo>
                    <a:pt x="64535" y="636753"/>
                  </a:lnTo>
                  <a:lnTo>
                    <a:pt x="42132" y="596829"/>
                  </a:lnTo>
                  <a:lnTo>
                    <a:pt x="24165" y="554333"/>
                  </a:lnTo>
                  <a:lnTo>
                    <a:pt x="10947" y="509577"/>
                  </a:lnTo>
                  <a:lnTo>
                    <a:pt x="2788" y="462871"/>
                  </a:lnTo>
                  <a:lnTo>
                    <a:pt x="0" y="414527"/>
                  </a:lnTo>
                  <a:close/>
                </a:path>
              </a:pathLst>
            </a:custGeom>
            <a:ln w="9525">
              <a:solidFill>
                <a:srgbClr val="919191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pic>
          <p:nvPicPr>
            <p:cNvPr id="55" name="object 55"/>
            <p:cNvPicPr/>
            <p:nvPr/>
          </p:nvPicPr>
          <p:blipFill>
            <a:blip r:embed="rId6" cstate="print"/>
            <a:stretch>
              <a:fillRect/>
            </a:stretch>
          </p:blipFill>
          <p:spPr>
            <a:xfrm>
              <a:off x="9061703" y="2517647"/>
              <a:ext cx="548640" cy="451091"/>
            </a:xfrm>
            <a:prstGeom prst="rect">
              <a:avLst/>
            </a:prstGeom>
          </p:spPr>
        </p:pic>
        <p:pic>
          <p:nvPicPr>
            <p:cNvPr id="56" name="object 56"/>
            <p:cNvPicPr/>
            <p:nvPr/>
          </p:nvPicPr>
          <p:blipFill>
            <a:blip r:embed="rId7" cstate="print"/>
            <a:stretch>
              <a:fillRect/>
            </a:stretch>
          </p:blipFill>
          <p:spPr>
            <a:xfrm>
              <a:off x="9988295" y="2289048"/>
              <a:ext cx="954023" cy="179831"/>
            </a:xfrm>
            <a:prstGeom prst="rect">
              <a:avLst/>
            </a:prstGeom>
          </p:spPr>
        </p:pic>
        <p:pic>
          <p:nvPicPr>
            <p:cNvPr id="57" name="object 57"/>
            <p:cNvPicPr/>
            <p:nvPr/>
          </p:nvPicPr>
          <p:blipFill>
            <a:blip r:embed="rId8" cstate="print"/>
            <a:stretch>
              <a:fillRect/>
            </a:stretch>
          </p:blipFill>
          <p:spPr>
            <a:xfrm>
              <a:off x="7991855" y="2435364"/>
              <a:ext cx="499871" cy="300215"/>
            </a:xfrm>
            <a:prstGeom prst="rect">
              <a:avLst/>
            </a:prstGeom>
          </p:spPr>
        </p:pic>
        <p:pic>
          <p:nvPicPr>
            <p:cNvPr id="58" name="object 58"/>
            <p:cNvPicPr/>
            <p:nvPr/>
          </p:nvPicPr>
          <p:blipFill>
            <a:blip r:embed="rId9" cstate="print"/>
            <a:stretch>
              <a:fillRect/>
            </a:stretch>
          </p:blipFill>
          <p:spPr>
            <a:xfrm>
              <a:off x="8023860" y="2232659"/>
              <a:ext cx="452627" cy="236219"/>
            </a:xfrm>
            <a:prstGeom prst="rect">
              <a:avLst/>
            </a:prstGeom>
          </p:spPr>
        </p:pic>
        <p:pic>
          <p:nvPicPr>
            <p:cNvPr id="59" name="object 59"/>
            <p:cNvPicPr/>
            <p:nvPr/>
          </p:nvPicPr>
          <p:blipFill>
            <a:blip r:embed="rId10" cstate="print"/>
            <a:stretch>
              <a:fillRect/>
            </a:stretch>
          </p:blipFill>
          <p:spPr>
            <a:xfrm>
              <a:off x="8988552" y="4002023"/>
              <a:ext cx="635507" cy="184403"/>
            </a:xfrm>
            <a:prstGeom prst="rect">
              <a:avLst/>
            </a:prstGeom>
          </p:spPr>
        </p:pic>
        <p:pic>
          <p:nvPicPr>
            <p:cNvPr id="60" name="object 60"/>
            <p:cNvPicPr/>
            <p:nvPr/>
          </p:nvPicPr>
          <p:blipFill>
            <a:blip r:embed="rId11" cstate="print"/>
            <a:stretch>
              <a:fillRect/>
            </a:stretch>
          </p:blipFill>
          <p:spPr>
            <a:xfrm>
              <a:off x="9232391" y="3329939"/>
              <a:ext cx="252983" cy="252983"/>
            </a:xfrm>
            <a:prstGeom prst="rect">
              <a:avLst/>
            </a:prstGeom>
          </p:spPr>
        </p:pic>
        <p:pic>
          <p:nvPicPr>
            <p:cNvPr id="61" name="object 61"/>
            <p:cNvPicPr/>
            <p:nvPr/>
          </p:nvPicPr>
          <p:blipFill>
            <a:blip r:embed="rId12" cstate="print"/>
            <a:stretch>
              <a:fillRect/>
            </a:stretch>
          </p:blipFill>
          <p:spPr>
            <a:xfrm>
              <a:off x="8848344" y="3695700"/>
              <a:ext cx="384047" cy="201167"/>
            </a:xfrm>
            <a:prstGeom prst="rect">
              <a:avLst/>
            </a:prstGeom>
          </p:spPr>
        </p:pic>
        <p:pic>
          <p:nvPicPr>
            <p:cNvPr id="62" name="object 62"/>
            <p:cNvPicPr/>
            <p:nvPr/>
          </p:nvPicPr>
          <p:blipFill>
            <a:blip r:embed="rId13" cstate="print"/>
            <a:stretch>
              <a:fillRect/>
            </a:stretch>
          </p:blipFill>
          <p:spPr>
            <a:xfrm>
              <a:off x="9959339" y="2441448"/>
              <a:ext cx="646175" cy="251459"/>
            </a:xfrm>
            <a:prstGeom prst="rect">
              <a:avLst/>
            </a:prstGeom>
          </p:spPr>
        </p:pic>
        <p:pic>
          <p:nvPicPr>
            <p:cNvPr id="63" name="object 63"/>
            <p:cNvPicPr/>
            <p:nvPr/>
          </p:nvPicPr>
          <p:blipFill>
            <a:blip r:embed="rId14" cstate="print"/>
            <a:stretch>
              <a:fillRect/>
            </a:stretch>
          </p:blipFill>
          <p:spPr>
            <a:xfrm>
              <a:off x="8510016" y="3099816"/>
              <a:ext cx="417574" cy="158495"/>
            </a:xfrm>
            <a:prstGeom prst="rect">
              <a:avLst/>
            </a:prstGeom>
          </p:spPr>
        </p:pic>
        <p:pic>
          <p:nvPicPr>
            <p:cNvPr id="64" name="object 64"/>
            <p:cNvPicPr/>
            <p:nvPr/>
          </p:nvPicPr>
          <p:blipFill>
            <a:blip r:embed="rId15" cstate="print"/>
            <a:stretch>
              <a:fillRect/>
            </a:stretch>
          </p:blipFill>
          <p:spPr>
            <a:xfrm>
              <a:off x="7961376" y="3267455"/>
              <a:ext cx="423982" cy="161543"/>
            </a:xfrm>
            <a:prstGeom prst="rect">
              <a:avLst/>
            </a:prstGeom>
          </p:spPr>
        </p:pic>
        <p:pic>
          <p:nvPicPr>
            <p:cNvPr id="65" name="object 65"/>
            <p:cNvPicPr/>
            <p:nvPr/>
          </p:nvPicPr>
          <p:blipFill>
            <a:blip r:embed="rId16" cstate="print"/>
            <a:stretch>
              <a:fillRect/>
            </a:stretch>
          </p:blipFill>
          <p:spPr>
            <a:xfrm>
              <a:off x="10018776" y="3560064"/>
              <a:ext cx="496823" cy="161543"/>
            </a:xfrm>
            <a:prstGeom prst="rect">
              <a:avLst/>
            </a:prstGeom>
          </p:spPr>
        </p:pic>
        <p:pic>
          <p:nvPicPr>
            <p:cNvPr id="66" name="object 66"/>
            <p:cNvPicPr/>
            <p:nvPr/>
          </p:nvPicPr>
          <p:blipFill>
            <a:blip r:embed="rId17" cstate="print"/>
            <a:stretch>
              <a:fillRect/>
            </a:stretch>
          </p:blipFill>
          <p:spPr>
            <a:xfrm>
              <a:off x="9779507" y="1606296"/>
              <a:ext cx="574548" cy="120396"/>
            </a:xfrm>
            <a:prstGeom prst="rect">
              <a:avLst/>
            </a:prstGeom>
          </p:spPr>
        </p:pic>
        <p:pic>
          <p:nvPicPr>
            <p:cNvPr id="67" name="object 67"/>
            <p:cNvPicPr/>
            <p:nvPr/>
          </p:nvPicPr>
          <p:blipFill>
            <a:blip r:embed="rId18" cstate="print"/>
            <a:stretch>
              <a:fillRect/>
            </a:stretch>
          </p:blipFill>
          <p:spPr>
            <a:xfrm>
              <a:off x="9906000" y="2685288"/>
              <a:ext cx="851914" cy="89915"/>
            </a:xfrm>
            <a:prstGeom prst="rect">
              <a:avLst/>
            </a:prstGeom>
          </p:spPr>
        </p:pic>
        <p:sp>
          <p:nvSpPr>
            <p:cNvPr id="68" name="object 68"/>
            <p:cNvSpPr/>
            <p:nvPr/>
          </p:nvSpPr>
          <p:spPr>
            <a:xfrm>
              <a:off x="9901237" y="2680525"/>
              <a:ext cx="861694" cy="99695"/>
            </a:xfrm>
            <a:custGeom>
              <a:avLst/>
              <a:gdLst/>
              <a:ahLst/>
              <a:cxnLst/>
              <a:rect l="l" t="t" r="r" b="b"/>
              <a:pathLst>
                <a:path w="861695" h="99694">
                  <a:moveTo>
                    <a:pt x="0" y="0"/>
                  </a:moveTo>
                  <a:lnTo>
                    <a:pt x="861441" y="0"/>
                  </a:lnTo>
                  <a:lnTo>
                    <a:pt x="861441" y="99440"/>
                  </a:lnTo>
                  <a:lnTo>
                    <a:pt x="0" y="99440"/>
                  </a:lnTo>
                  <a:lnTo>
                    <a:pt x="0" y="0"/>
                  </a:lnTo>
                  <a:close/>
                </a:path>
              </a:pathLst>
            </a:custGeom>
            <a:ln w="9525">
              <a:solidFill>
                <a:srgbClr val="8B8B8B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pic>
          <p:nvPicPr>
            <p:cNvPr id="69" name="object 69"/>
            <p:cNvPicPr/>
            <p:nvPr/>
          </p:nvPicPr>
          <p:blipFill>
            <a:blip r:embed="rId19" cstate="print"/>
            <a:stretch>
              <a:fillRect/>
            </a:stretch>
          </p:blipFill>
          <p:spPr>
            <a:xfrm>
              <a:off x="9750552" y="3046476"/>
              <a:ext cx="301751" cy="301751"/>
            </a:xfrm>
            <a:prstGeom prst="rect">
              <a:avLst/>
            </a:prstGeom>
          </p:spPr>
        </p:pic>
        <p:pic>
          <p:nvPicPr>
            <p:cNvPr id="70" name="object 70"/>
            <p:cNvPicPr/>
            <p:nvPr/>
          </p:nvPicPr>
          <p:blipFill>
            <a:blip r:embed="rId20" cstate="print"/>
            <a:stretch>
              <a:fillRect/>
            </a:stretch>
          </p:blipFill>
          <p:spPr>
            <a:xfrm>
              <a:off x="10183369" y="2055876"/>
              <a:ext cx="716278" cy="211836"/>
            </a:xfrm>
            <a:prstGeom prst="rect">
              <a:avLst/>
            </a:prstGeom>
          </p:spPr>
        </p:pic>
        <p:pic>
          <p:nvPicPr>
            <p:cNvPr id="71" name="object 71"/>
            <p:cNvPicPr/>
            <p:nvPr/>
          </p:nvPicPr>
          <p:blipFill>
            <a:blip r:embed="rId21" cstate="print"/>
            <a:stretch>
              <a:fillRect/>
            </a:stretch>
          </p:blipFill>
          <p:spPr>
            <a:xfrm>
              <a:off x="9256775" y="3735324"/>
              <a:ext cx="644651" cy="179831"/>
            </a:xfrm>
            <a:prstGeom prst="rect">
              <a:avLst/>
            </a:prstGeom>
          </p:spPr>
        </p:pic>
      </p:grpSp>
      <p:sp>
        <p:nvSpPr>
          <p:cNvPr id="72" name="object 72"/>
          <p:cNvSpPr txBox="1"/>
          <p:nvPr/>
        </p:nvSpPr>
        <p:spPr>
          <a:xfrm>
            <a:off x="8623104" y="4971458"/>
            <a:ext cx="2421255" cy="346710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84785" marR="5080" lvl="0" indent="-172720" algn="l" defTabSz="914400" rtl="0" eaLnBrk="1" fontAlgn="auto" latinLnBrk="0" hangingPunct="1">
              <a:lnSpc>
                <a:spcPct val="100000"/>
              </a:lnSpc>
              <a:spcBef>
                <a:spcPts val="105"/>
              </a:spcBef>
              <a:spcAft>
                <a:spcPts val="0"/>
              </a:spcAft>
              <a:buClrTx/>
              <a:buSzTx/>
              <a:buFont typeface="Arial MT"/>
              <a:buChar char="•"/>
              <a:tabLst>
                <a:tab pos="185420" algn="l"/>
              </a:tabLst>
              <a:defRPr/>
            </a:pPr>
            <a:r>
              <a:rPr kumimoji="0" sz="1050" b="0" i="1" u="none" strike="noStrike" kern="1200" cap="none" spc="-5" normalizeH="0" baseline="0" noProof="0" dirty="0">
                <a:ln>
                  <a:noFill/>
                </a:ln>
                <a:solidFill>
                  <a:srgbClr val="5C707B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Service</a:t>
            </a:r>
            <a:r>
              <a:rPr kumimoji="0" sz="1050" b="0" i="1" u="none" strike="noStrike" kern="1200" cap="none" spc="-25" normalizeH="0" baseline="0" noProof="0" dirty="0">
                <a:ln>
                  <a:noFill/>
                </a:ln>
                <a:solidFill>
                  <a:srgbClr val="5C707B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 </a:t>
            </a:r>
            <a:r>
              <a:rPr kumimoji="0" sz="1050" b="0" i="1" u="none" strike="noStrike" kern="1200" cap="none" spc="0" normalizeH="0" baseline="0" noProof="0" dirty="0">
                <a:ln>
                  <a:noFill/>
                </a:ln>
                <a:solidFill>
                  <a:srgbClr val="5C707B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Wheel</a:t>
            </a:r>
            <a:r>
              <a:rPr kumimoji="0" sz="1050" b="0" i="1" u="none" strike="noStrike" kern="1200" cap="none" spc="-15" normalizeH="0" baseline="0" noProof="0" dirty="0">
                <a:ln>
                  <a:noFill/>
                </a:ln>
                <a:solidFill>
                  <a:srgbClr val="5C707B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 </a:t>
            </a:r>
            <a:r>
              <a:rPr kumimoji="0" sz="1050" b="0" i="0" u="none" strike="noStrike" kern="1200" cap="none" spc="0" normalizeH="0" baseline="0" noProof="0" dirty="0">
                <a:ln>
                  <a:noFill/>
                </a:ln>
                <a:solidFill>
                  <a:srgbClr val="5C707B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facendo</a:t>
            </a:r>
            <a:r>
              <a:rPr kumimoji="0" sz="1050" b="0" i="0" u="none" strike="noStrike" kern="1200" cap="none" spc="-25" normalizeH="0" baseline="0" noProof="0" dirty="0">
                <a:ln>
                  <a:noFill/>
                </a:ln>
                <a:solidFill>
                  <a:srgbClr val="5C707B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 </a:t>
            </a:r>
            <a:r>
              <a:rPr kumimoji="0" sz="1050" b="0" i="0" u="none" strike="noStrike" kern="1200" cap="none" spc="0" normalizeH="0" baseline="0" noProof="0" dirty="0">
                <a:ln>
                  <a:noFill/>
                </a:ln>
                <a:solidFill>
                  <a:srgbClr val="5C707B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leva</a:t>
            </a:r>
            <a:r>
              <a:rPr kumimoji="0" sz="1050" b="0" i="0" u="none" strike="noStrike" kern="1200" cap="none" spc="-25" normalizeH="0" baseline="0" noProof="0" dirty="0">
                <a:ln>
                  <a:noFill/>
                </a:ln>
                <a:solidFill>
                  <a:srgbClr val="5C707B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 </a:t>
            </a:r>
            <a:r>
              <a:rPr kumimoji="0" sz="1050" b="0" i="0" u="none" strike="noStrike" kern="1200" cap="none" spc="0" normalizeH="0" baseline="0" noProof="0" dirty="0">
                <a:ln>
                  <a:noFill/>
                </a:ln>
                <a:solidFill>
                  <a:srgbClr val="5C707B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su</a:t>
            </a:r>
            <a:r>
              <a:rPr kumimoji="0" sz="1050" b="0" i="0" u="none" strike="noStrike" kern="1200" cap="none" spc="-15" normalizeH="0" baseline="0" noProof="0" dirty="0">
                <a:ln>
                  <a:noFill/>
                </a:ln>
                <a:solidFill>
                  <a:srgbClr val="5C707B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 </a:t>
            </a:r>
            <a:r>
              <a:rPr kumimoji="0" sz="1050" b="0" i="0" u="none" strike="noStrike" kern="1200" cap="none" spc="0" normalizeH="0" baseline="0" noProof="0" dirty="0">
                <a:ln>
                  <a:noFill/>
                </a:ln>
                <a:solidFill>
                  <a:srgbClr val="5C707B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un</a:t>
            </a:r>
            <a:r>
              <a:rPr kumimoji="0" sz="1050" b="0" i="0" u="none" strike="noStrike" kern="1200" cap="none" spc="-15" normalizeH="0" baseline="0" noProof="0" dirty="0">
                <a:ln>
                  <a:noFill/>
                </a:ln>
                <a:solidFill>
                  <a:srgbClr val="5C707B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 </a:t>
            </a:r>
            <a:r>
              <a:rPr kumimoji="0" sz="1050" b="0" i="0" u="none" strike="noStrike" kern="1200" cap="none" spc="0" normalizeH="0" baseline="0" noProof="0" dirty="0">
                <a:ln>
                  <a:noFill/>
                </a:ln>
                <a:solidFill>
                  <a:srgbClr val="5C707B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set </a:t>
            </a:r>
            <a:r>
              <a:rPr kumimoji="0" sz="1050" b="0" i="0" u="none" strike="noStrike" kern="1200" cap="none" spc="-305" normalizeH="0" baseline="0" noProof="0" dirty="0">
                <a:ln>
                  <a:noFill/>
                </a:ln>
                <a:solidFill>
                  <a:srgbClr val="5C707B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 </a:t>
            </a:r>
            <a:r>
              <a:rPr kumimoji="0" sz="1050" b="0" i="0" u="none" strike="noStrike" kern="1200" cap="none" spc="0" normalizeH="0" baseline="0" noProof="0" dirty="0">
                <a:ln>
                  <a:noFill/>
                </a:ln>
                <a:solidFill>
                  <a:srgbClr val="5C707B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di</a:t>
            </a:r>
            <a:r>
              <a:rPr kumimoji="0" sz="1050" b="0" i="0" u="none" strike="noStrike" kern="1200" cap="none" spc="-15" normalizeH="0" baseline="0" noProof="0" dirty="0">
                <a:ln>
                  <a:noFill/>
                </a:ln>
                <a:solidFill>
                  <a:srgbClr val="5C707B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 </a:t>
            </a:r>
            <a:r>
              <a:rPr kumimoji="0" sz="1050" b="0" i="0" u="none" strike="noStrike" kern="1200" cap="none" spc="0" normalizeH="0" baseline="0" noProof="0" dirty="0">
                <a:ln>
                  <a:noFill/>
                </a:ln>
                <a:solidFill>
                  <a:srgbClr val="5C707B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partner</a:t>
            </a:r>
            <a:r>
              <a:rPr kumimoji="0" sz="1050" b="0" i="0" u="none" strike="noStrike" kern="1200" cap="none" spc="-15" normalizeH="0" baseline="0" noProof="0" dirty="0">
                <a:ln>
                  <a:noFill/>
                </a:ln>
                <a:solidFill>
                  <a:srgbClr val="5C707B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 </a:t>
            </a:r>
            <a:r>
              <a:rPr kumimoji="0" sz="1050" b="0" i="0" u="none" strike="noStrike" kern="1200" cap="none" spc="0" normalizeH="0" baseline="0" noProof="0" dirty="0">
                <a:ln>
                  <a:noFill/>
                </a:ln>
                <a:solidFill>
                  <a:srgbClr val="5C707B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consolidati</a:t>
            </a:r>
            <a:endParaRPr kumimoji="0" sz="105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rebuchet MS"/>
              <a:ea typeface="+mn-ea"/>
              <a:cs typeface="Trebuchet MS"/>
            </a:endParaRPr>
          </a:p>
        </p:txBody>
      </p:sp>
      <p:sp>
        <p:nvSpPr>
          <p:cNvPr id="75" name="Segnaposto numero diapositiva 2">
            <a:extLst>
              <a:ext uri="{FF2B5EF4-FFF2-40B4-BE49-F238E27FC236}">
                <a16:creationId xmlns:a16="http://schemas.microsoft.com/office/drawing/2014/main" id="{E0DA3EB6-48FF-49F3-961F-7A16EEA1E2D2}"/>
              </a:ext>
            </a:extLst>
          </p:cNvPr>
          <p:cNvSpPr txBox="1">
            <a:spLocks/>
          </p:cNvSpPr>
          <p:nvPr/>
        </p:nvSpPr>
        <p:spPr>
          <a:xfrm>
            <a:off x="7581900" y="6360319"/>
            <a:ext cx="2743200" cy="365125"/>
          </a:xfrm>
          <a:prstGeom prst="rect">
            <a:avLst/>
          </a:prstGeom>
        </p:spPr>
        <p:txBody>
          <a:bodyPr/>
          <a:lstStyle>
            <a:defPPr>
              <a:defRPr lang="it-IT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defRPr/>
            </a:pPr>
            <a:fld id="{9501BE4A-6F75-0549-8D25-E25EBB4B1677}" type="slidenum">
              <a:rPr lang="it-IT" sz="1200" smtClean="0">
                <a:solidFill>
                  <a:srgbClr val="FFFFFF"/>
                </a:solidFill>
                <a:latin typeface="Trebuchet MS"/>
              </a:rPr>
              <a:pPr algn="r">
                <a:defRPr/>
              </a:pPr>
              <a:t>14</a:t>
            </a:fld>
            <a:endParaRPr lang="it-IT" sz="1200" dirty="0">
              <a:solidFill>
                <a:srgbClr val="FFFFFF"/>
              </a:solidFill>
              <a:latin typeface="Trebuchet MS"/>
            </a:endParaRPr>
          </a:p>
        </p:txBody>
      </p:sp>
      <p:sp>
        <p:nvSpPr>
          <p:cNvPr id="73" name="Segnaposto piè di pagina 72">
            <a:extLst>
              <a:ext uri="{FF2B5EF4-FFF2-40B4-BE49-F238E27FC236}">
                <a16:creationId xmlns:a16="http://schemas.microsoft.com/office/drawing/2014/main" id="{903AF019-A970-4085-ADD2-E5F72BB7F795}"/>
              </a:ext>
            </a:extLst>
          </p:cNvPr>
          <p:cNvSpPr>
            <a:spLocks noGrp="1"/>
          </p:cNvSpPr>
          <p:nvPr>
            <p:ph type="ftr" sz="quarter" idx="5"/>
          </p:nvPr>
        </p:nvSpPr>
        <p:spPr>
          <a:xfrm>
            <a:off x="4407382" y="6271890"/>
            <a:ext cx="4102633" cy="369332"/>
          </a:xfrm>
        </p:spPr>
        <p:txBody>
          <a:bodyPr/>
          <a:lstStyle/>
          <a:p>
            <a:pPr marL="12700" algn="ctr">
              <a:lnSpc>
                <a:spcPct val="100000"/>
              </a:lnSpc>
              <a:spcBef>
                <a:spcPts val="25"/>
              </a:spcBef>
            </a:pPr>
            <a:r>
              <a:rPr lang="it-IT" dirty="0"/>
              <a:t>Istituto per il Credito Sportivo Banca Sociale per lo Sport e la Cultura</a:t>
            </a:r>
            <a:endParaRPr lang="it-IT" spc="-15" dirty="0"/>
          </a:p>
        </p:txBody>
      </p:sp>
      <p:sp>
        <p:nvSpPr>
          <p:cNvPr id="74" name="Segnaposto numero diapositiva 73">
            <a:extLst>
              <a:ext uri="{FF2B5EF4-FFF2-40B4-BE49-F238E27FC236}">
                <a16:creationId xmlns:a16="http://schemas.microsoft.com/office/drawing/2014/main" id="{F9BC50C3-DB8B-4799-841A-304322D40DE5}"/>
              </a:ext>
            </a:extLst>
          </p:cNvPr>
          <p:cNvSpPr>
            <a:spLocks noGrp="1"/>
          </p:cNvSpPr>
          <p:nvPr>
            <p:ph type="sldNum" sz="quarter" idx="7"/>
          </p:nvPr>
        </p:nvSpPr>
        <p:spPr/>
        <p:txBody>
          <a:bodyPr/>
          <a:lstStyle/>
          <a:p>
            <a:pPr marL="116839">
              <a:lnSpc>
                <a:spcPct val="100000"/>
              </a:lnSpc>
              <a:spcBef>
                <a:spcPts val="385"/>
              </a:spcBef>
            </a:pPr>
            <a:fld id="{81D60167-4931-47E6-BA6A-407CBD079E47}" type="slidenum">
              <a:rPr lang="it-IT" smtClean="0"/>
              <a:t>14</a:t>
            </a:fld>
            <a:endParaRPr lang="it-IT" dirty="0"/>
          </a:p>
        </p:txBody>
      </p:sp>
    </p:spTree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object 2"/>
          <p:cNvGrpSpPr/>
          <p:nvPr/>
        </p:nvGrpSpPr>
        <p:grpSpPr>
          <a:xfrm>
            <a:off x="769619" y="239269"/>
            <a:ext cx="10584180" cy="570230"/>
            <a:chOff x="769619" y="239269"/>
            <a:chExt cx="10584180" cy="570230"/>
          </a:xfrm>
        </p:grpSpPr>
        <p:sp>
          <p:nvSpPr>
            <p:cNvPr id="3" name="object 3"/>
            <p:cNvSpPr/>
            <p:nvPr/>
          </p:nvSpPr>
          <p:spPr>
            <a:xfrm>
              <a:off x="838199" y="246887"/>
              <a:ext cx="10515600" cy="486409"/>
            </a:xfrm>
            <a:custGeom>
              <a:avLst/>
              <a:gdLst/>
              <a:ahLst/>
              <a:cxnLst/>
              <a:rect l="l" t="t" r="r" b="b"/>
              <a:pathLst>
                <a:path w="10515600" h="486409">
                  <a:moveTo>
                    <a:pt x="10515600" y="0"/>
                  </a:moveTo>
                  <a:lnTo>
                    <a:pt x="0" y="0"/>
                  </a:lnTo>
                  <a:lnTo>
                    <a:pt x="0" y="486155"/>
                  </a:lnTo>
                  <a:lnTo>
                    <a:pt x="10515600" y="486155"/>
                  </a:lnTo>
                  <a:lnTo>
                    <a:pt x="10515600" y="0"/>
                  </a:lnTo>
                  <a:close/>
                </a:path>
              </a:pathLst>
            </a:custGeom>
            <a:solidFill>
              <a:srgbClr val="5C707B"/>
            </a:solid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pic>
          <p:nvPicPr>
            <p:cNvPr id="4" name="object 4"/>
            <p:cNvPicPr/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769619" y="239269"/>
              <a:ext cx="9243059" cy="569974"/>
            </a:xfrm>
            <a:prstGeom prst="rect">
              <a:avLst/>
            </a:prstGeom>
          </p:spPr>
        </p:pic>
      </p:grpSp>
      <p:sp>
        <p:nvSpPr>
          <p:cNvPr id="5" name="object 5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vert="horz" wrap="square" lIns="0" tIns="67945" rIns="0" bIns="0" rtlCol="0">
            <a:spAutoFit/>
          </a:bodyPr>
          <a:lstStyle/>
          <a:p>
            <a:pPr marL="91440">
              <a:lnSpc>
                <a:spcPct val="100000"/>
              </a:lnSpc>
              <a:spcBef>
                <a:spcPts val="535"/>
              </a:spcBef>
            </a:pPr>
            <a:r>
              <a:rPr sz="2000" spc="-5" dirty="0"/>
              <a:t>ICS</a:t>
            </a:r>
            <a:r>
              <a:rPr sz="2000" spc="5" dirty="0"/>
              <a:t> </a:t>
            </a:r>
            <a:r>
              <a:rPr sz="2000" dirty="0"/>
              <a:t>è</a:t>
            </a:r>
            <a:r>
              <a:rPr sz="2000" spc="-5" dirty="0"/>
              <a:t> </a:t>
            </a:r>
            <a:r>
              <a:rPr sz="2000" dirty="0"/>
              <a:t>oggi</a:t>
            </a:r>
            <a:r>
              <a:rPr sz="2000" spc="-10" dirty="0"/>
              <a:t> </a:t>
            </a:r>
            <a:r>
              <a:rPr sz="2000" dirty="0"/>
              <a:t>coinvolto</a:t>
            </a:r>
            <a:r>
              <a:rPr sz="2000" spc="-35" dirty="0"/>
              <a:t> </a:t>
            </a:r>
            <a:r>
              <a:rPr sz="2000" dirty="0"/>
              <a:t>in</a:t>
            </a:r>
            <a:r>
              <a:rPr sz="2000" spc="-15" dirty="0"/>
              <a:t> </a:t>
            </a:r>
            <a:r>
              <a:rPr sz="2000" dirty="0"/>
              <a:t>molte</a:t>
            </a:r>
            <a:r>
              <a:rPr sz="2000" spc="-15" dirty="0"/>
              <a:t> </a:t>
            </a:r>
            <a:r>
              <a:rPr sz="2000" spc="-5" dirty="0"/>
              <a:t>operazioni</a:t>
            </a:r>
            <a:r>
              <a:rPr sz="2000" spc="-20" dirty="0"/>
              <a:t> </a:t>
            </a:r>
            <a:r>
              <a:rPr sz="2000" dirty="0"/>
              <a:t>come</a:t>
            </a:r>
            <a:r>
              <a:rPr sz="2000" spc="-5" dirty="0"/>
              <a:t> </a:t>
            </a:r>
            <a:r>
              <a:rPr sz="2000" spc="10" dirty="0"/>
              <a:t>advisor</a:t>
            </a:r>
            <a:r>
              <a:rPr sz="2000" spc="-20" dirty="0"/>
              <a:t> </a:t>
            </a:r>
            <a:r>
              <a:rPr sz="2000" dirty="0"/>
              <a:t>e </a:t>
            </a:r>
            <a:r>
              <a:rPr sz="2000" spc="-5" dirty="0"/>
              <a:t>partner</a:t>
            </a:r>
            <a:r>
              <a:rPr sz="2000" spc="-45" dirty="0"/>
              <a:t> </a:t>
            </a:r>
            <a:r>
              <a:rPr sz="2000" dirty="0"/>
              <a:t>finanziario</a:t>
            </a:r>
            <a:endParaRPr sz="2000"/>
          </a:p>
        </p:txBody>
      </p:sp>
      <p:sp>
        <p:nvSpPr>
          <p:cNvPr id="6" name="object 6"/>
          <p:cNvSpPr/>
          <p:nvPr/>
        </p:nvSpPr>
        <p:spPr>
          <a:xfrm>
            <a:off x="9732264" y="787908"/>
            <a:ext cx="1790700" cy="260985"/>
          </a:xfrm>
          <a:custGeom>
            <a:avLst/>
            <a:gdLst/>
            <a:ahLst/>
            <a:cxnLst/>
            <a:rect l="l" t="t" r="r" b="b"/>
            <a:pathLst>
              <a:path w="1790700" h="260984">
                <a:moveTo>
                  <a:pt x="1790700" y="0"/>
                </a:moveTo>
                <a:lnTo>
                  <a:pt x="0" y="0"/>
                </a:lnTo>
                <a:lnTo>
                  <a:pt x="0" y="260603"/>
                </a:lnTo>
                <a:lnTo>
                  <a:pt x="1790700" y="260603"/>
                </a:lnTo>
                <a:lnTo>
                  <a:pt x="1790700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" name="object 7"/>
          <p:cNvSpPr txBox="1"/>
          <p:nvPr/>
        </p:nvSpPr>
        <p:spPr>
          <a:xfrm>
            <a:off x="916939" y="719166"/>
            <a:ext cx="4912360" cy="622935"/>
          </a:xfrm>
          <a:prstGeom prst="rect">
            <a:avLst/>
          </a:prstGeom>
        </p:spPr>
        <p:txBody>
          <a:bodyPr vert="horz" wrap="square" lIns="0" tIns="96520" rIns="0" bIns="0" rtlCol="0">
            <a:spAutoFit/>
          </a:bodyPr>
          <a:lstStyle/>
          <a:p>
            <a:pPr marL="12700" marR="0" lvl="0" indent="0" algn="l" defTabSz="914400" rtl="0" eaLnBrk="1" fontAlgn="auto" latinLnBrk="0" hangingPunct="1">
              <a:lnSpc>
                <a:spcPct val="100000"/>
              </a:lnSpc>
              <a:spcBef>
                <a:spcPts val="76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800" b="0" i="0" u="none" strike="noStrike" kern="1200" cap="none" spc="-15" normalizeH="0" baseline="0" noProof="0" dirty="0">
                <a:ln>
                  <a:noFill/>
                </a:ln>
                <a:solidFill>
                  <a:srgbClr val="5C6F7A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Portafoglio</a:t>
            </a:r>
            <a:r>
              <a:rPr kumimoji="0" sz="1800" b="0" i="0" u="none" strike="noStrike" kern="1200" cap="none" spc="-25" normalizeH="0" baseline="0" noProof="0" dirty="0">
                <a:ln>
                  <a:noFill/>
                </a:ln>
                <a:solidFill>
                  <a:srgbClr val="5C6F7A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 </a:t>
            </a:r>
            <a:r>
              <a:rPr kumimoji="0" sz="1800" b="0" i="0" u="none" strike="noStrike" kern="1200" cap="none" spc="-10" normalizeH="0" baseline="0" noProof="0" dirty="0">
                <a:ln>
                  <a:noFill/>
                </a:ln>
                <a:solidFill>
                  <a:srgbClr val="5C6F7A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progetti</a:t>
            </a: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rebuchet MS"/>
              <a:ea typeface="+mn-ea"/>
              <a:cs typeface="Trebuchet MS"/>
            </a:endParaRPr>
          </a:p>
          <a:p>
            <a:pPr marL="12700" marR="0" lvl="0" indent="0" algn="l" defTabSz="914400" rtl="0" eaLnBrk="1" fontAlgn="auto" latinLnBrk="0" hangingPunct="1">
              <a:lnSpc>
                <a:spcPct val="100000"/>
              </a:lnSpc>
              <a:spcBef>
                <a:spcPts val="44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200" b="0" i="0" u="none" strike="noStrike" kern="1200" cap="none" spc="-5" normalizeH="0" baseline="0" noProof="0" dirty="0">
                <a:ln>
                  <a:noFill/>
                </a:ln>
                <a:solidFill>
                  <a:srgbClr val="5C707B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Di</a:t>
            </a:r>
            <a:r>
              <a:rPr kumimoji="0" sz="1200" b="0" i="0" u="none" strike="noStrike" kern="1200" cap="none" spc="5" normalizeH="0" baseline="0" noProof="0" dirty="0">
                <a:ln>
                  <a:noFill/>
                </a:ln>
                <a:solidFill>
                  <a:srgbClr val="5C707B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 </a:t>
            </a:r>
            <a:r>
              <a:rPr kumimoji="0" sz="1200" b="0" i="0" u="none" strike="noStrike" kern="1200" cap="none" spc="-5" normalizeH="0" baseline="0" noProof="0" dirty="0">
                <a:ln>
                  <a:noFill/>
                </a:ln>
                <a:solidFill>
                  <a:srgbClr val="5C707B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seguito</a:t>
            </a:r>
            <a:r>
              <a:rPr kumimoji="0" sz="1200" b="0" i="0" u="none" strike="noStrike" kern="1200" cap="none" spc="-20" normalizeH="0" baseline="0" noProof="0" dirty="0">
                <a:ln>
                  <a:noFill/>
                </a:ln>
                <a:solidFill>
                  <a:srgbClr val="5C707B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 </a:t>
            </a:r>
            <a:r>
              <a:rPr kumimoji="0" sz="1200" b="0" i="0" u="none" strike="noStrike" kern="1200" cap="none" spc="0" normalizeH="0" baseline="0" noProof="0" dirty="0">
                <a:ln>
                  <a:noFill/>
                </a:ln>
                <a:solidFill>
                  <a:srgbClr val="5C707B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alcuni</a:t>
            </a:r>
            <a:r>
              <a:rPr kumimoji="0" sz="1200" b="0" i="0" u="none" strike="noStrike" kern="1200" cap="none" spc="-30" normalizeH="0" baseline="0" noProof="0" dirty="0">
                <a:ln>
                  <a:noFill/>
                </a:ln>
                <a:solidFill>
                  <a:srgbClr val="5C707B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 </a:t>
            </a:r>
            <a:r>
              <a:rPr kumimoji="0" sz="1200" b="0" i="0" u="none" strike="noStrike" kern="1200" cap="none" spc="0" normalizeH="0" baseline="0" noProof="0" dirty="0">
                <a:ln>
                  <a:noFill/>
                </a:ln>
                <a:solidFill>
                  <a:srgbClr val="5C707B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dei</a:t>
            </a:r>
            <a:r>
              <a:rPr kumimoji="0" sz="1200" b="0" i="0" u="none" strike="noStrike" kern="1200" cap="none" spc="-30" normalizeH="0" baseline="0" noProof="0" dirty="0">
                <a:ln>
                  <a:noFill/>
                </a:ln>
                <a:solidFill>
                  <a:srgbClr val="5C707B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 </a:t>
            </a:r>
            <a:r>
              <a:rPr kumimoji="0" sz="1200" b="0" i="0" u="none" strike="noStrike" kern="1200" cap="none" spc="-5" normalizeH="0" baseline="0" noProof="0" dirty="0">
                <a:ln>
                  <a:noFill/>
                </a:ln>
                <a:solidFill>
                  <a:srgbClr val="5C707B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principali</a:t>
            </a:r>
            <a:r>
              <a:rPr kumimoji="0" sz="1200" b="0" i="0" u="none" strike="noStrike" kern="1200" cap="none" spc="-40" normalizeH="0" baseline="0" noProof="0" dirty="0">
                <a:ln>
                  <a:noFill/>
                </a:ln>
                <a:solidFill>
                  <a:srgbClr val="5C707B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 </a:t>
            </a:r>
            <a:r>
              <a:rPr kumimoji="0" sz="1200" b="0" i="0" u="none" strike="noStrike" kern="1200" cap="none" spc="0" normalizeH="0" baseline="0" noProof="0" dirty="0">
                <a:ln>
                  <a:noFill/>
                </a:ln>
                <a:solidFill>
                  <a:srgbClr val="5C707B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progetti</a:t>
            </a:r>
            <a:r>
              <a:rPr kumimoji="0" sz="1200" b="0" i="0" u="none" strike="noStrike" kern="1200" cap="none" spc="-30" normalizeH="0" baseline="0" noProof="0" dirty="0">
                <a:ln>
                  <a:noFill/>
                </a:ln>
                <a:solidFill>
                  <a:srgbClr val="5C707B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 </a:t>
            </a:r>
            <a:r>
              <a:rPr kumimoji="0" sz="1200" b="0" i="0" u="none" strike="noStrike" kern="1200" cap="none" spc="0" normalizeH="0" baseline="0" noProof="0" dirty="0">
                <a:ln>
                  <a:noFill/>
                </a:ln>
                <a:solidFill>
                  <a:srgbClr val="5C707B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di</a:t>
            </a:r>
            <a:r>
              <a:rPr kumimoji="0" sz="1200" b="0" i="0" u="none" strike="noStrike" kern="1200" cap="none" spc="-5" normalizeH="0" baseline="0" noProof="0" dirty="0">
                <a:ln>
                  <a:noFill/>
                </a:ln>
                <a:solidFill>
                  <a:srgbClr val="5C707B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 advisory</a:t>
            </a:r>
            <a:r>
              <a:rPr kumimoji="0" sz="1200" b="0" i="0" u="none" strike="noStrike" kern="1200" cap="none" spc="-40" normalizeH="0" baseline="0" noProof="0" dirty="0">
                <a:ln>
                  <a:noFill/>
                </a:ln>
                <a:solidFill>
                  <a:srgbClr val="5C707B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 </a:t>
            </a:r>
            <a:r>
              <a:rPr kumimoji="0" sz="1200" b="0" i="0" u="none" strike="noStrike" kern="1200" cap="none" spc="0" normalizeH="0" baseline="0" noProof="0" dirty="0">
                <a:ln>
                  <a:noFill/>
                </a:ln>
                <a:solidFill>
                  <a:srgbClr val="5C707B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tecnico</a:t>
            </a:r>
            <a:r>
              <a:rPr kumimoji="0" sz="1200" b="0" i="0" u="none" strike="noStrike" kern="1200" cap="none" spc="-20" normalizeH="0" baseline="0" noProof="0" dirty="0">
                <a:ln>
                  <a:noFill/>
                </a:ln>
                <a:solidFill>
                  <a:srgbClr val="5C707B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 </a:t>
            </a:r>
            <a:r>
              <a:rPr kumimoji="0" sz="1200" b="0" i="0" u="none" strike="noStrike" kern="1200" cap="none" spc="0" normalizeH="0" baseline="0" noProof="0" dirty="0">
                <a:ln>
                  <a:noFill/>
                </a:ln>
                <a:solidFill>
                  <a:srgbClr val="5C707B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e </a:t>
            </a:r>
            <a:r>
              <a:rPr kumimoji="0" sz="1200" b="0" i="0" u="none" strike="noStrike" kern="1200" cap="none" spc="-5" normalizeH="0" baseline="0" noProof="0" dirty="0">
                <a:ln>
                  <a:noFill/>
                </a:ln>
                <a:solidFill>
                  <a:srgbClr val="5C707B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finanziario</a:t>
            </a:r>
            <a:endParaRPr kumimoji="0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rebuchet MS"/>
              <a:ea typeface="+mn-ea"/>
              <a:cs typeface="Trebuchet MS"/>
            </a:endParaRPr>
          </a:p>
        </p:txBody>
      </p:sp>
      <p:pic>
        <p:nvPicPr>
          <p:cNvPr id="8" name="object 8"/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2558795" y="3166149"/>
            <a:ext cx="1511795" cy="1103308"/>
          </a:xfrm>
          <a:prstGeom prst="rect">
            <a:avLst/>
          </a:prstGeom>
        </p:spPr>
      </p:pic>
      <p:sp>
        <p:nvSpPr>
          <p:cNvPr id="9" name="object 9"/>
          <p:cNvSpPr txBox="1"/>
          <p:nvPr/>
        </p:nvSpPr>
        <p:spPr>
          <a:xfrm>
            <a:off x="2728377" y="2978099"/>
            <a:ext cx="1216025" cy="17780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 marR="0" lvl="0" indent="0" algn="l" defTabSz="914400" rtl="0" eaLnBrk="1" fontAlgn="auto" latinLnBrk="0" hangingPunct="1">
              <a:lnSpc>
                <a:spcPct val="100000"/>
              </a:lnSpc>
              <a:spcBef>
                <a:spcPts val="9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000" b="1" i="0" u="none" strike="noStrike" kern="1200" cap="none" spc="-5" normalizeH="0" baseline="0" noProof="0" dirty="0">
                <a:ln>
                  <a:noFill/>
                </a:ln>
                <a:solidFill>
                  <a:srgbClr val="60707E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Area</a:t>
            </a:r>
            <a:r>
              <a:rPr kumimoji="0" sz="1000" b="1" i="0" u="none" strike="noStrike" kern="1200" cap="none" spc="-20" normalizeH="0" baseline="0" noProof="0" dirty="0">
                <a:ln>
                  <a:noFill/>
                </a:ln>
                <a:solidFill>
                  <a:srgbClr val="60707E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 </a:t>
            </a:r>
            <a:r>
              <a:rPr kumimoji="0" sz="1000" b="1" i="0" u="none" strike="noStrike" kern="1200" cap="none" spc="-10" normalizeH="0" baseline="0" noProof="0" dirty="0">
                <a:ln>
                  <a:noFill/>
                </a:ln>
                <a:solidFill>
                  <a:srgbClr val="60707E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Flaminio</a:t>
            </a:r>
            <a:r>
              <a:rPr kumimoji="0" sz="1000" b="1" i="0" u="none" strike="noStrike" kern="1200" cap="none" spc="20" normalizeH="0" baseline="0" noProof="0" dirty="0">
                <a:ln>
                  <a:noFill/>
                </a:ln>
                <a:solidFill>
                  <a:srgbClr val="60707E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 </a:t>
            </a:r>
            <a:r>
              <a:rPr kumimoji="0" sz="1000" b="1" i="0" u="none" strike="noStrike" kern="1200" cap="none" spc="-5" normalizeH="0" baseline="0" noProof="0" dirty="0">
                <a:ln>
                  <a:noFill/>
                </a:ln>
                <a:solidFill>
                  <a:srgbClr val="60707E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Roma</a:t>
            </a:r>
            <a:endParaRPr kumimoji="0" sz="1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rebuchet MS"/>
              <a:ea typeface="+mn-ea"/>
              <a:cs typeface="Trebuchet MS"/>
            </a:endParaRPr>
          </a:p>
        </p:txBody>
      </p:sp>
      <p:pic>
        <p:nvPicPr>
          <p:cNvPr id="10" name="object 10"/>
          <p:cNvPicPr/>
          <p:nvPr/>
        </p:nvPicPr>
        <p:blipFill>
          <a:blip r:embed="rId4" cstate="print"/>
          <a:stretch>
            <a:fillRect/>
          </a:stretch>
        </p:blipFill>
        <p:spPr>
          <a:xfrm>
            <a:off x="2531364" y="1696211"/>
            <a:ext cx="1511795" cy="1115567"/>
          </a:xfrm>
          <a:prstGeom prst="rect">
            <a:avLst/>
          </a:prstGeom>
        </p:spPr>
      </p:pic>
      <p:sp>
        <p:nvSpPr>
          <p:cNvPr id="11" name="object 11"/>
          <p:cNvSpPr txBox="1"/>
          <p:nvPr/>
        </p:nvSpPr>
        <p:spPr>
          <a:xfrm>
            <a:off x="954396" y="1491944"/>
            <a:ext cx="4752340" cy="17780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 marR="0" lvl="0" indent="0" algn="l" defTabSz="914400" rtl="0" eaLnBrk="1" fontAlgn="auto" latinLnBrk="0" hangingPunct="1">
              <a:lnSpc>
                <a:spcPct val="100000"/>
              </a:lnSpc>
              <a:spcBef>
                <a:spcPts val="95"/>
              </a:spcBef>
              <a:spcAft>
                <a:spcPts val="0"/>
              </a:spcAft>
              <a:buClrTx/>
              <a:buSzTx/>
              <a:buFontTx/>
              <a:buNone/>
              <a:tabLst>
                <a:tab pos="1750060" algn="l"/>
                <a:tab pos="3475354" algn="l"/>
              </a:tabLst>
              <a:defRPr/>
            </a:pPr>
            <a:r>
              <a:rPr kumimoji="0" sz="1000" b="1" i="0" u="none" strike="noStrike" kern="1200" cap="none" spc="-5" normalizeH="0" baseline="0" noProof="0" dirty="0">
                <a:ln>
                  <a:noFill/>
                </a:ln>
                <a:solidFill>
                  <a:srgbClr val="60707E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Nuovo</a:t>
            </a:r>
            <a:r>
              <a:rPr kumimoji="0" sz="1000" b="1" i="0" u="none" strike="noStrike" kern="1200" cap="none" spc="0" normalizeH="0" baseline="0" noProof="0" dirty="0">
                <a:ln>
                  <a:noFill/>
                </a:ln>
                <a:solidFill>
                  <a:srgbClr val="60707E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 </a:t>
            </a:r>
            <a:r>
              <a:rPr kumimoji="0" sz="1000" b="1" i="0" u="none" strike="noStrike" kern="1200" cap="none" spc="-10" normalizeH="0" baseline="0" noProof="0" dirty="0">
                <a:ln>
                  <a:noFill/>
                </a:ln>
                <a:solidFill>
                  <a:srgbClr val="60707E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Stadio</a:t>
            </a:r>
            <a:r>
              <a:rPr kumimoji="0" sz="1000" b="1" i="0" u="none" strike="noStrike" kern="1200" cap="none" spc="20" normalizeH="0" baseline="0" noProof="0" dirty="0">
                <a:ln>
                  <a:noFill/>
                </a:ln>
                <a:solidFill>
                  <a:srgbClr val="60707E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 </a:t>
            </a:r>
            <a:r>
              <a:rPr kumimoji="0" sz="1000" b="1" i="0" u="none" strike="noStrike" kern="1200" cap="none" spc="-5" normalizeH="0" baseline="0" noProof="0" dirty="0">
                <a:ln>
                  <a:noFill/>
                </a:ln>
                <a:solidFill>
                  <a:srgbClr val="60707E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Genova	Nuovo</a:t>
            </a:r>
            <a:r>
              <a:rPr kumimoji="0" sz="1000" b="1" i="0" u="none" strike="noStrike" kern="1200" cap="none" spc="5" normalizeH="0" baseline="0" noProof="0" dirty="0">
                <a:ln>
                  <a:noFill/>
                </a:ln>
                <a:solidFill>
                  <a:srgbClr val="60707E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 </a:t>
            </a:r>
            <a:r>
              <a:rPr kumimoji="0" sz="1000" b="1" i="0" u="none" strike="noStrike" kern="1200" cap="none" spc="-10" normalizeH="0" baseline="0" noProof="0" dirty="0">
                <a:ln>
                  <a:noFill/>
                </a:ln>
                <a:solidFill>
                  <a:srgbClr val="60707E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Stadio</a:t>
            </a:r>
            <a:r>
              <a:rPr kumimoji="0" sz="1000" b="1" i="0" u="none" strike="noStrike" kern="1200" cap="none" spc="20" normalizeH="0" baseline="0" noProof="0" dirty="0">
                <a:ln>
                  <a:noFill/>
                </a:ln>
                <a:solidFill>
                  <a:srgbClr val="60707E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 </a:t>
            </a:r>
            <a:r>
              <a:rPr kumimoji="0" sz="1000" b="1" i="0" u="none" strike="noStrike" kern="1200" cap="none" spc="-5" normalizeH="0" baseline="0" noProof="0" dirty="0">
                <a:ln>
                  <a:noFill/>
                </a:ln>
                <a:solidFill>
                  <a:srgbClr val="60707E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Bologna	Nuovo</a:t>
            </a:r>
            <a:r>
              <a:rPr kumimoji="0" sz="1000" b="1" i="0" u="none" strike="noStrike" kern="1200" cap="none" spc="-40" normalizeH="0" baseline="0" noProof="0" dirty="0">
                <a:ln>
                  <a:noFill/>
                </a:ln>
                <a:solidFill>
                  <a:srgbClr val="60707E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 </a:t>
            </a:r>
            <a:r>
              <a:rPr kumimoji="0" sz="1000" b="1" i="0" u="none" strike="noStrike" kern="1200" cap="none" spc="-5" normalizeH="0" baseline="0" noProof="0" dirty="0">
                <a:ln>
                  <a:noFill/>
                </a:ln>
                <a:solidFill>
                  <a:srgbClr val="60707E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stadio</a:t>
            </a:r>
            <a:r>
              <a:rPr kumimoji="0" sz="1000" b="1" i="0" u="none" strike="noStrike" kern="1200" cap="none" spc="-35" normalizeH="0" baseline="0" noProof="0" dirty="0">
                <a:ln>
                  <a:noFill/>
                </a:ln>
                <a:solidFill>
                  <a:srgbClr val="60707E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 </a:t>
            </a:r>
            <a:r>
              <a:rPr kumimoji="0" sz="1000" b="1" i="0" u="none" strike="noStrike" kern="1200" cap="none" spc="-5" normalizeH="0" baseline="0" noProof="0" dirty="0">
                <a:ln>
                  <a:noFill/>
                </a:ln>
                <a:solidFill>
                  <a:srgbClr val="60707E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Vicenza</a:t>
            </a:r>
            <a:endParaRPr kumimoji="0" sz="1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rebuchet MS"/>
              <a:ea typeface="+mn-ea"/>
              <a:cs typeface="Trebuchet MS"/>
            </a:endParaRPr>
          </a:p>
        </p:txBody>
      </p:sp>
      <p:pic>
        <p:nvPicPr>
          <p:cNvPr id="12" name="object 12"/>
          <p:cNvPicPr/>
          <p:nvPr/>
        </p:nvPicPr>
        <p:blipFill>
          <a:blip r:embed="rId5" cstate="print"/>
          <a:stretch>
            <a:fillRect/>
          </a:stretch>
        </p:blipFill>
        <p:spPr>
          <a:xfrm>
            <a:off x="4253484" y="1696212"/>
            <a:ext cx="1511807" cy="1115567"/>
          </a:xfrm>
          <a:prstGeom prst="rect">
            <a:avLst/>
          </a:prstGeom>
        </p:spPr>
      </p:pic>
      <p:pic>
        <p:nvPicPr>
          <p:cNvPr id="13" name="object 13"/>
          <p:cNvPicPr/>
          <p:nvPr/>
        </p:nvPicPr>
        <p:blipFill>
          <a:blip r:embed="rId6" cstate="print"/>
          <a:stretch>
            <a:fillRect/>
          </a:stretch>
        </p:blipFill>
        <p:spPr>
          <a:xfrm>
            <a:off x="5974079" y="1696211"/>
            <a:ext cx="1513319" cy="1115389"/>
          </a:xfrm>
          <a:prstGeom prst="rect">
            <a:avLst/>
          </a:prstGeom>
        </p:spPr>
      </p:pic>
      <p:sp>
        <p:nvSpPr>
          <p:cNvPr id="14" name="object 14"/>
          <p:cNvSpPr txBox="1"/>
          <p:nvPr/>
        </p:nvSpPr>
        <p:spPr>
          <a:xfrm>
            <a:off x="6158476" y="1491915"/>
            <a:ext cx="1235075" cy="17780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 marR="0" lvl="0" indent="0" algn="l" defTabSz="914400" rtl="0" eaLnBrk="1" fontAlgn="auto" latinLnBrk="0" hangingPunct="1">
              <a:lnSpc>
                <a:spcPct val="100000"/>
              </a:lnSpc>
              <a:spcBef>
                <a:spcPts val="9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000" b="1" i="0" u="none" strike="noStrike" kern="1200" cap="none" spc="-5" normalizeH="0" baseline="0" noProof="0" dirty="0">
                <a:ln>
                  <a:noFill/>
                </a:ln>
                <a:solidFill>
                  <a:srgbClr val="60707E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Nuovo</a:t>
            </a:r>
            <a:r>
              <a:rPr kumimoji="0" sz="1000" b="1" i="0" u="none" strike="noStrike" kern="1200" cap="none" spc="-25" normalizeH="0" baseline="0" noProof="0" dirty="0">
                <a:ln>
                  <a:noFill/>
                </a:ln>
                <a:solidFill>
                  <a:srgbClr val="60707E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 </a:t>
            </a:r>
            <a:r>
              <a:rPr kumimoji="0" sz="1000" b="1" i="0" u="none" strike="noStrike" kern="1200" cap="none" spc="-10" normalizeH="0" baseline="0" noProof="0" dirty="0">
                <a:ln>
                  <a:noFill/>
                </a:ln>
                <a:solidFill>
                  <a:srgbClr val="60707E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Stadio Empoli</a:t>
            </a:r>
            <a:endParaRPr kumimoji="0" sz="1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rebuchet MS"/>
              <a:ea typeface="+mn-ea"/>
              <a:cs typeface="Trebuchet MS"/>
            </a:endParaRPr>
          </a:p>
        </p:txBody>
      </p:sp>
      <p:pic>
        <p:nvPicPr>
          <p:cNvPr id="15" name="object 15"/>
          <p:cNvPicPr/>
          <p:nvPr/>
        </p:nvPicPr>
        <p:blipFill>
          <a:blip r:embed="rId7" cstate="print"/>
          <a:stretch>
            <a:fillRect/>
          </a:stretch>
        </p:blipFill>
        <p:spPr>
          <a:xfrm>
            <a:off x="7690104" y="3157728"/>
            <a:ext cx="1530096" cy="1115567"/>
          </a:xfrm>
          <a:prstGeom prst="rect">
            <a:avLst/>
          </a:prstGeom>
        </p:spPr>
      </p:pic>
      <p:sp>
        <p:nvSpPr>
          <p:cNvPr id="16" name="object 16"/>
          <p:cNvSpPr txBox="1"/>
          <p:nvPr/>
        </p:nvSpPr>
        <p:spPr>
          <a:xfrm>
            <a:off x="8009204" y="2978099"/>
            <a:ext cx="908050" cy="17780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 marR="0" lvl="0" indent="0" algn="l" defTabSz="914400" rtl="0" eaLnBrk="1" fontAlgn="auto" latinLnBrk="0" hangingPunct="1">
              <a:lnSpc>
                <a:spcPct val="100000"/>
              </a:lnSpc>
              <a:spcBef>
                <a:spcPts val="9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000" b="1" i="0" u="none" strike="noStrike" kern="1200" cap="none" spc="-5" normalizeH="0" baseline="0" noProof="0" dirty="0">
                <a:ln>
                  <a:noFill/>
                </a:ln>
                <a:solidFill>
                  <a:srgbClr val="60707E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Arena</a:t>
            </a:r>
            <a:r>
              <a:rPr kumimoji="0" sz="1000" b="1" i="0" u="none" strike="noStrike" kern="1200" cap="none" spc="-30" normalizeH="0" baseline="0" noProof="0" dirty="0">
                <a:ln>
                  <a:noFill/>
                </a:ln>
                <a:solidFill>
                  <a:srgbClr val="60707E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 </a:t>
            </a:r>
            <a:r>
              <a:rPr kumimoji="0" sz="1000" b="1" i="0" u="none" strike="noStrike" kern="1200" cap="none" spc="-5" normalizeH="0" baseline="0" noProof="0" dirty="0">
                <a:ln>
                  <a:noFill/>
                </a:ln>
                <a:solidFill>
                  <a:srgbClr val="60707E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di</a:t>
            </a:r>
            <a:r>
              <a:rPr kumimoji="0" sz="1000" b="1" i="0" u="none" strike="noStrike" kern="1200" cap="none" spc="-35" normalizeH="0" baseline="0" noProof="0" dirty="0">
                <a:ln>
                  <a:noFill/>
                </a:ln>
                <a:solidFill>
                  <a:srgbClr val="60707E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 </a:t>
            </a:r>
            <a:r>
              <a:rPr kumimoji="0" sz="1000" b="1" i="0" u="none" strike="noStrike" kern="1200" cap="none" spc="-5" normalizeH="0" baseline="0" noProof="0" dirty="0">
                <a:ln>
                  <a:noFill/>
                </a:ln>
                <a:solidFill>
                  <a:srgbClr val="60707E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Cantù</a:t>
            </a:r>
            <a:endParaRPr kumimoji="0" sz="1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rebuchet MS"/>
              <a:ea typeface="+mn-ea"/>
              <a:cs typeface="Trebuchet MS"/>
            </a:endParaRPr>
          </a:p>
        </p:txBody>
      </p:sp>
      <p:pic>
        <p:nvPicPr>
          <p:cNvPr id="17" name="object 17"/>
          <p:cNvPicPr/>
          <p:nvPr/>
        </p:nvPicPr>
        <p:blipFill>
          <a:blip r:embed="rId8" cstate="print"/>
          <a:stretch>
            <a:fillRect/>
          </a:stretch>
        </p:blipFill>
        <p:spPr>
          <a:xfrm>
            <a:off x="784859" y="4642103"/>
            <a:ext cx="1511795" cy="1117091"/>
          </a:xfrm>
          <a:prstGeom prst="rect">
            <a:avLst/>
          </a:prstGeom>
        </p:spPr>
      </p:pic>
      <p:sp>
        <p:nvSpPr>
          <p:cNvPr id="18" name="object 18"/>
          <p:cNvSpPr txBox="1"/>
          <p:nvPr/>
        </p:nvSpPr>
        <p:spPr>
          <a:xfrm>
            <a:off x="1179838" y="4423830"/>
            <a:ext cx="946150" cy="17780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 marR="0" lvl="0" indent="0" algn="l" defTabSz="914400" rtl="0" eaLnBrk="1" fontAlgn="auto" latinLnBrk="0" hangingPunct="1">
              <a:lnSpc>
                <a:spcPct val="100000"/>
              </a:lnSpc>
              <a:spcBef>
                <a:spcPts val="9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000" b="1" i="0" u="none" strike="noStrike" kern="1200" cap="none" spc="-10" normalizeH="0" baseline="0" noProof="0" dirty="0">
                <a:ln>
                  <a:noFill/>
                </a:ln>
                <a:solidFill>
                  <a:srgbClr val="60707E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Skidome</a:t>
            </a:r>
            <a:r>
              <a:rPr kumimoji="0" sz="1000" b="1" i="0" u="none" strike="noStrike" kern="1200" cap="none" spc="-30" normalizeH="0" baseline="0" noProof="0" dirty="0">
                <a:ln>
                  <a:noFill/>
                </a:ln>
                <a:solidFill>
                  <a:srgbClr val="60707E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 </a:t>
            </a:r>
            <a:r>
              <a:rPr kumimoji="0" sz="1000" b="1" i="0" u="none" strike="noStrike" kern="1200" cap="none" spc="-5" normalizeH="0" baseline="0" noProof="0" dirty="0">
                <a:ln>
                  <a:noFill/>
                </a:ln>
                <a:solidFill>
                  <a:srgbClr val="60707E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Milano</a:t>
            </a:r>
            <a:endParaRPr kumimoji="0" sz="1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rebuchet MS"/>
              <a:ea typeface="+mn-ea"/>
              <a:cs typeface="Trebuchet MS"/>
            </a:endParaRPr>
          </a:p>
        </p:txBody>
      </p:sp>
      <p:pic>
        <p:nvPicPr>
          <p:cNvPr id="19" name="object 19"/>
          <p:cNvPicPr/>
          <p:nvPr/>
        </p:nvPicPr>
        <p:blipFill>
          <a:blip r:embed="rId9" cstate="print"/>
          <a:stretch>
            <a:fillRect/>
          </a:stretch>
        </p:blipFill>
        <p:spPr>
          <a:xfrm>
            <a:off x="5980176" y="3157728"/>
            <a:ext cx="1509737" cy="1115567"/>
          </a:xfrm>
          <a:prstGeom prst="rect">
            <a:avLst/>
          </a:prstGeom>
        </p:spPr>
      </p:pic>
      <p:sp>
        <p:nvSpPr>
          <p:cNvPr id="20" name="object 20"/>
          <p:cNvSpPr txBox="1"/>
          <p:nvPr/>
        </p:nvSpPr>
        <p:spPr>
          <a:xfrm>
            <a:off x="6088073" y="2978099"/>
            <a:ext cx="1188085" cy="17780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 marR="0" lvl="0" indent="0" algn="l" defTabSz="914400" rtl="0" eaLnBrk="1" fontAlgn="auto" latinLnBrk="0" hangingPunct="1">
              <a:lnSpc>
                <a:spcPct val="100000"/>
              </a:lnSpc>
              <a:spcBef>
                <a:spcPts val="9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000" b="1" i="0" u="none" strike="noStrike" kern="1200" cap="none" spc="-5" normalizeH="0" baseline="0" noProof="0" dirty="0">
                <a:ln>
                  <a:noFill/>
                </a:ln>
                <a:solidFill>
                  <a:srgbClr val="60707E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Nuova</a:t>
            </a:r>
            <a:r>
              <a:rPr kumimoji="0" sz="1000" b="1" i="0" u="none" strike="noStrike" kern="1200" cap="none" spc="-25" normalizeH="0" baseline="0" noProof="0" dirty="0">
                <a:ln>
                  <a:noFill/>
                </a:ln>
                <a:solidFill>
                  <a:srgbClr val="60707E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 </a:t>
            </a:r>
            <a:r>
              <a:rPr kumimoji="0" sz="1000" b="1" i="0" u="none" strike="noStrike" kern="1200" cap="none" spc="-5" normalizeH="0" baseline="0" noProof="0" dirty="0">
                <a:ln>
                  <a:noFill/>
                </a:ln>
                <a:solidFill>
                  <a:srgbClr val="60707E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Arena</a:t>
            </a:r>
            <a:r>
              <a:rPr kumimoji="0" sz="1000" b="1" i="0" u="none" strike="noStrike" kern="1200" cap="none" spc="-25" normalizeH="0" baseline="0" noProof="0" dirty="0">
                <a:ln>
                  <a:noFill/>
                </a:ln>
                <a:solidFill>
                  <a:srgbClr val="60707E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 </a:t>
            </a:r>
            <a:r>
              <a:rPr kumimoji="0" sz="1000" b="1" i="0" u="none" strike="noStrike" kern="1200" cap="none" spc="-10" normalizeH="0" baseline="0" noProof="0" dirty="0">
                <a:ln>
                  <a:noFill/>
                </a:ln>
                <a:solidFill>
                  <a:srgbClr val="60707E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Napoli</a:t>
            </a:r>
            <a:endParaRPr kumimoji="0" sz="1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rebuchet MS"/>
              <a:ea typeface="+mn-ea"/>
              <a:cs typeface="Trebuchet MS"/>
            </a:endParaRPr>
          </a:p>
        </p:txBody>
      </p:sp>
      <p:sp>
        <p:nvSpPr>
          <p:cNvPr id="21" name="object 21"/>
          <p:cNvSpPr txBox="1"/>
          <p:nvPr/>
        </p:nvSpPr>
        <p:spPr>
          <a:xfrm>
            <a:off x="7851499" y="1491944"/>
            <a:ext cx="1256030" cy="17780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 marR="0" lvl="0" indent="0" algn="l" defTabSz="914400" rtl="0" eaLnBrk="1" fontAlgn="auto" latinLnBrk="0" hangingPunct="1">
              <a:lnSpc>
                <a:spcPct val="100000"/>
              </a:lnSpc>
              <a:spcBef>
                <a:spcPts val="9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000" b="1" i="0" u="none" strike="noStrike" kern="1200" cap="none" spc="-5" normalizeH="0" baseline="0" noProof="0" dirty="0">
                <a:ln>
                  <a:noFill/>
                </a:ln>
                <a:solidFill>
                  <a:srgbClr val="60707E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Nuovo</a:t>
            </a:r>
            <a:r>
              <a:rPr kumimoji="0" sz="1000" b="1" i="0" u="none" strike="noStrike" kern="1200" cap="none" spc="-30" normalizeH="0" baseline="0" noProof="0" dirty="0">
                <a:ln>
                  <a:noFill/>
                </a:ln>
                <a:solidFill>
                  <a:srgbClr val="60707E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 </a:t>
            </a:r>
            <a:r>
              <a:rPr kumimoji="0" sz="1000" b="1" i="0" u="none" strike="noStrike" kern="1200" cap="none" spc="-10" normalizeH="0" baseline="0" noProof="0" dirty="0">
                <a:ln>
                  <a:noFill/>
                </a:ln>
                <a:solidFill>
                  <a:srgbClr val="60707E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Stadio</a:t>
            </a:r>
            <a:r>
              <a:rPr kumimoji="0" sz="1000" b="1" i="0" u="none" strike="noStrike" kern="1200" cap="none" spc="-15" normalizeH="0" baseline="0" noProof="0" dirty="0">
                <a:ln>
                  <a:noFill/>
                </a:ln>
                <a:solidFill>
                  <a:srgbClr val="60707E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 </a:t>
            </a:r>
            <a:r>
              <a:rPr kumimoji="0" sz="1000" b="1" i="0" u="none" strike="noStrike" kern="1200" cap="none" spc="-5" normalizeH="0" baseline="0" noProof="0" dirty="0">
                <a:ln>
                  <a:noFill/>
                </a:ln>
                <a:solidFill>
                  <a:srgbClr val="60707E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Verona</a:t>
            </a:r>
            <a:endParaRPr kumimoji="0" sz="1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rebuchet MS"/>
              <a:ea typeface="+mn-ea"/>
              <a:cs typeface="Trebuchet MS"/>
            </a:endParaRPr>
          </a:p>
        </p:txBody>
      </p:sp>
      <p:sp>
        <p:nvSpPr>
          <p:cNvPr id="22" name="object 22"/>
          <p:cNvSpPr txBox="1"/>
          <p:nvPr/>
        </p:nvSpPr>
        <p:spPr>
          <a:xfrm>
            <a:off x="9505255" y="1491944"/>
            <a:ext cx="1282065" cy="17780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 marR="0" lvl="0" indent="0" algn="l" defTabSz="914400" rtl="0" eaLnBrk="1" fontAlgn="auto" latinLnBrk="0" hangingPunct="1">
              <a:lnSpc>
                <a:spcPct val="100000"/>
              </a:lnSpc>
              <a:spcBef>
                <a:spcPts val="9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000" b="1" i="0" u="none" strike="noStrike" kern="1200" cap="none" spc="-5" normalizeH="0" baseline="0" noProof="0" dirty="0">
                <a:ln>
                  <a:noFill/>
                </a:ln>
                <a:solidFill>
                  <a:srgbClr val="60707E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Nuovo</a:t>
            </a:r>
            <a:r>
              <a:rPr kumimoji="0" sz="1000" b="1" i="0" u="none" strike="noStrike" kern="1200" cap="none" spc="-30" normalizeH="0" baseline="0" noProof="0" dirty="0">
                <a:ln>
                  <a:noFill/>
                </a:ln>
                <a:solidFill>
                  <a:srgbClr val="60707E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 </a:t>
            </a:r>
            <a:r>
              <a:rPr kumimoji="0" sz="1000" b="1" i="0" u="none" strike="noStrike" kern="1200" cap="none" spc="-10" normalizeH="0" baseline="0" noProof="0" dirty="0">
                <a:ln>
                  <a:noFill/>
                </a:ln>
                <a:solidFill>
                  <a:srgbClr val="60707E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Stadio</a:t>
            </a:r>
            <a:r>
              <a:rPr kumimoji="0" sz="1000" b="1" i="0" u="none" strike="noStrike" kern="1200" cap="none" spc="-15" normalizeH="0" baseline="0" noProof="0" dirty="0">
                <a:ln>
                  <a:noFill/>
                </a:ln>
                <a:solidFill>
                  <a:srgbClr val="60707E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 </a:t>
            </a:r>
            <a:r>
              <a:rPr kumimoji="0" sz="1000" b="1" i="0" u="none" strike="noStrike" kern="1200" cap="none" spc="-5" normalizeH="0" baseline="0" noProof="0" dirty="0">
                <a:ln>
                  <a:noFill/>
                </a:ln>
                <a:solidFill>
                  <a:srgbClr val="60707E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Perugia</a:t>
            </a:r>
            <a:endParaRPr kumimoji="0" sz="1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rebuchet MS"/>
              <a:ea typeface="+mn-ea"/>
              <a:cs typeface="Trebuchet MS"/>
            </a:endParaRPr>
          </a:p>
        </p:txBody>
      </p:sp>
      <p:pic>
        <p:nvPicPr>
          <p:cNvPr id="23" name="object 23"/>
          <p:cNvPicPr/>
          <p:nvPr/>
        </p:nvPicPr>
        <p:blipFill>
          <a:blip r:embed="rId10" cstate="print"/>
          <a:stretch>
            <a:fillRect/>
          </a:stretch>
        </p:blipFill>
        <p:spPr>
          <a:xfrm>
            <a:off x="7696200" y="1696211"/>
            <a:ext cx="1511807" cy="1114043"/>
          </a:xfrm>
          <a:prstGeom prst="rect">
            <a:avLst/>
          </a:prstGeom>
        </p:spPr>
      </p:pic>
      <p:pic>
        <p:nvPicPr>
          <p:cNvPr id="24" name="object 24"/>
          <p:cNvPicPr/>
          <p:nvPr/>
        </p:nvPicPr>
        <p:blipFill>
          <a:blip r:embed="rId11" cstate="print"/>
          <a:stretch>
            <a:fillRect/>
          </a:stretch>
        </p:blipFill>
        <p:spPr>
          <a:xfrm>
            <a:off x="9418319" y="1690116"/>
            <a:ext cx="1511806" cy="1114043"/>
          </a:xfrm>
          <a:prstGeom prst="rect">
            <a:avLst/>
          </a:prstGeom>
        </p:spPr>
      </p:pic>
      <p:sp>
        <p:nvSpPr>
          <p:cNvPr id="25" name="object 25"/>
          <p:cNvSpPr txBox="1"/>
          <p:nvPr/>
        </p:nvSpPr>
        <p:spPr>
          <a:xfrm>
            <a:off x="4266593" y="4423830"/>
            <a:ext cx="1390650" cy="17780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 marR="0" lvl="0" indent="0" algn="l" defTabSz="914400" rtl="0" eaLnBrk="1" fontAlgn="auto" latinLnBrk="0" hangingPunct="1">
              <a:lnSpc>
                <a:spcPct val="100000"/>
              </a:lnSpc>
              <a:spcBef>
                <a:spcPts val="9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000" b="1" i="0" u="none" strike="noStrike" kern="1200" cap="none" spc="-5" normalizeH="0" baseline="0" noProof="0" dirty="0">
                <a:ln>
                  <a:noFill/>
                </a:ln>
                <a:solidFill>
                  <a:srgbClr val="60707E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Altopiano</a:t>
            </a:r>
            <a:r>
              <a:rPr kumimoji="0" sz="1000" b="1" i="0" u="none" strike="noStrike" kern="1200" cap="none" spc="10" normalizeH="0" baseline="0" noProof="0" dirty="0">
                <a:ln>
                  <a:noFill/>
                </a:ln>
                <a:solidFill>
                  <a:srgbClr val="60707E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 </a:t>
            </a:r>
            <a:r>
              <a:rPr kumimoji="0" sz="1000" b="1" i="0" u="none" strike="noStrike" kern="1200" cap="none" spc="-10" normalizeH="0" baseline="0" noProof="0" dirty="0">
                <a:ln>
                  <a:noFill/>
                </a:ln>
                <a:solidFill>
                  <a:srgbClr val="60707E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delle</a:t>
            </a:r>
            <a:r>
              <a:rPr kumimoji="0" sz="1000" b="1" i="0" u="none" strike="noStrike" kern="1200" cap="none" spc="5" normalizeH="0" baseline="0" noProof="0" dirty="0">
                <a:ln>
                  <a:noFill/>
                </a:ln>
                <a:solidFill>
                  <a:srgbClr val="60707E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 </a:t>
            </a:r>
            <a:r>
              <a:rPr kumimoji="0" sz="1000" b="1" i="0" u="none" strike="noStrike" kern="1200" cap="none" spc="-10" normalizeH="0" baseline="0" noProof="0" dirty="0">
                <a:ln>
                  <a:noFill/>
                </a:ln>
                <a:solidFill>
                  <a:srgbClr val="60707E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Rocche</a:t>
            </a:r>
            <a:endParaRPr kumimoji="0" sz="1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rebuchet MS"/>
              <a:ea typeface="+mn-ea"/>
              <a:cs typeface="Trebuchet MS"/>
            </a:endParaRPr>
          </a:p>
        </p:txBody>
      </p:sp>
      <p:grpSp>
        <p:nvGrpSpPr>
          <p:cNvPr id="26" name="object 26"/>
          <p:cNvGrpSpPr/>
          <p:nvPr/>
        </p:nvGrpSpPr>
        <p:grpSpPr>
          <a:xfrm>
            <a:off x="6324346" y="4713478"/>
            <a:ext cx="800735" cy="892175"/>
            <a:chOff x="6324346" y="4713478"/>
            <a:chExt cx="800735" cy="892175"/>
          </a:xfrm>
        </p:grpSpPr>
        <p:sp>
          <p:nvSpPr>
            <p:cNvPr id="27" name="object 27"/>
            <p:cNvSpPr/>
            <p:nvPr/>
          </p:nvSpPr>
          <p:spPr>
            <a:xfrm>
              <a:off x="6583680" y="4863084"/>
              <a:ext cx="535305" cy="736600"/>
            </a:xfrm>
            <a:custGeom>
              <a:avLst/>
              <a:gdLst/>
              <a:ahLst/>
              <a:cxnLst/>
              <a:rect l="l" t="t" r="r" b="b"/>
              <a:pathLst>
                <a:path w="535304" h="736600">
                  <a:moveTo>
                    <a:pt x="0" y="0"/>
                  </a:moveTo>
                  <a:lnTo>
                    <a:pt x="534924" y="0"/>
                  </a:lnTo>
                  <a:lnTo>
                    <a:pt x="534924" y="736092"/>
                  </a:lnTo>
                  <a:lnTo>
                    <a:pt x="0" y="736092"/>
                  </a:lnTo>
                  <a:lnTo>
                    <a:pt x="0" y="0"/>
                  </a:lnTo>
                  <a:close/>
                </a:path>
              </a:pathLst>
            </a:custGeom>
            <a:ln w="12700">
              <a:solidFill>
                <a:srgbClr val="8B8B8B"/>
              </a:solidFill>
              <a:prstDash val="sysDash"/>
            </a:ln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8" name="object 28"/>
            <p:cNvSpPr/>
            <p:nvPr/>
          </p:nvSpPr>
          <p:spPr>
            <a:xfrm>
              <a:off x="6434328" y="4794504"/>
              <a:ext cx="574675" cy="736600"/>
            </a:xfrm>
            <a:custGeom>
              <a:avLst/>
              <a:gdLst/>
              <a:ahLst/>
              <a:cxnLst/>
              <a:rect l="l" t="t" r="r" b="b"/>
              <a:pathLst>
                <a:path w="574675" h="736600">
                  <a:moveTo>
                    <a:pt x="574548" y="0"/>
                  </a:moveTo>
                  <a:lnTo>
                    <a:pt x="0" y="0"/>
                  </a:lnTo>
                  <a:lnTo>
                    <a:pt x="0" y="736092"/>
                  </a:lnTo>
                  <a:lnTo>
                    <a:pt x="574548" y="736092"/>
                  </a:lnTo>
                  <a:lnTo>
                    <a:pt x="574548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9" name="object 29"/>
            <p:cNvSpPr/>
            <p:nvPr/>
          </p:nvSpPr>
          <p:spPr>
            <a:xfrm>
              <a:off x="6434328" y="4794504"/>
              <a:ext cx="574675" cy="736600"/>
            </a:xfrm>
            <a:custGeom>
              <a:avLst/>
              <a:gdLst/>
              <a:ahLst/>
              <a:cxnLst/>
              <a:rect l="l" t="t" r="r" b="b"/>
              <a:pathLst>
                <a:path w="574675" h="736600">
                  <a:moveTo>
                    <a:pt x="0" y="0"/>
                  </a:moveTo>
                  <a:lnTo>
                    <a:pt x="574548" y="0"/>
                  </a:lnTo>
                  <a:lnTo>
                    <a:pt x="574548" y="736092"/>
                  </a:lnTo>
                  <a:lnTo>
                    <a:pt x="0" y="736092"/>
                  </a:lnTo>
                  <a:lnTo>
                    <a:pt x="0" y="0"/>
                  </a:lnTo>
                  <a:close/>
                </a:path>
              </a:pathLst>
            </a:custGeom>
            <a:ln w="12700">
              <a:solidFill>
                <a:srgbClr val="8B8B8B"/>
              </a:solidFill>
              <a:prstDash val="sysDash"/>
            </a:ln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0" name="object 30"/>
            <p:cNvSpPr/>
            <p:nvPr/>
          </p:nvSpPr>
          <p:spPr>
            <a:xfrm>
              <a:off x="6330696" y="4719828"/>
              <a:ext cx="573405" cy="734695"/>
            </a:xfrm>
            <a:custGeom>
              <a:avLst/>
              <a:gdLst/>
              <a:ahLst/>
              <a:cxnLst/>
              <a:rect l="l" t="t" r="r" b="b"/>
              <a:pathLst>
                <a:path w="573404" h="734695">
                  <a:moveTo>
                    <a:pt x="573024" y="0"/>
                  </a:moveTo>
                  <a:lnTo>
                    <a:pt x="0" y="0"/>
                  </a:lnTo>
                  <a:lnTo>
                    <a:pt x="0" y="734568"/>
                  </a:lnTo>
                  <a:lnTo>
                    <a:pt x="573024" y="734568"/>
                  </a:lnTo>
                  <a:lnTo>
                    <a:pt x="573024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1" name="object 31"/>
            <p:cNvSpPr/>
            <p:nvPr/>
          </p:nvSpPr>
          <p:spPr>
            <a:xfrm>
              <a:off x="6330696" y="4719828"/>
              <a:ext cx="573405" cy="734695"/>
            </a:xfrm>
            <a:custGeom>
              <a:avLst/>
              <a:gdLst/>
              <a:ahLst/>
              <a:cxnLst/>
              <a:rect l="l" t="t" r="r" b="b"/>
              <a:pathLst>
                <a:path w="573404" h="734695">
                  <a:moveTo>
                    <a:pt x="0" y="0"/>
                  </a:moveTo>
                  <a:lnTo>
                    <a:pt x="573024" y="0"/>
                  </a:lnTo>
                  <a:lnTo>
                    <a:pt x="573024" y="734568"/>
                  </a:lnTo>
                  <a:lnTo>
                    <a:pt x="0" y="734568"/>
                  </a:lnTo>
                  <a:lnTo>
                    <a:pt x="0" y="0"/>
                  </a:lnTo>
                  <a:close/>
                </a:path>
              </a:pathLst>
            </a:custGeom>
            <a:ln w="12700">
              <a:solidFill>
                <a:srgbClr val="8B8B8B"/>
              </a:solidFill>
              <a:prstDash val="sysDash"/>
            </a:ln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pic>
        <p:nvPicPr>
          <p:cNvPr id="32" name="object 32"/>
          <p:cNvPicPr/>
          <p:nvPr/>
        </p:nvPicPr>
        <p:blipFill>
          <a:blip r:embed="rId12" cstate="print"/>
          <a:stretch>
            <a:fillRect/>
          </a:stretch>
        </p:blipFill>
        <p:spPr>
          <a:xfrm>
            <a:off x="809244" y="1696211"/>
            <a:ext cx="1511807" cy="1115567"/>
          </a:xfrm>
          <a:prstGeom prst="rect">
            <a:avLst/>
          </a:prstGeom>
        </p:spPr>
      </p:pic>
      <p:pic>
        <p:nvPicPr>
          <p:cNvPr id="33" name="object 33"/>
          <p:cNvPicPr/>
          <p:nvPr/>
        </p:nvPicPr>
        <p:blipFill>
          <a:blip r:embed="rId13" cstate="print"/>
          <a:stretch>
            <a:fillRect/>
          </a:stretch>
        </p:blipFill>
        <p:spPr>
          <a:xfrm>
            <a:off x="838200" y="3157728"/>
            <a:ext cx="1522476" cy="1115567"/>
          </a:xfrm>
          <a:prstGeom prst="rect">
            <a:avLst/>
          </a:prstGeom>
        </p:spPr>
      </p:pic>
      <p:sp>
        <p:nvSpPr>
          <p:cNvPr id="34" name="object 34"/>
          <p:cNvSpPr txBox="1"/>
          <p:nvPr/>
        </p:nvSpPr>
        <p:spPr>
          <a:xfrm>
            <a:off x="904834" y="2978099"/>
            <a:ext cx="1278255" cy="17780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 marR="0" lvl="0" indent="0" algn="l" defTabSz="914400" rtl="0" eaLnBrk="1" fontAlgn="auto" latinLnBrk="0" hangingPunct="1">
              <a:lnSpc>
                <a:spcPct val="100000"/>
              </a:lnSpc>
              <a:spcBef>
                <a:spcPts val="9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000" b="1" i="0" u="none" strike="noStrike" kern="1200" cap="none" spc="-5" normalizeH="0" baseline="0" noProof="0" dirty="0">
                <a:ln>
                  <a:noFill/>
                </a:ln>
                <a:solidFill>
                  <a:srgbClr val="60707E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Nuovo</a:t>
            </a:r>
            <a:r>
              <a:rPr kumimoji="0" sz="1000" b="1" i="0" u="none" strike="noStrike" kern="1200" cap="none" spc="-20" normalizeH="0" baseline="0" noProof="0" dirty="0">
                <a:ln>
                  <a:noFill/>
                </a:ln>
                <a:solidFill>
                  <a:srgbClr val="60707E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 </a:t>
            </a:r>
            <a:r>
              <a:rPr kumimoji="0" sz="1000" b="1" i="0" u="none" strike="noStrike" kern="1200" cap="none" spc="-10" normalizeH="0" baseline="0" noProof="0" dirty="0">
                <a:ln>
                  <a:noFill/>
                </a:ln>
                <a:solidFill>
                  <a:srgbClr val="60707E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Stadio</a:t>
            </a:r>
            <a:r>
              <a:rPr kumimoji="0" sz="1000" b="1" i="0" u="none" strike="noStrike" kern="1200" cap="none" spc="-5" normalizeH="0" baseline="0" noProof="0" dirty="0">
                <a:ln>
                  <a:noFill/>
                </a:ln>
                <a:solidFill>
                  <a:srgbClr val="60707E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 </a:t>
            </a:r>
            <a:r>
              <a:rPr kumimoji="0" sz="1000" b="1" i="0" u="none" strike="noStrike" kern="1200" cap="none" spc="-10" normalizeH="0" baseline="0" noProof="0" dirty="0">
                <a:ln>
                  <a:noFill/>
                </a:ln>
                <a:solidFill>
                  <a:srgbClr val="60707E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Cagliari</a:t>
            </a:r>
            <a:endParaRPr kumimoji="0" sz="1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rebuchet MS"/>
              <a:ea typeface="+mn-ea"/>
              <a:cs typeface="Trebuchet MS"/>
            </a:endParaRPr>
          </a:p>
        </p:txBody>
      </p:sp>
      <p:sp>
        <p:nvSpPr>
          <p:cNvPr id="35" name="object 35"/>
          <p:cNvSpPr txBox="1"/>
          <p:nvPr/>
        </p:nvSpPr>
        <p:spPr>
          <a:xfrm>
            <a:off x="4430545" y="2978099"/>
            <a:ext cx="1207135" cy="17780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 marR="0" lvl="0" indent="0" algn="l" defTabSz="914400" rtl="0" eaLnBrk="1" fontAlgn="auto" latinLnBrk="0" hangingPunct="1">
              <a:lnSpc>
                <a:spcPct val="100000"/>
              </a:lnSpc>
              <a:spcBef>
                <a:spcPts val="9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000" b="1" i="0" u="none" strike="noStrike" kern="1200" cap="none" spc="-5" normalizeH="0" baseline="0" noProof="0" dirty="0">
                <a:ln>
                  <a:noFill/>
                </a:ln>
                <a:solidFill>
                  <a:srgbClr val="60707E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Nuovo</a:t>
            </a:r>
            <a:r>
              <a:rPr kumimoji="0" sz="1000" b="1" i="0" u="none" strike="noStrike" kern="1200" cap="none" spc="-25" normalizeH="0" baseline="0" noProof="0" dirty="0">
                <a:ln>
                  <a:noFill/>
                </a:ln>
                <a:solidFill>
                  <a:srgbClr val="60707E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 </a:t>
            </a:r>
            <a:r>
              <a:rPr kumimoji="0" sz="1000" b="1" i="0" u="none" strike="noStrike" kern="1200" cap="none" spc="-10" normalizeH="0" baseline="0" noProof="0" dirty="0">
                <a:ln>
                  <a:noFill/>
                </a:ln>
                <a:solidFill>
                  <a:srgbClr val="60707E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Stadio</a:t>
            </a:r>
            <a:r>
              <a:rPr kumimoji="0" sz="1000" b="1" i="0" u="none" strike="noStrike" kern="1200" cap="none" spc="-15" normalizeH="0" baseline="0" noProof="0" dirty="0">
                <a:ln>
                  <a:noFill/>
                </a:ln>
                <a:solidFill>
                  <a:srgbClr val="60707E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 </a:t>
            </a:r>
            <a:r>
              <a:rPr kumimoji="0" sz="1000" b="1" i="0" u="none" strike="noStrike" kern="1200" cap="none" spc="-10" normalizeH="0" baseline="0" noProof="0" dirty="0">
                <a:ln>
                  <a:noFill/>
                </a:ln>
                <a:solidFill>
                  <a:srgbClr val="60707E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Parma</a:t>
            </a:r>
            <a:endParaRPr kumimoji="0" sz="1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rebuchet MS"/>
              <a:ea typeface="+mn-ea"/>
              <a:cs typeface="Trebuchet MS"/>
            </a:endParaRPr>
          </a:p>
        </p:txBody>
      </p:sp>
      <p:pic>
        <p:nvPicPr>
          <p:cNvPr id="36" name="object 36"/>
          <p:cNvPicPr/>
          <p:nvPr/>
        </p:nvPicPr>
        <p:blipFill>
          <a:blip r:embed="rId14" cstate="print"/>
          <a:stretch>
            <a:fillRect/>
          </a:stretch>
        </p:blipFill>
        <p:spPr>
          <a:xfrm>
            <a:off x="4238244" y="4648365"/>
            <a:ext cx="1511052" cy="1109010"/>
          </a:xfrm>
          <a:prstGeom prst="rect">
            <a:avLst/>
          </a:prstGeom>
        </p:spPr>
      </p:pic>
      <p:sp>
        <p:nvSpPr>
          <p:cNvPr id="37" name="object 37"/>
          <p:cNvSpPr txBox="1"/>
          <p:nvPr/>
        </p:nvSpPr>
        <p:spPr>
          <a:xfrm>
            <a:off x="2717659" y="4423830"/>
            <a:ext cx="1064260" cy="17780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 marR="0" lvl="0" indent="0" algn="l" defTabSz="914400" rtl="0" eaLnBrk="1" fontAlgn="auto" latinLnBrk="0" hangingPunct="1">
              <a:lnSpc>
                <a:spcPct val="100000"/>
              </a:lnSpc>
              <a:spcBef>
                <a:spcPts val="9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000" b="1" i="0" u="none" strike="noStrike" kern="1200" cap="none" spc="-10" normalizeH="0" baseline="0" noProof="0" dirty="0">
                <a:ln>
                  <a:noFill/>
                </a:ln>
                <a:solidFill>
                  <a:srgbClr val="60707E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San</a:t>
            </a:r>
            <a:r>
              <a:rPr kumimoji="0" sz="1000" b="1" i="0" u="none" strike="noStrike" kern="1200" cap="none" spc="-20" normalizeH="0" baseline="0" noProof="0" dirty="0">
                <a:ln>
                  <a:noFill/>
                </a:ln>
                <a:solidFill>
                  <a:srgbClr val="60707E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 </a:t>
            </a:r>
            <a:r>
              <a:rPr kumimoji="0" sz="1000" b="1" i="0" u="none" strike="noStrike" kern="1200" cap="none" spc="-10" normalizeH="0" baseline="0" noProof="0" dirty="0">
                <a:ln>
                  <a:noFill/>
                </a:ln>
                <a:solidFill>
                  <a:srgbClr val="60707E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Domenico</a:t>
            </a:r>
            <a:r>
              <a:rPr kumimoji="0" sz="1000" b="1" i="0" u="none" strike="noStrike" kern="1200" cap="none" spc="0" normalizeH="0" baseline="0" noProof="0" dirty="0">
                <a:ln>
                  <a:noFill/>
                </a:ln>
                <a:solidFill>
                  <a:srgbClr val="60707E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 </a:t>
            </a:r>
            <a:r>
              <a:rPr kumimoji="0" sz="1000" b="1" i="0" u="none" strike="noStrike" kern="1200" cap="none" spc="-10" normalizeH="0" baseline="0" noProof="0" dirty="0">
                <a:ln>
                  <a:noFill/>
                </a:ln>
                <a:solidFill>
                  <a:srgbClr val="60707E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Ski</a:t>
            </a:r>
            <a:endParaRPr kumimoji="0" sz="1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rebuchet MS"/>
              <a:ea typeface="+mn-ea"/>
              <a:cs typeface="Trebuchet MS"/>
            </a:endParaRPr>
          </a:p>
        </p:txBody>
      </p:sp>
      <p:sp>
        <p:nvSpPr>
          <p:cNvPr id="38" name="object 38"/>
          <p:cNvSpPr txBox="1"/>
          <p:nvPr/>
        </p:nvSpPr>
        <p:spPr>
          <a:xfrm>
            <a:off x="9455381" y="2977267"/>
            <a:ext cx="1437005" cy="17780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 marR="0" lvl="0" indent="0" algn="l" defTabSz="914400" rtl="0" eaLnBrk="1" fontAlgn="auto" latinLnBrk="0" hangingPunct="1">
              <a:lnSpc>
                <a:spcPct val="100000"/>
              </a:lnSpc>
              <a:spcBef>
                <a:spcPts val="9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000" b="1" i="0" u="none" strike="noStrike" kern="1200" cap="none" spc="-5" normalizeH="0" baseline="0" noProof="0" dirty="0">
                <a:ln>
                  <a:noFill/>
                </a:ln>
                <a:solidFill>
                  <a:srgbClr val="60707E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Energy</a:t>
            </a:r>
            <a:r>
              <a:rPr kumimoji="0" sz="1000" b="1" i="0" u="none" strike="noStrike" kern="1200" cap="none" spc="-10" normalizeH="0" baseline="0" noProof="0" dirty="0">
                <a:ln>
                  <a:noFill/>
                </a:ln>
                <a:solidFill>
                  <a:srgbClr val="60707E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 Surf Park</a:t>
            </a:r>
            <a:r>
              <a:rPr kumimoji="0" sz="1000" b="1" i="0" u="none" strike="noStrike" kern="1200" cap="none" spc="-5" normalizeH="0" baseline="0" noProof="0" dirty="0">
                <a:ln>
                  <a:noFill/>
                </a:ln>
                <a:solidFill>
                  <a:srgbClr val="60707E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 Milano</a:t>
            </a:r>
            <a:endParaRPr kumimoji="0" sz="1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rebuchet MS"/>
              <a:ea typeface="+mn-ea"/>
              <a:cs typeface="Trebuchet MS"/>
            </a:endParaRPr>
          </a:p>
        </p:txBody>
      </p:sp>
      <p:pic>
        <p:nvPicPr>
          <p:cNvPr id="39" name="object 39"/>
          <p:cNvPicPr/>
          <p:nvPr/>
        </p:nvPicPr>
        <p:blipFill>
          <a:blip r:embed="rId15" cstate="print"/>
          <a:stretch>
            <a:fillRect/>
          </a:stretch>
        </p:blipFill>
        <p:spPr>
          <a:xfrm>
            <a:off x="9418319" y="3220166"/>
            <a:ext cx="1511807" cy="1015664"/>
          </a:xfrm>
          <a:prstGeom prst="rect">
            <a:avLst/>
          </a:prstGeom>
        </p:spPr>
      </p:pic>
      <p:pic>
        <p:nvPicPr>
          <p:cNvPr id="40" name="object 40"/>
          <p:cNvPicPr/>
          <p:nvPr/>
        </p:nvPicPr>
        <p:blipFill>
          <a:blip r:embed="rId16" cstate="print"/>
          <a:stretch>
            <a:fillRect/>
          </a:stretch>
        </p:blipFill>
        <p:spPr>
          <a:xfrm>
            <a:off x="2517648" y="4642103"/>
            <a:ext cx="1507223" cy="1104579"/>
          </a:xfrm>
          <a:prstGeom prst="rect">
            <a:avLst/>
          </a:prstGeom>
        </p:spPr>
      </p:pic>
      <p:pic>
        <p:nvPicPr>
          <p:cNvPr id="41" name="object 41"/>
          <p:cNvPicPr/>
          <p:nvPr/>
        </p:nvPicPr>
        <p:blipFill>
          <a:blip r:embed="rId17" cstate="print"/>
          <a:stretch>
            <a:fillRect/>
          </a:stretch>
        </p:blipFill>
        <p:spPr>
          <a:xfrm>
            <a:off x="4270247" y="3157728"/>
            <a:ext cx="1511807" cy="1111694"/>
          </a:xfrm>
          <a:prstGeom prst="rect">
            <a:avLst/>
          </a:prstGeom>
        </p:spPr>
      </p:pic>
      <p:sp>
        <p:nvSpPr>
          <p:cNvPr id="42" name="object 42"/>
          <p:cNvSpPr txBox="1"/>
          <p:nvPr/>
        </p:nvSpPr>
        <p:spPr>
          <a:xfrm>
            <a:off x="8030591" y="4983124"/>
            <a:ext cx="2220595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0" lvl="0" indent="0" algn="l" defTabSz="9144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200" b="0" i="0" u="none" strike="noStrike" kern="1200" cap="none" spc="0" normalizeH="0" baseline="0" noProof="0" dirty="0">
                <a:ln>
                  <a:noFill/>
                </a:ln>
                <a:solidFill>
                  <a:srgbClr val="5C6F7A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ed</a:t>
            </a:r>
            <a:r>
              <a:rPr kumimoji="0" sz="1200" b="0" i="0" u="none" strike="noStrike" kern="1200" cap="none" spc="-20" normalizeH="0" baseline="0" noProof="0" dirty="0">
                <a:ln>
                  <a:noFill/>
                </a:ln>
                <a:solidFill>
                  <a:srgbClr val="5C6F7A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 </a:t>
            </a:r>
            <a:r>
              <a:rPr kumimoji="0" sz="1200" b="0" i="0" u="none" strike="noStrike" kern="1200" cap="none" spc="-5" normalizeH="0" baseline="0" noProof="0" dirty="0">
                <a:ln>
                  <a:noFill/>
                </a:ln>
                <a:solidFill>
                  <a:srgbClr val="5C6F7A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altre</a:t>
            </a:r>
            <a:r>
              <a:rPr kumimoji="0" sz="1200" b="0" i="0" u="none" strike="noStrike" kern="1200" cap="none" spc="-40" normalizeH="0" baseline="0" noProof="0" dirty="0">
                <a:ln>
                  <a:noFill/>
                </a:ln>
                <a:solidFill>
                  <a:srgbClr val="5C6F7A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 </a:t>
            </a:r>
            <a:r>
              <a:rPr kumimoji="0" sz="1200" b="0" i="0" u="none" strike="noStrike" kern="1200" cap="none" spc="0" normalizeH="0" baseline="0" noProof="0" dirty="0">
                <a:ln>
                  <a:noFill/>
                </a:ln>
                <a:solidFill>
                  <a:srgbClr val="5C6F7A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in</a:t>
            </a:r>
            <a:r>
              <a:rPr kumimoji="0" sz="1200" b="0" i="0" u="none" strike="noStrike" kern="1200" cap="none" spc="-10" normalizeH="0" baseline="0" noProof="0" dirty="0">
                <a:ln>
                  <a:noFill/>
                </a:ln>
                <a:solidFill>
                  <a:srgbClr val="5C6F7A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 </a:t>
            </a:r>
            <a:r>
              <a:rPr kumimoji="0" sz="1200" b="0" i="0" u="none" strike="noStrike" kern="1200" cap="none" spc="-5" normalizeH="0" baseline="0" noProof="0" dirty="0">
                <a:ln>
                  <a:noFill/>
                </a:ln>
                <a:solidFill>
                  <a:srgbClr val="5C6F7A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fase</a:t>
            </a:r>
            <a:r>
              <a:rPr kumimoji="0" sz="1200" b="0" i="0" u="none" strike="noStrike" kern="1200" cap="none" spc="-30" normalizeH="0" baseline="0" noProof="0" dirty="0">
                <a:ln>
                  <a:noFill/>
                </a:ln>
                <a:solidFill>
                  <a:srgbClr val="5C6F7A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 </a:t>
            </a:r>
            <a:r>
              <a:rPr kumimoji="0" sz="1200" b="0" i="0" u="none" strike="noStrike" kern="1200" cap="none" spc="0" normalizeH="0" baseline="0" noProof="0" dirty="0">
                <a:ln>
                  <a:noFill/>
                </a:ln>
                <a:solidFill>
                  <a:srgbClr val="5C6F7A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di</a:t>
            </a:r>
            <a:r>
              <a:rPr kumimoji="0" sz="1200" b="0" i="0" u="none" strike="noStrike" kern="1200" cap="none" spc="-10" normalizeH="0" baseline="0" noProof="0" dirty="0">
                <a:ln>
                  <a:noFill/>
                </a:ln>
                <a:solidFill>
                  <a:srgbClr val="5C6F7A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 </a:t>
            </a:r>
            <a:r>
              <a:rPr kumimoji="0" sz="1200" b="0" i="0" u="none" strike="noStrike" kern="1200" cap="none" spc="-5" normalizeH="0" baseline="0" noProof="0" dirty="0">
                <a:ln>
                  <a:noFill/>
                </a:ln>
                <a:solidFill>
                  <a:srgbClr val="5C6F7A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finalizzazione</a:t>
            </a:r>
            <a:endParaRPr kumimoji="0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rebuchet MS"/>
              <a:ea typeface="+mn-ea"/>
              <a:cs typeface="Trebuchet MS"/>
            </a:endParaRPr>
          </a:p>
        </p:txBody>
      </p:sp>
      <p:sp>
        <p:nvSpPr>
          <p:cNvPr id="45" name="object 45"/>
          <p:cNvSpPr txBox="1">
            <a:spLocks noGrp="1"/>
          </p:cNvSpPr>
          <p:nvPr>
            <p:ph type="ftr" sz="quarter" idx="5"/>
          </p:nvPr>
        </p:nvSpPr>
        <p:spPr>
          <a:xfrm>
            <a:off x="4070590" y="6213681"/>
            <a:ext cx="3854210" cy="372538"/>
          </a:xfrm>
          <a:prstGeom prst="rect">
            <a:avLst/>
          </a:prstGeom>
        </p:spPr>
        <p:txBody>
          <a:bodyPr vert="horz" wrap="square" lIns="0" tIns="3175" rIns="0" bIns="0" rtlCol="0">
            <a:spAutoFit/>
          </a:bodyPr>
          <a:lstStyle/>
          <a:p>
            <a:pPr marL="12700" marR="0" lvl="0" indent="0" algn="ctr" defTabSz="914400" rtl="0" eaLnBrk="1" fontAlgn="auto" latinLnBrk="0" hangingPunct="1">
              <a:lnSpc>
                <a:spcPct val="100000"/>
              </a:lnSpc>
              <a:spcBef>
                <a:spcPts val="2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rebuchet MS"/>
                <a:ea typeface="+mn-ea"/>
              </a:rPr>
              <a:t>Istituto per il Credito Sportivo Banca Sociale per lo Sport e la Cultura</a:t>
            </a:r>
            <a:endParaRPr kumimoji="0" sz="1200" b="0" i="0" u="none" strike="noStrike" kern="1200" cap="none" spc="-15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rebuchet MS"/>
              <a:ea typeface="+mn-ea"/>
            </a:endParaRPr>
          </a:p>
        </p:txBody>
      </p:sp>
      <p:sp>
        <p:nvSpPr>
          <p:cNvPr id="43" name="object 43"/>
          <p:cNvSpPr txBox="1"/>
          <p:nvPr/>
        </p:nvSpPr>
        <p:spPr>
          <a:xfrm>
            <a:off x="9497142" y="838083"/>
            <a:ext cx="1652905" cy="29972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0" lvl="0" indent="0" algn="l" defTabSz="9144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800" b="0" i="1" u="none" strike="noStrike" kern="1200" cap="none" spc="-5" normalizeH="0" baseline="0" noProof="0" dirty="0">
                <a:ln>
                  <a:noFill/>
                </a:ln>
                <a:solidFill>
                  <a:srgbClr val="5C707B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NON</a:t>
            </a:r>
            <a:r>
              <a:rPr kumimoji="0" sz="1800" b="0" i="1" u="none" strike="noStrike" kern="1200" cap="none" spc="-75" normalizeH="0" baseline="0" noProof="0" dirty="0">
                <a:ln>
                  <a:noFill/>
                </a:ln>
                <a:solidFill>
                  <a:srgbClr val="5C707B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 </a:t>
            </a:r>
            <a:r>
              <a:rPr kumimoji="0" sz="1800" b="0" i="1" u="none" strike="noStrike" kern="1200" cap="none" spc="-5" normalizeH="0" baseline="0" noProof="0" dirty="0">
                <a:ln>
                  <a:noFill/>
                </a:ln>
                <a:solidFill>
                  <a:srgbClr val="5C707B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ESAUSTIVO</a:t>
            </a: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rebuchet MS"/>
              <a:ea typeface="+mn-ea"/>
              <a:cs typeface="Trebuchet MS"/>
            </a:endParaRPr>
          </a:p>
        </p:txBody>
      </p:sp>
      <p:sp>
        <p:nvSpPr>
          <p:cNvPr id="46" name="Segnaposto numero diapositiva 2">
            <a:extLst>
              <a:ext uri="{FF2B5EF4-FFF2-40B4-BE49-F238E27FC236}">
                <a16:creationId xmlns:a16="http://schemas.microsoft.com/office/drawing/2014/main" id="{7FC8FBC3-1985-4453-A4A4-99331B7C4182}"/>
              </a:ext>
            </a:extLst>
          </p:cNvPr>
          <p:cNvSpPr txBox="1">
            <a:spLocks/>
          </p:cNvSpPr>
          <p:nvPr/>
        </p:nvSpPr>
        <p:spPr>
          <a:xfrm>
            <a:off x="7581900" y="6360319"/>
            <a:ext cx="2743200" cy="365125"/>
          </a:xfrm>
          <a:prstGeom prst="rect">
            <a:avLst/>
          </a:prstGeom>
        </p:spPr>
        <p:txBody>
          <a:bodyPr/>
          <a:lstStyle>
            <a:defPPr>
              <a:defRPr lang="it-IT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defRPr/>
            </a:pPr>
            <a:fld id="{9501BE4A-6F75-0549-8D25-E25EBB4B1677}" type="slidenum">
              <a:rPr lang="it-IT" sz="1200" smtClean="0">
                <a:solidFill>
                  <a:srgbClr val="FFFFFF"/>
                </a:solidFill>
                <a:latin typeface="Trebuchet MS"/>
              </a:rPr>
              <a:pPr algn="r">
                <a:defRPr/>
              </a:pPr>
              <a:t>15</a:t>
            </a:fld>
            <a:endParaRPr lang="it-IT" sz="1200" dirty="0">
              <a:solidFill>
                <a:srgbClr val="FFFFFF"/>
              </a:solidFill>
              <a:latin typeface="Trebuchet MS"/>
            </a:endParaRPr>
          </a:p>
        </p:txBody>
      </p:sp>
      <p:sp>
        <p:nvSpPr>
          <p:cNvPr id="44" name="Segnaposto numero diapositiva 43">
            <a:extLst>
              <a:ext uri="{FF2B5EF4-FFF2-40B4-BE49-F238E27FC236}">
                <a16:creationId xmlns:a16="http://schemas.microsoft.com/office/drawing/2014/main" id="{7E3E3F4E-CDE9-4CAA-8065-3134B936A04C}"/>
              </a:ext>
            </a:extLst>
          </p:cNvPr>
          <p:cNvSpPr>
            <a:spLocks noGrp="1"/>
          </p:cNvSpPr>
          <p:nvPr>
            <p:ph type="sldNum" sz="quarter" idx="7"/>
          </p:nvPr>
        </p:nvSpPr>
        <p:spPr/>
        <p:txBody>
          <a:bodyPr/>
          <a:lstStyle/>
          <a:p>
            <a:pPr marL="116839">
              <a:lnSpc>
                <a:spcPct val="100000"/>
              </a:lnSpc>
              <a:spcBef>
                <a:spcPts val="385"/>
              </a:spcBef>
            </a:pPr>
            <a:fld id="{81D60167-4931-47E6-BA6A-407CBD079E47}" type="slidenum">
              <a:rPr lang="it-IT" smtClean="0"/>
              <a:t>15</a:t>
            </a:fld>
            <a:endParaRPr lang="it-IT" dirty="0"/>
          </a:p>
        </p:txBody>
      </p:sp>
    </p:spTree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2E69C141-7BA0-45ED-93C9-014675AC727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256375"/>
            <a:ext cx="10515600" cy="484881"/>
          </a:xfrm>
        </p:spPr>
        <p:txBody>
          <a:bodyPr/>
          <a:lstStyle/>
          <a:p>
            <a:r>
              <a:rPr lang="it-IT" dirty="0"/>
              <a:t> RIFERIMENTI</a:t>
            </a:r>
          </a:p>
        </p:txBody>
      </p:sp>
      <p:sp>
        <p:nvSpPr>
          <p:cNvPr id="3" name="Rettangolo 2">
            <a:extLst>
              <a:ext uri="{FF2B5EF4-FFF2-40B4-BE49-F238E27FC236}">
                <a16:creationId xmlns:a16="http://schemas.microsoft.com/office/drawing/2014/main" id="{AA910C44-8E8F-4583-A747-4F95FB59779D}"/>
              </a:ext>
            </a:extLst>
          </p:cNvPr>
          <p:cNvSpPr/>
          <p:nvPr/>
        </p:nvSpPr>
        <p:spPr>
          <a:xfrm>
            <a:off x="4313472" y="2338244"/>
            <a:ext cx="5247861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it-IT" sz="2000" b="1" dirty="0">
                <a:solidFill>
                  <a:srgbClr val="5C707B"/>
                </a:solidFill>
              </a:rPr>
              <a:t>Gianluca D’Antoni</a:t>
            </a:r>
          </a:p>
          <a:p>
            <a:r>
              <a:rPr lang="it-IT" dirty="0">
                <a:solidFill>
                  <a:srgbClr val="5C707B"/>
                </a:solidFill>
              </a:rPr>
              <a:t>Responsabile Commerciale Regione Sicilia </a:t>
            </a:r>
          </a:p>
          <a:p>
            <a:r>
              <a:rPr lang="it-IT" dirty="0">
                <a:solidFill>
                  <a:srgbClr val="5C707B"/>
                </a:solidFill>
              </a:rPr>
              <a:t>Responsabile Area Sud</a:t>
            </a:r>
            <a:r>
              <a:rPr lang="it-IT" sz="1600" dirty="0">
                <a:solidFill>
                  <a:srgbClr val="5C717C"/>
                </a:solidFill>
              </a:rPr>
              <a:t>		</a:t>
            </a:r>
          </a:p>
        </p:txBody>
      </p:sp>
      <p:pic>
        <p:nvPicPr>
          <p:cNvPr id="10" name="Immagine 9">
            <a:extLst>
              <a:ext uri="{FF2B5EF4-FFF2-40B4-BE49-F238E27FC236}">
                <a16:creationId xmlns:a16="http://schemas.microsoft.com/office/drawing/2014/main" id="{ED200AC9-3B8C-B246-ADF2-DD3AEDB01F25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12617" y="2292199"/>
            <a:ext cx="2161099" cy="2392094"/>
          </a:xfrm>
          <a:prstGeom prst="rect">
            <a:avLst/>
          </a:prstGeom>
        </p:spPr>
      </p:pic>
      <p:sp>
        <p:nvSpPr>
          <p:cNvPr id="17" name="Rettangolo 16">
            <a:extLst>
              <a:ext uri="{FF2B5EF4-FFF2-40B4-BE49-F238E27FC236}">
                <a16:creationId xmlns:a16="http://schemas.microsoft.com/office/drawing/2014/main" id="{FDBCF16C-F4C9-7C45-BF4D-F0F2995DDFC1}"/>
              </a:ext>
            </a:extLst>
          </p:cNvPr>
          <p:cNvSpPr/>
          <p:nvPr/>
        </p:nvSpPr>
        <p:spPr>
          <a:xfrm>
            <a:off x="4762744" y="3999888"/>
            <a:ext cx="331205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it-IT" dirty="0">
                <a:solidFill>
                  <a:srgbClr val="5C707B"/>
                </a:solidFill>
              </a:rPr>
              <a:t>+39 347.2364639</a:t>
            </a:r>
            <a:r>
              <a:rPr lang="it-IT" sz="1600" dirty="0"/>
              <a:t>		</a:t>
            </a:r>
          </a:p>
        </p:txBody>
      </p:sp>
      <p:pic>
        <p:nvPicPr>
          <p:cNvPr id="21" name="Immagine 20">
            <a:extLst>
              <a:ext uri="{FF2B5EF4-FFF2-40B4-BE49-F238E27FC236}">
                <a16:creationId xmlns:a16="http://schemas.microsoft.com/office/drawing/2014/main" id="{4D0533C1-FAD9-1C48-980E-3A67BE6FC1AC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92619" y="4008334"/>
            <a:ext cx="267935" cy="314378"/>
          </a:xfrm>
          <a:prstGeom prst="rect">
            <a:avLst/>
          </a:prstGeom>
        </p:spPr>
      </p:pic>
      <p:pic>
        <p:nvPicPr>
          <p:cNvPr id="23" name="Immagine 22">
            <a:extLst>
              <a:ext uri="{FF2B5EF4-FFF2-40B4-BE49-F238E27FC236}">
                <a16:creationId xmlns:a16="http://schemas.microsoft.com/office/drawing/2014/main" id="{8F3BEBCA-ADF9-2A4E-BC53-FFF433F9C4E1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75906" y="4384620"/>
            <a:ext cx="301362" cy="274273"/>
          </a:xfrm>
          <a:prstGeom prst="rect">
            <a:avLst/>
          </a:prstGeom>
        </p:spPr>
      </p:pic>
      <p:sp>
        <p:nvSpPr>
          <p:cNvPr id="24" name="Rettangolo 23">
            <a:extLst>
              <a:ext uri="{FF2B5EF4-FFF2-40B4-BE49-F238E27FC236}">
                <a16:creationId xmlns:a16="http://schemas.microsoft.com/office/drawing/2014/main" id="{2C175C38-0EF9-F742-A788-73726EB15DFE}"/>
              </a:ext>
            </a:extLst>
          </p:cNvPr>
          <p:cNvSpPr/>
          <p:nvPr/>
        </p:nvSpPr>
        <p:spPr>
          <a:xfrm>
            <a:off x="4779458" y="4347886"/>
            <a:ext cx="4117119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it-IT" sz="1600" dirty="0">
                <a:solidFill>
                  <a:srgbClr val="5C707B"/>
                </a:solidFill>
              </a:rPr>
              <a:t>gianluca.dantoni@creditosportivo.it</a:t>
            </a:r>
          </a:p>
        </p:txBody>
      </p:sp>
      <p:pic>
        <p:nvPicPr>
          <p:cNvPr id="26" name="Immagine 25">
            <a:extLst>
              <a:ext uri="{FF2B5EF4-FFF2-40B4-BE49-F238E27FC236}">
                <a16:creationId xmlns:a16="http://schemas.microsoft.com/office/drawing/2014/main" id="{787FBEEB-49F8-6F4E-BC98-7C0FDC6ACF0F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27972" y="3636447"/>
            <a:ext cx="197230" cy="318811"/>
          </a:xfrm>
          <a:prstGeom prst="rect">
            <a:avLst/>
          </a:prstGeom>
        </p:spPr>
      </p:pic>
      <p:sp>
        <p:nvSpPr>
          <p:cNvPr id="27" name="Rettangolo 26">
            <a:extLst>
              <a:ext uri="{FF2B5EF4-FFF2-40B4-BE49-F238E27FC236}">
                <a16:creationId xmlns:a16="http://schemas.microsoft.com/office/drawing/2014/main" id="{89BEDEE4-04E3-4443-83D0-C8CCBDD731B9}"/>
              </a:ext>
            </a:extLst>
          </p:cNvPr>
          <p:cNvSpPr/>
          <p:nvPr/>
        </p:nvSpPr>
        <p:spPr>
          <a:xfrm>
            <a:off x="4739702" y="3588965"/>
            <a:ext cx="3312050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it-IT" sz="1600" dirty="0">
                <a:solidFill>
                  <a:srgbClr val="5C707B"/>
                </a:solidFill>
              </a:rPr>
              <a:t>Via </a:t>
            </a:r>
            <a:r>
              <a:rPr lang="it-IT" sz="1600" dirty="0" err="1">
                <a:solidFill>
                  <a:srgbClr val="5C707B"/>
                </a:solidFill>
              </a:rPr>
              <a:t>G.Bonanno</a:t>
            </a:r>
            <a:r>
              <a:rPr lang="it-IT" sz="1600" dirty="0">
                <a:solidFill>
                  <a:srgbClr val="5C707B"/>
                </a:solidFill>
              </a:rPr>
              <a:t>, 37 90100 Palermo</a:t>
            </a:r>
            <a:r>
              <a:rPr lang="it-IT" sz="1600" dirty="0"/>
              <a:t>	</a:t>
            </a:r>
          </a:p>
        </p:txBody>
      </p:sp>
    </p:spTree>
    <p:extLst>
      <p:ext uri="{BB962C8B-B14F-4D97-AF65-F5344CB8AC3E}">
        <p14:creationId xmlns:p14="http://schemas.microsoft.com/office/powerpoint/2010/main" val="294848015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object 7"/>
          <p:cNvGrpSpPr/>
          <p:nvPr/>
        </p:nvGrpSpPr>
        <p:grpSpPr>
          <a:xfrm>
            <a:off x="755904" y="214884"/>
            <a:ext cx="10598150" cy="623570"/>
            <a:chOff x="755904" y="214884"/>
            <a:chExt cx="10598150" cy="623570"/>
          </a:xfrm>
        </p:grpSpPr>
        <p:sp>
          <p:nvSpPr>
            <p:cNvPr id="8" name="object 8"/>
            <p:cNvSpPr/>
            <p:nvPr/>
          </p:nvSpPr>
          <p:spPr>
            <a:xfrm>
              <a:off x="838200" y="246888"/>
              <a:ext cx="10515600" cy="486409"/>
            </a:xfrm>
            <a:custGeom>
              <a:avLst/>
              <a:gdLst/>
              <a:ahLst/>
              <a:cxnLst/>
              <a:rect l="l" t="t" r="r" b="b"/>
              <a:pathLst>
                <a:path w="10515600" h="486409">
                  <a:moveTo>
                    <a:pt x="10515600" y="0"/>
                  </a:moveTo>
                  <a:lnTo>
                    <a:pt x="0" y="0"/>
                  </a:lnTo>
                  <a:lnTo>
                    <a:pt x="0" y="486155"/>
                  </a:lnTo>
                  <a:lnTo>
                    <a:pt x="10515600" y="486155"/>
                  </a:lnTo>
                  <a:lnTo>
                    <a:pt x="10515600" y="0"/>
                  </a:lnTo>
                  <a:close/>
                </a:path>
              </a:pathLst>
            </a:custGeom>
            <a:solidFill>
              <a:srgbClr val="5C707B"/>
            </a:solid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srgbClr val="5C717C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</a:endParaRPr>
            </a:p>
          </p:txBody>
        </p:sp>
        <p:pic>
          <p:nvPicPr>
            <p:cNvPr id="9" name="object 9"/>
            <p:cNvPicPr/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755904" y="214884"/>
              <a:ext cx="7880603" cy="623315"/>
            </a:xfrm>
            <a:prstGeom prst="rect">
              <a:avLst/>
            </a:prstGeom>
          </p:spPr>
        </p:pic>
      </p:grpSp>
      <p:sp>
        <p:nvSpPr>
          <p:cNvPr id="10" name="object 10"/>
          <p:cNvSpPr txBox="1">
            <a:spLocks noGrp="1"/>
          </p:cNvSpPr>
          <p:nvPr>
            <p:ph type="title"/>
          </p:nvPr>
        </p:nvSpPr>
        <p:spPr>
          <a:xfrm>
            <a:off x="838200" y="246888"/>
            <a:ext cx="10515600" cy="389209"/>
          </a:xfrm>
          <a:prstGeom prst="rect">
            <a:avLst/>
          </a:prstGeom>
        </p:spPr>
        <p:txBody>
          <a:bodyPr vert="horz" wrap="square" lIns="0" tIns="50165" rIns="0" bIns="0" rtlCol="0">
            <a:spAutoFit/>
          </a:bodyPr>
          <a:lstStyle/>
          <a:p>
            <a:pPr marL="91440">
              <a:lnSpc>
                <a:spcPct val="100000"/>
              </a:lnSpc>
              <a:spcBef>
                <a:spcPts val="395"/>
              </a:spcBef>
            </a:pPr>
            <a:r>
              <a:rPr lang="it-IT" spc="-5"/>
              <a:t>La</a:t>
            </a:r>
            <a:r>
              <a:rPr lang="it-IT"/>
              <a:t> </a:t>
            </a:r>
            <a:r>
              <a:rPr lang="it-IT" spc="-15"/>
              <a:t>nostra</a:t>
            </a:r>
            <a:r>
              <a:rPr lang="it-IT" spc="10"/>
              <a:t> </a:t>
            </a:r>
            <a:r>
              <a:rPr lang="it-IT" spc="-5"/>
              <a:t>missione,</a:t>
            </a:r>
            <a:r>
              <a:rPr lang="it-IT" spc="35"/>
              <a:t> </a:t>
            </a:r>
            <a:r>
              <a:rPr lang="it-IT" spc="-5"/>
              <a:t>la</a:t>
            </a:r>
            <a:r>
              <a:rPr lang="it-IT"/>
              <a:t> </a:t>
            </a:r>
            <a:r>
              <a:rPr lang="it-IT" spc="-15"/>
              <a:t>nostra</a:t>
            </a:r>
            <a:r>
              <a:rPr lang="it-IT" spc="15"/>
              <a:t> </a:t>
            </a:r>
            <a:r>
              <a:rPr lang="it-IT" spc="-5"/>
              <a:t>storia</a:t>
            </a:r>
            <a:r>
              <a:rPr lang="it-IT" spc="10"/>
              <a:t> </a:t>
            </a:r>
            <a:r>
              <a:rPr lang="it-IT" spc="-5"/>
              <a:t>e</a:t>
            </a:r>
            <a:r>
              <a:rPr lang="it-IT"/>
              <a:t> </a:t>
            </a:r>
            <a:r>
              <a:rPr lang="it-IT" spc="-5"/>
              <a:t>funzione</a:t>
            </a:r>
            <a:r>
              <a:rPr lang="it-IT" spc="15"/>
              <a:t> </a:t>
            </a:r>
            <a:r>
              <a:rPr lang="it-IT" spc="-5"/>
              <a:t>obiettivo…</a:t>
            </a:r>
            <a:endParaRPr spc="-5">
              <a:latin typeface="Trebuchet MS" panose="020B0603020202020204" pitchFamily="34" charset="0"/>
            </a:endParaRPr>
          </a:p>
        </p:txBody>
      </p:sp>
      <p:sp>
        <p:nvSpPr>
          <p:cNvPr id="20" name="object 20"/>
          <p:cNvSpPr txBox="1">
            <a:spLocks noGrp="1"/>
          </p:cNvSpPr>
          <p:nvPr>
            <p:ph type="sldNum" sz="quarter" idx="7"/>
          </p:nvPr>
        </p:nvSpPr>
        <p:spPr>
          <a:xfrm>
            <a:off x="10035540" y="6352335"/>
            <a:ext cx="377190" cy="234038"/>
          </a:xfrm>
          <a:prstGeom prst="rect">
            <a:avLst/>
          </a:prstGeom>
        </p:spPr>
        <p:txBody>
          <a:bodyPr vert="horz" wrap="square" lIns="0" tIns="48895" rIns="0" bIns="0" rtlCol="0">
            <a:spAutoFit/>
          </a:bodyPr>
          <a:lstStyle/>
          <a:p>
            <a:pPr marL="116839" marR="0" lvl="0" indent="0" algn="r" defTabSz="914400" rtl="0" eaLnBrk="1" fontAlgn="auto" latinLnBrk="0" hangingPunct="1">
              <a:lnSpc>
                <a:spcPct val="100000"/>
              </a:lnSpc>
              <a:spcBef>
                <a:spcPts val="38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1D60167-4931-47E6-BA6A-407CBD079E47}" type="slidenum">
              <a:rPr kumimoji="0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</a:rPr>
              <a:pPr marL="116839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385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ebuchet MS" panose="020B0603020202020204" pitchFamily="34" charset="0"/>
              <a:ea typeface="+mn-ea"/>
            </a:endParaRPr>
          </a:p>
        </p:txBody>
      </p:sp>
      <p:sp>
        <p:nvSpPr>
          <p:cNvPr id="65" name="object 21">
            <a:extLst>
              <a:ext uri="{FF2B5EF4-FFF2-40B4-BE49-F238E27FC236}">
                <a16:creationId xmlns:a16="http://schemas.microsoft.com/office/drawing/2014/main" id="{9C24D6BC-632D-4241-A2C5-72BFB1F06D4C}"/>
              </a:ext>
            </a:extLst>
          </p:cNvPr>
          <p:cNvSpPr txBox="1">
            <a:spLocks noGrp="1"/>
          </p:cNvSpPr>
          <p:nvPr>
            <p:ph type="ftr" sz="quarter" idx="5"/>
          </p:nvPr>
        </p:nvSpPr>
        <p:spPr>
          <a:xfrm>
            <a:off x="4708116" y="6323169"/>
            <a:ext cx="2759484" cy="372538"/>
          </a:xfrm>
          <a:prstGeom prst="rect">
            <a:avLst/>
          </a:prstGeom>
        </p:spPr>
        <p:txBody>
          <a:bodyPr vert="horz" wrap="square" lIns="0" tIns="3175" rIns="0" bIns="0" rtlCol="0">
            <a:spAutoFit/>
          </a:bodyPr>
          <a:lstStyle/>
          <a:p>
            <a:pPr marL="12700" marR="0" lvl="0" indent="0" algn="ctr" defTabSz="914400" rtl="0" eaLnBrk="1" fontAlgn="auto" latinLnBrk="0" hangingPunct="1">
              <a:lnSpc>
                <a:spcPct val="100000"/>
              </a:lnSpc>
              <a:spcBef>
                <a:spcPts val="2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/>
                <a:ea typeface="+mn-ea"/>
              </a:rPr>
              <a:t>Istituto per il Credito Sportivo Banca Sociale per lo Sport e la Cultura</a:t>
            </a:r>
            <a:endParaRPr kumimoji="0" sz="1200" b="0" i="0" u="none" strike="noStrike" kern="1200" cap="none" spc="-15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ebuchet MS"/>
              <a:ea typeface="+mn-ea"/>
            </a:endParaRPr>
          </a:p>
        </p:txBody>
      </p:sp>
      <p:grpSp>
        <p:nvGrpSpPr>
          <p:cNvPr id="105" name="object 2">
            <a:extLst>
              <a:ext uri="{FF2B5EF4-FFF2-40B4-BE49-F238E27FC236}">
                <a16:creationId xmlns:a16="http://schemas.microsoft.com/office/drawing/2014/main" id="{FF05146C-2E95-412A-911F-FA411DF21BBB}"/>
              </a:ext>
            </a:extLst>
          </p:cNvPr>
          <p:cNvGrpSpPr/>
          <p:nvPr/>
        </p:nvGrpSpPr>
        <p:grpSpPr>
          <a:xfrm>
            <a:off x="838200" y="1021080"/>
            <a:ext cx="10515600" cy="4922520"/>
            <a:chOff x="676656" y="1021080"/>
            <a:chExt cx="10894060" cy="4577080"/>
          </a:xfrm>
        </p:grpSpPr>
        <p:pic>
          <p:nvPicPr>
            <p:cNvPr id="106" name="object 3">
              <a:extLst>
                <a:ext uri="{FF2B5EF4-FFF2-40B4-BE49-F238E27FC236}">
                  <a16:creationId xmlns:a16="http://schemas.microsoft.com/office/drawing/2014/main" id="{57336EAF-5865-498B-A364-0F0A8B971FC6}"/>
                </a:ext>
              </a:extLst>
            </p:cNvPr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676656" y="1021080"/>
              <a:ext cx="10893551" cy="4576571"/>
            </a:xfrm>
            <a:prstGeom prst="rect">
              <a:avLst/>
            </a:prstGeom>
          </p:spPr>
        </p:pic>
        <p:sp>
          <p:nvSpPr>
            <p:cNvPr id="107" name="object 4">
              <a:extLst>
                <a:ext uri="{FF2B5EF4-FFF2-40B4-BE49-F238E27FC236}">
                  <a16:creationId xmlns:a16="http://schemas.microsoft.com/office/drawing/2014/main" id="{0CD7423D-D3A0-44D8-B0F4-1A98D029577B}"/>
                </a:ext>
              </a:extLst>
            </p:cNvPr>
            <p:cNvSpPr/>
            <p:nvPr/>
          </p:nvSpPr>
          <p:spPr>
            <a:xfrm>
              <a:off x="708659" y="1053081"/>
              <a:ext cx="10774680" cy="4457700"/>
            </a:xfrm>
            <a:custGeom>
              <a:avLst/>
              <a:gdLst/>
              <a:ahLst/>
              <a:cxnLst/>
              <a:rect l="l" t="t" r="r" b="b"/>
              <a:pathLst>
                <a:path w="10774680" h="4457700">
                  <a:moveTo>
                    <a:pt x="10573194" y="0"/>
                  </a:moveTo>
                  <a:lnTo>
                    <a:pt x="201485" y="0"/>
                  </a:lnTo>
                  <a:lnTo>
                    <a:pt x="155286" y="5321"/>
                  </a:lnTo>
                  <a:lnTo>
                    <a:pt x="112877" y="20479"/>
                  </a:lnTo>
                  <a:lnTo>
                    <a:pt x="75466" y="44264"/>
                  </a:lnTo>
                  <a:lnTo>
                    <a:pt x="44264" y="75466"/>
                  </a:lnTo>
                  <a:lnTo>
                    <a:pt x="20479" y="112877"/>
                  </a:lnTo>
                  <a:lnTo>
                    <a:pt x="5321" y="155286"/>
                  </a:lnTo>
                  <a:lnTo>
                    <a:pt x="0" y="201485"/>
                  </a:lnTo>
                  <a:lnTo>
                    <a:pt x="0" y="4256214"/>
                  </a:lnTo>
                  <a:lnTo>
                    <a:pt x="5321" y="4302413"/>
                  </a:lnTo>
                  <a:lnTo>
                    <a:pt x="20479" y="4344822"/>
                  </a:lnTo>
                  <a:lnTo>
                    <a:pt x="44264" y="4382233"/>
                  </a:lnTo>
                  <a:lnTo>
                    <a:pt x="75466" y="4413435"/>
                  </a:lnTo>
                  <a:lnTo>
                    <a:pt x="112877" y="4437220"/>
                  </a:lnTo>
                  <a:lnTo>
                    <a:pt x="155286" y="4452378"/>
                  </a:lnTo>
                  <a:lnTo>
                    <a:pt x="201485" y="4457700"/>
                  </a:lnTo>
                  <a:lnTo>
                    <a:pt x="10573194" y="4457700"/>
                  </a:lnTo>
                  <a:lnTo>
                    <a:pt x="10619393" y="4452378"/>
                  </a:lnTo>
                  <a:lnTo>
                    <a:pt x="10661802" y="4437220"/>
                  </a:lnTo>
                  <a:lnTo>
                    <a:pt x="10699213" y="4413435"/>
                  </a:lnTo>
                  <a:lnTo>
                    <a:pt x="10730415" y="4382233"/>
                  </a:lnTo>
                  <a:lnTo>
                    <a:pt x="10754200" y="4344822"/>
                  </a:lnTo>
                  <a:lnTo>
                    <a:pt x="10769358" y="4302413"/>
                  </a:lnTo>
                  <a:lnTo>
                    <a:pt x="10774680" y="4256214"/>
                  </a:lnTo>
                  <a:lnTo>
                    <a:pt x="10774680" y="201485"/>
                  </a:lnTo>
                  <a:lnTo>
                    <a:pt x="10769358" y="155286"/>
                  </a:lnTo>
                  <a:lnTo>
                    <a:pt x="10754200" y="112877"/>
                  </a:lnTo>
                  <a:lnTo>
                    <a:pt x="10730415" y="75466"/>
                  </a:lnTo>
                  <a:lnTo>
                    <a:pt x="10699213" y="44264"/>
                  </a:lnTo>
                  <a:lnTo>
                    <a:pt x="10661802" y="20479"/>
                  </a:lnTo>
                  <a:lnTo>
                    <a:pt x="10619393" y="5321"/>
                  </a:lnTo>
                  <a:lnTo>
                    <a:pt x="10573194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srgbClr val="5C717C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sp>
          <p:nvSpPr>
            <p:cNvPr id="108" name="object 5">
              <a:extLst>
                <a:ext uri="{FF2B5EF4-FFF2-40B4-BE49-F238E27FC236}">
                  <a16:creationId xmlns:a16="http://schemas.microsoft.com/office/drawing/2014/main" id="{76F9A607-8BEC-401C-AC99-FD0A2DE14054}"/>
                </a:ext>
              </a:extLst>
            </p:cNvPr>
            <p:cNvSpPr/>
            <p:nvPr/>
          </p:nvSpPr>
          <p:spPr>
            <a:xfrm>
              <a:off x="708659" y="1053081"/>
              <a:ext cx="10774680" cy="4457700"/>
            </a:xfrm>
            <a:custGeom>
              <a:avLst/>
              <a:gdLst/>
              <a:ahLst/>
              <a:cxnLst/>
              <a:rect l="l" t="t" r="r" b="b"/>
              <a:pathLst>
                <a:path w="10774680" h="4457700">
                  <a:moveTo>
                    <a:pt x="0" y="201485"/>
                  </a:moveTo>
                  <a:lnTo>
                    <a:pt x="5321" y="155286"/>
                  </a:lnTo>
                  <a:lnTo>
                    <a:pt x="20479" y="112877"/>
                  </a:lnTo>
                  <a:lnTo>
                    <a:pt x="44264" y="75466"/>
                  </a:lnTo>
                  <a:lnTo>
                    <a:pt x="75466" y="44264"/>
                  </a:lnTo>
                  <a:lnTo>
                    <a:pt x="112877" y="20479"/>
                  </a:lnTo>
                  <a:lnTo>
                    <a:pt x="155286" y="5321"/>
                  </a:lnTo>
                  <a:lnTo>
                    <a:pt x="201485" y="0"/>
                  </a:lnTo>
                  <a:lnTo>
                    <a:pt x="10573194" y="0"/>
                  </a:lnTo>
                  <a:lnTo>
                    <a:pt x="10619393" y="5321"/>
                  </a:lnTo>
                  <a:lnTo>
                    <a:pt x="10661802" y="20479"/>
                  </a:lnTo>
                  <a:lnTo>
                    <a:pt x="10699213" y="44264"/>
                  </a:lnTo>
                  <a:lnTo>
                    <a:pt x="10730415" y="75466"/>
                  </a:lnTo>
                  <a:lnTo>
                    <a:pt x="10754200" y="112877"/>
                  </a:lnTo>
                  <a:lnTo>
                    <a:pt x="10769358" y="155286"/>
                  </a:lnTo>
                  <a:lnTo>
                    <a:pt x="10774680" y="201485"/>
                  </a:lnTo>
                  <a:lnTo>
                    <a:pt x="10774680" y="4256214"/>
                  </a:lnTo>
                  <a:lnTo>
                    <a:pt x="10769358" y="4302413"/>
                  </a:lnTo>
                  <a:lnTo>
                    <a:pt x="10754200" y="4344822"/>
                  </a:lnTo>
                  <a:lnTo>
                    <a:pt x="10730415" y="4382233"/>
                  </a:lnTo>
                  <a:lnTo>
                    <a:pt x="10699213" y="4413435"/>
                  </a:lnTo>
                  <a:lnTo>
                    <a:pt x="10661802" y="4437220"/>
                  </a:lnTo>
                  <a:lnTo>
                    <a:pt x="10619393" y="4452378"/>
                  </a:lnTo>
                  <a:lnTo>
                    <a:pt x="10573194" y="4457700"/>
                  </a:lnTo>
                  <a:lnTo>
                    <a:pt x="201485" y="4457700"/>
                  </a:lnTo>
                  <a:lnTo>
                    <a:pt x="155286" y="4452378"/>
                  </a:lnTo>
                  <a:lnTo>
                    <a:pt x="112877" y="4437220"/>
                  </a:lnTo>
                  <a:lnTo>
                    <a:pt x="75466" y="4413435"/>
                  </a:lnTo>
                  <a:lnTo>
                    <a:pt x="44264" y="4382233"/>
                  </a:lnTo>
                  <a:lnTo>
                    <a:pt x="20479" y="4344822"/>
                  </a:lnTo>
                  <a:lnTo>
                    <a:pt x="5321" y="4302413"/>
                  </a:lnTo>
                  <a:lnTo>
                    <a:pt x="0" y="4256214"/>
                  </a:lnTo>
                  <a:lnTo>
                    <a:pt x="0" y="201485"/>
                  </a:lnTo>
                  <a:close/>
                </a:path>
              </a:pathLst>
            </a:custGeom>
            <a:ln w="12700">
              <a:solidFill>
                <a:srgbClr val="8B8B8B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srgbClr val="5C717C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sp>
          <p:nvSpPr>
            <p:cNvPr id="109" name="object 6">
              <a:extLst>
                <a:ext uri="{FF2B5EF4-FFF2-40B4-BE49-F238E27FC236}">
                  <a16:creationId xmlns:a16="http://schemas.microsoft.com/office/drawing/2014/main" id="{B1315AA7-92B6-46D1-8D1A-49573EE93102}"/>
                </a:ext>
              </a:extLst>
            </p:cNvPr>
            <p:cNvSpPr/>
            <p:nvPr/>
          </p:nvSpPr>
          <p:spPr>
            <a:xfrm>
              <a:off x="838962" y="1517136"/>
              <a:ext cx="10515600" cy="39370"/>
            </a:xfrm>
            <a:custGeom>
              <a:avLst/>
              <a:gdLst/>
              <a:ahLst/>
              <a:cxnLst/>
              <a:rect l="l" t="t" r="r" b="b"/>
              <a:pathLst>
                <a:path w="10515600" h="39369">
                  <a:moveTo>
                    <a:pt x="0" y="38798"/>
                  </a:moveTo>
                  <a:lnTo>
                    <a:pt x="10515600" y="0"/>
                  </a:lnTo>
                </a:path>
              </a:pathLst>
            </a:custGeom>
            <a:ln w="19049">
              <a:solidFill>
                <a:srgbClr val="BEBEBE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srgbClr val="5C717C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</p:grpSp>
      <p:sp>
        <p:nvSpPr>
          <p:cNvPr id="110" name="object 11">
            <a:extLst>
              <a:ext uri="{FF2B5EF4-FFF2-40B4-BE49-F238E27FC236}">
                <a16:creationId xmlns:a16="http://schemas.microsoft.com/office/drawing/2014/main" id="{9ED10E10-B45A-4E84-8C2C-1698C71E727F}"/>
              </a:ext>
            </a:extLst>
          </p:cNvPr>
          <p:cNvSpPr txBox="1"/>
          <p:nvPr/>
        </p:nvSpPr>
        <p:spPr>
          <a:xfrm>
            <a:off x="988377" y="1229550"/>
            <a:ext cx="725805" cy="239395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 marR="0" lvl="0" indent="0" algn="l" defTabSz="914400" rtl="0" eaLnBrk="1" fontAlgn="auto" latinLnBrk="0" hangingPunct="1">
              <a:lnSpc>
                <a:spcPct val="100000"/>
              </a:lnSpc>
              <a:spcBef>
                <a:spcPts val="10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400" b="1" i="0" u="none" strike="noStrike" kern="1200" cap="none" spc="-5" normalizeH="0" baseline="0" noProof="0">
                <a:ln>
                  <a:noFill/>
                </a:ln>
                <a:solidFill>
                  <a:srgbClr val="767070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Missione</a:t>
            </a:r>
            <a:endParaRPr kumimoji="0" sz="1400" b="0" i="0" u="none" strike="noStrike" kern="1200" cap="none" spc="0" normalizeH="0" baseline="0" noProof="0">
              <a:ln>
                <a:noFill/>
              </a:ln>
              <a:solidFill>
                <a:srgbClr val="5C717C"/>
              </a:solidFill>
              <a:effectLst/>
              <a:uLnTx/>
              <a:uFillTx/>
              <a:latin typeface="Trebuchet MS"/>
              <a:ea typeface="+mn-ea"/>
              <a:cs typeface="Trebuchet MS"/>
            </a:endParaRPr>
          </a:p>
        </p:txBody>
      </p:sp>
      <p:sp>
        <p:nvSpPr>
          <p:cNvPr id="111" name="object 12">
            <a:extLst>
              <a:ext uri="{FF2B5EF4-FFF2-40B4-BE49-F238E27FC236}">
                <a16:creationId xmlns:a16="http://schemas.microsoft.com/office/drawing/2014/main" id="{BF21F7D5-19A8-4D52-B543-FAF9498B6026}"/>
              </a:ext>
            </a:extLst>
          </p:cNvPr>
          <p:cNvSpPr txBox="1"/>
          <p:nvPr/>
        </p:nvSpPr>
        <p:spPr>
          <a:xfrm>
            <a:off x="4218605" y="1185508"/>
            <a:ext cx="512445" cy="239395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 marR="0" lvl="0" indent="0" algn="l" defTabSz="914400" rtl="0" eaLnBrk="1" fontAlgn="auto" latinLnBrk="0" hangingPunct="1">
              <a:lnSpc>
                <a:spcPct val="100000"/>
              </a:lnSpc>
              <a:spcBef>
                <a:spcPts val="10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400" b="1" i="0" u="none" strike="noStrike" kern="1200" cap="none" spc="0" normalizeH="0" baseline="0" noProof="0">
                <a:ln>
                  <a:noFill/>
                </a:ln>
                <a:solidFill>
                  <a:srgbClr val="767070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S</a:t>
            </a:r>
            <a:r>
              <a:rPr kumimoji="0" sz="1400" b="1" i="0" u="none" strike="noStrike" kern="1200" cap="none" spc="-5" normalizeH="0" baseline="0" noProof="0">
                <a:ln>
                  <a:noFill/>
                </a:ln>
                <a:solidFill>
                  <a:srgbClr val="767070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to</a:t>
            </a:r>
            <a:r>
              <a:rPr kumimoji="0" sz="1400" b="1" i="0" u="none" strike="noStrike" kern="1200" cap="none" spc="0" normalizeH="0" baseline="0" noProof="0">
                <a:ln>
                  <a:noFill/>
                </a:ln>
                <a:solidFill>
                  <a:srgbClr val="767070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ria</a:t>
            </a:r>
            <a:endParaRPr kumimoji="0" sz="1400" b="0" i="0" u="none" strike="noStrike" kern="1200" cap="none" spc="0" normalizeH="0" baseline="0" noProof="0">
              <a:ln>
                <a:noFill/>
              </a:ln>
              <a:solidFill>
                <a:srgbClr val="5C717C"/>
              </a:solidFill>
              <a:effectLst/>
              <a:uLnTx/>
              <a:uFillTx/>
              <a:latin typeface="Trebuchet MS"/>
              <a:ea typeface="+mn-ea"/>
              <a:cs typeface="Trebuchet MS"/>
            </a:endParaRPr>
          </a:p>
        </p:txBody>
      </p:sp>
      <p:sp>
        <p:nvSpPr>
          <p:cNvPr id="112" name="object 13">
            <a:extLst>
              <a:ext uri="{FF2B5EF4-FFF2-40B4-BE49-F238E27FC236}">
                <a16:creationId xmlns:a16="http://schemas.microsoft.com/office/drawing/2014/main" id="{D96E6B95-3387-46C1-9AB2-5EB65582328C}"/>
              </a:ext>
            </a:extLst>
          </p:cNvPr>
          <p:cNvSpPr txBox="1"/>
          <p:nvPr/>
        </p:nvSpPr>
        <p:spPr>
          <a:xfrm>
            <a:off x="911843" y="1624629"/>
            <a:ext cx="2575560" cy="2767330"/>
          </a:xfrm>
          <a:prstGeom prst="rect">
            <a:avLst/>
          </a:prstGeom>
        </p:spPr>
        <p:txBody>
          <a:bodyPr vert="horz" wrap="square" lIns="0" tIns="33020" rIns="0" bIns="0" rtlCol="0">
            <a:spAutoFit/>
          </a:bodyPr>
          <a:lstStyle/>
          <a:p>
            <a:pPr marL="241300" marR="215265" lvl="0" indent="-228600" algn="l" defTabSz="914400" rtl="0" eaLnBrk="1" fontAlgn="auto" latinLnBrk="0" hangingPunct="1">
              <a:lnSpc>
                <a:spcPts val="1300"/>
              </a:lnSpc>
              <a:spcBef>
                <a:spcPts val="260"/>
              </a:spcBef>
              <a:spcAft>
                <a:spcPts val="0"/>
              </a:spcAft>
              <a:buClr>
                <a:srgbClr val="AEABAB"/>
              </a:buClr>
              <a:buSzTx/>
              <a:buFont typeface="Trebuchet MS"/>
              <a:buChar char="•"/>
              <a:tabLst>
                <a:tab pos="240665" algn="l"/>
                <a:tab pos="241300" algn="l"/>
              </a:tabLst>
              <a:defRPr/>
            </a:pPr>
            <a:r>
              <a:rPr kumimoji="0" sz="1200" b="1" i="0" u="none" strike="noStrike" kern="1200" cap="none" spc="-5" normalizeH="0" baseline="0" noProof="0">
                <a:ln>
                  <a:noFill/>
                </a:ln>
                <a:solidFill>
                  <a:srgbClr val="767070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Banca sociale per lo </a:t>
            </a:r>
            <a:r>
              <a:rPr kumimoji="0" sz="1200" b="1" i="0" u="none" strike="noStrike" kern="1200" cap="none" spc="0" normalizeH="0" baseline="0" noProof="0">
                <a:ln>
                  <a:noFill/>
                </a:ln>
                <a:solidFill>
                  <a:srgbClr val="767070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sviluppo </a:t>
            </a:r>
            <a:r>
              <a:rPr kumimoji="0" sz="1200" b="1" i="0" u="none" strike="noStrike" kern="1200" cap="none" spc="5" normalizeH="0" baseline="0" noProof="0">
                <a:ln>
                  <a:noFill/>
                </a:ln>
                <a:solidFill>
                  <a:srgbClr val="767070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 </a:t>
            </a:r>
            <a:r>
              <a:rPr kumimoji="0" sz="1200" b="1" i="0" u="none" strike="noStrike" kern="1200" cap="none" spc="-5" normalizeH="0" baseline="0" noProof="0">
                <a:ln>
                  <a:noFill/>
                </a:ln>
                <a:solidFill>
                  <a:srgbClr val="767070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sostenibile </a:t>
            </a:r>
            <a:r>
              <a:rPr kumimoji="0" sz="1200" b="1" i="0" u="none" strike="noStrike" kern="1200" cap="none" spc="-10" normalizeH="0" baseline="0" noProof="0">
                <a:ln>
                  <a:noFill/>
                </a:ln>
                <a:solidFill>
                  <a:srgbClr val="767070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dello </a:t>
            </a:r>
            <a:r>
              <a:rPr kumimoji="0" sz="1200" b="1" i="0" u="none" strike="noStrike" kern="1200" cap="none" spc="-5" normalizeH="0" baseline="0" noProof="0">
                <a:ln>
                  <a:noFill/>
                </a:ln>
                <a:solidFill>
                  <a:srgbClr val="767070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Sport </a:t>
            </a:r>
            <a:r>
              <a:rPr kumimoji="0" sz="1200" b="1" i="0" u="none" strike="noStrike" kern="1200" cap="none" spc="0" normalizeH="0" baseline="0" noProof="0">
                <a:ln>
                  <a:noFill/>
                </a:ln>
                <a:solidFill>
                  <a:srgbClr val="767070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e </a:t>
            </a:r>
            <a:r>
              <a:rPr kumimoji="0" sz="1200" b="1" i="0" u="none" strike="noStrike" kern="1200" cap="none" spc="-10" normalizeH="0" baseline="0" noProof="0">
                <a:ln>
                  <a:noFill/>
                </a:ln>
                <a:solidFill>
                  <a:srgbClr val="767070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della </a:t>
            </a:r>
            <a:r>
              <a:rPr kumimoji="0" sz="1200" b="1" i="0" u="none" strike="noStrike" kern="1200" cap="none" spc="-350" normalizeH="0" baseline="0" noProof="0">
                <a:ln>
                  <a:noFill/>
                </a:ln>
                <a:solidFill>
                  <a:srgbClr val="767070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 </a:t>
            </a:r>
            <a:r>
              <a:rPr kumimoji="0" sz="1200" b="1" i="0" u="none" strike="noStrike" kern="1200" cap="none" spc="-10" normalizeH="0" baseline="0" noProof="0">
                <a:ln>
                  <a:noFill/>
                </a:ln>
                <a:solidFill>
                  <a:srgbClr val="767070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Cultura</a:t>
            </a:r>
            <a:endParaRPr kumimoji="0" sz="1200" b="0" i="0" u="none" strike="noStrike" kern="1200" cap="none" spc="0" normalizeH="0" baseline="0" noProof="0">
              <a:ln>
                <a:noFill/>
              </a:ln>
              <a:solidFill>
                <a:srgbClr val="5C717C"/>
              </a:solidFill>
              <a:effectLst/>
              <a:uLnTx/>
              <a:uFillTx/>
              <a:latin typeface="Trebuchet MS"/>
              <a:ea typeface="+mn-ea"/>
              <a:cs typeface="Trebuchet MS"/>
            </a:endParaRPr>
          </a:p>
          <a:p>
            <a:pPr marL="370840" marR="485775" lvl="1" indent="-137160" algn="l" defTabSz="914400" rtl="0" eaLnBrk="1" fontAlgn="auto" latinLnBrk="0" hangingPunct="1">
              <a:lnSpc>
                <a:spcPts val="1300"/>
              </a:lnSpc>
              <a:spcBef>
                <a:spcPts val="490"/>
              </a:spcBef>
              <a:spcAft>
                <a:spcPts val="0"/>
              </a:spcAft>
              <a:buClrTx/>
              <a:buSzTx/>
              <a:buFont typeface="Wingdings"/>
              <a:buChar char=""/>
              <a:tabLst>
                <a:tab pos="370840" algn="l"/>
              </a:tabLst>
              <a:defRPr/>
            </a:pPr>
            <a:r>
              <a:rPr kumimoji="0" sz="1200" b="0" i="0" u="none" strike="noStrike" kern="1200" cap="none" spc="0" normalizeH="0" baseline="0" noProof="0">
                <a:ln>
                  <a:noFill/>
                </a:ln>
                <a:solidFill>
                  <a:srgbClr val="767070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leader</a:t>
            </a:r>
            <a:r>
              <a:rPr kumimoji="0" sz="1200" b="0" i="0" u="none" strike="noStrike" kern="1200" cap="none" spc="-40" normalizeH="0" baseline="0" noProof="0">
                <a:ln>
                  <a:noFill/>
                </a:ln>
                <a:solidFill>
                  <a:srgbClr val="767070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 </a:t>
            </a:r>
            <a:r>
              <a:rPr kumimoji="0" sz="1200" b="0" i="0" u="none" strike="noStrike" kern="1200" cap="none" spc="-5" normalizeH="0" baseline="0" noProof="0">
                <a:ln>
                  <a:noFill/>
                </a:ln>
                <a:solidFill>
                  <a:srgbClr val="767070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nel</a:t>
            </a:r>
            <a:r>
              <a:rPr kumimoji="0" sz="1200" b="0" i="0" u="none" strike="noStrike" kern="1200" cap="none" spc="-70" normalizeH="0" baseline="0" noProof="0">
                <a:ln>
                  <a:noFill/>
                </a:ln>
                <a:solidFill>
                  <a:srgbClr val="767070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 </a:t>
            </a:r>
            <a:r>
              <a:rPr kumimoji="0" sz="1200" b="0" i="0" u="none" strike="noStrike" kern="1200" cap="none" spc="-5" normalizeH="0" baseline="0" noProof="0">
                <a:ln>
                  <a:noFill/>
                </a:ln>
                <a:solidFill>
                  <a:srgbClr val="767070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finanziamento </a:t>
            </a:r>
            <a:r>
              <a:rPr kumimoji="0" sz="1200" b="0" i="0" u="none" strike="noStrike" kern="1200" cap="none" spc="-345" normalizeH="0" baseline="0" noProof="0">
                <a:ln>
                  <a:noFill/>
                </a:ln>
                <a:solidFill>
                  <a:srgbClr val="767070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 </a:t>
            </a:r>
            <a:r>
              <a:rPr kumimoji="0" sz="1200" b="0" i="0" u="none" strike="noStrike" kern="1200" cap="none" spc="-5" normalizeH="0" baseline="0" noProof="0">
                <a:ln>
                  <a:noFill/>
                </a:ln>
                <a:solidFill>
                  <a:srgbClr val="767070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all’impiantistica</a:t>
            </a:r>
            <a:r>
              <a:rPr kumimoji="0" sz="1200" b="0" i="0" u="none" strike="noStrike" kern="1200" cap="none" spc="-65" normalizeH="0" baseline="0" noProof="0">
                <a:ln>
                  <a:noFill/>
                </a:ln>
                <a:solidFill>
                  <a:srgbClr val="767070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 </a:t>
            </a:r>
            <a:r>
              <a:rPr kumimoji="0" sz="1200" b="0" i="0" u="none" strike="noStrike" kern="1200" cap="none" spc="-5" normalizeH="0" baseline="0" noProof="0">
                <a:ln>
                  <a:noFill/>
                </a:ln>
                <a:solidFill>
                  <a:srgbClr val="767070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sportiva</a:t>
            </a:r>
            <a:endParaRPr kumimoji="0" sz="1200" b="0" i="0" u="none" strike="noStrike" kern="1200" cap="none" spc="0" normalizeH="0" baseline="0" noProof="0">
              <a:ln>
                <a:noFill/>
              </a:ln>
              <a:solidFill>
                <a:srgbClr val="5C717C"/>
              </a:solidFill>
              <a:effectLst/>
              <a:uLnTx/>
              <a:uFillTx/>
              <a:latin typeface="Trebuchet MS"/>
              <a:ea typeface="+mn-ea"/>
              <a:cs typeface="Trebuchet MS"/>
            </a:endParaRPr>
          </a:p>
          <a:p>
            <a:pPr marL="370840" marR="5080" lvl="1" indent="-137160" algn="l" defTabSz="914400" rtl="0" eaLnBrk="1" fontAlgn="auto" latinLnBrk="0" hangingPunct="1">
              <a:lnSpc>
                <a:spcPts val="1300"/>
              </a:lnSpc>
              <a:spcBef>
                <a:spcPts val="484"/>
              </a:spcBef>
              <a:spcAft>
                <a:spcPts val="0"/>
              </a:spcAft>
              <a:buClrTx/>
              <a:buSzTx/>
              <a:buFont typeface="Wingdings"/>
              <a:buChar char=""/>
              <a:tabLst>
                <a:tab pos="370840" algn="l"/>
              </a:tabLst>
              <a:defRPr/>
            </a:pPr>
            <a:r>
              <a:rPr kumimoji="0" sz="1200" b="0" i="0" u="none" strike="noStrike" kern="1200" cap="none" spc="-5" normalizeH="0" baseline="0" noProof="0">
                <a:ln>
                  <a:noFill/>
                </a:ln>
                <a:solidFill>
                  <a:srgbClr val="767070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sessant’anni</a:t>
            </a:r>
            <a:r>
              <a:rPr kumimoji="0" sz="1200" b="0" i="0" u="none" strike="noStrike" kern="1200" cap="none" spc="-50" normalizeH="0" baseline="0" noProof="0">
                <a:ln>
                  <a:noFill/>
                </a:ln>
                <a:solidFill>
                  <a:srgbClr val="767070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 </a:t>
            </a:r>
            <a:r>
              <a:rPr kumimoji="0" sz="1200" b="0" i="0" u="none" strike="noStrike" kern="1200" cap="none" spc="0" normalizeH="0" baseline="0" noProof="0">
                <a:ln>
                  <a:noFill/>
                </a:ln>
                <a:solidFill>
                  <a:srgbClr val="767070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di</a:t>
            </a:r>
            <a:r>
              <a:rPr kumimoji="0" sz="1200" b="0" i="0" u="none" strike="noStrike" kern="1200" cap="none" spc="-10" normalizeH="0" baseline="0" noProof="0">
                <a:ln>
                  <a:noFill/>
                </a:ln>
                <a:solidFill>
                  <a:srgbClr val="767070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 </a:t>
            </a:r>
            <a:r>
              <a:rPr kumimoji="0" sz="1200" b="0" i="0" u="none" strike="noStrike" kern="1200" cap="none" spc="-5" normalizeH="0" baseline="0" noProof="0">
                <a:ln>
                  <a:noFill/>
                </a:ln>
                <a:solidFill>
                  <a:srgbClr val="767070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attività</a:t>
            </a:r>
            <a:r>
              <a:rPr kumimoji="0" sz="1200" b="0" i="0" u="none" strike="noStrike" kern="1200" cap="none" spc="-45" normalizeH="0" baseline="0" noProof="0">
                <a:ln>
                  <a:noFill/>
                </a:ln>
                <a:solidFill>
                  <a:srgbClr val="767070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 </a:t>
            </a:r>
            <a:r>
              <a:rPr kumimoji="0" sz="1200" b="0" i="0" u="none" strike="noStrike" kern="1200" cap="none" spc="0" normalizeH="0" baseline="0" noProof="0">
                <a:ln>
                  <a:noFill/>
                </a:ln>
                <a:solidFill>
                  <a:srgbClr val="767070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al</a:t>
            </a:r>
            <a:r>
              <a:rPr kumimoji="0" sz="1200" b="0" i="0" u="none" strike="noStrike" kern="1200" cap="none" spc="-25" normalizeH="0" baseline="0" noProof="0">
                <a:ln>
                  <a:noFill/>
                </a:ln>
                <a:solidFill>
                  <a:srgbClr val="767070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 </a:t>
            </a:r>
            <a:r>
              <a:rPr kumimoji="0" sz="1200" b="0" i="0" u="none" strike="noStrike" kern="1200" cap="none" spc="0" normalizeH="0" baseline="0" noProof="0">
                <a:ln>
                  <a:noFill/>
                </a:ln>
                <a:solidFill>
                  <a:srgbClr val="767070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fianco </a:t>
            </a:r>
            <a:r>
              <a:rPr kumimoji="0" sz="1200" b="0" i="0" u="none" strike="noStrike" kern="1200" cap="none" spc="-350" normalizeH="0" baseline="0" noProof="0">
                <a:ln>
                  <a:noFill/>
                </a:ln>
                <a:solidFill>
                  <a:srgbClr val="767070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 </a:t>
            </a:r>
            <a:r>
              <a:rPr kumimoji="0" sz="1200" b="0" i="0" u="none" strike="noStrike" kern="1200" cap="none" spc="0" normalizeH="0" baseline="0" noProof="0">
                <a:ln>
                  <a:noFill/>
                </a:ln>
                <a:solidFill>
                  <a:srgbClr val="767070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di enti </a:t>
            </a:r>
            <a:r>
              <a:rPr kumimoji="0" sz="1200" b="0" i="0" u="none" strike="noStrike" kern="1200" cap="none" spc="-5" normalizeH="0" baseline="0" noProof="0">
                <a:ln>
                  <a:noFill/>
                </a:ln>
                <a:solidFill>
                  <a:srgbClr val="767070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pubblici </a:t>
            </a:r>
            <a:r>
              <a:rPr kumimoji="0" sz="1200" b="0" i="0" u="none" strike="noStrike" kern="1200" cap="none" spc="0" normalizeH="0" baseline="0" noProof="0">
                <a:ln>
                  <a:noFill/>
                </a:ln>
                <a:solidFill>
                  <a:srgbClr val="767070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e di </a:t>
            </a:r>
            <a:r>
              <a:rPr kumimoji="0" sz="1200" b="0" i="0" u="none" strike="noStrike" kern="1200" cap="none" spc="-5" normalizeH="0" baseline="0" noProof="0">
                <a:ln>
                  <a:noFill/>
                </a:ln>
                <a:solidFill>
                  <a:srgbClr val="767070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soggetti </a:t>
            </a:r>
            <a:r>
              <a:rPr kumimoji="0" sz="1200" b="0" i="0" u="none" strike="noStrike" kern="1200" cap="none" spc="0" normalizeH="0" baseline="0" noProof="0">
                <a:ln>
                  <a:noFill/>
                </a:ln>
                <a:solidFill>
                  <a:srgbClr val="767070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 </a:t>
            </a:r>
            <a:r>
              <a:rPr kumimoji="0" sz="1200" b="0" i="0" u="none" strike="noStrike" kern="1200" cap="none" spc="-5" normalizeH="0" baseline="0" noProof="0">
                <a:ln>
                  <a:noFill/>
                </a:ln>
                <a:solidFill>
                  <a:srgbClr val="767070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privati</a:t>
            </a:r>
            <a:endParaRPr kumimoji="0" sz="1200" b="0" i="0" u="none" strike="noStrike" kern="1200" cap="none" spc="0" normalizeH="0" baseline="0" noProof="0">
              <a:ln>
                <a:noFill/>
              </a:ln>
              <a:solidFill>
                <a:srgbClr val="5C717C"/>
              </a:solidFill>
              <a:effectLst/>
              <a:uLnTx/>
              <a:uFillTx/>
              <a:latin typeface="Trebuchet MS"/>
              <a:ea typeface="+mn-ea"/>
              <a:cs typeface="Trebuchet MS"/>
            </a:endParaRPr>
          </a:p>
          <a:p>
            <a:pPr marL="240665" marR="44450" lvl="0" indent="-228600" algn="l" defTabSz="914400" rtl="0" eaLnBrk="1" fontAlgn="auto" latinLnBrk="0" hangingPunct="1">
              <a:lnSpc>
                <a:spcPts val="1300"/>
              </a:lnSpc>
              <a:spcBef>
                <a:spcPts val="994"/>
              </a:spcBef>
              <a:spcAft>
                <a:spcPts val="0"/>
              </a:spcAft>
              <a:buClr>
                <a:srgbClr val="AEABAB"/>
              </a:buClr>
              <a:buSzTx/>
              <a:buFontTx/>
              <a:buChar char="•"/>
              <a:tabLst>
                <a:tab pos="240665" algn="l"/>
                <a:tab pos="241300" algn="l"/>
              </a:tabLst>
              <a:defRPr/>
            </a:pPr>
            <a:r>
              <a:rPr kumimoji="0" sz="1200" b="0" i="0" u="none" strike="noStrike" kern="1200" cap="none" spc="0" normalizeH="0" baseline="0" noProof="0">
                <a:ln>
                  <a:noFill/>
                </a:ln>
                <a:solidFill>
                  <a:srgbClr val="767070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Abbiamo fatto crescere </a:t>
            </a:r>
            <a:r>
              <a:rPr kumimoji="0" sz="1200" b="0" i="0" u="none" strike="noStrike" kern="1200" cap="none" spc="-5" normalizeH="0" baseline="0" noProof="0">
                <a:ln>
                  <a:noFill/>
                </a:ln>
                <a:solidFill>
                  <a:srgbClr val="767070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l’Italia </a:t>
            </a:r>
            <a:r>
              <a:rPr kumimoji="0" sz="1200" b="0" i="0" u="none" strike="noStrike" kern="1200" cap="none" spc="0" normalizeH="0" baseline="0" noProof="0">
                <a:ln>
                  <a:noFill/>
                </a:ln>
                <a:solidFill>
                  <a:srgbClr val="767070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 </a:t>
            </a:r>
            <a:r>
              <a:rPr kumimoji="0" sz="1200" b="1" i="0" u="none" strike="noStrike" kern="1200" cap="none" spc="-5" normalizeH="0" baseline="0" noProof="0">
                <a:ln>
                  <a:noFill/>
                </a:ln>
                <a:solidFill>
                  <a:srgbClr val="767070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finanziando oltre </a:t>
            </a:r>
            <a:r>
              <a:rPr kumimoji="0" sz="1200" b="1" i="0" u="none" strike="noStrike" kern="1200" cap="none" spc="0" normalizeH="0" baseline="0" noProof="0">
                <a:ln>
                  <a:noFill/>
                </a:ln>
                <a:solidFill>
                  <a:srgbClr val="767070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34.000 </a:t>
            </a:r>
            <a:r>
              <a:rPr kumimoji="0" sz="1200" b="1" i="0" u="none" strike="noStrike" kern="1200" cap="none" spc="5" normalizeH="0" baseline="0" noProof="0">
                <a:ln>
                  <a:noFill/>
                </a:ln>
                <a:solidFill>
                  <a:srgbClr val="767070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 </a:t>
            </a:r>
            <a:r>
              <a:rPr kumimoji="0" sz="1200" b="1" i="0" u="none" strike="noStrike" kern="1200" cap="none" spc="-5" normalizeH="0" baseline="0" noProof="0">
                <a:ln>
                  <a:noFill/>
                </a:ln>
                <a:solidFill>
                  <a:srgbClr val="767070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infrastrutture </a:t>
            </a:r>
            <a:r>
              <a:rPr kumimoji="0" sz="1200" b="0" i="0" u="none" strike="noStrike" kern="1200" cap="none" spc="0" normalizeH="0" baseline="0" noProof="0">
                <a:ln>
                  <a:noFill/>
                </a:ln>
                <a:solidFill>
                  <a:srgbClr val="767070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e </a:t>
            </a:r>
            <a:r>
              <a:rPr kumimoji="0" sz="1200" b="0" i="0" u="none" strike="noStrike" kern="1200" cap="none" spc="-5" normalizeH="0" baseline="0" noProof="0">
                <a:ln>
                  <a:noFill/>
                </a:ln>
                <a:solidFill>
                  <a:srgbClr val="767070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abbiamo </a:t>
            </a:r>
            <a:r>
              <a:rPr kumimoji="0" sz="1200" b="0" i="0" u="none" strike="noStrike" kern="1200" cap="none" spc="0" normalizeH="0" baseline="0" noProof="0">
                <a:ln>
                  <a:noFill/>
                </a:ln>
                <a:solidFill>
                  <a:srgbClr val="767070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avviato </a:t>
            </a:r>
            <a:r>
              <a:rPr kumimoji="0" sz="1200" b="0" i="0" u="none" strike="noStrike" kern="1200" cap="none" spc="-350" normalizeH="0" baseline="0" noProof="0">
                <a:ln>
                  <a:noFill/>
                </a:ln>
                <a:solidFill>
                  <a:srgbClr val="767070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 </a:t>
            </a:r>
            <a:r>
              <a:rPr kumimoji="0" sz="1200" b="0" i="0" u="none" strike="noStrike" kern="1200" cap="none" spc="0" normalizeH="0" baseline="0" noProof="0">
                <a:ln>
                  <a:noFill/>
                </a:ln>
                <a:solidFill>
                  <a:srgbClr val="767070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un </a:t>
            </a:r>
            <a:r>
              <a:rPr kumimoji="0" sz="1200" b="0" i="0" u="none" strike="noStrike" kern="1200" cap="none" spc="-5" normalizeH="0" baseline="0" noProof="0">
                <a:ln>
                  <a:noFill/>
                </a:ln>
                <a:solidFill>
                  <a:srgbClr val="767070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importante percorso </a:t>
            </a:r>
            <a:r>
              <a:rPr kumimoji="0" sz="1200" b="0" i="0" u="none" strike="noStrike" kern="1200" cap="none" spc="0" normalizeH="0" baseline="0" noProof="0">
                <a:ln>
                  <a:noFill/>
                </a:ln>
                <a:solidFill>
                  <a:srgbClr val="767070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di </a:t>
            </a:r>
            <a:r>
              <a:rPr kumimoji="0" sz="1200" b="0" i="0" u="none" strike="noStrike" kern="1200" cap="none" spc="5" normalizeH="0" baseline="0" noProof="0">
                <a:ln>
                  <a:noFill/>
                </a:ln>
                <a:solidFill>
                  <a:srgbClr val="767070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 </a:t>
            </a:r>
            <a:r>
              <a:rPr kumimoji="0" sz="1200" b="0" i="0" u="none" strike="noStrike" kern="1200" cap="none" spc="-5" normalizeH="0" baseline="0" noProof="0">
                <a:ln>
                  <a:noFill/>
                </a:ln>
                <a:solidFill>
                  <a:srgbClr val="767070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sviluppo </a:t>
            </a:r>
            <a:r>
              <a:rPr kumimoji="0" sz="1200" b="0" i="0" u="none" strike="noStrike" kern="1200" cap="none" spc="0" normalizeH="0" baseline="0" noProof="0">
                <a:ln>
                  <a:noFill/>
                </a:ln>
                <a:solidFill>
                  <a:srgbClr val="767070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nel </a:t>
            </a:r>
            <a:r>
              <a:rPr kumimoji="0" sz="1200" b="0" i="0" u="none" strike="noStrike" kern="1200" cap="none" spc="-5" normalizeH="0" baseline="0" noProof="0">
                <a:ln>
                  <a:noFill/>
                </a:ln>
                <a:solidFill>
                  <a:srgbClr val="767070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finanziamento degli </a:t>
            </a:r>
            <a:r>
              <a:rPr kumimoji="0" sz="1200" b="0" i="0" u="none" strike="noStrike" kern="1200" cap="none" spc="0" normalizeH="0" baseline="0" noProof="0">
                <a:ln>
                  <a:noFill/>
                </a:ln>
                <a:solidFill>
                  <a:srgbClr val="767070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 </a:t>
            </a:r>
            <a:r>
              <a:rPr kumimoji="0" sz="1200" b="0" i="0" u="none" strike="noStrike" kern="1200" cap="none" spc="-5" normalizeH="0" baseline="0" noProof="0">
                <a:ln>
                  <a:noFill/>
                </a:ln>
                <a:solidFill>
                  <a:srgbClr val="767070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investimenti </a:t>
            </a:r>
            <a:r>
              <a:rPr kumimoji="0" sz="1200" b="0" i="0" u="none" strike="noStrike" kern="1200" cap="none" spc="0" normalizeH="0" baseline="0" noProof="0">
                <a:ln>
                  <a:noFill/>
                </a:ln>
                <a:solidFill>
                  <a:srgbClr val="767070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nel </a:t>
            </a:r>
            <a:r>
              <a:rPr kumimoji="0" sz="1200" b="1" i="0" u="none" strike="noStrike" kern="1200" cap="none" spc="-5" normalizeH="0" baseline="0" noProof="0">
                <a:ln>
                  <a:noFill/>
                </a:ln>
                <a:solidFill>
                  <a:srgbClr val="767070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settore dei beni </a:t>
            </a:r>
            <a:r>
              <a:rPr kumimoji="0" sz="1200" b="1" i="0" u="none" strike="noStrike" kern="1200" cap="none" spc="-355" normalizeH="0" baseline="0" noProof="0">
                <a:ln>
                  <a:noFill/>
                </a:ln>
                <a:solidFill>
                  <a:srgbClr val="767070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 </a:t>
            </a:r>
            <a:r>
              <a:rPr kumimoji="0" sz="1200" b="1" i="0" u="none" strike="noStrike" kern="1200" cap="none" spc="0" normalizeH="0" baseline="0" noProof="0">
                <a:ln>
                  <a:noFill/>
                </a:ln>
                <a:solidFill>
                  <a:srgbClr val="767070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e</a:t>
            </a:r>
            <a:r>
              <a:rPr kumimoji="0" sz="1200" b="1" i="0" u="none" strike="noStrike" kern="1200" cap="none" spc="-15" normalizeH="0" baseline="0" noProof="0">
                <a:ln>
                  <a:noFill/>
                </a:ln>
                <a:solidFill>
                  <a:srgbClr val="767070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 </a:t>
            </a:r>
            <a:r>
              <a:rPr kumimoji="0" sz="1200" b="1" i="0" u="none" strike="noStrike" kern="1200" cap="none" spc="-10" normalizeH="0" baseline="0" noProof="0">
                <a:ln>
                  <a:noFill/>
                </a:ln>
                <a:solidFill>
                  <a:srgbClr val="767070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delle</a:t>
            </a:r>
            <a:r>
              <a:rPr kumimoji="0" sz="1200" b="1" i="0" u="none" strike="noStrike" kern="1200" cap="none" spc="10" normalizeH="0" baseline="0" noProof="0">
                <a:ln>
                  <a:noFill/>
                </a:ln>
                <a:solidFill>
                  <a:srgbClr val="767070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 </a:t>
            </a:r>
            <a:r>
              <a:rPr kumimoji="0" sz="1200" b="1" i="0" u="none" strike="noStrike" kern="1200" cap="none" spc="0" normalizeH="0" baseline="0" noProof="0">
                <a:ln>
                  <a:noFill/>
                </a:ln>
                <a:solidFill>
                  <a:srgbClr val="767070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attività</a:t>
            </a:r>
            <a:r>
              <a:rPr kumimoji="0" sz="1200" b="1" i="0" u="none" strike="noStrike" kern="1200" cap="none" spc="-5" normalizeH="0" baseline="0" noProof="0">
                <a:ln>
                  <a:noFill/>
                </a:ln>
                <a:solidFill>
                  <a:srgbClr val="767070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 </a:t>
            </a:r>
            <a:r>
              <a:rPr kumimoji="0" sz="1200" b="1" i="0" u="none" strike="noStrike" kern="1200" cap="none" spc="-10" normalizeH="0" baseline="0" noProof="0">
                <a:ln>
                  <a:noFill/>
                </a:ln>
                <a:solidFill>
                  <a:srgbClr val="767070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culturali</a:t>
            </a:r>
            <a:endParaRPr kumimoji="0" sz="1200" b="0" i="0" u="none" strike="noStrike" kern="1200" cap="none" spc="0" normalizeH="0" baseline="0" noProof="0">
              <a:ln>
                <a:noFill/>
              </a:ln>
              <a:solidFill>
                <a:srgbClr val="5C717C"/>
              </a:solidFill>
              <a:effectLst/>
              <a:uLnTx/>
              <a:uFillTx/>
              <a:latin typeface="Trebuchet MS"/>
              <a:ea typeface="+mn-ea"/>
              <a:cs typeface="Trebuchet MS"/>
            </a:endParaRPr>
          </a:p>
        </p:txBody>
      </p:sp>
      <p:sp>
        <p:nvSpPr>
          <p:cNvPr id="113" name="object 14">
            <a:extLst>
              <a:ext uri="{FF2B5EF4-FFF2-40B4-BE49-F238E27FC236}">
                <a16:creationId xmlns:a16="http://schemas.microsoft.com/office/drawing/2014/main" id="{5A1B1324-37D1-4C29-9F7D-C6E6CF1C47E4}"/>
              </a:ext>
            </a:extLst>
          </p:cNvPr>
          <p:cNvSpPr txBox="1"/>
          <p:nvPr/>
        </p:nvSpPr>
        <p:spPr>
          <a:xfrm>
            <a:off x="4218605" y="1624629"/>
            <a:ext cx="3206115" cy="3726661"/>
          </a:xfrm>
          <a:prstGeom prst="rect">
            <a:avLst/>
          </a:prstGeom>
        </p:spPr>
        <p:txBody>
          <a:bodyPr vert="horz" wrap="square" lIns="0" tIns="33020" rIns="0" bIns="0" rtlCol="0">
            <a:spAutoFit/>
          </a:bodyPr>
          <a:lstStyle/>
          <a:p>
            <a:pPr marL="241300" marR="269875" lvl="0" indent="-228600" algn="l" defTabSz="914400" rtl="0" eaLnBrk="1" fontAlgn="auto" latinLnBrk="0" hangingPunct="1">
              <a:lnSpc>
                <a:spcPts val="1300"/>
              </a:lnSpc>
              <a:spcBef>
                <a:spcPts val="260"/>
              </a:spcBef>
              <a:spcAft>
                <a:spcPts val="0"/>
              </a:spcAft>
              <a:buClr>
                <a:srgbClr val="AEABAB"/>
              </a:buClr>
              <a:buSzTx/>
              <a:buFont typeface="Trebuchet MS"/>
              <a:buChar char="•"/>
              <a:tabLst>
                <a:tab pos="240665" algn="l"/>
                <a:tab pos="241300" algn="l"/>
              </a:tabLst>
              <a:defRPr/>
            </a:pPr>
            <a:r>
              <a:rPr kumimoji="0" lang="it-IT" sz="1200" b="1" i="0" u="none" strike="noStrike" kern="1200" cap="none" spc="-5" normalizeH="0" baseline="0" noProof="0">
                <a:ln>
                  <a:noFill/>
                </a:ln>
                <a:solidFill>
                  <a:srgbClr val="767070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Ente di diritto pubblico con gestione  autonoma, banca pubblica ai sensi del  TUB</a:t>
            </a:r>
          </a:p>
          <a:p>
            <a:pPr marL="241300" marR="269875" lvl="0" indent="-228600" algn="l" defTabSz="914400" rtl="0" eaLnBrk="1" fontAlgn="auto" latinLnBrk="0" hangingPunct="1">
              <a:lnSpc>
                <a:spcPts val="1300"/>
              </a:lnSpc>
              <a:spcBef>
                <a:spcPts val="260"/>
              </a:spcBef>
              <a:spcAft>
                <a:spcPts val="0"/>
              </a:spcAft>
              <a:buClr>
                <a:srgbClr val="AEABAB"/>
              </a:buClr>
              <a:buSzTx/>
              <a:buFont typeface="Trebuchet MS"/>
              <a:buChar char="•"/>
              <a:tabLst>
                <a:tab pos="240665" algn="l"/>
                <a:tab pos="241300" algn="l"/>
              </a:tabLst>
              <a:defRPr/>
            </a:pPr>
            <a:r>
              <a:rPr kumimoji="0" lang="it-IT" sz="1200" b="1" i="0" u="none" strike="noStrike" kern="1200" cap="none" spc="-5" normalizeH="0" baseline="0" noProof="0">
                <a:ln>
                  <a:noFill/>
                </a:ln>
                <a:solidFill>
                  <a:srgbClr val="767070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Istituito nel 1957 trasferendo le  operazioni e le facoltà della “Gestione  speciale del credito sportivo” di BNL</a:t>
            </a:r>
          </a:p>
          <a:p>
            <a:pPr marL="241300" marR="269875" lvl="0" indent="-228600" algn="l" defTabSz="914400" rtl="0" eaLnBrk="1" fontAlgn="auto" latinLnBrk="0" hangingPunct="1">
              <a:lnSpc>
                <a:spcPts val="1300"/>
              </a:lnSpc>
              <a:spcBef>
                <a:spcPts val="260"/>
              </a:spcBef>
              <a:spcAft>
                <a:spcPts val="0"/>
              </a:spcAft>
              <a:buClr>
                <a:srgbClr val="AEABAB"/>
              </a:buClr>
              <a:buSzTx/>
              <a:buFont typeface="Trebuchet MS"/>
              <a:buChar char="•"/>
              <a:tabLst>
                <a:tab pos="240665" algn="l"/>
                <a:tab pos="241300" algn="l"/>
              </a:tabLst>
              <a:defRPr/>
            </a:pPr>
            <a:r>
              <a:rPr kumimoji="0" lang="it-IT" sz="1200" b="1" i="0" u="none" strike="noStrike" kern="1200" cap="none" spc="-5" normalizeH="0" baseline="0" noProof="0">
                <a:ln>
                  <a:noFill/>
                </a:ln>
                <a:solidFill>
                  <a:srgbClr val="767070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Dal 1985 operiamo sia con soggetti  pubblici che privati</a:t>
            </a:r>
          </a:p>
          <a:p>
            <a:pPr marL="241300" marR="269875" lvl="0" indent="-228600" algn="l" defTabSz="914400" rtl="0" eaLnBrk="1" fontAlgn="auto" latinLnBrk="0" hangingPunct="1">
              <a:lnSpc>
                <a:spcPts val="1300"/>
              </a:lnSpc>
              <a:spcBef>
                <a:spcPts val="260"/>
              </a:spcBef>
              <a:spcAft>
                <a:spcPts val="0"/>
              </a:spcAft>
              <a:buClr>
                <a:srgbClr val="AEABAB"/>
              </a:buClr>
              <a:buSzTx/>
              <a:buFont typeface="Trebuchet MS"/>
              <a:buChar char="•"/>
              <a:tabLst>
                <a:tab pos="240665" algn="l"/>
                <a:tab pos="241300" algn="l"/>
              </a:tabLst>
              <a:defRPr/>
            </a:pPr>
            <a:r>
              <a:rPr kumimoji="0" lang="it-IT" sz="1200" b="1" i="0" u="none" strike="noStrike" kern="1200" cap="none" spc="-5" normalizeH="0" baseline="0" noProof="0">
                <a:ln>
                  <a:noFill/>
                </a:ln>
                <a:solidFill>
                  <a:srgbClr val="767070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Nel 2005 ampliata sfera di competenza ai  beni e attività culturali</a:t>
            </a:r>
          </a:p>
          <a:p>
            <a:pPr marL="241300" marR="269875" lvl="0" indent="-228600" algn="l" defTabSz="914400" rtl="0" eaLnBrk="1" fontAlgn="auto" latinLnBrk="0" hangingPunct="1">
              <a:lnSpc>
                <a:spcPts val="1300"/>
              </a:lnSpc>
              <a:spcBef>
                <a:spcPts val="260"/>
              </a:spcBef>
              <a:spcAft>
                <a:spcPts val="0"/>
              </a:spcAft>
              <a:buClr>
                <a:srgbClr val="AEABAB"/>
              </a:buClr>
              <a:buSzTx/>
              <a:buFont typeface="Trebuchet MS"/>
              <a:buChar char="•"/>
              <a:tabLst>
                <a:tab pos="240665" algn="l"/>
                <a:tab pos="241300" algn="l"/>
              </a:tabLst>
              <a:defRPr/>
            </a:pPr>
            <a:r>
              <a:rPr kumimoji="0" lang="it-IT" sz="1200" b="1" i="0" u="none" strike="noStrike" kern="1200" cap="none" spc="-5" normalizeH="0" baseline="0" noProof="0">
                <a:ln>
                  <a:noFill/>
                </a:ln>
                <a:solidFill>
                  <a:srgbClr val="767070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Nel maggio 2020, approvato Fondo per la  Garanzia e la Concessione di Contributi  in Conto Interessi per la salvaguardia e la  valorizzazione del patrimonio culturale</a:t>
            </a:r>
          </a:p>
          <a:p>
            <a:pPr marL="241300" marR="269875" lvl="0" indent="-228600" algn="l" defTabSz="914400" rtl="0" eaLnBrk="1" fontAlgn="auto" latinLnBrk="0" hangingPunct="1">
              <a:lnSpc>
                <a:spcPts val="1300"/>
              </a:lnSpc>
              <a:spcBef>
                <a:spcPts val="260"/>
              </a:spcBef>
              <a:spcAft>
                <a:spcPts val="0"/>
              </a:spcAft>
              <a:buClr>
                <a:srgbClr val="AEABAB"/>
              </a:buClr>
              <a:buSzTx/>
              <a:buFont typeface="Trebuchet MS"/>
              <a:buChar char="•"/>
              <a:tabLst>
                <a:tab pos="240665" algn="l"/>
                <a:tab pos="241300" algn="l"/>
              </a:tabLst>
              <a:defRPr/>
            </a:pPr>
            <a:r>
              <a:rPr kumimoji="0" lang="it-IT" sz="1200" b="1" i="0" u="none" strike="noStrike" kern="1200" cap="none" spc="-5" normalizeH="0" baseline="0" noProof="0">
                <a:ln>
                  <a:noFill/>
                </a:ln>
                <a:solidFill>
                  <a:srgbClr val="767070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L’attuale statuto è stato emanato, dopo  una complessa riforma statutaria gestita  in un lungo periodo di amministrazione  straordinaria</a:t>
            </a:r>
            <a:endParaRPr kumimoji="0" lang="it-IT" sz="1200" b="0" i="0" u="none" strike="noStrike" kern="1200" cap="none" spc="0" normalizeH="0" baseline="0" noProof="0">
              <a:ln>
                <a:noFill/>
              </a:ln>
              <a:solidFill>
                <a:srgbClr val="5C717C"/>
              </a:solidFill>
              <a:effectLst/>
              <a:uLnTx/>
              <a:uFillTx/>
              <a:latin typeface="Trebuchet MS"/>
              <a:ea typeface="+mn-ea"/>
              <a:cs typeface="Trebuchet MS"/>
            </a:endParaRPr>
          </a:p>
        </p:txBody>
      </p:sp>
      <p:sp>
        <p:nvSpPr>
          <p:cNvPr id="114" name="object 15">
            <a:extLst>
              <a:ext uri="{FF2B5EF4-FFF2-40B4-BE49-F238E27FC236}">
                <a16:creationId xmlns:a16="http://schemas.microsoft.com/office/drawing/2014/main" id="{2D886BC3-1DB5-450D-BEB5-69F462D55980}"/>
              </a:ext>
            </a:extLst>
          </p:cNvPr>
          <p:cNvSpPr txBox="1"/>
          <p:nvPr/>
        </p:nvSpPr>
        <p:spPr>
          <a:xfrm>
            <a:off x="7825954" y="1196028"/>
            <a:ext cx="3350092" cy="1060450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 marR="0" lvl="0" indent="0" algn="l" defTabSz="914400" rtl="0" eaLnBrk="1" fontAlgn="auto" latinLnBrk="0" hangingPunct="1">
              <a:lnSpc>
                <a:spcPct val="100000"/>
              </a:lnSpc>
              <a:spcBef>
                <a:spcPts val="10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400" b="1" i="0" u="none" strike="noStrike" kern="1200" cap="none" spc="-10" normalizeH="0" baseline="0" noProof="0">
                <a:ln>
                  <a:noFill/>
                </a:ln>
                <a:solidFill>
                  <a:srgbClr val="767070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Funzione</a:t>
            </a:r>
            <a:r>
              <a:rPr kumimoji="0" sz="1400" b="1" i="0" u="none" strike="noStrike" kern="1200" cap="none" spc="-65" normalizeH="0" baseline="0" noProof="0">
                <a:ln>
                  <a:noFill/>
                </a:ln>
                <a:solidFill>
                  <a:srgbClr val="767070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 </a:t>
            </a:r>
            <a:r>
              <a:rPr kumimoji="0" sz="1400" b="1" i="0" u="none" strike="noStrike" kern="1200" cap="none" spc="0" normalizeH="0" baseline="0" noProof="0">
                <a:ln>
                  <a:noFill/>
                </a:ln>
                <a:solidFill>
                  <a:srgbClr val="767070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Economica</a:t>
            </a:r>
            <a:r>
              <a:rPr kumimoji="0" sz="1400" b="1" i="0" u="none" strike="noStrike" kern="1200" cap="none" spc="-50" normalizeH="0" baseline="0" noProof="0">
                <a:ln>
                  <a:noFill/>
                </a:ln>
                <a:solidFill>
                  <a:srgbClr val="767070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 </a:t>
            </a:r>
            <a:r>
              <a:rPr kumimoji="0" sz="1400" b="1" i="0" u="none" strike="noStrike" kern="1200" cap="none" spc="0" normalizeH="0" baseline="0" noProof="0">
                <a:ln>
                  <a:noFill/>
                </a:ln>
                <a:solidFill>
                  <a:srgbClr val="767070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e</a:t>
            </a:r>
            <a:r>
              <a:rPr kumimoji="0" sz="1400" b="1" i="0" u="none" strike="noStrike" kern="1200" cap="none" spc="-25" normalizeH="0" baseline="0" noProof="0">
                <a:ln>
                  <a:noFill/>
                </a:ln>
                <a:solidFill>
                  <a:srgbClr val="767070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 </a:t>
            </a:r>
            <a:r>
              <a:rPr kumimoji="0" sz="1400" b="1" i="0" u="none" strike="noStrike" kern="1200" cap="none" spc="0" normalizeH="0" baseline="0" noProof="0">
                <a:ln>
                  <a:noFill/>
                </a:ln>
                <a:solidFill>
                  <a:srgbClr val="767070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Sociale</a:t>
            </a:r>
            <a:endParaRPr kumimoji="0" sz="1400" b="0" i="0" u="none" strike="noStrike" kern="1200" cap="none" spc="0" normalizeH="0" baseline="0" noProof="0">
              <a:ln>
                <a:noFill/>
              </a:ln>
              <a:solidFill>
                <a:srgbClr val="5C717C"/>
              </a:solidFill>
              <a:effectLst/>
              <a:uLnTx/>
              <a:uFillTx/>
              <a:latin typeface="Trebuchet MS"/>
              <a:ea typeface="+mn-ea"/>
              <a:cs typeface="Trebuchet MS"/>
            </a:endParaRPr>
          </a:p>
          <a:p>
            <a:pPr marL="241300" marR="5080" lvl="0" indent="-228600" algn="l" defTabSz="914400" rtl="0" eaLnBrk="1" fontAlgn="auto" latinLnBrk="0" hangingPunct="1">
              <a:lnSpc>
                <a:spcPts val="1300"/>
              </a:lnSpc>
              <a:spcBef>
                <a:spcPts val="1290"/>
              </a:spcBef>
              <a:spcAft>
                <a:spcPts val="0"/>
              </a:spcAft>
              <a:buClr>
                <a:srgbClr val="AEABAB"/>
              </a:buClr>
              <a:buSzTx/>
              <a:buFontTx/>
              <a:buChar char="•"/>
              <a:tabLst>
                <a:tab pos="240665" algn="l"/>
                <a:tab pos="241935" algn="l"/>
              </a:tabLst>
              <a:defRPr/>
            </a:pPr>
            <a:r>
              <a:rPr kumimoji="0" sz="1200" b="0" i="0" u="none" strike="noStrike" kern="1200" cap="none" spc="-10" normalizeH="0" baseline="0" noProof="0" err="1">
                <a:ln>
                  <a:noFill/>
                </a:ln>
                <a:solidFill>
                  <a:srgbClr val="767070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Relazione</a:t>
            </a:r>
            <a:r>
              <a:rPr kumimoji="0" sz="1200" b="0" i="0" u="none" strike="noStrike" kern="1200" cap="none" spc="-10" normalizeH="0" baseline="0" noProof="0">
                <a:ln>
                  <a:noFill/>
                </a:ln>
                <a:solidFill>
                  <a:srgbClr val="767070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 </a:t>
            </a:r>
            <a:r>
              <a:rPr kumimoji="0" sz="1200" b="0" i="0" u="none" strike="noStrike" kern="1200" cap="none" spc="0" normalizeH="0" baseline="0" noProof="0">
                <a:ln>
                  <a:noFill/>
                </a:ln>
                <a:solidFill>
                  <a:srgbClr val="767070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tra </a:t>
            </a:r>
            <a:r>
              <a:rPr kumimoji="0" sz="1200" b="0" i="0" u="none" strike="noStrike" kern="1200" cap="none" spc="-5" normalizeH="0" baseline="0" noProof="0">
                <a:ln>
                  <a:noFill/>
                </a:ln>
                <a:solidFill>
                  <a:srgbClr val="767070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sport, cultura, intrattenimento </a:t>
            </a:r>
            <a:r>
              <a:rPr kumimoji="0" sz="1200" b="0" i="0" u="none" strike="noStrike" kern="1200" cap="none" spc="0" normalizeH="0" baseline="0" noProof="0">
                <a:ln>
                  <a:noFill/>
                </a:ln>
                <a:solidFill>
                  <a:srgbClr val="767070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e </a:t>
            </a:r>
            <a:r>
              <a:rPr kumimoji="0" sz="1200" b="0" i="0" u="none" strike="noStrike" kern="1200" cap="none" spc="-350" normalizeH="0" baseline="0" noProof="0">
                <a:ln>
                  <a:noFill/>
                </a:ln>
                <a:solidFill>
                  <a:srgbClr val="767070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 </a:t>
            </a:r>
            <a:r>
              <a:rPr kumimoji="0" sz="1200" b="0" i="0" u="none" strike="noStrike" kern="1200" cap="none" spc="-5" normalizeH="0" baseline="0" noProof="0">
                <a:ln>
                  <a:noFill/>
                </a:ln>
                <a:solidFill>
                  <a:srgbClr val="767070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benessere </a:t>
            </a:r>
            <a:r>
              <a:rPr kumimoji="0" sz="1200" b="0" i="0" u="none" strike="noStrike" kern="1200" cap="none" spc="0" normalizeH="0" baseline="0" noProof="0">
                <a:ln>
                  <a:noFill/>
                </a:ln>
                <a:solidFill>
                  <a:srgbClr val="767070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che </a:t>
            </a:r>
            <a:r>
              <a:rPr kumimoji="0" sz="1200" b="0" i="0" u="none" strike="noStrike" kern="1200" cap="none" spc="-5" normalizeH="0" baseline="0" noProof="0">
                <a:ln>
                  <a:noFill/>
                </a:ln>
                <a:solidFill>
                  <a:srgbClr val="767070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rappresenta </a:t>
            </a:r>
            <a:r>
              <a:rPr kumimoji="0" sz="1200" b="0" i="0" u="none" strike="noStrike" kern="1200" cap="none" spc="0" normalizeH="0" baseline="0" noProof="0">
                <a:ln>
                  <a:noFill/>
                </a:ln>
                <a:solidFill>
                  <a:srgbClr val="767070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un </a:t>
            </a:r>
            <a:r>
              <a:rPr kumimoji="0" sz="1200" b="1" i="0" u="none" strike="noStrike" kern="1200" cap="none" spc="-5" normalizeH="0" baseline="0" noProof="0">
                <a:ln>
                  <a:noFill/>
                </a:ln>
                <a:solidFill>
                  <a:srgbClr val="767070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moltiplicatore </a:t>
            </a:r>
            <a:r>
              <a:rPr kumimoji="0" sz="1200" b="1" i="0" u="none" strike="noStrike" kern="1200" cap="none" spc="0" normalizeH="0" baseline="0" noProof="0">
                <a:ln>
                  <a:noFill/>
                </a:ln>
                <a:solidFill>
                  <a:srgbClr val="767070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 </a:t>
            </a:r>
            <a:r>
              <a:rPr kumimoji="0" sz="1200" b="1" i="0" u="none" strike="noStrike" kern="1200" cap="none" spc="-10" normalizeH="0" baseline="0" noProof="0">
                <a:ln>
                  <a:noFill/>
                </a:ln>
                <a:solidFill>
                  <a:srgbClr val="767070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delle </a:t>
            </a:r>
            <a:r>
              <a:rPr kumimoji="0" sz="1200" b="1" i="0" u="none" strike="noStrike" kern="1200" cap="none" spc="-5" normalizeH="0" baseline="0" noProof="0">
                <a:ln>
                  <a:noFill/>
                </a:ln>
                <a:solidFill>
                  <a:srgbClr val="767070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opportunità </a:t>
            </a:r>
            <a:r>
              <a:rPr kumimoji="0" sz="1200" b="0" i="0" u="none" strike="noStrike" kern="1200" cap="none" spc="0" normalizeH="0" baseline="0" noProof="0">
                <a:ln>
                  <a:noFill/>
                </a:ln>
                <a:solidFill>
                  <a:srgbClr val="767070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e il fattore ottimizzante, </a:t>
            </a:r>
            <a:r>
              <a:rPr kumimoji="0" sz="1200" b="0" i="0" u="none" strike="noStrike" kern="1200" cap="none" spc="5" normalizeH="0" baseline="0" noProof="0">
                <a:ln>
                  <a:noFill/>
                </a:ln>
                <a:solidFill>
                  <a:srgbClr val="767070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 </a:t>
            </a:r>
            <a:r>
              <a:rPr kumimoji="0" sz="1200" b="0" i="0" u="none" strike="noStrike" kern="1200" cap="none" spc="-5" normalizeH="0" baseline="0" noProof="0">
                <a:ln>
                  <a:noFill/>
                </a:ln>
                <a:solidFill>
                  <a:srgbClr val="767070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partendo</a:t>
            </a:r>
            <a:r>
              <a:rPr kumimoji="0" sz="1200" b="0" i="0" u="none" strike="noStrike" kern="1200" cap="none" spc="-40" normalizeH="0" baseline="0" noProof="0">
                <a:ln>
                  <a:noFill/>
                </a:ln>
                <a:solidFill>
                  <a:srgbClr val="767070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 </a:t>
            </a:r>
            <a:r>
              <a:rPr kumimoji="0" sz="1200" b="0" i="0" u="none" strike="noStrike" kern="1200" cap="none" spc="0" normalizeH="0" baseline="0" noProof="0">
                <a:ln>
                  <a:noFill/>
                </a:ln>
                <a:solidFill>
                  <a:srgbClr val="767070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da</a:t>
            </a:r>
            <a:r>
              <a:rPr kumimoji="0" sz="1200" b="0" i="0" u="none" strike="noStrike" kern="1200" cap="none" spc="-10" normalizeH="0" baseline="0" noProof="0">
                <a:ln>
                  <a:noFill/>
                </a:ln>
                <a:solidFill>
                  <a:srgbClr val="767070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 </a:t>
            </a:r>
            <a:r>
              <a:rPr kumimoji="0" sz="1200" b="0" i="0" u="none" strike="noStrike" kern="1200" cap="none" spc="0" normalizeH="0" baseline="0" noProof="0">
                <a:ln>
                  <a:noFill/>
                </a:ln>
                <a:solidFill>
                  <a:srgbClr val="767070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3</a:t>
            </a:r>
            <a:r>
              <a:rPr kumimoji="0" sz="1200" b="0" i="0" u="none" strike="noStrike" kern="1200" cap="none" spc="350" normalizeH="0" baseline="0" noProof="0">
                <a:ln>
                  <a:noFill/>
                </a:ln>
                <a:solidFill>
                  <a:srgbClr val="767070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 </a:t>
            </a:r>
            <a:r>
              <a:rPr kumimoji="0" sz="1200" b="0" i="0" u="none" strike="noStrike" kern="1200" cap="none" spc="-5" normalizeH="0" baseline="0" noProof="0">
                <a:ln>
                  <a:noFill/>
                </a:ln>
                <a:solidFill>
                  <a:srgbClr val="767070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presupposti:</a:t>
            </a:r>
            <a:endParaRPr kumimoji="0" sz="1200" b="0" i="0" u="none" strike="noStrike" kern="1200" cap="none" spc="0" normalizeH="0" baseline="0" noProof="0">
              <a:ln>
                <a:noFill/>
              </a:ln>
              <a:solidFill>
                <a:srgbClr val="5C717C"/>
              </a:solidFill>
              <a:effectLst/>
              <a:uLnTx/>
              <a:uFillTx/>
              <a:latin typeface="Trebuchet MS"/>
              <a:ea typeface="+mn-ea"/>
              <a:cs typeface="Trebuchet MS"/>
            </a:endParaRPr>
          </a:p>
        </p:txBody>
      </p:sp>
      <p:sp>
        <p:nvSpPr>
          <p:cNvPr id="115" name="object 16">
            <a:extLst>
              <a:ext uri="{FF2B5EF4-FFF2-40B4-BE49-F238E27FC236}">
                <a16:creationId xmlns:a16="http://schemas.microsoft.com/office/drawing/2014/main" id="{4F73FAB4-CB86-43D0-A59B-273307BC31EE}"/>
              </a:ext>
            </a:extLst>
          </p:cNvPr>
          <p:cNvSpPr txBox="1"/>
          <p:nvPr/>
        </p:nvSpPr>
        <p:spPr>
          <a:xfrm>
            <a:off x="8128882" y="2286000"/>
            <a:ext cx="3129079" cy="1154162"/>
          </a:xfrm>
          <a:prstGeom prst="rect">
            <a:avLst/>
          </a:prstGeom>
        </p:spPr>
        <p:txBody>
          <a:bodyPr vert="horz" wrap="square" lIns="0" tIns="33020" rIns="0" bIns="0" rtlCol="0">
            <a:spAutoFit/>
          </a:bodyPr>
          <a:lstStyle/>
          <a:p>
            <a:pPr marL="241300" marR="515620" lvl="0" indent="-228600" algn="l" defTabSz="914400" rtl="0" eaLnBrk="1" fontAlgn="auto" latinLnBrk="0" hangingPunct="1">
              <a:lnSpc>
                <a:spcPts val="1300"/>
              </a:lnSpc>
              <a:spcBef>
                <a:spcPts val="260"/>
              </a:spcBef>
              <a:spcAft>
                <a:spcPts val="0"/>
              </a:spcAft>
              <a:buClrTx/>
              <a:buSzTx/>
              <a:buFont typeface="Wingdings"/>
              <a:buChar char=""/>
              <a:tabLst>
                <a:tab pos="240665" algn="l"/>
                <a:tab pos="241300" algn="l"/>
              </a:tabLst>
              <a:defRPr/>
            </a:pPr>
            <a:r>
              <a:rPr kumimoji="0" sz="1200" b="1" i="0" u="none" strike="noStrike" kern="1200" cap="none" spc="-5" normalizeH="0" baseline="0" noProof="0">
                <a:ln>
                  <a:noFill/>
                </a:ln>
                <a:solidFill>
                  <a:srgbClr val="767070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Sostenibilità sociale, ambientale </a:t>
            </a:r>
            <a:r>
              <a:rPr kumimoji="0" sz="1200" b="1" i="0" u="none" strike="noStrike" kern="1200" cap="none" spc="0" normalizeH="0" baseline="0" noProof="0">
                <a:ln>
                  <a:noFill/>
                </a:ln>
                <a:solidFill>
                  <a:srgbClr val="767070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e </a:t>
            </a:r>
            <a:r>
              <a:rPr kumimoji="0" sz="1200" b="1" i="0" u="none" strike="noStrike" kern="1200" cap="none" spc="-350" normalizeH="0" baseline="0" noProof="0">
                <a:ln>
                  <a:noFill/>
                </a:ln>
                <a:solidFill>
                  <a:srgbClr val="767070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 </a:t>
            </a:r>
            <a:r>
              <a:rPr kumimoji="0" sz="1200" b="1" i="0" u="none" strike="noStrike" kern="1200" cap="none" spc="-5" normalizeH="0" baseline="0" noProof="0">
                <a:ln>
                  <a:noFill/>
                </a:ln>
                <a:solidFill>
                  <a:srgbClr val="767070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finanziaria</a:t>
            </a:r>
            <a:endParaRPr kumimoji="0" sz="1200" b="0" i="0" u="none" strike="noStrike" kern="1200" cap="none" spc="0" normalizeH="0" baseline="0" noProof="0">
              <a:ln>
                <a:noFill/>
              </a:ln>
              <a:solidFill>
                <a:srgbClr val="5C717C"/>
              </a:solidFill>
              <a:effectLst/>
              <a:uLnTx/>
              <a:uFillTx/>
              <a:latin typeface="Trebuchet MS"/>
              <a:ea typeface="+mn-ea"/>
              <a:cs typeface="Trebuchet MS"/>
            </a:endParaRPr>
          </a:p>
          <a:p>
            <a:pPr marL="2413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320"/>
              </a:spcBef>
              <a:spcAft>
                <a:spcPts val="0"/>
              </a:spcAft>
              <a:buClrTx/>
              <a:buSzTx/>
              <a:buFont typeface="Wingdings"/>
              <a:buChar char=""/>
              <a:tabLst>
                <a:tab pos="240665" algn="l"/>
                <a:tab pos="241300" algn="l"/>
              </a:tabLst>
              <a:defRPr/>
            </a:pPr>
            <a:r>
              <a:rPr kumimoji="0" sz="1200" b="1" i="0" u="none" strike="noStrike" kern="1200" cap="none" spc="-10" normalizeH="0" baseline="0" noProof="0">
                <a:ln>
                  <a:noFill/>
                </a:ln>
                <a:solidFill>
                  <a:srgbClr val="767070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Collaborazione </a:t>
            </a:r>
            <a:r>
              <a:rPr kumimoji="0" sz="1200" b="1" i="0" u="none" strike="noStrike" kern="1200" cap="none" spc="-5" normalizeH="0" baseline="0" noProof="0">
                <a:ln>
                  <a:noFill/>
                </a:ln>
                <a:solidFill>
                  <a:srgbClr val="767070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pubblico-privato</a:t>
            </a:r>
            <a:endParaRPr kumimoji="0" sz="1200" b="0" i="0" u="none" strike="noStrike" kern="1200" cap="none" spc="0" normalizeH="0" baseline="0" noProof="0">
              <a:ln>
                <a:noFill/>
              </a:ln>
              <a:solidFill>
                <a:srgbClr val="5C717C"/>
              </a:solidFill>
              <a:effectLst/>
              <a:uLnTx/>
              <a:uFillTx/>
              <a:latin typeface="Trebuchet MS"/>
              <a:ea typeface="+mn-ea"/>
              <a:cs typeface="Trebuchet MS"/>
            </a:endParaRPr>
          </a:p>
          <a:p>
            <a:pPr marL="241300" marR="5080" lvl="0" indent="-228600" algn="l" defTabSz="914400" rtl="0" eaLnBrk="1" fontAlgn="auto" latinLnBrk="0" hangingPunct="1">
              <a:lnSpc>
                <a:spcPts val="1300"/>
              </a:lnSpc>
              <a:spcBef>
                <a:spcPts val="520"/>
              </a:spcBef>
              <a:spcAft>
                <a:spcPts val="0"/>
              </a:spcAft>
              <a:buClrTx/>
              <a:buSzTx/>
              <a:buFont typeface="Wingdings"/>
              <a:buChar char=""/>
              <a:tabLst>
                <a:tab pos="240665" algn="l"/>
                <a:tab pos="241300" algn="l"/>
              </a:tabLst>
              <a:defRPr/>
            </a:pPr>
            <a:r>
              <a:rPr kumimoji="0" sz="1200" b="1" i="0" u="none" strike="noStrike" kern="1200" cap="none" spc="-5" normalizeH="0" baseline="0" noProof="0">
                <a:ln>
                  <a:noFill/>
                </a:ln>
                <a:solidFill>
                  <a:srgbClr val="767070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Salto</a:t>
            </a:r>
            <a:r>
              <a:rPr kumimoji="0" sz="1200" b="1" i="0" u="none" strike="noStrike" kern="1200" cap="none" spc="-15" normalizeH="0" baseline="0" noProof="0">
                <a:ln>
                  <a:noFill/>
                </a:ln>
                <a:solidFill>
                  <a:srgbClr val="767070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 </a:t>
            </a:r>
            <a:r>
              <a:rPr kumimoji="0" sz="1200" b="1" i="0" u="none" strike="noStrike" kern="1200" cap="none" spc="-5" normalizeH="0" baseline="0" noProof="0">
                <a:ln>
                  <a:noFill/>
                </a:ln>
                <a:solidFill>
                  <a:srgbClr val="767070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di</a:t>
            </a:r>
            <a:r>
              <a:rPr kumimoji="0" sz="1200" b="1" i="0" u="none" strike="noStrike" kern="1200" cap="none" spc="5" normalizeH="0" baseline="0" noProof="0">
                <a:ln>
                  <a:noFill/>
                </a:ln>
                <a:solidFill>
                  <a:srgbClr val="767070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 </a:t>
            </a:r>
            <a:r>
              <a:rPr kumimoji="0" sz="1200" b="1" i="0" u="none" strike="noStrike" kern="1200" cap="none" spc="-5" normalizeH="0" baseline="0" noProof="0">
                <a:ln>
                  <a:noFill/>
                </a:ln>
                <a:solidFill>
                  <a:srgbClr val="767070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qualità</a:t>
            </a:r>
            <a:r>
              <a:rPr kumimoji="0" sz="1200" b="1" i="0" u="none" strike="noStrike" kern="1200" cap="none" spc="0" normalizeH="0" baseline="0" noProof="0">
                <a:ln>
                  <a:noFill/>
                </a:ln>
                <a:solidFill>
                  <a:srgbClr val="767070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 </a:t>
            </a:r>
            <a:r>
              <a:rPr kumimoji="0" sz="1200" b="1" i="0" u="none" strike="noStrike" kern="1200" cap="none" spc="-10" normalizeH="0" baseline="0" noProof="0">
                <a:ln>
                  <a:noFill/>
                </a:ln>
                <a:solidFill>
                  <a:srgbClr val="767070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culturale</a:t>
            </a:r>
            <a:r>
              <a:rPr kumimoji="0" sz="1200" b="1" i="0" u="none" strike="noStrike" kern="1200" cap="none" spc="-5" normalizeH="0" baseline="0" noProof="0">
                <a:ln>
                  <a:noFill/>
                </a:ln>
                <a:solidFill>
                  <a:srgbClr val="767070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 </a:t>
            </a:r>
            <a:r>
              <a:rPr kumimoji="0" sz="1200" b="1" i="0" u="none" strike="noStrike" kern="1200" cap="none" spc="0" normalizeH="0" baseline="0" noProof="0">
                <a:ln>
                  <a:noFill/>
                </a:ln>
                <a:solidFill>
                  <a:srgbClr val="767070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-</a:t>
            </a:r>
            <a:r>
              <a:rPr kumimoji="0" sz="1200" b="1" i="0" u="none" strike="noStrike" kern="1200" cap="none" spc="-10" normalizeH="0" baseline="0" noProof="0">
                <a:ln>
                  <a:noFill/>
                </a:ln>
                <a:solidFill>
                  <a:srgbClr val="767070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 </a:t>
            </a:r>
            <a:r>
              <a:rPr kumimoji="0" sz="1200" b="1" i="0" u="none" strike="noStrike" kern="1200" cap="none" spc="-5" normalizeH="0" baseline="0" noProof="0">
                <a:ln>
                  <a:noFill/>
                </a:ln>
                <a:solidFill>
                  <a:srgbClr val="767070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educazione </a:t>
            </a:r>
            <a:r>
              <a:rPr kumimoji="0" sz="1200" b="1" i="0" u="none" strike="noStrike" kern="1200" cap="none" spc="0" normalizeH="0" baseline="0" noProof="0">
                <a:ln>
                  <a:noFill/>
                </a:ln>
                <a:solidFill>
                  <a:srgbClr val="767070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 </a:t>
            </a:r>
            <a:r>
              <a:rPr kumimoji="0" sz="1200" b="1" i="0" u="none" strike="noStrike" kern="1200" cap="none" spc="-5" normalizeH="0" baseline="0" noProof="0">
                <a:ln>
                  <a:noFill/>
                </a:ln>
                <a:solidFill>
                  <a:srgbClr val="767070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sportiva</a:t>
            </a:r>
            <a:r>
              <a:rPr kumimoji="0" sz="1200" b="1" i="0" u="none" strike="noStrike" kern="1200" cap="none" spc="-25" normalizeH="0" baseline="0" noProof="0">
                <a:ln>
                  <a:noFill/>
                </a:ln>
                <a:solidFill>
                  <a:srgbClr val="767070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 </a:t>
            </a:r>
            <a:r>
              <a:rPr kumimoji="0" sz="1200" b="1" i="0" u="none" strike="noStrike" kern="1200" cap="none" spc="0" normalizeH="0" baseline="0" noProof="0">
                <a:ln>
                  <a:noFill/>
                </a:ln>
                <a:solidFill>
                  <a:srgbClr val="767070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e </a:t>
            </a:r>
            <a:r>
              <a:rPr kumimoji="0" sz="1200" b="1" i="0" u="none" strike="noStrike" kern="1200" cap="none" spc="-5" normalizeH="0" baseline="0" noProof="0">
                <a:ln>
                  <a:noFill/>
                </a:ln>
                <a:solidFill>
                  <a:srgbClr val="767070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di gestione</a:t>
            </a:r>
            <a:r>
              <a:rPr kumimoji="0" sz="1200" b="1" i="0" u="none" strike="noStrike" kern="1200" cap="none" spc="-15" normalizeH="0" baseline="0" noProof="0">
                <a:ln>
                  <a:noFill/>
                </a:ln>
                <a:solidFill>
                  <a:srgbClr val="767070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 </a:t>
            </a:r>
            <a:r>
              <a:rPr kumimoji="0" sz="1200" b="1" i="0" u="none" strike="noStrike" kern="1200" cap="none" spc="-10" normalizeH="0" baseline="0" noProof="0">
                <a:ln>
                  <a:noFill/>
                </a:ln>
                <a:solidFill>
                  <a:srgbClr val="767070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delle</a:t>
            </a:r>
            <a:r>
              <a:rPr kumimoji="0" sz="1200" b="1" i="0" u="none" strike="noStrike" kern="1200" cap="none" spc="10" normalizeH="0" baseline="0" noProof="0">
                <a:ln>
                  <a:noFill/>
                </a:ln>
                <a:solidFill>
                  <a:srgbClr val="767070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 </a:t>
            </a:r>
            <a:r>
              <a:rPr kumimoji="0" sz="1200" b="1" i="0" u="none" strike="noStrike" kern="1200" cap="none" spc="-5" normalizeH="0" baseline="0" noProof="0">
                <a:ln>
                  <a:noFill/>
                </a:ln>
                <a:solidFill>
                  <a:srgbClr val="767070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infrastrutture</a:t>
            </a:r>
            <a:endParaRPr kumimoji="0" sz="1200" b="0" i="0" u="none" strike="noStrike" kern="1200" cap="none" spc="0" normalizeH="0" baseline="0" noProof="0">
              <a:ln>
                <a:noFill/>
              </a:ln>
              <a:solidFill>
                <a:srgbClr val="5C717C"/>
              </a:solidFill>
              <a:effectLst/>
              <a:uLnTx/>
              <a:uFillTx/>
              <a:latin typeface="Trebuchet MS"/>
              <a:ea typeface="+mn-ea"/>
              <a:cs typeface="Trebuchet MS"/>
            </a:endParaRPr>
          </a:p>
        </p:txBody>
      </p:sp>
      <p:sp>
        <p:nvSpPr>
          <p:cNvPr id="116" name="object 17">
            <a:extLst>
              <a:ext uri="{FF2B5EF4-FFF2-40B4-BE49-F238E27FC236}">
                <a16:creationId xmlns:a16="http://schemas.microsoft.com/office/drawing/2014/main" id="{4F1D1DB7-9809-4259-91A6-D22E16536447}"/>
              </a:ext>
            </a:extLst>
          </p:cNvPr>
          <p:cNvSpPr txBox="1"/>
          <p:nvPr/>
        </p:nvSpPr>
        <p:spPr>
          <a:xfrm>
            <a:off x="7825954" y="3525055"/>
            <a:ext cx="3319168" cy="866904"/>
          </a:xfrm>
          <a:prstGeom prst="rect">
            <a:avLst/>
          </a:prstGeom>
        </p:spPr>
        <p:txBody>
          <a:bodyPr vert="horz" wrap="square" lIns="0" tIns="33020" rIns="0" bIns="0" rtlCol="0">
            <a:spAutoFit/>
          </a:bodyPr>
          <a:lstStyle/>
          <a:p>
            <a:pPr marL="241300" marR="5080" lvl="0" indent="-228600" algn="l" defTabSz="914400" rtl="0" eaLnBrk="1" fontAlgn="auto" latinLnBrk="0" hangingPunct="1">
              <a:lnSpc>
                <a:spcPts val="1300"/>
              </a:lnSpc>
              <a:spcBef>
                <a:spcPts val="260"/>
              </a:spcBef>
              <a:spcAft>
                <a:spcPts val="0"/>
              </a:spcAft>
              <a:buClr>
                <a:srgbClr val="AEABAB"/>
              </a:buClr>
              <a:buSzTx/>
              <a:buFontTx/>
              <a:buChar char="•"/>
              <a:tabLst>
                <a:tab pos="240665" algn="l"/>
                <a:tab pos="241300" algn="l"/>
              </a:tabLst>
              <a:defRPr/>
            </a:pPr>
            <a:r>
              <a:rPr kumimoji="0" sz="1200" b="0" i="0" u="none" strike="noStrike" kern="1200" cap="none" spc="0" normalizeH="0" baseline="0" noProof="0">
                <a:ln>
                  <a:noFill/>
                </a:ln>
                <a:solidFill>
                  <a:srgbClr val="767070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Il </a:t>
            </a:r>
            <a:r>
              <a:rPr kumimoji="0" sz="1200" b="0" i="0" u="none" strike="noStrike" kern="1200" cap="none" spc="-10" normalizeH="0" baseline="0" noProof="0">
                <a:ln>
                  <a:noFill/>
                </a:ln>
                <a:solidFill>
                  <a:srgbClr val="767070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Piano </a:t>
            </a:r>
            <a:r>
              <a:rPr kumimoji="0" sz="1200" b="0" i="0" u="none" strike="noStrike" kern="1200" cap="none" spc="-5" normalizeH="0" baseline="0" noProof="0">
                <a:ln>
                  <a:noFill/>
                </a:ln>
                <a:solidFill>
                  <a:srgbClr val="767070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Industriale </a:t>
            </a:r>
            <a:r>
              <a:rPr kumimoji="0" sz="1200" b="0" i="0" u="none" strike="noStrike" kern="1200" cap="none" spc="-10" normalizeH="0" baseline="0" noProof="0">
                <a:ln>
                  <a:noFill/>
                </a:ln>
                <a:solidFill>
                  <a:srgbClr val="767070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2020-2023 </a:t>
            </a:r>
            <a:r>
              <a:rPr kumimoji="0" sz="1200" b="0" i="0" u="none" strike="noStrike" kern="1200" cap="none" spc="0" normalizeH="0" baseline="0" noProof="0">
                <a:ln>
                  <a:noFill/>
                </a:ln>
                <a:solidFill>
                  <a:srgbClr val="767070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ha </a:t>
            </a:r>
            <a:r>
              <a:rPr kumimoji="0" sz="1200" b="0" i="0" u="none" strike="noStrike" kern="1200" cap="none" spc="-5" normalizeH="0" baseline="0" noProof="0">
                <a:ln>
                  <a:noFill/>
                </a:ln>
                <a:solidFill>
                  <a:srgbClr val="767070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delineato </a:t>
            </a:r>
            <a:r>
              <a:rPr kumimoji="0" sz="1200" b="0" i="0" u="none" strike="noStrike" kern="1200" cap="none" spc="0" normalizeH="0" baseline="0" noProof="0">
                <a:ln>
                  <a:noFill/>
                </a:ln>
                <a:solidFill>
                  <a:srgbClr val="767070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 </a:t>
            </a:r>
            <a:r>
              <a:rPr kumimoji="0" sz="1200" b="1" i="0" u="none" strike="noStrike" kern="1200" cap="none" spc="-5" normalizeH="0" baseline="0" noProof="0">
                <a:ln>
                  <a:noFill/>
                </a:ln>
                <a:solidFill>
                  <a:srgbClr val="767070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fisionomia cliente centrica </a:t>
            </a:r>
            <a:r>
              <a:rPr kumimoji="0" sz="1200" b="0" i="0" u="none" strike="noStrike" kern="1200" cap="none" spc="0" normalizeH="0" baseline="0" noProof="0">
                <a:ln>
                  <a:noFill/>
                </a:ln>
                <a:solidFill>
                  <a:srgbClr val="767070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per </a:t>
            </a:r>
            <a:r>
              <a:rPr kumimoji="0" sz="1200" b="1" i="0" u="none" strike="noStrike" kern="1200" cap="none" spc="-5" normalizeH="0" baseline="0" noProof="0">
                <a:ln>
                  <a:noFill/>
                </a:ln>
                <a:solidFill>
                  <a:srgbClr val="767070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trasformarsi </a:t>
            </a:r>
            <a:r>
              <a:rPr kumimoji="0" sz="1200" b="1" i="0" u="none" strike="noStrike" kern="1200" cap="none" spc="0" normalizeH="0" baseline="0" noProof="0">
                <a:ln>
                  <a:noFill/>
                </a:ln>
                <a:solidFill>
                  <a:srgbClr val="767070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 </a:t>
            </a:r>
            <a:r>
              <a:rPr kumimoji="0" sz="1200" b="1" i="0" u="none" strike="noStrike" kern="1200" cap="none" spc="-5" normalizeH="0" baseline="0" noProof="0">
                <a:ln>
                  <a:noFill/>
                </a:ln>
                <a:solidFill>
                  <a:srgbClr val="767070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da</a:t>
            </a:r>
            <a:r>
              <a:rPr kumimoji="0" sz="1200" b="1" i="0" u="none" strike="noStrike" kern="1200" cap="none" spc="0" normalizeH="0" baseline="0" noProof="0">
                <a:ln>
                  <a:noFill/>
                </a:ln>
                <a:solidFill>
                  <a:srgbClr val="767070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 </a:t>
            </a:r>
            <a:r>
              <a:rPr kumimoji="0" sz="1200" b="1" i="0" u="none" strike="noStrike" kern="1200" cap="none" spc="-5" normalizeH="0" baseline="0" noProof="0">
                <a:ln>
                  <a:noFill/>
                </a:ln>
                <a:solidFill>
                  <a:srgbClr val="767070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semplice</a:t>
            </a:r>
            <a:r>
              <a:rPr kumimoji="0" sz="1200" b="1" i="0" u="none" strike="noStrike" kern="1200" cap="none" spc="0" normalizeH="0" baseline="0" noProof="0">
                <a:ln>
                  <a:noFill/>
                </a:ln>
                <a:solidFill>
                  <a:srgbClr val="767070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 </a:t>
            </a:r>
            <a:r>
              <a:rPr kumimoji="0" sz="1200" b="1" i="0" u="none" strike="noStrike" kern="1200" cap="none" spc="-5" normalizeH="0" baseline="0" noProof="0">
                <a:ln>
                  <a:noFill/>
                </a:ln>
                <a:solidFill>
                  <a:srgbClr val="767070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banca</a:t>
            </a:r>
            <a:r>
              <a:rPr kumimoji="0" sz="1200" b="1" i="0" u="none" strike="noStrike" kern="1200" cap="none" spc="15" normalizeH="0" baseline="0" noProof="0">
                <a:ln>
                  <a:noFill/>
                </a:ln>
                <a:solidFill>
                  <a:srgbClr val="767070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 </a:t>
            </a:r>
            <a:r>
              <a:rPr kumimoji="0" sz="1200" b="1" i="0" u="none" strike="noStrike" kern="1200" cap="none" spc="0" normalizeH="0" baseline="0" noProof="0">
                <a:ln>
                  <a:noFill/>
                </a:ln>
                <a:solidFill>
                  <a:srgbClr val="767070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a</a:t>
            </a:r>
            <a:r>
              <a:rPr kumimoji="0" sz="1200" b="1" i="0" u="none" strike="noStrike" kern="1200" cap="none" spc="-10" normalizeH="0" baseline="0" noProof="0">
                <a:ln>
                  <a:noFill/>
                </a:ln>
                <a:solidFill>
                  <a:srgbClr val="767070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 </a:t>
            </a:r>
            <a:r>
              <a:rPr kumimoji="0" sz="1200" b="1" i="0" u="none" strike="noStrike" kern="1200" cap="none" spc="-5" normalizeH="0" baseline="0" noProof="0">
                <a:ln>
                  <a:noFill/>
                </a:ln>
                <a:solidFill>
                  <a:srgbClr val="767070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piattaforma</a:t>
            </a:r>
            <a:r>
              <a:rPr kumimoji="0" sz="1200" b="1" i="0" u="none" strike="noStrike" kern="1200" cap="none" spc="-20" normalizeH="0" baseline="0" noProof="0">
                <a:ln>
                  <a:noFill/>
                </a:ln>
                <a:solidFill>
                  <a:srgbClr val="767070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 </a:t>
            </a:r>
            <a:r>
              <a:rPr kumimoji="0" sz="1200" b="1" i="0" u="none" strike="noStrike" kern="1200" cap="none" spc="-5" normalizeH="0" baseline="0" noProof="0">
                <a:ln>
                  <a:noFill/>
                </a:ln>
                <a:solidFill>
                  <a:srgbClr val="767070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di</a:t>
            </a:r>
            <a:r>
              <a:rPr kumimoji="0" sz="1200" b="1" i="0" u="none" strike="noStrike" kern="1200" cap="none" spc="10" normalizeH="0" baseline="0" noProof="0">
                <a:ln>
                  <a:noFill/>
                </a:ln>
                <a:solidFill>
                  <a:srgbClr val="767070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 </a:t>
            </a:r>
            <a:r>
              <a:rPr kumimoji="0" sz="1200" b="1" i="0" u="none" strike="noStrike" kern="1200" cap="none" spc="0" normalizeH="0" baseline="0" noProof="0">
                <a:ln>
                  <a:noFill/>
                </a:ln>
                <a:solidFill>
                  <a:srgbClr val="767070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servizi</a:t>
            </a:r>
            <a:r>
              <a:rPr kumimoji="0" sz="1200" b="1" i="0" u="none" strike="noStrike" kern="1200" cap="none" spc="10" normalizeH="0" baseline="0" noProof="0">
                <a:ln>
                  <a:noFill/>
                </a:ln>
                <a:solidFill>
                  <a:srgbClr val="767070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 </a:t>
            </a:r>
            <a:r>
              <a:rPr kumimoji="0" sz="1200" b="1" i="0" u="none" strike="noStrike" kern="1200" cap="none" spc="0" normalizeH="0" baseline="0" noProof="0">
                <a:ln>
                  <a:noFill/>
                </a:ln>
                <a:solidFill>
                  <a:srgbClr val="767070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e </a:t>
            </a:r>
            <a:r>
              <a:rPr kumimoji="0" sz="1200" b="1" i="0" u="none" strike="noStrike" kern="1200" cap="none" spc="-350" normalizeH="0" baseline="0" noProof="0">
                <a:ln>
                  <a:noFill/>
                </a:ln>
                <a:solidFill>
                  <a:srgbClr val="767070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 </a:t>
            </a:r>
            <a:r>
              <a:rPr kumimoji="0" sz="1200" b="1" i="0" u="none" strike="noStrike" kern="1200" cap="none" spc="-5" normalizeH="0" baseline="0" noProof="0">
                <a:ln>
                  <a:noFill/>
                </a:ln>
                <a:solidFill>
                  <a:srgbClr val="767070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soluzioni con</a:t>
            </a:r>
            <a:r>
              <a:rPr kumimoji="0" sz="1200" b="1" i="0" u="none" strike="noStrike" kern="1200" cap="none" spc="-10" normalizeH="0" baseline="0" noProof="0">
                <a:ln>
                  <a:noFill/>
                </a:ln>
                <a:solidFill>
                  <a:srgbClr val="767070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 </a:t>
            </a:r>
            <a:r>
              <a:rPr kumimoji="0" sz="1200" b="1" i="0" u="none" strike="noStrike" kern="1200" cap="none" spc="-5" normalizeH="0" baseline="0" noProof="0">
                <a:ln>
                  <a:noFill/>
                </a:ln>
                <a:solidFill>
                  <a:srgbClr val="767070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funzione</a:t>
            </a:r>
            <a:r>
              <a:rPr kumimoji="0" sz="1200" b="1" i="0" u="none" strike="noStrike" kern="1200" cap="none" spc="-15" normalizeH="0" baseline="0" noProof="0">
                <a:ln>
                  <a:noFill/>
                </a:ln>
                <a:solidFill>
                  <a:srgbClr val="767070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 </a:t>
            </a:r>
            <a:r>
              <a:rPr kumimoji="0" sz="1200" b="1" i="0" u="none" strike="noStrike" kern="1200" cap="none" spc="-5" normalizeH="0" baseline="0" noProof="0">
                <a:ln>
                  <a:noFill/>
                </a:ln>
                <a:solidFill>
                  <a:srgbClr val="767070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economica</a:t>
            </a:r>
            <a:r>
              <a:rPr kumimoji="0" sz="1200" b="1" i="0" u="none" strike="noStrike" kern="1200" cap="none" spc="5" normalizeH="0" baseline="0" noProof="0">
                <a:ln>
                  <a:noFill/>
                </a:ln>
                <a:solidFill>
                  <a:srgbClr val="767070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 </a:t>
            </a:r>
            <a:r>
              <a:rPr kumimoji="0" sz="1200" b="1" i="0" u="none" strike="noStrike" kern="1200" cap="none" spc="0" normalizeH="0" baseline="0" noProof="0">
                <a:ln>
                  <a:noFill/>
                </a:ln>
                <a:solidFill>
                  <a:srgbClr val="767070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e</a:t>
            </a:r>
            <a:r>
              <a:rPr kumimoji="0" sz="1200" b="1" i="0" u="none" strike="noStrike" kern="1200" cap="none" spc="-15" normalizeH="0" baseline="0" noProof="0">
                <a:ln>
                  <a:noFill/>
                </a:ln>
                <a:solidFill>
                  <a:srgbClr val="767070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 </a:t>
            </a:r>
            <a:r>
              <a:rPr kumimoji="0" sz="1200" b="1" i="0" u="none" strike="noStrike" kern="1200" cap="none" spc="-5" normalizeH="0" baseline="0" noProof="0">
                <a:ln>
                  <a:noFill/>
                </a:ln>
                <a:solidFill>
                  <a:srgbClr val="767070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sociale:</a:t>
            </a:r>
            <a:endParaRPr kumimoji="0" sz="1200" b="0" i="0" u="none" strike="noStrike" kern="1200" cap="none" spc="0" normalizeH="0" baseline="0" noProof="0">
              <a:ln>
                <a:noFill/>
              </a:ln>
              <a:solidFill>
                <a:srgbClr val="5C717C"/>
              </a:solidFill>
              <a:effectLst/>
              <a:uLnTx/>
              <a:uFillTx/>
              <a:latin typeface="Trebuchet MS"/>
              <a:ea typeface="+mn-ea"/>
              <a:cs typeface="Trebuchet MS"/>
            </a:endParaRPr>
          </a:p>
        </p:txBody>
      </p:sp>
      <p:sp>
        <p:nvSpPr>
          <p:cNvPr id="117" name="object 18">
            <a:extLst>
              <a:ext uri="{FF2B5EF4-FFF2-40B4-BE49-F238E27FC236}">
                <a16:creationId xmlns:a16="http://schemas.microsoft.com/office/drawing/2014/main" id="{851EA09E-2B4E-4BDA-AC34-B3B87823D715}"/>
              </a:ext>
            </a:extLst>
          </p:cNvPr>
          <p:cNvSpPr txBox="1"/>
          <p:nvPr/>
        </p:nvSpPr>
        <p:spPr>
          <a:xfrm>
            <a:off x="8046967" y="4433006"/>
            <a:ext cx="3129079" cy="1259840"/>
          </a:xfrm>
          <a:prstGeom prst="rect">
            <a:avLst/>
          </a:prstGeom>
        </p:spPr>
        <p:txBody>
          <a:bodyPr vert="horz" wrap="square" lIns="0" tIns="33019" rIns="0" bIns="0" rtlCol="0">
            <a:spAutoFit/>
          </a:bodyPr>
          <a:lstStyle/>
          <a:p>
            <a:pPr marL="241300" marR="48895" lvl="0" indent="-228600" algn="l" defTabSz="914400" rtl="0" eaLnBrk="1" fontAlgn="auto" latinLnBrk="0" hangingPunct="1">
              <a:lnSpc>
                <a:spcPts val="1300"/>
              </a:lnSpc>
              <a:spcBef>
                <a:spcPts val="259"/>
              </a:spcBef>
              <a:spcAft>
                <a:spcPts val="0"/>
              </a:spcAft>
              <a:buClrTx/>
              <a:buSzTx/>
              <a:buFont typeface="Wingdings"/>
              <a:buChar char=""/>
              <a:tabLst>
                <a:tab pos="240665" algn="l"/>
                <a:tab pos="241300" algn="l"/>
              </a:tabLst>
              <a:defRPr/>
            </a:pPr>
            <a:r>
              <a:rPr kumimoji="0" sz="1200" b="0" i="0" u="none" strike="noStrike" kern="1200" cap="none" spc="-5" normalizeH="0" baseline="0" noProof="0">
                <a:ln>
                  <a:noFill/>
                </a:ln>
                <a:solidFill>
                  <a:srgbClr val="767070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Diversificazione </a:t>
            </a:r>
            <a:r>
              <a:rPr kumimoji="0" sz="1200" b="0" i="0" u="none" strike="noStrike" kern="1200" cap="none" spc="0" normalizeH="0" baseline="0" noProof="0">
                <a:ln>
                  <a:noFill/>
                </a:ln>
                <a:solidFill>
                  <a:srgbClr val="767070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del </a:t>
            </a:r>
            <a:r>
              <a:rPr kumimoji="0" sz="1200" b="0" i="0" u="none" strike="noStrike" kern="1200" cap="none" spc="-5" normalizeH="0" baseline="0" noProof="0">
                <a:ln>
                  <a:noFill/>
                </a:ln>
                <a:solidFill>
                  <a:srgbClr val="767070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portafoglio </a:t>
            </a:r>
            <a:r>
              <a:rPr kumimoji="0" sz="1200" b="0" i="0" u="none" strike="noStrike" kern="1200" cap="none" spc="0" normalizeH="0" baseline="0" noProof="0">
                <a:ln>
                  <a:noFill/>
                </a:ln>
                <a:solidFill>
                  <a:srgbClr val="767070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prodotti, </a:t>
            </a:r>
            <a:r>
              <a:rPr kumimoji="0" sz="1200" b="0" i="0" u="none" strike="noStrike" kern="1200" cap="none" spc="5" normalizeH="0" baseline="0" noProof="0">
                <a:ln>
                  <a:noFill/>
                </a:ln>
                <a:solidFill>
                  <a:srgbClr val="767070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 </a:t>
            </a:r>
            <a:r>
              <a:rPr kumimoji="0" sz="1200" b="0" i="0" u="none" strike="noStrike" kern="1200" cap="none" spc="-5" normalizeH="0" baseline="0" noProof="0">
                <a:ln>
                  <a:noFill/>
                </a:ln>
                <a:solidFill>
                  <a:srgbClr val="767070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potenziamento </a:t>
            </a:r>
            <a:r>
              <a:rPr kumimoji="0" sz="1200" b="0" i="0" u="none" strike="noStrike" kern="1200" cap="none" spc="0" normalizeH="0" baseline="0" noProof="0">
                <a:ln>
                  <a:noFill/>
                </a:ln>
                <a:solidFill>
                  <a:srgbClr val="767070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e </a:t>
            </a:r>
            <a:r>
              <a:rPr kumimoji="0" sz="1200" b="0" i="0" u="none" strike="noStrike" kern="1200" cap="none" spc="-5" normalizeH="0" baseline="0" noProof="0">
                <a:ln>
                  <a:noFill/>
                </a:ln>
                <a:solidFill>
                  <a:srgbClr val="767070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riorganizzazione della </a:t>
            </a:r>
            <a:r>
              <a:rPr kumimoji="0" sz="1200" b="0" i="0" u="none" strike="noStrike" kern="1200" cap="none" spc="0" normalizeH="0" baseline="0" noProof="0">
                <a:ln>
                  <a:noFill/>
                </a:ln>
                <a:solidFill>
                  <a:srgbClr val="767070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rete </a:t>
            </a:r>
            <a:r>
              <a:rPr kumimoji="0" sz="1200" b="0" i="0" u="none" strike="noStrike" kern="1200" cap="none" spc="-350" normalizeH="0" baseline="0" noProof="0">
                <a:ln>
                  <a:noFill/>
                </a:ln>
                <a:solidFill>
                  <a:srgbClr val="767070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 </a:t>
            </a:r>
            <a:r>
              <a:rPr kumimoji="0" sz="1200" b="0" i="0" u="none" strike="noStrike" kern="1200" cap="none" spc="0" normalizeH="0" baseline="0" noProof="0">
                <a:ln>
                  <a:noFill/>
                </a:ln>
                <a:solidFill>
                  <a:srgbClr val="767070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commerciale,</a:t>
            </a:r>
            <a:endParaRPr kumimoji="0" sz="1200" b="0" i="0" u="none" strike="noStrike" kern="1200" cap="none" spc="0" normalizeH="0" baseline="0" noProof="0">
              <a:ln>
                <a:noFill/>
              </a:ln>
              <a:solidFill>
                <a:srgbClr val="5C717C"/>
              </a:solidFill>
              <a:effectLst/>
              <a:uLnTx/>
              <a:uFillTx/>
              <a:latin typeface="Trebuchet MS"/>
              <a:ea typeface="+mn-ea"/>
              <a:cs typeface="Trebuchet MS"/>
            </a:endParaRPr>
          </a:p>
          <a:p>
            <a:pPr marL="241300" marR="5080" lvl="0" indent="-228600" algn="l" defTabSz="914400" rtl="0" eaLnBrk="1" fontAlgn="auto" latinLnBrk="0" hangingPunct="1">
              <a:lnSpc>
                <a:spcPts val="1300"/>
              </a:lnSpc>
              <a:spcBef>
                <a:spcPts val="490"/>
              </a:spcBef>
              <a:spcAft>
                <a:spcPts val="0"/>
              </a:spcAft>
              <a:buClrTx/>
              <a:buSzTx/>
              <a:buFont typeface="Wingdings"/>
              <a:buChar char=""/>
              <a:tabLst>
                <a:tab pos="240665" algn="l"/>
                <a:tab pos="241300" algn="l"/>
              </a:tabLst>
              <a:defRPr/>
            </a:pPr>
            <a:r>
              <a:rPr kumimoji="0" sz="1200" b="0" i="0" u="none" strike="noStrike" kern="1200" cap="none" spc="-5" normalizeH="0" baseline="0" noProof="0">
                <a:ln>
                  <a:noFill/>
                </a:ln>
                <a:solidFill>
                  <a:srgbClr val="767070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Sviluppo </a:t>
            </a:r>
            <a:r>
              <a:rPr kumimoji="0" sz="1200" b="0" i="0" u="none" strike="noStrike" kern="1200" cap="none" spc="0" normalizeH="0" baseline="0" noProof="0">
                <a:ln>
                  <a:noFill/>
                </a:ln>
                <a:solidFill>
                  <a:srgbClr val="767070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nel </a:t>
            </a:r>
            <a:r>
              <a:rPr kumimoji="0" sz="1200" b="0" i="0" u="none" strike="noStrike" kern="1200" cap="none" spc="-5" normalizeH="0" baseline="0" noProof="0">
                <a:ln>
                  <a:noFill/>
                </a:ln>
                <a:solidFill>
                  <a:srgbClr val="767070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settore della </a:t>
            </a:r>
            <a:r>
              <a:rPr kumimoji="0" sz="1200" b="0" i="0" u="none" strike="noStrike" kern="1200" cap="none" spc="0" normalizeH="0" baseline="0" noProof="0">
                <a:ln>
                  <a:noFill/>
                </a:ln>
                <a:solidFill>
                  <a:srgbClr val="767070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cultura, </a:t>
            </a:r>
            <a:r>
              <a:rPr kumimoji="0" sz="1200" b="0" i="0" u="none" strike="noStrike" kern="1200" cap="none" spc="5" normalizeH="0" baseline="0" noProof="0">
                <a:ln>
                  <a:noFill/>
                </a:ln>
                <a:solidFill>
                  <a:srgbClr val="767070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 </a:t>
            </a:r>
            <a:r>
              <a:rPr kumimoji="0" sz="1200" b="0" i="0" u="none" strike="noStrike" kern="1200" cap="none" spc="-5" normalizeH="0" baseline="0" noProof="0">
                <a:ln>
                  <a:noFill/>
                </a:ln>
                <a:solidFill>
                  <a:srgbClr val="767070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investimenti sul </a:t>
            </a:r>
            <a:r>
              <a:rPr kumimoji="0" sz="1200" b="0" i="0" u="none" strike="noStrike" kern="1200" cap="none" spc="0" normalizeH="0" baseline="0" noProof="0">
                <a:ln>
                  <a:noFill/>
                </a:ln>
                <a:solidFill>
                  <a:srgbClr val="767070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capitale umano, </a:t>
            </a:r>
            <a:r>
              <a:rPr kumimoji="0" sz="1200" b="0" i="0" u="none" strike="noStrike" kern="1200" cap="none" spc="5" normalizeH="0" baseline="0" noProof="0">
                <a:ln>
                  <a:noFill/>
                </a:ln>
                <a:solidFill>
                  <a:srgbClr val="767070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 </a:t>
            </a:r>
            <a:r>
              <a:rPr kumimoji="0" sz="1200" b="0" i="0" u="none" strike="noStrike" kern="1200" cap="none" spc="-5" normalizeH="0" baseline="0" noProof="0">
                <a:ln>
                  <a:noFill/>
                </a:ln>
                <a:solidFill>
                  <a:srgbClr val="767070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semplificazione </a:t>
            </a:r>
            <a:r>
              <a:rPr kumimoji="0" sz="1200" b="0" i="0" u="none" strike="noStrike" kern="1200" cap="none" spc="0" normalizeH="0" baseline="0" noProof="0">
                <a:ln>
                  <a:noFill/>
                </a:ln>
                <a:solidFill>
                  <a:srgbClr val="767070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dei </a:t>
            </a:r>
            <a:r>
              <a:rPr kumimoji="0" sz="1200" b="0" i="0" u="none" strike="noStrike" kern="1200" cap="none" spc="-5" normalizeH="0" baseline="0" noProof="0">
                <a:ln>
                  <a:noFill/>
                </a:ln>
                <a:solidFill>
                  <a:srgbClr val="767070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processi </a:t>
            </a:r>
            <a:r>
              <a:rPr kumimoji="0" sz="1200" b="0" i="0" u="none" strike="noStrike" kern="1200" cap="none" spc="0" normalizeH="0" baseline="0" noProof="0">
                <a:ln>
                  <a:noFill/>
                </a:ln>
                <a:solidFill>
                  <a:srgbClr val="767070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e </a:t>
            </a:r>
            <a:r>
              <a:rPr kumimoji="0" sz="1200" b="0" i="0" u="none" strike="noStrike" kern="1200" cap="none" spc="-5" normalizeH="0" baseline="0" noProof="0">
                <a:ln>
                  <a:noFill/>
                </a:ln>
                <a:solidFill>
                  <a:srgbClr val="767070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aumento della </a:t>
            </a:r>
            <a:r>
              <a:rPr kumimoji="0" sz="1200" b="0" i="0" u="none" strike="noStrike" kern="1200" cap="none" spc="-350" normalizeH="0" baseline="0" noProof="0">
                <a:ln>
                  <a:noFill/>
                </a:ln>
                <a:solidFill>
                  <a:srgbClr val="767070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 </a:t>
            </a:r>
            <a:r>
              <a:rPr kumimoji="0" sz="1200" b="0" i="0" u="none" strike="noStrike" kern="1200" cap="none" spc="-5" normalizeH="0" baseline="0" noProof="0">
                <a:ln>
                  <a:noFill/>
                </a:ln>
                <a:solidFill>
                  <a:srgbClr val="767070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produttività.</a:t>
            </a:r>
            <a:endParaRPr kumimoji="0" sz="1200" b="0" i="0" u="none" strike="noStrike" kern="1200" cap="none" spc="0" normalizeH="0" baseline="0" noProof="0">
              <a:ln>
                <a:noFill/>
              </a:ln>
              <a:solidFill>
                <a:srgbClr val="5C717C"/>
              </a:solidFill>
              <a:effectLst/>
              <a:uLnTx/>
              <a:uFillTx/>
              <a:latin typeface="Trebuchet MS"/>
              <a:ea typeface="+mn-ea"/>
              <a:cs typeface="Trebuchet MS"/>
            </a:endParaRPr>
          </a:p>
        </p:txBody>
      </p:sp>
      <p:sp>
        <p:nvSpPr>
          <p:cNvPr id="118" name="object 19">
            <a:extLst>
              <a:ext uri="{FF2B5EF4-FFF2-40B4-BE49-F238E27FC236}">
                <a16:creationId xmlns:a16="http://schemas.microsoft.com/office/drawing/2014/main" id="{EB2497DB-7D76-49E2-8091-31B8F12483A8}"/>
              </a:ext>
            </a:extLst>
          </p:cNvPr>
          <p:cNvSpPr txBox="1"/>
          <p:nvPr/>
        </p:nvSpPr>
        <p:spPr>
          <a:xfrm>
            <a:off x="8046967" y="5353150"/>
            <a:ext cx="81915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0" lvl="0" indent="0" algn="l" defTabSz="9144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200" b="0" i="0" u="none" strike="noStrike" kern="1200" cap="none" spc="0" normalizeH="0" baseline="0" noProof="0">
                <a:ln>
                  <a:noFill/>
                </a:ln>
                <a:solidFill>
                  <a:srgbClr val="767070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.</a:t>
            </a:r>
            <a:endParaRPr kumimoji="0" sz="1200" b="0" i="0" u="none" strike="noStrike" kern="1200" cap="none" spc="0" normalizeH="0" baseline="0" noProof="0">
              <a:ln>
                <a:noFill/>
              </a:ln>
              <a:solidFill>
                <a:srgbClr val="5C717C"/>
              </a:solidFill>
              <a:effectLst/>
              <a:uLnTx/>
              <a:uFillTx/>
              <a:latin typeface="Trebuchet MS"/>
              <a:ea typeface="+mn-ea"/>
              <a:cs typeface="Trebuchet MS"/>
            </a:endParaRPr>
          </a:p>
        </p:txBody>
      </p:sp>
    </p:spTree>
    <p:extLst>
      <p:ext uri="{BB962C8B-B14F-4D97-AF65-F5344CB8AC3E}">
        <p14:creationId xmlns:p14="http://schemas.microsoft.com/office/powerpoint/2010/main" val="257364069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object 7"/>
          <p:cNvGrpSpPr/>
          <p:nvPr/>
        </p:nvGrpSpPr>
        <p:grpSpPr>
          <a:xfrm>
            <a:off x="755904" y="214884"/>
            <a:ext cx="10598150" cy="623570"/>
            <a:chOff x="755904" y="214884"/>
            <a:chExt cx="10598150" cy="623570"/>
          </a:xfrm>
        </p:grpSpPr>
        <p:sp>
          <p:nvSpPr>
            <p:cNvPr id="8" name="object 8"/>
            <p:cNvSpPr/>
            <p:nvPr/>
          </p:nvSpPr>
          <p:spPr>
            <a:xfrm>
              <a:off x="838200" y="246888"/>
              <a:ext cx="10515600" cy="486409"/>
            </a:xfrm>
            <a:custGeom>
              <a:avLst/>
              <a:gdLst/>
              <a:ahLst/>
              <a:cxnLst/>
              <a:rect l="l" t="t" r="r" b="b"/>
              <a:pathLst>
                <a:path w="10515600" h="486409">
                  <a:moveTo>
                    <a:pt x="10515600" y="0"/>
                  </a:moveTo>
                  <a:lnTo>
                    <a:pt x="0" y="0"/>
                  </a:lnTo>
                  <a:lnTo>
                    <a:pt x="0" y="486155"/>
                  </a:lnTo>
                  <a:lnTo>
                    <a:pt x="10515600" y="486155"/>
                  </a:lnTo>
                  <a:lnTo>
                    <a:pt x="10515600" y="0"/>
                  </a:lnTo>
                  <a:close/>
                </a:path>
              </a:pathLst>
            </a:custGeom>
            <a:solidFill>
              <a:srgbClr val="5C707B"/>
            </a:solid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srgbClr val="5C717C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</a:endParaRPr>
            </a:p>
          </p:txBody>
        </p:sp>
        <p:pic>
          <p:nvPicPr>
            <p:cNvPr id="9" name="object 9"/>
            <p:cNvPicPr/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755904" y="214884"/>
              <a:ext cx="7880603" cy="623315"/>
            </a:xfrm>
            <a:prstGeom prst="rect">
              <a:avLst/>
            </a:prstGeom>
          </p:spPr>
        </p:pic>
      </p:grpSp>
      <p:sp>
        <p:nvSpPr>
          <p:cNvPr id="10" name="object 10"/>
          <p:cNvSpPr txBox="1">
            <a:spLocks noGrp="1"/>
          </p:cNvSpPr>
          <p:nvPr>
            <p:ph type="title"/>
          </p:nvPr>
        </p:nvSpPr>
        <p:spPr>
          <a:xfrm>
            <a:off x="838200" y="246888"/>
            <a:ext cx="10515600" cy="389209"/>
          </a:xfrm>
          <a:prstGeom prst="rect">
            <a:avLst/>
          </a:prstGeom>
        </p:spPr>
        <p:txBody>
          <a:bodyPr vert="horz" wrap="square" lIns="0" tIns="50165" rIns="0" bIns="0" rtlCol="0">
            <a:spAutoFit/>
          </a:bodyPr>
          <a:lstStyle/>
          <a:p>
            <a:pPr marL="91440">
              <a:lnSpc>
                <a:spcPct val="100000"/>
              </a:lnSpc>
              <a:spcBef>
                <a:spcPts val="395"/>
              </a:spcBef>
            </a:pPr>
            <a:r>
              <a:rPr lang="it-IT" spc="-15"/>
              <a:t>…cosa</a:t>
            </a:r>
            <a:r>
              <a:rPr lang="it-IT" spc="-75"/>
              <a:t> </a:t>
            </a:r>
            <a:r>
              <a:rPr lang="it-IT" spc="-15"/>
              <a:t>facciamo</a:t>
            </a:r>
            <a:r>
              <a:rPr lang="it-IT" spc="-65"/>
              <a:t> </a:t>
            </a:r>
            <a:r>
              <a:rPr lang="it-IT" spc="-15"/>
              <a:t>oggi</a:t>
            </a:r>
            <a:endParaRPr spc="-5">
              <a:latin typeface="Trebuchet MS" panose="020B0603020202020204" pitchFamily="34" charset="0"/>
            </a:endParaRPr>
          </a:p>
        </p:txBody>
      </p:sp>
      <p:sp>
        <p:nvSpPr>
          <p:cNvPr id="20" name="object 20"/>
          <p:cNvSpPr txBox="1">
            <a:spLocks noGrp="1"/>
          </p:cNvSpPr>
          <p:nvPr>
            <p:ph type="sldNum" sz="quarter" idx="7"/>
          </p:nvPr>
        </p:nvSpPr>
        <p:spPr>
          <a:xfrm>
            <a:off x="10035540" y="6352335"/>
            <a:ext cx="377190" cy="234038"/>
          </a:xfrm>
          <a:prstGeom prst="rect">
            <a:avLst/>
          </a:prstGeom>
        </p:spPr>
        <p:txBody>
          <a:bodyPr vert="horz" wrap="square" lIns="0" tIns="48895" rIns="0" bIns="0" rtlCol="0">
            <a:spAutoFit/>
          </a:bodyPr>
          <a:lstStyle/>
          <a:p>
            <a:pPr marL="116839" marR="0" lvl="0" indent="0" algn="r" defTabSz="914400" rtl="0" eaLnBrk="1" fontAlgn="auto" latinLnBrk="0" hangingPunct="1">
              <a:lnSpc>
                <a:spcPct val="100000"/>
              </a:lnSpc>
              <a:spcBef>
                <a:spcPts val="38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1D60167-4931-47E6-BA6A-407CBD079E47}" type="slidenum">
              <a:rPr kumimoji="0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</a:rPr>
              <a:pPr marL="116839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385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ebuchet MS" panose="020B0603020202020204" pitchFamily="34" charset="0"/>
              <a:ea typeface="+mn-ea"/>
            </a:endParaRPr>
          </a:p>
        </p:txBody>
      </p:sp>
      <p:sp>
        <p:nvSpPr>
          <p:cNvPr id="65" name="object 21">
            <a:extLst>
              <a:ext uri="{FF2B5EF4-FFF2-40B4-BE49-F238E27FC236}">
                <a16:creationId xmlns:a16="http://schemas.microsoft.com/office/drawing/2014/main" id="{9C24D6BC-632D-4241-A2C5-72BFB1F06D4C}"/>
              </a:ext>
            </a:extLst>
          </p:cNvPr>
          <p:cNvSpPr txBox="1">
            <a:spLocks noGrp="1"/>
          </p:cNvSpPr>
          <p:nvPr>
            <p:ph type="ftr" sz="quarter" idx="5"/>
          </p:nvPr>
        </p:nvSpPr>
        <p:spPr>
          <a:xfrm>
            <a:off x="4191000" y="6282089"/>
            <a:ext cx="3809999" cy="372538"/>
          </a:xfrm>
          <a:prstGeom prst="rect">
            <a:avLst/>
          </a:prstGeom>
        </p:spPr>
        <p:txBody>
          <a:bodyPr vert="horz" wrap="square" lIns="0" tIns="3175" rIns="0" bIns="0" rtlCol="0">
            <a:spAutoFit/>
          </a:bodyPr>
          <a:lstStyle/>
          <a:p>
            <a:pPr marL="12700" marR="0" lvl="0" indent="0" algn="ctr" defTabSz="914400" rtl="0" eaLnBrk="1" fontAlgn="auto" latinLnBrk="0" hangingPunct="1">
              <a:lnSpc>
                <a:spcPct val="100000"/>
              </a:lnSpc>
              <a:spcBef>
                <a:spcPts val="2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/>
                <a:ea typeface="+mn-ea"/>
              </a:rPr>
              <a:t>Istituto per il Credito Sportivo Banca Sociale per lo Sport e la Cultura</a:t>
            </a:r>
            <a:endParaRPr kumimoji="0" sz="1200" b="0" i="0" u="none" strike="noStrike" kern="1200" cap="none" spc="-15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ebuchet MS"/>
              <a:ea typeface="+mn-ea"/>
            </a:endParaRPr>
          </a:p>
        </p:txBody>
      </p:sp>
      <p:grpSp>
        <p:nvGrpSpPr>
          <p:cNvPr id="62" name="object 4">
            <a:extLst>
              <a:ext uri="{FF2B5EF4-FFF2-40B4-BE49-F238E27FC236}">
                <a16:creationId xmlns:a16="http://schemas.microsoft.com/office/drawing/2014/main" id="{88C70956-A7A9-40E8-81B5-347E619C5762}"/>
              </a:ext>
            </a:extLst>
          </p:cNvPr>
          <p:cNvGrpSpPr/>
          <p:nvPr/>
        </p:nvGrpSpPr>
        <p:grpSpPr>
          <a:xfrm>
            <a:off x="855324" y="1097406"/>
            <a:ext cx="2908935" cy="4587240"/>
            <a:chOff x="868933" y="1387094"/>
            <a:chExt cx="2908935" cy="4587240"/>
          </a:xfrm>
        </p:grpSpPr>
        <p:sp>
          <p:nvSpPr>
            <p:cNvPr id="63" name="object 5">
              <a:extLst>
                <a:ext uri="{FF2B5EF4-FFF2-40B4-BE49-F238E27FC236}">
                  <a16:creationId xmlns:a16="http://schemas.microsoft.com/office/drawing/2014/main" id="{52E9E442-5661-4C20-9F5F-1D0F5DB5D402}"/>
                </a:ext>
              </a:extLst>
            </p:cNvPr>
            <p:cNvSpPr/>
            <p:nvPr/>
          </p:nvSpPr>
          <p:spPr>
            <a:xfrm>
              <a:off x="881634" y="1399793"/>
              <a:ext cx="2883535" cy="4561840"/>
            </a:xfrm>
            <a:custGeom>
              <a:avLst/>
              <a:gdLst/>
              <a:ahLst/>
              <a:cxnLst/>
              <a:rect l="l" t="t" r="r" b="b"/>
              <a:pathLst>
                <a:path w="2883535" h="4561840">
                  <a:moveTo>
                    <a:pt x="2883408" y="480834"/>
                  </a:moveTo>
                  <a:lnTo>
                    <a:pt x="0" y="480834"/>
                  </a:lnTo>
                  <a:lnTo>
                    <a:pt x="0" y="4561344"/>
                  </a:lnTo>
                  <a:lnTo>
                    <a:pt x="2883408" y="4561344"/>
                  </a:lnTo>
                  <a:lnTo>
                    <a:pt x="2883408" y="480834"/>
                  </a:lnTo>
                  <a:close/>
                </a:path>
                <a:path w="2883535" h="4561840">
                  <a:moveTo>
                    <a:pt x="2883408" y="0"/>
                  </a:moveTo>
                  <a:lnTo>
                    <a:pt x="0" y="0"/>
                  </a:lnTo>
                  <a:lnTo>
                    <a:pt x="0" y="112014"/>
                  </a:lnTo>
                  <a:lnTo>
                    <a:pt x="2883408" y="112014"/>
                  </a:lnTo>
                  <a:lnTo>
                    <a:pt x="2883408" y="0"/>
                  </a:lnTo>
                  <a:close/>
                </a:path>
              </a:pathLst>
            </a:custGeom>
            <a:solidFill>
              <a:srgbClr val="8A979E"/>
            </a:solid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srgbClr val="5C717C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sp>
          <p:nvSpPr>
            <p:cNvPr id="64" name="object 6">
              <a:extLst>
                <a:ext uri="{FF2B5EF4-FFF2-40B4-BE49-F238E27FC236}">
                  <a16:creationId xmlns:a16="http://schemas.microsoft.com/office/drawing/2014/main" id="{7520635A-38C9-4FFF-A712-BC5A76774A2A}"/>
                </a:ext>
              </a:extLst>
            </p:cNvPr>
            <p:cNvSpPr/>
            <p:nvPr/>
          </p:nvSpPr>
          <p:spPr>
            <a:xfrm>
              <a:off x="881633" y="1399794"/>
              <a:ext cx="2883535" cy="4561840"/>
            </a:xfrm>
            <a:custGeom>
              <a:avLst/>
              <a:gdLst/>
              <a:ahLst/>
              <a:cxnLst/>
              <a:rect l="l" t="t" r="r" b="b"/>
              <a:pathLst>
                <a:path w="2883535" h="4561840">
                  <a:moveTo>
                    <a:pt x="0" y="0"/>
                  </a:moveTo>
                  <a:lnTo>
                    <a:pt x="2883407" y="0"/>
                  </a:lnTo>
                  <a:lnTo>
                    <a:pt x="2883407" y="4561332"/>
                  </a:lnTo>
                  <a:lnTo>
                    <a:pt x="0" y="4561332"/>
                  </a:lnTo>
                  <a:lnTo>
                    <a:pt x="0" y="0"/>
                  </a:lnTo>
                  <a:close/>
                </a:path>
              </a:pathLst>
            </a:custGeom>
            <a:ln w="25400">
              <a:solidFill>
                <a:srgbClr val="5E717A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srgbClr val="5C717C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</p:grpSp>
      <p:sp>
        <p:nvSpPr>
          <p:cNvPr id="66" name="object 7">
            <a:extLst>
              <a:ext uri="{FF2B5EF4-FFF2-40B4-BE49-F238E27FC236}">
                <a16:creationId xmlns:a16="http://schemas.microsoft.com/office/drawing/2014/main" id="{7D470204-769D-4288-AFD8-F9926861D1A3}"/>
              </a:ext>
            </a:extLst>
          </p:cNvPr>
          <p:cNvSpPr txBox="1"/>
          <p:nvPr/>
        </p:nvSpPr>
        <p:spPr>
          <a:xfrm>
            <a:off x="880724" y="1807740"/>
            <a:ext cx="2858135" cy="368300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417195" marR="213995" lvl="0" indent="-287020" algn="l" defTabSz="9144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>
                <a:srgbClr val="D9D9D9"/>
              </a:buClr>
              <a:buSzPct val="125000"/>
              <a:buFont typeface="Arial MT"/>
              <a:buChar char="•"/>
              <a:tabLst>
                <a:tab pos="417195" algn="l"/>
                <a:tab pos="417830" algn="l"/>
              </a:tabLst>
              <a:defRPr/>
            </a:pPr>
            <a:r>
              <a:rPr kumimoji="0" sz="12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Sviluppo</a:t>
            </a:r>
            <a:r>
              <a:rPr kumimoji="0" sz="1200" b="1" i="0" u="none" strike="noStrike" kern="1200" cap="none" spc="5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 </a:t>
            </a:r>
            <a:r>
              <a:rPr kumimoji="0" sz="1200" b="1" i="0" u="none" strike="noStrike" kern="1200" cap="none" spc="-1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dello</a:t>
            </a:r>
            <a:r>
              <a:rPr kumimoji="0" sz="1200" b="1" i="0" u="none" strike="noStrike" kern="1200" cap="none" spc="1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 </a:t>
            </a:r>
            <a:r>
              <a:rPr kumimoji="0" sz="1200" b="1" i="0" u="none" strike="noStrike" kern="1200" cap="none" spc="-5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Sport</a:t>
            </a:r>
            <a:r>
              <a:rPr kumimoji="0" sz="1200" b="1" i="0" u="none" strike="noStrike" kern="1200" cap="none" spc="-1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 </a:t>
            </a:r>
            <a:r>
              <a:rPr kumimoji="0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con</a:t>
            </a:r>
            <a:r>
              <a:rPr kumimoji="0" sz="1200" b="0" i="0" u="none" strike="noStrike" kern="1200" cap="none" spc="-15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 </a:t>
            </a:r>
            <a:r>
              <a:rPr kumimoji="0" sz="1200" b="0" i="0" u="none" strike="noStrike" kern="1200" cap="none" spc="5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il </a:t>
            </a:r>
            <a:r>
              <a:rPr kumimoji="0" sz="1200" b="0" i="0" u="none" strike="noStrike" kern="1200" cap="none" spc="1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 </a:t>
            </a:r>
            <a:r>
              <a:rPr kumimoji="0" sz="1200" b="0" i="0" u="none" strike="noStrike" kern="1200" cap="none" spc="-5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finanziamento dell’impiantistica </a:t>
            </a:r>
            <a:r>
              <a:rPr kumimoji="0" sz="1200" b="0" i="0" u="none" strike="noStrike" kern="1200" cap="none" spc="-35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 </a:t>
            </a:r>
            <a:r>
              <a:rPr kumimoji="0" sz="1200" b="0" i="0" u="none" strike="noStrike" kern="1200" cap="none" spc="-5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sportiva</a:t>
            </a:r>
            <a:endParaRPr kumimoji="0" sz="1200" b="0" i="0" u="none" strike="noStrike" kern="1200" cap="none" spc="0" normalizeH="0" baseline="0" noProof="0">
              <a:ln>
                <a:noFill/>
              </a:ln>
              <a:solidFill>
                <a:srgbClr val="5C717C"/>
              </a:solidFill>
              <a:effectLst/>
              <a:uLnTx/>
              <a:uFillTx/>
              <a:latin typeface="Trebuchet MS"/>
              <a:ea typeface="+mn-ea"/>
              <a:cs typeface="Trebuchet M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45"/>
              </a:spcBef>
              <a:spcAft>
                <a:spcPts val="0"/>
              </a:spcAft>
              <a:buClrTx/>
              <a:buSzTx/>
              <a:buFontTx/>
              <a:buChar char="•"/>
              <a:tabLst/>
              <a:defRPr/>
            </a:pPr>
            <a:endParaRPr kumimoji="0" sz="1200" b="0" i="0" u="none" strike="noStrike" kern="1200" cap="none" spc="0" normalizeH="0" baseline="0" noProof="0">
              <a:ln>
                <a:noFill/>
              </a:ln>
              <a:solidFill>
                <a:srgbClr val="5C717C"/>
              </a:solidFill>
              <a:effectLst/>
              <a:uLnTx/>
              <a:uFillTx/>
              <a:latin typeface="Trebuchet MS"/>
              <a:ea typeface="+mn-ea"/>
              <a:cs typeface="Trebuchet MS"/>
            </a:endParaRPr>
          </a:p>
          <a:p>
            <a:pPr marL="417195" marR="442595" lvl="0" indent="-28702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ct val="129166"/>
              <a:buFont typeface="Arial MT"/>
              <a:buChar char="•"/>
              <a:tabLst>
                <a:tab pos="417195" algn="l"/>
                <a:tab pos="417830" algn="l"/>
              </a:tabLst>
              <a:defRPr/>
            </a:pPr>
            <a:r>
              <a:rPr kumimoji="0" sz="12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Sviluppo </a:t>
            </a:r>
            <a:r>
              <a:rPr kumimoji="0" sz="1200" b="1" i="0" u="none" strike="noStrike" kern="1200" cap="none" spc="-1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della Cultura </a:t>
            </a:r>
            <a:r>
              <a:rPr kumimoji="0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con </a:t>
            </a:r>
            <a:r>
              <a:rPr kumimoji="0" sz="1200" b="0" i="0" u="none" strike="noStrike" kern="1200" cap="none" spc="5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il </a:t>
            </a:r>
            <a:r>
              <a:rPr kumimoji="0" sz="1200" b="0" i="0" u="none" strike="noStrike" kern="1200" cap="none" spc="-35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 </a:t>
            </a:r>
            <a:r>
              <a:rPr kumimoji="0" sz="1200" b="0" i="0" u="none" strike="noStrike" kern="1200" cap="none" spc="-5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finanziamento della tutela </a:t>
            </a:r>
            <a:r>
              <a:rPr kumimoji="0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e </a:t>
            </a:r>
            <a:r>
              <a:rPr kumimoji="0" sz="1200" b="0" i="0" u="none" strike="noStrike" kern="1200" cap="none" spc="5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 </a:t>
            </a:r>
            <a:r>
              <a:rPr kumimoji="0" sz="1200" b="0" i="0" u="none" strike="noStrike" kern="1200" cap="none" spc="-5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della valorizzazione </a:t>
            </a:r>
            <a:r>
              <a:rPr kumimoji="0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del </a:t>
            </a:r>
            <a:r>
              <a:rPr kumimoji="0" sz="1200" b="0" i="0" u="none" strike="noStrike" kern="1200" cap="none" spc="5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 </a:t>
            </a:r>
            <a:r>
              <a:rPr kumimoji="0" sz="1200" b="0" i="0" u="none" strike="noStrike" kern="1200" cap="none" spc="-5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Patrimonio</a:t>
            </a:r>
            <a:r>
              <a:rPr kumimoji="0" sz="1200" b="0" i="0" u="none" strike="noStrike" kern="1200" cap="none" spc="-4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 </a:t>
            </a:r>
            <a:r>
              <a:rPr kumimoji="0" sz="1200" b="0" i="0" u="none" strike="noStrike" kern="1200" cap="none" spc="-5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culturale</a:t>
            </a:r>
            <a:endParaRPr kumimoji="0" sz="1200" b="0" i="0" u="none" strike="noStrike" kern="1200" cap="none" spc="0" normalizeH="0" baseline="0" noProof="0">
              <a:ln>
                <a:noFill/>
              </a:ln>
              <a:solidFill>
                <a:srgbClr val="5C717C"/>
              </a:solidFill>
              <a:effectLst/>
              <a:uLnTx/>
              <a:uFillTx/>
              <a:latin typeface="Trebuchet MS"/>
              <a:ea typeface="+mn-ea"/>
              <a:cs typeface="Trebuchet M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45"/>
              </a:spcBef>
              <a:spcAft>
                <a:spcPts val="0"/>
              </a:spcAft>
              <a:buClrTx/>
              <a:buSzTx/>
              <a:buFontTx/>
              <a:buChar char="•"/>
              <a:tabLst/>
              <a:defRPr/>
            </a:pPr>
            <a:endParaRPr kumimoji="0" sz="1200" b="0" i="0" u="none" strike="noStrike" kern="1200" cap="none" spc="0" normalizeH="0" baseline="0" noProof="0">
              <a:ln>
                <a:noFill/>
              </a:ln>
              <a:solidFill>
                <a:srgbClr val="5C717C"/>
              </a:solidFill>
              <a:effectLst/>
              <a:uLnTx/>
              <a:uFillTx/>
              <a:latin typeface="Trebuchet MS"/>
              <a:ea typeface="+mn-ea"/>
              <a:cs typeface="Trebuchet MS"/>
            </a:endParaRPr>
          </a:p>
          <a:p>
            <a:pPr marL="417195" marR="394335" lvl="0" indent="-28702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D9D9D9"/>
              </a:buClr>
              <a:buSzPct val="129166"/>
              <a:buFont typeface="Arial MT"/>
              <a:buChar char="•"/>
              <a:tabLst>
                <a:tab pos="417195" algn="l"/>
                <a:tab pos="417830" algn="l"/>
              </a:tabLst>
              <a:defRPr/>
            </a:pPr>
            <a:r>
              <a:rPr kumimoji="0" sz="1200" b="0" i="0" u="none" strike="noStrike" kern="1200" cap="none" spc="-5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Miglioramento dell’</a:t>
            </a:r>
            <a:r>
              <a:rPr kumimoji="0" sz="1200" b="1" i="0" u="none" strike="noStrike" kern="1200" cap="none" spc="-5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efficienza </a:t>
            </a:r>
            <a:r>
              <a:rPr kumimoji="0" sz="1200" b="1" i="0" u="none" strike="noStrike" kern="1200" cap="none" spc="-35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 </a:t>
            </a:r>
            <a:r>
              <a:rPr kumimoji="0" sz="1200" b="1" i="0" u="none" strike="noStrike" kern="1200" cap="none" spc="-5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energetica</a:t>
            </a:r>
            <a:r>
              <a:rPr kumimoji="0" sz="1200" b="0" i="0" u="none" strike="noStrike" kern="1200" cap="none" spc="-5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, della </a:t>
            </a:r>
            <a:r>
              <a:rPr kumimoji="0" sz="1200" b="1" i="0" u="none" strike="noStrike" kern="1200" cap="none" spc="-5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sicurezza, </a:t>
            </a:r>
            <a:r>
              <a:rPr kumimoji="0" sz="12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 </a:t>
            </a:r>
            <a:r>
              <a:rPr kumimoji="0" sz="1200" b="1" i="0" u="none" strike="noStrike" kern="1200" cap="none" spc="-5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dell’accessibilità </a:t>
            </a:r>
            <a:r>
              <a:rPr kumimoji="0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e </a:t>
            </a:r>
            <a:r>
              <a:rPr kumimoji="0" sz="1200" b="0" i="0" u="none" strike="noStrike" kern="1200" cap="none" spc="5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 </a:t>
            </a:r>
            <a:r>
              <a:rPr kumimoji="0" sz="1200" b="0" i="0" u="none" strike="noStrike" kern="1200" cap="none" spc="-5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dell’</a:t>
            </a:r>
            <a:r>
              <a:rPr kumimoji="0" sz="1200" b="1" i="0" u="none" strike="noStrike" kern="1200" cap="none" spc="-5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innovazione tecnologica </a:t>
            </a:r>
            <a:r>
              <a:rPr kumimoji="0" sz="1200" b="1" i="0" u="none" strike="noStrike" kern="1200" cap="none" spc="-35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 </a:t>
            </a:r>
            <a:r>
              <a:rPr kumimoji="0" sz="1200" b="0" i="0" u="none" strike="noStrike" kern="1200" cap="none" spc="-5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degli impianti sportivi </a:t>
            </a:r>
            <a:r>
              <a:rPr kumimoji="0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e dei </a:t>
            </a:r>
            <a:r>
              <a:rPr kumimoji="0" sz="1200" b="0" i="0" u="none" strike="noStrike" kern="1200" cap="none" spc="5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 </a:t>
            </a:r>
            <a:r>
              <a:rPr kumimoji="0" sz="1200" b="0" i="0" u="none" strike="noStrike" kern="1200" cap="none" spc="-5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luoghi</a:t>
            </a:r>
            <a:r>
              <a:rPr kumimoji="0" sz="1200" b="0" i="0" u="none" strike="noStrike" kern="1200" cap="none" spc="-25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 </a:t>
            </a:r>
            <a:r>
              <a:rPr kumimoji="0" sz="1200" b="0" i="0" u="none" strike="noStrike" kern="1200" cap="none" spc="-5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della</a:t>
            </a:r>
            <a:r>
              <a:rPr kumimoji="0" sz="1200" b="0" i="0" u="none" strike="noStrike" kern="1200" cap="none" spc="-25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 </a:t>
            </a:r>
            <a:r>
              <a:rPr kumimoji="0" sz="1200" b="0" i="0" u="none" strike="noStrike" kern="1200" cap="none" spc="-5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Cultura</a:t>
            </a:r>
            <a:endParaRPr kumimoji="0" sz="1200" b="0" i="0" u="none" strike="noStrike" kern="1200" cap="none" spc="0" normalizeH="0" baseline="0" noProof="0">
              <a:ln>
                <a:noFill/>
              </a:ln>
              <a:solidFill>
                <a:srgbClr val="5C717C"/>
              </a:solidFill>
              <a:effectLst/>
              <a:uLnTx/>
              <a:uFillTx/>
              <a:latin typeface="Trebuchet MS"/>
              <a:ea typeface="+mn-ea"/>
              <a:cs typeface="Trebuchet M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45"/>
              </a:spcBef>
              <a:spcAft>
                <a:spcPts val="0"/>
              </a:spcAft>
              <a:buClrTx/>
              <a:buSzTx/>
              <a:buFontTx/>
              <a:buChar char="•"/>
              <a:tabLst/>
              <a:defRPr/>
            </a:pPr>
            <a:endParaRPr kumimoji="0" sz="1200" b="0" i="0" u="none" strike="noStrike" kern="1200" cap="none" spc="0" normalizeH="0" baseline="0" noProof="0">
              <a:ln>
                <a:noFill/>
              </a:ln>
              <a:solidFill>
                <a:srgbClr val="5C717C"/>
              </a:solidFill>
              <a:effectLst/>
              <a:uLnTx/>
              <a:uFillTx/>
              <a:latin typeface="Trebuchet MS"/>
              <a:ea typeface="+mn-ea"/>
              <a:cs typeface="Trebuchet MS"/>
            </a:endParaRPr>
          </a:p>
          <a:p>
            <a:pPr marL="417195" marR="406400" lvl="0" indent="-287020" algn="l" defTabSz="914400" rtl="0" eaLnBrk="1" fontAlgn="auto" latinLnBrk="0" hangingPunct="1">
              <a:lnSpc>
                <a:spcPct val="100000"/>
              </a:lnSpc>
              <a:spcBef>
                <a:spcPts val="5"/>
              </a:spcBef>
              <a:spcAft>
                <a:spcPts val="0"/>
              </a:spcAft>
              <a:buClr>
                <a:srgbClr val="D9D9D9"/>
              </a:buClr>
              <a:buSzPct val="129166"/>
              <a:buFont typeface="Arial MT"/>
              <a:buChar char="•"/>
              <a:tabLst>
                <a:tab pos="417195" algn="l"/>
                <a:tab pos="417830" algn="l"/>
              </a:tabLst>
              <a:defRPr/>
            </a:pPr>
            <a:r>
              <a:rPr kumimoji="0" sz="1200" b="1" i="0" u="none" strike="noStrike" kern="1200" cap="none" spc="-5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Impostazione dei progetti </a:t>
            </a:r>
            <a:r>
              <a:rPr kumimoji="0" sz="12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 </a:t>
            </a:r>
            <a:r>
              <a:rPr kumimoji="0" sz="1200" b="1" i="0" u="none" strike="noStrike" kern="1200" cap="none" spc="-5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d’investimento</a:t>
            </a:r>
            <a:r>
              <a:rPr kumimoji="0" sz="1200" b="0" i="0" u="none" strike="noStrike" kern="1200" cap="none" spc="-5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, reperimento </a:t>
            </a:r>
            <a:r>
              <a:rPr kumimoji="0" sz="1200" b="0" i="0" u="none" strike="noStrike" kern="1200" cap="none" spc="-35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 </a:t>
            </a:r>
            <a:r>
              <a:rPr kumimoji="0" sz="1200" b="0" i="0" u="none" strike="noStrike" kern="1200" cap="none" spc="-5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delle risorse, funzionalità </a:t>
            </a:r>
            <a:r>
              <a:rPr kumimoji="0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 tecnica</a:t>
            </a:r>
            <a:r>
              <a:rPr kumimoji="0" sz="1200" b="0" i="0" u="none" strike="noStrike" kern="1200" cap="none" spc="-5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 </a:t>
            </a:r>
            <a:r>
              <a:rPr kumimoji="0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e</a:t>
            </a:r>
            <a:r>
              <a:rPr kumimoji="0" sz="1200" b="0" i="0" u="none" strike="noStrike" kern="1200" cap="none" spc="-5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 bancabilità</a:t>
            </a:r>
            <a:endParaRPr kumimoji="0" sz="1200" b="0" i="0" u="none" strike="noStrike" kern="1200" cap="none" spc="0" normalizeH="0" baseline="0" noProof="0">
              <a:ln>
                <a:noFill/>
              </a:ln>
              <a:solidFill>
                <a:srgbClr val="5C717C"/>
              </a:solidFill>
              <a:effectLst/>
              <a:uLnTx/>
              <a:uFillTx/>
              <a:latin typeface="Trebuchet MS"/>
              <a:ea typeface="+mn-ea"/>
              <a:cs typeface="Trebuchet MS"/>
            </a:endParaRPr>
          </a:p>
        </p:txBody>
      </p:sp>
      <p:sp>
        <p:nvSpPr>
          <p:cNvPr id="67" name="object 8">
            <a:extLst>
              <a:ext uri="{FF2B5EF4-FFF2-40B4-BE49-F238E27FC236}">
                <a16:creationId xmlns:a16="http://schemas.microsoft.com/office/drawing/2014/main" id="{C32F16EA-24B7-4984-9718-EBFD5CD7C0A9}"/>
              </a:ext>
            </a:extLst>
          </p:cNvPr>
          <p:cNvSpPr/>
          <p:nvPr/>
        </p:nvSpPr>
        <p:spPr>
          <a:xfrm>
            <a:off x="867263" y="1222120"/>
            <a:ext cx="2883535" cy="368935"/>
          </a:xfrm>
          <a:custGeom>
            <a:avLst/>
            <a:gdLst/>
            <a:ahLst/>
            <a:cxnLst/>
            <a:rect l="l" t="t" r="r" b="b"/>
            <a:pathLst>
              <a:path w="2883535" h="368935">
                <a:moveTo>
                  <a:pt x="2883407" y="0"/>
                </a:moveTo>
                <a:lnTo>
                  <a:pt x="0" y="0"/>
                </a:lnTo>
                <a:lnTo>
                  <a:pt x="0" y="368808"/>
                </a:lnTo>
                <a:lnTo>
                  <a:pt x="2883407" y="368808"/>
                </a:lnTo>
                <a:lnTo>
                  <a:pt x="2883407" y="0"/>
                </a:lnTo>
                <a:close/>
              </a:path>
            </a:pathLst>
          </a:custGeom>
          <a:solidFill>
            <a:srgbClr val="5E717A"/>
          </a:solid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srgbClr val="5C717C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sp>
        <p:nvSpPr>
          <p:cNvPr id="68" name="object 9">
            <a:extLst>
              <a:ext uri="{FF2B5EF4-FFF2-40B4-BE49-F238E27FC236}">
                <a16:creationId xmlns:a16="http://schemas.microsoft.com/office/drawing/2014/main" id="{8BD153F2-A8BF-4178-BBCE-26F0EF023AA8}"/>
              </a:ext>
            </a:extLst>
          </p:cNvPr>
          <p:cNvSpPr txBox="1"/>
          <p:nvPr/>
        </p:nvSpPr>
        <p:spPr>
          <a:xfrm>
            <a:off x="880724" y="1249232"/>
            <a:ext cx="2858135" cy="29972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78105" marR="0" lvl="0" indent="0" algn="l" defTabSz="9144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8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Il</a:t>
            </a:r>
            <a:r>
              <a:rPr kumimoji="0" sz="1800" b="1" i="0" u="none" strike="noStrike" kern="1200" cap="none" spc="-45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 </a:t>
            </a:r>
            <a:r>
              <a:rPr kumimoji="0" sz="1800" b="1" i="0" u="none" strike="noStrike" kern="1200" cap="none" spc="-5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nostro</a:t>
            </a:r>
            <a:r>
              <a:rPr kumimoji="0" sz="1800" b="1" i="0" u="none" strike="noStrike" kern="1200" cap="none" spc="-35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 </a:t>
            </a:r>
            <a:r>
              <a:rPr kumimoji="0" sz="1800" b="1" i="0" u="none" strike="noStrike" kern="1200" cap="none" spc="-5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focus</a:t>
            </a: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srgbClr val="5C717C"/>
              </a:solidFill>
              <a:effectLst/>
              <a:uLnTx/>
              <a:uFillTx/>
              <a:latin typeface="Trebuchet MS"/>
              <a:ea typeface="+mn-ea"/>
              <a:cs typeface="Trebuchet MS"/>
            </a:endParaRPr>
          </a:p>
        </p:txBody>
      </p:sp>
      <p:grpSp>
        <p:nvGrpSpPr>
          <p:cNvPr id="69" name="object 10">
            <a:extLst>
              <a:ext uri="{FF2B5EF4-FFF2-40B4-BE49-F238E27FC236}">
                <a16:creationId xmlns:a16="http://schemas.microsoft.com/office/drawing/2014/main" id="{37DE9B68-05E5-4000-81BA-BC875C29B3D2}"/>
              </a:ext>
            </a:extLst>
          </p:cNvPr>
          <p:cNvGrpSpPr/>
          <p:nvPr/>
        </p:nvGrpSpPr>
        <p:grpSpPr>
          <a:xfrm>
            <a:off x="4374749" y="1110106"/>
            <a:ext cx="6966584" cy="1914525"/>
            <a:chOff x="4388358" y="1399794"/>
            <a:chExt cx="6966584" cy="1914525"/>
          </a:xfrm>
        </p:grpSpPr>
        <p:sp>
          <p:nvSpPr>
            <p:cNvPr id="70" name="object 11">
              <a:extLst>
                <a:ext uri="{FF2B5EF4-FFF2-40B4-BE49-F238E27FC236}">
                  <a16:creationId xmlns:a16="http://schemas.microsoft.com/office/drawing/2014/main" id="{A89E7FAA-0B9F-4C6C-B674-4266E6CAEE67}"/>
                </a:ext>
              </a:extLst>
            </p:cNvPr>
            <p:cNvSpPr/>
            <p:nvPr/>
          </p:nvSpPr>
          <p:spPr>
            <a:xfrm>
              <a:off x="4388358" y="1399794"/>
              <a:ext cx="6966584" cy="1914525"/>
            </a:xfrm>
            <a:custGeom>
              <a:avLst/>
              <a:gdLst/>
              <a:ahLst/>
              <a:cxnLst/>
              <a:rect l="l" t="t" r="r" b="b"/>
              <a:pathLst>
                <a:path w="6966584" h="1914525">
                  <a:moveTo>
                    <a:pt x="6966204" y="0"/>
                  </a:moveTo>
                  <a:lnTo>
                    <a:pt x="0" y="0"/>
                  </a:lnTo>
                  <a:lnTo>
                    <a:pt x="0" y="1914144"/>
                  </a:lnTo>
                  <a:lnTo>
                    <a:pt x="6966204" y="1914144"/>
                  </a:lnTo>
                  <a:lnTo>
                    <a:pt x="6966204" y="0"/>
                  </a:lnTo>
                  <a:close/>
                </a:path>
              </a:pathLst>
            </a:custGeom>
            <a:solidFill>
              <a:srgbClr val="CAD2D4"/>
            </a:solid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srgbClr val="5C717C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sp>
          <p:nvSpPr>
            <p:cNvPr id="71" name="object 12">
              <a:extLst>
                <a:ext uri="{FF2B5EF4-FFF2-40B4-BE49-F238E27FC236}">
                  <a16:creationId xmlns:a16="http://schemas.microsoft.com/office/drawing/2014/main" id="{D3530A72-3EED-4B5A-9241-913240264FF5}"/>
                </a:ext>
              </a:extLst>
            </p:cNvPr>
            <p:cNvSpPr/>
            <p:nvPr/>
          </p:nvSpPr>
          <p:spPr>
            <a:xfrm>
              <a:off x="4483608" y="1516380"/>
              <a:ext cx="6789420" cy="370840"/>
            </a:xfrm>
            <a:custGeom>
              <a:avLst/>
              <a:gdLst/>
              <a:ahLst/>
              <a:cxnLst/>
              <a:rect l="l" t="t" r="r" b="b"/>
              <a:pathLst>
                <a:path w="6789420" h="370839">
                  <a:moveTo>
                    <a:pt x="6789420" y="0"/>
                  </a:moveTo>
                  <a:lnTo>
                    <a:pt x="0" y="0"/>
                  </a:lnTo>
                  <a:lnTo>
                    <a:pt x="0" y="370332"/>
                  </a:lnTo>
                  <a:lnTo>
                    <a:pt x="6789420" y="370332"/>
                  </a:lnTo>
                  <a:lnTo>
                    <a:pt x="6789420" y="0"/>
                  </a:lnTo>
                  <a:close/>
                </a:path>
              </a:pathLst>
            </a:custGeom>
            <a:solidFill>
              <a:srgbClr val="5E717A"/>
            </a:solid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srgbClr val="5C717C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</p:grpSp>
      <p:sp>
        <p:nvSpPr>
          <p:cNvPr id="72" name="object 13">
            <a:extLst>
              <a:ext uri="{FF2B5EF4-FFF2-40B4-BE49-F238E27FC236}">
                <a16:creationId xmlns:a16="http://schemas.microsoft.com/office/drawing/2014/main" id="{83770928-E3BA-4AF6-9C4C-48CBBE0F6D94}"/>
              </a:ext>
            </a:extLst>
          </p:cNvPr>
          <p:cNvSpPr txBox="1"/>
          <p:nvPr/>
        </p:nvSpPr>
        <p:spPr>
          <a:xfrm>
            <a:off x="4374749" y="1110106"/>
            <a:ext cx="6966584" cy="1914525"/>
          </a:xfrm>
          <a:prstGeom prst="rect">
            <a:avLst/>
          </a:prstGeom>
          <a:ln w="25400">
            <a:solidFill>
              <a:srgbClr val="5E717A"/>
            </a:solidFill>
          </a:ln>
        </p:spPr>
        <p:txBody>
          <a:bodyPr vert="horz" wrap="square" lIns="0" tIns="156210" rIns="0" bIns="0" rtlCol="0">
            <a:spAutoFit/>
          </a:bodyPr>
          <a:lstStyle/>
          <a:p>
            <a:pPr marL="186055" marR="0" lvl="0" indent="0" algn="l" defTabSz="914400" rtl="0" eaLnBrk="1" fontAlgn="auto" latinLnBrk="0" hangingPunct="1">
              <a:lnSpc>
                <a:spcPct val="100000"/>
              </a:lnSpc>
              <a:spcBef>
                <a:spcPts val="123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8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Attività</a:t>
            </a:r>
            <a:r>
              <a:rPr kumimoji="0" sz="1800" b="1" i="0" u="none" strike="noStrike" kern="1200" cap="none" spc="-25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 </a:t>
            </a:r>
            <a:r>
              <a:rPr kumimoji="0" sz="1800" b="1" i="0" u="none" strike="noStrike" kern="1200" cap="none" spc="-5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bancaria</a:t>
            </a: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srgbClr val="5C717C"/>
              </a:solidFill>
              <a:effectLst/>
              <a:uLnTx/>
              <a:uFillTx/>
              <a:latin typeface="Trebuchet MS"/>
              <a:ea typeface="+mn-ea"/>
              <a:cs typeface="Trebuchet MS"/>
            </a:endParaRPr>
          </a:p>
          <a:p>
            <a:pPr marL="314960" marR="0" lvl="0" indent="-172720" algn="l" defTabSz="914400" rtl="0" eaLnBrk="1" fontAlgn="auto" latinLnBrk="0" hangingPunct="1">
              <a:lnSpc>
                <a:spcPct val="100000"/>
              </a:lnSpc>
              <a:spcBef>
                <a:spcPts val="1720"/>
              </a:spcBef>
              <a:spcAft>
                <a:spcPts val="0"/>
              </a:spcAft>
              <a:buClrTx/>
              <a:buSzTx/>
              <a:buFont typeface="Arial MT"/>
              <a:buChar char="•"/>
              <a:tabLst>
                <a:tab pos="315595" algn="l"/>
              </a:tabLst>
              <a:defRPr/>
            </a:pPr>
            <a:r>
              <a:rPr kumimoji="0" sz="1200" b="0" i="0" u="none" strike="noStrike" kern="1200" cap="none" spc="0" normalizeH="0" baseline="0" noProof="0">
                <a:ln>
                  <a:noFill/>
                </a:ln>
                <a:solidFill>
                  <a:srgbClr val="5E717A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Attività</a:t>
            </a:r>
            <a:r>
              <a:rPr kumimoji="0" sz="1200" b="0" i="0" u="none" strike="noStrike" kern="1200" cap="none" spc="-10" normalizeH="0" baseline="0" noProof="0">
                <a:ln>
                  <a:noFill/>
                </a:ln>
                <a:solidFill>
                  <a:srgbClr val="5E717A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 </a:t>
            </a:r>
            <a:r>
              <a:rPr kumimoji="0" sz="1200" b="0" i="0" u="none" strike="noStrike" kern="1200" cap="none" spc="0" normalizeH="0" baseline="0" noProof="0">
                <a:ln>
                  <a:noFill/>
                </a:ln>
                <a:solidFill>
                  <a:srgbClr val="5E717A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di</a:t>
            </a:r>
            <a:r>
              <a:rPr kumimoji="0" sz="1200" b="0" i="0" u="none" strike="noStrike" kern="1200" cap="none" spc="-45" normalizeH="0" baseline="0" noProof="0">
                <a:ln>
                  <a:noFill/>
                </a:ln>
                <a:solidFill>
                  <a:srgbClr val="5E717A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 </a:t>
            </a:r>
            <a:r>
              <a:rPr kumimoji="0" sz="1200" b="0" i="0" u="none" strike="noStrike" kern="1200" cap="none" spc="0" normalizeH="0" baseline="0" noProof="0">
                <a:ln>
                  <a:noFill/>
                </a:ln>
                <a:solidFill>
                  <a:srgbClr val="5E717A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credito</a:t>
            </a:r>
            <a:r>
              <a:rPr kumimoji="0" sz="1200" b="0" i="0" u="none" strike="noStrike" kern="1200" cap="none" spc="-35" normalizeH="0" baseline="0" noProof="0">
                <a:ln>
                  <a:noFill/>
                </a:ln>
                <a:solidFill>
                  <a:srgbClr val="5E717A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 </a:t>
            </a:r>
            <a:r>
              <a:rPr kumimoji="0" sz="1200" b="0" i="0" u="none" strike="noStrike" kern="1200" cap="none" spc="0" normalizeH="0" baseline="0" noProof="0">
                <a:ln>
                  <a:noFill/>
                </a:ln>
                <a:solidFill>
                  <a:srgbClr val="5E717A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e</a:t>
            </a:r>
            <a:r>
              <a:rPr kumimoji="0" sz="1200" b="0" i="0" u="none" strike="noStrike" kern="1200" cap="none" spc="5" normalizeH="0" baseline="0" noProof="0">
                <a:ln>
                  <a:noFill/>
                </a:ln>
                <a:solidFill>
                  <a:srgbClr val="5E717A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 </a:t>
            </a:r>
            <a:r>
              <a:rPr kumimoji="0" sz="1200" b="0" i="0" u="none" strike="noStrike" kern="1200" cap="none" spc="-5" normalizeH="0" baseline="0" noProof="0">
                <a:ln>
                  <a:noFill/>
                </a:ln>
                <a:solidFill>
                  <a:srgbClr val="5E717A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bancaria</a:t>
            </a:r>
            <a:r>
              <a:rPr kumimoji="0" sz="1200" b="0" i="0" u="none" strike="noStrike" kern="1200" cap="none" spc="-45" normalizeH="0" baseline="0" noProof="0">
                <a:ln>
                  <a:noFill/>
                </a:ln>
                <a:solidFill>
                  <a:srgbClr val="5E717A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 </a:t>
            </a:r>
            <a:r>
              <a:rPr kumimoji="0" sz="1200" b="0" i="0" u="none" strike="noStrike" kern="1200" cap="none" spc="0" normalizeH="0" baseline="0" noProof="0">
                <a:ln>
                  <a:noFill/>
                </a:ln>
                <a:solidFill>
                  <a:srgbClr val="5E717A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per</a:t>
            </a:r>
            <a:r>
              <a:rPr kumimoji="0" sz="1200" b="0" i="0" u="none" strike="noStrike" kern="1200" cap="none" spc="-25" normalizeH="0" baseline="0" noProof="0">
                <a:ln>
                  <a:noFill/>
                </a:ln>
                <a:solidFill>
                  <a:srgbClr val="5E717A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 </a:t>
            </a:r>
            <a:r>
              <a:rPr kumimoji="0" sz="1200" b="0" i="0" u="none" strike="noStrike" kern="1200" cap="none" spc="-5" normalizeH="0" baseline="0" noProof="0">
                <a:ln>
                  <a:noFill/>
                </a:ln>
                <a:solidFill>
                  <a:srgbClr val="5E717A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soggetti pubblici</a:t>
            </a:r>
            <a:r>
              <a:rPr kumimoji="0" sz="1200" b="0" i="0" u="none" strike="noStrike" kern="1200" cap="none" spc="-45" normalizeH="0" baseline="0" noProof="0">
                <a:ln>
                  <a:noFill/>
                </a:ln>
                <a:solidFill>
                  <a:srgbClr val="5E717A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 </a:t>
            </a:r>
            <a:r>
              <a:rPr kumimoji="0" sz="1200" b="0" i="0" u="none" strike="noStrike" kern="1200" cap="none" spc="0" normalizeH="0" baseline="0" noProof="0">
                <a:ln>
                  <a:noFill/>
                </a:ln>
                <a:solidFill>
                  <a:srgbClr val="5E717A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e</a:t>
            </a:r>
            <a:r>
              <a:rPr kumimoji="0" sz="1200" b="0" i="0" u="none" strike="noStrike" kern="1200" cap="none" spc="-10" normalizeH="0" baseline="0" noProof="0">
                <a:ln>
                  <a:noFill/>
                </a:ln>
                <a:solidFill>
                  <a:srgbClr val="5E717A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 </a:t>
            </a:r>
            <a:r>
              <a:rPr kumimoji="0" sz="1200" b="0" i="0" u="none" strike="noStrike" kern="1200" cap="none" spc="0" normalizeH="0" baseline="0" noProof="0">
                <a:ln>
                  <a:noFill/>
                </a:ln>
                <a:solidFill>
                  <a:srgbClr val="5E717A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privati</a:t>
            </a:r>
            <a:endParaRPr kumimoji="0" sz="1200" b="0" i="0" u="none" strike="noStrike" kern="1200" cap="none" spc="0" normalizeH="0" baseline="0" noProof="0">
              <a:ln>
                <a:noFill/>
              </a:ln>
              <a:solidFill>
                <a:srgbClr val="5C717C"/>
              </a:solidFill>
              <a:effectLst/>
              <a:uLnTx/>
              <a:uFillTx/>
              <a:latin typeface="Trebuchet MS"/>
              <a:ea typeface="+mn-ea"/>
              <a:cs typeface="Trebuchet MS"/>
            </a:endParaRPr>
          </a:p>
          <a:p>
            <a:pPr marL="314960" marR="615315" lvl="0" indent="-17272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 MT"/>
              <a:buChar char="•"/>
              <a:tabLst>
                <a:tab pos="315595" algn="l"/>
              </a:tabLst>
              <a:defRPr/>
            </a:pPr>
            <a:r>
              <a:rPr kumimoji="0" sz="1200" b="0" i="0" u="none" strike="noStrike" kern="1200" cap="none" spc="-5" normalizeH="0" baseline="0" noProof="0">
                <a:ln>
                  <a:noFill/>
                </a:ln>
                <a:solidFill>
                  <a:srgbClr val="5E717A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Focus </a:t>
            </a:r>
            <a:r>
              <a:rPr kumimoji="0" sz="1200" b="0" i="0" u="none" strike="noStrike" kern="1200" cap="none" spc="-10" normalizeH="0" baseline="0" noProof="0">
                <a:ln>
                  <a:noFill/>
                </a:ln>
                <a:solidFill>
                  <a:srgbClr val="5E717A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sullo </a:t>
            </a:r>
            <a:r>
              <a:rPr kumimoji="0" sz="1200" b="0" i="0" u="none" strike="noStrike" kern="1200" cap="none" spc="-5" normalizeH="0" baseline="0" noProof="0">
                <a:ln>
                  <a:noFill/>
                </a:ln>
                <a:solidFill>
                  <a:srgbClr val="5E717A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Sport </a:t>
            </a:r>
            <a:r>
              <a:rPr kumimoji="0" sz="1200" b="0" i="0" u="none" strike="noStrike" kern="1200" cap="none" spc="0" normalizeH="0" baseline="0" noProof="0">
                <a:ln>
                  <a:noFill/>
                </a:ln>
                <a:solidFill>
                  <a:srgbClr val="5E717A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fin </a:t>
            </a:r>
            <a:r>
              <a:rPr kumimoji="0" sz="1200" b="0" i="0" u="none" strike="noStrike" kern="1200" cap="none" spc="-5" normalizeH="0" baseline="0" noProof="0">
                <a:ln>
                  <a:noFill/>
                </a:ln>
                <a:solidFill>
                  <a:srgbClr val="5E717A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dalla </a:t>
            </a:r>
            <a:r>
              <a:rPr kumimoji="0" sz="1200" b="0" i="0" u="none" strike="noStrike" kern="1200" cap="none" spc="0" normalizeH="0" baseline="0" noProof="0">
                <a:ln>
                  <a:noFill/>
                </a:ln>
                <a:solidFill>
                  <a:srgbClr val="5E717A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nascita, di recente </a:t>
            </a:r>
            <a:r>
              <a:rPr kumimoji="0" sz="1200" b="0" i="0" u="none" strike="noStrike" kern="1200" cap="none" spc="-10" normalizeH="0" baseline="0" noProof="0">
                <a:ln>
                  <a:noFill/>
                </a:ln>
                <a:solidFill>
                  <a:srgbClr val="5E717A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sulla </a:t>
            </a:r>
            <a:r>
              <a:rPr kumimoji="0" sz="1200" b="0" i="0" u="none" strike="noStrike" kern="1200" cap="none" spc="-5" normalizeH="0" baseline="0" noProof="0">
                <a:ln>
                  <a:noFill/>
                </a:ln>
                <a:solidFill>
                  <a:srgbClr val="5E717A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Cultura, </a:t>
            </a:r>
            <a:r>
              <a:rPr kumimoji="0" sz="1200" b="0" i="0" u="none" strike="noStrike" kern="1200" cap="none" spc="0" normalizeH="0" baseline="0" noProof="0">
                <a:ln>
                  <a:noFill/>
                </a:ln>
                <a:solidFill>
                  <a:srgbClr val="5E717A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con </a:t>
            </a:r>
            <a:r>
              <a:rPr kumimoji="0" sz="1200" b="0" i="0" u="none" strike="noStrike" kern="1200" cap="none" spc="-5" normalizeH="0" baseline="0" noProof="0">
                <a:ln>
                  <a:noFill/>
                </a:ln>
                <a:solidFill>
                  <a:srgbClr val="5E717A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finanziamenti </a:t>
            </a:r>
            <a:r>
              <a:rPr kumimoji="0" sz="1200" b="0" i="0" u="none" strike="noStrike" kern="1200" cap="none" spc="0" normalizeH="0" baseline="0" noProof="0">
                <a:ln>
                  <a:noFill/>
                </a:ln>
                <a:solidFill>
                  <a:srgbClr val="5E717A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a medio e </a:t>
            </a:r>
            <a:r>
              <a:rPr kumimoji="0" sz="1200" b="0" i="0" u="none" strike="noStrike" kern="1200" cap="none" spc="-350" normalizeH="0" baseline="0" noProof="0">
                <a:ln>
                  <a:noFill/>
                </a:ln>
                <a:solidFill>
                  <a:srgbClr val="5E717A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 </a:t>
            </a:r>
            <a:r>
              <a:rPr kumimoji="0" sz="1200" b="0" i="0" u="none" strike="noStrike" kern="1200" cap="none" spc="-5" normalizeH="0" baseline="0" noProof="0">
                <a:ln>
                  <a:noFill/>
                </a:ln>
                <a:solidFill>
                  <a:srgbClr val="5E717A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lungo</a:t>
            </a:r>
            <a:r>
              <a:rPr kumimoji="0" sz="1200" b="0" i="0" u="none" strike="noStrike" kern="1200" cap="none" spc="-15" normalizeH="0" baseline="0" noProof="0">
                <a:ln>
                  <a:noFill/>
                </a:ln>
                <a:solidFill>
                  <a:srgbClr val="5E717A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 </a:t>
            </a:r>
            <a:r>
              <a:rPr kumimoji="0" sz="1200" b="0" i="0" u="none" strike="noStrike" kern="1200" cap="none" spc="0" normalizeH="0" baseline="0" noProof="0">
                <a:ln>
                  <a:noFill/>
                </a:ln>
                <a:solidFill>
                  <a:srgbClr val="5E717A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termine</a:t>
            </a:r>
            <a:r>
              <a:rPr kumimoji="0" sz="1200" b="0" i="0" u="none" strike="noStrike" kern="1200" cap="none" spc="-45" normalizeH="0" baseline="0" noProof="0">
                <a:ln>
                  <a:noFill/>
                </a:ln>
                <a:solidFill>
                  <a:srgbClr val="5E717A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 </a:t>
            </a:r>
            <a:r>
              <a:rPr kumimoji="0" sz="1200" b="0" i="0" u="none" strike="noStrike" kern="1200" cap="none" spc="0" normalizeH="0" baseline="0" noProof="0">
                <a:ln>
                  <a:noFill/>
                </a:ln>
                <a:solidFill>
                  <a:srgbClr val="5E717A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e </a:t>
            </a:r>
            <a:r>
              <a:rPr kumimoji="0" sz="1200" b="0" i="0" u="none" strike="noStrike" kern="1200" cap="none" spc="-5" normalizeH="0" baseline="0" noProof="0">
                <a:ln>
                  <a:noFill/>
                </a:ln>
                <a:solidFill>
                  <a:srgbClr val="5E717A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ultimamente</a:t>
            </a:r>
            <a:r>
              <a:rPr kumimoji="0" sz="1200" b="0" i="0" u="none" strike="noStrike" kern="1200" cap="none" spc="-10" normalizeH="0" baseline="0" noProof="0">
                <a:ln>
                  <a:noFill/>
                </a:ln>
                <a:solidFill>
                  <a:srgbClr val="5E717A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 </a:t>
            </a:r>
            <a:r>
              <a:rPr kumimoji="0" sz="1200" b="0" i="0" u="none" strike="noStrike" kern="1200" cap="none" spc="-5" normalizeH="0" baseline="0" noProof="0">
                <a:ln>
                  <a:noFill/>
                </a:ln>
                <a:solidFill>
                  <a:srgbClr val="5E717A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per</a:t>
            </a:r>
            <a:r>
              <a:rPr kumimoji="0" sz="1200" b="0" i="0" u="none" strike="noStrike" kern="1200" cap="none" spc="-40" normalizeH="0" baseline="0" noProof="0">
                <a:ln>
                  <a:noFill/>
                </a:ln>
                <a:solidFill>
                  <a:srgbClr val="5E717A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 </a:t>
            </a:r>
            <a:r>
              <a:rPr kumimoji="0" sz="1200" b="0" i="0" u="none" strike="noStrike" kern="1200" cap="none" spc="-5" normalizeH="0" baseline="0" noProof="0">
                <a:ln>
                  <a:noFill/>
                </a:ln>
                <a:solidFill>
                  <a:srgbClr val="5E717A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liquidità</a:t>
            </a:r>
            <a:r>
              <a:rPr kumimoji="0" sz="1200" b="0" i="0" u="none" strike="noStrike" kern="1200" cap="none" spc="-35" normalizeH="0" baseline="0" noProof="0">
                <a:ln>
                  <a:noFill/>
                </a:ln>
                <a:solidFill>
                  <a:srgbClr val="5E717A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 </a:t>
            </a:r>
            <a:r>
              <a:rPr kumimoji="0" sz="1200" b="0" i="0" u="none" strike="noStrike" kern="1200" cap="none" spc="0" normalizeH="0" baseline="0" noProof="0">
                <a:ln>
                  <a:noFill/>
                </a:ln>
                <a:solidFill>
                  <a:srgbClr val="5E717A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tramite</a:t>
            </a:r>
            <a:r>
              <a:rPr kumimoji="0" sz="1200" b="0" i="0" u="none" strike="noStrike" kern="1200" cap="none" spc="-45" normalizeH="0" baseline="0" noProof="0">
                <a:ln>
                  <a:noFill/>
                </a:ln>
                <a:solidFill>
                  <a:srgbClr val="5E717A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 </a:t>
            </a:r>
            <a:r>
              <a:rPr kumimoji="0" sz="1200" b="0" i="0" u="none" strike="noStrike" kern="1200" cap="none" spc="-5" normalizeH="0" baseline="0" noProof="0">
                <a:ln>
                  <a:noFill/>
                </a:ln>
                <a:solidFill>
                  <a:srgbClr val="5E717A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mutui</a:t>
            </a:r>
            <a:endParaRPr kumimoji="0" sz="1200" b="0" i="0" u="none" strike="noStrike" kern="1200" cap="none" spc="0" normalizeH="0" baseline="0" noProof="0">
              <a:ln>
                <a:noFill/>
              </a:ln>
              <a:solidFill>
                <a:srgbClr val="5C717C"/>
              </a:solidFill>
              <a:effectLst/>
              <a:uLnTx/>
              <a:uFillTx/>
              <a:latin typeface="Trebuchet MS"/>
              <a:ea typeface="+mn-ea"/>
              <a:cs typeface="Trebuchet MS"/>
            </a:endParaRPr>
          </a:p>
          <a:p>
            <a:pPr marL="314960" marR="0" lvl="0" indent="-17272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 MT"/>
              <a:buChar char="•"/>
              <a:tabLst>
                <a:tab pos="315595" algn="l"/>
              </a:tabLst>
              <a:defRPr/>
            </a:pPr>
            <a:r>
              <a:rPr kumimoji="0" sz="1200" b="0" i="0" u="none" strike="noStrike" kern="1200" cap="none" spc="-10" normalizeH="0" baseline="0" noProof="0">
                <a:ln>
                  <a:noFill/>
                </a:ln>
                <a:solidFill>
                  <a:srgbClr val="5E717A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Verifica </a:t>
            </a:r>
            <a:r>
              <a:rPr kumimoji="0" sz="1200" b="0" i="0" u="none" strike="noStrike" kern="1200" cap="none" spc="-5" normalizeH="0" baseline="0" noProof="0">
                <a:ln>
                  <a:noFill/>
                </a:ln>
                <a:solidFill>
                  <a:srgbClr val="5E717A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attenta</a:t>
            </a:r>
            <a:r>
              <a:rPr kumimoji="0" sz="1200" b="0" i="0" u="none" strike="noStrike" kern="1200" cap="none" spc="-45" normalizeH="0" baseline="0" noProof="0">
                <a:ln>
                  <a:noFill/>
                </a:ln>
                <a:solidFill>
                  <a:srgbClr val="5E717A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 </a:t>
            </a:r>
            <a:r>
              <a:rPr kumimoji="0" sz="1200" b="0" i="0" u="none" strike="noStrike" kern="1200" cap="none" spc="-5" normalizeH="0" baseline="0" noProof="0">
                <a:ln>
                  <a:noFill/>
                </a:ln>
                <a:solidFill>
                  <a:srgbClr val="5E717A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della</a:t>
            </a:r>
            <a:r>
              <a:rPr kumimoji="0" sz="1200" b="0" i="0" u="none" strike="noStrike" kern="1200" cap="none" spc="-20" normalizeH="0" baseline="0" noProof="0">
                <a:ln>
                  <a:noFill/>
                </a:ln>
                <a:solidFill>
                  <a:srgbClr val="5E717A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 </a:t>
            </a:r>
            <a:r>
              <a:rPr kumimoji="0" sz="1200" b="0" i="0" u="none" strike="noStrike" kern="1200" cap="none" spc="-5" normalizeH="0" baseline="0" noProof="0">
                <a:ln>
                  <a:noFill/>
                </a:ln>
                <a:solidFill>
                  <a:srgbClr val="5E717A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sostenibilità</a:t>
            </a:r>
            <a:r>
              <a:rPr kumimoji="0" sz="1200" b="0" i="0" u="none" strike="noStrike" kern="1200" cap="none" spc="-40" normalizeH="0" baseline="0" noProof="0">
                <a:ln>
                  <a:noFill/>
                </a:ln>
                <a:solidFill>
                  <a:srgbClr val="5E717A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 </a:t>
            </a:r>
            <a:r>
              <a:rPr kumimoji="0" sz="1200" b="0" i="0" u="none" strike="noStrike" kern="1200" cap="none" spc="-5" normalizeH="0" baseline="0" noProof="0">
                <a:ln>
                  <a:noFill/>
                </a:ln>
                <a:solidFill>
                  <a:srgbClr val="5E717A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finanziaria</a:t>
            </a:r>
            <a:r>
              <a:rPr kumimoji="0" sz="1200" b="0" i="0" u="none" strike="noStrike" kern="1200" cap="none" spc="-45" normalizeH="0" baseline="0" noProof="0">
                <a:ln>
                  <a:noFill/>
                </a:ln>
                <a:solidFill>
                  <a:srgbClr val="5E717A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 </a:t>
            </a:r>
            <a:r>
              <a:rPr kumimoji="0" sz="1200" b="0" i="0" u="none" strike="noStrike" kern="1200" cap="none" spc="-5" normalizeH="0" baseline="0" noProof="0">
                <a:ln>
                  <a:noFill/>
                </a:ln>
                <a:solidFill>
                  <a:srgbClr val="5E717A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delle</a:t>
            </a:r>
            <a:r>
              <a:rPr kumimoji="0" sz="1200" b="0" i="0" u="none" strike="noStrike" kern="1200" cap="none" spc="-20" normalizeH="0" baseline="0" noProof="0">
                <a:ln>
                  <a:noFill/>
                </a:ln>
                <a:solidFill>
                  <a:srgbClr val="5E717A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 </a:t>
            </a:r>
            <a:r>
              <a:rPr kumimoji="0" sz="1200" b="0" i="0" u="none" strike="noStrike" kern="1200" cap="none" spc="0" normalizeH="0" baseline="0" noProof="0">
                <a:ln>
                  <a:noFill/>
                </a:ln>
                <a:solidFill>
                  <a:srgbClr val="5E717A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operazioni</a:t>
            </a:r>
            <a:endParaRPr kumimoji="0" sz="1200" b="0" i="0" u="none" strike="noStrike" kern="1200" cap="none" spc="0" normalizeH="0" baseline="0" noProof="0">
              <a:ln>
                <a:noFill/>
              </a:ln>
              <a:solidFill>
                <a:srgbClr val="5C717C"/>
              </a:solidFill>
              <a:effectLst/>
              <a:uLnTx/>
              <a:uFillTx/>
              <a:latin typeface="Trebuchet MS"/>
              <a:ea typeface="+mn-ea"/>
              <a:cs typeface="Trebuchet MS"/>
            </a:endParaRPr>
          </a:p>
          <a:p>
            <a:pPr marL="314960" marR="0" lvl="0" indent="-17272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 MT"/>
              <a:buChar char="•"/>
              <a:tabLst>
                <a:tab pos="315595" algn="l"/>
              </a:tabLst>
              <a:defRPr/>
            </a:pPr>
            <a:r>
              <a:rPr kumimoji="0" sz="1200" b="0" i="0" u="none" strike="noStrike" kern="1200" cap="none" spc="-5" normalizeH="0" baseline="0" noProof="0">
                <a:ln>
                  <a:noFill/>
                </a:ln>
                <a:solidFill>
                  <a:srgbClr val="5E717A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Advisory</a:t>
            </a:r>
            <a:r>
              <a:rPr kumimoji="0" sz="1200" b="0" i="0" u="none" strike="noStrike" kern="1200" cap="none" spc="-25" normalizeH="0" baseline="0" noProof="0">
                <a:ln>
                  <a:noFill/>
                </a:ln>
                <a:solidFill>
                  <a:srgbClr val="5E717A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 </a:t>
            </a:r>
            <a:r>
              <a:rPr kumimoji="0" sz="1200" b="0" i="0" u="none" strike="noStrike" kern="1200" cap="none" spc="0" normalizeH="0" baseline="0" noProof="0">
                <a:ln>
                  <a:noFill/>
                </a:ln>
                <a:solidFill>
                  <a:srgbClr val="5E717A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per</a:t>
            </a:r>
            <a:r>
              <a:rPr kumimoji="0" sz="1200" b="0" i="0" u="none" strike="noStrike" kern="1200" cap="none" spc="-30" normalizeH="0" baseline="0" noProof="0">
                <a:ln>
                  <a:noFill/>
                </a:ln>
                <a:solidFill>
                  <a:srgbClr val="5E717A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 </a:t>
            </a:r>
            <a:r>
              <a:rPr kumimoji="0" sz="1200" b="0" i="0" u="none" strike="noStrike" kern="1200" cap="none" spc="0" normalizeH="0" baseline="0" noProof="0">
                <a:ln>
                  <a:noFill/>
                </a:ln>
                <a:solidFill>
                  <a:srgbClr val="5E717A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operazioni</a:t>
            </a:r>
            <a:r>
              <a:rPr kumimoji="0" sz="1200" b="0" i="0" u="none" strike="noStrike" kern="1200" cap="none" spc="-50" normalizeH="0" baseline="0" noProof="0">
                <a:ln>
                  <a:noFill/>
                </a:ln>
                <a:solidFill>
                  <a:srgbClr val="5E717A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 </a:t>
            </a:r>
            <a:r>
              <a:rPr kumimoji="0" sz="1200" b="0" i="0" u="none" strike="noStrike" kern="1200" cap="none" spc="0" normalizeH="0" baseline="0" noProof="0">
                <a:ln>
                  <a:noFill/>
                </a:ln>
                <a:solidFill>
                  <a:srgbClr val="5E717A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articolate</a:t>
            </a:r>
            <a:r>
              <a:rPr kumimoji="0" sz="1200" b="0" i="0" u="none" strike="noStrike" kern="1200" cap="none" spc="-50" normalizeH="0" baseline="0" noProof="0">
                <a:ln>
                  <a:noFill/>
                </a:ln>
                <a:solidFill>
                  <a:srgbClr val="5E717A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 </a:t>
            </a:r>
            <a:r>
              <a:rPr kumimoji="0" sz="1200" b="0" i="0" u="none" strike="noStrike" kern="1200" cap="none" spc="0" normalizeH="0" baseline="0" noProof="0">
                <a:ln>
                  <a:noFill/>
                </a:ln>
                <a:solidFill>
                  <a:srgbClr val="5E717A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e</a:t>
            </a:r>
            <a:r>
              <a:rPr kumimoji="0" sz="1200" b="0" i="0" u="none" strike="noStrike" kern="1200" cap="none" spc="-15" normalizeH="0" baseline="0" noProof="0">
                <a:ln>
                  <a:noFill/>
                </a:ln>
                <a:solidFill>
                  <a:srgbClr val="5E717A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 </a:t>
            </a:r>
            <a:r>
              <a:rPr kumimoji="0" sz="1200" b="0" i="0" u="none" strike="noStrike" kern="1200" cap="none" spc="-5" normalizeH="0" baseline="0" noProof="0">
                <a:ln>
                  <a:noFill/>
                </a:ln>
                <a:solidFill>
                  <a:srgbClr val="5E717A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complesse</a:t>
            </a:r>
            <a:endParaRPr kumimoji="0" sz="1200" b="0" i="0" u="none" strike="noStrike" kern="1200" cap="none" spc="0" normalizeH="0" baseline="0" noProof="0">
              <a:ln>
                <a:noFill/>
              </a:ln>
              <a:solidFill>
                <a:srgbClr val="5C717C"/>
              </a:solidFill>
              <a:effectLst/>
              <a:uLnTx/>
              <a:uFillTx/>
              <a:latin typeface="Trebuchet MS"/>
              <a:ea typeface="+mn-ea"/>
              <a:cs typeface="Trebuchet MS"/>
            </a:endParaRPr>
          </a:p>
          <a:p>
            <a:pPr marL="314960" marR="0" lvl="0" indent="-17272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 MT"/>
              <a:buChar char="•"/>
              <a:tabLst>
                <a:tab pos="315595" algn="l"/>
              </a:tabLst>
              <a:defRPr/>
            </a:pPr>
            <a:r>
              <a:rPr kumimoji="0" sz="1200" b="0" i="0" u="none" strike="noStrike" kern="1200" cap="none" spc="-10" normalizeH="0" baseline="0" noProof="0">
                <a:ln>
                  <a:noFill/>
                </a:ln>
                <a:solidFill>
                  <a:srgbClr val="5E717A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Piano</a:t>
            </a:r>
            <a:r>
              <a:rPr kumimoji="0" sz="1200" b="0" i="0" u="none" strike="noStrike" kern="1200" cap="none" spc="-25" normalizeH="0" baseline="0" noProof="0">
                <a:ln>
                  <a:noFill/>
                </a:ln>
                <a:solidFill>
                  <a:srgbClr val="5E717A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 </a:t>
            </a:r>
            <a:r>
              <a:rPr kumimoji="0" sz="1200" b="0" i="0" u="none" strike="noStrike" kern="1200" cap="none" spc="-5" normalizeH="0" baseline="0" noProof="0">
                <a:ln>
                  <a:noFill/>
                </a:ln>
                <a:solidFill>
                  <a:srgbClr val="5E717A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industriale</a:t>
            </a:r>
            <a:r>
              <a:rPr kumimoji="0" sz="1200" b="0" i="0" u="none" strike="noStrike" kern="1200" cap="none" spc="-45" normalizeH="0" baseline="0" noProof="0">
                <a:ln>
                  <a:noFill/>
                </a:ln>
                <a:solidFill>
                  <a:srgbClr val="5E717A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 </a:t>
            </a:r>
            <a:r>
              <a:rPr kumimoji="0" sz="1200" b="0" i="0" u="none" strike="noStrike" kern="1200" cap="none" spc="0" normalizeH="0" baseline="0" noProof="0">
                <a:ln>
                  <a:noFill/>
                </a:ln>
                <a:solidFill>
                  <a:srgbClr val="5E717A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con </a:t>
            </a:r>
            <a:r>
              <a:rPr kumimoji="0" sz="1200" b="0" i="0" u="none" strike="noStrike" kern="1200" cap="none" spc="-5" normalizeH="0" baseline="0" noProof="0">
                <a:ln>
                  <a:noFill/>
                </a:ln>
                <a:solidFill>
                  <a:srgbClr val="5E717A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evoluzione</a:t>
            </a:r>
            <a:r>
              <a:rPr kumimoji="0" sz="1200" b="0" i="0" u="none" strike="noStrike" kern="1200" cap="none" spc="-35" normalizeH="0" baseline="0" noProof="0">
                <a:ln>
                  <a:noFill/>
                </a:ln>
                <a:solidFill>
                  <a:srgbClr val="5E717A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 </a:t>
            </a:r>
            <a:r>
              <a:rPr kumimoji="0" sz="1200" b="0" i="0" u="none" strike="noStrike" kern="1200" cap="none" spc="0" normalizeH="0" baseline="0" noProof="0">
                <a:ln>
                  <a:noFill/>
                </a:ln>
                <a:solidFill>
                  <a:srgbClr val="5E717A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di</a:t>
            </a:r>
            <a:r>
              <a:rPr kumimoji="0" sz="1200" b="0" i="0" u="none" strike="noStrike" kern="1200" cap="none" spc="-10" normalizeH="0" baseline="0" noProof="0">
                <a:ln>
                  <a:noFill/>
                </a:ln>
                <a:solidFill>
                  <a:srgbClr val="5E717A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 </a:t>
            </a:r>
            <a:r>
              <a:rPr kumimoji="0" sz="1200" b="0" i="0" u="none" strike="noStrike" kern="1200" cap="none" spc="-5" normalizeH="0" baseline="0" noProof="0">
                <a:ln>
                  <a:noFill/>
                </a:ln>
                <a:solidFill>
                  <a:srgbClr val="5E717A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strumenti</a:t>
            </a:r>
            <a:r>
              <a:rPr kumimoji="0" sz="1200" b="0" i="0" u="none" strike="noStrike" kern="1200" cap="none" spc="-45" normalizeH="0" baseline="0" noProof="0">
                <a:ln>
                  <a:noFill/>
                </a:ln>
                <a:solidFill>
                  <a:srgbClr val="5E717A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 </a:t>
            </a:r>
            <a:r>
              <a:rPr kumimoji="0" sz="1200" b="0" i="0" u="none" strike="noStrike" kern="1200" cap="none" spc="0" normalizeH="0" baseline="0" noProof="0">
                <a:ln>
                  <a:noFill/>
                </a:ln>
                <a:solidFill>
                  <a:srgbClr val="5E717A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e prodotti</a:t>
            </a:r>
            <a:endParaRPr kumimoji="0" sz="1200" b="0" i="0" u="none" strike="noStrike" kern="1200" cap="none" spc="0" normalizeH="0" baseline="0" noProof="0">
              <a:ln>
                <a:noFill/>
              </a:ln>
              <a:solidFill>
                <a:srgbClr val="5C717C"/>
              </a:solidFill>
              <a:effectLst/>
              <a:uLnTx/>
              <a:uFillTx/>
              <a:latin typeface="Trebuchet MS"/>
              <a:ea typeface="+mn-ea"/>
              <a:cs typeface="Trebuchet MS"/>
            </a:endParaRPr>
          </a:p>
        </p:txBody>
      </p:sp>
      <p:grpSp>
        <p:nvGrpSpPr>
          <p:cNvPr id="73" name="object 14">
            <a:extLst>
              <a:ext uri="{FF2B5EF4-FFF2-40B4-BE49-F238E27FC236}">
                <a16:creationId xmlns:a16="http://schemas.microsoft.com/office/drawing/2014/main" id="{261B4839-9CB3-452C-B775-46E9F4C1DD3B}"/>
              </a:ext>
            </a:extLst>
          </p:cNvPr>
          <p:cNvGrpSpPr/>
          <p:nvPr/>
        </p:nvGrpSpPr>
        <p:grpSpPr>
          <a:xfrm>
            <a:off x="4374749" y="3086733"/>
            <a:ext cx="6966584" cy="2407920"/>
            <a:chOff x="4388358" y="3376421"/>
            <a:chExt cx="6966584" cy="2407920"/>
          </a:xfrm>
        </p:grpSpPr>
        <p:sp>
          <p:nvSpPr>
            <p:cNvPr id="74" name="object 15">
              <a:extLst>
                <a:ext uri="{FF2B5EF4-FFF2-40B4-BE49-F238E27FC236}">
                  <a16:creationId xmlns:a16="http://schemas.microsoft.com/office/drawing/2014/main" id="{F40C2D82-E492-43CB-8BEF-8EACE396724C}"/>
                </a:ext>
              </a:extLst>
            </p:cNvPr>
            <p:cNvSpPr/>
            <p:nvPr/>
          </p:nvSpPr>
          <p:spPr>
            <a:xfrm>
              <a:off x="4388358" y="3376421"/>
              <a:ext cx="6966584" cy="2407920"/>
            </a:xfrm>
            <a:custGeom>
              <a:avLst/>
              <a:gdLst/>
              <a:ahLst/>
              <a:cxnLst/>
              <a:rect l="l" t="t" r="r" b="b"/>
              <a:pathLst>
                <a:path w="6966584" h="2407920">
                  <a:moveTo>
                    <a:pt x="6966204" y="0"/>
                  </a:moveTo>
                  <a:lnTo>
                    <a:pt x="0" y="0"/>
                  </a:lnTo>
                  <a:lnTo>
                    <a:pt x="0" y="2407920"/>
                  </a:lnTo>
                  <a:lnTo>
                    <a:pt x="6966204" y="2407920"/>
                  </a:lnTo>
                  <a:lnTo>
                    <a:pt x="6966204" y="0"/>
                  </a:lnTo>
                  <a:close/>
                </a:path>
              </a:pathLst>
            </a:custGeom>
            <a:solidFill>
              <a:srgbClr val="5E717A">
                <a:alpha val="1959"/>
              </a:srgbClr>
            </a:solid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srgbClr val="5C717C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sp>
          <p:nvSpPr>
            <p:cNvPr id="75" name="object 16">
              <a:extLst>
                <a:ext uri="{FF2B5EF4-FFF2-40B4-BE49-F238E27FC236}">
                  <a16:creationId xmlns:a16="http://schemas.microsoft.com/office/drawing/2014/main" id="{6CE539C2-E8A4-40CF-A98C-E96DE6C7F28C}"/>
                </a:ext>
              </a:extLst>
            </p:cNvPr>
            <p:cNvSpPr/>
            <p:nvPr/>
          </p:nvSpPr>
          <p:spPr>
            <a:xfrm>
              <a:off x="4483608" y="3470147"/>
              <a:ext cx="6789420" cy="646430"/>
            </a:xfrm>
            <a:custGeom>
              <a:avLst/>
              <a:gdLst/>
              <a:ahLst/>
              <a:cxnLst/>
              <a:rect l="l" t="t" r="r" b="b"/>
              <a:pathLst>
                <a:path w="6789420" h="646429">
                  <a:moveTo>
                    <a:pt x="6789420" y="0"/>
                  </a:moveTo>
                  <a:lnTo>
                    <a:pt x="0" y="0"/>
                  </a:lnTo>
                  <a:lnTo>
                    <a:pt x="0" y="646176"/>
                  </a:lnTo>
                  <a:lnTo>
                    <a:pt x="6789420" y="646176"/>
                  </a:lnTo>
                  <a:lnTo>
                    <a:pt x="6789420" y="0"/>
                  </a:lnTo>
                  <a:close/>
                </a:path>
              </a:pathLst>
            </a:custGeom>
            <a:solidFill>
              <a:srgbClr val="5E717A"/>
            </a:solid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srgbClr val="5C717C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</p:grpSp>
      <p:sp>
        <p:nvSpPr>
          <p:cNvPr id="76" name="object 17">
            <a:extLst>
              <a:ext uri="{FF2B5EF4-FFF2-40B4-BE49-F238E27FC236}">
                <a16:creationId xmlns:a16="http://schemas.microsoft.com/office/drawing/2014/main" id="{73A888B0-F8A1-4234-9F21-A0E85DE421D1}"/>
              </a:ext>
            </a:extLst>
          </p:cNvPr>
          <p:cNvSpPr txBox="1"/>
          <p:nvPr/>
        </p:nvSpPr>
        <p:spPr>
          <a:xfrm>
            <a:off x="4374749" y="3086733"/>
            <a:ext cx="6966584" cy="2407920"/>
          </a:xfrm>
          <a:prstGeom prst="rect">
            <a:avLst/>
          </a:prstGeom>
          <a:ln w="25400">
            <a:solidFill>
              <a:srgbClr val="5E717A"/>
            </a:solidFill>
          </a:ln>
        </p:spPr>
        <p:txBody>
          <a:bodyPr vert="horz" wrap="square" lIns="0" tIns="133350" rIns="0" bIns="0" rtlCol="0">
            <a:spAutoFit/>
          </a:bodyPr>
          <a:lstStyle/>
          <a:p>
            <a:pPr marL="186055" marR="0" lvl="0" indent="0" algn="l" defTabSz="914400" rtl="0" eaLnBrk="1" fontAlgn="auto" latinLnBrk="0" hangingPunct="1">
              <a:lnSpc>
                <a:spcPct val="100000"/>
              </a:lnSpc>
              <a:spcBef>
                <a:spcPts val="105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800" b="1" i="0" u="none" strike="noStrike" kern="1200" cap="none" spc="-5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Gestione</a:t>
            </a:r>
            <a:r>
              <a:rPr kumimoji="0" sz="1800" b="1" i="0" u="none" strike="noStrike" kern="1200" cap="none" spc="-5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 </a:t>
            </a:r>
            <a:r>
              <a:rPr kumimoji="0" sz="1800" b="1" i="0" u="none" strike="noStrike" kern="1200" cap="none" spc="-5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strumenti</a:t>
            </a: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srgbClr val="5C717C"/>
              </a:solidFill>
              <a:effectLst/>
              <a:uLnTx/>
              <a:uFillTx/>
              <a:latin typeface="Trebuchet MS"/>
              <a:ea typeface="+mn-ea"/>
              <a:cs typeface="Trebuchet MS"/>
            </a:endParaRPr>
          </a:p>
          <a:p>
            <a:pPr marL="186055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800" b="1" i="0" u="none" strike="noStrike" kern="1200" cap="none" spc="-5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per finanziamenti</a:t>
            </a:r>
            <a:r>
              <a:rPr kumimoji="0" sz="1800" b="1" i="0" u="none" strike="noStrike" kern="1200" cap="none" spc="-1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 </a:t>
            </a:r>
            <a:r>
              <a:rPr kumimoji="0" sz="1800" b="1" i="0" u="none" strike="noStrike" kern="1200" cap="none" spc="-5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agevolati</a:t>
            </a: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srgbClr val="5C717C"/>
              </a:solidFill>
              <a:effectLst/>
              <a:uLnTx/>
              <a:uFillTx/>
              <a:latin typeface="Trebuchet MS"/>
              <a:ea typeface="+mn-ea"/>
              <a:cs typeface="Trebuchet M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50" b="0" i="0" u="none" strike="noStrike" kern="1200" cap="none" spc="0" normalizeH="0" baseline="0" noProof="0">
              <a:ln>
                <a:noFill/>
              </a:ln>
              <a:solidFill>
                <a:srgbClr val="5C717C"/>
              </a:solidFill>
              <a:effectLst/>
              <a:uLnTx/>
              <a:uFillTx/>
              <a:latin typeface="Trebuchet MS"/>
              <a:ea typeface="+mn-ea"/>
              <a:cs typeface="Trebuchet MS"/>
            </a:endParaRPr>
          </a:p>
          <a:p>
            <a:pPr marL="314960" marR="0" lvl="0" indent="-17272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 MT"/>
              <a:buChar char="•"/>
              <a:tabLst>
                <a:tab pos="315595" algn="l"/>
              </a:tabLst>
              <a:defRPr/>
            </a:pPr>
            <a:r>
              <a:rPr kumimoji="0" sz="1200" b="0" i="0" u="none" strike="noStrike" kern="1200" cap="none" spc="-5" normalizeH="0" baseline="0" noProof="0">
                <a:ln>
                  <a:noFill/>
                </a:ln>
                <a:solidFill>
                  <a:srgbClr val="5E717A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Amministrazione</a:t>
            </a:r>
            <a:r>
              <a:rPr kumimoji="0" sz="1200" b="0" i="0" u="none" strike="noStrike" kern="1200" cap="none" spc="-40" normalizeH="0" baseline="0" noProof="0">
                <a:ln>
                  <a:noFill/>
                </a:ln>
                <a:solidFill>
                  <a:srgbClr val="5E717A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 </a:t>
            </a:r>
            <a:r>
              <a:rPr kumimoji="0" sz="1200" b="0" i="0" u="none" strike="noStrike" kern="1200" cap="none" spc="-5" normalizeH="0" baseline="0" noProof="0">
                <a:ln>
                  <a:noFill/>
                </a:ln>
                <a:solidFill>
                  <a:srgbClr val="5E717A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Fondo</a:t>
            </a:r>
            <a:r>
              <a:rPr kumimoji="0" sz="1200" b="0" i="0" u="none" strike="noStrike" kern="1200" cap="none" spc="0" normalizeH="0" baseline="0" noProof="0">
                <a:ln>
                  <a:noFill/>
                </a:ln>
                <a:solidFill>
                  <a:srgbClr val="5E717A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 contributi</a:t>
            </a:r>
            <a:r>
              <a:rPr kumimoji="0" sz="1200" b="0" i="0" u="none" strike="noStrike" kern="1200" cap="none" spc="-40" normalizeH="0" baseline="0" noProof="0">
                <a:ln>
                  <a:noFill/>
                </a:ln>
                <a:solidFill>
                  <a:srgbClr val="5E717A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 </a:t>
            </a:r>
            <a:r>
              <a:rPr kumimoji="0" sz="1200" b="0" i="0" u="none" strike="noStrike" kern="1200" cap="none" spc="-5" normalizeH="0" baseline="0" noProof="0">
                <a:ln>
                  <a:noFill/>
                </a:ln>
                <a:solidFill>
                  <a:srgbClr val="5E717A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negli</a:t>
            </a:r>
            <a:r>
              <a:rPr kumimoji="0" sz="1200" b="0" i="0" u="none" strike="noStrike" kern="1200" cap="none" spc="-10" normalizeH="0" baseline="0" noProof="0">
                <a:ln>
                  <a:noFill/>
                </a:ln>
                <a:solidFill>
                  <a:srgbClr val="5E717A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 </a:t>
            </a:r>
            <a:r>
              <a:rPr kumimoji="0" sz="1200" b="0" i="0" u="none" strike="noStrike" kern="1200" cap="none" spc="-5" normalizeH="0" baseline="0" noProof="0">
                <a:ln>
                  <a:noFill/>
                </a:ln>
                <a:solidFill>
                  <a:srgbClr val="5E717A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interessi</a:t>
            </a:r>
            <a:r>
              <a:rPr kumimoji="0" sz="1200" b="0" i="0" u="none" strike="noStrike" kern="1200" cap="none" spc="-30" normalizeH="0" baseline="0" noProof="0">
                <a:ln>
                  <a:noFill/>
                </a:ln>
                <a:solidFill>
                  <a:srgbClr val="5E717A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 </a:t>
            </a:r>
            <a:r>
              <a:rPr kumimoji="0" sz="1200" b="0" i="0" u="none" strike="noStrike" kern="1200" cap="none" spc="0" normalizeH="0" baseline="0" noProof="0">
                <a:ln>
                  <a:noFill/>
                </a:ln>
                <a:solidFill>
                  <a:srgbClr val="5E717A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e </a:t>
            </a:r>
            <a:r>
              <a:rPr kumimoji="0" sz="1200" b="0" i="0" u="none" strike="noStrike" kern="1200" cap="none" spc="-5" normalizeH="0" baseline="0" noProof="0">
                <a:ln>
                  <a:noFill/>
                </a:ln>
                <a:solidFill>
                  <a:srgbClr val="5E717A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Fondo </a:t>
            </a:r>
            <a:r>
              <a:rPr kumimoji="0" sz="1200" b="0" i="0" u="none" strike="noStrike" kern="1200" cap="none" spc="0" normalizeH="0" baseline="0" noProof="0">
                <a:ln>
                  <a:noFill/>
                </a:ln>
                <a:solidFill>
                  <a:srgbClr val="5E717A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di garanzia</a:t>
            </a:r>
            <a:r>
              <a:rPr kumimoji="0" sz="1200" b="0" i="0" u="none" strike="noStrike" kern="1200" cap="none" spc="-40" normalizeH="0" baseline="0" noProof="0">
                <a:ln>
                  <a:noFill/>
                </a:ln>
                <a:solidFill>
                  <a:srgbClr val="5E717A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 </a:t>
            </a:r>
            <a:r>
              <a:rPr kumimoji="0" sz="1200" b="0" i="0" u="none" strike="noStrike" kern="1200" cap="none" spc="-5" normalizeH="0" baseline="0" noProof="0">
                <a:ln>
                  <a:noFill/>
                </a:ln>
                <a:solidFill>
                  <a:srgbClr val="5E717A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settore</a:t>
            </a:r>
            <a:r>
              <a:rPr kumimoji="0" sz="1200" b="0" i="0" u="none" strike="noStrike" kern="1200" cap="none" spc="-15" normalizeH="0" baseline="0" noProof="0">
                <a:ln>
                  <a:noFill/>
                </a:ln>
                <a:solidFill>
                  <a:srgbClr val="5E717A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 </a:t>
            </a:r>
            <a:r>
              <a:rPr kumimoji="0" sz="1200" b="0" i="0" u="none" strike="noStrike" kern="1200" cap="none" spc="-5" normalizeH="0" baseline="0" noProof="0">
                <a:ln>
                  <a:noFill/>
                </a:ln>
                <a:solidFill>
                  <a:srgbClr val="5E717A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Sport</a:t>
            </a:r>
            <a:endParaRPr kumimoji="0" sz="1200" b="0" i="0" u="none" strike="noStrike" kern="1200" cap="none" spc="0" normalizeH="0" baseline="0" noProof="0">
              <a:ln>
                <a:noFill/>
              </a:ln>
              <a:solidFill>
                <a:srgbClr val="5C717C"/>
              </a:solidFill>
              <a:effectLst/>
              <a:uLnTx/>
              <a:uFillTx/>
              <a:latin typeface="Trebuchet MS"/>
              <a:ea typeface="+mn-ea"/>
              <a:cs typeface="Trebuchet MS"/>
            </a:endParaRPr>
          </a:p>
          <a:p>
            <a:pPr marL="314960" marR="0" lvl="0" indent="-17272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 MT"/>
              <a:buChar char="•"/>
              <a:tabLst>
                <a:tab pos="315595" algn="l"/>
              </a:tabLst>
              <a:defRPr/>
            </a:pPr>
            <a:r>
              <a:rPr kumimoji="0" sz="1200" b="0" i="0" u="none" strike="noStrike" kern="1200" cap="none" spc="0" normalizeH="0" baseline="0" noProof="0">
                <a:ln>
                  <a:noFill/>
                </a:ln>
                <a:solidFill>
                  <a:srgbClr val="5E717A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Il</a:t>
            </a:r>
            <a:r>
              <a:rPr kumimoji="0" sz="1200" b="0" i="0" u="none" strike="noStrike" kern="1200" cap="none" spc="-5" normalizeH="0" baseline="0" noProof="0">
                <a:ln>
                  <a:noFill/>
                </a:ln>
                <a:solidFill>
                  <a:srgbClr val="5E717A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 Fondo </a:t>
            </a:r>
            <a:r>
              <a:rPr kumimoji="0" sz="1200" b="0" i="0" u="none" strike="noStrike" kern="1200" cap="none" spc="0" normalizeH="0" baseline="0" noProof="0">
                <a:ln>
                  <a:noFill/>
                </a:ln>
                <a:solidFill>
                  <a:srgbClr val="5E717A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contributi</a:t>
            </a:r>
            <a:r>
              <a:rPr kumimoji="0" sz="1200" b="0" i="0" u="none" strike="noStrike" kern="1200" cap="none" spc="-40" normalizeH="0" baseline="0" noProof="0">
                <a:ln>
                  <a:noFill/>
                </a:ln>
                <a:solidFill>
                  <a:srgbClr val="5E717A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 </a:t>
            </a:r>
            <a:r>
              <a:rPr kumimoji="0" sz="1200" b="0" i="0" u="none" strike="noStrike" kern="1200" cap="none" spc="-5" normalizeH="0" baseline="0" noProof="0">
                <a:ln>
                  <a:noFill/>
                </a:ln>
                <a:solidFill>
                  <a:srgbClr val="5E717A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negli</a:t>
            </a:r>
            <a:r>
              <a:rPr kumimoji="0" sz="1200" b="0" i="0" u="none" strike="noStrike" kern="1200" cap="none" spc="-15" normalizeH="0" baseline="0" noProof="0">
                <a:ln>
                  <a:noFill/>
                </a:ln>
                <a:solidFill>
                  <a:srgbClr val="5E717A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 </a:t>
            </a:r>
            <a:r>
              <a:rPr kumimoji="0" sz="1200" b="0" i="0" u="none" strike="noStrike" kern="1200" cap="none" spc="-5" normalizeH="0" baseline="0" noProof="0">
                <a:ln>
                  <a:noFill/>
                </a:ln>
                <a:solidFill>
                  <a:srgbClr val="5E717A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interessi</a:t>
            </a:r>
            <a:r>
              <a:rPr kumimoji="0" sz="1200" b="0" i="0" u="none" strike="noStrike" kern="1200" cap="none" spc="-15" normalizeH="0" baseline="0" noProof="0">
                <a:ln>
                  <a:noFill/>
                </a:ln>
                <a:solidFill>
                  <a:srgbClr val="5E717A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 </a:t>
            </a:r>
            <a:r>
              <a:rPr kumimoji="0" sz="1200" b="0" i="0" u="none" strike="noStrike" kern="1200" cap="none" spc="-5" normalizeH="0" baseline="0" noProof="0">
                <a:ln>
                  <a:noFill/>
                </a:ln>
                <a:solidFill>
                  <a:srgbClr val="5E717A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Sport</a:t>
            </a:r>
            <a:r>
              <a:rPr kumimoji="0" sz="1200" b="0" i="0" u="none" strike="noStrike" kern="1200" cap="none" spc="-20" normalizeH="0" baseline="0" noProof="0">
                <a:ln>
                  <a:noFill/>
                </a:ln>
                <a:solidFill>
                  <a:srgbClr val="5E717A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 </a:t>
            </a:r>
            <a:r>
              <a:rPr kumimoji="0" sz="1200" b="0" i="0" u="none" strike="noStrike" kern="1200" cap="none" spc="0" normalizeH="0" baseline="0" noProof="0">
                <a:ln>
                  <a:noFill/>
                </a:ln>
                <a:solidFill>
                  <a:srgbClr val="5E717A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è</a:t>
            </a:r>
            <a:r>
              <a:rPr kumimoji="0" sz="1200" b="0" i="0" u="none" strike="noStrike" kern="1200" cap="none" spc="10" normalizeH="0" baseline="0" noProof="0">
                <a:ln>
                  <a:noFill/>
                </a:ln>
                <a:solidFill>
                  <a:srgbClr val="5E717A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 </a:t>
            </a:r>
            <a:r>
              <a:rPr kumimoji="0" sz="1200" b="0" i="0" u="none" strike="noStrike" kern="1200" cap="none" spc="-5" normalizeH="0" baseline="0" noProof="0">
                <a:ln>
                  <a:noFill/>
                </a:ln>
                <a:solidFill>
                  <a:srgbClr val="5E717A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alimentato</a:t>
            </a:r>
            <a:r>
              <a:rPr kumimoji="0" sz="1200" b="0" i="0" u="none" strike="noStrike" kern="1200" cap="none" spc="-30" normalizeH="0" baseline="0" noProof="0">
                <a:ln>
                  <a:noFill/>
                </a:ln>
                <a:solidFill>
                  <a:srgbClr val="5E717A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 </a:t>
            </a:r>
            <a:r>
              <a:rPr kumimoji="0" sz="1200" b="0" i="0" u="none" strike="noStrike" kern="1200" cap="none" spc="0" normalizeH="0" baseline="0" noProof="0">
                <a:ln>
                  <a:noFill/>
                </a:ln>
                <a:solidFill>
                  <a:srgbClr val="5E717A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con</a:t>
            </a:r>
            <a:r>
              <a:rPr kumimoji="0" sz="1200" b="0" i="0" u="none" strike="noStrike" kern="1200" cap="none" spc="5" normalizeH="0" baseline="0" noProof="0">
                <a:ln>
                  <a:noFill/>
                </a:ln>
                <a:solidFill>
                  <a:srgbClr val="5E717A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 </a:t>
            </a:r>
            <a:r>
              <a:rPr kumimoji="0" sz="1200" b="0" i="0" u="none" strike="noStrike" kern="1200" cap="none" spc="0" normalizeH="0" baseline="0" noProof="0">
                <a:ln>
                  <a:noFill/>
                </a:ln>
                <a:solidFill>
                  <a:srgbClr val="5E717A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i</a:t>
            </a:r>
            <a:r>
              <a:rPr kumimoji="0" sz="1200" b="0" i="0" u="none" strike="noStrike" kern="1200" cap="none" spc="-5" normalizeH="0" baseline="0" noProof="0">
                <a:ln>
                  <a:noFill/>
                </a:ln>
                <a:solidFill>
                  <a:srgbClr val="5E717A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 dividendi </a:t>
            </a:r>
            <a:r>
              <a:rPr kumimoji="0" sz="1200" b="0" i="0" u="none" strike="noStrike" kern="1200" cap="none" spc="-10" normalizeH="0" baseline="0" noProof="0">
                <a:ln>
                  <a:noFill/>
                </a:ln>
                <a:solidFill>
                  <a:srgbClr val="5E717A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distribuiti</a:t>
            </a:r>
            <a:r>
              <a:rPr kumimoji="0" sz="1200" b="0" i="0" u="none" strike="noStrike" kern="1200" cap="none" spc="-35" normalizeH="0" baseline="0" noProof="0">
                <a:ln>
                  <a:noFill/>
                </a:ln>
                <a:solidFill>
                  <a:srgbClr val="5E717A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 </a:t>
            </a:r>
            <a:r>
              <a:rPr kumimoji="0" sz="1200" b="0" i="0" u="none" strike="noStrike" kern="1200" cap="none" spc="0" normalizeH="0" baseline="0" noProof="0">
                <a:ln>
                  <a:noFill/>
                </a:ln>
                <a:solidFill>
                  <a:srgbClr val="5E717A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da</a:t>
            </a:r>
            <a:r>
              <a:rPr kumimoji="0" sz="1200" b="0" i="0" u="none" strike="noStrike" kern="1200" cap="none" spc="-5" normalizeH="0" baseline="0" noProof="0">
                <a:ln>
                  <a:noFill/>
                </a:ln>
                <a:solidFill>
                  <a:srgbClr val="5E717A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 </a:t>
            </a:r>
            <a:r>
              <a:rPr kumimoji="0" sz="1200" b="0" i="0" u="none" strike="noStrike" kern="1200" cap="none" spc="0" normalizeH="0" baseline="0" noProof="0">
                <a:ln>
                  <a:noFill/>
                </a:ln>
                <a:solidFill>
                  <a:srgbClr val="5E717A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ICS</a:t>
            </a:r>
            <a:r>
              <a:rPr kumimoji="0" sz="1200" b="0" i="0" u="none" strike="noStrike" kern="1200" cap="none" spc="-10" normalizeH="0" baseline="0" noProof="0">
                <a:ln>
                  <a:noFill/>
                </a:ln>
                <a:solidFill>
                  <a:srgbClr val="5E717A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 </a:t>
            </a:r>
            <a:r>
              <a:rPr kumimoji="0" sz="1200" b="0" i="0" u="none" strike="noStrike" kern="1200" cap="none" spc="0" normalizeH="0" baseline="0" noProof="0">
                <a:ln>
                  <a:noFill/>
                </a:ln>
                <a:solidFill>
                  <a:srgbClr val="5E717A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al</a:t>
            </a:r>
            <a:r>
              <a:rPr kumimoji="0" sz="1200" b="0" i="0" u="none" strike="noStrike" kern="1200" cap="none" spc="-5" normalizeH="0" baseline="0" noProof="0">
                <a:ln>
                  <a:noFill/>
                </a:ln>
                <a:solidFill>
                  <a:srgbClr val="5E717A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 </a:t>
            </a:r>
            <a:r>
              <a:rPr kumimoji="0" sz="1200" b="0" i="0" u="none" strike="noStrike" kern="1200" cap="none" spc="0" normalizeH="0" baseline="0" noProof="0">
                <a:ln>
                  <a:noFill/>
                </a:ln>
                <a:solidFill>
                  <a:srgbClr val="5E717A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MEF</a:t>
            </a:r>
            <a:endParaRPr kumimoji="0" sz="1200" b="0" i="0" u="none" strike="noStrike" kern="1200" cap="none" spc="0" normalizeH="0" baseline="0" noProof="0">
              <a:ln>
                <a:noFill/>
              </a:ln>
              <a:solidFill>
                <a:srgbClr val="5C717C"/>
              </a:solidFill>
              <a:effectLst/>
              <a:uLnTx/>
              <a:uFillTx/>
              <a:latin typeface="Trebuchet MS"/>
              <a:ea typeface="+mn-ea"/>
              <a:cs typeface="Trebuchet MS"/>
            </a:endParaRPr>
          </a:p>
          <a:p>
            <a:pPr marL="314960" marR="0" lvl="0" indent="-17272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 MT"/>
              <a:buChar char="•"/>
              <a:tabLst>
                <a:tab pos="315595" algn="l"/>
              </a:tabLst>
              <a:defRPr/>
            </a:pPr>
            <a:r>
              <a:rPr kumimoji="0" sz="1200" b="0" i="0" u="none" strike="noStrike" kern="1200" cap="none" spc="-5" normalizeH="0" baseline="0" noProof="0">
                <a:ln>
                  <a:noFill/>
                </a:ln>
                <a:solidFill>
                  <a:srgbClr val="5E717A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Fondo</a:t>
            </a:r>
            <a:r>
              <a:rPr kumimoji="0" sz="1200" b="0" i="0" u="none" strike="noStrike" kern="1200" cap="none" spc="-10" normalizeH="0" baseline="0" noProof="0">
                <a:ln>
                  <a:noFill/>
                </a:ln>
                <a:solidFill>
                  <a:srgbClr val="5E717A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 </a:t>
            </a:r>
            <a:r>
              <a:rPr kumimoji="0" sz="1200" b="0" i="0" u="none" strike="noStrike" kern="1200" cap="none" spc="0" normalizeH="0" baseline="0" noProof="0">
                <a:ln>
                  <a:noFill/>
                </a:ln>
                <a:solidFill>
                  <a:srgbClr val="5E717A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contributi</a:t>
            </a:r>
            <a:r>
              <a:rPr kumimoji="0" sz="1200" b="0" i="0" u="none" strike="noStrike" kern="1200" cap="none" spc="-45" normalizeH="0" baseline="0" noProof="0">
                <a:ln>
                  <a:noFill/>
                </a:ln>
                <a:solidFill>
                  <a:srgbClr val="5E717A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 </a:t>
            </a:r>
            <a:r>
              <a:rPr kumimoji="0" sz="1200" b="0" i="0" u="none" strike="noStrike" kern="1200" cap="none" spc="-5" normalizeH="0" baseline="0" noProof="0">
                <a:ln>
                  <a:noFill/>
                </a:ln>
                <a:solidFill>
                  <a:srgbClr val="5E717A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negli</a:t>
            </a:r>
            <a:r>
              <a:rPr kumimoji="0" sz="1200" b="0" i="0" u="none" strike="noStrike" kern="1200" cap="none" spc="-20" normalizeH="0" baseline="0" noProof="0">
                <a:ln>
                  <a:noFill/>
                </a:ln>
                <a:solidFill>
                  <a:srgbClr val="5E717A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 </a:t>
            </a:r>
            <a:r>
              <a:rPr kumimoji="0" sz="1200" b="0" i="0" u="none" strike="noStrike" kern="1200" cap="none" spc="-5" normalizeH="0" baseline="0" noProof="0">
                <a:ln>
                  <a:noFill/>
                </a:ln>
                <a:solidFill>
                  <a:srgbClr val="5E717A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interessi</a:t>
            </a:r>
            <a:r>
              <a:rPr kumimoji="0" sz="1200" b="0" i="0" u="none" strike="noStrike" kern="1200" cap="none" spc="-20" normalizeH="0" baseline="0" noProof="0">
                <a:ln>
                  <a:noFill/>
                </a:ln>
                <a:solidFill>
                  <a:srgbClr val="5E717A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 </a:t>
            </a:r>
            <a:r>
              <a:rPr kumimoji="0" sz="1200" b="0" i="0" u="none" strike="noStrike" kern="1200" cap="none" spc="0" normalizeH="0" baseline="0" noProof="0">
                <a:ln>
                  <a:noFill/>
                </a:ln>
                <a:solidFill>
                  <a:srgbClr val="5E717A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e</a:t>
            </a:r>
            <a:r>
              <a:rPr kumimoji="0" sz="1200" b="0" i="0" u="none" strike="noStrike" kern="1200" cap="none" spc="-10" normalizeH="0" baseline="0" noProof="0">
                <a:ln>
                  <a:noFill/>
                </a:ln>
                <a:solidFill>
                  <a:srgbClr val="5E717A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 </a:t>
            </a:r>
            <a:r>
              <a:rPr kumimoji="0" sz="1200" b="0" i="0" u="none" strike="noStrike" kern="1200" cap="none" spc="-5" normalizeH="0" baseline="0" noProof="0">
                <a:ln>
                  <a:noFill/>
                </a:ln>
                <a:solidFill>
                  <a:srgbClr val="5E717A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Fondo </a:t>
            </a:r>
            <a:r>
              <a:rPr kumimoji="0" sz="1200" b="0" i="0" u="none" strike="noStrike" kern="1200" cap="none" spc="0" normalizeH="0" baseline="0" noProof="0">
                <a:ln>
                  <a:noFill/>
                </a:ln>
                <a:solidFill>
                  <a:srgbClr val="5E717A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di</a:t>
            </a:r>
            <a:r>
              <a:rPr kumimoji="0" sz="1200" b="0" i="0" u="none" strike="noStrike" kern="1200" cap="none" spc="-10" normalizeH="0" baseline="0" noProof="0">
                <a:ln>
                  <a:noFill/>
                </a:ln>
                <a:solidFill>
                  <a:srgbClr val="5E717A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 </a:t>
            </a:r>
            <a:r>
              <a:rPr kumimoji="0" sz="1200" b="0" i="0" u="none" strike="noStrike" kern="1200" cap="none" spc="0" normalizeH="0" baseline="0" noProof="0">
                <a:ln>
                  <a:noFill/>
                </a:ln>
                <a:solidFill>
                  <a:srgbClr val="5E717A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garanzia</a:t>
            </a:r>
            <a:r>
              <a:rPr kumimoji="0" sz="1200" b="0" i="0" u="none" strike="noStrike" kern="1200" cap="none" spc="-45" normalizeH="0" baseline="0" noProof="0">
                <a:ln>
                  <a:noFill/>
                </a:ln>
                <a:solidFill>
                  <a:srgbClr val="5E717A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 </a:t>
            </a:r>
            <a:r>
              <a:rPr kumimoji="0" sz="1200" b="0" i="0" u="none" strike="noStrike" kern="1200" cap="none" spc="-5" normalizeH="0" baseline="0" noProof="0">
                <a:ln>
                  <a:noFill/>
                </a:ln>
                <a:solidFill>
                  <a:srgbClr val="5E717A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settore</a:t>
            </a:r>
            <a:r>
              <a:rPr kumimoji="0" sz="1200" b="0" i="0" u="none" strike="noStrike" kern="1200" cap="none" spc="-20" normalizeH="0" baseline="0" noProof="0">
                <a:ln>
                  <a:noFill/>
                </a:ln>
                <a:solidFill>
                  <a:srgbClr val="5E717A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 </a:t>
            </a:r>
            <a:r>
              <a:rPr kumimoji="0" sz="1200" b="0" i="0" u="none" strike="noStrike" kern="1200" cap="none" spc="-5" normalizeH="0" baseline="0" noProof="0">
                <a:ln>
                  <a:noFill/>
                </a:ln>
                <a:solidFill>
                  <a:srgbClr val="5E717A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Cultura</a:t>
            </a:r>
            <a:endParaRPr kumimoji="0" sz="1200" b="0" i="0" u="none" strike="noStrike" kern="1200" cap="none" spc="0" normalizeH="0" baseline="0" noProof="0">
              <a:ln>
                <a:noFill/>
              </a:ln>
              <a:solidFill>
                <a:srgbClr val="5C717C"/>
              </a:solidFill>
              <a:effectLst/>
              <a:uLnTx/>
              <a:uFillTx/>
              <a:latin typeface="Trebuchet MS"/>
              <a:ea typeface="+mn-ea"/>
              <a:cs typeface="Trebuchet MS"/>
            </a:endParaRPr>
          </a:p>
          <a:p>
            <a:pPr marL="314960" marR="0" lvl="0" indent="-17272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 MT"/>
              <a:buChar char="•"/>
              <a:tabLst>
                <a:tab pos="315595" algn="l"/>
              </a:tabLst>
              <a:defRPr/>
            </a:pPr>
            <a:r>
              <a:rPr kumimoji="0" sz="1200" b="0" i="0" u="none" strike="noStrike" kern="1200" cap="none" spc="0" normalizeH="0" baseline="0" noProof="0">
                <a:ln>
                  <a:noFill/>
                </a:ln>
                <a:solidFill>
                  <a:srgbClr val="5E717A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Gestione</a:t>
            </a:r>
            <a:r>
              <a:rPr kumimoji="0" sz="1200" b="0" i="0" u="none" strike="noStrike" kern="1200" cap="none" spc="-35" normalizeH="0" baseline="0" noProof="0">
                <a:ln>
                  <a:noFill/>
                </a:ln>
                <a:solidFill>
                  <a:srgbClr val="5E717A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 </a:t>
            </a:r>
            <a:r>
              <a:rPr kumimoji="0" sz="1200" b="0" i="0" u="none" strike="noStrike" kern="1200" cap="none" spc="0" normalizeH="0" baseline="0" noProof="0">
                <a:ln>
                  <a:noFill/>
                </a:ln>
                <a:solidFill>
                  <a:srgbClr val="5E717A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fondi</a:t>
            </a:r>
            <a:r>
              <a:rPr kumimoji="0" sz="1200" b="0" i="0" u="none" strike="noStrike" kern="1200" cap="none" spc="-35" normalizeH="0" baseline="0" noProof="0">
                <a:ln>
                  <a:noFill/>
                </a:ln>
                <a:solidFill>
                  <a:srgbClr val="5E717A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 </a:t>
            </a:r>
            <a:r>
              <a:rPr kumimoji="0" sz="1200" b="0" i="0" u="none" strike="noStrike" kern="1200" cap="none" spc="-5" normalizeH="0" baseline="0" noProof="0">
                <a:ln>
                  <a:noFill/>
                </a:ln>
                <a:solidFill>
                  <a:srgbClr val="5E717A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regionali</a:t>
            </a:r>
            <a:r>
              <a:rPr kumimoji="0" sz="1200" b="0" i="0" u="none" strike="noStrike" kern="1200" cap="none" spc="-30" normalizeH="0" baseline="0" noProof="0">
                <a:ln>
                  <a:noFill/>
                </a:ln>
                <a:solidFill>
                  <a:srgbClr val="5E717A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 </a:t>
            </a:r>
            <a:r>
              <a:rPr kumimoji="0" sz="1200" b="0" i="0" u="none" strike="noStrike" kern="1200" cap="none" spc="0" normalizeH="0" baseline="0" noProof="0">
                <a:ln>
                  <a:noFill/>
                </a:ln>
                <a:solidFill>
                  <a:srgbClr val="5E717A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contributi</a:t>
            </a:r>
            <a:r>
              <a:rPr kumimoji="0" sz="1200" b="0" i="0" u="none" strike="noStrike" kern="1200" cap="none" spc="-45" normalizeH="0" baseline="0" noProof="0">
                <a:ln>
                  <a:noFill/>
                </a:ln>
                <a:solidFill>
                  <a:srgbClr val="5E717A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 </a:t>
            </a:r>
            <a:r>
              <a:rPr kumimoji="0" sz="1200" b="0" i="0" u="none" strike="noStrike" kern="1200" cap="none" spc="0" normalizeH="0" baseline="0" noProof="0">
                <a:ln>
                  <a:noFill/>
                </a:ln>
                <a:solidFill>
                  <a:srgbClr val="5E717A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in</a:t>
            </a:r>
            <a:r>
              <a:rPr kumimoji="0" sz="1200" b="0" i="0" u="none" strike="noStrike" kern="1200" cap="none" spc="-25" normalizeH="0" baseline="0" noProof="0">
                <a:ln>
                  <a:noFill/>
                </a:ln>
                <a:solidFill>
                  <a:srgbClr val="5E717A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 </a:t>
            </a:r>
            <a:r>
              <a:rPr kumimoji="0" sz="1200" b="0" i="0" u="none" strike="noStrike" kern="1200" cap="none" spc="-5" normalizeH="0" baseline="0" noProof="0">
                <a:ln>
                  <a:noFill/>
                </a:ln>
                <a:solidFill>
                  <a:srgbClr val="5E717A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c/interessi</a:t>
            </a:r>
            <a:r>
              <a:rPr kumimoji="0" sz="1200" b="0" i="0" u="none" strike="noStrike" kern="1200" cap="none" spc="-15" normalizeH="0" baseline="0" noProof="0">
                <a:ln>
                  <a:noFill/>
                </a:ln>
                <a:solidFill>
                  <a:srgbClr val="5E717A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 </a:t>
            </a:r>
            <a:r>
              <a:rPr kumimoji="0" sz="1200" b="0" i="0" u="none" strike="noStrike" kern="1200" cap="none" spc="0" normalizeH="0" baseline="0" noProof="0">
                <a:ln>
                  <a:noFill/>
                </a:ln>
                <a:solidFill>
                  <a:srgbClr val="5E717A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e</a:t>
            </a:r>
            <a:r>
              <a:rPr kumimoji="0" sz="1200" b="0" i="0" u="none" strike="noStrike" kern="1200" cap="none" spc="-10" normalizeH="0" baseline="0" noProof="0">
                <a:ln>
                  <a:noFill/>
                </a:ln>
                <a:solidFill>
                  <a:srgbClr val="5E717A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 </a:t>
            </a:r>
            <a:r>
              <a:rPr kumimoji="0" sz="1200" b="0" i="0" u="none" strike="noStrike" kern="1200" cap="none" spc="-5" normalizeH="0" baseline="0" noProof="0">
                <a:ln>
                  <a:noFill/>
                </a:ln>
                <a:solidFill>
                  <a:srgbClr val="5E717A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c/capitale</a:t>
            </a:r>
            <a:r>
              <a:rPr kumimoji="0" sz="1200" b="0" i="0" u="none" strike="noStrike" kern="1200" cap="none" spc="-35" normalizeH="0" baseline="0" noProof="0">
                <a:ln>
                  <a:noFill/>
                </a:ln>
                <a:solidFill>
                  <a:srgbClr val="5E717A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 </a:t>
            </a:r>
            <a:r>
              <a:rPr kumimoji="0" sz="1200" b="0" i="0" u="none" strike="noStrike" kern="1200" cap="none" spc="0" normalizeH="0" baseline="0" noProof="0">
                <a:ln>
                  <a:noFill/>
                </a:ln>
                <a:solidFill>
                  <a:srgbClr val="5E717A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per</a:t>
            </a:r>
            <a:r>
              <a:rPr kumimoji="0" sz="1200" b="0" i="0" u="none" strike="noStrike" kern="1200" cap="none" spc="-20" normalizeH="0" baseline="0" noProof="0">
                <a:ln>
                  <a:noFill/>
                </a:ln>
                <a:solidFill>
                  <a:srgbClr val="5E717A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 </a:t>
            </a:r>
            <a:r>
              <a:rPr kumimoji="0" sz="1200" b="0" i="0" u="none" strike="noStrike" kern="1200" cap="none" spc="0" normalizeH="0" baseline="0" noProof="0">
                <a:ln>
                  <a:noFill/>
                </a:ln>
                <a:solidFill>
                  <a:srgbClr val="5E717A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impianti</a:t>
            </a:r>
            <a:r>
              <a:rPr kumimoji="0" sz="1200" b="0" i="0" u="none" strike="noStrike" kern="1200" cap="none" spc="-45" normalizeH="0" baseline="0" noProof="0">
                <a:ln>
                  <a:noFill/>
                </a:ln>
                <a:solidFill>
                  <a:srgbClr val="5E717A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 </a:t>
            </a:r>
            <a:r>
              <a:rPr kumimoji="0" sz="1200" b="0" i="0" u="none" strike="noStrike" kern="1200" cap="none" spc="0" normalizeH="0" baseline="0" noProof="0">
                <a:ln>
                  <a:noFill/>
                </a:ln>
                <a:solidFill>
                  <a:srgbClr val="5E717A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sportivi.</a:t>
            </a:r>
            <a:endParaRPr kumimoji="0" sz="1200" b="0" i="0" u="none" strike="noStrike" kern="1200" cap="none" spc="0" normalizeH="0" baseline="0" noProof="0">
              <a:ln>
                <a:noFill/>
              </a:ln>
              <a:solidFill>
                <a:srgbClr val="5C717C"/>
              </a:solidFill>
              <a:effectLst/>
              <a:uLnTx/>
              <a:uFillTx/>
              <a:latin typeface="Trebuchet MS"/>
              <a:ea typeface="+mn-ea"/>
              <a:cs typeface="Trebuchet MS"/>
            </a:endParaRPr>
          </a:p>
          <a:p>
            <a:pPr marL="314960" marR="288290" lvl="0" indent="-17272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 MT"/>
              <a:buChar char="•"/>
              <a:tabLst>
                <a:tab pos="315595" algn="l"/>
              </a:tabLst>
              <a:defRPr/>
            </a:pPr>
            <a:r>
              <a:rPr kumimoji="0" sz="1200" b="0" i="0" u="none" strike="noStrike" kern="1200" cap="none" spc="-5" normalizeH="0" baseline="0" noProof="0">
                <a:ln>
                  <a:noFill/>
                </a:ln>
                <a:solidFill>
                  <a:srgbClr val="5E717A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Concessione</a:t>
            </a:r>
            <a:r>
              <a:rPr kumimoji="0" sz="1200" b="0" i="0" u="none" strike="noStrike" kern="1200" cap="none" spc="-30" normalizeH="0" baseline="0" noProof="0">
                <a:ln>
                  <a:noFill/>
                </a:ln>
                <a:solidFill>
                  <a:srgbClr val="5E717A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 </a:t>
            </a:r>
            <a:r>
              <a:rPr kumimoji="0" sz="1200" b="0" i="0" u="none" strike="noStrike" kern="1200" cap="none" spc="0" normalizeH="0" baseline="0" noProof="0">
                <a:ln>
                  <a:noFill/>
                </a:ln>
                <a:solidFill>
                  <a:srgbClr val="5E717A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di</a:t>
            </a:r>
            <a:r>
              <a:rPr kumimoji="0" sz="1200" b="0" i="0" u="none" strike="noStrike" kern="1200" cap="none" spc="-15" normalizeH="0" baseline="0" noProof="0">
                <a:ln>
                  <a:noFill/>
                </a:ln>
                <a:solidFill>
                  <a:srgbClr val="5E717A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 </a:t>
            </a:r>
            <a:r>
              <a:rPr kumimoji="0" sz="1200" b="0" i="0" u="none" strike="noStrike" kern="1200" cap="none" spc="-5" normalizeH="0" baseline="0" noProof="0">
                <a:ln>
                  <a:noFill/>
                </a:ln>
                <a:solidFill>
                  <a:srgbClr val="5E717A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agevolazioni</a:t>
            </a:r>
            <a:r>
              <a:rPr kumimoji="0" sz="1200" b="0" i="0" u="none" strike="noStrike" kern="1200" cap="none" spc="-30" normalizeH="0" baseline="0" noProof="0">
                <a:ln>
                  <a:noFill/>
                </a:ln>
                <a:solidFill>
                  <a:srgbClr val="5E717A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 </a:t>
            </a:r>
            <a:r>
              <a:rPr kumimoji="0" sz="1200" b="0" i="0" u="none" strike="noStrike" kern="1200" cap="none" spc="-5" normalizeH="0" baseline="0" noProof="0">
                <a:ln>
                  <a:noFill/>
                </a:ln>
                <a:solidFill>
                  <a:srgbClr val="5E717A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su</a:t>
            </a:r>
            <a:r>
              <a:rPr kumimoji="0" sz="1200" b="0" i="0" u="none" strike="noStrike" kern="1200" cap="none" spc="5" normalizeH="0" baseline="0" noProof="0">
                <a:ln>
                  <a:noFill/>
                </a:ln>
                <a:solidFill>
                  <a:srgbClr val="5E717A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 </a:t>
            </a:r>
            <a:r>
              <a:rPr kumimoji="0" sz="1200" b="0" i="0" u="none" strike="noStrike" kern="1200" cap="none" spc="0" normalizeH="0" baseline="0" noProof="0">
                <a:ln>
                  <a:noFill/>
                </a:ln>
                <a:solidFill>
                  <a:srgbClr val="5E717A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progetti</a:t>
            </a:r>
            <a:r>
              <a:rPr kumimoji="0" sz="1200" b="0" i="0" u="none" strike="noStrike" kern="1200" cap="none" spc="-40" normalizeH="0" baseline="0" noProof="0">
                <a:ln>
                  <a:noFill/>
                </a:ln>
                <a:solidFill>
                  <a:srgbClr val="5E717A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 </a:t>
            </a:r>
            <a:r>
              <a:rPr kumimoji="0" sz="1200" b="0" i="0" u="none" strike="noStrike" kern="1200" cap="none" spc="0" normalizeH="0" baseline="0" noProof="0">
                <a:ln>
                  <a:noFill/>
                </a:ln>
                <a:solidFill>
                  <a:srgbClr val="5E717A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muniti</a:t>
            </a:r>
            <a:r>
              <a:rPr kumimoji="0" sz="1200" b="0" i="0" u="none" strike="noStrike" kern="1200" cap="none" spc="-30" normalizeH="0" baseline="0" noProof="0">
                <a:ln>
                  <a:noFill/>
                </a:ln>
                <a:solidFill>
                  <a:srgbClr val="5E717A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 </a:t>
            </a:r>
            <a:r>
              <a:rPr kumimoji="0" sz="1200" b="0" i="0" u="none" strike="noStrike" kern="1200" cap="none" spc="0" normalizeH="0" baseline="0" noProof="0">
                <a:ln>
                  <a:noFill/>
                </a:ln>
                <a:solidFill>
                  <a:srgbClr val="5E717A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di</a:t>
            </a:r>
            <a:r>
              <a:rPr kumimoji="0" sz="1200" b="0" i="0" u="none" strike="noStrike" kern="1200" cap="none" spc="-5" normalizeH="0" baseline="0" noProof="0">
                <a:ln>
                  <a:noFill/>
                </a:ln>
                <a:solidFill>
                  <a:srgbClr val="5E717A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 </a:t>
            </a:r>
            <a:r>
              <a:rPr kumimoji="0" sz="1200" b="0" i="0" u="none" strike="noStrike" kern="1200" cap="none" spc="0" normalizeH="0" baseline="0" noProof="0">
                <a:ln>
                  <a:noFill/>
                </a:ln>
                <a:solidFill>
                  <a:srgbClr val="5E717A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tutti</a:t>
            </a:r>
            <a:r>
              <a:rPr kumimoji="0" sz="1200" b="0" i="0" u="none" strike="noStrike" kern="1200" cap="none" spc="-30" normalizeH="0" baseline="0" noProof="0">
                <a:ln>
                  <a:noFill/>
                </a:ln>
                <a:solidFill>
                  <a:srgbClr val="5E717A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 </a:t>
            </a:r>
            <a:r>
              <a:rPr kumimoji="0" sz="1200" b="0" i="0" u="none" strike="noStrike" kern="1200" cap="none" spc="0" normalizeH="0" baseline="0" noProof="0">
                <a:ln>
                  <a:noFill/>
                </a:ln>
                <a:solidFill>
                  <a:srgbClr val="5E717A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i</a:t>
            </a:r>
            <a:r>
              <a:rPr kumimoji="0" sz="1200" b="0" i="0" u="none" strike="noStrike" kern="1200" cap="none" spc="-5" normalizeH="0" baseline="0" noProof="0">
                <a:ln>
                  <a:noFill/>
                </a:ln>
                <a:solidFill>
                  <a:srgbClr val="5E717A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 </a:t>
            </a:r>
            <a:r>
              <a:rPr kumimoji="0" sz="1200" b="0" i="0" u="none" strike="noStrike" kern="1200" cap="none" spc="0" normalizeH="0" baseline="0" noProof="0">
                <a:ln>
                  <a:noFill/>
                </a:ln>
                <a:solidFill>
                  <a:srgbClr val="5E717A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pareri</a:t>
            </a:r>
            <a:r>
              <a:rPr kumimoji="0" sz="1200" b="0" i="0" u="none" strike="noStrike" kern="1200" cap="none" spc="-40" normalizeH="0" baseline="0" noProof="0">
                <a:ln>
                  <a:noFill/>
                </a:ln>
                <a:solidFill>
                  <a:srgbClr val="5E717A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 </a:t>
            </a:r>
            <a:r>
              <a:rPr kumimoji="0" sz="1200" b="0" i="0" u="none" strike="noStrike" kern="1200" cap="none" spc="0" normalizeH="0" baseline="0" noProof="0">
                <a:ln>
                  <a:noFill/>
                </a:ln>
                <a:solidFill>
                  <a:srgbClr val="5E717A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e</a:t>
            </a:r>
            <a:r>
              <a:rPr kumimoji="0" sz="1200" b="0" i="0" u="none" strike="noStrike" kern="1200" cap="none" spc="5" normalizeH="0" baseline="0" noProof="0">
                <a:ln>
                  <a:noFill/>
                </a:ln>
                <a:solidFill>
                  <a:srgbClr val="5E717A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 </a:t>
            </a:r>
            <a:r>
              <a:rPr kumimoji="0" sz="1200" b="0" i="0" u="none" strike="noStrike" kern="1200" cap="none" spc="-5" normalizeH="0" baseline="0" noProof="0">
                <a:ln>
                  <a:noFill/>
                </a:ln>
                <a:solidFill>
                  <a:srgbClr val="5E717A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autorizzazioni</a:t>
            </a:r>
            <a:r>
              <a:rPr kumimoji="0" sz="1200" b="0" i="0" u="none" strike="noStrike" kern="1200" cap="none" spc="-30" normalizeH="0" baseline="0" noProof="0">
                <a:ln>
                  <a:noFill/>
                </a:ln>
                <a:solidFill>
                  <a:srgbClr val="5E717A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 </a:t>
            </a:r>
            <a:r>
              <a:rPr kumimoji="0" sz="1200" b="0" i="0" u="none" strike="noStrike" kern="1200" cap="none" spc="0" normalizeH="0" baseline="0" noProof="0">
                <a:ln>
                  <a:noFill/>
                </a:ln>
                <a:solidFill>
                  <a:srgbClr val="5E717A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da</a:t>
            </a:r>
            <a:r>
              <a:rPr kumimoji="0" sz="1200" b="0" i="0" u="none" strike="noStrike" kern="1200" cap="none" spc="-20" normalizeH="0" baseline="0" noProof="0">
                <a:ln>
                  <a:noFill/>
                </a:ln>
                <a:solidFill>
                  <a:srgbClr val="5E717A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 </a:t>
            </a:r>
            <a:r>
              <a:rPr kumimoji="0" sz="1200" b="0" i="0" u="none" strike="noStrike" kern="1200" cap="none" spc="0" normalizeH="0" baseline="0" noProof="0">
                <a:ln>
                  <a:noFill/>
                </a:ln>
                <a:solidFill>
                  <a:srgbClr val="5E717A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parte</a:t>
            </a:r>
            <a:r>
              <a:rPr kumimoji="0" sz="1200" b="0" i="0" u="none" strike="noStrike" kern="1200" cap="none" spc="-30" normalizeH="0" baseline="0" noProof="0">
                <a:ln>
                  <a:noFill/>
                </a:ln>
                <a:solidFill>
                  <a:srgbClr val="5E717A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 </a:t>
            </a:r>
            <a:r>
              <a:rPr kumimoji="0" sz="1200" b="0" i="0" u="none" strike="noStrike" kern="1200" cap="none" spc="-5" normalizeH="0" baseline="0" noProof="0">
                <a:ln>
                  <a:noFill/>
                </a:ln>
                <a:solidFill>
                  <a:srgbClr val="5E717A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degli </a:t>
            </a:r>
            <a:r>
              <a:rPr kumimoji="0" sz="1200" b="0" i="0" u="none" strike="noStrike" kern="1200" cap="none" spc="-350" normalizeH="0" baseline="0" noProof="0">
                <a:ln>
                  <a:noFill/>
                </a:ln>
                <a:solidFill>
                  <a:srgbClr val="5E717A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 </a:t>
            </a:r>
            <a:r>
              <a:rPr kumimoji="0" sz="1200" b="0" i="0" u="none" strike="noStrike" kern="1200" cap="none" spc="-5" normalizeH="0" baseline="0" noProof="0">
                <a:ln>
                  <a:noFill/>
                </a:ln>
                <a:solidFill>
                  <a:srgbClr val="5E717A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stakeholders</a:t>
            </a:r>
            <a:r>
              <a:rPr kumimoji="0" sz="1200" b="0" i="0" u="none" strike="noStrike" kern="1200" cap="none" spc="-40" normalizeH="0" baseline="0" noProof="0">
                <a:ln>
                  <a:noFill/>
                </a:ln>
                <a:solidFill>
                  <a:srgbClr val="5E717A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 </a:t>
            </a:r>
            <a:r>
              <a:rPr kumimoji="0" sz="1200" b="0" i="0" u="none" strike="noStrike" kern="1200" cap="none" spc="0" normalizeH="0" baseline="0" noProof="0">
                <a:ln>
                  <a:noFill/>
                </a:ln>
                <a:solidFill>
                  <a:srgbClr val="5E717A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di</a:t>
            </a:r>
            <a:r>
              <a:rPr kumimoji="0" sz="1200" b="0" i="0" u="none" strike="noStrike" kern="1200" cap="none" spc="-20" normalizeH="0" baseline="0" noProof="0">
                <a:ln>
                  <a:noFill/>
                </a:ln>
                <a:solidFill>
                  <a:srgbClr val="5E717A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 </a:t>
            </a:r>
            <a:r>
              <a:rPr kumimoji="0" sz="1200" b="0" i="0" u="none" strike="noStrike" kern="1200" cap="none" spc="-5" normalizeH="0" baseline="0" noProof="0">
                <a:ln>
                  <a:noFill/>
                </a:ln>
                <a:solidFill>
                  <a:srgbClr val="5E717A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riferimento</a:t>
            </a:r>
            <a:endParaRPr kumimoji="0" sz="1200" b="0" i="0" u="none" strike="noStrike" kern="1200" cap="none" spc="0" normalizeH="0" baseline="0" noProof="0">
              <a:ln>
                <a:noFill/>
              </a:ln>
              <a:solidFill>
                <a:srgbClr val="5C717C"/>
              </a:solidFill>
              <a:effectLst/>
              <a:uLnTx/>
              <a:uFillTx/>
              <a:latin typeface="Trebuchet MS"/>
              <a:ea typeface="+mn-ea"/>
              <a:cs typeface="Trebuchet MS"/>
            </a:endParaRPr>
          </a:p>
          <a:p>
            <a:pPr marL="314960" marR="0" lvl="0" indent="-17272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 MT"/>
              <a:buChar char="•"/>
              <a:tabLst>
                <a:tab pos="315595" algn="l"/>
              </a:tabLst>
              <a:defRPr/>
            </a:pPr>
            <a:r>
              <a:rPr kumimoji="0" sz="1200" b="0" i="0" u="none" strike="noStrike" kern="1200" cap="none" spc="-5" normalizeH="0" baseline="0" noProof="0">
                <a:ln>
                  <a:noFill/>
                </a:ln>
                <a:solidFill>
                  <a:srgbClr val="5E717A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Controllo </a:t>
            </a:r>
            <a:r>
              <a:rPr kumimoji="0" sz="1200" b="0" i="0" u="none" strike="noStrike" kern="1200" cap="none" spc="0" normalizeH="0" baseline="0" noProof="0">
                <a:ln>
                  <a:noFill/>
                </a:ln>
                <a:solidFill>
                  <a:srgbClr val="5E717A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e </a:t>
            </a:r>
            <a:r>
              <a:rPr kumimoji="0" sz="1200" b="0" i="0" u="none" strike="noStrike" kern="1200" cap="none" spc="-5" normalizeH="0" baseline="0" noProof="0">
                <a:ln>
                  <a:noFill/>
                </a:ln>
                <a:solidFill>
                  <a:srgbClr val="5E717A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monitoraggio</a:t>
            </a:r>
            <a:r>
              <a:rPr kumimoji="0" sz="1200" b="0" i="0" u="none" strike="noStrike" kern="1200" cap="none" spc="-20" normalizeH="0" baseline="0" noProof="0">
                <a:ln>
                  <a:noFill/>
                </a:ln>
                <a:solidFill>
                  <a:srgbClr val="5E717A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 </a:t>
            </a:r>
            <a:r>
              <a:rPr kumimoji="0" sz="1200" b="0" i="0" u="none" strike="noStrike" kern="1200" cap="none" spc="-5" normalizeH="0" baseline="0" noProof="0">
                <a:ln>
                  <a:noFill/>
                </a:ln>
                <a:solidFill>
                  <a:srgbClr val="5E717A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sul</a:t>
            </a:r>
            <a:r>
              <a:rPr kumimoji="0" sz="1200" b="0" i="0" u="none" strike="noStrike" kern="1200" cap="none" spc="0" normalizeH="0" baseline="0" noProof="0">
                <a:ln>
                  <a:noFill/>
                </a:ln>
                <a:solidFill>
                  <a:srgbClr val="5E717A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 corretto</a:t>
            </a:r>
            <a:r>
              <a:rPr kumimoji="0" sz="1200" b="0" i="0" u="none" strike="noStrike" kern="1200" cap="none" spc="-20" normalizeH="0" baseline="0" noProof="0">
                <a:ln>
                  <a:noFill/>
                </a:ln>
                <a:solidFill>
                  <a:srgbClr val="5E717A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 </a:t>
            </a:r>
            <a:r>
              <a:rPr kumimoji="0" sz="1200" b="0" i="0" u="none" strike="noStrike" kern="1200" cap="none" spc="-5" normalizeH="0" baseline="0" noProof="0">
                <a:ln>
                  <a:noFill/>
                </a:ln>
                <a:solidFill>
                  <a:srgbClr val="5E717A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utilizzo</a:t>
            </a:r>
            <a:r>
              <a:rPr kumimoji="0" sz="1200" b="0" i="0" u="none" strike="noStrike" kern="1200" cap="none" spc="0" normalizeH="0" baseline="0" noProof="0">
                <a:ln>
                  <a:noFill/>
                </a:ln>
                <a:solidFill>
                  <a:srgbClr val="5E717A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 </a:t>
            </a:r>
            <a:r>
              <a:rPr kumimoji="0" sz="1200" b="0" i="0" u="none" strike="noStrike" kern="1200" cap="none" spc="-5" normalizeH="0" baseline="0" noProof="0">
                <a:ln>
                  <a:noFill/>
                </a:ln>
                <a:solidFill>
                  <a:srgbClr val="5E717A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delle</a:t>
            </a:r>
            <a:r>
              <a:rPr kumimoji="0" sz="1200" b="0" i="0" u="none" strike="noStrike" kern="1200" cap="none" spc="-15" normalizeH="0" baseline="0" noProof="0">
                <a:ln>
                  <a:noFill/>
                </a:ln>
                <a:solidFill>
                  <a:srgbClr val="5E717A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 </a:t>
            </a:r>
            <a:r>
              <a:rPr kumimoji="0" sz="1200" b="0" i="0" u="none" strike="noStrike" kern="1200" cap="none" spc="-5" normalizeH="0" baseline="0" noProof="0">
                <a:ln>
                  <a:noFill/>
                </a:ln>
                <a:solidFill>
                  <a:srgbClr val="5E717A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agevolazioni</a:t>
            </a:r>
            <a:endParaRPr kumimoji="0" sz="1200" b="0" i="0" u="none" strike="noStrike" kern="1200" cap="none" spc="0" normalizeH="0" baseline="0" noProof="0">
              <a:ln>
                <a:noFill/>
              </a:ln>
              <a:solidFill>
                <a:srgbClr val="5C717C"/>
              </a:solidFill>
              <a:effectLst/>
              <a:uLnTx/>
              <a:uFillTx/>
              <a:latin typeface="Trebuchet MS"/>
              <a:ea typeface="+mn-ea"/>
              <a:cs typeface="Trebuchet MS"/>
            </a:endParaRPr>
          </a:p>
        </p:txBody>
      </p:sp>
      <p:sp>
        <p:nvSpPr>
          <p:cNvPr id="77" name="object 18">
            <a:extLst>
              <a:ext uri="{FF2B5EF4-FFF2-40B4-BE49-F238E27FC236}">
                <a16:creationId xmlns:a16="http://schemas.microsoft.com/office/drawing/2014/main" id="{801A14E3-D7D9-4B92-A3C7-195ED9E69423}"/>
              </a:ext>
            </a:extLst>
          </p:cNvPr>
          <p:cNvSpPr/>
          <p:nvPr/>
        </p:nvSpPr>
        <p:spPr>
          <a:xfrm>
            <a:off x="3903070" y="1984119"/>
            <a:ext cx="367665" cy="2600325"/>
          </a:xfrm>
          <a:custGeom>
            <a:avLst/>
            <a:gdLst/>
            <a:ahLst/>
            <a:cxnLst/>
            <a:rect l="l" t="t" r="r" b="b"/>
            <a:pathLst>
              <a:path w="367664" h="2600325">
                <a:moveTo>
                  <a:pt x="0" y="0"/>
                </a:moveTo>
                <a:lnTo>
                  <a:pt x="0" y="2599944"/>
                </a:lnTo>
                <a:lnTo>
                  <a:pt x="367284" y="1299972"/>
                </a:lnTo>
                <a:lnTo>
                  <a:pt x="0" y="0"/>
                </a:lnTo>
                <a:close/>
              </a:path>
            </a:pathLst>
          </a:custGeom>
          <a:solidFill>
            <a:srgbClr val="5E717A"/>
          </a:solid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srgbClr val="5C717C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grpSp>
        <p:nvGrpSpPr>
          <p:cNvPr id="78" name="object 19">
            <a:extLst>
              <a:ext uri="{FF2B5EF4-FFF2-40B4-BE49-F238E27FC236}">
                <a16:creationId xmlns:a16="http://schemas.microsoft.com/office/drawing/2014/main" id="{AB55C739-50C7-4CD7-8173-11444914F84C}"/>
              </a:ext>
            </a:extLst>
          </p:cNvPr>
          <p:cNvGrpSpPr/>
          <p:nvPr/>
        </p:nvGrpSpPr>
        <p:grpSpPr>
          <a:xfrm>
            <a:off x="10370733" y="1171637"/>
            <a:ext cx="567055" cy="469900"/>
            <a:chOff x="10384342" y="1461325"/>
            <a:chExt cx="567055" cy="469900"/>
          </a:xfrm>
        </p:grpSpPr>
        <p:sp>
          <p:nvSpPr>
            <p:cNvPr id="79" name="object 20">
              <a:extLst>
                <a:ext uri="{FF2B5EF4-FFF2-40B4-BE49-F238E27FC236}">
                  <a16:creationId xmlns:a16="http://schemas.microsoft.com/office/drawing/2014/main" id="{586F0A74-B8A4-4DC4-926F-AAEB74A611CE}"/>
                </a:ext>
              </a:extLst>
            </p:cNvPr>
            <p:cNvSpPr/>
            <p:nvPr/>
          </p:nvSpPr>
          <p:spPr>
            <a:xfrm>
              <a:off x="10389109" y="1466088"/>
              <a:ext cx="466725" cy="460375"/>
            </a:xfrm>
            <a:custGeom>
              <a:avLst/>
              <a:gdLst/>
              <a:ahLst/>
              <a:cxnLst/>
              <a:rect l="l" t="t" r="r" b="b"/>
              <a:pathLst>
                <a:path w="466725" h="460375">
                  <a:moveTo>
                    <a:pt x="231101" y="0"/>
                  </a:moveTo>
                  <a:lnTo>
                    <a:pt x="160261" y="10261"/>
                  </a:lnTo>
                  <a:lnTo>
                    <a:pt x="96532" y="41059"/>
                  </a:lnTo>
                  <a:lnTo>
                    <a:pt x="44932" y="90436"/>
                  </a:lnTo>
                  <a:lnTo>
                    <a:pt x="17221" y="138468"/>
                  </a:lnTo>
                  <a:lnTo>
                    <a:pt x="0" y="209816"/>
                  </a:lnTo>
                  <a:lnTo>
                    <a:pt x="254" y="245630"/>
                  </a:lnTo>
                  <a:lnTo>
                    <a:pt x="17233" y="314452"/>
                  </a:lnTo>
                  <a:lnTo>
                    <a:pt x="54406" y="375361"/>
                  </a:lnTo>
                  <a:lnTo>
                    <a:pt x="109715" y="423367"/>
                  </a:lnTo>
                  <a:lnTo>
                    <a:pt x="143522" y="440969"/>
                  </a:lnTo>
                  <a:lnTo>
                    <a:pt x="197904" y="456857"/>
                  </a:lnTo>
                  <a:lnTo>
                    <a:pt x="234429" y="460032"/>
                  </a:lnTo>
                  <a:lnTo>
                    <a:pt x="270421" y="457593"/>
                  </a:lnTo>
                  <a:lnTo>
                    <a:pt x="338340" y="436816"/>
                  </a:lnTo>
                  <a:lnTo>
                    <a:pt x="396633" y="396481"/>
                  </a:lnTo>
                  <a:lnTo>
                    <a:pt x="440283" y="338556"/>
                  </a:lnTo>
                  <a:lnTo>
                    <a:pt x="463499" y="268198"/>
                  </a:lnTo>
                  <a:lnTo>
                    <a:pt x="466128" y="232257"/>
                  </a:lnTo>
                  <a:lnTo>
                    <a:pt x="463042" y="196723"/>
                  </a:lnTo>
                  <a:lnTo>
                    <a:pt x="440829" y="129413"/>
                  </a:lnTo>
                  <a:lnTo>
                    <a:pt x="398907" y="71259"/>
                  </a:lnTo>
                  <a:lnTo>
                    <a:pt x="339407" y="27254"/>
                  </a:lnTo>
                  <a:lnTo>
                    <a:pt x="304050" y="12242"/>
                  </a:lnTo>
                  <a:lnTo>
                    <a:pt x="231101" y="0"/>
                  </a:lnTo>
                  <a:close/>
                </a:path>
              </a:pathLst>
            </a:custGeom>
            <a:solidFill>
              <a:srgbClr val="5C6F7A"/>
            </a:solid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srgbClr val="5C717C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sp>
          <p:nvSpPr>
            <p:cNvPr id="80" name="object 21">
              <a:extLst>
                <a:ext uri="{FF2B5EF4-FFF2-40B4-BE49-F238E27FC236}">
                  <a16:creationId xmlns:a16="http://schemas.microsoft.com/office/drawing/2014/main" id="{3D845DDE-9A0D-4EF7-B9C3-322A58F9F183}"/>
                </a:ext>
              </a:extLst>
            </p:cNvPr>
            <p:cNvSpPr/>
            <p:nvPr/>
          </p:nvSpPr>
          <p:spPr>
            <a:xfrm>
              <a:off x="10389105" y="1466088"/>
              <a:ext cx="466725" cy="460375"/>
            </a:xfrm>
            <a:custGeom>
              <a:avLst/>
              <a:gdLst/>
              <a:ahLst/>
              <a:cxnLst/>
              <a:rect l="l" t="t" r="r" b="b"/>
              <a:pathLst>
                <a:path w="466725" h="460375">
                  <a:moveTo>
                    <a:pt x="17221" y="138468"/>
                  </a:moveTo>
                  <a:lnTo>
                    <a:pt x="5562" y="173888"/>
                  </a:lnTo>
                  <a:lnTo>
                    <a:pt x="0" y="209816"/>
                  </a:lnTo>
                  <a:lnTo>
                    <a:pt x="253" y="245630"/>
                  </a:lnTo>
                  <a:lnTo>
                    <a:pt x="17233" y="314452"/>
                  </a:lnTo>
                  <a:lnTo>
                    <a:pt x="54419" y="375361"/>
                  </a:lnTo>
                  <a:lnTo>
                    <a:pt x="109715" y="423367"/>
                  </a:lnTo>
                  <a:lnTo>
                    <a:pt x="143522" y="440969"/>
                  </a:lnTo>
                  <a:lnTo>
                    <a:pt x="197904" y="456857"/>
                  </a:lnTo>
                  <a:lnTo>
                    <a:pt x="234429" y="460032"/>
                  </a:lnTo>
                  <a:lnTo>
                    <a:pt x="270433" y="457593"/>
                  </a:lnTo>
                  <a:lnTo>
                    <a:pt x="338340" y="436816"/>
                  </a:lnTo>
                  <a:lnTo>
                    <a:pt x="396646" y="396481"/>
                  </a:lnTo>
                  <a:lnTo>
                    <a:pt x="440283" y="338556"/>
                  </a:lnTo>
                  <a:lnTo>
                    <a:pt x="463499" y="268198"/>
                  </a:lnTo>
                  <a:lnTo>
                    <a:pt x="466128" y="232257"/>
                  </a:lnTo>
                  <a:lnTo>
                    <a:pt x="463041" y="196723"/>
                  </a:lnTo>
                  <a:lnTo>
                    <a:pt x="440829" y="129413"/>
                  </a:lnTo>
                  <a:lnTo>
                    <a:pt x="398919" y="71259"/>
                  </a:lnTo>
                  <a:lnTo>
                    <a:pt x="339407" y="27254"/>
                  </a:lnTo>
                  <a:lnTo>
                    <a:pt x="304063" y="12242"/>
                  </a:lnTo>
                  <a:lnTo>
                    <a:pt x="231101" y="0"/>
                  </a:lnTo>
                  <a:lnTo>
                    <a:pt x="195110" y="2438"/>
                  </a:lnTo>
                  <a:lnTo>
                    <a:pt x="127190" y="23215"/>
                  </a:lnTo>
                  <a:lnTo>
                    <a:pt x="68910" y="63538"/>
                  </a:lnTo>
                  <a:lnTo>
                    <a:pt x="25247" y="121462"/>
                  </a:lnTo>
                  <a:lnTo>
                    <a:pt x="17221" y="138468"/>
                  </a:lnTo>
                  <a:close/>
                </a:path>
              </a:pathLst>
            </a:custGeom>
            <a:ln w="9524">
              <a:solidFill>
                <a:srgbClr val="5C6F7A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srgbClr val="5C717C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sp>
          <p:nvSpPr>
            <p:cNvPr id="81" name="object 22">
              <a:extLst>
                <a:ext uri="{FF2B5EF4-FFF2-40B4-BE49-F238E27FC236}">
                  <a16:creationId xmlns:a16="http://schemas.microsoft.com/office/drawing/2014/main" id="{42E72533-5C41-429E-A203-0DE93D4DB173}"/>
                </a:ext>
              </a:extLst>
            </p:cNvPr>
            <p:cNvSpPr/>
            <p:nvPr/>
          </p:nvSpPr>
          <p:spPr>
            <a:xfrm>
              <a:off x="10582654" y="1606296"/>
              <a:ext cx="364490" cy="226695"/>
            </a:xfrm>
            <a:custGeom>
              <a:avLst/>
              <a:gdLst/>
              <a:ahLst/>
              <a:cxnLst/>
              <a:rect l="l" t="t" r="r" b="b"/>
              <a:pathLst>
                <a:path w="364490" h="226694">
                  <a:moveTo>
                    <a:pt x="75171" y="0"/>
                  </a:moveTo>
                  <a:lnTo>
                    <a:pt x="0" y="177253"/>
                  </a:lnTo>
                  <a:lnTo>
                    <a:pt x="363880" y="226466"/>
                  </a:lnTo>
                  <a:lnTo>
                    <a:pt x="75171" y="0"/>
                  </a:lnTo>
                  <a:close/>
                </a:path>
              </a:pathLst>
            </a:custGeom>
            <a:solidFill>
              <a:srgbClr val="5C6F7A"/>
            </a:solid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srgbClr val="5C717C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sp>
          <p:nvSpPr>
            <p:cNvPr id="82" name="object 23">
              <a:extLst>
                <a:ext uri="{FF2B5EF4-FFF2-40B4-BE49-F238E27FC236}">
                  <a16:creationId xmlns:a16="http://schemas.microsoft.com/office/drawing/2014/main" id="{CA7B6823-CDC4-4A67-B1BB-FCEB497497E4}"/>
                </a:ext>
              </a:extLst>
            </p:cNvPr>
            <p:cNvSpPr/>
            <p:nvPr/>
          </p:nvSpPr>
          <p:spPr>
            <a:xfrm>
              <a:off x="10582654" y="1606296"/>
              <a:ext cx="364490" cy="226695"/>
            </a:xfrm>
            <a:custGeom>
              <a:avLst/>
              <a:gdLst/>
              <a:ahLst/>
              <a:cxnLst/>
              <a:rect l="l" t="t" r="r" b="b"/>
              <a:pathLst>
                <a:path w="364490" h="226694">
                  <a:moveTo>
                    <a:pt x="75171" y="0"/>
                  </a:moveTo>
                  <a:lnTo>
                    <a:pt x="0" y="177253"/>
                  </a:lnTo>
                  <a:lnTo>
                    <a:pt x="363880" y="226466"/>
                  </a:lnTo>
                  <a:lnTo>
                    <a:pt x="75171" y="0"/>
                  </a:lnTo>
                  <a:close/>
                </a:path>
              </a:pathLst>
            </a:custGeom>
            <a:ln w="9525">
              <a:solidFill>
                <a:srgbClr val="5C6F7A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srgbClr val="5C717C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sp>
          <p:nvSpPr>
            <p:cNvPr id="83" name="object 24">
              <a:extLst>
                <a:ext uri="{FF2B5EF4-FFF2-40B4-BE49-F238E27FC236}">
                  <a16:creationId xmlns:a16="http://schemas.microsoft.com/office/drawing/2014/main" id="{25861E38-01F5-4FC2-8A47-46F454D1852A}"/>
                </a:ext>
              </a:extLst>
            </p:cNvPr>
            <p:cNvSpPr/>
            <p:nvPr/>
          </p:nvSpPr>
          <p:spPr>
            <a:xfrm>
              <a:off x="10418063" y="1505712"/>
              <a:ext cx="397510" cy="371475"/>
            </a:xfrm>
            <a:custGeom>
              <a:avLst/>
              <a:gdLst/>
              <a:ahLst/>
              <a:cxnLst/>
              <a:rect l="l" t="t" r="r" b="b"/>
              <a:pathLst>
                <a:path w="397509" h="371475">
                  <a:moveTo>
                    <a:pt x="198666" y="0"/>
                  </a:moveTo>
                  <a:lnTo>
                    <a:pt x="158623" y="3771"/>
                  </a:lnTo>
                  <a:lnTo>
                    <a:pt x="121335" y="14592"/>
                  </a:lnTo>
                  <a:lnTo>
                    <a:pt x="72301" y="42392"/>
                  </a:lnTo>
                  <a:lnTo>
                    <a:pt x="33921" y="81851"/>
                  </a:lnTo>
                  <a:lnTo>
                    <a:pt x="8928" y="130441"/>
                  </a:lnTo>
                  <a:lnTo>
                    <a:pt x="0" y="185648"/>
                  </a:lnTo>
                  <a:lnTo>
                    <a:pt x="1028" y="204635"/>
                  </a:lnTo>
                  <a:lnTo>
                    <a:pt x="15608" y="257911"/>
                  </a:lnTo>
                  <a:lnTo>
                    <a:pt x="45364" y="303733"/>
                  </a:lnTo>
                  <a:lnTo>
                    <a:pt x="87579" y="339598"/>
                  </a:lnTo>
                  <a:lnTo>
                    <a:pt x="139598" y="362953"/>
                  </a:lnTo>
                  <a:lnTo>
                    <a:pt x="178358" y="370344"/>
                  </a:lnTo>
                  <a:lnTo>
                    <a:pt x="198666" y="371309"/>
                  </a:lnTo>
                  <a:lnTo>
                    <a:pt x="218973" y="370344"/>
                  </a:lnTo>
                  <a:lnTo>
                    <a:pt x="257746" y="362953"/>
                  </a:lnTo>
                  <a:lnTo>
                    <a:pt x="293370" y="348894"/>
                  </a:lnTo>
                  <a:lnTo>
                    <a:pt x="339140" y="316928"/>
                  </a:lnTo>
                  <a:lnTo>
                    <a:pt x="373354" y="274142"/>
                  </a:lnTo>
                  <a:lnTo>
                    <a:pt x="393293" y="223062"/>
                  </a:lnTo>
                  <a:lnTo>
                    <a:pt x="397332" y="185648"/>
                  </a:lnTo>
                  <a:lnTo>
                    <a:pt x="396303" y="166674"/>
                  </a:lnTo>
                  <a:lnTo>
                    <a:pt x="381723" y="113385"/>
                  </a:lnTo>
                  <a:lnTo>
                    <a:pt x="351967" y="67551"/>
                  </a:lnTo>
                  <a:lnTo>
                    <a:pt x="309753" y="31711"/>
                  </a:lnTo>
                  <a:lnTo>
                    <a:pt x="257746" y="8343"/>
                  </a:lnTo>
                  <a:lnTo>
                    <a:pt x="218973" y="952"/>
                  </a:lnTo>
                  <a:lnTo>
                    <a:pt x="198666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srgbClr val="5C717C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sp>
          <p:nvSpPr>
            <p:cNvPr id="84" name="object 25">
              <a:extLst>
                <a:ext uri="{FF2B5EF4-FFF2-40B4-BE49-F238E27FC236}">
                  <a16:creationId xmlns:a16="http://schemas.microsoft.com/office/drawing/2014/main" id="{21FAC382-4772-4199-ACA8-934E82C8CFA0}"/>
                </a:ext>
              </a:extLst>
            </p:cNvPr>
            <p:cNvSpPr/>
            <p:nvPr/>
          </p:nvSpPr>
          <p:spPr>
            <a:xfrm>
              <a:off x="10418063" y="1505712"/>
              <a:ext cx="397510" cy="371475"/>
            </a:xfrm>
            <a:custGeom>
              <a:avLst/>
              <a:gdLst/>
              <a:ahLst/>
              <a:cxnLst/>
              <a:rect l="l" t="t" r="r" b="b"/>
              <a:pathLst>
                <a:path w="397509" h="371475">
                  <a:moveTo>
                    <a:pt x="198666" y="0"/>
                  </a:moveTo>
                  <a:lnTo>
                    <a:pt x="158623" y="3771"/>
                  </a:lnTo>
                  <a:lnTo>
                    <a:pt x="121335" y="14592"/>
                  </a:lnTo>
                  <a:lnTo>
                    <a:pt x="72301" y="42392"/>
                  </a:lnTo>
                  <a:lnTo>
                    <a:pt x="33921" y="81851"/>
                  </a:lnTo>
                  <a:lnTo>
                    <a:pt x="8928" y="130441"/>
                  </a:lnTo>
                  <a:lnTo>
                    <a:pt x="0" y="185648"/>
                  </a:lnTo>
                  <a:lnTo>
                    <a:pt x="1028" y="204635"/>
                  </a:lnTo>
                  <a:lnTo>
                    <a:pt x="15608" y="257911"/>
                  </a:lnTo>
                  <a:lnTo>
                    <a:pt x="45364" y="303733"/>
                  </a:lnTo>
                  <a:lnTo>
                    <a:pt x="87579" y="339598"/>
                  </a:lnTo>
                  <a:lnTo>
                    <a:pt x="139598" y="362953"/>
                  </a:lnTo>
                  <a:lnTo>
                    <a:pt x="178358" y="370344"/>
                  </a:lnTo>
                  <a:lnTo>
                    <a:pt x="198666" y="371309"/>
                  </a:lnTo>
                  <a:lnTo>
                    <a:pt x="218973" y="370344"/>
                  </a:lnTo>
                  <a:lnTo>
                    <a:pt x="257746" y="362953"/>
                  </a:lnTo>
                  <a:lnTo>
                    <a:pt x="293370" y="348894"/>
                  </a:lnTo>
                  <a:lnTo>
                    <a:pt x="339140" y="316928"/>
                  </a:lnTo>
                  <a:lnTo>
                    <a:pt x="373354" y="274142"/>
                  </a:lnTo>
                  <a:lnTo>
                    <a:pt x="393293" y="223062"/>
                  </a:lnTo>
                  <a:lnTo>
                    <a:pt x="397332" y="185648"/>
                  </a:lnTo>
                  <a:lnTo>
                    <a:pt x="396303" y="166674"/>
                  </a:lnTo>
                  <a:lnTo>
                    <a:pt x="381723" y="113385"/>
                  </a:lnTo>
                  <a:lnTo>
                    <a:pt x="351967" y="67551"/>
                  </a:lnTo>
                  <a:lnTo>
                    <a:pt x="309753" y="31711"/>
                  </a:lnTo>
                  <a:lnTo>
                    <a:pt x="257746" y="8343"/>
                  </a:lnTo>
                  <a:lnTo>
                    <a:pt x="218973" y="952"/>
                  </a:lnTo>
                  <a:lnTo>
                    <a:pt x="198666" y="0"/>
                  </a:lnTo>
                  <a:close/>
                </a:path>
              </a:pathLst>
            </a:custGeom>
            <a:ln w="9144">
              <a:solidFill>
                <a:srgbClr val="5C6F7A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srgbClr val="5C717C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sp>
          <p:nvSpPr>
            <p:cNvPr id="85" name="object 26">
              <a:extLst>
                <a:ext uri="{FF2B5EF4-FFF2-40B4-BE49-F238E27FC236}">
                  <a16:creationId xmlns:a16="http://schemas.microsoft.com/office/drawing/2014/main" id="{E00029E3-1595-42A1-8701-1E3D1C96F759}"/>
                </a:ext>
              </a:extLst>
            </p:cNvPr>
            <p:cNvSpPr/>
            <p:nvPr/>
          </p:nvSpPr>
          <p:spPr>
            <a:xfrm>
              <a:off x="10457688" y="1807463"/>
              <a:ext cx="318770" cy="53340"/>
            </a:xfrm>
            <a:custGeom>
              <a:avLst/>
              <a:gdLst/>
              <a:ahLst/>
              <a:cxnLst/>
              <a:rect l="l" t="t" r="r" b="b"/>
              <a:pathLst>
                <a:path w="318770" h="53339">
                  <a:moveTo>
                    <a:pt x="297180" y="4876"/>
                  </a:moveTo>
                  <a:lnTo>
                    <a:pt x="293014" y="0"/>
                  </a:lnTo>
                  <a:lnTo>
                    <a:pt x="24536" y="0"/>
                  </a:lnTo>
                  <a:lnTo>
                    <a:pt x="18288" y="4876"/>
                  </a:lnTo>
                  <a:lnTo>
                    <a:pt x="18288" y="12192"/>
                  </a:lnTo>
                  <a:lnTo>
                    <a:pt x="18288" y="19507"/>
                  </a:lnTo>
                  <a:lnTo>
                    <a:pt x="24536" y="24384"/>
                  </a:lnTo>
                  <a:lnTo>
                    <a:pt x="293014" y="24384"/>
                  </a:lnTo>
                  <a:lnTo>
                    <a:pt x="297180" y="19507"/>
                  </a:lnTo>
                  <a:lnTo>
                    <a:pt x="297180" y="4876"/>
                  </a:lnTo>
                  <a:close/>
                </a:path>
                <a:path w="318770" h="53339">
                  <a:moveTo>
                    <a:pt x="318516" y="33388"/>
                  </a:moveTo>
                  <a:lnTo>
                    <a:pt x="314350" y="28956"/>
                  </a:lnTo>
                  <a:lnTo>
                    <a:pt x="308102" y="28956"/>
                  </a:lnTo>
                  <a:lnTo>
                    <a:pt x="4152" y="28956"/>
                  </a:lnTo>
                  <a:lnTo>
                    <a:pt x="0" y="33388"/>
                  </a:lnTo>
                  <a:lnTo>
                    <a:pt x="0" y="48907"/>
                  </a:lnTo>
                  <a:lnTo>
                    <a:pt x="4152" y="53340"/>
                  </a:lnTo>
                  <a:lnTo>
                    <a:pt x="314350" y="53340"/>
                  </a:lnTo>
                  <a:lnTo>
                    <a:pt x="318516" y="48907"/>
                  </a:lnTo>
                  <a:lnTo>
                    <a:pt x="318516" y="33388"/>
                  </a:lnTo>
                  <a:close/>
                </a:path>
              </a:pathLst>
            </a:custGeom>
            <a:solidFill>
              <a:srgbClr val="768686"/>
            </a:solid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srgbClr val="5C717C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pic>
          <p:nvPicPr>
            <p:cNvPr id="86" name="object 27">
              <a:extLst>
                <a:ext uri="{FF2B5EF4-FFF2-40B4-BE49-F238E27FC236}">
                  <a16:creationId xmlns:a16="http://schemas.microsoft.com/office/drawing/2014/main" id="{38528CE5-D098-4E08-955B-186B317F28CB}"/>
                </a:ext>
              </a:extLst>
            </p:cNvPr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10491217" y="1648969"/>
              <a:ext cx="68579" cy="149351"/>
            </a:xfrm>
            <a:prstGeom prst="rect">
              <a:avLst/>
            </a:prstGeom>
          </p:spPr>
        </p:pic>
        <p:pic>
          <p:nvPicPr>
            <p:cNvPr id="87" name="object 28">
              <a:extLst>
                <a:ext uri="{FF2B5EF4-FFF2-40B4-BE49-F238E27FC236}">
                  <a16:creationId xmlns:a16="http://schemas.microsoft.com/office/drawing/2014/main" id="{32702C2D-3262-4A99-8968-DC09C784DEFD}"/>
                </a:ext>
              </a:extLst>
            </p:cNvPr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10582653" y="1648966"/>
              <a:ext cx="68579" cy="149351"/>
            </a:xfrm>
            <a:prstGeom prst="rect">
              <a:avLst/>
            </a:prstGeom>
          </p:spPr>
        </p:pic>
        <p:pic>
          <p:nvPicPr>
            <p:cNvPr id="88" name="object 29">
              <a:extLst>
                <a:ext uri="{FF2B5EF4-FFF2-40B4-BE49-F238E27FC236}">
                  <a16:creationId xmlns:a16="http://schemas.microsoft.com/office/drawing/2014/main" id="{83D6D949-0CA7-482A-A555-AF62199AF149}"/>
                </a:ext>
              </a:extLst>
            </p:cNvPr>
            <p:cNvPicPr/>
            <p:nvPr/>
          </p:nvPicPr>
          <p:blipFill>
            <a:blip r:embed="rId5" cstate="print"/>
            <a:stretch>
              <a:fillRect/>
            </a:stretch>
          </p:blipFill>
          <p:spPr>
            <a:xfrm>
              <a:off x="10675617" y="1648966"/>
              <a:ext cx="68579" cy="149351"/>
            </a:xfrm>
            <a:prstGeom prst="rect">
              <a:avLst/>
            </a:prstGeom>
          </p:spPr>
        </p:pic>
        <p:sp>
          <p:nvSpPr>
            <p:cNvPr id="89" name="object 30">
              <a:extLst>
                <a:ext uri="{FF2B5EF4-FFF2-40B4-BE49-F238E27FC236}">
                  <a16:creationId xmlns:a16="http://schemas.microsoft.com/office/drawing/2014/main" id="{E4F421A3-A8CB-4CCC-A31A-9FF009307DAD}"/>
                </a:ext>
              </a:extLst>
            </p:cNvPr>
            <p:cNvSpPr/>
            <p:nvPr/>
          </p:nvSpPr>
          <p:spPr>
            <a:xfrm>
              <a:off x="10457685" y="1522476"/>
              <a:ext cx="318770" cy="120650"/>
            </a:xfrm>
            <a:custGeom>
              <a:avLst/>
              <a:gdLst/>
              <a:ahLst/>
              <a:cxnLst/>
              <a:rect l="l" t="t" r="r" b="b"/>
              <a:pathLst>
                <a:path w="318770" h="120650">
                  <a:moveTo>
                    <a:pt x="164464" y="0"/>
                  </a:moveTo>
                  <a:lnTo>
                    <a:pt x="156133" y="0"/>
                  </a:lnTo>
                  <a:lnTo>
                    <a:pt x="151968" y="2044"/>
                  </a:lnTo>
                  <a:lnTo>
                    <a:pt x="6248" y="97955"/>
                  </a:lnTo>
                  <a:lnTo>
                    <a:pt x="2082" y="99987"/>
                  </a:lnTo>
                  <a:lnTo>
                    <a:pt x="0" y="108153"/>
                  </a:lnTo>
                  <a:lnTo>
                    <a:pt x="6248" y="114274"/>
                  </a:lnTo>
                  <a:lnTo>
                    <a:pt x="10413" y="118351"/>
                  </a:lnTo>
                  <a:lnTo>
                    <a:pt x="16662" y="120395"/>
                  </a:lnTo>
                  <a:lnTo>
                    <a:pt x="20815" y="116319"/>
                  </a:lnTo>
                  <a:lnTo>
                    <a:pt x="151968" y="28574"/>
                  </a:lnTo>
                  <a:lnTo>
                    <a:pt x="156133" y="26530"/>
                  </a:lnTo>
                  <a:lnTo>
                    <a:pt x="162382" y="26530"/>
                  </a:lnTo>
                  <a:lnTo>
                    <a:pt x="166547" y="28574"/>
                  </a:lnTo>
                  <a:lnTo>
                    <a:pt x="299783" y="116319"/>
                  </a:lnTo>
                  <a:lnTo>
                    <a:pt x="303949" y="120395"/>
                  </a:lnTo>
                  <a:lnTo>
                    <a:pt x="310197" y="118351"/>
                  </a:lnTo>
                  <a:lnTo>
                    <a:pt x="312267" y="114274"/>
                  </a:lnTo>
                  <a:lnTo>
                    <a:pt x="316433" y="112229"/>
                  </a:lnTo>
                  <a:lnTo>
                    <a:pt x="318515" y="108153"/>
                  </a:lnTo>
                  <a:lnTo>
                    <a:pt x="318515" y="99987"/>
                  </a:lnTo>
                  <a:lnTo>
                    <a:pt x="314350" y="97955"/>
                  </a:lnTo>
                  <a:lnTo>
                    <a:pt x="168630" y="2044"/>
                  </a:lnTo>
                  <a:lnTo>
                    <a:pt x="164464" y="0"/>
                  </a:lnTo>
                  <a:close/>
                </a:path>
              </a:pathLst>
            </a:custGeom>
            <a:solidFill>
              <a:srgbClr val="768686"/>
            </a:solid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srgbClr val="5C717C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pic>
          <p:nvPicPr>
            <p:cNvPr id="90" name="object 31">
              <a:extLst>
                <a:ext uri="{FF2B5EF4-FFF2-40B4-BE49-F238E27FC236}">
                  <a16:creationId xmlns:a16="http://schemas.microsoft.com/office/drawing/2014/main" id="{64C4F88F-C7C6-4AE8-B805-7F6CCCDC8BEE}"/>
                </a:ext>
              </a:extLst>
            </p:cNvPr>
            <p:cNvPicPr/>
            <p:nvPr/>
          </p:nvPicPr>
          <p:blipFill>
            <a:blip r:embed="rId6" cstate="print"/>
            <a:stretch>
              <a:fillRect/>
            </a:stretch>
          </p:blipFill>
          <p:spPr>
            <a:xfrm>
              <a:off x="10527791" y="1572769"/>
              <a:ext cx="179832" cy="64007"/>
            </a:xfrm>
            <a:prstGeom prst="rect">
              <a:avLst/>
            </a:prstGeom>
          </p:spPr>
        </p:pic>
      </p:grpSp>
      <p:grpSp>
        <p:nvGrpSpPr>
          <p:cNvPr id="91" name="object 32">
            <a:extLst>
              <a:ext uri="{FF2B5EF4-FFF2-40B4-BE49-F238E27FC236}">
                <a16:creationId xmlns:a16="http://schemas.microsoft.com/office/drawing/2014/main" id="{E213D1F0-6646-4886-9263-801B85E38E68}"/>
              </a:ext>
            </a:extLst>
          </p:cNvPr>
          <p:cNvGrpSpPr/>
          <p:nvPr/>
        </p:nvGrpSpPr>
        <p:grpSpPr>
          <a:xfrm>
            <a:off x="10370733" y="3264088"/>
            <a:ext cx="476250" cy="468630"/>
            <a:chOff x="10384342" y="3553776"/>
            <a:chExt cx="476250" cy="468630"/>
          </a:xfrm>
        </p:grpSpPr>
        <p:sp>
          <p:nvSpPr>
            <p:cNvPr id="92" name="object 33">
              <a:extLst>
                <a:ext uri="{FF2B5EF4-FFF2-40B4-BE49-F238E27FC236}">
                  <a16:creationId xmlns:a16="http://schemas.microsoft.com/office/drawing/2014/main" id="{68A4DD20-A54B-401E-BCD3-599228548573}"/>
                </a:ext>
              </a:extLst>
            </p:cNvPr>
            <p:cNvSpPr/>
            <p:nvPr/>
          </p:nvSpPr>
          <p:spPr>
            <a:xfrm>
              <a:off x="10389109" y="3558539"/>
              <a:ext cx="466725" cy="459105"/>
            </a:xfrm>
            <a:custGeom>
              <a:avLst/>
              <a:gdLst/>
              <a:ahLst/>
              <a:cxnLst/>
              <a:rect l="l" t="t" r="r" b="b"/>
              <a:pathLst>
                <a:path w="466725" h="459104">
                  <a:moveTo>
                    <a:pt x="231101" y="0"/>
                  </a:moveTo>
                  <a:lnTo>
                    <a:pt x="160261" y="10223"/>
                  </a:lnTo>
                  <a:lnTo>
                    <a:pt x="96532" y="40919"/>
                  </a:lnTo>
                  <a:lnTo>
                    <a:pt x="44932" y="90131"/>
                  </a:lnTo>
                  <a:lnTo>
                    <a:pt x="17221" y="138010"/>
                  </a:lnTo>
                  <a:lnTo>
                    <a:pt x="0" y="209130"/>
                  </a:lnTo>
                  <a:lnTo>
                    <a:pt x="254" y="244817"/>
                  </a:lnTo>
                  <a:lnTo>
                    <a:pt x="17233" y="313410"/>
                  </a:lnTo>
                  <a:lnTo>
                    <a:pt x="54406" y="374116"/>
                  </a:lnTo>
                  <a:lnTo>
                    <a:pt x="109715" y="421957"/>
                  </a:lnTo>
                  <a:lnTo>
                    <a:pt x="197904" y="455345"/>
                  </a:lnTo>
                  <a:lnTo>
                    <a:pt x="234429" y="458508"/>
                  </a:lnTo>
                  <a:lnTo>
                    <a:pt x="270421" y="456069"/>
                  </a:lnTo>
                  <a:lnTo>
                    <a:pt x="338340" y="435368"/>
                  </a:lnTo>
                  <a:lnTo>
                    <a:pt x="396633" y="395173"/>
                  </a:lnTo>
                  <a:lnTo>
                    <a:pt x="440283" y="337439"/>
                  </a:lnTo>
                  <a:lnTo>
                    <a:pt x="463499" y="267309"/>
                  </a:lnTo>
                  <a:lnTo>
                    <a:pt x="466128" y="231495"/>
                  </a:lnTo>
                  <a:lnTo>
                    <a:pt x="463042" y="196075"/>
                  </a:lnTo>
                  <a:lnTo>
                    <a:pt x="440829" y="128981"/>
                  </a:lnTo>
                  <a:lnTo>
                    <a:pt x="398907" y="71031"/>
                  </a:lnTo>
                  <a:lnTo>
                    <a:pt x="339407" y="27165"/>
                  </a:lnTo>
                  <a:lnTo>
                    <a:pt x="304050" y="12204"/>
                  </a:lnTo>
                  <a:lnTo>
                    <a:pt x="231101" y="0"/>
                  </a:lnTo>
                  <a:close/>
                </a:path>
              </a:pathLst>
            </a:custGeom>
            <a:solidFill>
              <a:srgbClr val="5C6F7A"/>
            </a:solid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srgbClr val="5C717C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sp>
          <p:nvSpPr>
            <p:cNvPr id="93" name="object 34">
              <a:extLst>
                <a:ext uri="{FF2B5EF4-FFF2-40B4-BE49-F238E27FC236}">
                  <a16:creationId xmlns:a16="http://schemas.microsoft.com/office/drawing/2014/main" id="{ACB9A141-1043-458D-864C-67480E7F7CB9}"/>
                </a:ext>
              </a:extLst>
            </p:cNvPr>
            <p:cNvSpPr/>
            <p:nvPr/>
          </p:nvSpPr>
          <p:spPr>
            <a:xfrm>
              <a:off x="10389105" y="3558538"/>
              <a:ext cx="466725" cy="459105"/>
            </a:xfrm>
            <a:custGeom>
              <a:avLst/>
              <a:gdLst/>
              <a:ahLst/>
              <a:cxnLst/>
              <a:rect l="l" t="t" r="r" b="b"/>
              <a:pathLst>
                <a:path w="466725" h="459104">
                  <a:moveTo>
                    <a:pt x="17221" y="138010"/>
                  </a:moveTo>
                  <a:lnTo>
                    <a:pt x="5562" y="173316"/>
                  </a:lnTo>
                  <a:lnTo>
                    <a:pt x="0" y="209130"/>
                  </a:lnTo>
                  <a:lnTo>
                    <a:pt x="253" y="244817"/>
                  </a:lnTo>
                  <a:lnTo>
                    <a:pt x="17233" y="313410"/>
                  </a:lnTo>
                  <a:lnTo>
                    <a:pt x="54419" y="374116"/>
                  </a:lnTo>
                  <a:lnTo>
                    <a:pt x="109715" y="421970"/>
                  </a:lnTo>
                  <a:lnTo>
                    <a:pt x="197904" y="455345"/>
                  </a:lnTo>
                  <a:lnTo>
                    <a:pt x="234429" y="458508"/>
                  </a:lnTo>
                  <a:lnTo>
                    <a:pt x="270433" y="456082"/>
                  </a:lnTo>
                  <a:lnTo>
                    <a:pt x="338340" y="435368"/>
                  </a:lnTo>
                  <a:lnTo>
                    <a:pt x="396646" y="395173"/>
                  </a:lnTo>
                  <a:lnTo>
                    <a:pt x="440283" y="337438"/>
                  </a:lnTo>
                  <a:lnTo>
                    <a:pt x="463499" y="267309"/>
                  </a:lnTo>
                  <a:lnTo>
                    <a:pt x="466128" y="231495"/>
                  </a:lnTo>
                  <a:lnTo>
                    <a:pt x="463041" y="196075"/>
                  </a:lnTo>
                  <a:lnTo>
                    <a:pt x="440829" y="128993"/>
                  </a:lnTo>
                  <a:lnTo>
                    <a:pt x="398919" y="71031"/>
                  </a:lnTo>
                  <a:lnTo>
                    <a:pt x="339407" y="27165"/>
                  </a:lnTo>
                  <a:lnTo>
                    <a:pt x="304063" y="12204"/>
                  </a:lnTo>
                  <a:lnTo>
                    <a:pt x="231101" y="0"/>
                  </a:lnTo>
                  <a:lnTo>
                    <a:pt x="195110" y="2438"/>
                  </a:lnTo>
                  <a:lnTo>
                    <a:pt x="127190" y="23139"/>
                  </a:lnTo>
                  <a:lnTo>
                    <a:pt x="68910" y="63334"/>
                  </a:lnTo>
                  <a:lnTo>
                    <a:pt x="25247" y="121069"/>
                  </a:lnTo>
                  <a:lnTo>
                    <a:pt x="17221" y="138010"/>
                  </a:lnTo>
                  <a:close/>
                </a:path>
              </a:pathLst>
            </a:custGeom>
            <a:ln w="9525">
              <a:solidFill>
                <a:srgbClr val="5C6F7A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srgbClr val="5C717C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sp>
          <p:nvSpPr>
            <p:cNvPr id="94" name="object 35">
              <a:extLst>
                <a:ext uri="{FF2B5EF4-FFF2-40B4-BE49-F238E27FC236}">
                  <a16:creationId xmlns:a16="http://schemas.microsoft.com/office/drawing/2014/main" id="{8357F77A-132F-4869-80B7-0A132F980C56}"/>
                </a:ext>
              </a:extLst>
            </p:cNvPr>
            <p:cNvSpPr/>
            <p:nvPr/>
          </p:nvSpPr>
          <p:spPr>
            <a:xfrm>
              <a:off x="10418063" y="3598163"/>
              <a:ext cx="397510" cy="370205"/>
            </a:xfrm>
            <a:custGeom>
              <a:avLst/>
              <a:gdLst/>
              <a:ahLst/>
              <a:cxnLst/>
              <a:rect l="l" t="t" r="r" b="b"/>
              <a:pathLst>
                <a:path w="397509" h="370204">
                  <a:moveTo>
                    <a:pt x="198666" y="0"/>
                  </a:moveTo>
                  <a:lnTo>
                    <a:pt x="158623" y="3759"/>
                  </a:lnTo>
                  <a:lnTo>
                    <a:pt x="121335" y="14528"/>
                  </a:lnTo>
                  <a:lnTo>
                    <a:pt x="72301" y="42214"/>
                  </a:lnTo>
                  <a:lnTo>
                    <a:pt x="33921" y="81508"/>
                  </a:lnTo>
                  <a:lnTo>
                    <a:pt x="8928" y="129908"/>
                  </a:lnTo>
                  <a:lnTo>
                    <a:pt x="0" y="184886"/>
                  </a:lnTo>
                  <a:lnTo>
                    <a:pt x="1028" y="203796"/>
                  </a:lnTo>
                  <a:lnTo>
                    <a:pt x="15608" y="256857"/>
                  </a:lnTo>
                  <a:lnTo>
                    <a:pt x="45364" y="302488"/>
                  </a:lnTo>
                  <a:lnTo>
                    <a:pt x="87579" y="338201"/>
                  </a:lnTo>
                  <a:lnTo>
                    <a:pt x="139598" y="361467"/>
                  </a:lnTo>
                  <a:lnTo>
                    <a:pt x="178358" y="368820"/>
                  </a:lnTo>
                  <a:lnTo>
                    <a:pt x="198666" y="369785"/>
                  </a:lnTo>
                  <a:lnTo>
                    <a:pt x="218973" y="368820"/>
                  </a:lnTo>
                  <a:lnTo>
                    <a:pt x="257746" y="361467"/>
                  </a:lnTo>
                  <a:lnTo>
                    <a:pt x="293370" y="347459"/>
                  </a:lnTo>
                  <a:lnTo>
                    <a:pt x="339140" y="315633"/>
                  </a:lnTo>
                  <a:lnTo>
                    <a:pt x="373354" y="273011"/>
                  </a:lnTo>
                  <a:lnTo>
                    <a:pt x="393293" y="222148"/>
                  </a:lnTo>
                  <a:lnTo>
                    <a:pt x="397332" y="184886"/>
                  </a:lnTo>
                  <a:lnTo>
                    <a:pt x="396303" y="165989"/>
                  </a:lnTo>
                  <a:lnTo>
                    <a:pt x="381723" y="112928"/>
                  </a:lnTo>
                  <a:lnTo>
                    <a:pt x="351967" y="67284"/>
                  </a:lnTo>
                  <a:lnTo>
                    <a:pt x="309753" y="31584"/>
                  </a:lnTo>
                  <a:lnTo>
                    <a:pt x="257746" y="8305"/>
                  </a:lnTo>
                  <a:lnTo>
                    <a:pt x="218973" y="952"/>
                  </a:lnTo>
                  <a:lnTo>
                    <a:pt x="198666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srgbClr val="5C717C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sp>
          <p:nvSpPr>
            <p:cNvPr id="95" name="object 36">
              <a:extLst>
                <a:ext uri="{FF2B5EF4-FFF2-40B4-BE49-F238E27FC236}">
                  <a16:creationId xmlns:a16="http://schemas.microsoft.com/office/drawing/2014/main" id="{9045E306-37EA-4B88-A7A7-354E3D078B11}"/>
                </a:ext>
              </a:extLst>
            </p:cNvPr>
            <p:cNvSpPr/>
            <p:nvPr/>
          </p:nvSpPr>
          <p:spPr>
            <a:xfrm>
              <a:off x="10418063" y="3598163"/>
              <a:ext cx="397510" cy="370205"/>
            </a:xfrm>
            <a:custGeom>
              <a:avLst/>
              <a:gdLst/>
              <a:ahLst/>
              <a:cxnLst/>
              <a:rect l="l" t="t" r="r" b="b"/>
              <a:pathLst>
                <a:path w="397509" h="370204">
                  <a:moveTo>
                    <a:pt x="198666" y="0"/>
                  </a:moveTo>
                  <a:lnTo>
                    <a:pt x="158623" y="3759"/>
                  </a:lnTo>
                  <a:lnTo>
                    <a:pt x="121335" y="14528"/>
                  </a:lnTo>
                  <a:lnTo>
                    <a:pt x="72301" y="42214"/>
                  </a:lnTo>
                  <a:lnTo>
                    <a:pt x="33921" y="81508"/>
                  </a:lnTo>
                  <a:lnTo>
                    <a:pt x="8928" y="129908"/>
                  </a:lnTo>
                  <a:lnTo>
                    <a:pt x="0" y="184886"/>
                  </a:lnTo>
                  <a:lnTo>
                    <a:pt x="1028" y="203796"/>
                  </a:lnTo>
                  <a:lnTo>
                    <a:pt x="15608" y="256857"/>
                  </a:lnTo>
                  <a:lnTo>
                    <a:pt x="45364" y="302488"/>
                  </a:lnTo>
                  <a:lnTo>
                    <a:pt x="87579" y="338201"/>
                  </a:lnTo>
                  <a:lnTo>
                    <a:pt x="139598" y="361467"/>
                  </a:lnTo>
                  <a:lnTo>
                    <a:pt x="178358" y="368820"/>
                  </a:lnTo>
                  <a:lnTo>
                    <a:pt x="198666" y="369785"/>
                  </a:lnTo>
                  <a:lnTo>
                    <a:pt x="218973" y="368820"/>
                  </a:lnTo>
                  <a:lnTo>
                    <a:pt x="257746" y="361467"/>
                  </a:lnTo>
                  <a:lnTo>
                    <a:pt x="293370" y="347459"/>
                  </a:lnTo>
                  <a:lnTo>
                    <a:pt x="339140" y="315633"/>
                  </a:lnTo>
                  <a:lnTo>
                    <a:pt x="373354" y="273011"/>
                  </a:lnTo>
                  <a:lnTo>
                    <a:pt x="393293" y="222148"/>
                  </a:lnTo>
                  <a:lnTo>
                    <a:pt x="397332" y="184886"/>
                  </a:lnTo>
                  <a:lnTo>
                    <a:pt x="396303" y="165989"/>
                  </a:lnTo>
                  <a:lnTo>
                    <a:pt x="381723" y="112928"/>
                  </a:lnTo>
                  <a:lnTo>
                    <a:pt x="351967" y="67284"/>
                  </a:lnTo>
                  <a:lnTo>
                    <a:pt x="309753" y="31584"/>
                  </a:lnTo>
                  <a:lnTo>
                    <a:pt x="257746" y="8305"/>
                  </a:lnTo>
                  <a:lnTo>
                    <a:pt x="218973" y="952"/>
                  </a:lnTo>
                  <a:lnTo>
                    <a:pt x="198666" y="0"/>
                  </a:lnTo>
                  <a:close/>
                </a:path>
              </a:pathLst>
            </a:custGeom>
            <a:ln w="9143">
              <a:solidFill>
                <a:srgbClr val="5C6F7A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srgbClr val="5C717C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pic>
          <p:nvPicPr>
            <p:cNvPr id="96" name="object 37">
              <a:extLst>
                <a:ext uri="{FF2B5EF4-FFF2-40B4-BE49-F238E27FC236}">
                  <a16:creationId xmlns:a16="http://schemas.microsoft.com/office/drawing/2014/main" id="{EBED7F77-40D2-41EB-959D-EEE5C8EEF9A4}"/>
                </a:ext>
              </a:extLst>
            </p:cNvPr>
            <p:cNvPicPr/>
            <p:nvPr/>
          </p:nvPicPr>
          <p:blipFill>
            <a:blip r:embed="rId7" cstate="print"/>
            <a:stretch>
              <a:fillRect/>
            </a:stretch>
          </p:blipFill>
          <p:spPr>
            <a:xfrm>
              <a:off x="10482069" y="3654551"/>
              <a:ext cx="262136" cy="281939"/>
            </a:xfrm>
            <a:prstGeom prst="rect">
              <a:avLst/>
            </a:prstGeom>
          </p:spPr>
        </p:pic>
      </p:grpSp>
      <p:grpSp>
        <p:nvGrpSpPr>
          <p:cNvPr id="97" name="object 38">
            <a:extLst>
              <a:ext uri="{FF2B5EF4-FFF2-40B4-BE49-F238E27FC236}">
                <a16:creationId xmlns:a16="http://schemas.microsoft.com/office/drawing/2014/main" id="{F0F2E824-523B-49A4-946D-DAA3E6F97551}"/>
              </a:ext>
            </a:extLst>
          </p:cNvPr>
          <p:cNvGrpSpPr/>
          <p:nvPr/>
        </p:nvGrpSpPr>
        <p:grpSpPr>
          <a:xfrm>
            <a:off x="3255177" y="1167065"/>
            <a:ext cx="476250" cy="469900"/>
            <a:chOff x="3268786" y="1456753"/>
            <a:chExt cx="476250" cy="469900"/>
          </a:xfrm>
        </p:grpSpPr>
        <p:sp>
          <p:nvSpPr>
            <p:cNvPr id="98" name="object 39">
              <a:extLst>
                <a:ext uri="{FF2B5EF4-FFF2-40B4-BE49-F238E27FC236}">
                  <a16:creationId xmlns:a16="http://schemas.microsoft.com/office/drawing/2014/main" id="{012AE88F-903F-4770-90A9-90BC7561D630}"/>
                </a:ext>
              </a:extLst>
            </p:cNvPr>
            <p:cNvSpPr/>
            <p:nvPr/>
          </p:nvSpPr>
          <p:spPr>
            <a:xfrm>
              <a:off x="3273553" y="1461516"/>
              <a:ext cx="466725" cy="460375"/>
            </a:xfrm>
            <a:custGeom>
              <a:avLst/>
              <a:gdLst/>
              <a:ahLst/>
              <a:cxnLst/>
              <a:rect l="l" t="t" r="r" b="b"/>
              <a:pathLst>
                <a:path w="466725" h="460375">
                  <a:moveTo>
                    <a:pt x="231101" y="0"/>
                  </a:moveTo>
                  <a:lnTo>
                    <a:pt x="160261" y="10261"/>
                  </a:lnTo>
                  <a:lnTo>
                    <a:pt x="96532" y="41059"/>
                  </a:lnTo>
                  <a:lnTo>
                    <a:pt x="44932" y="90436"/>
                  </a:lnTo>
                  <a:lnTo>
                    <a:pt x="17221" y="138468"/>
                  </a:lnTo>
                  <a:lnTo>
                    <a:pt x="0" y="209816"/>
                  </a:lnTo>
                  <a:lnTo>
                    <a:pt x="254" y="245630"/>
                  </a:lnTo>
                  <a:lnTo>
                    <a:pt x="17233" y="314452"/>
                  </a:lnTo>
                  <a:lnTo>
                    <a:pt x="54406" y="375361"/>
                  </a:lnTo>
                  <a:lnTo>
                    <a:pt x="109715" y="423367"/>
                  </a:lnTo>
                  <a:lnTo>
                    <a:pt x="143522" y="440969"/>
                  </a:lnTo>
                  <a:lnTo>
                    <a:pt x="197904" y="456857"/>
                  </a:lnTo>
                  <a:lnTo>
                    <a:pt x="234429" y="460032"/>
                  </a:lnTo>
                  <a:lnTo>
                    <a:pt x="270421" y="457593"/>
                  </a:lnTo>
                  <a:lnTo>
                    <a:pt x="338340" y="436816"/>
                  </a:lnTo>
                  <a:lnTo>
                    <a:pt x="396633" y="396481"/>
                  </a:lnTo>
                  <a:lnTo>
                    <a:pt x="440283" y="338556"/>
                  </a:lnTo>
                  <a:lnTo>
                    <a:pt x="463499" y="268198"/>
                  </a:lnTo>
                  <a:lnTo>
                    <a:pt x="466128" y="232257"/>
                  </a:lnTo>
                  <a:lnTo>
                    <a:pt x="463042" y="196723"/>
                  </a:lnTo>
                  <a:lnTo>
                    <a:pt x="440817" y="129413"/>
                  </a:lnTo>
                  <a:lnTo>
                    <a:pt x="398907" y="71259"/>
                  </a:lnTo>
                  <a:lnTo>
                    <a:pt x="339407" y="27254"/>
                  </a:lnTo>
                  <a:lnTo>
                    <a:pt x="304050" y="12242"/>
                  </a:lnTo>
                  <a:lnTo>
                    <a:pt x="231101" y="0"/>
                  </a:lnTo>
                  <a:close/>
                </a:path>
              </a:pathLst>
            </a:custGeom>
            <a:solidFill>
              <a:srgbClr val="5C6F7A"/>
            </a:solid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srgbClr val="5C717C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sp>
          <p:nvSpPr>
            <p:cNvPr id="99" name="object 40">
              <a:extLst>
                <a:ext uri="{FF2B5EF4-FFF2-40B4-BE49-F238E27FC236}">
                  <a16:creationId xmlns:a16="http://schemas.microsoft.com/office/drawing/2014/main" id="{BBAD22BF-411A-45EC-80B8-5B5B27FCA452}"/>
                </a:ext>
              </a:extLst>
            </p:cNvPr>
            <p:cNvSpPr/>
            <p:nvPr/>
          </p:nvSpPr>
          <p:spPr>
            <a:xfrm>
              <a:off x="3273549" y="1461516"/>
              <a:ext cx="466725" cy="460375"/>
            </a:xfrm>
            <a:custGeom>
              <a:avLst/>
              <a:gdLst/>
              <a:ahLst/>
              <a:cxnLst/>
              <a:rect l="l" t="t" r="r" b="b"/>
              <a:pathLst>
                <a:path w="466725" h="460375">
                  <a:moveTo>
                    <a:pt x="17221" y="138468"/>
                  </a:moveTo>
                  <a:lnTo>
                    <a:pt x="5562" y="173888"/>
                  </a:lnTo>
                  <a:lnTo>
                    <a:pt x="0" y="209816"/>
                  </a:lnTo>
                  <a:lnTo>
                    <a:pt x="253" y="245630"/>
                  </a:lnTo>
                  <a:lnTo>
                    <a:pt x="17233" y="314452"/>
                  </a:lnTo>
                  <a:lnTo>
                    <a:pt x="54419" y="375361"/>
                  </a:lnTo>
                  <a:lnTo>
                    <a:pt x="109715" y="423367"/>
                  </a:lnTo>
                  <a:lnTo>
                    <a:pt x="143522" y="440969"/>
                  </a:lnTo>
                  <a:lnTo>
                    <a:pt x="197904" y="456857"/>
                  </a:lnTo>
                  <a:lnTo>
                    <a:pt x="234429" y="460032"/>
                  </a:lnTo>
                  <a:lnTo>
                    <a:pt x="270433" y="457593"/>
                  </a:lnTo>
                  <a:lnTo>
                    <a:pt x="338340" y="436816"/>
                  </a:lnTo>
                  <a:lnTo>
                    <a:pt x="396646" y="396481"/>
                  </a:lnTo>
                  <a:lnTo>
                    <a:pt x="440283" y="338556"/>
                  </a:lnTo>
                  <a:lnTo>
                    <a:pt x="463499" y="268198"/>
                  </a:lnTo>
                  <a:lnTo>
                    <a:pt x="466128" y="232257"/>
                  </a:lnTo>
                  <a:lnTo>
                    <a:pt x="463041" y="196723"/>
                  </a:lnTo>
                  <a:lnTo>
                    <a:pt x="440829" y="129413"/>
                  </a:lnTo>
                  <a:lnTo>
                    <a:pt x="398906" y="71259"/>
                  </a:lnTo>
                  <a:lnTo>
                    <a:pt x="339407" y="27254"/>
                  </a:lnTo>
                  <a:lnTo>
                    <a:pt x="304063" y="12242"/>
                  </a:lnTo>
                  <a:lnTo>
                    <a:pt x="231101" y="0"/>
                  </a:lnTo>
                  <a:lnTo>
                    <a:pt x="195110" y="2438"/>
                  </a:lnTo>
                  <a:lnTo>
                    <a:pt x="127190" y="23215"/>
                  </a:lnTo>
                  <a:lnTo>
                    <a:pt x="68910" y="63538"/>
                  </a:lnTo>
                  <a:lnTo>
                    <a:pt x="25247" y="121462"/>
                  </a:lnTo>
                  <a:lnTo>
                    <a:pt x="17221" y="138468"/>
                  </a:lnTo>
                  <a:close/>
                </a:path>
              </a:pathLst>
            </a:custGeom>
            <a:ln w="9524">
              <a:solidFill>
                <a:srgbClr val="5C6F7A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srgbClr val="5C717C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sp>
          <p:nvSpPr>
            <p:cNvPr id="100" name="object 41">
              <a:extLst>
                <a:ext uri="{FF2B5EF4-FFF2-40B4-BE49-F238E27FC236}">
                  <a16:creationId xmlns:a16="http://schemas.microsoft.com/office/drawing/2014/main" id="{BF4C164F-E296-48FD-9773-0ED11C19CCA5}"/>
                </a:ext>
              </a:extLst>
            </p:cNvPr>
            <p:cNvSpPr/>
            <p:nvPr/>
          </p:nvSpPr>
          <p:spPr>
            <a:xfrm>
              <a:off x="3310126" y="1501140"/>
              <a:ext cx="399415" cy="371475"/>
            </a:xfrm>
            <a:custGeom>
              <a:avLst/>
              <a:gdLst/>
              <a:ahLst/>
              <a:cxnLst/>
              <a:rect l="l" t="t" r="r" b="b"/>
              <a:pathLst>
                <a:path w="399414" h="371475">
                  <a:moveTo>
                    <a:pt x="199428" y="0"/>
                  </a:moveTo>
                  <a:lnTo>
                    <a:pt x="159232" y="3771"/>
                  </a:lnTo>
                  <a:lnTo>
                    <a:pt x="121805" y="14592"/>
                  </a:lnTo>
                  <a:lnTo>
                    <a:pt x="72567" y="42392"/>
                  </a:lnTo>
                  <a:lnTo>
                    <a:pt x="34061" y="81851"/>
                  </a:lnTo>
                  <a:lnTo>
                    <a:pt x="8966" y="130441"/>
                  </a:lnTo>
                  <a:lnTo>
                    <a:pt x="0" y="185648"/>
                  </a:lnTo>
                  <a:lnTo>
                    <a:pt x="1028" y="204635"/>
                  </a:lnTo>
                  <a:lnTo>
                    <a:pt x="15671" y="257911"/>
                  </a:lnTo>
                  <a:lnTo>
                    <a:pt x="45529" y="303733"/>
                  </a:lnTo>
                  <a:lnTo>
                    <a:pt x="87922" y="339598"/>
                  </a:lnTo>
                  <a:lnTo>
                    <a:pt x="140131" y="362953"/>
                  </a:lnTo>
                  <a:lnTo>
                    <a:pt x="179031" y="370344"/>
                  </a:lnTo>
                  <a:lnTo>
                    <a:pt x="199428" y="371309"/>
                  </a:lnTo>
                  <a:lnTo>
                    <a:pt x="219824" y="370344"/>
                  </a:lnTo>
                  <a:lnTo>
                    <a:pt x="258724" y="362953"/>
                  </a:lnTo>
                  <a:lnTo>
                    <a:pt x="294487" y="348894"/>
                  </a:lnTo>
                  <a:lnTo>
                    <a:pt x="340448" y="316928"/>
                  </a:lnTo>
                  <a:lnTo>
                    <a:pt x="374789" y="274142"/>
                  </a:lnTo>
                  <a:lnTo>
                    <a:pt x="394804" y="223062"/>
                  </a:lnTo>
                  <a:lnTo>
                    <a:pt x="398856" y="185648"/>
                  </a:lnTo>
                  <a:lnTo>
                    <a:pt x="397827" y="166674"/>
                  </a:lnTo>
                  <a:lnTo>
                    <a:pt x="383184" y="113385"/>
                  </a:lnTo>
                  <a:lnTo>
                    <a:pt x="353326" y="67551"/>
                  </a:lnTo>
                  <a:lnTo>
                    <a:pt x="310934" y="31711"/>
                  </a:lnTo>
                  <a:lnTo>
                    <a:pt x="258724" y="8343"/>
                  </a:lnTo>
                  <a:lnTo>
                    <a:pt x="219824" y="952"/>
                  </a:lnTo>
                  <a:lnTo>
                    <a:pt x="199428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srgbClr val="5C717C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sp>
          <p:nvSpPr>
            <p:cNvPr id="101" name="object 42">
              <a:extLst>
                <a:ext uri="{FF2B5EF4-FFF2-40B4-BE49-F238E27FC236}">
                  <a16:creationId xmlns:a16="http://schemas.microsoft.com/office/drawing/2014/main" id="{EEE21AE8-C0EB-4064-B492-57293C8BDFAC}"/>
                </a:ext>
              </a:extLst>
            </p:cNvPr>
            <p:cNvSpPr/>
            <p:nvPr/>
          </p:nvSpPr>
          <p:spPr>
            <a:xfrm>
              <a:off x="3302507" y="1501140"/>
              <a:ext cx="397510" cy="371475"/>
            </a:xfrm>
            <a:custGeom>
              <a:avLst/>
              <a:gdLst/>
              <a:ahLst/>
              <a:cxnLst/>
              <a:rect l="l" t="t" r="r" b="b"/>
              <a:pathLst>
                <a:path w="397510" h="371475">
                  <a:moveTo>
                    <a:pt x="198666" y="0"/>
                  </a:moveTo>
                  <a:lnTo>
                    <a:pt x="158623" y="3771"/>
                  </a:lnTo>
                  <a:lnTo>
                    <a:pt x="121335" y="14592"/>
                  </a:lnTo>
                  <a:lnTo>
                    <a:pt x="72301" y="42392"/>
                  </a:lnTo>
                  <a:lnTo>
                    <a:pt x="33921" y="81851"/>
                  </a:lnTo>
                  <a:lnTo>
                    <a:pt x="8928" y="130441"/>
                  </a:lnTo>
                  <a:lnTo>
                    <a:pt x="0" y="185648"/>
                  </a:lnTo>
                  <a:lnTo>
                    <a:pt x="1028" y="204635"/>
                  </a:lnTo>
                  <a:lnTo>
                    <a:pt x="15608" y="257911"/>
                  </a:lnTo>
                  <a:lnTo>
                    <a:pt x="45364" y="303733"/>
                  </a:lnTo>
                  <a:lnTo>
                    <a:pt x="87579" y="339598"/>
                  </a:lnTo>
                  <a:lnTo>
                    <a:pt x="139585" y="362953"/>
                  </a:lnTo>
                  <a:lnTo>
                    <a:pt x="178358" y="370344"/>
                  </a:lnTo>
                  <a:lnTo>
                    <a:pt x="198666" y="371309"/>
                  </a:lnTo>
                  <a:lnTo>
                    <a:pt x="218973" y="370344"/>
                  </a:lnTo>
                  <a:lnTo>
                    <a:pt x="257746" y="362953"/>
                  </a:lnTo>
                  <a:lnTo>
                    <a:pt x="293370" y="348894"/>
                  </a:lnTo>
                  <a:lnTo>
                    <a:pt x="339140" y="316928"/>
                  </a:lnTo>
                  <a:lnTo>
                    <a:pt x="373354" y="274142"/>
                  </a:lnTo>
                  <a:lnTo>
                    <a:pt x="393293" y="223062"/>
                  </a:lnTo>
                  <a:lnTo>
                    <a:pt x="397332" y="185648"/>
                  </a:lnTo>
                  <a:lnTo>
                    <a:pt x="396303" y="166674"/>
                  </a:lnTo>
                  <a:lnTo>
                    <a:pt x="381723" y="113385"/>
                  </a:lnTo>
                  <a:lnTo>
                    <a:pt x="351967" y="67551"/>
                  </a:lnTo>
                  <a:lnTo>
                    <a:pt x="309753" y="31711"/>
                  </a:lnTo>
                  <a:lnTo>
                    <a:pt x="257746" y="8343"/>
                  </a:lnTo>
                  <a:lnTo>
                    <a:pt x="218973" y="952"/>
                  </a:lnTo>
                  <a:lnTo>
                    <a:pt x="198666" y="0"/>
                  </a:lnTo>
                  <a:close/>
                </a:path>
              </a:pathLst>
            </a:custGeom>
            <a:ln w="9144">
              <a:solidFill>
                <a:srgbClr val="5C6F7A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srgbClr val="5C717C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pic>
          <p:nvPicPr>
            <p:cNvPr id="102" name="object 43">
              <a:extLst>
                <a:ext uri="{FF2B5EF4-FFF2-40B4-BE49-F238E27FC236}">
                  <a16:creationId xmlns:a16="http://schemas.microsoft.com/office/drawing/2014/main" id="{A0A4A6C9-7E33-4D01-AB5A-BA0DA3CBAABA}"/>
                </a:ext>
              </a:extLst>
            </p:cNvPr>
            <p:cNvPicPr/>
            <p:nvPr/>
          </p:nvPicPr>
          <p:blipFill>
            <a:blip r:embed="rId8" cstate="print"/>
            <a:stretch>
              <a:fillRect/>
            </a:stretch>
          </p:blipFill>
          <p:spPr>
            <a:xfrm>
              <a:off x="3401571" y="1588011"/>
              <a:ext cx="195072" cy="198120"/>
            </a:xfrm>
            <a:prstGeom prst="rect">
              <a:avLst/>
            </a:prstGeom>
          </p:spPr>
        </p:pic>
        <p:sp>
          <p:nvSpPr>
            <p:cNvPr id="103" name="object 44">
              <a:extLst>
                <a:ext uri="{FF2B5EF4-FFF2-40B4-BE49-F238E27FC236}">
                  <a16:creationId xmlns:a16="http://schemas.microsoft.com/office/drawing/2014/main" id="{15670649-CE43-4986-A1DB-60447B5161B0}"/>
                </a:ext>
              </a:extLst>
            </p:cNvPr>
            <p:cNvSpPr/>
            <p:nvPr/>
          </p:nvSpPr>
          <p:spPr>
            <a:xfrm>
              <a:off x="3340613" y="1528568"/>
              <a:ext cx="317500" cy="318770"/>
            </a:xfrm>
            <a:custGeom>
              <a:avLst/>
              <a:gdLst/>
              <a:ahLst/>
              <a:cxnLst/>
              <a:rect l="l" t="t" r="r" b="b"/>
              <a:pathLst>
                <a:path w="317500" h="318769">
                  <a:moveTo>
                    <a:pt x="158495" y="0"/>
                  </a:moveTo>
                  <a:lnTo>
                    <a:pt x="108143" y="8055"/>
                  </a:lnTo>
                  <a:lnTo>
                    <a:pt x="64602" y="30536"/>
                  </a:lnTo>
                  <a:lnTo>
                    <a:pt x="30388" y="64915"/>
                  </a:lnTo>
                  <a:lnTo>
                    <a:pt x="8016" y="108664"/>
                  </a:lnTo>
                  <a:lnTo>
                    <a:pt x="0" y="159257"/>
                  </a:lnTo>
                  <a:lnTo>
                    <a:pt x="8016" y="209358"/>
                  </a:lnTo>
                  <a:lnTo>
                    <a:pt x="30388" y="253046"/>
                  </a:lnTo>
                  <a:lnTo>
                    <a:pt x="64602" y="287610"/>
                  </a:lnTo>
                  <a:lnTo>
                    <a:pt x="108143" y="310337"/>
                  </a:lnTo>
                  <a:lnTo>
                    <a:pt x="158495" y="318515"/>
                  </a:lnTo>
                  <a:lnTo>
                    <a:pt x="208356" y="310337"/>
                  </a:lnTo>
                  <a:lnTo>
                    <a:pt x="251835" y="287610"/>
                  </a:lnTo>
                  <a:lnTo>
                    <a:pt x="286234" y="253046"/>
                  </a:lnTo>
                  <a:lnTo>
                    <a:pt x="308852" y="209358"/>
                  </a:lnTo>
                  <a:lnTo>
                    <a:pt x="316991" y="159257"/>
                  </a:lnTo>
                  <a:lnTo>
                    <a:pt x="315373" y="137405"/>
                  </a:lnTo>
                  <a:lnTo>
                    <a:pt x="310757" y="116397"/>
                  </a:lnTo>
                  <a:lnTo>
                    <a:pt x="303506" y="96591"/>
                  </a:lnTo>
                  <a:lnTo>
                    <a:pt x="293979" y="78346"/>
                  </a:lnTo>
                  <a:lnTo>
                    <a:pt x="276085" y="96329"/>
                  </a:lnTo>
                  <a:lnTo>
                    <a:pt x="274802" y="97612"/>
                  </a:lnTo>
                  <a:lnTo>
                    <a:pt x="273532" y="97612"/>
                  </a:lnTo>
                  <a:lnTo>
                    <a:pt x="272249" y="98894"/>
                  </a:lnTo>
                  <a:lnTo>
                    <a:pt x="278424" y="112843"/>
                  </a:lnTo>
                  <a:lnTo>
                    <a:pt x="283278" y="127633"/>
                  </a:lnTo>
                  <a:lnTo>
                    <a:pt x="286453" y="143145"/>
                  </a:lnTo>
                  <a:lnTo>
                    <a:pt x="287591" y="159257"/>
                  </a:lnTo>
                  <a:lnTo>
                    <a:pt x="277305" y="209326"/>
                  </a:lnTo>
                  <a:lnTo>
                    <a:pt x="249404" y="250605"/>
                  </a:lnTo>
                  <a:lnTo>
                    <a:pt x="208322" y="278640"/>
                  </a:lnTo>
                  <a:lnTo>
                    <a:pt x="158495" y="288975"/>
                  </a:lnTo>
                  <a:lnTo>
                    <a:pt x="108128" y="278640"/>
                  </a:lnTo>
                  <a:lnTo>
                    <a:pt x="67106" y="250605"/>
                  </a:lnTo>
                  <a:lnTo>
                    <a:pt x="39506" y="209326"/>
                  </a:lnTo>
                  <a:lnTo>
                    <a:pt x="29400" y="159257"/>
                  </a:lnTo>
                  <a:lnTo>
                    <a:pt x="39506" y="108648"/>
                  </a:lnTo>
                  <a:lnTo>
                    <a:pt x="67106" y="67429"/>
                  </a:lnTo>
                  <a:lnTo>
                    <a:pt x="108128" y="39694"/>
                  </a:lnTo>
                  <a:lnTo>
                    <a:pt x="158495" y="29540"/>
                  </a:lnTo>
                  <a:lnTo>
                    <a:pt x="173791" y="30484"/>
                  </a:lnTo>
                  <a:lnTo>
                    <a:pt x="188847" y="33235"/>
                  </a:lnTo>
                  <a:lnTo>
                    <a:pt x="203424" y="37673"/>
                  </a:lnTo>
                  <a:lnTo>
                    <a:pt x="217284" y="43675"/>
                  </a:lnTo>
                  <a:lnTo>
                    <a:pt x="239013" y="21843"/>
                  </a:lnTo>
                  <a:lnTo>
                    <a:pt x="220321" y="12467"/>
                  </a:lnTo>
                  <a:lnTo>
                    <a:pt x="200669" y="5621"/>
                  </a:lnTo>
                  <a:lnTo>
                    <a:pt x="180060" y="1425"/>
                  </a:lnTo>
                  <a:lnTo>
                    <a:pt x="158495" y="0"/>
                  </a:lnTo>
                  <a:close/>
                </a:path>
              </a:pathLst>
            </a:custGeom>
            <a:solidFill>
              <a:srgbClr val="5C6F7A"/>
            </a:solid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srgbClr val="5C717C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pic>
          <p:nvPicPr>
            <p:cNvPr id="104" name="object 45">
              <a:extLst>
                <a:ext uri="{FF2B5EF4-FFF2-40B4-BE49-F238E27FC236}">
                  <a16:creationId xmlns:a16="http://schemas.microsoft.com/office/drawing/2014/main" id="{3C5372C1-6F57-40C2-932F-038F4771F51A}"/>
                </a:ext>
              </a:extLst>
            </p:cNvPr>
            <p:cNvPicPr/>
            <p:nvPr/>
          </p:nvPicPr>
          <p:blipFill>
            <a:blip r:embed="rId9" cstate="print"/>
            <a:stretch>
              <a:fillRect/>
            </a:stretch>
          </p:blipFill>
          <p:spPr>
            <a:xfrm>
              <a:off x="3488434" y="1519543"/>
              <a:ext cx="178033" cy="176667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64936569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object 7"/>
          <p:cNvGrpSpPr/>
          <p:nvPr/>
        </p:nvGrpSpPr>
        <p:grpSpPr>
          <a:xfrm>
            <a:off x="755904" y="214884"/>
            <a:ext cx="10598150" cy="623570"/>
            <a:chOff x="755904" y="214884"/>
            <a:chExt cx="10598150" cy="623570"/>
          </a:xfrm>
        </p:grpSpPr>
        <p:sp>
          <p:nvSpPr>
            <p:cNvPr id="8" name="object 8"/>
            <p:cNvSpPr/>
            <p:nvPr/>
          </p:nvSpPr>
          <p:spPr>
            <a:xfrm>
              <a:off x="838200" y="246888"/>
              <a:ext cx="10515600" cy="486409"/>
            </a:xfrm>
            <a:custGeom>
              <a:avLst/>
              <a:gdLst/>
              <a:ahLst/>
              <a:cxnLst/>
              <a:rect l="l" t="t" r="r" b="b"/>
              <a:pathLst>
                <a:path w="10515600" h="486409">
                  <a:moveTo>
                    <a:pt x="10515600" y="0"/>
                  </a:moveTo>
                  <a:lnTo>
                    <a:pt x="0" y="0"/>
                  </a:lnTo>
                  <a:lnTo>
                    <a:pt x="0" y="486155"/>
                  </a:lnTo>
                  <a:lnTo>
                    <a:pt x="10515600" y="486155"/>
                  </a:lnTo>
                  <a:lnTo>
                    <a:pt x="10515600" y="0"/>
                  </a:lnTo>
                  <a:close/>
                </a:path>
              </a:pathLst>
            </a:custGeom>
            <a:solidFill>
              <a:srgbClr val="5C707B"/>
            </a:solid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srgbClr val="5C717C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</a:endParaRPr>
            </a:p>
          </p:txBody>
        </p:sp>
        <p:pic>
          <p:nvPicPr>
            <p:cNvPr id="9" name="object 9"/>
            <p:cNvPicPr/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755904" y="214884"/>
              <a:ext cx="7880603" cy="623315"/>
            </a:xfrm>
            <a:prstGeom prst="rect">
              <a:avLst/>
            </a:prstGeom>
          </p:spPr>
        </p:pic>
      </p:grpSp>
      <p:sp>
        <p:nvSpPr>
          <p:cNvPr id="10" name="object 10"/>
          <p:cNvSpPr txBox="1">
            <a:spLocks noGrp="1"/>
          </p:cNvSpPr>
          <p:nvPr>
            <p:ph type="title"/>
          </p:nvPr>
        </p:nvSpPr>
        <p:spPr>
          <a:xfrm>
            <a:off x="838200" y="246888"/>
            <a:ext cx="10515600" cy="389209"/>
          </a:xfrm>
          <a:prstGeom prst="rect">
            <a:avLst/>
          </a:prstGeom>
        </p:spPr>
        <p:txBody>
          <a:bodyPr vert="horz" wrap="square" lIns="0" tIns="50165" rIns="0" bIns="0" rtlCol="0">
            <a:spAutoFit/>
          </a:bodyPr>
          <a:lstStyle/>
          <a:p>
            <a:pPr marL="91440">
              <a:lnSpc>
                <a:spcPct val="100000"/>
              </a:lnSpc>
              <a:spcBef>
                <a:spcPts val="395"/>
              </a:spcBef>
            </a:pPr>
            <a:r>
              <a:rPr lang="it-IT"/>
              <a:t>I nostri Impeghi </a:t>
            </a:r>
            <a:endParaRPr spc="-5">
              <a:latin typeface="Trebuchet MS" panose="020B0603020202020204" pitchFamily="34" charset="0"/>
            </a:endParaRPr>
          </a:p>
        </p:txBody>
      </p:sp>
      <p:sp>
        <p:nvSpPr>
          <p:cNvPr id="20" name="object 20"/>
          <p:cNvSpPr txBox="1">
            <a:spLocks noGrp="1"/>
          </p:cNvSpPr>
          <p:nvPr>
            <p:ph type="sldNum" sz="quarter" idx="7"/>
          </p:nvPr>
        </p:nvSpPr>
        <p:spPr>
          <a:xfrm>
            <a:off x="10035540" y="6352335"/>
            <a:ext cx="377190" cy="234038"/>
          </a:xfrm>
          <a:prstGeom prst="rect">
            <a:avLst/>
          </a:prstGeom>
        </p:spPr>
        <p:txBody>
          <a:bodyPr vert="horz" wrap="square" lIns="0" tIns="48895" rIns="0" bIns="0" rtlCol="0">
            <a:spAutoFit/>
          </a:bodyPr>
          <a:lstStyle/>
          <a:p>
            <a:pPr marL="116839" marR="0" lvl="0" indent="0" algn="r" defTabSz="914400" rtl="0" eaLnBrk="1" fontAlgn="auto" latinLnBrk="0" hangingPunct="1">
              <a:lnSpc>
                <a:spcPct val="100000"/>
              </a:lnSpc>
              <a:spcBef>
                <a:spcPts val="38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1D60167-4931-47E6-BA6A-407CBD079E47}" type="slidenum">
              <a:rPr kumimoji="0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</a:rPr>
              <a:pPr marL="116839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385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ebuchet MS" panose="020B0603020202020204" pitchFamily="34" charset="0"/>
              <a:ea typeface="+mn-ea"/>
            </a:endParaRPr>
          </a:p>
        </p:txBody>
      </p:sp>
      <p:graphicFrame>
        <p:nvGraphicFramePr>
          <p:cNvPr id="63" name="Grafico 62">
            <a:extLst>
              <a:ext uri="{FF2B5EF4-FFF2-40B4-BE49-F238E27FC236}">
                <a16:creationId xmlns:a16="http://schemas.microsoft.com/office/drawing/2014/main" id="{377A3F05-6598-402C-A9CB-0B247117A2E1}"/>
              </a:ext>
            </a:extLst>
          </p:cNvPr>
          <p:cNvGraphicFramePr>
            <a:graphicFrameLocks/>
          </p:cNvGraphicFramePr>
          <p:nvPr/>
        </p:nvGraphicFramePr>
        <p:xfrm>
          <a:off x="901521" y="1127753"/>
          <a:ext cx="6141609" cy="480193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64" name="Segnaposto testo 3">
            <a:extLst>
              <a:ext uri="{FF2B5EF4-FFF2-40B4-BE49-F238E27FC236}">
                <a16:creationId xmlns:a16="http://schemas.microsoft.com/office/drawing/2014/main" id="{7D7E4EA4-E2AE-4E27-B56A-920B217E5E83}"/>
              </a:ext>
            </a:extLst>
          </p:cNvPr>
          <p:cNvSpPr txBox="1">
            <a:spLocks/>
          </p:cNvSpPr>
          <p:nvPr/>
        </p:nvSpPr>
        <p:spPr>
          <a:xfrm>
            <a:off x="838200" y="803697"/>
            <a:ext cx="10515600" cy="376606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bg2">
                  <a:lumMod val="75000"/>
                </a:schemeClr>
              </a:buClr>
              <a:buSzPct val="100000"/>
              <a:buFont typeface="Trebuchet MS" panose="020B0603020202020204" pitchFamily="34" charset="0"/>
              <a:buChar char="•"/>
              <a:defRPr sz="1400" kern="1200">
                <a:solidFill>
                  <a:schemeClr val="bg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49263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1400" kern="1200">
                <a:solidFill>
                  <a:schemeClr val="bg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714375" indent="-24923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Ø"/>
              <a:defRPr sz="1400" kern="1200">
                <a:solidFill>
                  <a:schemeClr val="bg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985838" indent="-2413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Trebuchet MS" panose="020B0603020202020204" pitchFamily="34" charset="0"/>
              <a:buChar char="‐"/>
              <a:defRPr sz="1400" kern="1200">
                <a:solidFill>
                  <a:schemeClr val="bg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2573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Trebuchet MS" panose="020B0603020202020204" pitchFamily="34" charset="0"/>
              <a:buChar char="∙"/>
              <a:defRPr sz="1400" kern="1200">
                <a:solidFill>
                  <a:schemeClr val="bg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E7E6E6">
                  <a:lumMod val="75000"/>
                </a:srgbClr>
              </a:buClr>
              <a:buSzPct val="100000"/>
              <a:buFont typeface="Trebuchet MS" panose="020B0603020202020204" pitchFamily="34" charset="0"/>
              <a:buNone/>
              <a:tabLst/>
              <a:defRPr/>
            </a:pPr>
            <a:r>
              <a:rPr kumimoji="0" lang="it-IT" sz="1800" b="0" i="0" u="none" strike="noStrike" kern="1200" cap="none" spc="0" normalizeH="0" baseline="0" noProof="0">
                <a:ln>
                  <a:noFill/>
                </a:ln>
                <a:solidFill>
                  <a:srgbClr val="5C707B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Andamento e politica degli impieghi - Impieghi in Mio EUR per anno</a:t>
            </a:r>
          </a:p>
        </p:txBody>
      </p:sp>
      <p:sp>
        <p:nvSpPr>
          <p:cNvPr id="65" name="Rettangolo 64">
            <a:extLst>
              <a:ext uri="{FF2B5EF4-FFF2-40B4-BE49-F238E27FC236}">
                <a16:creationId xmlns:a16="http://schemas.microsoft.com/office/drawing/2014/main" id="{6EAD94BF-C9C0-400A-8AF7-3BA8D8742C7B}"/>
              </a:ext>
            </a:extLst>
          </p:cNvPr>
          <p:cNvSpPr/>
          <p:nvPr/>
        </p:nvSpPr>
        <p:spPr>
          <a:xfrm>
            <a:off x="1748675" y="1707621"/>
            <a:ext cx="1506829" cy="935379"/>
          </a:xfrm>
          <a:prstGeom prst="rect">
            <a:avLst/>
          </a:prstGeom>
          <a:solidFill>
            <a:schemeClr val="bg1"/>
          </a:solidFill>
          <a:ln w="31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000" b="0" i="0" u="none" strike="noStrike" kern="1200" cap="none" spc="0" normalizeH="0" baseline="0" noProof="0">
                <a:ln>
                  <a:noFill/>
                </a:ln>
                <a:solidFill>
                  <a:srgbClr val="E7E6E6">
                    <a:lumMod val="50000"/>
                  </a:srgbClr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(i) Nuove politiche del credito; (ii) inizio operatività per bandi (iii) inizio operatività Fondo di Garanzia</a:t>
            </a:r>
          </a:p>
        </p:txBody>
      </p:sp>
      <p:cxnSp>
        <p:nvCxnSpPr>
          <p:cNvPr id="66" name="Connettore a gomito 65">
            <a:extLst>
              <a:ext uri="{FF2B5EF4-FFF2-40B4-BE49-F238E27FC236}">
                <a16:creationId xmlns:a16="http://schemas.microsoft.com/office/drawing/2014/main" id="{C991F442-3593-43A8-83C5-3ABF147E356A}"/>
              </a:ext>
            </a:extLst>
          </p:cNvPr>
          <p:cNvCxnSpPr>
            <a:cxnSpLocks/>
          </p:cNvCxnSpPr>
          <p:nvPr/>
        </p:nvCxnSpPr>
        <p:spPr>
          <a:xfrm>
            <a:off x="3255504" y="1805344"/>
            <a:ext cx="714776" cy="357166"/>
          </a:xfrm>
          <a:prstGeom prst="bentConnector3">
            <a:avLst>
              <a:gd name="adj1" fmla="val 99550"/>
            </a:avLst>
          </a:prstGeom>
          <a:ln>
            <a:solidFill>
              <a:srgbClr val="5B707B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Connettore a gomito 66">
            <a:extLst>
              <a:ext uri="{FF2B5EF4-FFF2-40B4-BE49-F238E27FC236}">
                <a16:creationId xmlns:a16="http://schemas.microsoft.com/office/drawing/2014/main" id="{85A33484-1901-4B68-BE77-EE160CD0253A}"/>
              </a:ext>
            </a:extLst>
          </p:cNvPr>
          <p:cNvCxnSpPr>
            <a:cxnSpLocks/>
          </p:cNvCxnSpPr>
          <p:nvPr/>
        </p:nvCxnSpPr>
        <p:spPr>
          <a:xfrm rot="16200000" flipH="1">
            <a:off x="2601899" y="2720437"/>
            <a:ext cx="1448876" cy="141670"/>
          </a:xfrm>
          <a:prstGeom prst="bentConnector3">
            <a:avLst>
              <a:gd name="adj1" fmla="val 1556"/>
            </a:avLst>
          </a:prstGeom>
          <a:ln>
            <a:solidFill>
              <a:srgbClr val="5B707B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8" name="Rettangolo con angoli arrotondati 67">
            <a:extLst>
              <a:ext uri="{FF2B5EF4-FFF2-40B4-BE49-F238E27FC236}">
                <a16:creationId xmlns:a16="http://schemas.microsoft.com/office/drawing/2014/main" id="{18508D32-03C2-49B5-91BD-B541AD624D0D}"/>
              </a:ext>
            </a:extLst>
          </p:cNvPr>
          <p:cNvSpPr/>
          <p:nvPr/>
        </p:nvSpPr>
        <p:spPr>
          <a:xfrm>
            <a:off x="7308760" y="1251622"/>
            <a:ext cx="4045040" cy="4678066"/>
          </a:xfrm>
          <a:prstGeom prst="roundRect">
            <a:avLst>
              <a:gd name="adj" fmla="val 4613"/>
            </a:avLst>
          </a:prstGeom>
          <a:solidFill>
            <a:schemeClr val="bg1"/>
          </a:solidFill>
          <a:ln w="6350">
            <a:solidFill>
              <a:srgbClr val="5E727B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it-IT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just" defTabSz="9144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714625" algn="l"/>
              </a:tabLst>
              <a:defRPr/>
            </a:pPr>
            <a:endParaRPr kumimoji="0" lang="it-IT" sz="1200" b="0" i="0" u="none" strike="noStrike" kern="1200" cap="none" spc="0" normalizeH="0" baseline="0" noProof="0">
              <a:ln>
                <a:noFill/>
              </a:ln>
              <a:solidFill>
                <a:srgbClr val="E7E6E6">
                  <a:lumMod val="50000"/>
                </a:srgbClr>
              </a:solidFill>
              <a:effectLst/>
              <a:uLnTx/>
              <a:uFillTx/>
              <a:latin typeface="Trebuchet MS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>
                <a:tab pos="2714625" algn="l"/>
              </a:tabLst>
              <a:defRPr/>
            </a:pPr>
            <a:r>
              <a:rPr kumimoji="0" lang="it-IT" sz="1200" b="1" i="0" u="none" strike="noStrike" kern="1200" cap="none" spc="0" normalizeH="0" baseline="0" noProof="0">
                <a:ln>
                  <a:noFill/>
                </a:ln>
                <a:solidFill>
                  <a:srgbClr val="E7E6E6">
                    <a:lumMod val="50000"/>
                  </a:srgbClr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€ 1 miliardo e 777 milioni di finanziamenti </a:t>
            </a:r>
            <a:r>
              <a:rPr kumimoji="0" lang="it-IT" sz="1200" b="0" i="0" u="none" strike="noStrike" kern="1200" cap="none" spc="0" normalizeH="0" baseline="0" noProof="0">
                <a:ln>
                  <a:noFill/>
                </a:ln>
                <a:solidFill>
                  <a:srgbClr val="E7E6E6">
                    <a:lumMod val="50000"/>
                  </a:srgbClr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erogati a partire dal 2016. </a:t>
            </a:r>
          </a:p>
          <a:p>
            <a:pPr marL="171450" marR="0" lvl="0" indent="-171450" algn="l" defTabSz="9144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>
                <a:tab pos="2714625" algn="l"/>
              </a:tabLst>
              <a:defRPr/>
            </a:pPr>
            <a:endParaRPr kumimoji="0" lang="it-IT" sz="1200" b="0" i="0" u="none" strike="noStrike" kern="1200" cap="none" spc="0" normalizeH="0" baseline="0" noProof="0">
              <a:ln>
                <a:noFill/>
              </a:ln>
              <a:solidFill>
                <a:srgbClr val="E7E6E6">
                  <a:lumMod val="50000"/>
                </a:srgbClr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>
                <a:tab pos="2714625" algn="l"/>
              </a:tabLst>
              <a:defRPr/>
            </a:pPr>
            <a:r>
              <a:rPr kumimoji="0" lang="it-IT" sz="1200" b="1" i="0" u="none" strike="noStrike" kern="1200" cap="none" spc="0" normalizeH="0" baseline="0" noProof="0">
                <a:ln>
                  <a:noFill/>
                </a:ln>
                <a:solidFill>
                  <a:srgbClr val="E7E6E6">
                    <a:lumMod val="50000"/>
                  </a:srgbClr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Produciamo utili per finanziare le agevolazioni</a:t>
            </a:r>
            <a:r>
              <a:rPr kumimoji="0" lang="it-IT" sz="1200" b="0" i="0" u="none" strike="noStrike" kern="1200" cap="none" spc="0" normalizeH="0" baseline="0" noProof="0">
                <a:ln>
                  <a:noFill/>
                </a:ln>
                <a:solidFill>
                  <a:srgbClr val="E7E6E6">
                    <a:lumMod val="50000"/>
                  </a:srgbClr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: € 134 milioni di utili prodotti negli ultimi 3 bilanci di cui € 49 milioni versati al Fondo contributi interessi</a:t>
            </a:r>
          </a:p>
          <a:p>
            <a:pPr marL="171450" marR="0" lvl="0" indent="-171450" algn="l" defTabSz="9144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>
                <a:tab pos="2714625" algn="l"/>
              </a:tabLst>
              <a:defRPr/>
            </a:pPr>
            <a:endParaRPr kumimoji="0" lang="it-IT" sz="1200" b="0" i="0" u="none" strike="noStrike" kern="1200" cap="none" spc="0" normalizeH="0" baseline="0" noProof="0">
              <a:ln>
                <a:noFill/>
              </a:ln>
              <a:solidFill>
                <a:srgbClr val="E7E6E6">
                  <a:lumMod val="50000"/>
                </a:srgbClr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>
                <a:tab pos="2714625" algn="l"/>
              </a:tabLst>
              <a:defRPr/>
            </a:pPr>
            <a:r>
              <a:rPr kumimoji="0" lang="it-IT" sz="1200" b="1" i="0" u="none" strike="noStrike" kern="1200" cap="none" spc="0" normalizeH="0" baseline="0" noProof="0">
                <a:ln>
                  <a:noFill/>
                </a:ln>
                <a:solidFill>
                  <a:srgbClr val="E7E6E6">
                    <a:lumMod val="50000"/>
                  </a:srgbClr>
                </a:solidFill>
                <a:effectLst/>
                <a:uLnTx/>
                <a:uFillTx/>
                <a:latin typeface="Trebuchet MS"/>
                <a:ea typeface="Calibri" panose="020F0502020204030204" pitchFamily="34" charset="0"/>
                <a:cs typeface="Times New Roman" panose="02020603050405020304" pitchFamily="18" charset="0"/>
              </a:rPr>
              <a:t>Nel 2021 sono stati erogati 342 milioni di euro di finanziamenti</a:t>
            </a:r>
            <a:r>
              <a:rPr kumimoji="0" lang="it-IT" sz="1200" b="0" i="0" u="none" strike="noStrike" kern="1200" cap="none" spc="0" normalizeH="0" baseline="0" noProof="0">
                <a:ln>
                  <a:noFill/>
                </a:ln>
                <a:solidFill>
                  <a:srgbClr val="E7E6E6">
                    <a:lumMod val="50000"/>
                  </a:srgbClr>
                </a:solidFill>
                <a:effectLst/>
                <a:uLnTx/>
                <a:uFillTx/>
                <a:latin typeface="Trebuchet MS"/>
                <a:ea typeface="Calibri" panose="020F0502020204030204" pitchFamily="34" charset="0"/>
                <a:cs typeface="Times New Roman" panose="02020603050405020304" pitchFamily="18" charset="0"/>
              </a:rPr>
              <a:t>, continuando a stabilire un record dell’Istituto, grazie alla spinta degli impieghi liquidità e ad una sostanziale tenuta degli impieghi per sviluppo infrastrutturale in un’ambiente macroeconomico particolarmente complesso.</a:t>
            </a:r>
          </a:p>
          <a:p>
            <a:pPr marL="171450" marR="0" lvl="0" indent="-171450" algn="l" defTabSz="9144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>
                <a:tab pos="2714625" algn="l"/>
              </a:tabLst>
              <a:defRPr/>
            </a:pPr>
            <a:endParaRPr kumimoji="0" lang="it-IT" sz="1200" b="0" i="0" u="none" strike="noStrike" kern="1200" cap="none" spc="0" normalizeH="0" baseline="0" noProof="0">
              <a:ln>
                <a:noFill/>
              </a:ln>
              <a:solidFill>
                <a:srgbClr val="E7E6E6">
                  <a:lumMod val="50000"/>
                </a:srgbClr>
              </a:solidFill>
              <a:effectLst/>
              <a:uLnTx/>
              <a:uFillTx/>
              <a:latin typeface="Trebuchet MS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>
                <a:tab pos="2714625" algn="l"/>
              </a:tabLst>
              <a:defRPr/>
            </a:pPr>
            <a:r>
              <a:rPr kumimoji="0" lang="it-IT" sz="1200" b="1" i="0" u="none" strike="noStrike" kern="1200" cap="none" spc="0" normalizeH="0" baseline="0" noProof="0">
                <a:ln>
                  <a:noFill/>
                </a:ln>
                <a:solidFill>
                  <a:srgbClr val="E7E6E6">
                    <a:lumMod val="50000"/>
                  </a:srgbClr>
                </a:solidFill>
                <a:effectLst/>
                <a:uLnTx/>
                <a:uFillTx/>
                <a:latin typeface="Trebuchet MS"/>
                <a:ea typeface="Calibri" panose="020F0502020204030204" pitchFamily="34" charset="0"/>
                <a:cs typeface="Times New Roman" panose="02020603050405020304" pitchFamily="18" charset="0"/>
              </a:rPr>
              <a:t>Gli impieghi nel settore privato hanno beneficiato del Fondo di Garanzia</a:t>
            </a:r>
            <a:r>
              <a:rPr kumimoji="0" lang="it-IT" sz="1200" b="0" i="0" u="none" strike="noStrike" kern="1200" cap="none" spc="0" normalizeH="0" baseline="0" noProof="0">
                <a:ln>
                  <a:noFill/>
                </a:ln>
                <a:solidFill>
                  <a:srgbClr val="E7E6E6">
                    <a:lumMod val="50000"/>
                  </a:srgbClr>
                </a:solidFill>
                <a:effectLst/>
                <a:uLnTx/>
                <a:uFillTx/>
                <a:latin typeface="Trebuchet MS"/>
                <a:ea typeface="Calibri" panose="020F0502020204030204" pitchFamily="34" charset="0"/>
                <a:cs typeface="Times New Roman" panose="02020603050405020304" pitchFamily="18" charset="0"/>
              </a:rPr>
              <a:t>, in gestione presso ICS, e di una accresciuta capacità di sostenere anche le iniziative di finanza strutturata. </a:t>
            </a:r>
          </a:p>
          <a:p>
            <a:pPr marL="171450" marR="0" lvl="0" indent="-171450" algn="just" defTabSz="9144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>
                <a:tab pos="2714625" algn="l"/>
              </a:tabLst>
              <a:defRPr/>
            </a:pPr>
            <a:endParaRPr kumimoji="0" lang="it-IT" sz="1200" b="0" i="0" u="none" strike="noStrike" kern="1200" cap="none" spc="0" normalizeH="0" baseline="0" noProof="0">
              <a:ln>
                <a:noFill/>
              </a:ln>
              <a:solidFill>
                <a:srgbClr val="5B707B"/>
              </a:solidFill>
              <a:effectLst/>
              <a:uLnTx/>
              <a:uFillTx/>
              <a:latin typeface="Trebuchet MS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69" name="Rettangolo 68">
            <a:extLst>
              <a:ext uri="{FF2B5EF4-FFF2-40B4-BE49-F238E27FC236}">
                <a16:creationId xmlns:a16="http://schemas.microsoft.com/office/drawing/2014/main" id="{7B5E0978-DFEA-4F08-982B-4B0C09AD2A88}"/>
              </a:ext>
            </a:extLst>
          </p:cNvPr>
          <p:cNvSpPr/>
          <p:nvPr/>
        </p:nvSpPr>
        <p:spPr>
          <a:xfrm>
            <a:off x="2334353" y="5392658"/>
            <a:ext cx="2456643" cy="108000"/>
          </a:xfrm>
          <a:prstGeom prst="rect">
            <a:avLst/>
          </a:pr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800" b="0" i="0" u="none" strike="noStrike" kern="1200" cap="none" spc="0" normalizeH="0" baseline="0" noProof="0">
                <a:ln>
                  <a:noFill/>
                </a:ln>
                <a:solidFill>
                  <a:srgbClr val="E7E6E6">
                    <a:lumMod val="50000"/>
                  </a:srgbClr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Commissariamento dal 2012 al 02/2018</a:t>
            </a:r>
          </a:p>
        </p:txBody>
      </p:sp>
      <p:sp>
        <p:nvSpPr>
          <p:cNvPr id="70" name="Parentesi graffa aperta 69">
            <a:extLst>
              <a:ext uri="{FF2B5EF4-FFF2-40B4-BE49-F238E27FC236}">
                <a16:creationId xmlns:a16="http://schemas.microsoft.com/office/drawing/2014/main" id="{8D442C3B-28F2-4226-B7F4-FA84DE844FA6}"/>
              </a:ext>
            </a:extLst>
          </p:cNvPr>
          <p:cNvSpPr/>
          <p:nvPr/>
        </p:nvSpPr>
        <p:spPr>
          <a:xfrm rot="16200000">
            <a:off x="3375692" y="3586748"/>
            <a:ext cx="106617" cy="3505201"/>
          </a:xfrm>
          <a:prstGeom prst="leftBrace">
            <a:avLst>
              <a:gd name="adj1" fmla="val 8333"/>
              <a:gd name="adj2" fmla="val 49666"/>
            </a:avLst>
          </a:prstGeom>
          <a:solidFill>
            <a:schemeClr val="bg1"/>
          </a:solidFill>
          <a:ln>
            <a:solidFill>
              <a:srgbClr val="5B707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1200" cap="none" spc="0" normalizeH="0" baseline="0" noProof="0">
              <a:ln>
                <a:noFill/>
              </a:ln>
              <a:solidFill>
                <a:srgbClr val="E7E6E6">
                  <a:lumMod val="50000"/>
                </a:srgbClr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sp>
        <p:nvSpPr>
          <p:cNvPr id="16" name="object 21">
            <a:extLst>
              <a:ext uri="{FF2B5EF4-FFF2-40B4-BE49-F238E27FC236}">
                <a16:creationId xmlns:a16="http://schemas.microsoft.com/office/drawing/2014/main" id="{2D69F5F5-CB1A-4808-B554-94C1DA01DB34}"/>
              </a:ext>
            </a:extLst>
          </p:cNvPr>
          <p:cNvSpPr txBox="1">
            <a:spLocks noGrp="1"/>
          </p:cNvSpPr>
          <p:nvPr>
            <p:ph type="ftr" sz="quarter" idx="5"/>
          </p:nvPr>
        </p:nvSpPr>
        <p:spPr>
          <a:xfrm>
            <a:off x="4114800" y="6250847"/>
            <a:ext cx="4190999" cy="372538"/>
          </a:xfrm>
          <a:prstGeom prst="rect">
            <a:avLst/>
          </a:prstGeom>
        </p:spPr>
        <p:txBody>
          <a:bodyPr vert="horz" wrap="square" lIns="0" tIns="3175" rIns="0" bIns="0" rtlCol="0">
            <a:spAutoFit/>
          </a:bodyPr>
          <a:lstStyle/>
          <a:p>
            <a:pPr marL="12700" marR="0" lvl="0" indent="0" algn="ctr" defTabSz="914400" rtl="0" eaLnBrk="1" fontAlgn="auto" latinLnBrk="0" hangingPunct="1">
              <a:lnSpc>
                <a:spcPct val="100000"/>
              </a:lnSpc>
              <a:spcBef>
                <a:spcPts val="2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/>
                <a:ea typeface="+mn-ea"/>
              </a:rPr>
              <a:t>Istituto per il Credito Sportivo Banca Sociale per lo Sport e la Cultura</a:t>
            </a:r>
            <a:endParaRPr kumimoji="0" sz="1200" b="0" i="0" u="none" strike="noStrike" kern="1200" cap="none" spc="-15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ebuchet MS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19899714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object 2"/>
          <p:cNvGrpSpPr/>
          <p:nvPr/>
        </p:nvGrpSpPr>
        <p:grpSpPr>
          <a:xfrm>
            <a:off x="755904" y="214884"/>
            <a:ext cx="10598150" cy="623570"/>
            <a:chOff x="755904" y="214884"/>
            <a:chExt cx="10598150" cy="623570"/>
          </a:xfrm>
        </p:grpSpPr>
        <p:sp>
          <p:nvSpPr>
            <p:cNvPr id="3" name="object 3"/>
            <p:cNvSpPr/>
            <p:nvPr/>
          </p:nvSpPr>
          <p:spPr>
            <a:xfrm>
              <a:off x="838200" y="246888"/>
              <a:ext cx="10515600" cy="486409"/>
            </a:xfrm>
            <a:custGeom>
              <a:avLst/>
              <a:gdLst/>
              <a:ahLst/>
              <a:cxnLst/>
              <a:rect l="l" t="t" r="r" b="b"/>
              <a:pathLst>
                <a:path w="10515600" h="486409">
                  <a:moveTo>
                    <a:pt x="10515600" y="0"/>
                  </a:moveTo>
                  <a:lnTo>
                    <a:pt x="0" y="0"/>
                  </a:lnTo>
                  <a:lnTo>
                    <a:pt x="0" y="486155"/>
                  </a:lnTo>
                  <a:lnTo>
                    <a:pt x="10515600" y="486155"/>
                  </a:lnTo>
                  <a:lnTo>
                    <a:pt x="10515600" y="0"/>
                  </a:lnTo>
                  <a:close/>
                </a:path>
              </a:pathLst>
            </a:custGeom>
            <a:solidFill>
              <a:srgbClr val="5C707B"/>
            </a:solid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pic>
          <p:nvPicPr>
            <p:cNvPr id="4" name="object 4"/>
            <p:cNvPicPr/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755904" y="214884"/>
              <a:ext cx="3592067" cy="623315"/>
            </a:xfrm>
            <a:prstGeom prst="rect">
              <a:avLst/>
            </a:prstGeom>
          </p:spPr>
        </p:pic>
        <p:pic>
          <p:nvPicPr>
            <p:cNvPr id="5" name="object 5"/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3976115" y="214884"/>
              <a:ext cx="473963" cy="623315"/>
            </a:xfrm>
            <a:prstGeom prst="rect">
              <a:avLst/>
            </a:prstGeom>
          </p:spPr>
        </p:pic>
        <p:pic>
          <p:nvPicPr>
            <p:cNvPr id="6" name="object 6"/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4162044" y="214884"/>
              <a:ext cx="2237231" cy="623315"/>
            </a:xfrm>
            <a:prstGeom prst="rect">
              <a:avLst/>
            </a:prstGeom>
          </p:spPr>
        </p:pic>
      </p:grpSp>
      <p:sp>
        <p:nvSpPr>
          <p:cNvPr id="7" name="object 7"/>
          <p:cNvSpPr txBox="1">
            <a:spLocks noGrp="1"/>
          </p:cNvSpPr>
          <p:nvPr>
            <p:ph type="title"/>
          </p:nvPr>
        </p:nvSpPr>
        <p:spPr>
          <a:xfrm>
            <a:off x="916939" y="285213"/>
            <a:ext cx="5297805" cy="36068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spc="-10"/>
              <a:t>Finanziamenti</a:t>
            </a:r>
            <a:r>
              <a:rPr spc="45"/>
              <a:t> </a:t>
            </a:r>
            <a:r>
              <a:rPr spc="-5"/>
              <a:t>agevolati</a:t>
            </a:r>
            <a:r>
              <a:rPr spc="45"/>
              <a:t> </a:t>
            </a:r>
            <a:r>
              <a:rPr spc="-5"/>
              <a:t>–</a:t>
            </a:r>
            <a:r>
              <a:rPr spc="-10"/>
              <a:t> numeri</a:t>
            </a:r>
            <a:r>
              <a:rPr spc="30"/>
              <a:t> </a:t>
            </a:r>
            <a:r>
              <a:rPr spc="-5"/>
              <a:t>chiave</a:t>
            </a:r>
          </a:p>
        </p:txBody>
      </p:sp>
      <p:sp>
        <p:nvSpPr>
          <p:cNvPr id="8" name="object 8"/>
          <p:cNvSpPr txBox="1"/>
          <p:nvPr/>
        </p:nvSpPr>
        <p:spPr>
          <a:xfrm>
            <a:off x="879332" y="782182"/>
            <a:ext cx="6795134" cy="29972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0" lvl="0" indent="0" algn="l" defTabSz="9144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800" b="0" i="0" u="none" strike="noStrike" kern="1200" cap="none" spc="-5" normalizeH="0" baseline="0" noProof="0">
                <a:ln>
                  <a:noFill/>
                </a:ln>
                <a:solidFill>
                  <a:srgbClr val="5C6F7A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Finanziamenti</a:t>
            </a:r>
            <a:r>
              <a:rPr kumimoji="0" lang="it-IT" sz="1800" b="0" i="0" u="none" strike="noStrike" kern="1200" cap="none" spc="15" normalizeH="0" baseline="0" noProof="0">
                <a:ln>
                  <a:noFill/>
                </a:ln>
                <a:solidFill>
                  <a:srgbClr val="5C6F7A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 </a:t>
            </a:r>
            <a:r>
              <a:rPr kumimoji="0" lang="it-IT" sz="1800" b="0" i="0" u="none" strike="noStrike" kern="1200" cap="none" spc="-5" normalizeH="0" baseline="0" noProof="0">
                <a:ln>
                  <a:noFill/>
                </a:ln>
                <a:solidFill>
                  <a:srgbClr val="5C6F7A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agevolati</a:t>
            </a:r>
            <a:r>
              <a:rPr kumimoji="0" lang="it-IT" sz="1800" b="0" i="0" u="none" strike="noStrike" kern="1200" cap="none" spc="20" normalizeH="0" baseline="0" noProof="0">
                <a:ln>
                  <a:noFill/>
                </a:ln>
                <a:solidFill>
                  <a:srgbClr val="5C6F7A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 </a:t>
            </a:r>
            <a:r>
              <a:rPr kumimoji="0" lang="it-IT" sz="1800" b="0" i="0" u="none" strike="noStrike" kern="1200" cap="none" spc="0" normalizeH="0" baseline="0" noProof="0">
                <a:ln>
                  <a:noFill/>
                </a:ln>
                <a:solidFill>
                  <a:srgbClr val="5C6F7A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-</a:t>
            </a:r>
            <a:r>
              <a:rPr kumimoji="0" lang="it-IT" sz="1800" b="0" i="0" u="none" strike="noStrike" kern="1200" cap="none" spc="5" normalizeH="0" baseline="0" noProof="0">
                <a:ln>
                  <a:noFill/>
                </a:ln>
                <a:solidFill>
                  <a:srgbClr val="5C6F7A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 </a:t>
            </a:r>
            <a:r>
              <a:rPr kumimoji="0" lang="it-IT" sz="1800" b="0" i="0" u="none" strike="noStrike" kern="1200" cap="none" spc="-5" normalizeH="0" baseline="0" noProof="0">
                <a:ln>
                  <a:noFill/>
                </a:ln>
                <a:solidFill>
                  <a:srgbClr val="5C6F7A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garanzie</a:t>
            </a:r>
            <a:r>
              <a:rPr kumimoji="0" lang="it-IT" sz="1800" b="0" i="0" u="none" strike="noStrike" kern="1200" cap="none" spc="20" normalizeH="0" baseline="0" noProof="0">
                <a:ln>
                  <a:noFill/>
                </a:ln>
                <a:solidFill>
                  <a:srgbClr val="5C6F7A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 </a:t>
            </a:r>
            <a:r>
              <a:rPr kumimoji="0" lang="it-IT" sz="1800" b="0" i="0" u="none" strike="noStrike" kern="1200" cap="none" spc="0" normalizeH="0" baseline="0" noProof="0">
                <a:ln>
                  <a:noFill/>
                </a:ln>
                <a:solidFill>
                  <a:srgbClr val="5C6F7A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e </a:t>
            </a:r>
            <a:r>
              <a:rPr kumimoji="0" lang="it-IT" sz="1800" b="0" i="0" u="none" strike="noStrike" kern="1200" cap="none" spc="-5" normalizeH="0" baseline="0" noProof="0">
                <a:ln>
                  <a:noFill/>
                </a:ln>
                <a:solidFill>
                  <a:srgbClr val="5C6F7A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interessi</a:t>
            </a:r>
            <a:r>
              <a:rPr kumimoji="0" lang="it-IT" sz="1800" b="0" i="0" u="none" strike="noStrike" kern="1200" cap="none" spc="5" normalizeH="0" baseline="0" noProof="0">
                <a:ln>
                  <a:noFill/>
                </a:ln>
                <a:solidFill>
                  <a:srgbClr val="5C6F7A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 </a:t>
            </a:r>
            <a:r>
              <a:rPr kumimoji="0" lang="it-IT" sz="1800" b="0" i="0" u="none" strike="noStrike" kern="1200" cap="none" spc="-5" normalizeH="0" baseline="0" noProof="0">
                <a:ln>
                  <a:noFill/>
                </a:ln>
                <a:solidFill>
                  <a:srgbClr val="5C6F7A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(dati </a:t>
            </a:r>
            <a:r>
              <a:rPr kumimoji="0" lang="it-IT" sz="1800" b="0" i="0" u="none" strike="noStrike" kern="1200" cap="none" spc="0" normalizeH="0" baseline="0" noProof="0">
                <a:ln>
                  <a:noFill/>
                </a:ln>
                <a:solidFill>
                  <a:srgbClr val="5C6F7A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al </a:t>
            </a:r>
            <a:r>
              <a:rPr kumimoji="0" lang="it-IT" sz="1800" b="0" i="0" u="none" strike="noStrike" kern="1200" cap="none" spc="-5" normalizeH="0" baseline="0" noProof="0">
                <a:ln>
                  <a:noFill/>
                </a:ln>
                <a:solidFill>
                  <a:srgbClr val="5C6F7A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31.12.2021)</a:t>
            </a:r>
            <a:endParaRPr kumimoji="0" lang="it-IT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rebuchet MS"/>
              <a:ea typeface="+mn-ea"/>
              <a:cs typeface="Trebuchet MS"/>
            </a:endParaRPr>
          </a:p>
        </p:txBody>
      </p:sp>
      <p:grpSp>
        <p:nvGrpSpPr>
          <p:cNvPr id="9" name="object 9"/>
          <p:cNvGrpSpPr/>
          <p:nvPr/>
        </p:nvGrpSpPr>
        <p:grpSpPr>
          <a:xfrm>
            <a:off x="876300" y="1342644"/>
            <a:ext cx="3351529" cy="2430780"/>
            <a:chOff x="876300" y="1342644"/>
            <a:chExt cx="3351529" cy="2430780"/>
          </a:xfrm>
        </p:grpSpPr>
        <p:pic>
          <p:nvPicPr>
            <p:cNvPr id="10" name="object 10"/>
            <p:cNvPicPr/>
            <p:nvPr/>
          </p:nvPicPr>
          <p:blipFill>
            <a:blip r:embed="rId5" cstate="print"/>
            <a:stretch>
              <a:fillRect/>
            </a:stretch>
          </p:blipFill>
          <p:spPr>
            <a:xfrm>
              <a:off x="876300" y="1342644"/>
              <a:ext cx="3351275" cy="2430779"/>
            </a:xfrm>
            <a:prstGeom prst="rect">
              <a:avLst/>
            </a:prstGeom>
          </p:spPr>
        </p:pic>
        <p:sp>
          <p:nvSpPr>
            <p:cNvPr id="11" name="object 11"/>
            <p:cNvSpPr/>
            <p:nvPr/>
          </p:nvSpPr>
          <p:spPr>
            <a:xfrm>
              <a:off x="1011936" y="1357884"/>
              <a:ext cx="3083560" cy="1795780"/>
            </a:xfrm>
            <a:custGeom>
              <a:avLst/>
              <a:gdLst/>
              <a:ahLst/>
              <a:cxnLst/>
              <a:rect l="l" t="t" r="r" b="b"/>
              <a:pathLst>
                <a:path w="3083560" h="1795780">
                  <a:moveTo>
                    <a:pt x="3083052" y="0"/>
                  </a:moveTo>
                  <a:lnTo>
                    <a:pt x="0" y="0"/>
                  </a:lnTo>
                  <a:lnTo>
                    <a:pt x="0" y="1795272"/>
                  </a:lnTo>
                  <a:lnTo>
                    <a:pt x="3083052" y="1795272"/>
                  </a:lnTo>
                  <a:lnTo>
                    <a:pt x="3083052" y="0"/>
                  </a:lnTo>
                  <a:close/>
                </a:path>
              </a:pathLst>
            </a:custGeom>
            <a:solidFill>
              <a:srgbClr val="00803A"/>
            </a:solid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12" name="object 12"/>
          <p:cNvSpPr txBox="1"/>
          <p:nvPr/>
        </p:nvSpPr>
        <p:spPr>
          <a:xfrm>
            <a:off x="1018135" y="1981909"/>
            <a:ext cx="3083560" cy="513715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61925" marR="0" lvl="0" indent="0" algn="l" defTabSz="914400" rtl="0" eaLnBrk="1" fontAlgn="auto" latinLnBrk="0" hangingPunct="1">
              <a:lnSpc>
                <a:spcPct val="100000"/>
              </a:lnSpc>
              <a:spcBef>
                <a:spcPts val="10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3200" b="1" i="0" u="none" strike="noStrike" kern="1200" cap="none" spc="-5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1.</a:t>
            </a:r>
            <a:r>
              <a:rPr kumimoji="0" lang="it-IT" sz="3200" b="1" i="0" u="none" strike="noStrike" kern="1200" cap="none" spc="-5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745</a:t>
            </a:r>
            <a:r>
              <a:rPr kumimoji="0" sz="3200" b="1" i="0" u="none" strike="noStrike" kern="1200" cap="none" spc="-3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 </a:t>
            </a:r>
            <a:r>
              <a:rPr kumimoji="0" sz="32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Mio</a:t>
            </a:r>
            <a:r>
              <a:rPr kumimoji="0" sz="3200" b="1" i="0" u="none" strike="noStrike" kern="1200" cap="none" spc="-35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 </a:t>
            </a:r>
            <a:r>
              <a:rPr kumimoji="0" sz="32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EUR</a:t>
            </a:r>
            <a:endParaRPr kumimoji="0" sz="3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rebuchet MS"/>
              <a:ea typeface="+mn-ea"/>
              <a:cs typeface="Trebuchet MS"/>
            </a:endParaRPr>
          </a:p>
        </p:txBody>
      </p:sp>
      <p:sp>
        <p:nvSpPr>
          <p:cNvPr id="13" name="object 13"/>
          <p:cNvSpPr txBox="1"/>
          <p:nvPr/>
        </p:nvSpPr>
        <p:spPr>
          <a:xfrm>
            <a:off x="1011936" y="3197351"/>
            <a:ext cx="3083560" cy="391774"/>
          </a:xfrm>
          <a:prstGeom prst="rect">
            <a:avLst/>
          </a:prstGeom>
          <a:solidFill>
            <a:srgbClr val="00803A"/>
          </a:solidFill>
        </p:spPr>
        <p:txBody>
          <a:bodyPr vert="horz" wrap="square" lIns="0" tIns="22225" rIns="0" bIns="0" rtlCol="0">
            <a:spAutoFit/>
          </a:bodyPr>
          <a:lstStyle/>
          <a:p>
            <a:pPr marL="1249680" marR="123825" lvl="0" indent="-1122045" algn="l" defTabSz="914400" rtl="0" eaLnBrk="1" fontAlgn="auto" latinLnBrk="0" hangingPunct="1">
              <a:lnSpc>
                <a:spcPct val="100000"/>
              </a:lnSpc>
              <a:spcBef>
                <a:spcPts val="17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200" b="0" i="0" u="none" strike="noStrike" kern="1200" cap="none" spc="-5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Finanziamenti </a:t>
            </a:r>
            <a:r>
              <a:rPr kumimoji="0" sz="1100" b="0" i="0" u="none" strike="noStrike" kern="1200" cap="none" spc="-5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assistiti </a:t>
            </a:r>
            <a:r>
              <a:rPr kumimoji="0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da </a:t>
            </a:r>
            <a:r>
              <a:rPr kumimoji="0" lang="it-IT" sz="1200" b="0" i="0" u="none" strike="noStrike" kern="1200" cap="none" spc="-5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contributo negli</a:t>
            </a:r>
            <a:r>
              <a:rPr kumimoji="0" sz="1200" b="0" i="0" u="none" strike="noStrike" kern="1200" cap="none" spc="-5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 </a:t>
            </a:r>
            <a:r>
              <a:rPr kumimoji="0" sz="1200" b="0" i="0" u="none" strike="noStrike" kern="1200" cap="none" spc="-35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 </a:t>
            </a:r>
            <a:r>
              <a:rPr kumimoji="0" sz="1200" b="0" i="0" u="none" strike="noStrike" kern="1200" cap="none" spc="-5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interessi</a:t>
            </a:r>
            <a:endParaRPr kumimoji="0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rebuchet MS"/>
              <a:ea typeface="+mn-ea"/>
              <a:cs typeface="Trebuchet MS"/>
            </a:endParaRPr>
          </a:p>
        </p:txBody>
      </p:sp>
      <p:grpSp>
        <p:nvGrpSpPr>
          <p:cNvPr id="14" name="object 14"/>
          <p:cNvGrpSpPr/>
          <p:nvPr/>
        </p:nvGrpSpPr>
        <p:grpSpPr>
          <a:xfrm>
            <a:off x="986028" y="1069847"/>
            <a:ext cx="3225165" cy="4985385"/>
            <a:chOff x="986028" y="1069847"/>
            <a:chExt cx="3225165" cy="4985385"/>
          </a:xfrm>
        </p:grpSpPr>
        <p:pic>
          <p:nvPicPr>
            <p:cNvPr id="15" name="object 15"/>
            <p:cNvPicPr/>
            <p:nvPr/>
          </p:nvPicPr>
          <p:blipFill>
            <a:blip r:embed="rId6" cstate="print"/>
            <a:stretch>
              <a:fillRect/>
            </a:stretch>
          </p:blipFill>
          <p:spPr>
            <a:xfrm>
              <a:off x="2180844" y="1069847"/>
              <a:ext cx="772667" cy="792479"/>
            </a:xfrm>
            <a:prstGeom prst="rect">
              <a:avLst/>
            </a:prstGeom>
          </p:spPr>
        </p:pic>
        <p:sp>
          <p:nvSpPr>
            <p:cNvPr id="16" name="object 16"/>
            <p:cNvSpPr/>
            <p:nvPr/>
          </p:nvSpPr>
          <p:spPr>
            <a:xfrm>
              <a:off x="2221230" y="1110233"/>
              <a:ext cx="637540" cy="657225"/>
            </a:xfrm>
            <a:custGeom>
              <a:avLst/>
              <a:gdLst/>
              <a:ahLst/>
              <a:cxnLst/>
              <a:rect l="l" t="t" r="r" b="b"/>
              <a:pathLst>
                <a:path w="637539" h="657225">
                  <a:moveTo>
                    <a:pt x="318516" y="0"/>
                  </a:moveTo>
                  <a:lnTo>
                    <a:pt x="271448" y="3560"/>
                  </a:lnTo>
                  <a:lnTo>
                    <a:pt x="226525" y="13905"/>
                  </a:lnTo>
                  <a:lnTo>
                    <a:pt x="184239" y="30524"/>
                  </a:lnTo>
                  <a:lnTo>
                    <a:pt x="145082" y="52911"/>
                  </a:lnTo>
                  <a:lnTo>
                    <a:pt x="109547" y="80556"/>
                  </a:lnTo>
                  <a:lnTo>
                    <a:pt x="78127" y="112953"/>
                  </a:lnTo>
                  <a:lnTo>
                    <a:pt x="51315" y="149593"/>
                  </a:lnTo>
                  <a:lnTo>
                    <a:pt x="29604" y="189968"/>
                  </a:lnTo>
                  <a:lnTo>
                    <a:pt x="13485" y="233569"/>
                  </a:lnTo>
                  <a:lnTo>
                    <a:pt x="3453" y="279890"/>
                  </a:lnTo>
                  <a:lnTo>
                    <a:pt x="0" y="328422"/>
                  </a:lnTo>
                  <a:lnTo>
                    <a:pt x="3453" y="376953"/>
                  </a:lnTo>
                  <a:lnTo>
                    <a:pt x="13485" y="423274"/>
                  </a:lnTo>
                  <a:lnTo>
                    <a:pt x="29604" y="466875"/>
                  </a:lnTo>
                  <a:lnTo>
                    <a:pt x="51315" y="507250"/>
                  </a:lnTo>
                  <a:lnTo>
                    <a:pt x="78127" y="543890"/>
                  </a:lnTo>
                  <a:lnTo>
                    <a:pt x="109547" y="576287"/>
                  </a:lnTo>
                  <a:lnTo>
                    <a:pt x="145082" y="603932"/>
                  </a:lnTo>
                  <a:lnTo>
                    <a:pt x="184239" y="626319"/>
                  </a:lnTo>
                  <a:lnTo>
                    <a:pt x="226525" y="642938"/>
                  </a:lnTo>
                  <a:lnTo>
                    <a:pt x="271448" y="653283"/>
                  </a:lnTo>
                  <a:lnTo>
                    <a:pt x="318516" y="656844"/>
                  </a:lnTo>
                  <a:lnTo>
                    <a:pt x="365583" y="653283"/>
                  </a:lnTo>
                  <a:lnTo>
                    <a:pt x="410506" y="642938"/>
                  </a:lnTo>
                  <a:lnTo>
                    <a:pt x="452792" y="626319"/>
                  </a:lnTo>
                  <a:lnTo>
                    <a:pt x="491949" y="603932"/>
                  </a:lnTo>
                  <a:lnTo>
                    <a:pt x="527484" y="576287"/>
                  </a:lnTo>
                  <a:lnTo>
                    <a:pt x="558904" y="543890"/>
                  </a:lnTo>
                  <a:lnTo>
                    <a:pt x="585716" y="507250"/>
                  </a:lnTo>
                  <a:lnTo>
                    <a:pt x="607427" y="466875"/>
                  </a:lnTo>
                  <a:lnTo>
                    <a:pt x="623546" y="423274"/>
                  </a:lnTo>
                  <a:lnTo>
                    <a:pt x="633578" y="376953"/>
                  </a:lnTo>
                  <a:lnTo>
                    <a:pt x="637032" y="328422"/>
                  </a:lnTo>
                  <a:lnTo>
                    <a:pt x="633578" y="279890"/>
                  </a:lnTo>
                  <a:lnTo>
                    <a:pt x="623546" y="233569"/>
                  </a:lnTo>
                  <a:lnTo>
                    <a:pt x="607427" y="189968"/>
                  </a:lnTo>
                  <a:lnTo>
                    <a:pt x="585716" y="149593"/>
                  </a:lnTo>
                  <a:lnTo>
                    <a:pt x="558904" y="112953"/>
                  </a:lnTo>
                  <a:lnTo>
                    <a:pt x="527484" y="80556"/>
                  </a:lnTo>
                  <a:lnTo>
                    <a:pt x="491949" y="52911"/>
                  </a:lnTo>
                  <a:lnTo>
                    <a:pt x="452792" y="30524"/>
                  </a:lnTo>
                  <a:lnTo>
                    <a:pt x="410506" y="13905"/>
                  </a:lnTo>
                  <a:lnTo>
                    <a:pt x="365583" y="3560"/>
                  </a:lnTo>
                  <a:lnTo>
                    <a:pt x="318516" y="0"/>
                  </a:lnTo>
                  <a:close/>
                </a:path>
              </a:pathLst>
            </a:custGeom>
            <a:solidFill>
              <a:srgbClr val="00803A"/>
            </a:solid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7" name="object 17"/>
            <p:cNvSpPr/>
            <p:nvPr/>
          </p:nvSpPr>
          <p:spPr>
            <a:xfrm>
              <a:off x="2221230" y="1110233"/>
              <a:ext cx="637540" cy="657225"/>
            </a:xfrm>
            <a:custGeom>
              <a:avLst/>
              <a:gdLst/>
              <a:ahLst/>
              <a:cxnLst/>
              <a:rect l="l" t="t" r="r" b="b"/>
              <a:pathLst>
                <a:path w="637539" h="657225">
                  <a:moveTo>
                    <a:pt x="0" y="328422"/>
                  </a:moveTo>
                  <a:lnTo>
                    <a:pt x="3453" y="279890"/>
                  </a:lnTo>
                  <a:lnTo>
                    <a:pt x="13485" y="233569"/>
                  </a:lnTo>
                  <a:lnTo>
                    <a:pt x="29604" y="189968"/>
                  </a:lnTo>
                  <a:lnTo>
                    <a:pt x="51315" y="149593"/>
                  </a:lnTo>
                  <a:lnTo>
                    <a:pt x="78127" y="112953"/>
                  </a:lnTo>
                  <a:lnTo>
                    <a:pt x="109547" y="80556"/>
                  </a:lnTo>
                  <a:lnTo>
                    <a:pt x="145082" y="52911"/>
                  </a:lnTo>
                  <a:lnTo>
                    <a:pt x="184239" y="30524"/>
                  </a:lnTo>
                  <a:lnTo>
                    <a:pt x="226525" y="13905"/>
                  </a:lnTo>
                  <a:lnTo>
                    <a:pt x="271448" y="3560"/>
                  </a:lnTo>
                  <a:lnTo>
                    <a:pt x="318516" y="0"/>
                  </a:lnTo>
                  <a:lnTo>
                    <a:pt x="365583" y="3560"/>
                  </a:lnTo>
                  <a:lnTo>
                    <a:pt x="410506" y="13905"/>
                  </a:lnTo>
                  <a:lnTo>
                    <a:pt x="452792" y="30524"/>
                  </a:lnTo>
                  <a:lnTo>
                    <a:pt x="491949" y="52911"/>
                  </a:lnTo>
                  <a:lnTo>
                    <a:pt x="527484" y="80556"/>
                  </a:lnTo>
                  <a:lnTo>
                    <a:pt x="558904" y="112953"/>
                  </a:lnTo>
                  <a:lnTo>
                    <a:pt x="585716" y="149593"/>
                  </a:lnTo>
                  <a:lnTo>
                    <a:pt x="607427" y="189968"/>
                  </a:lnTo>
                  <a:lnTo>
                    <a:pt x="623546" y="233569"/>
                  </a:lnTo>
                  <a:lnTo>
                    <a:pt x="633578" y="279890"/>
                  </a:lnTo>
                  <a:lnTo>
                    <a:pt x="637032" y="328422"/>
                  </a:lnTo>
                  <a:lnTo>
                    <a:pt x="633578" y="376953"/>
                  </a:lnTo>
                  <a:lnTo>
                    <a:pt x="623546" y="423274"/>
                  </a:lnTo>
                  <a:lnTo>
                    <a:pt x="607427" y="466875"/>
                  </a:lnTo>
                  <a:lnTo>
                    <a:pt x="585716" y="507250"/>
                  </a:lnTo>
                  <a:lnTo>
                    <a:pt x="558904" y="543890"/>
                  </a:lnTo>
                  <a:lnTo>
                    <a:pt x="527484" y="576287"/>
                  </a:lnTo>
                  <a:lnTo>
                    <a:pt x="491949" y="603932"/>
                  </a:lnTo>
                  <a:lnTo>
                    <a:pt x="452792" y="626319"/>
                  </a:lnTo>
                  <a:lnTo>
                    <a:pt x="410506" y="642938"/>
                  </a:lnTo>
                  <a:lnTo>
                    <a:pt x="365583" y="653283"/>
                  </a:lnTo>
                  <a:lnTo>
                    <a:pt x="318516" y="656844"/>
                  </a:lnTo>
                  <a:lnTo>
                    <a:pt x="271448" y="653283"/>
                  </a:lnTo>
                  <a:lnTo>
                    <a:pt x="226525" y="642938"/>
                  </a:lnTo>
                  <a:lnTo>
                    <a:pt x="184239" y="626319"/>
                  </a:lnTo>
                  <a:lnTo>
                    <a:pt x="145082" y="603932"/>
                  </a:lnTo>
                  <a:lnTo>
                    <a:pt x="109547" y="576287"/>
                  </a:lnTo>
                  <a:lnTo>
                    <a:pt x="78127" y="543890"/>
                  </a:lnTo>
                  <a:lnTo>
                    <a:pt x="51315" y="507250"/>
                  </a:lnTo>
                  <a:lnTo>
                    <a:pt x="29604" y="466875"/>
                  </a:lnTo>
                  <a:lnTo>
                    <a:pt x="13485" y="423274"/>
                  </a:lnTo>
                  <a:lnTo>
                    <a:pt x="3453" y="376953"/>
                  </a:lnTo>
                  <a:lnTo>
                    <a:pt x="0" y="328422"/>
                  </a:lnTo>
                  <a:close/>
                </a:path>
              </a:pathLst>
            </a:custGeom>
            <a:ln w="28575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pic>
          <p:nvPicPr>
            <p:cNvPr id="18" name="object 18"/>
            <p:cNvPicPr/>
            <p:nvPr/>
          </p:nvPicPr>
          <p:blipFill>
            <a:blip r:embed="rId7" cstate="print"/>
            <a:stretch>
              <a:fillRect/>
            </a:stretch>
          </p:blipFill>
          <p:spPr>
            <a:xfrm>
              <a:off x="986028" y="3715512"/>
              <a:ext cx="3224783" cy="2339339"/>
            </a:xfrm>
            <a:prstGeom prst="rect">
              <a:avLst/>
            </a:prstGeom>
          </p:spPr>
        </p:pic>
        <p:sp>
          <p:nvSpPr>
            <p:cNvPr id="19" name="object 19"/>
            <p:cNvSpPr/>
            <p:nvPr/>
          </p:nvSpPr>
          <p:spPr>
            <a:xfrm>
              <a:off x="1011936" y="4180331"/>
              <a:ext cx="3083560" cy="1793875"/>
            </a:xfrm>
            <a:custGeom>
              <a:avLst/>
              <a:gdLst/>
              <a:ahLst/>
              <a:cxnLst/>
              <a:rect l="l" t="t" r="r" b="b"/>
              <a:pathLst>
                <a:path w="3083560" h="1793875">
                  <a:moveTo>
                    <a:pt x="0" y="1793748"/>
                  </a:moveTo>
                  <a:lnTo>
                    <a:pt x="3083052" y="1793748"/>
                  </a:lnTo>
                  <a:lnTo>
                    <a:pt x="3083052" y="0"/>
                  </a:lnTo>
                  <a:lnTo>
                    <a:pt x="0" y="0"/>
                  </a:lnTo>
                  <a:lnTo>
                    <a:pt x="0" y="1793748"/>
                  </a:lnTo>
                  <a:close/>
                </a:path>
              </a:pathLst>
            </a:custGeom>
            <a:solidFill>
              <a:srgbClr val="F1F1F1"/>
            </a:solid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20" name="object 20"/>
          <p:cNvSpPr txBox="1"/>
          <p:nvPr/>
        </p:nvSpPr>
        <p:spPr>
          <a:xfrm>
            <a:off x="1011936" y="3761232"/>
            <a:ext cx="3083560" cy="419100"/>
          </a:xfrm>
          <a:prstGeom prst="rect">
            <a:avLst/>
          </a:prstGeom>
          <a:solidFill>
            <a:srgbClr val="FFFFFF"/>
          </a:solidFill>
        </p:spPr>
        <p:txBody>
          <a:bodyPr vert="horz" wrap="square" lIns="0" tIns="21590" rIns="0" bIns="0" rtlCol="0">
            <a:spAutoFit/>
          </a:bodyPr>
          <a:lstStyle/>
          <a:p>
            <a:pPr marL="870585" marR="89535" lvl="0" indent="-774700" algn="l" defTabSz="914400" rtl="0" eaLnBrk="1" fontAlgn="auto" latinLnBrk="0" hangingPunct="1">
              <a:lnSpc>
                <a:spcPct val="100000"/>
              </a:lnSpc>
              <a:spcBef>
                <a:spcPts val="17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200" b="0" i="0" u="none" strike="noStrike" kern="1200" cap="none" spc="-5" normalizeH="0" baseline="0" noProof="0">
                <a:ln>
                  <a:noFill/>
                </a:ln>
                <a:solidFill>
                  <a:srgbClr val="5B6F7A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Finanziamenti agevolati </a:t>
            </a:r>
            <a:r>
              <a:rPr kumimoji="0" sz="1200" b="0" i="0" u="none" strike="noStrike" kern="1200" cap="none" spc="0" normalizeH="0" baseline="0" noProof="0">
                <a:ln>
                  <a:noFill/>
                </a:ln>
                <a:solidFill>
                  <a:srgbClr val="5B6F7A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rispetto </a:t>
            </a:r>
            <a:r>
              <a:rPr kumimoji="0" sz="1200" b="0" i="0" u="none" strike="noStrike" kern="1200" cap="none" spc="-5" normalizeH="0" baseline="0" noProof="0">
                <a:ln>
                  <a:noFill/>
                </a:ln>
                <a:solidFill>
                  <a:srgbClr val="5B6F7A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all’intero </a:t>
            </a:r>
            <a:r>
              <a:rPr kumimoji="0" sz="1200" b="0" i="0" u="none" strike="noStrike" kern="1200" cap="none" spc="-350" normalizeH="0" baseline="0" noProof="0">
                <a:ln>
                  <a:noFill/>
                </a:ln>
                <a:solidFill>
                  <a:srgbClr val="5B6F7A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 </a:t>
            </a:r>
            <a:r>
              <a:rPr kumimoji="0" sz="1200" b="0" i="0" u="none" strike="noStrike" kern="1200" cap="none" spc="0" normalizeH="0" baseline="0" noProof="0">
                <a:ln>
                  <a:noFill/>
                </a:ln>
                <a:solidFill>
                  <a:srgbClr val="5B6F7A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stock </a:t>
            </a:r>
            <a:r>
              <a:rPr kumimoji="0" sz="1200" b="0" i="0" u="none" strike="noStrike" kern="1200" cap="none" spc="-5" normalizeH="0" baseline="0" noProof="0">
                <a:ln>
                  <a:noFill/>
                </a:ln>
                <a:solidFill>
                  <a:srgbClr val="5B6F7A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finanziamenti</a:t>
            </a:r>
            <a:endParaRPr kumimoji="0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rebuchet MS"/>
              <a:ea typeface="+mn-ea"/>
              <a:cs typeface="Trebuchet MS"/>
            </a:endParaRPr>
          </a:p>
        </p:txBody>
      </p:sp>
      <p:grpSp>
        <p:nvGrpSpPr>
          <p:cNvPr id="21" name="object 21"/>
          <p:cNvGrpSpPr/>
          <p:nvPr/>
        </p:nvGrpSpPr>
        <p:grpSpPr>
          <a:xfrm>
            <a:off x="1795529" y="1258708"/>
            <a:ext cx="1515745" cy="4581384"/>
            <a:chOff x="1795529" y="1258708"/>
            <a:chExt cx="1515745" cy="4581384"/>
          </a:xfrm>
        </p:grpSpPr>
        <p:sp>
          <p:nvSpPr>
            <p:cNvPr id="22" name="object 22"/>
            <p:cNvSpPr/>
            <p:nvPr/>
          </p:nvSpPr>
          <p:spPr>
            <a:xfrm>
              <a:off x="2343558" y="1258708"/>
              <a:ext cx="414020" cy="353060"/>
            </a:xfrm>
            <a:custGeom>
              <a:avLst/>
              <a:gdLst/>
              <a:ahLst/>
              <a:cxnLst/>
              <a:rect l="l" t="t" r="r" b="b"/>
              <a:pathLst>
                <a:path w="414019" h="353059">
                  <a:moveTo>
                    <a:pt x="275862" y="353060"/>
                  </a:moveTo>
                  <a:lnTo>
                    <a:pt x="252656" y="353060"/>
                  </a:lnTo>
                  <a:lnTo>
                    <a:pt x="210122" y="347980"/>
                  </a:lnTo>
                  <a:lnTo>
                    <a:pt x="168273" y="335280"/>
                  </a:lnTo>
                  <a:lnTo>
                    <a:pt x="137931" y="294640"/>
                  </a:lnTo>
                  <a:lnTo>
                    <a:pt x="92672" y="292100"/>
                  </a:lnTo>
                  <a:lnTo>
                    <a:pt x="53694" y="284480"/>
                  </a:lnTo>
                  <a:lnTo>
                    <a:pt x="13546" y="265430"/>
                  </a:lnTo>
                  <a:lnTo>
                    <a:pt x="0" y="234950"/>
                  </a:lnTo>
                  <a:lnTo>
                    <a:pt x="0" y="186690"/>
                  </a:lnTo>
                  <a:lnTo>
                    <a:pt x="1416" y="175260"/>
                  </a:lnTo>
                  <a:lnTo>
                    <a:pt x="5418" y="166370"/>
                  </a:lnTo>
                  <a:lnTo>
                    <a:pt x="11637" y="157480"/>
                  </a:lnTo>
                  <a:lnTo>
                    <a:pt x="19704" y="151130"/>
                  </a:lnTo>
                  <a:lnTo>
                    <a:pt x="19704" y="142240"/>
                  </a:lnTo>
                  <a:lnTo>
                    <a:pt x="11014" y="134620"/>
                  </a:lnTo>
                  <a:lnTo>
                    <a:pt x="4864" y="127000"/>
                  </a:lnTo>
                  <a:lnTo>
                    <a:pt x="1208" y="116840"/>
                  </a:lnTo>
                  <a:lnTo>
                    <a:pt x="0" y="107950"/>
                  </a:lnTo>
                  <a:lnTo>
                    <a:pt x="0" y="58420"/>
                  </a:lnTo>
                  <a:lnTo>
                    <a:pt x="15732" y="26670"/>
                  </a:lnTo>
                  <a:lnTo>
                    <a:pt x="53448" y="8890"/>
                  </a:lnTo>
                  <a:lnTo>
                    <a:pt x="98922" y="1270"/>
                  </a:lnTo>
                  <a:lnTo>
                    <a:pt x="137931" y="0"/>
                  </a:lnTo>
                  <a:lnTo>
                    <a:pt x="161138" y="0"/>
                  </a:lnTo>
                  <a:lnTo>
                    <a:pt x="203671" y="5080"/>
                  </a:lnTo>
                  <a:lnTo>
                    <a:pt x="245520" y="17780"/>
                  </a:lnTo>
                  <a:lnTo>
                    <a:pt x="262315" y="29210"/>
                  </a:lnTo>
                  <a:lnTo>
                    <a:pt x="138423" y="29210"/>
                  </a:lnTo>
                  <a:lnTo>
                    <a:pt x="96136" y="31750"/>
                  </a:lnTo>
                  <a:lnTo>
                    <a:pt x="61699" y="38100"/>
                  </a:lnTo>
                  <a:lnTo>
                    <a:pt x="38531" y="46990"/>
                  </a:lnTo>
                  <a:lnTo>
                    <a:pt x="30049" y="58420"/>
                  </a:lnTo>
                  <a:lnTo>
                    <a:pt x="38531" y="69850"/>
                  </a:lnTo>
                  <a:lnTo>
                    <a:pt x="61699" y="78740"/>
                  </a:lnTo>
                  <a:lnTo>
                    <a:pt x="96136" y="85090"/>
                  </a:lnTo>
                  <a:lnTo>
                    <a:pt x="138423" y="87630"/>
                  </a:lnTo>
                  <a:lnTo>
                    <a:pt x="275862" y="87630"/>
                  </a:lnTo>
                  <a:lnTo>
                    <a:pt x="275862" y="97790"/>
                  </a:lnTo>
                  <a:lnTo>
                    <a:pt x="277311" y="99060"/>
                  </a:lnTo>
                  <a:lnTo>
                    <a:pt x="30049" y="99060"/>
                  </a:lnTo>
                  <a:lnTo>
                    <a:pt x="30049" y="107950"/>
                  </a:lnTo>
                  <a:lnTo>
                    <a:pt x="31396" y="111760"/>
                  </a:lnTo>
                  <a:lnTo>
                    <a:pt x="35283" y="116840"/>
                  </a:lnTo>
                  <a:lnTo>
                    <a:pt x="41479" y="120650"/>
                  </a:lnTo>
                  <a:lnTo>
                    <a:pt x="49753" y="124460"/>
                  </a:lnTo>
                  <a:lnTo>
                    <a:pt x="69458" y="124460"/>
                  </a:lnTo>
                  <a:lnTo>
                    <a:pt x="69458" y="130810"/>
                  </a:lnTo>
                  <a:lnTo>
                    <a:pt x="75369" y="132080"/>
                  </a:lnTo>
                  <a:lnTo>
                    <a:pt x="89162" y="134620"/>
                  </a:lnTo>
                  <a:lnTo>
                    <a:pt x="108867" y="134620"/>
                  </a:lnTo>
                  <a:lnTo>
                    <a:pt x="108867" y="135890"/>
                  </a:lnTo>
                  <a:lnTo>
                    <a:pt x="121675" y="135890"/>
                  </a:lnTo>
                  <a:lnTo>
                    <a:pt x="128571" y="137160"/>
                  </a:lnTo>
                  <a:lnTo>
                    <a:pt x="295567" y="137160"/>
                  </a:lnTo>
                  <a:lnTo>
                    <a:pt x="295074" y="138430"/>
                  </a:lnTo>
                  <a:lnTo>
                    <a:pt x="307636" y="139700"/>
                  </a:lnTo>
                  <a:lnTo>
                    <a:pt x="319458" y="142240"/>
                  </a:lnTo>
                  <a:lnTo>
                    <a:pt x="330542" y="144780"/>
                  </a:lnTo>
                  <a:lnTo>
                    <a:pt x="340887" y="147320"/>
                  </a:lnTo>
                  <a:lnTo>
                    <a:pt x="364240" y="154940"/>
                  </a:lnTo>
                  <a:lnTo>
                    <a:pt x="381035" y="166370"/>
                  </a:lnTo>
                  <a:lnTo>
                    <a:pt x="256650" y="166370"/>
                  </a:lnTo>
                  <a:lnTo>
                    <a:pt x="214363" y="168910"/>
                  </a:lnTo>
                  <a:lnTo>
                    <a:pt x="193701" y="172720"/>
                  </a:lnTo>
                  <a:lnTo>
                    <a:pt x="49753" y="172720"/>
                  </a:lnTo>
                  <a:lnTo>
                    <a:pt x="49753" y="181610"/>
                  </a:lnTo>
                  <a:lnTo>
                    <a:pt x="51100" y="185420"/>
                  </a:lnTo>
                  <a:lnTo>
                    <a:pt x="54987" y="190500"/>
                  </a:lnTo>
                  <a:lnTo>
                    <a:pt x="61183" y="194310"/>
                  </a:lnTo>
                  <a:lnTo>
                    <a:pt x="69458" y="198120"/>
                  </a:lnTo>
                  <a:lnTo>
                    <a:pt x="89162" y="198120"/>
                  </a:lnTo>
                  <a:lnTo>
                    <a:pt x="89162" y="204470"/>
                  </a:lnTo>
                  <a:lnTo>
                    <a:pt x="95074" y="205740"/>
                  </a:lnTo>
                  <a:lnTo>
                    <a:pt x="108867" y="208280"/>
                  </a:lnTo>
                  <a:lnTo>
                    <a:pt x="159654" y="208280"/>
                  </a:lnTo>
                  <a:lnTo>
                    <a:pt x="179926" y="217170"/>
                  </a:lnTo>
                  <a:lnTo>
                    <a:pt x="214363" y="223520"/>
                  </a:lnTo>
                  <a:lnTo>
                    <a:pt x="256650" y="226060"/>
                  </a:lnTo>
                  <a:lnTo>
                    <a:pt x="30049" y="226060"/>
                  </a:lnTo>
                  <a:lnTo>
                    <a:pt x="30049" y="234950"/>
                  </a:lnTo>
                  <a:lnTo>
                    <a:pt x="31396" y="240030"/>
                  </a:lnTo>
                  <a:lnTo>
                    <a:pt x="35283" y="243840"/>
                  </a:lnTo>
                  <a:lnTo>
                    <a:pt x="41479" y="247650"/>
                  </a:lnTo>
                  <a:lnTo>
                    <a:pt x="49753" y="251460"/>
                  </a:lnTo>
                  <a:lnTo>
                    <a:pt x="69458" y="251460"/>
                  </a:lnTo>
                  <a:lnTo>
                    <a:pt x="69458" y="257810"/>
                  </a:lnTo>
                  <a:lnTo>
                    <a:pt x="75369" y="259080"/>
                  </a:lnTo>
                  <a:lnTo>
                    <a:pt x="89162" y="261620"/>
                  </a:lnTo>
                  <a:lnTo>
                    <a:pt x="108867" y="261620"/>
                  </a:lnTo>
                  <a:lnTo>
                    <a:pt x="108867" y="262890"/>
                  </a:lnTo>
                  <a:lnTo>
                    <a:pt x="118719" y="264160"/>
                  </a:lnTo>
                  <a:lnTo>
                    <a:pt x="187685" y="264160"/>
                  </a:lnTo>
                  <a:lnTo>
                    <a:pt x="187685" y="267970"/>
                  </a:lnTo>
                  <a:lnTo>
                    <a:pt x="193596" y="269240"/>
                  </a:lnTo>
                  <a:lnTo>
                    <a:pt x="207389" y="271780"/>
                  </a:lnTo>
                  <a:lnTo>
                    <a:pt x="227094" y="271780"/>
                  </a:lnTo>
                  <a:lnTo>
                    <a:pt x="227094" y="273050"/>
                  </a:lnTo>
                  <a:lnTo>
                    <a:pt x="239902" y="274320"/>
                  </a:lnTo>
                  <a:lnTo>
                    <a:pt x="413794" y="274320"/>
                  </a:lnTo>
                  <a:lnTo>
                    <a:pt x="413794" y="285750"/>
                  </a:lnTo>
                  <a:lnTo>
                    <a:pt x="384730" y="285750"/>
                  </a:lnTo>
                  <a:lnTo>
                    <a:pt x="378818" y="288290"/>
                  </a:lnTo>
                  <a:lnTo>
                    <a:pt x="365025" y="293370"/>
                  </a:lnTo>
                  <a:lnTo>
                    <a:pt x="167980" y="293370"/>
                  </a:lnTo>
                  <a:lnTo>
                    <a:pt x="167980" y="294640"/>
                  </a:lnTo>
                  <a:lnTo>
                    <a:pt x="169327" y="298450"/>
                  </a:lnTo>
                  <a:lnTo>
                    <a:pt x="173214" y="303530"/>
                  </a:lnTo>
                  <a:lnTo>
                    <a:pt x="179410" y="307340"/>
                  </a:lnTo>
                  <a:lnTo>
                    <a:pt x="187685" y="311150"/>
                  </a:lnTo>
                  <a:lnTo>
                    <a:pt x="207389" y="311150"/>
                  </a:lnTo>
                  <a:lnTo>
                    <a:pt x="207389" y="316230"/>
                  </a:lnTo>
                  <a:lnTo>
                    <a:pt x="213301" y="318770"/>
                  </a:lnTo>
                  <a:lnTo>
                    <a:pt x="227094" y="320040"/>
                  </a:lnTo>
                  <a:lnTo>
                    <a:pt x="246798" y="320040"/>
                  </a:lnTo>
                  <a:lnTo>
                    <a:pt x="246798" y="322580"/>
                  </a:lnTo>
                  <a:lnTo>
                    <a:pt x="259606" y="323850"/>
                  </a:lnTo>
                  <a:lnTo>
                    <a:pt x="399319" y="323850"/>
                  </a:lnTo>
                  <a:lnTo>
                    <a:pt x="398061" y="326390"/>
                  </a:lnTo>
                  <a:lnTo>
                    <a:pt x="360345" y="344170"/>
                  </a:lnTo>
                  <a:lnTo>
                    <a:pt x="314871" y="351790"/>
                  </a:lnTo>
                  <a:lnTo>
                    <a:pt x="275862" y="353060"/>
                  </a:lnTo>
                  <a:close/>
                </a:path>
                <a:path w="414019" h="353059">
                  <a:moveTo>
                    <a:pt x="275862" y="87630"/>
                  </a:moveTo>
                  <a:lnTo>
                    <a:pt x="138423" y="87630"/>
                  </a:lnTo>
                  <a:lnTo>
                    <a:pt x="180711" y="85090"/>
                  </a:lnTo>
                  <a:lnTo>
                    <a:pt x="215148" y="78740"/>
                  </a:lnTo>
                  <a:lnTo>
                    <a:pt x="238316" y="69850"/>
                  </a:lnTo>
                  <a:lnTo>
                    <a:pt x="246798" y="58420"/>
                  </a:lnTo>
                  <a:lnTo>
                    <a:pt x="238316" y="46990"/>
                  </a:lnTo>
                  <a:lnTo>
                    <a:pt x="215148" y="38100"/>
                  </a:lnTo>
                  <a:lnTo>
                    <a:pt x="180711" y="31750"/>
                  </a:lnTo>
                  <a:lnTo>
                    <a:pt x="138423" y="29210"/>
                  </a:lnTo>
                  <a:lnTo>
                    <a:pt x="262315" y="29210"/>
                  </a:lnTo>
                  <a:lnTo>
                    <a:pt x="272460" y="41910"/>
                  </a:lnTo>
                  <a:lnTo>
                    <a:pt x="275862" y="58420"/>
                  </a:lnTo>
                  <a:lnTo>
                    <a:pt x="275862" y="87630"/>
                  </a:lnTo>
                  <a:close/>
                </a:path>
                <a:path w="414019" h="353059">
                  <a:moveTo>
                    <a:pt x="69458" y="124460"/>
                  </a:moveTo>
                  <a:lnTo>
                    <a:pt x="49753" y="124460"/>
                  </a:lnTo>
                  <a:lnTo>
                    <a:pt x="49753" y="105410"/>
                  </a:lnTo>
                  <a:lnTo>
                    <a:pt x="42364" y="104140"/>
                  </a:lnTo>
                  <a:lnTo>
                    <a:pt x="35960" y="101600"/>
                  </a:lnTo>
                  <a:lnTo>
                    <a:pt x="30049" y="99060"/>
                  </a:lnTo>
                  <a:lnTo>
                    <a:pt x="246798" y="99060"/>
                  </a:lnTo>
                  <a:lnTo>
                    <a:pt x="240887" y="101600"/>
                  </a:lnTo>
                  <a:lnTo>
                    <a:pt x="227094" y="106680"/>
                  </a:lnTo>
                  <a:lnTo>
                    <a:pt x="227094" y="111760"/>
                  </a:lnTo>
                  <a:lnTo>
                    <a:pt x="69458" y="111760"/>
                  </a:lnTo>
                  <a:lnTo>
                    <a:pt x="69458" y="124460"/>
                  </a:lnTo>
                  <a:close/>
                </a:path>
                <a:path w="414019" h="353059">
                  <a:moveTo>
                    <a:pt x="294660" y="124460"/>
                  </a:moveTo>
                  <a:lnTo>
                    <a:pt x="227094" y="124460"/>
                  </a:lnTo>
                  <a:lnTo>
                    <a:pt x="235368" y="120650"/>
                  </a:lnTo>
                  <a:lnTo>
                    <a:pt x="241564" y="116840"/>
                  </a:lnTo>
                  <a:lnTo>
                    <a:pt x="245451" y="111760"/>
                  </a:lnTo>
                  <a:lnTo>
                    <a:pt x="246798" y="107950"/>
                  </a:lnTo>
                  <a:lnTo>
                    <a:pt x="246798" y="99060"/>
                  </a:lnTo>
                  <a:lnTo>
                    <a:pt x="277311" y="99060"/>
                  </a:lnTo>
                  <a:lnTo>
                    <a:pt x="284552" y="105410"/>
                  </a:lnTo>
                  <a:lnTo>
                    <a:pt x="290702" y="113030"/>
                  </a:lnTo>
                  <a:lnTo>
                    <a:pt x="294358" y="121920"/>
                  </a:lnTo>
                  <a:lnTo>
                    <a:pt x="294660" y="124460"/>
                  </a:lnTo>
                  <a:close/>
                </a:path>
                <a:path w="414019" h="353059">
                  <a:moveTo>
                    <a:pt x="108867" y="134620"/>
                  </a:moveTo>
                  <a:lnTo>
                    <a:pt x="89162" y="134620"/>
                  </a:lnTo>
                  <a:lnTo>
                    <a:pt x="89162" y="114300"/>
                  </a:lnTo>
                  <a:lnTo>
                    <a:pt x="82266" y="113030"/>
                  </a:lnTo>
                  <a:lnTo>
                    <a:pt x="69458" y="111760"/>
                  </a:lnTo>
                  <a:lnTo>
                    <a:pt x="207389" y="111760"/>
                  </a:lnTo>
                  <a:lnTo>
                    <a:pt x="200985" y="113030"/>
                  </a:lnTo>
                  <a:lnTo>
                    <a:pt x="194089" y="113030"/>
                  </a:lnTo>
                  <a:lnTo>
                    <a:pt x="187685" y="114300"/>
                  </a:lnTo>
                  <a:lnTo>
                    <a:pt x="187685" y="116840"/>
                  </a:lnTo>
                  <a:lnTo>
                    <a:pt x="108867" y="116840"/>
                  </a:lnTo>
                  <a:lnTo>
                    <a:pt x="108867" y="134620"/>
                  </a:lnTo>
                  <a:close/>
                </a:path>
                <a:path w="414019" h="353059">
                  <a:moveTo>
                    <a:pt x="295567" y="133350"/>
                  </a:moveTo>
                  <a:lnTo>
                    <a:pt x="187685" y="133350"/>
                  </a:lnTo>
                  <a:lnTo>
                    <a:pt x="201478" y="132080"/>
                  </a:lnTo>
                  <a:lnTo>
                    <a:pt x="207389" y="129540"/>
                  </a:lnTo>
                  <a:lnTo>
                    <a:pt x="207389" y="111760"/>
                  </a:lnTo>
                  <a:lnTo>
                    <a:pt x="227094" y="111760"/>
                  </a:lnTo>
                  <a:lnTo>
                    <a:pt x="227094" y="124460"/>
                  </a:lnTo>
                  <a:lnTo>
                    <a:pt x="294660" y="124460"/>
                  </a:lnTo>
                  <a:lnTo>
                    <a:pt x="295567" y="132080"/>
                  </a:lnTo>
                  <a:lnTo>
                    <a:pt x="295567" y="133350"/>
                  </a:lnTo>
                  <a:close/>
                </a:path>
                <a:path w="414019" h="353059">
                  <a:moveTo>
                    <a:pt x="148276" y="137160"/>
                  </a:moveTo>
                  <a:lnTo>
                    <a:pt x="128571" y="137160"/>
                  </a:lnTo>
                  <a:lnTo>
                    <a:pt x="128571" y="116840"/>
                  </a:lnTo>
                  <a:lnTo>
                    <a:pt x="148276" y="116840"/>
                  </a:lnTo>
                  <a:lnTo>
                    <a:pt x="148276" y="137160"/>
                  </a:lnTo>
                  <a:close/>
                </a:path>
                <a:path w="414019" h="353059">
                  <a:moveTo>
                    <a:pt x="295567" y="137160"/>
                  </a:moveTo>
                  <a:lnTo>
                    <a:pt x="148276" y="137160"/>
                  </a:lnTo>
                  <a:lnTo>
                    <a:pt x="155172" y="135890"/>
                  </a:lnTo>
                  <a:lnTo>
                    <a:pt x="167980" y="135890"/>
                  </a:lnTo>
                  <a:lnTo>
                    <a:pt x="167980" y="116840"/>
                  </a:lnTo>
                  <a:lnTo>
                    <a:pt x="187685" y="116840"/>
                  </a:lnTo>
                  <a:lnTo>
                    <a:pt x="187685" y="133350"/>
                  </a:lnTo>
                  <a:lnTo>
                    <a:pt x="295567" y="133350"/>
                  </a:lnTo>
                  <a:lnTo>
                    <a:pt x="295567" y="137160"/>
                  </a:lnTo>
                  <a:close/>
                </a:path>
                <a:path w="414019" h="353059">
                  <a:moveTo>
                    <a:pt x="69458" y="251460"/>
                  </a:moveTo>
                  <a:lnTo>
                    <a:pt x="49753" y="251460"/>
                  </a:lnTo>
                  <a:lnTo>
                    <a:pt x="49753" y="233680"/>
                  </a:lnTo>
                  <a:lnTo>
                    <a:pt x="42364" y="232410"/>
                  </a:lnTo>
                  <a:lnTo>
                    <a:pt x="35960" y="229870"/>
                  </a:lnTo>
                  <a:lnTo>
                    <a:pt x="30049" y="226060"/>
                  </a:lnTo>
                  <a:lnTo>
                    <a:pt x="256650" y="226060"/>
                  </a:lnTo>
                  <a:lnTo>
                    <a:pt x="298938" y="223520"/>
                  </a:lnTo>
                  <a:lnTo>
                    <a:pt x="333375" y="217170"/>
                  </a:lnTo>
                  <a:lnTo>
                    <a:pt x="356543" y="207010"/>
                  </a:lnTo>
                  <a:lnTo>
                    <a:pt x="365025" y="195580"/>
                  </a:lnTo>
                  <a:lnTo>
                    <a:pt x="356543" y="184150"/>
                  </a:lnTo>
                  <a:lnTo>
                    <a:pt x="333375" y="175260"/>
                  </a:lnTo>
                  <a:lnTo>
                    <a:pt x="298938" y="168910"/>
                  </a:lnTo>
                  <a:lnTo>
                    <a:pt x="256650" y="166370"/>
                  </a:lnTo>
                  <a:lnTo>
                    <a:pt x="381035" y="166370"/>
                  </a:lnTo>
                  <a:lnTo>
                    <a:pt x="391180" y="180340"/>
                  </a:lnTo>
                  <a:lnTo>
                    <a:pt x="394582" y="195580"/>
                  </a:lnTo>
                  <a:lnTo>
                    <a:pt x="394582" y="210820"/>
                  </a:lnTo>
                  <a:lnTo>
                    <a:pt x="403264" y="218440"/>
                  </a:lnTo>
                  <a:lnTo>
                    <a:pt x="409360" y="226060"/>
                  </a:lnTo>
                  <a:lnTo>
                    <a:pt x="412870" y="234950"/>
                  </a:lnTo>
                  <a:lnTo>
                    <a:pt x="412985" y="236220"/>
                  </a:lnTo>
                  <a:lnTo>
                    <a:pt x="148276" y="236220"/>
                  </a:lnTo>
                  <a:lnTo>
                    <a:pt x="148276" y="238760"/>
                  </a:lnTo>
                  <a:lnTo>
                    <a:pt x="69458" y="238760"/>
                  </a:lnTo>
                  <a:lnTo>
                    <a:pt x="69458" y="251460"/>
                  </a:lnTo>
                  <a:close/>
                </a:path>
                <a:path w="414019" h="353059">
                  <a:moveTo>
                    <a:pt x="89162" y="198120"/>
                  </a:moveTo>
                  <a:lnTo>
                    <a:pt x="69458" y="198120"/>
                  </a:lnTo>
                  <a:lnTo>
                    <a:pt x="69458" y="180340"/>
                  </a:lnTo>
                  <a:lnTo>
                    <a:pt x="62069" y="177800"/>
                  </a:lnTo>
                  <a:lnTo>
                    <a:pt x="55665" y="175260"/>
                  </a:lnTo>
                  <a:lnTo>
                    <a:pt x="49753" y="172720"/>
                  </a:lnTo>
                  <a:lnTo>
                    <a:pt x="193701" y="172720"/>
                  </a:lnTo>
                  <a:lnTo>
                    <a:pt x="179926" y="175260"/>
                  </a:lnTo>
                  <a:lnTo>
                    <a:pt x="156758" y="184150"/>
                  </a:lnTo>
                  <a:lnTo>
                    <a:pt x="155815" y="185420"/>
                  </a:lnTo>
                  <a:lnTo>
                    <a:pt x="89162" y="185420"/>
                  </a:lnTo>
                  <a:lnTo>
                    <a:pt x="89162" y="198120"/>
                  </a:lnTo>
                  <a:close/>
                </a:path>
                <a:path w="414019" h="353059">
                  <a:moveTo>
                    <a:pt x="159654" y="208280"/>
                  </a:moveTo>
                  <a:lnTo>
                    <a:pt x="108867" y="208280"/>
                  </a:lnTo>
                  <a:lnTo>
                    <a:pt x="108867" y="187960"/>
                  </a:lnTo>
                  <a:lnTo>
                    <a:pt x="101970" y="187960"/>
                  </a:lnTo>
                  <a:lnTo>
                    <a:pt x="89162" y="185420"/>
                  </a:lnTo>
                  <a:lnTo>
                    <a:pt x="155815" y="185420"/>
                  </a:lnTo>
                  <a:lnTo>
                    <a:pt x="148276" y="195580"/>
                  </a:lnTo>
                  <a:lnTo>
                    <a:pt x="156758" y="207010"/>
                  </a:lnTo>
                  <a:lnTo>
                    <a:pt x="159654" y="208280"/>
                  </a:lnTo>
                  <a:close/>
                </a:path>
                <a:path w="414019" h="353059">
                  <a:moveTo>
                    <a:pt x="187685" y="261620"/>
                  </a:moveTo>
                  <a:lnTo>
                    <a:pt x="167980" y="261620"/>
                  </a:lnTo>
                  <a:lnTo>
                    <a:pt x="167980" y="243840"/>
                  </a:lnTo>
                  <a:lnTo>
                    <a:pt x="160591" y="241300"/>
                  </a:lnTo>
                  <a:lnTo>
                    <a:pt x="154187" y="238760"/>
                  </a:lnTo>
                  <a:lnTo>
                    <a:pt x="148276" y="236220"/>
                  </a:lnTo>
                  <a:lnTo>
                    <a:pt x="365025" y="236220"/>
                  </a:lnTo>
                  <a:lnTo>
                    <a:pt x="359114" y="238760"/>
                  </a:lnTo>
                  <a:lnTo>
                    <a:pt x="352217" y="242570"/>
                  </a:lnTo>
                  <a:lnTo>
                    <a:pt x="345321" y="243840"/>
                  </a:lnTo>
                  <a:lnTo>
                    <a:pt x="345321" y="248920"/>
                  </a:lnTo>
                  <a:lnTo>
                    <a:pt x="187685" y="248920"/>
                  </a:lnTo>
                  <a:lnTo>
                    <a:pt x="187685" y="261620"/>
                  </a:lnTo>
                  <a:close/>
                </a:path>
                <a:path w="414019" h="353059">
                  <a:moveTo>
                    <a:pt x="413794" y="261620"/>
                  </a:moveTo>
                  <a:lnTo>
                    <a:pt x="345321" y="261620"/>
                  </a:lnTo>
                  <a:lnTo>
                    <a:pt x="353595" y="257810"/>
                  </a:lnTo>
                  <a:lnTo>
                    <a:pt x="359791" y="254000"/>
                  </a:lnTo>
                  <a:lnTo>
                    <a:pt x="363678" y="250190"/>
                  </a:lnTo>
                  <a:lnTo>
                    <a:pt x="365025" y="245110"/>
                  </a:lnTo>
                  <a:lnTo>
                    <a:pt x="365025" y="236220"/>
                  </a:lnTo>
                  <a:lnTo>
                    <a:pt x="412985" y="236220"/>
                  </a:lnTo>
                  <a:lnTo>
                    <a:pt x="413678" y="243840"/>
                  </a:lnTo>
                  <a:lnTo>
                    <a:pt x="413794" y="261620"/>
                  </a:lnTo>
                  <a:close/>
                </a:path>
                <a:path w="414019" h="353059">
                  <a:moveTo>
                    <a:pt x="108867" y="261620"/>
                  </a:moveTo>
                  <a:lnTo>
                    <a:pt x="89162" y="261620"/>
                  </a:lnTo>
                  <a:lnTo>
                    <a:pt x="89162" y="241300"/>
                  </a:lnTo>
                  <a:lnTo>
                    <a:pt x="82266" y="241300"/>
                  </a:lnTo>
                  <a:lnTo>
                    <a:pt x="69458" y="238760"/>
                  </a:lnTo>
                  <a:lnTo>
                    <a:pt x="148276" y="238760"/>
                  </a:lnTo>
                  <a:lnTo>
                    <a:pt x="148276" y="243840"/>
                  </a:lnTo>
                  <a:lnTo>
                    <a:pt x="108867" y="243840"/>
                  </a:lnTo>
                  <a:lnTo>
                    <a:pt x="108867" y="261620"/>
                  </a:lnTo>
                  <a:close/>
                </a:path>
                <a:path w="414019" h="353059">
                  <a:moveTo>
                    <a:pt x="187685" y="264160"/>
                  </a:moveTo>
                  <a:lnTo>
                    <a:pt x="123645" y="264160"/>
                  </a:lnTo>
                  <a:lnTo>
                    <a:pt x="120197" y="259080"/>
                  </a:lnTo>
                  <a:lnTo>
                    <a:pt x="118719" y="251460"/>
                  </a:lnTo>
                  <a:lnTo>
                    <a:pt x="118719" y="245110"/>
                  </a:lnTo>
                  <a:lnTo>
                    <a:pt x="115271" y="245110"/>
                  </a:lnTo>
                  <a:lnTo>
                    <a:pt x="112315" y="243840"/>
                  </a:lnTo>
                  <a:lnTo>
                    <a:pt x="148276" y="243840"/>
                  </a:lnTo>
                  <a:lnTo>
                    <a:pt x="148276" y="245110"/>
                  </a:lnTo>
                  <a:lnTo>
                    <a:pt x="149623" y="248920"/>
                  </a:lnTo>
                  <a:lnTo>
                    <a:pt x="153510" y="254000"/>
                  </a:lnTo>
                  <a:lnTo>
                    <a:pt x="159706" y="257810"/>
                  </a:lnTo>
                  <a:lnTo>
                    <a:pt x="167980" y="261620"/>
                  </a:lnTo>
                  <a:lnTo>
                    <a:pt x="187685" y="261620"/>
                  </a:lnTo>
                  <a:lnTo>
                    <a:pt x="187685" y="264160"/>
                  </a:lnTo>
                  <a:close/>
                </a:path>
                <a:path w="414019" h="353059">
                  <a:moveTo>
                    <a:pt x="312316" y="251460"/>
                  </a:moveTo>
                  <a:lnTo>
                    <a:pt x="200493" y="251460"/>
                  </a:lnTo>
                  <a:lnTo>
                    <a:pt x="194089" y="248920"/>
                  </a:lnTo>
                  <a:lnTo>
                    <a:pt x="325616" y="248920"/>
                  </a:lnTo>
                  <a:lnTo>
                    <a:pt x="319212" y="250190"/>
                  </a:lnTo>
                  <a:lnTo>
                    <a:pt x="312316" y="251460"/>
                  </a:lnTo>
                  <a:close/>
                </a:path>
                <a:path w="414019" h="353059">
                  <a:moveTo>
                    <a:pt x="413794" y="271780"/>
                  </a:moveTo>
                  <a:lnTo>
                    <a:pt x="305912" y="271780"/>
                  </a:lnTo>
                  <a:lnTo>
                    <a:pt x="319705" y="269240"/>
                  </a:lnTo>
                  <a:lnTo>
                    <a:pt x="325616" y="267970"/>
                  </a:lnTo>
                  <a:lnTo>
                    <a:pt x="325616" y="248920"/>
                  </a:lnTo>
                  <a:lnTo>
                    <a:pt x="345321" y="248920"/>
                  </a:lnTo>
                  <a:lnTo>
                    <a:pt x="345321" y="261620"/>
                  </a:lnTo>
                  <a:lnTo>
                    <a:pt x="413794" y="261620"/>
                  </a:lnTo>
                  <a:lnTo>
                    <a:pt x="413794" y="271780"/>
                  </a:lnTo>
                  <a:close/>
                </a:path>
                <a:path w="414019" h="353059">
                  <a:moveTo>
                    <a:pt x="227094" y="271780"/>
                  </a:moveTo>
                  <a:lnTo>
                    <a:pt x="207389" y="271780"/>
                  </a:lnTo>
                  <a:lnTo>
                    <a:pt x="207389" y="251460"/>
                  </a:lnTo>
                  <a:lnTo>
                    <a:pt x="305912" y="251460"/>
                  </a:lnTo>
                  <a:lnTo>
                    <a:pt x="305912" y="254000"/>
                  </a:lnTo>
                  <a:lnTo>
                    <a:pt x="227094" y="254000"/>
                  </a:lnTo>
                  <a:lnTo>
                    <a:pt x="227094" y="271780"/>
                  </a:lnTo>
                  <a:close/>
                </a:path>
                <a:path w="414019" h="353059">
                  <a:moveTo>
                    <a:pt x="272414" y="255270"/>
                  </a:moveTo>
                  <a:lnTo>
                    <a:pt x="239902" y="255270"/>
                  </a:lnTo>
                  <a:lnTo>
                    <a:pt x="227094" y="254000"/>
                  </a:lnTo>
                  <a:lnTo>
                    <a:pt x="286207" y="254000"/>
                  </a:lnTo>
                  <a:lnTo>
                    <a:pt x="272414" y="255270"/>
                  </a:lnTo>
                  <a:close/>
                </a:path>
                <a:path w="414019" h="353059">
                  <a:moveTo>
                    <a:pt x="413794" y="274320"/>
                  </a:moveTo>
                  <a:lnTo>
                    <a:pt x="279803" y="274320"/>
                  </a:lnTo>
                  <a:lnTo>
                    <a:pt x="286207" y="273050"/>
                  </a:lnTo>
                  <a:lnTo>
                    <a:pt x="286207" y="254000"/>
                  </a:lnTo>
                  <a:lnTo>
                    <a:pt x="305912" y="254000"/>
                  </a:lnTo>
                  <a:lnTo>
                    <a:pt x="305912" y="271780"/>
                  </a:lnTo>
                  <a:lnTo>
                    <a:pt x="413794" y="271780"/>
                  </a:lnTo>
                  <a:lnTo>
                    <a:pt x="413794" y="274320"/>
                  </a:lnTo>
                  <a:close/>
                </a:path>
                <a:path w="414019" h="353059">
                  <a:moveTo>
                    <a:pt x="266503" y="274320"/>
                  </a:moveTo>
                  <a:lnTo>
                    <a:pt x="246798" y="274320"/>
                  </a:lnTo>
                  <a:lnTo>
                    <a:pt x="246798" y="255270"/>
                  </a:lnTo>
                  <a:lnTo>
                    <a:pt x="266503" y="255270"/>
                  </a:lnTo>
                  <a:lnTo>
                    <a:pt x="266503" y="274320"/>
                  </a:lnTo>
                  <a:close/>
                </a:path>
                <a:path w="414019" h="353059">
                  <a:moveTo>
                    <a:pt x="405613" y="311150"/>
                  </a:moveTo>
                  <a:lnTo>
                    <a:pt x="365025" y="311150"/>
                  </a:lnTo>
                  <a:lnTo>
                    <a:pt x="373299" y="307340"/>
                  </a:lnTo>
                  <a:lnTo>
                    <a:pt x="379496" y="303530"/>
                  </a:lnTo>
                  <a:lnTo>
                    <a:pt x="383383" y="298450"/>
                  </a:lnTo>
                  <a:lnTo>
                    <a:pt x="384730" y="294640"/>
                  </a:lnTo>
                  <a:lnTo>
                    <a:pt x="384730" y="285750"/>
                  </a:lnTo>
                  <a:lnTo>
                    <a:pt x="413794" y="285750"/>
                  </a:lnTo>
                  <a:lnTo>
                    <a:pt x="413794" y="294640"/>
                  </a:lnTo>
                  <a:lnTo>
                    <a:pt x="405613" y="311150"/>
                  </a:lnTo>
                  <a:close/>
                </a:path>
                <a:path w="414019" h="353059">
                  <a:moveTo>
                    <a:pt x="207389" y="311150"/>
                  </a:moveTo>
                  <a:lnTo>
                    <a:pt x="187685" y="311150"/>
                  </a:lnTo>
                  <a:lnTo>
                    <a:pt x="187685" y="297180"/>
                  </a:lnTo>
                  <a:lnTo>
                    <a:pt x="182266" y="297180"/>
                  </a:lnTo>
                  <a:lnTo>
                    <a:pt x="172414" y="294640"/>
                  </a:lnTo>
                  <a:lnTo>
                    <a:pt x="170936" y="294640"/>
                  </a:lnTo>
                  <a:lnTo>
                    <a:pt x="169951" y="293370"/>
                  </a:lnTo>
                  <a:lnTo>
                    <a:pt x="365025" y="293370"/>
                  </a:lnTo>
                  <a:lnTo>
                    <a:pt x="365025" y="298450"/>
                  </a:lnTo>
                  <a:lnTo>
                    <a:pt x="345321" y="298450"/>
                  </a:lnTo>
                  <a:lnTo>
                    <a:pt x="338917" y="299720"/>
                  </a:lnTo>
                  <a:lnTo>
                    <a:pt x="332020" y="299720"/>
                  </a:lnTo>
                  <a:lnTo>
                    <a:pt x="325616" y="300990"/>
                  </a:lnTo>
                  <a:lnTo>
                    <a:pt x="207389" y="300990"/>
                  </a:lnTo>
                  <a:lnTo>
                    <a:pt x="207389" y="311150"/>
                  </a:lnTo>
                  <a:close/>
                </a:path>
                <a:path w="414019" h="353059">
                  <a:moveTo>
                    <a:pt x="401207" y="320040"/>
                  </a:moveTo>
                  <a:lnTo>
                    <a:pt x="325616" y="320040"/>
                  </a:lnTo>
                  <a:lnTo>
                    <a:pt x="339409" y="318770"/>
                  </a:lnTo>
                  <a:lnTo>
                    <a:pt x="345321" y="316230"/>
                  </a:lnTo>
                  <a:lnTo>
                    <a:pt x="345321" y="298450"/>
                  </a:lnTo>
                  <a:lnTo>
                    <a:pt x="365025" y="298450"/>
                  </a:lnTo>
                  <a:lnTo>
                    <a:pt x="365025" y="311150"/>
                  </a:lnTo>
                  <a:lnTo>
                    <a:pt x="405613" y="311150"/>
                  </a:lnTo>
                  <a:lnTo>
                    <a:pt x="401207" y="320040"/>
                  </a:lnTo>
                  <a:close/>
                </a:path>
                <a:path w="414019" h="353059">
                  <a:moveTo>
                    <a:pt x="246798" y="320040"/>
                  </a:moveTo>
                  <a:lnTo>
                    <a:pt x="227094" y="320040"/>
                  </a:lnTo>
                  <a:lnTo>
                    <a:pt x="227094" y="303530"/>
                  </a:lnTo>
                  <a:lnTo>
                    <a:pt x="220197" y="302260"/>
                  </a:lnTo>
                  <a:lnTo>
                    <a:pt x="213793" y="302260"/>
                  </a:lnTo>
                  <a:lnTo>
                    <a:pt x="207389" y="300990"/>
                  </a:lnTo>
                  <a:lnTo>
                    <a:pt x="325616" y="300990"/>
                  </a:lnTo>
                  <a:lnTo>
                    <a:pt x="325616" y="303530"/>
                  </a:lnTo>
                  <a:lnTo>
                    <a:pt x="246798" y="303530"/>
                  </a:lnTo>
                  <a:lnTo>
                    <a:pt x="246798" y="320040"/>
                  </a:lnTo>
                  <a:close/>
                </a:path>
                <a:path w="414019" h="353059">
                  <a:moveTo>
                    <a:pt x="286207" y="323850"/>
                  </a:moveTo>
                  <a:lnTo>
                    <a:pt x="266503" y="323850"/>
                  </a:lnTo>
                  <a:lnTo>
                    <a:pt x="266503" y="303530"/>
                  </a:lnTo>
                  <a:lnTo>
                    <a:pt x="286207" y="303530"/>
                  </a:lnTo>
                  <a:lnTo>
                    <a:pt x="286207" y="323850"/>
                  </a:lnTo>
                  <a:close/>
                </a:path>
                <a:path w="414019" h="353059">
                  <a:moveTo>
                    <a:pt x="399319" y="323850"/>
                  </a:moveTo>
                  <a:lnTo>
                    <a:pt x="293104" y="323850"/>
                  </a:lnTo>
                  <a:lnTo>
                    <a:pt x="305912" y="322580"/>
                  </a:lnTo>
                  <a:lnTo>
                    <a:pt x="305912" y="303530"/>
                  </a:lnTo>
                  <a:lnTo>
                    <a:pt x="325616" y="303530"/>
                  </a:lnTo>
                  <a:lnTo>
                    <a:pt x="325616" y="320040"/>
                  </a:lnTo>
                  <a:lnTo>
                    <a:pt x="401207" y="320040"/>
                  </a:lnTo>
                  <a:lnTo>
                    <a:pt x="399319" y="32385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4" name="object 24"/>
            <p:cNvSpPr/>
            <p:nvPr/>
          </p:nvSpPr>
          <p:spPr>
            <a:xfrm>
              <a:off x="1795529" y="4324347"/>
              <a:ext cx="1515745" cy="1515745"/>
            </a:xfrm>
            <a:custGeom>
              <a:avLst/>
              <a:gdLst/>
              <a:ahLst/>
              <a:cxnLst/>
              <a:rect l="l" t="t" r="r" b="b"/>
              <a:pathLst>
                <a:path w="1515745" h="1515745">
                  <a:moveTo>
                    <a:pt x="757720" y="0"/>
                  </a:moveTo>
                  <a:lnTo>
                    <a:pt x="805639" y="1490"/>
                  </a:lnTo>
                  <a:lnTo>
                    <a:pt x="852766" y="5903"/>
                  </a:lnTo>
                  <a:lnTo>
                    <a:pt x="899013" y="13150"/>
                  </a:lnTo>
                  <a:lnTo>
                    <a:pt x="944290" y="23141"/>
                  </a:lnTo>
                  <a:lnTo>
                    <a:pt x="988509" y="35788"/>
                  </a:lnTo>
                  <a:lnTo>
                    <a:pt x="1031581" y="51003"/>
                  </a:lnTo>
                  <a:lnTo>
                    <a:pt x="1073417" y="68696"/>
                  </a:lnTo>
                  <a:lnTo>
                    <a:pt x="1113928" y="88778"/>
                  </a:lnTo>
                  <a:lnTo>
                    <a:pt x="1153026" y="111162"/>
                  </a:lnTo>
                  <a:lnTo>
                    <a:pt x="1190622" y="135758"/>
                  </a:lnTo>
                  <a:lnTo>
                    <a:pt x="1226627" y="162477"/>
                  </a:lnTo>
                  <a:lnTo>
                    <a:pt x="1260952" y="191231"/>
                  </a:lnTo>
                  <a:lnTo>
                    <a:pt x="1293509" y="221930"/>
                  </a:lnTo>
                  <a:lnTo>
                    <a:pt x="1324209" y="254487"/>
                  </a:lnTo>
                  <a:lnTo>
                    <a:pt x="1352962" y="288813"/>
                  </a:lnTo>
                  <a:lnTo>
                    <a:pt x="1379682" y="324818"/>
                  </a:lnTo>
                  <a:lnTo>
                    <a:pt x="1404277" y="362413"/>
                  </a:lnTo>
                  <a:lnTo>
                    <a:pt x="1426661" y="401511"/>
                  </a:lnTo>
                  <a:lnTo>
                    <a:pt x="1446744" y="442023"/>
                  </a:lnTo>
                  <a:lnTo>
                    <a:pt x="1464437" y="483859"/>
                  </a:lnTo>
                  <a:lnTo>
                    <a:pt x="1479651" y="526930"/>
                  </a:lnTo>
                  <a:lnTo>
                    <a:pt x="1492298" y="571149"/>
                  </a:lnTo>
                  <a:lnTo>
                    <a:pt x="1502289" y="616426"/>
                  </a:lnTo>
                  <a:lnTo>
                    <a:pt x="1509536" y="662673"/>
                  </a:lnTo>
                  <a:lnTo>
                    <a:pt x="1513949" y="709800"/>
                  </a:lnTo>
                  <a:lnTo>
                    <a:pt x="1515440" y="757720"/>
                  </a:lnTo>
                  <a:lnTo>
                    <a:pt x="1513949" y="805640"/>
                  </a:lnTo>
                  <a:lnTo>
                    <a:pt x="1509536" y="852769"/>
                  </a:lnTo>
                  <a:lnTo>
                    <a:pt x="1502289" y="899017"/>
                  </a:lnTo>
                  <a:lnTo>
                    <a:pt x="1492298" y="944295"/>
                  </a:lnTo>
                  <a:lnTo>
                    <a:pt x="1479651" y="988515"/>
                  </a:lnTo>
                  <a:lnTo>
                    <a:pt x="1464437" y="1031588"/>
                  </a:lnTo>
                  <a:lnTo>
                    <a:pt x="1446744" y="1073424"/>
                  </a:lnTo>
                  <a:lnTo>
                    <a:pt x="1426661" y="1113936"/>
                  </a:lnTo>
                  <a:lnTo>
                    <a:pt x="1404277" y="1153035"/>
                  </a:lnTo>
                  <a:lnTo>
                    <a:pt x="1379682" y="1190631"/>
                  </a:lnTo>
                  <a:lnTo>
                    <a:pt x="1352962" y="1226637"/>
                  </a:lnTo>
                  <a:lnTo>
                    <a:pt x="1324209" y="1260963"/>
                  </a:lnTo>
                  <a:lnTo>
                    <a:pt x="1293509" y="1293520"/>
                  </a:lnTo>
                  <a:lnTo>
                    <a:pt x="1260952" y="1324220"/>
                  </a:lnTo>
                  <a:lnTo>
                    <a:pt x="1226627" y="1352974"/>
                  </a:lnTo>
                  <a:lnTo>
                    <a:pt x="1190622" y="1379694"/>
                  </a:lnTo>
                  <a:lnTo>
                    <a:pt x="1153026" y="1404290"/>
                  </a:lnTo>
                  <a:lnTo>
                    <a:pt x="1113928" y="1426673"/>
                  </a:lnTo>
                  <a:lnTo>
                    <a:pt x="1073417" y="1446756"/>
                  </a:lnTo>
                  <a:lnTo>
                    <a:pt x="1031581" y="1464449"/>
                  </a:lnTo>
                  <a:lnTo>
                    <a:pt x="988509" y="1479664"/>
                  </a:lnTo>
                  <a:lnTo>
                    <a:pt x="944290" y="1492311"/>
                  </a:lnTo>
                  <a:lnTo>
                    <a:pt x="899013" y="1502302"/>
                  </a:lnTo>
                  <a:lnTo>
                    <a:pt x="852766" y="1509549"/>
                  </a:lnTo>
                  <a:lnTo>
                    <a:pt x="805639" y="1513962"/>
                  </a:lnTo>
                  <a:lnTo>
                    <a:pt x="757720" y="1515452"/>
                  </a:lnTo>
                  <a:lnTo>
                    <a:pt x="709800" y="1513962"/>
                  </a:lnTo>
                  <a:lnTo>
                    <a:pt x="662673" y="1509549"/>
                  </a:lnTo>
                  <a:lnTo>
                    <a:pt x="616426" y="1502302"/>
                  </a:lnTo>
                  <a:lnTo>
                    <a:pt x="571149" y="1492311"/>
                  </a:lnTo>
                  <a:lnTo>
                    <a:pt x="526930" y="1479664"/>
                  </a:lnTo>
                  <a:lnTo>
                    <a:pt x="483859" y="1464449"/>
                  </a:lnTo>
                  <a:lnTo>
                    <a:pt x="442023" y="1446756"/>
                  </a:lnTo>
                  <a:lnTo>
                    <a:pt x="401511" y="1426673"/>
                  </a:lnTo>
                  <a:lnTo>
                    <a:pt x="362413" y="1404290"/>
                  </a:lnTo>
                  <a:lnTo>
                    <a:pt x="324818" y="1379694"/>
                  </a:lnTo>
                  <a:lnTo>
                    <a:pt x="288813" y="1352974"/>
                  </a:lnTo>
                  <a:lnTo>
                    <a:pt x="254487" y="1324220"/>
                  </a:lnTo>
                  <a:lnTo>
                    <a:pt x="221930" y="1293520"/>
                  </a:lnTo>
                  <a:lnTo>
                    <a:pt x="191231" y="1260963"/>
                  </a:lnTo>
                  <a:lnTo>
                    <a:pt x="162477" y="1226637"/>
                  </a:lnTo>
                  <a:lnTo>
                    <a:pt x="135758" y="1190631"/>
                  </a:lnTo>
                  <a:lnTo>
                    <a:pt x="111162" y="1153035"/>
                  </a:lnTo>
                  <a:lnTo>
                    <a:pt x="88778" y="1113936"/>
                  </a:lnTo>
                  <a:lnTo>
                    <a:pt x="68696" y="1073424"/>
                  </a:lnTo>
                  <a:lnTo>
                    <a:pt x="51003" y="1031588"/>
                  </a:lnTo>
                  <a:lnTo>
                    <a:pt x="35788" y="988515"/>
                  </a:lnTo>
                  <a:lnTo>
                    <a:pt x="23141" y="944295"/>
                  </a:lnTo>
                  <a:lnTo>
                    <a:pt x="13150" y="899017"/>
                  </a:lnTo>
                  <a:lnTo>
                    <a:pt x="5903" y="852769"/>
                  </a:lnTo>
                  <a:lnTo>
                    <a:pt x="1490" y="805640"/>
                  </a:lnTo>
                  <a:lnTo>
                    <a:pt x="0" y="757720"/>
                  </a:lnTo>
                  <a:lnTo>
                    <a:pt x="1705" y="706910"/>
                  </a:lnTo>
                  <a:lnTo>
                    <a:pt x="6801" y="656414"/>
                  </a:lnTo>
                  <a:lnTo>
                    <a:pt x="15260" y="606399"/>
                  </a:lnTo>
                  <a:lnTo>
                    <a:pt x="27053" y="557036"/>
                  </a:lnTo>
                  <a:lnTo>
                    <a:pt x="42151" y="508495"/>
                  </a:lnTo>
                  <a:lnTo>
                    <a:pt x="399935" y="633107"/>
                  </a:lnTo>
                  <a:lnTo>
                    <a:pt x="387092" y="678958"/>
                  </a:lnTo>
                  <a:lnTo>
                    <a:pt x="380179" y="725009"/>
                  </a:lnTo>
                  <a:lnTo>
                    <a:pt x="378980" y="770808"/>
                  </a:lnTo>
                  <a:lnTo>
                    <a:pt x="383274" y="815904"/>
                  </a:lnTo>
                  <a:lnTo>
                    <a:pt x="392844" y="859844"/>
                  </a:lnTo>
                  <a:lnTo>
                    <a:pt x="407472" y="902176"/>
                  </a:lnTo>
                  <a:lnTo>
                    <a:pt x="426938" y="942448"/>
                  </a:lnTo>
                  <a:lnTo>
                    <a:pt x="451024" y="980207"/>
                  </a:lnTo>
                  <a:lnTo>
                    <a:pt x="479511" y="1015003"/>
                  </a:lnTo>
                  <a:lnTo>
                    <a:pt x="512182" y="1046383"/>
                  </a:lnTo>
                  <a:lnTo>
                    <a:pt x="548817" y="1073894"/>
                  </a:lnTo>
                  <a:lnTo>
                    <a:pt x="589198" y="1097085"/>
                  </a:lnTo>
                  <a:lnTo>
                    <a:pt x="633107" y="1115504"/>
                  </a:lnTo>
                  <a:lnTo>
                    <a:pt x="678958" y="1128348"/>
                  </a:lnTo>
                  <a:lnTo>
                    <a:pt x="725009" y="1135261"/>
                  </a:lnTo>
                  <a:lnTo>
                    <a:pt x="770808" y="1136461"/>
                  </a:lnTo>
                  <a:lnTo>
                    <a:pt x="815904" y="1132168"/>
                  </a:lnTo>
                  <a:lnTo>
                    <a:pt x="859844" y="1122599"/>
                  </a:lnTo>
                  <a:lnTo>
                    <a:pt x="902176" y="1107973"/>
                  </a:lnTo>
                  <a:lnTo>
                    <a:pt x="942448" y="1088509"/>
                  </a:lnTo>
                  <a:lnTo>
                    <a:pt x="980207" y="1064424"/>
                  </a:lnTo>
                  <a:lnTo>
                    <a:pt x="1015003" y="1035938"/>
                  </a:lnTo>
                  <a:lnTo>
                    <a:pt x="1046383" y="1003268"/>
                  </a:lnTo>
                  <a:lnTo>
                    <a:pt x="1073894" y="966634"/>
                  </a:lnTo>
                  <a:lnTo>
                    <a:pt x="1097085" y="926253"/>
                  </a:lnTo>
                  <a:lnTo>
                    <a:pt x="1115504" y="882345"/>
                  </a:lnTo>
                  <a:lnTo>
                    <a:pt x="1128347" y="836494"/>
                  </a:lnTo>
                  <a:lnTo>
                    <a:pt x="1135260" y="790443"/>
                  </a:lnTo>
                  <a:lnTo>
                    <a:pt x="1136459" y="744644"/>
                  </a:lnTo>
                  <a:lnTo>
                    <a:pt x="1132165" y="699548"/>
                  </a:lnTo>
                  <a:lnTo>
                    <a:pt x="1122595" y="655608"/>
                  </a:lnTo>
                  <a:lnTo>
                    <a:pt x="1107967" y="613276"/>
                  </a:lnTo>
                  <a:lnTo>
                    <a:pt x="1088502" y="573004"/>
                  </a:lnTo>
                  <a:lnTo>
                    <a:pt x="1064416" y="535244"/>
                  </a:lnTo>
                  <a:lnTo>
                    <a:pt x="1035928" y="500449"/>
                  </a:lnTo>
                  <a:lnTo>
                    <a:pt x="1003257" y="469069"/>
                  </a:lnTo>
                  <a:lnTo>
                    <a:pt x="966622" y="441558"/>
                  </a:lnTo>
                  <a:lnTo>
                    <a:pt x="926241" y="418367"/>
                  </a:lnTo>
                  <a:lnTo>
                    <a:pt x="882332" y="399948"/>
                  </a:lnTo>
                  <a:lnTo>
                    <a:pt x="820916" y="384173"/>
                  </a:lnTo>
                  <a:lnTo>
                    <a:pt x="757720" y="378866"/>
                  </a:lnTo>
                  <a:lnTo>
                    <a:pt x="757720" y="0"/>
                  </a:lnTo>
                  <a:close/>
                </a:path>
              </a:pathLst>
            </a:custGeom>
            <a:ln w="19050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5" name="object 25"/>
            <p:cNvSpPr/>
            <p:nvPr/>
          </p:nvSpPr>
          <p:spPr>
            <a:xfrm>
              <a:off x="1837687" y="4324344"/>
              <a:ext cx="715645" cy="633730"/>
            </a:xfrm>
            <a:custGeom>
              <a:avLst/>
              <a:gdLst/>
              <a:ahLst/>
              <a:cxnLst/>
              <a:rect l="l" t="t" r="r" b="b"/>
              <a:pathLst>
                <a:path w="715644" h="633729">
                  <a:moveTo>
                    <a:pt x="715568" y="0"/>
                  </a:moveTo>
                  <a:lnTo>
                    <a:pt x="667489" y="1517"/>
                  </a:lnTo>
                  <a:lnTo>
                    <a:pt x="620049" y="6017"/>
                  </a:lnTo>
                  <a:lnTo>
                    <a:pt x="573357" y="13422"/>
                  </a:lnTo>
                  <a:lnTo>
                    <a:pt x="527522" y="23654"/>
                  </a:lnTo>
                  <a:lnTo>
                    <a:pt x="482654" y="36636"/>
                  </a:lnTo>
                  <a:lnTo>
                    <a:pt x="438863" y="52290"/>
                  </a:lnTo>
                  <a:lnTo>
                    <a:pt x="396257" y="70538"/>
                  </a:lnTo>
                  <a:lnTo>
                    <a:pt x="354946" y="91303"/>
                  </a:lnTo>
                  <a:lnTo>
                    <a:pt x="315039" y="114506"/>
                  </a:lnTo>
                  <a:lnTo>
                    <a:pt x="276645" y="140071"/>
                  </a:lnTo>
                  <a:lnTo>
                    <a:pt x="239874" y="167919"/>
                  </a:lnTo>
                  <a:lnTo>
                    <a:pt x="204836" y="197974"/>
                  </a:lnTo>
                  <a:lnTo>
                    <a:pt x="171638" y="230156"/>
                  </a:lnTo>
                  <a:lnTo>
                    <a:pt x="140392" y="264389"/>
                  </a:lnTo>
                  <a:lnTo>
                    <a:pt x="111205" y="300594"/>
                  </a:lnTo>
                  <a:lnTo>
                    <a:pt x="84188" y="338695"/>
                  </a:lnTo>
                  <a:lnTo>
                    <a:pt x="59450" y="378613"/>
                  </a:lnTo>
                  <a:lnTo>
                    <a:pt x="37099" y="420271"/>
                  </a:lnTo>
                  <a:lnTo>
                    <a:pt x="17246" y="463591"/>
                  </a:lnTo>
                  <a:lnTo>
                    <a:pt x="0" y="508495"/>
                  </a:lnTo>
                  <a:lnTo>
                    <a:pt x="357784" y="633107"/>
                  </a:lnTo>
                  <a:lnTo>
                    <a:pt x="376334" y="588995"/>
                  </a:lnTo>
                  <a:lnTo>
                    <a:pt x="399878" y="548208"/>
                  </a:lnTo>
                  <a:lnTo>
                    <a:pt x="427979" y="511055"/>
                  </a:lnTo>
                  <a:lnTo>
                    <a:pt x="460200" y="477849"/>
                  </a:lnTo>
                  <a:lnTo>
                    <a:pt x="496104" y="448898"/>
                  </a:lnTo>
                  <a:lnTo>
                    <a:pt x="535254" y="424515"/>
                  </a:lnTo>
                  <a:lnTo>
                    <a:pt x="577213" y="405010"/>
                  </a:lnTo>
                  <a:lnTo>
                    <a:pt x="621543" y="390692"/>
                  </a:lnTo>
                  <a:lnTo>
                    <a:pt x="667807" y="381874"/>
                  </a:lnTo>
                  <a:lnTo>
                    <a:pt x="715568" y="378866"/>
                  </a:lnTo>
                  <a:lnTo>
                    <a:pt x="715568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6" name="object 26"/>
            <p:cNvSpPr/>
            <p:nvPr/>
          </p:nvSpPr>
          <p:spPr>
            <a:xfrm>
              <a:off x="1837687" y="4324344"/>
              <a:ext cx="715645" cy="633730"/>
            </a:xfrm>
            <a:custGeom>
              <a:avLst/>
              <a:gdLst/>
              <a:ahLst/>
              <a:cxnLst/>
              <a:rect l="l" t="t" r="r" b="b"/>
              <a:pathLst>
                <a:path w="715644" h="633729">
                  <a:moveTo>
                    <a:pt x="0" y="508495"/>
                  </a:moveTo>
                  <a:lnTo>
                    <a:pt x="17246" y="463591"/>
                  </a:lnTo>
                  <a:lnTo>
                    <a:pt x="37099" y="420271"/>
                  </a:lnTo>
                  <a:lnTo>
                    <a:pt x="59450" y="378613"/>
                  </a:lnTo>
                  <a:lnTo>
                    <a:pt x="84188" y="338695"/>
                  </a:lnTo>
                  <a:lnTo>
                    <a:pt x="111205" y="300594"/>
                  </a:lnTo>
                  <a:lnTo>
                    <a:pt x="140392" y="264389"/>
                  </a:lnTo>
                  <a:lnTo>
                    <a:pt x="171638" y="230156"/>
                  </a:lnTo>
                  <a:lnTo>
                    <a:pt x="204836" y="197974"/>
                  </a:lnTo>
                  <a:lnTo>
                    <a:pt x="239874" y="167919"/>
                  </a:lnTo>
                  <a:lnTo>
                    <a:pt x="276645" y="140071"/>
                  </a:lnTo>
                  <a:lnTo>
                    <a:pt x="315039" y="114506"/>
                  </a:lnTo>
                  <a:lnTo>
                    <a:pt x="354946" y="91303"/>
                  </a:lnTo>
                  <a:lnTo>
                    <a:pt x="396257" y="70538"/>
                  </a:lnTo>
                  <a:lnTo>
                    <a:pt x="438863" y="52290"/>
                  </a:lnTo>
                  <a:lnTo>
                    <a:pt x="482654" y="36636"/>
                  </a:lnTo>
                  <a:lnTo>
                    <a:pt x="527522" y="23654"/>
                  </a:lnTo>
                  <a:lnTo>
                    <a:pt x="573357" y="13422"/>
                  </a:lnTo>
                  <a:lnTo>
                    <a:pt x="620049" y="6017"/>
                  </a:lnTo>
                  <a:lnTo>
                    <a:pt x="667489" y="1517"/>
                  </a:lnTo>
                  <a:lnTo>
                    <a:pt x="715568" y="0"/>
                  </a:lnTo>
                  <a:lnTo>
                    <a:pt x="715568" y="378866"/>
                  </a:lnTo>
                  <a:lnTo>
                    <a:pt x="667807" y="381874"/>
                  </a:lnTo>
                  <a:lnTo>
                    <a:pt x="621543" y="390692"/>
                  </a:lnTo>
                  <a:lnTo>
                    <a:pt x="577213" y="405010"/>
                  </a:lnTo>
                  <a:lnTo>
                    <a:pt x="535254" y="424515"/>
                  </a:lnTo>
                  <a:lnTo>
                    <a:pt x="496104" y="448898"/>
                  </a:lnTo>
                  <a:lnTo>
                    <a:pt x="460200" y="477849"/>
                  </a:lnTo>
                  <a:lnTo>
                    <a:pt x="427979" y="511055"/>
                  </a:lnTo>
                  <a:lnTo>
                    <a:pt x="399878" y="548208"/>
                  </a:lnTo>
                  <a:lnTo>
                    <a:pt x="376334" y="588995"/>
                  </a:lnTo>
                  <a:lnTo>
                    <a:pt x="357784" y="633107"/>
                  </a:lnTo>
                  <a:lnTo>
                    <a:pt x="0" y="508495"/>
                  </a:lnTo>
                  <a:close/>
                </a:path>
              </a:pathLst>
            </a:custGeom>
            <a:ln w="19050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27" name="object 27"/>
          <p:cNvSpPr txBox="1"/>
          <p:nvPr/>
        </p:nvSpPr>
        <p:spPr>
          <a:xfrm>
            <a:off x="2365288" y="4936532"/>
            <a:ext cx="389255" cy="258404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9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600" b="1" i="0" u="none" strike="noStrike" kern="1200" cap="none" spc="-5" normalizeH="0" baseline="0" noProof="0">
                <a:ln>
                  <a:noFill/>
                </a:ln>
                <a:solidFill>
                  <a:srgbClr val="5B6F7A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80%</a:t>
            </a:r>
            <a:endParaRPr kumimoji="0" sz="16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rebuchet MS"/>
              <a:ea typeface="+mn-ea"/>
              <a:cs typeface="Trebuchet MS"/>
            </a:endParaRPr>
          </a:p>
        </p:txBody>
      </p:sp>
      <p:grpSp>
        <p:nvGrpSpPr>
          <p:cNvPr id="28" name="object 28"/>
          <p:cNvGrpSpPr/>
          <p:nvPr/>
        </p:nvGrpSpPr>
        <p:grpSpPr>
          <a:xfrm>
            <a:off x="4588764" y="1339596"/>
            <a:ext cx="3188335" cy="2406650"/>
            <a:chOff x="4588764" y="1339596"/>
            <a:chExt cx="3188335" cy="2406650"/>
          </a:xfrm>
        </p:grpSpPr>
        <p:pic>
          <p:nvPicPr>
            <p:cNvPr id="29" name="object 29"/>
            <p:cNvPicPr/>
            <p:nvPr/>
          </p:nvPicPr>
          <p:blipFill>
            <a:blip r:embed="rId8" cstate="print"/>
            <a:stretch>
              <a:fillRect/>
            </a:stretch>
          </p:blipFill>
          <p:spPr>
            <a:xfrm>
              <a:off x="4588764" y="1339596"/>
              <a:ext cx="3188207" cy="2406395"/>
            </a:xfrm>
            <a:prstGeom prst="rect">
              <a:avLst/>
            </a:prstGeom>
          </p:spPr>
        </p:pic>
        <p:sp>
          <p:nvSpPr>
            <p:cNvPr id="30" name="object 30"/>
            <p:cNvSpPr/>
            <p:nvPr/>
          </p:nvSpPr>
          <p:spPr>
            <a:xfrm>
              <a:off x="4642104" y="1354836"/>
              <a:ext cx="3081655" cy="1795780"/>
            </a:xfrm>
            <a:custGeom>
              <a:avLst/>
              <a:gdLst/>
              <a:ahLst/>
              <a:cxnLst/>
              <a:rect l="l" t="t" r="r" b="b"/>
              <a:pathLst>
                <a:path w="3081654" h="1795780">
                  <a:moveTo>
                    <a:pt x="3081528" y="0"/>
                  </a:moveTo>
                  <a:lnTo>
                    <a:pt x="0" y="0"/>
                  </a:lnTo>
                  <a:lnTo>
                    <a:pt x="0" y="1795272"/>
                  </a:lnTo>
                  <a:lnTo>
                    <a:pt x="3081528" y="1795272"/>
                  </a:lnTo>
                  <a:lnTo>
                    <a:pt x="3081528" y="0"/>
                  </a:lnTo>
                  <a:close/>
                </a:path>
              </a:pathLst>
            </a:custGeom>
            <a:solidFill>
              <a:srgbClr val="5B6F7A"/>
            </a:solid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31" name="object 31"/>
          <p:cNvSpPr txBox="1"/>
          <p:nvPr/>
        </p:nvSpPr>
        <p:spPr>
          <a:xfrm>
            <a:off x="4642103" y="1981909"/>
            <a:ext cx="3081655" cy="513715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356235" marR="0" lvl="0" indent="0" algn="l" defTabSz="914400" rtl="0" eaLnBrk="1" fontAlgn="auto" latinLnBrk="0" hangingPunct="1">
              <a:lnSpc>
                <a:spcPct val="100000"/>
              </a:lnSpc>
              <a:spcBef>
                <a:spcPts val="10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3200" b="1" i="0" u="none" strike="noStrike" kern="1200" cap="none" spc="-5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1</a:t>
            </a:r>
            <a:r>
              <a:rPr kumimoji="0" lang="it-IT" sz="3200" b="1" i="0" u="none" strike="noStrike" kern="1200" cap="none" spc="-5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67</a:t>
            </a:r>
            <a:r>
              <a:rPr kumimoji="0" sz="3200" b="1" i="0" u="none" strike="noStrike" kern="1200" cap="none" spc="-3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 </a:t>
            </a:r>
            <a:r>
              <a:rPr kumimoji="0" sz="32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Mio</a:t>
            </a:r>
            <a:r>
              <a:rPr kumimoji="0" sz="3200" b="1" i="0" u="none" strike="noStrike" kern="1200" cap="none" spc="-5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 </a:t>
            </a:r>
            <a:r>
              <a:rPr kumimoji="0" sz="32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EUR</a:t>
            </a:r>
            <a:endParaRPr kumimoji="0" sz="3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rebuchet MS"/>
              <a:ea typeface="+mn-ea"/>
              <a:cs typeface="Trebuchet MS"/>
            </a:endParaRPr>
          </a:p>
        </p:txBody>
      </p:sp>
      <p:sp>
        <p:nvSpPr>
          <p:cNvPr id="32" name="object 32"/>
          <p:cNvSpPr txBox="1"/>
          <p:nvPr/>
        </p:nvSpPr>
        <p:spPr>
          <a:xfrm>
            <a:off x="4642103" y="3194304"/>
            <a:ext cx="3081655" cy="419100"/>
          </a:xfrm>
          <a:prstGeom prst="rect">
            <a:avLst/>
          </a:prstGeom>
          <a:solidFill>
            <a:srgbClr val="5B6F7A"/>
          </a:solidFill>
        </p:spPr>
        <p:txBody>
          <a:bodyPr vert="horz" wrap="square" lIns="0" tIns="37465" rIns="0" bIns="0" rtlCol="0">
            <a:spAutoFit/>
          </a:bodyPr>
          <a:lstStyle/>
          <a:p>
            <a:pPr marL="104775" marR="97155" lvl="0" indent="126364" algn="l" defTabSz="914400" rtl="0" eaLnBrk="1" fontAlgn="auto" latinLnBrk="0" hangingPunct="1">
              <a:lnSpc>
                <a:spcPct val="100000"/>
              </a:lnSpc>
              <a:spcBef>
                <a:spcPts val="29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100" b="0" i="0" u="none" strike="noStrike" kern="1200" cap="none" spc="-5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Finanziamenti assistiti</a:t>
            </a:r>
            <a:r>
              <a:rPr kumimoji="0" sz="1100" b="0" i="0" u="none" strike="noStrike" kern="1200" cap="none" spc="35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 </a:t>
            </a:r>
            <a:r>
              <a:rPr kumimoji="0" sz="1100" b="0" i="0" u="none" strike="noStrike" kern="1200" cap="none" spc="-5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da</a:t>
            </a:r>
            <a:r>
              <a:rPr kumimoji="0" sz="11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 </a:t>
            </a:r>
            <a:r>
              <a:rPr kumimoji="0" sz="1100" b="0" i="0" u="none" strike="noStrike" kern="1200" cap="none" spc="-5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fideiussione</a:t>
            </a:r>
            <a:r>
              <a:rPr kumimoji="0" sz="1100" b="0" i="0" u="none" strike="noStrike" kern="1200" cap="none" spc="25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 </a:t>
            </a:r>
            <a:r>
              <a:rPr kumimoji="0" sz="1100" b="0" i="0" u="none" strike="noStrike" kern="1200" cap="none" spc="-5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del </a:t>
            </a:r>
            <a:r>
              <a:rPr kumimoji="0" sz="11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 </a:t>
            </a:r>
            <a:r>
              <a:rPr kumimoji="0" sz="1100" b="0" i="0" u="none" strike="noStrike" kern="1200" cap="none" spc="-5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Fondo di</a:t>
            </a:r>
            <a:r>
              <a:rPr kumimoji="0" sz="1100" b="0" i="0" u="none" strike="noStrike" kern="1200" cap="none" spc="5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 </a:t>
            </a:r>
            <a:r>
              <a:rPr kumimoji="0" sz="1100" b="0" i="0" u="none" strike="noStrike" kern="1200" cap="none" spc="-5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Garanzia</a:t>
            </a:r>
            <a:r>
              <a:rPr kumimoji="0" sz="1100" b="0" i="0" u="none" strike="noStrike" kern="1200" cap="none" spc="5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 </a:t>
            </a:r>
            <a:r>
              <a:rPr kumimoji="0" sz="1100" b="0" i="0" u="none" strike="noStrike" kern="1200" cap="none" spc="-5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per</a:t>
            </a:r>
            <a:r>
              <a:rPr kumimoji="0" sz="11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 </a:t>
            </a:r>
            <a:r>
              <a:rPr kumimoji="0" sz="1100" b="0" i="0" u="none" strike="noStrike" kern="1200" cap="none" spc="-5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l’impiantistica</a:t>
            </a:r>
            <a:r>
              <a:rPr kumimoji="0" sz="1100" b="0" i="0" u="none" strike="noStrike" kern="1200" cap="none" spc="15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 </a:t>
            </a:r>
            <a:r>
              <a:rPr kumimoji="0" sz="1100" b="0" i="0" u="none" strike="noStrike" kern="1200" cap="none" spc="-5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sportiva</a:t>
            </a:r>
            <a:endParaRPr kumimoji="0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rebuchet MS"/>
              <a:ea typeface="+mn-ea"/>
              <a:cs typeface="Trebuchet MS"/>
            </a:endParaRPr>
          </a:p>
        </p:txBody>
      </p:sp>
      <p:grpSp>
        <p:nvGrpSpPr>
          <p:cNvPr id="33" name="object 33"/>
          <p:cNvGrpSpPr/>
          <p:nvPr/>
        </p:nvGrpSpPr>
        <p:grpSpPr>
          <a:xfrm>
            <a:off x="4450078" y="3715511"/>
            <a:ext cx="3351275" cy="2339340"/>
            <a:chOff x="4616196" y="3715511"/>
            <a:chExt cx="3188335" cy="2339340"/>
          </a:xfrm>
        </p:grpSpPr>
        <p:pic>
          <p:nvPicPr>
            <p:cNvPr id="34" name="object 34"/>
            <p:cNvPicPr/>
            <p:nvPr/>
          </p:nvPicPr>
          <p:blipFill>
            <a:blip r:embed="rId9" cstate="print"/>
            <a:stretch>
              <a:fillRect/>
            </a:stretch>
          </p:blipFill>
          <p:spPr>
            <a:xfrm>
              <a:off x="4616196" y="3715511"/>
              <a:ext cx="3188207" cy="2339339"/>
            </a:xfrm>
            <a:prstGeom prst="rect">
              <a:avLst/>
            </a:prstGeom>
          </p:spPr>
        </p:pic>
        <p:sp>
          <p:nvSpPr>
            <p:cNvPr id="35" name="object 35"/>
            <p:cNvSpPr/>
            <p:nvPr/>
          </p:nvSpPr>
          <p:spPr>
            <a:xfrm>
              <a:off x="4642104" y="4180331"/>
              <a:ext cx="3081655" cy="1793875"/>
            </a:xfrm>
            <a:custGeom>
              <a:avLst/>
              <a:gdLst/>
              <a:ahLst/>
              <a:cxnLst/>
              <a:rect l="l" t="t" r="r" b="b"/>
              <a:pathLst>
                <a:path w="3081654" h="1793875">
                  <a:moveTo>
                    <a:pt x="0" y="1793748"/>
                  </a:moveTo>
                  <a:lnTo>
                    <a:pt x="3081528" y="1793748"/>
                  </a:lnTo>
                  <a:lnTo>
                    <a:pt x="3081528" y="0"/>
                  </a:lnTo>
                  <a:lnTo>
                    <a:pt x="0" y="0"/>
                  </a:lnTo>
                  <a:lnTo>
                    <a:pt x="0" y="1793748"/>
                  </a:lnTo>
                  <a:close/>
                </a:path>
              </a:pathLst>
            </a:custGeom>
            <a:solidFill>
              <a:srgbClr val="F1F1F1"/>
            </a:solid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36" name="object 36"/>
          <p:cNvSpPr txBox="1"/>
          <p:nvPr/>
        </p:nvSpPr>
        <p:spPr>
          <a:xfrm>
            <a:off x="4511687" y="3761232"/>
            <a:ext cx="3212072" cy="395661"/>
          </a:xfrm>
          <a:prstGeom prst="rect">
            <a:avLst/>
          </a:prstGeom>
          <a:solidFill>
            <a:srgbClr val="FFFFFF"/>
          </a:solidFill>
        </p:spPr>
        <p:txBody>
          <a:bodyPr vert="horz" wrap="square" lIns="0" tIns="21590" rIns="0" bIns="0" rtlCol="0">
            <a:spAutoFit/>
          </a:bodyPr>
          <a:lstStyle/>
          <a:p>
            <a:pPr marL="138430" marR="130810" lvl="0" indent="59055" algn="l" defTabSz="914400" rtl="0" eaLnBrk="1" fontAlgn="auto" latinLnBrk="0" hangingPunct="1">
              <a:lnSpc>
                <a:spcPct val="100000"/>
              </a:lnSpc>
              <a:spcBef>
                <a:spcPts val="17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200" b="0" i="0" u="none" strike="noStrike" kern="1200" cap="none" spc="-5" normalizeH="0" baseline="0" noProof="0">
                <a:ln>
                  <a:noFill/>
                </a:ln>
                <a:solidFill>
                  <a:srgbClr val="5B6F7A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Ripartizione finanziamenti garantiti </a:t>
            </a:r>
            <a:r>
              <a:rPr kumimoji="0" sz="1200" b="0" i="0" u="none" strike="noStrike" kern="1200" cap="none" spc="0" normalizeH="0" baseline="0" noProof="0">
                <a:ln>
                  <a:noFill/>
                </a:ln>
                <a:solidFill>
                  <a:srgbClr val="5B6F7A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dal </a:t>
            </a:r>
            <a:r>
              <a:rPr kumimoji="0" sz="1200" b="0" i="0" u="none" strike="noStrike" kern="1200" cap="none" spc="5" normalizeH="0" baseline="0" noProof="0">
                <a:ln>
                  <a:noFill/>
                </a:ln>
                <a:solidFill>
                  <a:srgbClr val="5B6F7A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 </a:t>
            </a:r>
            <a:r>
              <a:rPr kumimoji="0" sz="1200" b="0" i="0" u="none" strike="noStrike" kern="1200" cap="none" spc="-5" normalizeH="0" baseline="0" noProof="0">
                <a:ln>
                  <a:noFill/>
                </a:ln>
                <a:solidFill>
                  <a:srgbClr val="5B6F7A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FdG</a:t>
            </a:r>
            <a:r>
              <a:rPr kumimoji="0" sz="1200" b="0" i="0" u="none" strike="noStrike" kern="1200" cap="none" spc="-15" normalizeH="0" baseline="0" noProof="0">
                <a:ln>
                  <a:noFill/>
                </a:ln>
                <a:solidFill>
                  <a:srgbClr val="5B6F7A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 </a:t>
            </a:r>
            <a:r>
              <a:rPr kumimoji="0" sz="1200" b="0" i="0" u="none" strike="noStrike" kern="1200" cap="none" spc="0" normalizeH="0" baseline="0" noProof="0">
                <a:ln>
                  <a:noFill/>
                </a:ln>
                <a:solidFill>
                  <a:srgbClr val="5B6F7A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per</a:t>
            </a:r>
            <a:r>
              <a:rPr kumimoji="0" sz="1200" b="0" i="0" u="none" strike="noStrike" kern="1200" cap="none" spc="-30" normalizeH="0" baseline="0" noProof="0">
                <a:ln>
                  <a:noFill/>
                </a:ln>
                <a:solidFill>
                  <a:srgbClr val="5B6F7A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 </a:t>
            </a:r>
            <a:r>
              <a:rPr kumimoji="0" sz="1200" b="0" i="0" u="none" strike="noStrike" kern="1200" cap="none" spc="0" normalizeH="0" baseline="0" noProof="0">
                <a:ln>
                  <a:noFill/>
                </a:ln>
                <a:solidFill>
                  <a:srgbClr val="5B6F7A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categoria</a:t>
            </a:r>
            <a:r>
              <a:rPr kumimoji="0" sz="1200" b="0" i="0" u="none" strike="noStrike" kern="1200" cap="none" spc="-50" normalizeH="0" baseline="0" noProof="0">
                <a:ln>
                  <a:noFill/>
                </a:ln>
                <a:solidFill>
                  <a:srgbClr val="5B6F7A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 </a:t>
            </a:r>
            <a:r>
              <a:rPr kumimoji="0" sz="1200" b="0" i="0" u="none" strike="noStrike" kern="1200" cap="none" spc="0" normalizeH="0" baseline="0" noProof="0">
                <a:ln>
                  <a:noFill/>
                </a:ln>
                <a:solidFill>
                  <a:srgbClr val="5B6F7A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di</a:t>
            </a:r>
            <a:r>
              <a:rPr kumimoji="0" sz="1200" b="0" i="0" u="none" strike="noStrike" kern="1200" cap="none" spc="-15" normalizeH="0" baseline="0" noProof="0">
                <a:ln>
                  <a:noFill/>
                </a:ln>
                <a:solidFill>
                  <a:srgbClr val="5B6F7A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 </a:t>
            </a:r>
            <a:r>
              <a:rPr kumimoji="0" sz="1200" b="0" i="0" u="none" strike="noStrike" kern="1200" cap="none" spc="-5" normalizeH="0" baseline="0" noProof="0">
                <a:ln>
                  <a:noFill/>
                </a:ln>
                <a:solidFill>
                  <a:srgbClr val="5B6F7A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clientela</a:t>
            </a:r>
            <a:r>
              <a:rPr kumimoji="0" sz="1200" b="0" i="0" u="none" strike="noStrike" kern="1200" cap="none" spc="-15" normalizeH="0" baseline="0" noProof="0">
                <a:ln>
                  <a:noFill/>
                </a:ln>
                <a:solidFill>
                  <a:srgbClr val="5B6F7A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 </a:t>
            </a:r>
            <a:r>
              <a:rPr kumimoji="0" sz="1200" b="0" i="0" u="none" strike="noStrike" kern="1200" cap="none" spc="0" normalizeH="0" baseline="0" noProof="0">
                <a:ln>
                  <a:noFill/>
                </a:ln>
                <a:solidFill>
                  <a:srgbClr val="5B6F7A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in</a:t>
            </a:r>
            <a:r>
              <a:rPr kumimoji="0" sz="1200" b="0" i="0" u="none" strike="noStrike" kern="1200" cap="none" spc="-45" normalizeH="0" baseline="0" noProof="0">
                <a:ln>
                  <a:noFill/>
                </a:ln>
                <a:solidFill>
                  <a:srgbClr val="5B6F7A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 </a:t>
            </a:r>
            <a:r>
              <a:rPr kumimoji="0" sz="1200" b="0" i="0" u="none" strike="noStrike" kern="1200" cap="none" spc="0" normalizeH="0" baseline="0" noProof="0">
                <a:ln>
                  <a:noFill/>
                </a:ln>
                <a:solidFill>
                  <a:srgbClr val="5B6F7A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Mio</a:t>
            </a:r>
            <a:r>
              <a:rPr kumimoji="0" sz="1200" b="0" i="0" u="none" strike="noStrike" kern="1200" cap="none" spc="-5" normalizeH="0" baseline="0" noProof="0">
                <a:ln>
                  <a:noFill/>
                </a:ln>
                <a:solidFill>
                  <a:srgbClr val="5B6F7A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 </a:t>
            </a:r>
            <a:r>
              <a:rPr kumimoji="0" sz="1200" b="0" i="0" u="none" strike="noStrike" kern="1200" cap="none" spc="0" normalizeH="0" baseline="0" noProof="0">
                <a:ln>
                  <a:noFill/>
                </a:ln>
                <a:solidFill>
                  <a:srgbClr val="5B6F7A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EUR</a:t>
            </a:r>
            <a:endParaRPr kumimoji="0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rebuchet MS"/>
              <a:ea typeface="+mn-ea"/>
              <a:cs typeface="Trebuchet MS"/>
            </a:endParaRPr>
          </a:p>
        </p:txBody>
      </p:sp>
      <p:grpSp>
        <p:nvGrpSpPr>
          <p:cNvPr id="37" name="object 37"/>
          <p:cNvGrpSpPr/>
          <p:nvPr/>
        </p:nvGrpSpPr>
        <p:grpSpPr>
          <a:xfrm>
            <a:off x="8217408" y="1350263"/>
            <a:ext cx="3190240" cy="2406650"/>
            <a:chOff x="8217408" y="1350263"/>
            <a:chExt cx="3190240" cy="2406650"/>
          </a:xfrm>
        </p:grpSpPr>
        <p:pic>
          <p:nvPicPr>
            <p:cNvPr id="38" name="object 38"/>
            <p:cNvPicPr/>
            <p:nvPr/>
          </p:nvPicPr>
          <p:blipFill>
            <a:blip r:embed="rId10" cstate="print"/>
            <a:stretch>
              <a:fillRect/>
            </a:stretch>
          </p:blipFill>
          <p:spPr>
            <a:xfrm>
              <a:off x="8217408" y="1350263"/>
              <a:ext cx="3189731" cy="2406395"/>
            </a:xfrm>
            <a:prstGeom prst="rect">
              <a:avLst/>
            </a:prstGeom>
          </p:spPr>
        </p:pic>
        <p:sp>
          <p:nvSpPr>
            <p:cNvPr id="39" name="object 39"/>
            <p:cNvSpPr/>
            <p:nvPr/>
          </p:nvSpPr>
          <p:spPr>
            <a:xfrm>
              <a:off x="8270747" y="1365503"/>
              <a:ext cx="3083560" cy="1795780"/>
            </a:xfrm>
            <a:custGeom>
              <a:avLst/>
              <a:gdLst/>
              <a:ahLst/>
              <a:cxnLst/>
              <a:rect l="l" t="t" r="r" b="b"/>
              <a:pathLst>
                <a:path w="3083559" h="1795780">
                  <a:moveTo>
                    <a:pt x="3083052" y="0"/>
                  </a:moveTo>
                  <a:lnTo>
                    <a:pt x="0" y="0"/>
                  </a:lnTo>
                  <a:lnTo>
                    <a:pt x="0" y="1795272"/>
                  </a:lnTo>
                  <a:lnTo>
                    <a:pt x="3083052" y="1795272"/>
                  </a:lnTo>
                  <a:lnTo>
                    <a:pt x="3083052" y="0"/>
                  </a:lnTo>
                  <a:close/>
                </a:path>
              </a:pathLst>
            </a:custGeom>
            <a:solidFill>
              <a:srgbClr val="922525"/>
            </a:solid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pic>
        <p:nvPicPr>
          <p:cNvPr id="41" name="object 41"/>
          <p:cNvPicPr/>
          <p:nvPr/>
        </p:nvPicPr>
        <p:blipFill>
          <a:blip r:embed="rId6" cstate="print"/>
          <a:stretch>
            <a:fillRect/>
          </a:stretch>
        </p:blipFill>
        <p:spPr>
          <a:xfrm>
            <a:off x="5793801" y="1056125"/>
            <a:ext cx="772667" cy="792479"/>
          </a:xfrm>
          <a:prstGeom prst="rect">
            <a:avLst/>
          </a:prstGeom>
        </p:spPr>
      </p:pic>
      <p:sp>
        <p:nvSpPr>
          <p:cNvPr id="42" name="object 42"/>
          <p:cNvSpPr/>
          <p:nvPr/>
        </p:nvSpPr>
        <p:spPr>
          <a:xfrm>
            <a:off x="5841553" y="1123753"/>
            <a:ext cx="637540" cy="657225"/>
          </a:xfrm>
          <a:custGeom>
            <a:avLst/>
            <a:gdLst/>
            <a:ahLst/>
            <a:cxnLst/>
            <a:rect l="l" t="t" r="r" b="b"/>
            <a:pathLst>
              <a:path w="637539" h="657225">
                <a:moveTo>
                  <a:pt x="318516" y="0"/>
                </a:moveTo>
                <a:lnTo>
                  <a:pt x="271448" y="3560"/>
                </a:lnTo>
                <a:lnTo>
                  <a:pt x="226525" y="13905"/>
                </a:lnTo>
                <a:lnTo>
                  <a:pt x="184239" y="30524"/>
                </a:lnTo>
                <a:lnTo>
                  <a:pt x="145082" y="52911"/>
                </a:lnTo>
                <a:lnTo>
                  <a:pt x="109547" y="80556"/>
                </a:lnTo>
                <a:lnTo>
                  <a:pt x="78127" y="112953"/>
                </a:lnTo>
                <a:lnTo>
                  <a:pt x="51315" y="149593"/>
                </a:lnTo>
                <a:lnTo>
                  <a:pt x="29604" y="189968"/>
                </a:lnTo>
                <a:lnTo>
                  <a:pt x="13485" y="233569"/>
                </a:lnTo>
                <a:lnTo>
                  <a:pt x="3453" y="279890"/>
                </a:lnTo>
                <a:lnTo>
                  <a:pt x="0" y="328422"/>
                </a:lnTo>
                <a:lnTo>
                  <a:pt x="3453" y="376953"/>
                </a:lnTo>
                <a:lnTo>
                  <a:pt x="13485" y="423274"/>
                </a:lnTo>
                <a:lnTo>
                  <a:pt x="29604" y="466875"/>
                </a:lnTo>
                <a:lnTo>
                  <a:pt x="51315" y="507250"/>
                </a:lnTo>
                <a:lnTo>
                  <a:pt x="78127" y="543890"/>
                </a:lnTo>
                <a:lnTo>
                  <a:pt x="109547" y="576287"/>
                </a:lnTo>
                <a:lnTo>
                  <a:pt x="145082" y="603932"/>
                </a:lnTo>
                <a:lnTo>
                  <a:pt x="184239" y="626319"/>
                </a:lnTo>
                <a:lnTo>
                  <a:pt x="226525" y="642938"/>
                </a:lnTo>
                <a:lnTo>
                  <a:pt x="271448" y="653283"/>
                </a:lnTo>
                <a:lnTo>
                  <a:pt x="318516" y="656844"/>
                </a:lnTo>
                <a:lnTo>
                  <a:pt x="365583" y="653283"/>
                </a:lnTo>
                <a:lnTo>
                  <a:pt x="410506" y="642938"/>
                </a:lnTo>
                <a:lnTo>
                  <a:pt x="452792" y="626319"/>
                </a:lnTo>
                <a:lnTo>
                  <a:pt x="491949" y="603932"/>
                </a:lnTo>
                <a:lnTo>
                  <a:pt x="527484" y="576287"/>
                </a:lnTo>
                <a:lnTo>
                  <a:pt x="558904" y="543890"/>
                </a:lnTo>
                <a:lnTo>
                  <a:pt x="585716" y="507250"/>
                </a:lnTo>
                <a:lnTo>
                  <a:pt x="607427" y="466875"/>
                </a:lnTo>
                <a:lnTo>
                  <a:pt x="623546" y="423274"/>
                </a:lnTo>
                <a:lnTo>
                  <a:pt x="633578" y="376953"/>
                </a:lnTo>
                <a:lnTo>
                  <a:pt x="637032" y="328422"/>
                </a:lnTo>
                <a:lnTo>
                  <a:pt x="633578" y="279890"/>
                </a:lnTo>
                <a:lnTo>
                  <a:pt x="623546" y="233569"/>
                </a:lnTo>
                <a:lnTo>
                  <a:pt x="607427" y="189968"/>
                </a:lnTo>
                <a:lnTo>
                  <a:pt x="585716" y="149593"/>
                </a:lnTo>
                <a:lnTo>
                  <a:pt x="558904" y="112953"/>
                </a:lnTo>
                <a:lnTo>
                  <a:pt x="527484" y="80556"/>
                </a:lnTo>
                <a:lnTo>
                  <a:pt x="491949" y="52911"/>
                </a:lnTo>
                <a:lnTo>
                  <a:pt x="452792" y="30524"/>
                </a:lnTo>
                <a:lnTo>
                  <a:pt x="410506" y="13905"/>
                </a:lnTo>
                <a:lnTo>
                  <a:pt x="365583" y="3560"/>
                </a:lnTo>
                <a:lnTo>
                  <a:pt x="318516" y="0"/>
                </a:lnTo>
                <a:close/>
              </a:path>
            </a:pathLst>
          </a:custGeom>
          <a:solidFill>
            <a:srgbClr val="5B6F7A"/>
          </a:solid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3" name="object 43"/>
          <p:cNvSpPr/>
          <p:nvPr/>
        </p:nvSpPr>
        <p:spPr>
          <a:xfrm>
            <a:off x="5841553" y="1123755"/>
            <a:ext cx="637540" cy="657225"/>
          </a:xfrm>
          <a:custGeom>
            <a:avLst/>
            <a:gdLst/>
            <a:ahLst/>
            <a:cxnLst/>
            <a:rect l="l" t="t" r="r" b="b"/>
            <a:pathLst>
              <a:path w="637539" h="657225">
                <a:moveTo>
                  <a:pt x="0" y="328422"/>
                </a:moveTo>
                <a:lnTo>
                  <a:pt x="3453" y="279890"/>
                </a:lnTo>
                <a:lnTo>
                  <a:pt x="13485" y="233569"/>
                </a:lnTo>
                <a:lnTo>
                  <a:pt x="29604" y="189968"/>
                </a:lnTo>
                <a:lnTo>
                  <a:pt x="51315" y="149593"/>
                </a:lnTo>
                <a:lnTo>
                  <a:pt x="78127" y="112953"/>
                </a:lnTo>
                <a:lnTo>
                  <a:pt x="109547" y="80556"/>
                </a:lnTo>
                <a:lnTo>
                  <a:pt x="145082" y="52911"/>
                </a:lnTo>
                <a:lnTo>
                  <a:pt x="184239" y="30524"/>
                </a:lnTo>
                <a:lnTo>
                  <a:pt x="226525" y="13905"/>
                </a:lnTo>
                <a:lnTo>
                  <a:pt x="271448" y="3560"/>
                </a:lnTo>
                <a:lnTo>
                  <a:pt x="318516" y="0"/>
                </a:lnTo>
                <a:lnTo>
                  <a:pt x="365583" y="3560"/>
                </a:lnTo>
                <a:lnTo>
                  <a:pt x="410506" y="13905"/>
                </a:lnTo>
                <a:lnTo>
                  <a:pt x="452792" y="30524"/>
                </a:lnTo>
                <a:lnTo>
                  <a:pt x="491949" y="52911"/>
                </a:lnTo>
                <a:lnTo>
                  <a:pt x="527484" y="80556"/>
                </a:lnTo>
                <a:lnTo>
                  <a:pt x="558904" y="112953"/>
                </a:lnTo>
                <a:lnTo>
                  <a:pt x="585716" y="149593"/>
                </a:lnTo>
                <a:lnTo>
                  <a:pt x="607427" y="189968"/>
                </a:lnTo>
                <a:lnTo>
                  <a:pt x="623546" y="233569"/>
                </a:lnTo>
                <a:lnTo>
                  <a:pt x="633578" y="279890"/>
                </a:lnTo>
                <a:lnTo>
                  <a:pt x="637032" y="328422"/>
                </a:lnTo>
                <a:lnTo>
                  <a:pt x="633578" y="376953"/>
                </a:lnTo>
                <a:lnTo>
                  <a:pt x="623546" y="423274"/>
                </a:lnTo>
                <a:lnTo>
                  <a:pt x="607427" y="466875"/>
                </a:lnTo>
                <a:lnTo>
                  <a:pt x="585716" y="507250"/>
                </a:lnTo>
                <a:lnTo>
                  <a:pt x="558904" y="543890"/>
                </a:lnTo>
                <a:lnTo>
                  <a:pt x="527484" y="576287"/>
                </a:lnTo>
                <a:lnTo>
                  <a:pt x="491949" y="603932"/>
                </a:lnTo>
                <a:lnTo>
                  <a:pt x="452792" y="626319"/>
                </a:lnTo>
                <a:lnTo>
                  <a:pt x="410506" y="642938"/>
                </a:lnTo>
                <a:lnTo>
                  <a:pt x="365583" y="653283"/>
                </a:lnTo>
                <a:lnTo>
                  <a:pt x="318516" y="656844"/>
                </a:lnTo>
                <a:lnTo>
                  <a:pt x="271448" y="653283"/>
                </a:lnTo>
                <a:lnTo>
                  <a:pt x="226525" y="642938"/>
                </a:lnTo>
                <a:lnTo>
                  <a:pt x="184239" y="626319"/>
                </a:lnTo>
                <a:lnTo>
                  <a:pt x="145082" y="603932"/>
                </a:lnTo>
                <a:lnTo>
                  <a:pt x="109547" y="576287"/>
                </a:lnTo>
                <a:lnTo>
                  <a:pt x="78127" y="543890"/>
                </a:lnTo>
                <a:lnTo>
                  <a:pt x="51315" y="507250"/>
                </a:lnTo>
                <a:lnTo>
                  <a:pt x="29604" y="466875"/>
                </a:lnTo>
                <a:lnTo>
                  <a:pt x="13485" y="423274"/>
                </a:lnTo>
                <a:lnTo>
                  <a:pt x="3453" y="376953"/>
                </a:lnTo>
                <a:lnTo>
                  <a:pt x="0" y="328422"/>
                </a:lnTo>
                <a:close/>
              </a:path>
            </a:pathLst>
          </a:custGeom>
          <a:ln w="285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4" name="object 44"/>
          <p:cNvSpPr/>
          <p:nvPr/>
        </p:nvSpPr>
        <p:spPr>
          <a:xfrm>
            <a:off x="5977887" y="1257725"/>
            <a:ext cx="366395" cy="398780"/>
          </a:xfrm>
          <a:custGeom>
            <a:avLst/>
            <a:gdLst/>
            <a:ahLst/>
            <a:cxnLst/>
            <a:rect l="l" t="t" r="r" b="b"/>
            <a:pathLst>
              <a:path w="366395" h="398780">
                <a:moveTo>
                  <a:pt x="312102" y="53860"/>
                </a:moveTo>
                <a:lnTo>
                  <a:pt x="290576" y="53860"/>
                </a:lnTo>
                <a:lnTo>
                  <a:pt x="290576" y="134112"/>
                </a:lnTo>
                <a:lnTo>
                  <a:pt x="290576" y="232130"/>
                </a:lnTo>
                <a:lnTo>
                  <a:pt x="285737" y="236982"/>
                </a:lnTo>
                <a:lnTo>
                  <a:pt x="273900" y="236982"/>
                </a:lnTo>
                <a:lnTo>
                  <a:pt x="269062" y="232130"/>
                </a:lnTo>
                <a:lnTo>
                  <a:pt x="269062" y="134112"/>
                </a:lnTo>
                <a:lnTo>
                  <a:pt x="273900" y="129260"/>
                </a:lnTo>
                <a:lnTo>
                  <a:pt x="285737" y="129260"/>
                </a:lnTo>
                <a:lnTo>
                  <a:pt x="290576" y="134112"/>
                </a:lnTo>
                <a:lnTo>
                  <a:pt x="290576" y="53860"/>
                </a:lnTo>
                <a:lnTo>
                  <a:pt x="182956" y="53860"/>
                </a:lnTo>
                <a:lnTo>
                  <a:pt x="182956" y="183121"/>
                </a:lnTo>
                <a:lnTo>
                  <a:pt x="178714" y="204038"/>
                </a:lnTo>
                <a:lnTo>
                  <a:pt x="167157" y="221157"/>
                </a:lnTo>
                <a:lnTo>
                  <a:pt x="150037" y="232727"/>
                </a:lnTo>
                <a:lnTo>
                  <a:pt x="129146" y="236982"/>
                </a:lnTo>
                <a:lnTo>
                  <a:pt x="108254" y="232727"/>
                </a:lnTo>
                <a:lnTo>
                  <a:pt x="91147" y="221157"/>
                </a:lnTo>
                <a:lnTo>
                  <a:pt x="79578" y="204038"/>
                </a:lnTo>
                <a:lnTo>
                  <a:pt x="75336" y="183121"/>
                </a:lnTo>
                <a:lnTo>
                  <a:pt x="79578" y="162217"/>
                </a:lnTo>
                <a:lnTo>
                  <a:pt x="91147" y="145084"/>
                </a:lnTo>
                <a:lnTo>
                  <a:pt x="108254" y="133515"/>
                </a:lnTo>
                <a:lnTo>
                  <a:pt x="129146" y="129260"/>
                </a:lnTo>
                <a:lnTo>
                  <a:pt x="150037" y="133515"/>
                </a:lnTo>
                <a:lnTo>
                  <a:pt x="167157" y="145084"/>
                </a:lnTo>
                <a:lnTo>
                  <a:pt x="178714" y="162217"/>
                </a:lnTo>
                <a:lnTo>
                  <a:pt x="182956" y="183121"/>
                </a:lnTo>
                <a:lnTo>
                  <a:pt x="182956" y="53860"/>
                </a:lnTo>
                <a:lnTo>
                  <a:pt x="53809" y="53860"/>
                </a:lnTo>
                <a:lnTo>
                  <a:pt x="53809" y="312381"/>
                </a:lnTo>
                <a:lnTo>
                  <a:pt x="312102" y="312381"/>
                </a:lnTo>
                <a:lnTo>
                  <a:pt x="312102" y="236982"/>
                </a:lnTo>
                <a:lnTo>
                  <a:pt x="312102" y="129260"/>
                </a:lnTo>
                <a:lnTo>
                  <a:pt x="312102" y="53860"/>
                </a:lnTo>
                <a:close/>
              </a:path>
              <a:path w="366395" h="398780">
                <a:moveTo>
                  <a:pt x="365912" y="21551"/>
                </a:moveTo>
                <a:lnTo>
                  <a:pt x="364223" y="13182"/>
                </a:lnTo>
                <a:lnTo>
                  <a:pt x="359587" y="6337"/>
                </a:lnTo>
                <a:lnTo>
                  <a:pt x="352755" y="1701"/>
                </a:lnTo>
                <a:lnTo>
                  <a:pt x="344398" y="0"/>
                </a:lnTo>
                <a:lnTo>
                  <a:pt x="333629" y="0"/>
                </a:lnTo>
                <a:lnTo>
                  <a:pt x="333629" y="32321"/>
                </a:lnTo>
                <a:lnTo>
                  <a:pt x="333629" y="333921"/>
                </a:lnTo>
                <a:lnTo>
                  <a:pt x="32283" y="333921"/>
                </a:lnTo>
                <a:lnTo>
                  <a:pt x="32283" y="32321"/>
                </a:lnTo>
                <a:lnTo>
                  <a:pt x="333629" y="32321"/>
                </a:lnTo>
                <a:lnTo>
                  <a:pt x="333629" y="0"/>
                </a:lnTo>
                <a:lnTo>
                  <a:pt x="21526" y="0"/>
                </a:lnTo>
                <a:lnTo>
                  <a:pt x="13169" y="1701"/>
                </a:lnTo>
                <a:lnTo>
                  <a:pt x="6324" y="6337"/>
                </a:lnTo>
                <a:lnTo>
                  <a:pt x="1701" y="13182"/>
                </a:lnTo>
                <a:lnTo>
                  <a:pt x="0" y="21551"/>
                </a:lnTo>
                <a:lnTo>
                  <a:pt x="0" y="344690"/>
                </a:lnTo>
                <a:lnTo>
                  <a:pt x="1701" y="353060"/>
                </a:lnTo>
                <a:lnTo>
                  <a:pt x="6324" y="359905"/>
                </a:lnTo>
                <a:lnTo>
                  <a:pt x="13169" y="364540"/>
                </a:lnTo>
                <a:lnTo>
                  <a:pt x="21526" y="366242"/>
                </a:lnTo>
                <a:lnTo>
                  <a:pt x="32283" y="366242"/>
                </a:lnTo>
                <a:lnTo>
                  <a:pt x="32283" y="398551"/>
                </a:lnTo>
                <a:lnTo>
                  <a:pt x="75336" y="398551"/>
                </a:lnTo>
                <a:lnTo>
                  <a:pt x="75336" y="366242"/>
                </a:lnTo>
                <a:lnTo>
                  <a:pt x="290588" y="366242"/>
                </a:lnTo>
                <a:lnTo>
                  <a:pt x="290588" y="398551"/>
                </a:lnTo>
                <a:lnTo>
                  <a:pt x="333629" y="398551"/>
                </a:lnTo>
                <a:lnTo>
                  <a:pt x="333629" y="366242"/>
                </a:lnTo>
                <a:lnTo>
                  <a:pt x="344398" y="366242"/>
                </a:lnTo>
                <a:lnTo>
                  <a:pt x="352755" y="364540"/>
                </a:lnTo>
                <a:lnTo>
                  <a:pt x="359587" y="359905"/>
                </a:lnTo>
                <a:lnTo>
                  <a:pt x="364223" y="353060"/>
                </a:lnTo>
                <a:lnTo>
                  <a:pt x="365912" y="344690"/>
                </a:lnTo>
                <a:lnTo>
                  <a:pt x="365912" y="333921"/>
                </a:lnTo>
                <a:lnTo>
                  <a:pt x="365912" y="32321"/>
                </a:lnTo>
                <a:lnTo>
                  <a:pt x="365912" y="21551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7" name="object 47"/>
          <p:cNvSpPr txBox="1"/>
          <p:nvPr/>
        </p:nvSpPr>
        <p:spPr>
          <a:xfrm>
            <a:off x="8179940" y="1981909"/>
            <a:ext cx="3083560" cy="513715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476250" marR="0" lvl="0" indent="0" algn="l" defTabSz="914400" rtl="0" eaLnBrk="1" fontAlgn="auto" latinLnBrk="0" hangingPunct="1">
              <a:lnSpc>
                <a:spcPct val="100000"/>
              </a:lnSpc>
              <a:spcBef>
                <a:spcPts val="10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3200" b="1" i="0" u="none" strike="noStrike" kern="1200" cap="none" spc="-5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154</a:t>
            </a:r>
            <a:r>
              <a:rPr kumimoji="0" sz="3200" b="1" i="0" u="none" strike="noStrike" kern="1200" cap="none" spc="-3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 </a:t>
            </a:r>
            <a:r>
              <a:rPr kumimoji="0" sz="32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Mio</a:t>
            </a:r>
            <a:r>
              <a:rPr kumimoji="0" sz="3200" b="1" i="0" u="none" strike="noStrike" kern="1200" cap="none" spc="-5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 </a:t>
            </a:r>
            <a:r>
              <a:rPr kumimoji="0" sz="32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EUR</a:t>
            </a:r>
            <a:endParaRPr kumimoji="0" sz="3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rebuchet MS"/>
              <a:ea typeface="+mn-ea"/>
              <a:cs typeface="Trebuchet MS"/>
            </a:endParaRPr>
          </a:p>
        </p:txBody>
      </p:sp>
      <p:sp>
        <p:nvSpPr>
          <p:cNvPr id="48" name="object 48"/>
          <p:cNvSpPr txBox="1"/>
          <p:nvPr/>
        </p:nvSpPr>
        <p:spPr>
          <a:xfrm>
            <a:off x="8270747" y="3204972"/>
            <a:ext cx="3083560" cy="419100"/>
          </a:xfrm>
          <a:prstGeom prst="rect">
            <a:avLst/>
          </a:prstGeom>
          <a:solidFill>
            <a:srgbClr val="922525"/>
          </a:solidFill>
        </p:spPr>
        <p:txBody>
          <a:bodyPr vert="horz" wrap="square" lIns="0" tIns="37465" rIns="0" bIns="0" rtlCol="0">
            <a:spAutoFit/>
          </a:bodyPr>
          <a:lstStyle/>
          <a:p>
            <a:pPr marL="678815" marR="226060" lvl="0" indent="-447040" algn="l" defTabSz="914400" rtl="0" eaLnBrk="1" fontAlgn="auto" latinLnBrk="0" hangingPunct="1">
              <a:lnSpc>
                <a:spcPct val="100000"/>
              </a:lnSpc>
              <a:spcBef>
                <a:spcPts val="29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100" b="0" i="0" u="none" strike="noStrike" kern="1200" cap="none" spc="-5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Finanziamenti assistiti</a:t>
            </a:r>
            <a:r>
              <a:rPr kumimoji="0" sz="1100" b="0" i="0" u="none" strike="noStrike" kern="1200" cap="none" spc="35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 </a:t>
            </a:r>
            <a:r>
              <a:rPr kumimoji="0" sz="1100" b="0" i="0" u="none" strike="noStrike" kern="1200" cap="none" spc="-5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da</a:t>
            </a:r>
            <a:r>
              <a:rPr kumimoji="0" sz="11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 </a:t>
            </a:r>
            <a:r>
              <a:rPr kumimoji="0" sz="1100" b="0" i="0" u="none" strike="noStrike" kern="1200" cap="none" spc="-5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fideiussione</a:t>
            </a:r>
            <a:r>
              <a:rPr kumimoji="0" sz="1100" b="0" i="0" u="none" strike="noStrike" kern="1200" cap="none" spc="25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 </a:t>
            </a:r>
            <a:r>
              <a:rPr kumimoji="0" sz="1100" b="0" i="0" u="none" strike="noStrike" kern="1200" cap="none" spc="-5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del </a:t>
            </a:r>
            <a:r>
              <a:rPr kumimoji="0" sz="1100" b="0" i="0" u="none" strike="noStrike" kern="1200" cap="none" spc="-32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 </a:t>
            </a:r>
            <a:r>
              <a:rPr kumimoji="0" sz="1100" b="0" i="0" u="none" strike="noStrike" kern="1200" cap="none" spc="-5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Fondo</a:t>
            </a:r>
            <a:r>
              <a:rPr kumimoji="0" sz="1100" b="0" i="0" u="none" strike="noStrike" kern="1200" cap="none" spc="-1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 </a:t>
            </a:r>
            <a:r>
              <a:rPr kumimoji="0" sz="1100" b="0" i="0" u="none" strike="noStrike" kern="1200" cap="none" spc="-5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di</a:t>
            </a:r>
            <a:r>
              <a:rPr kumimoji="0" sz="11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 </a:t>
            </a:r>
            <a:r>
              <a:rPr kumimoji="0" sz="1100" b="0" i="0" u="none" strike="noStrike" kern="1200" cap="none" spc="-5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Garanzia</a:t>
            </a:r>
            <a:r>
              <a:rPr kumimoji="0" sz="11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 </a:t>
            </a:r>
            <a:r>
              <a:rPr kumimoji="0" sz="1100" b="0" i="0" u="none" strike="noStrike" kern="1200" cap="none" spc="-5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Liquidità</a:t>
            </a:r>
            <a:endParaRPr kumimoji="0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rebuchet MS"/>
              <a:ea typeface="+mn-ea"/>
              <a:cs typeface="Trebuchet MS"/>
            </a:endParaRPr>
          </a:p>
        </p:txBody>
      </p:sp>
      <p:grpSp>
        <p:nvGrpSpPr>
          <p:cNvPr id="49" name="object 49"/>
          <p:cNvGrpSpPr/>
          <p:nvPr/>
        </p:nvGrpSpPr>
        <p:grpSpPr>
          <a:xfrm>
            <a:off x="8244840" y="1077467"/>
            <a:ext cx="3190240" cy="4996180"/>
            <a:chOff x="8244840" y="1077467"/>
            <a:chExt cx="3190240" cy="4996180"/>
          </a:xfrm>
        </p:grpSpPr>
        <p:pic>
          <p:nvPicPr>
            <p:cNvPr id="50" name="object 50"/>
            <p:cNvPicPr/>
            <p:nvPr/>
          </p:nvPicPr>
          <p:blipFill>
            <a:blip r:embed="rId6" cstate="print"/>
            <a:stretch>
              <a:fillRect/>
            </a:stretch>
          </p:blipFill>
          <p:spPr>
            <a:xfrm>
              <a:off x="9448800" y="1077467"/>
              <a:ext cx="772667" cy="792479"/>
            </a:xfrm>
            <a:prstGeom prst="rect">
              <a:avLst/>
            </a:prstGeom>
          </p:spPr>
        </p:pic>
        <p:sp>
          <p:nvSpPr>
            <p:cNvPr id="51" name="object 51"/>
            <p:cNvSpPr/>
            <p:nvPr/>
          </p:nvSpPr>
          <p:spPr>
            <a:xfrm>
              <a:off x="9489186" y="1117853"/>
              <a:ext cx="637540" cy="657225"/>
            </a:xfrm>
            <a:custGeom>
              <a:avLst/>
              <a:gdLst/>
              <a:ahLst/>
              <a:cxnLst/>
              <a:rect l="l" t="t" r="r" b="b"/>
              <a:pathLst>
                <a:path w="637540" h="657225">
                  <a:moveTo>
                    <a:pt x="318516" y="0"/>
                  </a:moveTo>
                  <a:lnTo>
                    <a:pt x="271448" y="3560"/>
                  </a:lnTo>
                  <a:lnTo>
                    <a:pt x="226525" y="13905"/>
                  </a:lnTo>
                  <a:lnTo>
                    <a:pt x="184239" y="30524"/>
                  </a:lnTo>
                  <a:lnTo>
                    <a:pt x="145082" y="52911"/>
                  </a:lnTo>
                  <a:lnTo>
                    <a:pt x="109547" y="80556"/>
                  </a:lnTo>
                  <a:lnTo>
                    <a:pt x="78127" y="112953"/>
                  </a:lnTo>
                  <a:lnTo>
                    <a:pt x="51315" y="149593"/>
                  </a:lnTo>
                  <a:lnTo>
                    <a:pt x="29604" y="189968"/>
                  </a:lnTo>
                  <a:lnTo>
                    <a:pt x="13485" y="233569"/>
                  </a:lnTo>
                  <a:lnTo>
                    <a:pt x="3453" y="279890"/>
                  </a:lnTo>
                  <a:lnTo>
                    <a:pt x="0" y="328422"/>
                  </a:lnTo>
                  <a:lnTo>
                    <a:pt x="3453" y="376953"/>
                  </a:lnTo>
                  <a:lnTo>
                    <a:pt x="13485" y="423274"/>
                  </a:lnTo>
                  <a:lnTo>
                    <a:pt x="29604" y="466875"/>
                  </a:lnTo>
                  <a:lnTo>
                    <a:pt x="51315" y="507250"/>
                  </a:lnTo>
                  <a:lnTo>
                    <a:pt x="78127" y="543890"/>
                  </a:lnTo>
                  <a:lnTo>
                    <a:pt x="109547" y="576287"/>
                  </a:lnTo>
                  <a:lnTo>
                    <a:pt x="145082" y="603932"/>
                  </a:lnTo>
                  <a:lnTo>
                    <a:pt x="184239" y="626319"/>
                  </a:lnTo>
                  <a:lnTo>
                    <a:pt x="226525" y="642938"/>
                  </a:lnTo>
                  <a:lnTo>
                    <a:pt x="271448" y="653283"/>
                  </a:lnTo>
                  <a:lnTo>
                    <a:pt x="318516" y="656844"/>
                  </a:lnTo>
                  <a:lnTo>
                    <a:pt x="365583" y="653283"/>
                  </a:lnTo>
                  <a:lnTo>
                    <a:pt x="410506" y="642938"/>
                  </a:lnTo>
                  <a:lnTo>
                    <a:pt x="452792" y="626319"/>
                  </a:lnTo>
                  <a:lnTo>
                    <a:pt x="491949" y="603932"/>
                  </a:lnTo>
                  <a:lnTo>
                    <a:pt x="527484" y="576287"/>
                  </a:lnTo>
                  <a:lnTo>
                    <a:pt x="558904" y="543890"/>
                  </a:lnTo>
                  <a:lnTo>
                    <a:pt x="585716" y="507250"/>
                  </a:lnTo>
                  <a:lnTo>
                    <a:pt x="607427" y="466875"/>
                  </a:lnTo>
                  <a:lnTo>
                    <a:pt x="623546" y="423274"/>
                  </a:lnTo>
                  <a:lnTo>
                    <a:pt x="633578" y="376953"/>
                  </a:lnTo>
                  <a:lnTo>
                    <a:pt x="637032" y="328422"/>
                  </a:lnTo>
                  <a:lnTo>
                    <a:pt x="633578" y="279890"/>
                  </a:lnTo>
                  <a:lnTo>
                    <a:pt x="623546" y="233569"/>
                  </a:lnTo>
                  <a:lnTo>
                    <a:pt x="607427" y="189968"/>
                  </a:lnTo>
                  <a:lnTo>
                    <a:pt x="585716" y="149593"/>
                  </a:lnTo>
                  <a:lnTo>
                    <a:pt x="558904" y="112953"/>
                  </a:lnTo>
                  <a:lnTo>
                    <a:pt x="527484" y="80556"/>
                  </a:lnTo>
                  <a:lnTo>
                    <a:pt x="491949" y="52911"/>
                  </a:lnTo>
                  <a:lnTo>
                    <a:pt x="452792" y="30524"/>
                  </a:lnTo>
                  <a:lnTo>
                    <a:pt x="410506" y="13905"/>
                  </a:lnTo>
                  <a:lnTo>
                    <a:pt x="365583" y="3560"/>
                  </a:lnTo>
                  <a:lnTo>
                    <a:pt x="318516" y="0"/>
                  </a:lnTo>
                  <a:close/>
                </a:path>
              </a:pathLst>
            </a:custGeom>
            <a:solidFill>
              <a:srgbClr val="922525"/>
            </a:solid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2" name="object 52"/>
            <p:cNvSpPr/>
            <p:nvPr/>
          </p:nvSpPr>
          <p:spPr>
            <a:xfrm>
              <a:off x="9489186" y="1117853"/>
              <a:ext cx="637540" cy="657225"/>
            </a:xfrm>
            <a:custGeom>
              <a:avLst/>
              <a:gdLst/>
              <a:ahLst/>
              <a:cxnLst/>
              <a:rect l="l" t="t" r="r" b="b"/>
              <a:pathLst>
                <a:path w="637540" h="657225">
                  <a:moveTo>
                    <a:pt x="0" y="328422"/>
                  </a:moveTo>
                  <a:lnTo>
                    <a:pt x="3453" y="279890"/>
                  </a:lnTo>
                  <a:lnTo>
                    <a:pt x="13485" y="233569"/>
                  </a:lnTo>
                  <a:lnTo>
                    <a:pt x="29604" y="189968"/>
                  </a:lnTo>
                  <a:lnTo>
                    <a:pt x="51315" y="149593"/>
                  </a:lnTo>
                  <a:lnTo>
                    <a:pt x="78127" y="112953"/>
                  </a:lnTo>
                  <a:lnTo>
                    <a:pt x="109547" y="80556"/>
                  </a:lnTo>
                  <a:lnTo>
                    <a:pt x="145082" y="52911"/>
                  </a:lnTo>
                  <a:lnTo>
                    <a:pt x="184239" y="30524"/>
                  </a:lnTo>
                  <a:lnTo>
                    <a:pt x="226525" y="13905"/>
                  </a:lnTo>
                  <a:lnTo>
                    <a:pt x="271448" y="3560"/>
                  </a:lnTo>
                  <a:lnTo>
                    <a:pt x="318516" y="0"/>
                  </a:lnTo>
                  <a:lnTo>
                    <a:pt x="365583" y="3560"/>
                  </a:lnTo>
                  <a:lnTo>
                    <a:pt x="410506" y="13905"/>
                  </a:lnTo>
                  <a:lnTo>
                    <a:pt x="452792" y="30524"/>
                  </a:lnTo>
                  <a:lnTo>
                    <a:pt x="491949" y="52911"/>
                  </a:lnTo>
                  <a:lnTo>
                    <a:pt x="527484" y="80556"/>
                  </a:lnTo>
                  <a:lnTo>
                    <a:pt x="558904" y="112953"/>
                  </a:lnTo>
                  <a:lnTo>
                    <a:pt x="585716" y="149593"/>
                  </a:lnTo>
                  <a:lnTo>
                    <a:pt x="607427" y="189968"/>
                  </a:lnTo>
                  <a:lnTo>
                    <a:pt x="623546" y="233569"/>
                  </a:lnTo>
                  <a:lnTo>
                    <a:pt x="633578" y="279890"/>
                  </a:lnTo>
                  <a:lnTo>
                    <a:pt x="637032" y="328422"/>
                  </a:lnTo>
                  <a:lnTo>
                    <a:pt x="633578" y="376953"/>
                  </a:lnTo>
                  <a:lnTo>
                    <a:pt x="623546" y="423274"/>
                  </a:lnTo>
                  <a:lnTo>
                    <a:pt x="607427" y="466875"/>
                  </a:lnTo>
                  <a:lnTo>
                    <a:pt x="585716" y="507250"/>
                  </a:lnTo>
                  <a:lnTo>
                    <a:pt x="558904" y="543890"/>
                  </a:lnTo>
                  <a:lnTo>
                    <a:pt x="527484" y="576287"/>
                  </a:lnTo>
                  <a:lnTo>
                    <a:pt x="491949" y="603932"/>
                  </a:lnTo>
                  <a:lnTo>
                    <a:pt x="452792" y="626319"/>
                  </a:lnTo>
                  <a:lnTo>
                    <a:pt x="410506" y="642938"/>
                  </a:lnTo>
                  <a:lnTo>
                    <a:pt x="365583" y="653283"/>
                  </a:lnTo>
                  <a:lnTo>
                    <a:pt x="318516" y="656844"/>
                  </a:lnTo>
                  <a:lnTo>
                    <a:pt x="271448" y="653283"/>
                  </a:lnTo>
                  <a:lnTo>
                    <a:pt x="226525" y="642938"/>
                  </a:lnTo>
                  <a:lnTo>
                    <a:pt x="184239" y="626319"/>
                  </a:lnTo>
                  <a:lnTo>
                    <a:pt x="145082" y="603932"/>
                  </a:lnTo>
                  <a:lnTo>
                    <a:pt x="109547" y="576287"/>
                  </a:lnTo>
                  <a:lnTo>
                    <a:pt x="78127" y="543890"/>
                  </a:lnTo>
                  <a:lnTo>
                    <a:pt x="51315" y="507250"/>
                  </a:lnTo>
                  <a:lnTo>
                    <a:pt x="29604" y="466875"/>
                  </a:lnTo>
                  <a:lnTo>
                    <a:pt x="13485" y="423274"/>
                  </a:lnTo>
                  <a:lnTo>
                    <a:pt x="3453" y="376953"/>
                  </a:lnTo>
                  <a:lnTo>
                    <a:pt x="0" y="328422"/>
                  </a:lnTo>
                  <a:close/>
                </a:path>
              </a:pathLst>
            </a:custGeom>
            <a:ln w="28575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3" name="object 53"/>
            <p:cNvSpPr/>
            <p:nvPr/>
          </p:nvSpPr>
          <p:spPr>
            <a:xfrm>
              <a:off x="9625037" y="1227001"/>
              <a:ext cx="368935" cy="441325"/>
            </a:xfrm>
            <a:custGeom>
              <a:avLst/>
              <a:gdLst/>
              <a:ahLst/>
              <a:cxnLst/>
              <a:rect l="l" t="t" r="r" b="b"/>
              <a:pathLst>
                <a:path w="368934" h="441325">
                  <a:moveTo>
                    <a:pt x="188818" y="441117"/>
                  </a:moveTo>
                  <a:lnTo>
                    <a:pt x="179953" y="441117"/>
                  </a:lnTo>
                  <a:lnTo>
                    <a:pt x="173043" y="436673"/>
                  </a:lnTo>
                  <a:lnTo>
                    <a:pt x="161506" y="429013"/>
                  </a:lnTo>
                  <a:lnTo>
                    <a:pt x="150221" y="420990"/>
                  </a:lnTo>
                  <a:lnTo>
                    <a:pt x="139196" y="412612"/>
                  </a:lnTo>
                  <a:lnTo>
                    <a:pt x="128440" y="403886"/>
                  </a:lnTo>
                  <a:lnTo>
                    <a:pt x="134449" y="400767"/>
                  </a:lnTo>
                  <a:lnTo>
                    <a:pt x="139259" y="395736"/>
                  </a:lnTo>
                  <a:lnTo>
                    <a:pt x="142103" y="389586"/>
                  </a:lnTo>
                  <a:lnTo>
                    <a:pt x="144918" y="377779"/>
                  </a:lnTo>
                  <a:lnTo>
                    <a:pt x="143057" y="366207"/>
                  </a:lnTo>
                  <a:lnTo>
                    <a:pt x="136996" y="356178"/>
                  </a:lnTo>
                  <a:lnTo>
                    <a:pt x="127214" y="348998"/>
                  </a:lnTo>
                  <a:lnTo>
                    <a:pt x="128457" y="347542"/>
                  </a:lnTo>
                  <a:lnTo>
                    <a:pt x="130753" y="344472"/>
                  </a:lnTo>
                  <a:lnTo>
                    <a:pt x="134037" y="346754"/>
                  </a:lnTo>
                  <a:lnTo>
                    <a:pt x="137739" y="348373"/>
                  </a:lnTo>
                  <a:lnTo>
                    <a:pt x="141642" y="349231"/>
                  </a:lnTo>
                  <a:lnTo>
                    <a:pt x="153801" y="349447"/>
                  </a:lnTo>
                  <a:lnTo>
                    <a:pt x="164719" y="345128"/>
                  </a:lnTo>
                  <a:lnTo>
                    <a:pt x="173224" y="337026"/>
                  </a:lnTo>
                  <a:lnTo>
                    <a:pt x="178140" y="325892"/>
                  </a:lnTo>
                  <a:lnTo>
                    <a:pt x="178353" y="313721"/>
                  </a:lnTo>
                  <a:lnTo>
                    <a:pt x="174036" y="302792"/>
                  </a:lnTo>
                  <a:lnTo>
                    <a:pt x="165940" y="294280"/>
                  </a:lnTo>
                  <a:lnTo>
                    <a:pt x="154816" y="289361"/>
                  </a:lnTo>
                  <a:lnTo>
                    <a:pt x="164382" y="286144"/>
                  </a:lnTo>
                  <a:lnTo>
                    <a:pt x="171991" y="279963"/>
                  </a:lnTo>
                  <a:lnTo>
                    <a:pt x="177016" y="271543"/>
                  </a:lnTo>
                  <a:lnTo>
                    <a:pt x="178830" y="261605"/>
                  </a:lnTo>
                  <a:lnTo>
                    <a:pt x="176628" y="250688"/>
                  </a:lnTo>
                  <a:lnTo>
                    <a:pt x="170623" y="241774"/>
                  </a:lnTo>
                  <a:lnTo>
                    <a:pt x="161717" y="235764"/>
                  </a:lnTo>
                  <a:lnTo>
                    <a:pt x="150810" y="233560"/>
                  </a:lnTo>
                  <a:lnTo>
                    <a:pt x="150006" y="233571"/>
                  </a:lnTo>
                  <a:lnTo>
                    <a:pt x="155558" y="228247"/>
                  </a:lnTo>
                  <a:lnTo>
                    <a:pt x="159696" y="221878"/>
                  </a:lnTo>
                  <a:lnTo>
                    <a:pt x="162282" y="214735"/>
                  </a:lnTo>
                  <a:lnTo>
                    <a:pt x="163180" y="207092"/>
                  </a:lnTo>
                  <a:lnTo>
                    <a:pt x="160588" y="194142"/>
                  </a:lnTo>
                  <a:lnTo>
                    <a:pt x="153481" y="183559"/>
                  </a:lnTo>
                  <a:lnTo>
                    <a:pt x="142927" y="176416"/>
                  </a:lnTo>
                  <a:lnTo>
                    <a:pt x="129993" y="173783"/>
                  </a:lnTo>
                  <a:lnTo>
                    <a:pt x="117054" y="176381"/>
                  </a:lnTo>
                  <a:lnTo>
                    <a:pt x="106481" y="183495"/>
                  </a:lnTo>
                  <a:lnTo>
                    <a:pt x="99343" y="194057"/>
                  </a:lnTo>
                  <a:lnTo>
                    <a:pt x="96713" y="206999"/>
                  </a:lnTo>
                  <a:lnTo>
                    <a:pt x="93309" y="205364"/>
                  </a:lnTo>
                  <a:lnTo>
                    <a:pt x="89808" y="203935"/>
                  </a:lnTo>
                  <a:lnTo>
                    <a:pt x="86231" y="202734"/>
                  </a:lnTo>
                  <a:lnTo>
                    <a:pt x="83819" y="191455"/>
                  </a:lnTo>
                  <a:lnTo>
                    <a:pt x="77522" y="182264"/>
                  </a:lnTo>
                  <a:lnTo>
                    <a:pt x="68263" y="176073"/>
                  </a:lnTo>
                  <a:lnTo>
                    <a:pt x="56962" y="173794"/>
                  </a:lnTo>
                  <a:lnTo>
                    <a:pt x="45550" y="176083"/>
                  </a:lnTo>
                  <a:lnTo>
                    <a:pt x="36223" y="182357"/>
                  </a:lnTo>
                  <a:lnTo>
                    <a:pt x="29927" y="191673"/>
                  </a:lnTo>
                  <a:lnTo>
                    <a:pt x="27607" y="203088"/>
                  </a:lnTo>
                  <a:lnTo>
                    <a:pt x="24160" y="204272"/>
                  </a:lnTo>
                  <a:lnTo>
                    <a:pt x="22488" y="204962"/>
                  </a:lnTo>
                  <a:lnTo>
                    <a:pt x="19013" y="198572"/>
                  </a:lnTo>
                  <a:lnTo>
                    <a:pt x="14300" y="193143"/>
                  </a:lnTo>
                  <a:lnTo>
                    <a:pt x="8536" y="188848"/>
                  </a:lnTo>
                  <a:lnTo>
                    <a:pt x="1910" y="185860"/>
                  </a:lnTo>
                  <a:lnTo>
                    <a:pt x="1077" y="177878"/>
                  </a:lnTo>
                  <a:lnTo>
                    <a:pt x="481" y="169875"/>
                  </a:lnTo>
                  <a:lnTo>
                    <a:pt x="122" y="161856"/>
                  </a:lnTo>
                  <a:lnTo>
                    <a:pt x="0" y="153828"/>
                  </a:lnTo>
                  <a:lnTo>
                    <a:pt x="0" y="101385"/>
                  </a:lnTo>
                  <a:lnTo>
                    <a:pt x="61053" y="73166"/>
                  </a:lnTo>
                  <a:lnTo>
                    <a:pt x="100860" y="58088"/>
                  </a:lnTo>
                  <a:lnTo>
                    <a:pt x="137174" y="35868"/>
                  </a:lnTo>
                  <a:lnTo>
                    <a:pt x="168978" y="7005"/>
                  </a:lnTo>
                  <a:lnTo>
                    <a:pt x="169629" y="6250"/>
                  </a:lnTo>
                  <a:lnTo>
                    <a:pt x="171089" y="4892"/>
                  </a:lnTo>
                  <a:lnTo>
                    <a:pt x="178132" y="924"/>
                  </a:lnTo>
                  <a:lnTo>
                    <a:pt x="185879" y="0"/>
                  </a:lnTo>
                  <a:lnTo>
                    <a:pt x="193407" y="2050"/>
                  </a:lnTo>
                  <a:lnTo>
                    <a:pt x="199793" y="7005"/>
                  </a:lnTo>
                  <a:lnTo>
                    <a:pt x="231597" y="35868"/>
                  </a:lnTo>
                  <a:lnTo>
                    <a:pt x="267911" y="58088"/>
                  </a:lnTo>
                  <a:lnTo>
                    <a:pt x="307718" y="73166"/>
                  </a:lnTo>
                  <a:lnTo>
                    <a:pt x="350001" y="80604"/>
                  </a:lnTo>
                  <a:lnTo>
                    <a:pt x="357459" y="82761"/>
                  </a:lnTo>
                  <a:lnTo>
                    <a:pt x="363429" y="87337"/>
                  </a:lnTo>
                  <a:lnTo>
                    <a:pt x="367377" y="93742"/>
                  </a:lnTo>
                  <a:lnTo>
                    <a:pt x="368771" y="101385"/>
                  </a:lnTo>
                  <a:lnTo>
                    <a:pt x="368771" y="153828"/>
                  </a:lnTo>
                  <a:lnTo>
                    <a:pt x="364465" y="202008"/>
                  </a:lnTo>
                  <a:lnTo>
                    <a:pt x="352062" y="248473"/>
                  </a:lnTo>
                  <a:lnTo>
                    <a:pt x="332338" y="292697"/>
                  </a:lnTo>
                  <a:lnTo>
                    <a:pt x="306067" y="334154"/>
                  </a:lnTo>
                  <a:lnTo>
                    <a:pt x="274025" y="372320"/>
                  </a:lnTo>
                  <a:lnTo>
                    <a:pt x="236987" y="406668"/>
                  </a:lnTo>
                  <a:lnTo>
                    <a:pt x="195728" y="436673"/>
                  </a:lnTo>
                  <a:lnTo>
                    <a:pt x="188818" y="441117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pic>
          <p:nvPicPr>
            <p:cNvPr id="54" name="object 54"/>
            <p:cNvPicPr/>
            <p:nvPr/>
          </p:nvPicPr>
          <p:blipFill>
            <a:blip r:embed="rId11" cstate="print"/>
            <a:stretch>
              <a:fillRect/>
            </a:stretch>
          </p:blipFill>
          <p:spPr>
            <a:xfrm>
              <a:off x="9580451" y="1416635"/>
              <a:ext cx="207805" cy="213462"/>
            </a:xfrm>
            <a:prstGeom prst="rect">
              <a:avLst/>
            </a:prstGeom>
          </p:spPr>
        </p:pic>
        <p:pic>
          <p:nvPicPr>
            <p:cNvPr id="55" name="object 55"/>
            <p:cNvPicPr/>
            <p:nvPr/>
          </p:nvPicPr>
          <p:blipFill>
            <a:blip r:embed="rId12" cstate="print"/>
            <a:stretch>
              <a:fillRect/>
            </a:stretch>
          </p:blipFill>
          <p:spPr>
            <a:xfrm>
              <a:off x="8244840" y="3752088"/>
              <a:ext cx="3189731" cy="2321051"/>
            </a:xfrm>
            <a:prstGeom prst="rect">
              <a:avLst/>
            </a:prstGeom>
          </p:spPr>
        </p:pic>
        <p:sp>
          <p:nvSpPr>
            <p:cNvPr id="56" name="object 56"/>
            <p:cNvSpPr/>
            <p:nvPr/>
          </p:nvSpPr>
          <p:spPr>
            <a:xfrm>
              <a:off x="8270748" y="4197095"/>
              <a:ext cx="3083560" cy="1795780"/>
            </a:xfrm>
            <a:custGeom>
              <a:avLst/>
              <a:gdLst/>
              <a:ahLst/>
              <a:cxnLst/>
              <a:rect l="l" t="t" r="r" b="b"/>
              <a:pathLst>
                <a:path w="3083559" h="1795779">
                  <a:moveTo>
                    <a:pt x="0" y="1795271"/>
                  </a:moveTo>
                  <a:lnTo>
                    <a:pt x="3083052" y="1795271"/>
                  </a:lnTo>
                  <a:lnTo>
                    <a:pt x="3083052" y="0"/>
                  </a:lnTo>
                  <a:lnTo>
                    <a:pt x="0" y="0"/>
                  </a:lnTo>
                  <a:lnTo>
                    <a:pt x="0" y="1795271"/>
                  </a:lnTo>
                  <a:close/>
                </a:path>
              </a:pathLst>
            </a:custGeom>
            <a:solidFill>
              <a:srgbClr val="F1F1F1"/>
            </a:solid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57" name="object 57"/>
          <p:cNvSpPr txBox="1"/>
          <p:nvPr/>
        </p:nvSpPr>
        <p:spPr>
          <a:xfrm>
            <a:off x="8270747" y="3777996"/>
            <a:ext cx="3083560" cy="419100"/>
          </a:xfrm>
          <a:prstGeom prst="rect">
            <a:avLst/>
          </a:prstGeom>
          <a:solidFill>
            <a:srgbClr val="FFFFFF"/>
          </a:solidFill>
        </p:spPr>
        <p:txBody>
          <a:bodyPr vert="horz" wrap="square" lIns="0" tIns="113664" rIns="0" bIns="0" rtlCol="0">
            <a:spAutoFit/>
          </a:bodyPr>
          <a:lstStyle/>
          <a:p>
            <a:pPr marL="168275" marR="0" lvl="0" indent="0" algn="l" defTabSz="914400" rtl="0" eaLnBrk="1" fontAlgn="auto" latinLnBrk="0" hangingPunct="1">
              <a:lnSpc>
                <a:spcPct val="100000"/>
              </a:lnSpc>
              <a:spcBef>
                <a:spcPts val="894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200" b="0" i="0" u="none" strike="noStrike" kern="1200" cap="none" spc="-5" normalizeH="0" baseline="0" noProof="0">
                <a:ln>
                  <a:noFill/>
                </a:ln>
                <a:solidFill>
                  <a:srgbClr val="5B6F7A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Distribuzione</a:t>
            </a:r>
            <a:r>
              <a:rPr kumimoji="0" sz="1200" b="0" i="0" u="none" strike="noStrike" kern="1200" cap="none" spc="-15" normalizeH="0" baseline="0" noProof="0">
                <a:ln>
                  <a:noFill/>
                </a:ln>
                <a:solidFill>
                  <a:srgbClr val="5B6F7A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 </a:t>
            </a:r>
            <a:r>
              <a:rPr kumimoji="0" sz="1200" b="0" i="0" u="none" strike="noStrike" kern="1200" cap="none" spc="-5" normalizeH="0" baseline="0" noProof="0">
                <a:ln>
                  <a:noFill/>
                </a:ln>
                <a:solidFill>
                  <a:srgbClr val="5B6F7A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territoriale</a:t>
            </a:r>
            <a:r>
              <a:rPr kumimoji="0" sz="1200" b="0" i="0" u="none" strike="noStrike" kern="1200" cap="none" spc="-15" normalizeH="0" baseline="0" noProof="0">
                <a:ln>
                  <a:noFill/>
                </a:ln>
                <a:solidFill>
                  <a:srgbClr val="5B6F7A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 </a:t>
            </a:r>
            <a:r>
              <a:rPr kumimoji="0" sz="1200" b="0" i="0" u="none" strike="noStrike" kern="1200" cap="none" spc="-5" normalizeH="0" baseline="0" noProof="0">
                <a:ln>
                  <a:noFill/>
                </a:ln>
                <a:solidFill>
                  <a:srgbClr val="5B6F7A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mutui</a:t>
            </a:r>
            <a:r>
              <a:rPr kumimoji="0" sz="1200" b="0" i="0" u="none" strike="noStrike" kern="1200" cap="none" spc="-50" normalizeH="0" baseline="0" noProof="0">
                <a:ln>
                  <a:noFill/>
                </a:ln>
                <a:solidFill>
                  <a:srgbClr val="5B6F7A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 </a:t>
            </a:r>
            <a:r>
              <a:rPr kumimoji="0" sz="1200" b="0" i="0" u="none" strike="noStrike" kern="1200" cap="none" spc="-5" normalizeH="0" baseline="0" noProof="0">
                <a:ln>
                  <a:noFill/>
                </a:ln>
                <a:solidFill>
                  <a:srgbClr val="5B6F7A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liquidità</a:t>
            </a:r>
            <a:endParaRPr kumimoji="0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rebuchet MS"/>
              <a:ea typeface="+mn-ea"/>
              <a:cs typeface="Trebuchet MS"/>
            </a:endParaRPr>
          </a:p>
        </p:txBody>
      </p:sp>
      <p:sp>
        <p:nvSpPr>
          <p:cNvPr id="59" name="object 59"/>
          <p:cNvSpPr txBox="1">
            <a:spLocks noGrp="1"/>
          </p:cNvSpPr>
          <p:nvPr>
            <p:ph type="sldNum" sz="quarter" idx="7"/>
          </p:nvPr>
        </p:nvSpPr>
        <p:spPr>
          <a:prstGeom prst="rect">
            <a:avLst/>
          </a:prstGeom>
        </p:spPr>
        <p:txBody>
          <a:bodyPr vert="horz" wrap="square" lIns="0" tIns="48895" rIns="0" bIns="0" rtlCol="0">
            <a:spAutoFit/>
          </a:bodyPr>
          <a:lstStyle/>
          <a:p>
            <a:pPr marL="116839" marR="0" lvl="0" indent="0" algn="l" defTabSz="914400" rtl="0" eaLnBrk="1" fontAlgn="auto" latinLnBrk="0" hangingPunct="1">
              <a:lnSpc>
                <a:spcPct val="100000"/>
              </a:lnSpc>
              <a:spcBef>
                <a:spcPts val="38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1D60167-4931-47E6-BA6A-407CBD079E47}" type="slidenum">
              <a:rPr kumimoji="0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rebuchet MS"/>
                <a:ea typeface="+mn-ea"/>
              </a:rPr>
              <a:pPr marL="116839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385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sz="12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rebuchet MS"/>
              <a:ea typeface="+mn-ea"/>
            </a:endParaRPr>
          </a:p>
        </p:txBody>
      </p:sp>
      <p:sp>
        <p:nvSpPr>
          <p:cNvPr id="60" name="object 60"/>
          <p:cNvSpPr txBox="1">
            <a:spLocks noGrp="1"/>
          </p:cNvSpPr>
          <p:nvPr>
            <p:ph type="ftr" sz="quarter" idx="5"/>
          </p:nvPr>
        </p:nvSpPr>
        <p:spPr>
          <a:xfrm>
            <a:off x="4107264" y="6247013"/>
            <a:ext cx="3905503" cy="372538"/>
          </a:xfrm>
          <a:prstGeom prst="rect">
            <a:avLst/>
          </a:prstGeom>
        </p:spPr>
        <p:txBody>
          <a:bodyPr vert="horz" wrap="square" lIns="0" tIns="3175" rIns="0" bIns="0" rtlCol="0">
            <a:spAutoFit/>
          </a:bodyPr>
          <a:lstStyle/>
          <a:p>
            <a:pPr marL="12700" marR="0" lvl="0" indent="0" algn="l" defTabSz="914400" rtl="0" eaLnBrk="1" fontAlgn="auto" latinLnBrk="0" hangingPunct="1">
              <a:lnSpc>
                <a:spcPct val="100000"/>
              </a:lnSpc>
              <a:spcBef>
                <a:spcPts val="2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rebuchet MS"/>
                <a:ea typeface="+mn-ea"/>
              </a:rPr>
              <a:t>Istituto per il Credito Sportivo Banca Sociale per lo Sport e la Cultura</a:t>
            </a:r>
            <a:endParaRPr kumimoji="0" sz="1200" b="0" i="0" u="none" strike="noStrike" kern="1200" cap="none" spc="-15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rebuchet MS"/>
              <a:ea typeface="+mn-ea"/>
            </a:endParaRPr>
          </a:p>
        </p:txBody>
      </p:sp>
      <mc:AlternateContent xmlns:mc="http://schemas.openxmlformats.org/markup-compatibility/2006" xmlns:cx1="http://schemas.microsoft.com/office/drawing/2015/9/8/chartex">
        <mc:Choice Requires="cx1">
          <p:graphicFrame>
            <p:nvGraphicFramePr>
              <p:cNvPr id="64" name="Grafico 63">
                <a:extLst>
                  <a:ext uri="{FF2B5EF4-FFF2-40B4-BE49-F238E27FC236}">
                    <a16:creationId xmlns:a16="http://schemas.microsoft.com/office/drawing/2014/main" id="{9265FA46-6C55-4D6A-8F81-4EAB5D3022EB}"/>
                  </a:ext>
                </a:extLst>
              </p:cNvPr>
              <p:cNvGraphicFramePr/>
              <p:nvPr/>
            </p:nvGraphicFramePr>
            <p:xfrm>
              <a:off x="4486710" y="4163401"/>
              <a:ext cx="3257990" cy="1877567"/>
            </p:xfrm>
            <a:graphic>
              <a:graphicData uri="http://schemas.microsoft.com/office/drawing/2014/chartex">
                <cx:chart xmlns:cx="http://schemas.microsoft.com/office/drawing/2014/chartex" xmlns:r="http://schemas.openxmlformats.org/officeDocument/2006/relationships" r:id="rId13"/>
              </a:graphicData>
            </a:graphic>
          </p:graphicFrame>
        </mc:Choice>
        <mc:Fallback xmlns="">
          <p:pic>
            <p:nvPicPr>
              <p:cNvPr id="64" name="Grafico 63">
                <a:extLst>
                  <a:ext uri="{FF2B5EF4-FFF2-40B4-BE49-F238E27FC236}">
                    <a16:creationId xmlns:a16="http://schemas.microsoft.com/office/drawing/2014/main" id="{9265FA46-6C55-4D6A-8F81-4EAB5D3022EB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14"/>
              <a:stretch>
                <a:fillRect/>
              </a:stretch>
            </p:blipFill>
            <p:spPr>
              <a:xfrm>
                <a:off x="4486710" y="4163401"/>
                <a:ext cx="3257990" cy="1877567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cx4="http://schemas.microsoft.com/office/drawing/2016/5/10/chartex">
        <mc:Choice Requires="cx4">
          <p:graphicFrame>
            <p:nvGraphicFramePr>
              <p:cNvPr id="63" name="Grafico 62">
                <a:extLst>
                  <a:ext uri="{FF2B5EF4-FFF2-40B4-BE49-F238E27FC236}">
                    <a16:creationId xmlns:a16="http://schemas.microsoft.com/office/drawing/2014/main" id="{729EE368-A536-46F9-BC24-502F80B7EC0D}"/>
                  </a:ext>
                </a:extLst>
              </p:cNvPr>
              <p:cNvGraphicFramePr/>
              <p:nvPr/>
            </p:nvGraphicFramePr>
            <p:xfrm>
              <a:off x="8270240" y="4191000"/>
              <a:ext cx="3083560" cy="1809613"/>
            </p:xfrm>
            <a:graphic>
              <a:graphicData uri="http://schemas.microsoft.com/office/drawing/2014/chartex">
                <cx:chart xmlns:cx="http://schemas.microsoft.com/office/drawing/2014/chartex" xmlns:r="http://schemas.openxmlformats.org/officeDocument/2006/relationships" r:id="rId15"/>
              </a:graphicData>
            </a:graphic>
          </p:graphicFrame>
        </mc:Choice>
        <mc:Fallback xmlns="">
          <p:pic>
            <p:nvPicPr>
              <p:cNvPr id="63" name="Grafico 62">
                <a:extLst>
                  <a:ext uri="{FF2B5EF4-FFF2-40B4-BE49-F238E27FC236}">
                    <a16:creationId xmlns:a16="http://schemas.microsoft.com/office/drawing/2014/main" id="{729EE368-A536-46F9-BC24-502F80B7EC0D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16"/>
              <a:stretch>
                <a:fillRect/>
              </a:stretch>
            </p:blipFill>
            <p:spPr>
              <a:xfrm>
                <a:off x="8270240" y="4191000"/>
                <a:ext cx="3083560" cy="1809613"/>
              </a:xfrm>
              <a:prstGeom prst="rect">
                <a:avLst/>
              </a:prstGeom>
            </p:spPr>
          </p:pic>
        </mc:Fallback>
      </mc:AlternateContent>
      <p:graphicFrame>
        <p:nvGraphicFramePr>
          <p:cNvPr id="61" name="Grafico 60">
            <a:extLst>
              <a:ext uri="{FF2B5EF4-FFF2-40B4-BE49-F238E27FC236}">
                <a16:creationId xmlns:a16="http://schemas.microsoft.com/office/drawing/2014/main" id="{C15C0BE8-A851-425B-A239-42CD348DD572}"/>
              </a:ext>
            </a:extLst>
          </p:cNvPr>
          <p:cNvGraphicFramePr>
            <a:graphicFrameLocks/>
          </p:cNvGraphicFramePr>
          <p:nvPr/>
        </p:nvGraphicFramePr>
        <p:xfrm>
          <a:off x="979487" y="4136919"/>
          <a:ext cx="3121025" cy="18034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7"/>
          </a:graphicData>
        </a:graphic>
      </p:graphicFrame>
      <mc:AlternateContent xmlns:mc="http://schemas.openxmlformats.org/markup-compatibility/2006" xmlns:cx1="http://schemas.microsoft.com/office/drawing/2015/9/8/chartex">
        <mc:Choice Requires="cx1">
          <p:graphicFrame>
            <p:nvGraphicFramePr>
              <p:cNvPr id="65" name="Grafico 64">
                <a:extLst>
                  <a:ext uri="{FF2B5EF4-FFF2-40B4-BE49-F238E27FC236}">
                    <a16:creationId xmlns:a16="http://schemas.microsoft.com/office/drawing/2014/main" id="{6168650B-0D27-47F7-A5E2-D302F4079B0C}"/>
                  </a:ext>
                </a:extLst>
              </p:cNvPr>
              <p:cNvGraphicFramePr/>
              <p:nvPr/>
            </p:nvGraphicFramePr>
            <p:xfrm>
              <a:off x="4524953" y="4131082"/>
              <a:ext cx="3224783" cy="1876703"/>
            </p:xfrm>
            <a:graphic>
              <a:graphicData uri="http://schemas.microsoft.com/office/drawing/2014/chartex">
                <cx:chart xmlns:cx="http://schemas.microsoft.com/office/drawing/2014/chartex" xmlns:r="http://schemas.openxmlformats.org/officeDocument/2006/relationships" r:id="rId18"/>
              </a:graphicData>
            </a:graphic>
          </p:graphicFrame>
        </mc:Choice>
        <mc:Fallback xmlns="">
          <p:pic>
            <p:nvPicPr>
              <p:cNvPr id="65" name="Grafico 64">
                <a:extLst>
                  <a:ext uri="{FF2B5EF4-FFF2-40B4-BE49-F238E27FC236}">
                    <a16:creationId xmlns:a16="http://schemas.microsoft.com/office/drawing/2014/main" id="{6168650B-0D27-47F7-A5E2-D302F4079B0C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19"/>
              <a:stretch>
                <a:fillRect/>
              </a:stretch>
            </p:blipFill>
            <p:spPr>
              <a:xfrm>
                <a:off x="4524953" y="4131082"/>
                <a:ext cx="3224783" cy="1876703"/>
              </a:xfrm>
              <a:prstGeom prst="rect">
                <a:avLst/>
              </a:prstGeom>
            </p:spPr>
          </p:pic>
        </mc:Fallback>
      </mc:AlternateContent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object 2"/>
          <p:cNvGrpSpPr/>
          <p:nvPr/>
        </p:nvGrpSpPr>
        <p:grpSpPr>
          <a:xfrm>
            <a:off x="755904" y="214884"/>
            <a:ext cx="10598150" cy="623570"/>
            <a:chOff x="755904" y="214884"/>
            <a:chExt cx="10598150" cy="623570"/>
          </a:xfrm>
        </p:grpSpPr>
        <p:sp>
          <p:nvSpPr>
            <p:cNvPr id="3" name="object 3"/>
            <p:cNvSpPr/>
            <p:nvPr/>
          </p:nvSpPr>
          <p:spPr>
            <a:xfrm>
              <a:off x="838200" y="246888"/>
              <a:ext cx="10515600" cy="486409"/>
            </a:xfrm>
            <a:custGeom>
              <a:avLst/>
              <a:gdLst/>
              <a:ahLst/>
              <a:cxnLst/>
              <a:rect l="l" t="t" r="r" b="b"/>
              <a:pathLst>
                <a:path w="10515600" h="486409">
                  <a:moveTo>
                    <a:pt x="10515600" y="0"/>
                  </a:moveTo>
                  <a:lnTo>
                    <a:pt x="0" y="0"/>
                  </a:lnTo>
                  <a:lnTo>
                    <a:pt x="0" y="486155"/>
                  </a:lnTo>
                  <a:lnTo>
                    <a:pt x="10515600" y="486155"/>
                  </a:lnTo>
                  <a:lnTo>
                    <a:pt x="10515600" y="0"/>
                  </a:lnTo>
                  <a:close/>
                </a:path>
              </a:pathLst>
            </a:custGeom>
            <a:solidFill>
              <a:srgbClr val="5C707B"/>
            </a:solid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pic>
          <p:nvPicPr>
            <p:cNvPr id="4" name="object 4"/>
            <p:cNvPicPr/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755904" y="214884"/>
              <a:ext cx="6155435" cy="623315"/>
            </a:xfrm>
            <a:prstGeom prst="rect">
              <a:avLst/>
            </a:prstGeom>
          </p:spPr>
        </p:pic>
      </p:grpSp>
      <p:sp>
        <p:nvSpPr>
          <p:cNvPr id="5" name="object 5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vert="horz" wrap="square" lIns="0" tIns="50165" rIns="0" bIns="0" rtlCol="0">
            <a:spAutoFit/>
          </a:bodyPr>
          <a:lstStyle/>
          <a:p>
            <a:pPr marL="91440">
              <a:lnSpc>
                <a:spcPct val="100000"/>
              </a:lnSpc>
              <a:spcBef>
                <a:spcPts val="395"/>
              </a:spcBef>
            </a:pPr>
            <a:r>
              <a:rPr spc="-5"/>
              <a:t>Assetto</a:t>
            </a:r>
            <a:r>
              <a:t> </a:t>
            </a:r>
            <a:r>
              <a:rPr spc="-5"/>
              <a:t>proprietario</a:t>
            </a:r>
            <a:r>
              <a:rPr spc="35"/>
              <a:t> </a:t>
            </a:r>
            <a:r>
              <a:rPr spc="-5"/>
              <a:t>e</a:t>
            </a:r>
            <a:r>
              <a:rPr spc="5"/>
              <a:t> </a:t>
            </a:r>
            <a:r>
              <a:rPr spc="-5"/>
              <a:t>ripartizione</a:t>
            </a:r>
            <a:r>
              <a:rPr spc="30"/>
              <a:t> </a:t>
            </a:r>
            <a:r>
              <a:rPr spc="-5"/>
              <a:t>dell’utile</a:t>
            </a:r>
          </a:p>
        </p:txBody>
      </p:sp>
      <p:graphicFrame>
        <p:nvGraphicFramePr>
          <p:cNvPr id="6" name="object 6"/>
          <p:cNvGraphicFramePr>
            <a:graphicFrameLocks noGrp="1"/>
          </p:cNvGraphicFramePr>
          <p:nvPr/>
        </p:nvGraphicFramePr>
        <p:xfrm>
          <a:off x="871113" y="1481089"/>
          <a:ext cx="6070599" cy="2679127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59219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47840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387267"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780"/>
                        </a:spcBef>
                      </a:pPr>
                      <a:r>
                        <a:rPr sz="1200" b="1" spc="-5">
                          <a:solidFill>
                            <a:srgbClr val="FFFFFF"/>
                          </a:solidFill>
                          <a:latin typeface="Trebuchet MS"/>
                          <a:cs typeface="Trebuchet MS"/>
                        </a:rPr>
                        <a:t>Enti</a:t>
                      </a:r>
                      <a:r>
                        <a:rPr sz="1200" b="1" spc="5">
                          <a:solidFill>
                            <a:srgbClr val="FFFFFF"/>
                          </a:solidFill>
                          <a:latin typeface="Trebuchet MS"/>
                          <a:cs typeface="Trebuchet MS"/>
                        </a:rPr>
                        <a:t> </a:t>
                      </a:r>
                      <a:r>
                        <a:rPr sz="1200" b="1" spc="-5">
                          <a:solidFill>
                            <a:srgbClr val="FFFFFF"/>
                          </a:solidFill>
                          <a:latin typeface="Trebuchet MS"/>
                          <a:cs typeface="Trebuchet MS"/>
                        </a:rPr>
                        <a:t>partecipanti</a:t>
                      </a:r>
                      <a:r>
                        <a:rPr sz="1200" b="1" spc="10">
                          <a:solidFill>
                            <a:srgbClr val="FFFFFF"/>
                          </a:solidFill>
                          <a:latin typeface="Trebuchet MS"/>
                          <a:cs typeface="Trebuchet MS"/>
                        </a:rPr>
                        <a:t> </a:t>
                      </a:r>
                      <a:r>
                        <a:rPr sz="1200" b="1" spc="-5">
                          <a:solidFill>
                            <a:srgbClr val="FFFFFF"/>
                          </a:solidFill>
                          <a:latin typeface="Trebuchet MS"/>
                          <a:cs typeface="Trebuchet MS"/>
                        </a:rPr>
                        <a:t>al</a:t>
                      </a:r>
                      <a:r>
                        <a:rPr sz="1200" b="1" spc="-15">
                          <a:solidFill>
                            <a:srgbClr val="FFFFFF"/>
                          </a:solidFill>
                          <a:latin typeface="Trebuchet MS"/>
                          <a:cs typeface="Trebuchet MS"/>
                        </a:rPr>
                        <a:t> Fondo</a:t>
                      </a:r>
                      <a:r>
                        <a:rPr sz="1200" b="1">
                          <a:solidFill>
                            <a:srgbClr val="FFFFFF"/>
                          </a:solidFill>
                          <a:latin typeface="Trebuchet MS"/>
                          <a:cs typeface="Trebuchet MS"/>
                        </a:rPr>
                        <a:t> </a:t>
                      </a:r>
                      <a:r>
                        <a:rPr sz="1200" b="1" spc="-5">
                          <a:solidFill>
                            <a:srgbClr val="FFFFFF"/>
                          </a:solidFill>
                          <a:latin typeface="Trebuchet MS"/>
                          <a:cs typeface="Trebuchet MS"/>
                        </a:rPr>
                        <a:t>di</a:t>
                      </a:r>
                      <a:r>
                        <a:rPr sz="1200" b="1" spc="5">
                          <a:solidFill>
                            <a:srgbClr val="FFFFFF"/>
                          </a:solidFill>
                          <a:latin typeface="Trebuchet MS"/>
                          <a:cs typeface="Trebuchet MS"/>
                        </a:rPr>
                        <a:t> </a:t>
                      </a:r>
                      <a:r>
                        <a:rPr sz="1200" b="1" spc="-5">
                          <a:solidFill>
                            <a:srgbClr val="FFFFFF"/>
                          </a:solidFill>
                          <a:latin typeface="Trebuchet MS"/>
                          <a:cs typeface="Trebuchet MS"/>
                        </a:rPr>
                        <a:t>Dotazione</a:t>
                      </a:r>
                      <a:endParaRPr sz="1200">
                        <a:latin typeface="Trebuchet MS"/>
                        <a:cs typeface="Trebuchet MS"/>
                      </a:endParaRPr>
                    </a:p>
                  </a:txBody>
                  <a:tcPr marL="0" marR="0" marT="99060" marB="0">
                    <a:lnR w="12700">
                      <a:solidFill>
                        <a:srgbClr val="FFFFFF"/>
                      </a:solidFill>
                      <a:prstDash val="solid"/>
                    </a:lnR>
                    <a:lnB w="38100">
                      <a:solidFill>
                        <a:srgbClr val="FFFFFF"/>
                      </a:solidFill>
                      <a:prstDash val="solid"/>
                    </a:lnB>
                    <a:solidFill>
                      <a:srgbClr val="5C707B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780"/>
                        </a:spcBef>
                      </a:pPr>
                      <a:r>
                        <a:rPr sz="1200" b="1">
                          <a:solidFill>
                            <a:srgbClr val="FFFFFF"/>
                          </a:solidFill>
                          <a:latin typeface="Trebuchet MS"/>
                          <a:cs typeface="Trebuchet MS"/>
                        </a:rPr>
                        <a:t>%</a:t>
                      </a:r>
                      <a:r>
                        <a:rPr sz="1200" b="1" spc="-20">
                          <a:solidFill>
                            <a:srgbClr val="FFFFFF"/>
                          </a:solidFill>
                          <a:latin typeface="Trebuchet MS"/>
                          <a:cs typeface="Trebuchet MS"/>
                        </a:rPr>
                        <a:t> </a:t>
                      </a:r>
                      <a:r>
                        <a:rPr sz="1200" b="1" spc="-5">
                          <a:solidFill>
                            <a:srgbClr val="FFFFFF"/>
                          </a:solidFill>
                          <a:latin typeface="Trebuchet MS"/>
                          <a:cs typeface="Trebuchet MS"/>
                        </a:rPr>
                        <a:t>di</a:t>
                      </a:r>
                      <a:r>
                        <a:rPr sz="1200" b="1" spc="-10">
                          <a:solidFill>
                            <a:srgbClr val="FFFFFF"/>
                          </a:solidFill>
                          <a:latin typeface="Trebuchet MS"/>
                          <a:cs typeface="Trebuchet MS"/>
                        </a:rPr>
                        <a:t> </a:t>
                      </a:r>
                      <a:r>
                        <a:rPr sz="1200" b="1" spc="-5">
                          <a:solidFill>
                            <a:srgbClr val="FFFFFF"/>
                          </a:solidFill>
                          <a:latin typeface="Trebuchet MS"/>
                          <a:cs typeface="Trebuchet MS"/>
                        </a:rPr>
                        <a:t>partecipazione</a:t>
                      </a:r>
                      <a:endParaRPr sz="1200">
                        <a:latin typeface="Trebuchet MS"/>
                        <a:cs typeface="Trebuchet MS"/>
                      </a:endParaRPr>
                    </a:p>
                  </a:txBody>
                  <a:tcPr marL="0" marR="0" marT="99060" marB="0">
                    <a:lnL w="12700">
                      <a:solidFill>
                        <a:srgbClr val="FFFFFF"/>
                      </a:solidFill>
                      <a:prstDash val="solid"/>
                    </a:lnL>
                    <a:lnB w="38100">
                      <a:solidFill>
                        <a:srgbClr val="FFFFFF"/>
                      </a:solidFill>
                      <a:prstDash val="solid"/>
                    </a:lnB>
                    <a:solidFill>
                      <a:srgbClr val="5C707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80918"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725"/>
                        </a:spcBef>
                      </a:pPr>
                      <a:r>
                        <a:rPr sz="1200" spc="-5">
                          <a:solidFill>
                            <a:srgbClr val="5B6F7A"/>
                          </a:solidFill>
                          <a:latin typeface="Trebuchet MS"/>
                          <a:cs typeface="Trebuchet MS"/>
                        </a:rPr>
                        <a:t>Ministero</a:t>
                      </a:r>
                      <a:r>
                        <a:rPr sz="1200" spc="-25">
                          <a:solidFill>
                            <a:srgbClr val="5B6F7A"/>
                          </a:solidFill>
                          <a:latin typeface="Trebuchet MS"/>
                          <a:cs typeface="Trebuchet MS"/>
                        </a:rPr>
                        <a:t> </a:t>
                      </a:r>
                      <a:r>
                        <a:rPr sz="1200" spc="-5">
                          <a:solidFill>
                            <a:srgbClr val="5B6F7A"/>
                          </a:solidFill>
                          <a:latin typeface="Trebuchet MS"/>
                          <a:cs typeface="Trebuchet MS"/>
                        </a:rPr>
                        <a:t>dell'Economia</a:t>
                      </a:r>
                      <a:r>
                        <a:rPr sz="1200" spc="-45">
                          <a:solidFill>
                            <a:srgbClr val="5B6F7A"/>
                          </a:solidFill>
                          <a:latin typeface="Trebuchet MS"/>
                          <a:cs typeface="Trebuchet MS"/>
                        </a:rPr>
                        <a:t> </a:t>
                      </a:r>
                      <a:r>
                        <a:rPr sz="1200">
                          <a:solidFill>
                            <a:srgbClr val="5B6F7A"/>
                          </a:solidFill>
                          <a:latin typeface="Trebuchet MS"/>
                          <a:cs typeface="Trebuchet MS"/>
                        </a:rPr>
                        <a:t>e</a:t>
                      </a:r>
                      <a:r>
                        <a:rPr sz="1200" spc="5">
                          <a:solidFill>
                            <a:srgbClr val="5B6F7A"/>
                          </a:solidFill>
                          <a:latin typeface="Trebuchet MS"/>
                          <a:cs typeface="Trebuchet MS"/>
                        </a:rPr>
                        <a:t> </a:t>
                      </a:r>
                      <a:r>
                        <a:rPr sz="1200" spc="-5">
                          <a:solidFill>
                            <a:srgbClr val="5B6F7A"/>
                          </a:solidFill>
                          <a:latin typeface="Trebuchet MS"/>
                          <a:cs typeface="Trebuchet MS"/>
                        </a:rPr>
                        <a:t>delle</a:t>
                      </a:r>
                      <a:r>
                        <a:rPr sz="1200" spc="-25">
                          <a:solidFill>
                            <a:srgbClr val="5B6F7A"/>
                          </a:solidFill>
                          <a:latin typeface="Trebuchet MS"/>
                          <a:cs typeface="Trebuchet MS"/>
                        </a:rPr>
                        <a:t> </a:t>
                      </a:r>
                      <a:r>
                        <a:rPr sz="1200" spc="-5">
                          <a:solidFill>
                            <a:srgbClr val="5B6F7A"/>
                          </a:solidFill>
                          <a:latin typeface="Trebuchet MS"/>
                          <a:cs typeface="Trebuchet MS"/>
                        </a:rPr>
                        <a:t>Finanze</a:t>
                      </a:r>
                      <a:endParaRPr sz="1200">
                        <a:latin typeface="Trebuchet MS"/>
                        <a:cs typeface="Trebuchet MS"/>
                      </a:endParaRPr>
                    </a:p>
                  </a:txBody>
                  <a:tcPr marL="0" marR="0" marT="92075" marB="0">
                    <a:lnL w="12700">
                      <a:solidFill>
                        <a:srgbClr val="5C707B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381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765"/>
                        </a:spcBef>
                      </a:pPr>
                      <a:r>
                        <a:rPr sz="1200" spc="-10">
                          <a:solidFill>
                            <a:srgbClr val="5B6F7A"/>
                          </a:solidFill>
                          <a:latin typeface="Trebuchet MS"/>
                          <a:cs typeface="Trebuchet MS"/>
                        </a:rPr>
                        <a:t>80,4%</a:t>
                      </a:r>
                      <a:endParaRPr sz="1200">
                        <a:latin typeface="Trebuchet MS"/>
                        <a:cs typeface="Trebuchet MS"/>
                      </a:endParaRPr>
                    </a:p>
                  </a:txBody>
                  <a:tcPr marL="0" marR="0" marT="9715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5C707B"/>
                      </a:solidFill>
                      <a:prstDash val="solid"/>
                    </a:lnR>
                    <a:lnT w="381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80917"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730"/>
                        </a:spcBef>
                      </a:pPr>
                      <a:r>
                        <a:rPr sz="1200" spc="-5">
                          <a:solidFill>
                            <a:srgbClr val="5B6F7A"/>
                          </a:solidFill>
                          <a:latin typeface="Trebuchet MS"/>
                          <a:cs typeface="Trebuchet MS"/>
                        </a:rPr>
                        <a:t>Sport</a:t>
                      </a:r>
                      <a:r>
                        <a:rPr sz="1200" spc="-20">
                          <a:solidFill>
                            <a:srgbClr val="5B6F7A"/>
                          </a:solidFill>
                          <a:latin typeface="Trebuchet MS"/>
                          <a:cs typeface="Trebuchet MS"/>
                        </a:rPr>
                        <a:t> </a:t>
                      </a:r>
                      <a:r>
                        <a:rPr sz="1200">
                          <a:solidFill>
                            <a:srgbClr val="5B6F7A"/>
                          </a:solidFill>
                          <a:latin typeface="Trebuchet MS"/>
                          <a:cs typeface="Trebuchet MS"/>
                        </a:rPr>
                        <a:t>e</a:t>
                      </a:r>
                      <a:r>
                        <a:rPr sz="1200" spc="-20">
                          <a:solidFill>
                            <a:srgbClr val="5B6F7A"/>
                          </a:solidFill>
                          <a:latin typeface="Trebuchet MS"/>
                          <a:cs typeface="Trebuchet MS"/>
                        </a:rPr>
                        <a:t> </a:t>
                      </a:r>
                      <a:r>
                        <a:rPr sz="1200" spc="-5">
                          <a:solidFill>
                            <a:srgbClr val="5B6F7A"/>
                          </a:solidFill>
                          <a:latin typeface="Trebuchet MS"/>
                          <a:cs typeface="Trebuchet MS"/>
                        </a:rPr>
                        <a:t>Salute</a:t>
                      </a:r>
                      <a:r>
                        <a:rPr sz="1200" spc="-45">
                          <a:solidFill>
                            <a:srgbClr val="5B6F7A"/>
                          </a:solidFill>
                          <a:latin typeface="Trebuchet MS"/>
                          <a:cs typeface="Trebuchet MS"/>
                        </a:rPr>
                        <a:t> S.P.A.</a:t>
                      </a:r>
                      <a:endParaRPr sz="1200">
                        <a:latin typeface="Trebuchet MS"/>
                        <a:cs typeface="Trebuchet MS"/>
                      </a:endParaRPr>
                    </a:p>
                  </a:txBody>
                  <a:tcPr marL="0" marR="0" marT="92710" marB="0">
                    <a:lnL w="12700">
                      <a:solidFill>
                        <a:srgbClr val="5C707B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770"/>
                        </a:spcBef>
                      </a:pPr>
                      <a:r>
                        <a:rPr sz="1200" spc="-10">
                          <a:solidFill>
                            <a:srgbClr val="5B6F7A"/>
                          </a:solidFill>
                          <a:latin typeface="Trebuchet MS"/>
                          <a:cs typeface="Trebuchet MS"/>
                        </a:rPr>
                        <a:t>6,7%</a:t>
                      </a:r>
                      <a:endParaRPr sz="1200">
                        <a:latin typeface="Trebuchet MS"/>
                        <a:cs typeface="Trebuchet MS"/>
                      </a:endParaRPr>
                    </a:p>
                  </a:txBody>
                  <a:tcPr marL="0" marR="0" marT="9779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5C707B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4568"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730"/>
                        </a:spcBef>
                      </a:pPr>
                      <a:r>
                        <a:rPr sz="1200" spc="-5">
                          <a:solidFill>
                            <a:srgbClr val="5B6F7A"/>
                          </a:solidFill>
                          <a:latin typeface="Trebuchet MS"/>
                          <a:cs typeface="Trebuchet MS"/>
                        </a:rPr>
                        <a:t>Cassa</a:t>
                      </a:r>
                      <a:r>
                        <a:rPr sz="1200" spc="-20">
                          <a:solidFill>
                            <a:srgbClr val="5B6F7A"/>
                          </a:solidFill>
                          <a:latin typeface="Trebuchet MS"/>
                          <a:cs typeface="Trebuchet MS"/>
                        </a:rPr>
                        <a:t> </a:t>
                      </a:r>
                      <a:r>
                        <a:rPr sz="1200" spc="-5">
                          <a:solidFill>
                            <a:srgbClr val="5B6F7A"/>
                          </a:solidFill>
                          <a:latin typeface="Trebuchet MS"/>
                          <a:cs typeface="Trebuchet MS"/>
                        </a:rPr>
                        <a:t>Depositi</a:t>
                      </a:r>
                      <a:r>
                        <a:rPr sz="1200" spc="-25">
                          <a:solidFill>
                            <a:srgbClr val="5B6F7A"/>
                          </a:solidFill>
                          <a:latin typeface="Trebuchet MS"/>
                          <a:cs typeface="Trebuchet MS"/>
                        </a:rPr>
                        <a:t> </a:t>
                      </a:r>
                      <a:r>
                        <a:rPr sz="1200">
                          <a:solidFill>
                            <a:srgbClr val="5B6F7A"/>
                          </a:solidFill>
                          <a:latin typeface="Trebuchet MS"/>
                          <a:cs typeface="Trebuchet MS"/>
                        </a:rPr>
                        <a:t>e</a:t>
                      </a:r>
                      <a:r>
                        <a:rPr sz="1200" spc="-15">
                          <a:solidFill>
                            <a:srgbClr val="5B6F7A"/>
                          </a:solidFill>
                          <a:latin typeface="Trebuchet MS"/>
                          <a:cs typeface="Trebuchet MS"/>
                        </a:rPr>
                        <a:t> </a:t>
                      </a:r>
                      <a:r>
                        <a:rPr sz="1200" spc="-10">
                          <a:solidFill>
                            <a:srgbClr val="5B6F7A"/>
                          </a:solidFill>
                          <a:latin typeface="Trebuchet MS"/>
                          <a:cs typeface="Trebuchet MS"/>
                        </a:rPr>
                        <a:t>Prestiti</a:t>
                      </a:r>
                      <a:r>
                        <a:rPr sz="1200" spc="-25">
                          <a:solidFill>
                            <a:srgbClr val="5B6F7A"/>
                          </a:solidFill>
                          <a:latin typeface="Trebuchet MS"/>
                          <a:cs typeface="Trebuchet MS"/>
                        </a:rPr>
                        <a:t> </a:t>
                      </a:r>
                      <a:r>
                        <a:rPr sz="1200" spc="-50">
                          <a:solidFill>
                            <a:srgbClr val="5B6F7A"/>
                          </a:solidFill>
                          <a:latin typeface="Trebuchet MS"/>
                          <a:cs typeface="Trebuchet MS"/>
                        </a:rPr>
                        <a:t>S.P.A</a:t>
                      </a:r>
                      <a:endParaRPr sz="1200">
                        <a:latin typeface="Trebuchet MS"/>
                        <a:cs typeface="Trebuchet MS"/>
                      </a:endParaRPr>
                    </a:p>
                  </a:txBody>
                  <a:tcPr marL="0" marR="0" marT="92710" marB="0">
                    <a:lnL w="12700">
                      <a:solidFill>
                        <a:srgbClr val="5C707B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770"/>
                        </a:spcBef>
                      </a:pPr>
                      <a:r>
                        <a:rPr sz="1200" spc="-10">
                          <a:solidFill>
                            <a:srgbClr val="5B6F7A"/>
                          </a:solidFill>
                          <a:latin typeface="Trebuchet MS"/>
                          <a:cs typeface="Trebuchet MS"/>
                        </a:rPr>
                        <a:t>2,2%</a:t>
                      </a:r>
                      <a:endParaRPr sz="1200">
                        <a:latin typeface="Trebuchet MS"/>
                        <a:cs typeface="Trebuchet MS"/>
                      </a:endParaRPr>
                    </a:p>
                  </a:txBody>
                  <a:tcPr marL="0" marR="0" marT="9779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5C707B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93617"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780"/>
                        </a:spcBef>
                      </a:pPr>
                      <a:r>
                        <a:rPr sz="1200" b="1" spc="-30">
                          <a:solidFill>
                            <a:srgbClr val="FFFFFF"/>
                          </a:solidFill>
                          <a:latin typeface="Trebuchet MS"/>
                          <a:cs typeface="Trebuchet MS"/>
                        </a:rPr>
                        <a:t>Totale</a:t>
                      </a:r>
                      <a:r>
                        <a:rPr sz="1200" b="1" spc="-35">
                          <a:solidFill>
                            <a:srgbClr val="FFFFFF"/>
                          </a:solidFill>
                          <a:latin typeface="Trebuchet MS"/>
                          <a:cs typeface="Trebuchet MS"/>
                        </a:rPr>
                        <a:t> </a:t>
                      </a:r>
                      <a:r>
                        <a:rPr sz="1200" b="1" spc="-5">
                          <a:solidFill>
                            <a:srgbClr val="FFFFFF"/>
                          </a:solidFill>
                          <a:latin typeface="Trebuchet MS"/>
                          <a:cs typeface="Trebuchet MS"/>
                        </a:rPr>
                        <a:t>partecipanti</a:t>
                      </a:r>
                      <a:r>
                        <a:rPr sz="1200" b="1" spc="-15">
                          <a:solidFill>
                            <a:srgbClr val="FFFFFF"/>
                          </a:solidFill>
                          <a:latin typeface="Trebuchet MS"/>
                          <a:cs typeface="Trebuchet MS"/>
                        </a:rPr>
                        <a:t> </a:t>
                      </a:r>
                      <a:r>
                        <a:rPr sz="1200" b="1" spc="-5">
                          <a:solidFill>
                            <a:srgbClr val="FFFFFF"/>
                          </a:solidFill>
                          <a:latin typeface="Trebuchet MS"/>
                          <a:cs typeface="Trebuchet MS"/>
                        </a:rPr>
                        <a:t>pubblici</a:t>
                      </a:r>
                      <a:endParaRPr sz="1200">
                        <a:latin typeface="Trebuchet MS"/>
                        <a:cs typeface="Trebuchet MS"/>
                      </a:endParaRPr>
                    </a:p>
                  </a:txBody>
                  <a:tcPr marL="0" marR="0" marT="99060" marB="0">
                    <a:lnR w="12700">
                      <a:solidFill>
                        <a:srgbClr val="FFFFFF"/>
                      </a:solidFill>
                      <a:prstDash val="solid"/>
                    </a:lnR>
                    <a:solidFill>
                      <a:srgbClr val="00803A"/>
                    </a:solidFill>
                  </a:tcPr>
                </a:tc>
                <a:tc>
                  <a:txBody>
                    <a:bodyPr/>
                    <a:lstStyle/>
                    <a:p>
                      <a:pPr marL="1270" algn="ctr">
                        <a:lnSpc>
                          <a:spcPct val="100000"/>
                        </a:lnSpc>
                        <a:spcBef>
                          <a:spcPts val="819"/>
                        </a:spcBef>
                      </a:pPr>
                      <a:r>
                        <a:rPr sz="1200" b="1">
                          <a:solidFill>
                            <a:srgbClr val="FFFFFF"/>
                          </a:solidFill>
                          <a:latin typeface="Trebuchet MS"/>
                          <a:cs typeface="Trebuchet MS"/>
                        </a:rPr>
                        <a:t>89,4%</a:t>
                      </a:r>
                      <a:endParaRPr sz="1200">
                        <a:latin typeface="Trebuchet MS"/>
                        <a:cs typeface="Trebuchet MS"/>
                      </a:endParaRPr>
                    </a:p>
                  </a:txBody>
                  <a:tcPr marL="0" marR="0" marT="104139" marB="0">
                    <a:lnL w="12700">
                      <a:solidFill>
                        <a:srgbClr val="FFFFFF"/>
                      </a:solidFill>
                      <a:prstDash val="solid"/>
                    </a:lnL>
                    <a:solidFill>
                      <a:srgbClr val="00803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74567">
                <a:tc>
                  <a:txBody>
                    <a:bodyPr/>
                    <a:lstStyle/>
                    <a:p>
                      <a:pPr marL="635" algn="ctr">
                        <a:lnSpc>
                          <a:spcPct val="100000"/>
                        </a:lnSpc>
                        <a:spcBef>
                          <a:spcPts val="680"/>
                        </a:spcBef>
                      </a:pPr>
                      <a:r>
                        <a:rPr sz="1200" spc="-5">
                          <a:solidFill>
                            <a:srgbClr val="5B6F7A"/>
                          </a:solidFill>
                          <a:latin typeface="Trebuchet MS"/>
                          <a:cs typeface="Trebuchet MS"/>
                        </a:rPr>
                        <a:t>Altre</a:t>
                      </a:r>
                      <a:r>
                        <a:rPr sz="1200" spc="-50">
                          <a:solidFill>
                            <a:srgbClr val="5B6F7A"/>
                          </a:solidFill>
                          <a:latin typeface="Trebuchet MS"/>
                          <a:cs typeface="Trebuchet MS"/>
                        </a:rPr>
                        <a:t> </a:t>
                      </a:r>
                      <a:r>
                        <a:rPr sz="1200">
                          <a:solidFill>
                            <a:srgbClr val="5B6F7A"/>
                          </a:solidFill>
                          <a:latin typeface="Trebuchet MS"/>
                          <a:cs typeface="Trebuchet MS"/>
                        </a:rPr>
                        <a:t>banche</a:t>
                      </a:r>
                      <a:endParaRPr sz="1200">
                        <a:latin typeface="Trebuchet MS"/>
                        <a:cs typeface="Trebuchet MS"/>
                      </a:endParaRPr>
                    </a:p>
                  </a:txBody>
                  <a:tcPr marL="0" marR="0" marT="86360" marB="0">
                    <a:lnL w="12700">
                      <a:solidFill>
                        <a:srgbClr val="5C707B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B w="12700">
                      <a:solidFill>
                        <a:srgbClr val="FFFFFF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5C707B"/>
                      </a:solidFill>
                      <a:prstDash val="solid"/>
                    </a:lnR>
                    <a:lnB w="12700">
                      <a:solidFill>
                        <a:srgbClr val="FFFFFF"/>
                      </a:solidFill>
                      <a:prstDash val="soli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87273"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730"/>
                        </a:spcBef>
                      </a:pPr>
                      <a:r>
                        <a:rPr sz="1200" b="1" spc="-30">
                          <a:solidFill>
                            <a:srgbClr val="FFFFFF"/>
                          </a:solidFill>
                          <a:latin typeface="Trebuchet MS"/>
                          <a:cs typeface="Trebuchet MS"/>
                        </a:rPr>
                        <a:t>Totale </a:t>
                      </a:r>
                      <a:r>
                        <a:rPr sz="1200" b="1" spc="-5">
                          <a:solidFill>
                            <a:srgbClr val="FFFFFF"/>
                          </a:solidFill>
                          <a:latin typeface="Trebuchet MS"/>
                          <a:cs typeface="Trebuchet MS"/>
                        </a:rPr>
                        <a:t>partecipanti privati</a:t>
                      </a:r>
                      <a:endParaRPr sz="1200">
                        <a:latin typeface="Trebuchet MS"/>
                        <a:cs typeface="Trebuchet MS"/>
                      </a:endParaRPr>
                    </a:p>
                  </a:txBody>
                  <a:tcPr marL="0" marR="0" marT="92710" marB="0"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solidFill>
                      <a:srgbClr val="922525"/>
                    </a:solidFill>
                  </a:tcPr>
                </a:tc>
                <a:tc>
                  <a:txBody>
                    <a:bodyPr/>
                    <a:lstStyle/>
                    <a:p>
                      <a:pPr marL="1270" algn="ctr">
                        <a:lnSpc>
                          <a:spcPct val="100000"/>
                        </a:lnSpc>
                        <a:spcBef>
                          <a:spcPts val="770"/>
                        </a:spcBef>
                      </a:pPr>
                      <a:r>
                        <a:rPr sz="1200" b="1">
                          <a:solidFill>
                            <a:srgbClr val="FFFFFF"/>
                          </a:solidFill>
                          <a:latin typeface="Trebuchet MS"/>
                          <a:cs typeface="Trebuchet MS"/>
                        </a:rPr>
                        <a:t>10,6%</a:t>
                      </a:r>
                      <a:endParaRPr sz="1200">
                        <a:latin typeface="Trebuchet MS"/>
                        <a:cs typeface="Trebuchet MS"/>
                      </a:endParaRPr>
                    </a:p>
                  </a:txBody>
                  <a:tcPr marL="0" marR="0" marT="97790" marB="0">
                    <a:lnL w="12700">
                      <a:solidFill>
                        <a:srgbClr val="FFFFFF"/>
                      </a:solidFill>
                      <a:prstDash val="solid"/>
                    </a:lnL>
                    <a:lnT w="12700">
                      <a:solidFill>
                        <a:srgbClr val="FFFFFF"/>
                      </a:solidFill>
                      <a:prstDash val="solid"/>
                    </a:lnT>
                    <a:solidFill>
                      <a:srgbClr val="92252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</a:tbl>
          </a:graphicData>
        </a:graphic>
      </p:graphicFrame>
      <p:grpSp>
        <p:nvGrpSpPr>
          <p:cNvPr id="7" name="object 7"/>
          <p:cNvGrpSpPr/>
          <p:nvPr/>
        </p:nvGrpSpPr>
        <p:grpSpPr>
          <a:xfrm>
            <a:off x="7098792" y="885444"/>
            <a:ext cx="4338955" cy="2575560"/>
            <a:chOff x="7098792" y="885444"/>
            <a:chExt cx="4338955" cy="2575560"/>
          </a:xfrm>
        </p:grpSpPr>
        <p:pic>
          <p:nvPicPr>
            <p:cNvPr id="8" name="object 8"/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7098792" y="885444"/>
              <a:ext cx="4338826" cy="2564891"/>
            </a:xfrm>
            <a:prstGeom prst="rect">
              <a:avLst/>
            </a:prstGeom>
          </p:spPr>
        </p:pic>
        <p:pic>
          <p:nvPicPr>
            <p:cNvPr id="9" name="object 9"/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7141464" y="931164"/>
              <a:ext cx="4226051" cy="2529839"/>
            </a:xfrm>
            <a:prstGeom prst="rect">
              <a:avLst/>
            </a:prstGeom>
          </p:spPr>
        </p:pic>
        <p:sp>
          <p:nvSpPr>
            <p:cNvPr id="10" name="object 10"/>
            <p:cNvSpPr/>
            <p:nvPr/>
          </p:nvSpPr>
          <p:spPr>
            <a:xfrm>
              <a:off x="7127748" y="914396"/>
              <a:ext cx="4226560" cy="2452370"/>
            </a:xfrm>
            <a:custGeom>
              <a:avLst/>
              <a:gdLst/>
              <a:ahLst/>
              <a:cxnLst/>
              <a:rect l="l" t="t" r="r" b="b"/>
              <a:pathLst>
                <a:path w="4226559" h="2452370">
                  <a:moveTo>
                    <a:pt x="4112933" y="0"/>
                  </a:moveTo>
                  <a:lnTo>
                    <a:pt x="113118" y="0"/>
                  </a:lnTo>
                  <a:lnTo>
                    <a:pt x="69088" y="8889"/>
                  </a:lnTo>
                  <a:lnTo>
                    <a:pt x="33132" y="33132"/>
                  </a:lnTo>
                  <a:lnTo>
                    <a:pt x="8889" y="69088"/>
                  </a:lnTo>
                  <a:lnTo>
                    <a:pt x="0" y="113118"/>
                  </a:lnTo>
                  <a:lnTo>
                    <a:pt x="0" y="2339009"/>
                  </a:lnTo>
                  <a:lnTo>
                    <a:pt x="8889" y="2383037"/>
                  </a:lnTo>
                  <a:lnTo>
                    <a:pt x="33132" y="2418989"/>
                  </a:lnTo>
                  <a:lnTo>
                    <a:pt x="69088" y="2443228"/>
                  </a:lnTo>
                  <a:lnTo>
                    <a:pt x="113118" y="2452116"/>
                  </a:lnTo>
                  <a:lnTo>
                    <a:pt x="4112933" y="2452116"/>
                  </a:lnTo>
                  <a:lnTo>
                    <a:pt x="4156963" y="2443228"/>
                  </a:lnTo>
                  <a:lnTo>
                    <a:pt x="4192919" y="2418989"/>
                  </a:lnTo>
                  <a:lnTo>
                    <a:pt x="4217162" y="2383037"/>
                  </a:lnTo>
                  <a:lnTo>
                    <a:pt x="4226052" y="2339009"/>
                  </a:lnTo>
                  <a:lnTo>
                    <a:pt x="4226052" y="113118"/>
                  </a:lnTo>
                  <a:lnTo>
                    <a:pt x="4217162" y="69088"/>
                  </a:lnTo>
                  <a:lnTo>
                    <a:pt x="4192919" y="33132"/>
                  </a:lnTo>
                  <a:lnTo>
                    <a:pt x="4156963" y="8889"/>
                  </a:lnTo>
                  <a:lnTo>
                    <a:pt x="4112933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1" name="object 11"/>
            <p:cNvSpPr/>
            <p:nvPr/>
          </p:nvSpPr>
          <p:spPr>
            <a:xfrm>
              <a:off x="7127748" y="914396"/>
              <a:ext cx="4226560" cy="2452370"/>
            </a:xfrm>
            <a:custGeom>
              <a:avLst/>
              <a:gdLst/>
              <a:ahLst/>
              <a:cxnLst/>
              <a:rect l="l" t="t" r="r" b="b"/>
              <a:pathLst>
                <a:path w="4226559" h="2452370">
                  <a:moveTo>
                    <a:pt x="0" y="113118"/>
                  </a:moveTo>
                  <a:lnTo>
                    <a:pt x="8889" y="69088"/>
                  </a:lnTo>
                  <a:lnTo>
                    <a:pt x="33132" y="33132"/>
                  </a:lnTo>
                  <a:lnTo>
                    <a:pt x="69088" y="8889"/>
                  </a:lnTo>
                  <a:lnTo>
                    <a:pt x="113118" y="0"/>
                  </a:lnTo>
                  <a:lnTo>
                    <a:pt x="4112933" y="0"/>
                  </a:lnTo>
                  <a:lnTo>
                    <a:pt x="4156963" y="8889"/>
                  </a:lnTo>
                  <a:lnTo>
                    <a:pt x="4192919" y="33132"/>
                  </a:lnTo>
                  <a:lnTo>
                    <a:pt x="4217162" y="69088"/>
                  </a:lnTo>
                  <a:lnTo>
                    <a:pt x="4226052" y="113118"/>
                  </a:lnTo>
                  <a:lnTo>
                    <a:pt x="4226052" y="2339009"/>
                  </a:lnTo>
                  <a:lnTo>
                    <a:pt x="4217162" y="2383037"/>
                  </a:lnTo>
                  <a:lnTo>
                    <a:pt x="4192919" y="2418989"/>
                  </a:lnTo>
                  <a:lnTo>
                    <a:pt x="4156963" y="2443228"/>
                  </a:lnTo>
                  <a:lnTo>
                    <a:pt x="4112933" y="2452116"/>
                  </a:lnTo>
                  <a:lnTo>
                    <a:pt x="113118" y="2452116"/>
                  </a:lnTo>
                  <a:lnTo>
                    <a:pt x="69088" y="2443228"/>
                  </a:lnTo>
                  <a:lnTo>
                    <a:pt x="33132" y="2418989"/>
                  </a:lnTo>
                  <a:lnTo>
                    <a:pt x="8889" y="2383037"/>
                  </a:lnTo>
                  <a:lnTo>
                    <a:pt x="0" y="2339009"/>
                  </a:lnTo>
                  <a:lnTo>
                    <a:pt x="0" y="113118"/>
                  </a:lnTo>
                  <a:close/>
                </a:path>
              </a:pathLst>
            </a:custGeom>
            <a:ln w="6350">
              <a:solidFill>
                <a:srgbClr val="5E717A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12" name="object 12"/>
          <p:cNvSpPr txBox="1"/>
          <p:nvPr/>
        </p:nvSpPr>
        <p:spPr>
          <a:xfrm>
            <a:off x="7240332" y="958786"/>
            <a:ext cx="3924935" cy="233934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84785" marR="423545" lvl="0" indent="-172720" algn="l" defTabSz="914400" rtl="0" eaLnBrk="1" fontAlgn="auto" latinLnBrk="0" hangingPunct="1">
              <a:lnSpc>
                <a:spcPct val="114999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 typeface="Arial MT"/>
              <a:buChar char="•"/>
              <a:tabLst>
                <a:tab pos="185420" algn="l"/>
              </a:tabLst>
              <a:defRPr/>
            </a:pPr>
            <a:r>
              <a:rPr kumimoji="0" sz="1200" b="1" i="0" u="none" strike="noStrike" kern="1200" cap="none" spc="0" normalizeH="0" baseline="0" noProof="0">
                <a:ln>
                  <a:noFill/>
                </a:ln>
                <a:solidFill>
                  <a:srgbClr val="5B6F7A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Il 50% </a:t>
            </a:r>
            <a:r>
              <a:rPr kumimoji="0" sz="1200" b="1" i="0" u="none" strike="noStrike" kern="1200" cap="none" spc="-5" normalizeH="0" baseline="0" noProof="0">
                <a:ln>
                  <a:noFill/>
                </a:ln>
                <a:solidFill>
                  <a:srgbClr val="5B6F7A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dell’utile di esercizio </a:t>
            </a:r>
            <a:r>
              <a:rPr kumimoji="0" sz="1200" b="1" i="0" u="none" strike="noStrike" kern="1200" cap="none" spc="0" normalizeH="0" baseline="0" noProof="0">
                <a:ln>
                  <a:noFill/>
                </a:ln>
                <a:solidFill>
                  <a:srgbClr val="5B6F7A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è </a:t>
            </a:r>
            <a:r>
              <a:rPr kumimoji="0" sz="1200" b="1" i="0" u="none" strike="noStrike" kern="1200" cap="none" spc="-5" normalizeH="0" baseline="0" noProof="0">
                <a:ln>
                  <a:noFill/>
                </a:ln>
                <a:solidFill>
                  <a:srgbClr val="5B6F7A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statutariamente </a:t>
            </a:r>
            <a:r>
              <a:rPr kumimoji="0" sz="1200" b="1" i="0" u="none" strike="noStrike" kern="1200" cap="none" spc="-350" normalizeH="0" baseline="0" noProof="0">
                <a:ln>
                  <a:noFill/>
                </a:ln>
                <a:solidFill>
                  <a:srgbClr val="5B6F7A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 </a:t>
            </a:r>
            <a:r>
              <a:rPr kumimoji="0" sz="1200" b="1" i="0" u="none" strike="noStrike" kern="1200" cap="none" spc="-5" normalizeH="0" baseline="0" noProof="0">
                <a:ln>
                  <a:noFill/>
                </a:ln>
                <a:solidFill>
                  <a:srgbClr val="5B6F7A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destinato </a:t>
            </a:r>
            <a:r>
              <a:rPr kumimoji="0" sz="1200" b="1" i="0" u="none" strike="noStrike" kern="1200" cap="none" spc="0" normalizeH="0" baseline="0" noProof="0">
                <a:ln>
                  <a:noFill/>
                </a:ln>
                <a:solidFill>
                  <a:srgbClr val="5B6F7A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a</a:t>
            </a:r>
            <a:r>
              <a:rPr kumimoji="0" sz="1200" b="1" i="0" u="none" strike="noStrike" kern="1200" cap="none" spc="-5" normalizeH="0" baseline="0" noProof="0">
                <a:ln>
                  <a:noFill/>
                </a:ln>
                <a:solidFill>
                  <a:srgbClr val="5B6F7A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 riserva ordinaria;</a:t>
            </a:r>
            <a:endParaRPr kumimoji="0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rebuchet MS"/>
              <a:ea typeface="+mn-ea"/>
              <a:cs typeface="Trebuchet MS"/>
            </a:endParaRPr>
          </a:p>
          <a:p>
            <a:pPr marL="184785" marR="575310" lvl="0" indent="-172720" algn="l" defTabSz="914400" rtl="0" eaLnBrk="1" fontAlgn="auto" latinLnBrk="0" hangingPunct="1">
              <a:lnSpc>
                <a:spcPct val="11499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 MT"/>
              <a:buChar char="•"/>
              <a:tabLst>
                <a:tab pos="185420" algn="l"/>
              </a:tabLst>
              <a:defRPr/>
            </a:pPr>
            <a:r>
              <a:rPr kumimoji="0" sz="1200" b="0" i="0" u="none" strike="noStrike" kern="1200" cap="none" spc="0" normalizeH="0" baseline="0" noProof="0">
                <a:ln>
                  <a:noFill/>
                </a:ln>
                <a:solidFill>
                  <a:srgbClr val="5B6F7A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Il</a:t>
            </a:r>
            <a:r>
              <a:rPr kumimoji="0" sz="1200" b="0" i="0" u="none" strike="noStrike" kern="1200" cap="none" spc="-20" normalizeH="0" baseline="0" noProof="0">
                <a:ln>
                  <a:noFill/>
                </a:ln>
                <a:solidFill>
                  <a:srgbClr val="5B6F7A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 </a:t>
            </a:r>
            <a:r>
              <a:rPr kumimoji="0" sz="1200" b="0" i="0" u="none" strike="noStrike" kern="1200" cap="none" spc="-5" normalizeH="0" baseline="0" noProof="0">
                <a:ln>
                  <a:noFill/>
                </a:ln>
                <a:solidFill>
                  <a:srgbClr val="5B6F7A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5%</a:t>
            </a:r>
            <a:r>
              <a:rPr kumimoji="0" sz="1200" b="0" i="0" u="none" strike="noStrike" kern="1200" cap="none" spc="5" normalizeH="0" baseline="0" noProof="0">
                <a:ln>
                  <a:noFill/>
                </a:ln>
                <a:solidFill>
                  <a:srgbClr val="5B6F7A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 </a:t>
            </a:r>
            <a:r>
              <a:rPr kumimoji="0" sz="1200" b="0" i="0" u="none" strike="noStrike" kern="1200" cap="none" spc="-5" normalizeH="0" baseline="0" noProof="0">
                <a:ln>
                  <a:noFill/>
                </a:ln>
                <a:solidFill>
                  <a:srgbClr val="5B6F7A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dell’utile</a:t>
            </a:r>
            <a:r>
              <a:rPr kumimoji="0" sz="1200" b="0" i="0" u="none" strike="noStrike" kern="1200" cap="none" spc="-45" normalizeH="0" baseline="0" noProof="0">
                <a:ln>
                  <a:noFill/>
                </a:ln>
                <a:solidFill>
                  <a:srgbClr val="5B6F7A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 </a:t>
            </a:r>
            <a:r>
              <a:rPr kumimoji="0" sz="1200" b="0" i="0" u="none" strike="noStrike" kern="1200" cap="none" spc="0" normalizeH="0" baseline="0" noProof="0">
                <a:ln>
                  <a:noFill/>
                </a:ln>
                <a:solidFill>
                  <a:srgbClr val="5B6F7A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di</a:t>
            </a:r>
            <a:r>
              <a:rPr kumimoji="0" sz="1200" b="0" i="0" u="none" strike="noStrike" kern="1200" cap="none" spc="-25" normalizeH="0" baseline="0" noProof="0">
                <a:ln>
                  <a:noFill/>
                </a:ln>
                <a:solidFill>
                  <a:srgbClr val="5B6F7A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 </a:t>
            </a:r>
            <a:r>
              <a:rPr kumimoji="0" sz="1200" b="0" i="0" u="none" strike="noStrike" kern="1200" cap="none" spc="0" normalizeH="0" baseline="0" noProof="0">
                <a:ln>
                  <a:noFill/>
                </a:ln>
                <a:solidFill>
                  <a:srgbClr val="5B6F7A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esercizio</a:t>
            </a:r>
            <a:r>
              <a:rPr kumimoji="0" sz="1200" b="0" i="0" u="none" strike="noStrike" kern="1200" cap="none" spc="-35" normalizeH="0" baseline="0" noProof="0">
                <a:ln>
                  <a:noFill/>
                </a:ln>
                <a:solidFill>
                  <a:srgbClr val="5B6F7A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 </a:t>
            </a:r>
            <a:r>
              <a:rPr kumimoji="0" sz="1200" b="0" i="0" u="none" strike="noStrike" kern="1200" cap="none" spc="0" normalizeH="0" baseline="0" noProof="0">
                <a:ln>
                  <a:noFill/>
                </a:ln>
                <a:solidFill>
                  <a:srgbClr val="5B6F7A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è</a:t>
            </a:r>
            <a:r>
              <a:rPr kumimoji="0" sz="1200" b="0" i="0" u="none" strike="noStrike" kern="1200" cap="none" spc="-5" normalizeH="0" baseline="0" noProof="0">
                <a:ln>
                  <a:noFill/>
                </a:ln>
                <a:solidFill>
                  <a:srgbClr val="5B6F7A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 alternativamente </a:t>
            </a:r>
            <a:r>
              <a:rPr kumimoji="0" sz="1200" b="0" i="0" u="none" strike="noStrike" kern="1200" cap="none" spc="-345" normalizeH="0" baseline="0" noProof="0">
                <a:ln>
                  <a:noFill/>
                </a:ln>
                <a:solidFill>
                  <a:srgbClr val="5B6F7A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 </a:t>
            </a:r>
            <a:r>
              <a:rPr kumimoji="0" sz="1200" b="0" i="0" u="none" strike="noStrike" kern="1200" cap="none" spc="-5" normalizeH="0" baseline="0" noProof="0">
                <a:ln>
                  <a:noFill/>
                </a:ln>
                <a:solidFill>
                  <a:srgbClr val="5B6F7A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destinato</a:t>
            </a:r>
            <a:r>
              <a:rPr kumimoji="0" sz="1200" b="0" i="0" u="none" strike="noStrike" kern="1200" cap="none" spc="-40" normalizeH="0" baseline="0" noProof="0">
                <a:ln>
                  <a:noFill/>
                </a:ln>
                <a:solidFill>
                  <a:srgbClr val="5B6F7A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 </a:t>
            </a:r>
            <a:r>
              <a:rPr kumimoji="0" sz="1200" b="0" i="0" u="none" strike="noStrike" kern="1200" cap="none" spc="0" normalizeH="0" baseline="0" noProof="0">
                <a:ln>
                  <a:noFill/>
                </a:ln>
                <a:solidFill>
                  <a:srgbClr val="5B6F7A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dal</a:t>
            </a:r>
            <a:r>
              <a:rPr kumimoji="0" sz="1200" b="0" i="0" u="none" strike="noStrike" kern="1200" cap="none" spc="-20" normalizeH="0" baseline="0" noProof="0">
                <a:ln>
                  <a:noFill/>
                </a:ln>
                <a:solidFill>
                  <a:srgbClr val="5B6F7A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 </a:t>
            </a:r>
            <a:r>
              <a:rPr kumimoji="0" sz="1200" b="0" i="0" u="none" strike="noStrike" kern="1200" cap="none" spc="-5" normalizeH="0" baseline="0" noProof="0">
                <a:ln>
                  <a:noFill/>
                </a:ln>
                <a:solidFill>
                  <a:srgbClr val="5B6F7A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CDA:</a:t>
            </a:r>
            <a:endParaRPr kumimoji="0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rebuchet MS"/>
              <a:ea typeface="+mn-ea"/>
              <a:cs typeface="Trebuchet MS"/>
            </a:endParaRPr>
          </a:p>
          <a:p>
            <a:pPr marL="370840" marR="0" lvl="1" indent="-169545" algn="l" defTabSz="914400" rtl="0" eaLnBrk="1" fontAlgn="auto" latinLnBrk="0" hangingPunct="1">
              <a:lnSpc>
                <a:spcPct val="100000"/>
              </a:lnSpc>
              <a:spcBef>
                <a:spcPts val="215"/>
              </a:spcBef>
              <a:spcAft>
                <a:spcPts val="0"/>
              </a:spcAft>
              <a:buClrTx/>
              <a:buSzTx/>
              <a:buFont typeface="Wingdings"/>
              <a:buChar char=""/>
              <a:tabLst>
                <a:tab pos="370840" algn="l"/>
              </a:tabLst>
              <a:defRPr/>
            </a:pPr>
            <a:r>
              <a:rPr kumimoji="0" sz="1200" b="0" i="0" u="none" strike="noStrike" kern="1200" cap="none" spc="0" normalizeH="0" baseline="0" noProof="0">
                <a:ln>
                  <a:noFill/>
                </a:ln>
                <a:solidFill>
                  <a:srgbClr val="5B6F7A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Ad</a:t>
            </a:r>
            <a:r>
              <a:rPr kumimoji="0" sz="1200" b="0" i="0" u="none" strike="noStrike" kern="1200" cap="none" spc="-15" normalizeH="0" baseline="0" noProof="0">
                <a:ln>
                  <a:noFill/>
                </a:ln>
                <a:solidFill>
                  <a:srgbClr val="5B6F7A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 </a:t>
            </a:r>
            <a:r>
              <a:rPr kumimoji="0" sz="1200" b="0" i="0" u="none" strike="noStrike" kern="1200" cap="none" spc="0" normalizeH="0" baseline="0" noProof="0">
                <a:ln>
                  <a:noFill/>
                </a:ln>
                <a:solidFill>
                  <a:srgbClr val="5B6F7A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un</a:t>
            </a:r>
            <a:r>
              <a:rPr kumimoji="0" sz="1200" b="0" i="0" u="none" strike="noStrike" kern="1200" cap="none" spc="-35" normalizeH="0" baseline="0" noProof="0">
                <a:ln>
                  <a:noFill/>
                </a:ln>
                <a:solidFill>
                  <a:srgbClr val="5B6F7A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 </a:t>
            </a:r>
            <a:r>
              <a:rPr kumimoji="0" sz="1200" b="0" i="0" u="none" strike="noStrike" kern="1200" cap="none" spc="0" normalizeH="0" baseline="0" noProof="0">
                <a:ln>
                  <a:noFill/>
                </a:ln>
                <a:solidFill>
                  <a:srgbClr val="5B6F7A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fondo</a:t>
            </a:r>
            <a:r>
              <a:rPr kumimoji="0" sz="1200" b="0" i="0" u="none" strike="noStrike" kern="1200" cap="none" spc="-25" normalizeH="0" baseline="0" noProof="0">
                <a:ln>
                  <a:noFill/>
                </a:ln>
                <a:solidFill>
                  <a:srgbClr val="5B6F7A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 </a:t>
            </a:r>
            <a:r>
              <a:rPr kumimoji="0" sz="1200" b="0" i="0" u="none" strike="noStrike" kern="1200" cap="none" spc="0" normalizeH="0" baseline="0" noProof="0">
                <a:ln>
                  <a:noFill/>
                </a:ln>
                <a:solidFill>
                  <a:srgbClr val="5B6F7A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di</a:t>
            </a:r>
            <a:r>
              <a:rPr kumimoji="0" sz="1200" b="0" i="0" u="none" strike="noStrike" kern="1200" cap="none" spc="-35" normalizeH="0" baseline="0" noProof="0">
                <a:ln>
                  <a:noFill/>
                </a:ln>
                <a:solidFill>
                  <a:srgbClr val="5B6F7A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 </a:t>
            </a:r>
            <a:r>
              <a:rPr kumimoji="0" sz="1200" b="0" i="0" u="none" strike="noStrike" kern="1200" cap="none" spc="0" normalizeH="0" baseline="0" noProof="0">
                <a:ln>
                  <a:noFill/>
                </a:ln>
                <a:solidFill>
                  <a:srgbClr val="5B6F7A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riserva</a:t>
            </a:r>
            <a:r>
              <a:rPr kumimoji="0" sz="1200" b="0" i="0" u="none" strike="noStrike" kern="1200" cap="none" spc="-45" normalizeH="0" baseline="0" noProof="0">
                <a:ln>
                  <a:noFill/>
                </a:ln>
                <a:solidFill>
                  <a:srgbClr val="5B6F7A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 </a:t>
            </a:r>
            <a:r>
              <a:rPr kumimoji="0" sz="1200" b="0" i="0" u="none" strike="noStrike" kern="1200" cap="none" spc="-5" normalizeH="0" baseline="0" noProof="0">
                <a:ln>
                  <a:noFill/>
                </a:ln>
                <a:solidFill>
                  <a:srgbClr val="5B6F7A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straordinaria;</a:t>
            </a:r>
            <a:endParaRPr kumimoji="0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rebuchet MS"/>
              <a:ea typeface="+mn-ea"/>
              <a:cs typeface="Trebuchet MS"/>
            </a:endParaRPr>
          </a:p>
          <a:p>
            <a:pPr marL="370840" marR="125095" lvl="1" indent="-169545" algn="l" defTabSz="914400" rtl="0" eaLnBrk="1" fontAlgn="auto" latinLnBrk="0" hangingPunct="1">
              <a:lnSpc>
                <a:spcPct val="11499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/>
              <a:buChar char=""/>
              <a:tabLst>
                <a:tab pos="370840" algn="l"/>
              </a:tabLst>
              <a:defRPr/>
            </a:pPr>
            <a:r>
              <a:rPr kumimoji="0" sz="1200" b="0" i="0" u="none" strike="noStrike" kern="1200" cap="none" spc="0" normalizeH="0" baseline="0" noProof="0">
                <a:ln>
                  <a:noFill/>
                </a:ln>
                <a:solidFill>
                  <a:srgbClr val="5B6F7A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Ad un fondo da </a:t>
            </a:r>
            <a:r>
              <a:rPr kumimoji="0" sz="1200" b="0" i="0" u="none" strike="noStrike" kern="1200" cap="none" spc="-5" normalizeH="0" baseline="0" noProof="0">
                <a:ln>
                  <a:noFill/>
                </a:ln>
                <a:solidFill>
                  <a:srgbClr val="5B6F7A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destinare </a:t>
            </a:r>
            <a:r>
              <a:rPr kumimoji="0" sz="1200" b="0" i="0" u="none" strike="noStrike" kern="1200" cap="none" spc="0" normalizeH="0" baseline="0" noProof="0">
                <a:ln>
                  <a:noFill/>
                </a:ln>
                <a:solidFill>
                  <a:srgbClr val="5B6F7A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a </a:t>
            </a:r>
            <a:r>
              <a:rPr kumimoji="0" sz="1200" b="0" i="0" u="none" strike="noStrike" kern="1200" cap="none" spc="-5" normalizeH="0" baseline="0" noProof="0">
                <a:ln>
                  <a:noFill/>
                </a:ln>
                <a:solidFill>
                  <a:srgbClr val="5B6F7A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finalità culturali </a:t>
            </a:r>
            <a:r>
              <a:rPr kumimoji="0" sz="1200" b="0" i="0" u="none" strike="noStrike" kern="1200" cap="none" spc="0" normalizeH="0" baseline="0" noProof="0">
                <a:ln>
                  <a:noFill/>
                </a:ln>
                <a:solidFill>
                  <a:srgbClr val="5B6F7A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e </a:t>
            </a:r>
            <a:r>
              <a:rPr kumimoji="0" sz="1200" b="0" i="0" u="none" strike="noStrike" kern="1200" cap="none" spc="5" normalizeH="0" baseline="0" noProof="0">
                <a:ln>
                  <a:noFill/>
                </a:ln>
                <a:solidFill>
                  <a:srgbClr val="5B6F7A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 </a:t>
            </a:r>
            <a:r>
              <a:rPr kumimoji="0" sz="1200" b="0" i="0" u="none" strike="noStrike" kern="1200" cap="none" spc="0" normalizeH="0" baseline="0" noProof="0">
                <a:ln>
                  <a:noFill/>
                </a:ln>
                <a:solidFill>
                  <a:srgbClr val="5B6F7A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sociali, </a:t>
            </a:r>
            <a:r>
              <a:rPr kumimoji="0" sz="1200" b="0" i="0" u="none" strike="noStrike" kern="1200" cap="none" spc="-5" normalizeH="0" baseline="0" noProof="0">
                <a:ln>
                  <a:noFill/>
                </a:ln>
                <a:solidFill>
                  <a:srgbClr val="5B6F7A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la </a:t>
            </a:r>
            <a:r>
              <a:rPr kumimoji="0" sz="1200" b="0" i="0" u="none" strike="noStrike" kern="1200" cap="none" spc="0" normalizeH="0" baseline="0" noProof="0">
                <a:ln>
                  <a:noFill/>
                </a:ln>
                <a:solidFill>
                  <a:srgbClr val="5B6F7A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cui </a:t>
            </a:r>
            <a:r>
              <a:rPr kumimoji="0" sz="1200" b="0" i="0" u="none" strike="noStrike" kern="1200" cap="none" spc="-5" normalizeH="0" baseline="0" noProof="0">
                <a:ln>
                  <a:noFill/>
                </a:ln>
                <a:solidFill>
                  <a:srgbClr val="5B6F7A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consistenza massima </a:t>
            </a:r>
            <a:r>
              <a:rPr kumimoji="0" sz="1200" b="0" i="0" u="none" strike="noStrike" kern="1200" cap="none" spc="0" normalizeH="0" baseline="0" noProof="0">
                <a:ln>
                  <a:noFill/>
                </a:ln>
                <a:solidFill>
                  <a:srgbClr val="5B6F7A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non </a:t>
            </a:r>
            <a:r>
              <a:rPr kumimoji="0" sz="1200" b="0" i="0" u="none" strike="noStrike" kern="1200" cap="none" spc="-5" normalizeH="0" baseline="0" noProof="0">
                <a:ln>
                  <a:noFill/>
                </a:ln>
                <a:solidFill>
                  <a:srgbClr val="5B6F7A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impegnata </a:t>
            </a:r>
            <a:r>
              <a:rPr kumimoji="0" sz="1200" b="0" i="0" u="none" strike="noStrike" kern="1200" cap="none" spc="-350" normalizeH="0" baseline="0" noProof="0">
                <a:ln>
                  <a:noFill/>
                </a:ln>
                <a:solidFill>
                  <a:srgbClr val="5B6F7A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 </a:t>
            </a:r>
            <a:r>
              <a:rPr kumimoji="0" sz="1200" b="0" i="0" u="none" strike="noStrike" kern="1200" cap="none" spc="0" normalizeH="0" baseline="0" noProof="0">
                <a:ln>
                  <a:noFill/>
                </a:ln>
                <a:solidFill>
                  <a:srgbClr val="5B6F7A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non</a:t>
            </a:r>
            <a:r>
              <a:rPr kumimoji="0" sz="1200" b="0" i="0" u="none" strike="noStrike" kern="1200" cap="none" spc="-15" normalizeH="0" baseline="0" noProof="0">
                <a:ln>
                  <a:noFill/>
                </a:ln>
                <a:solidFill>
                  <a:srgbClr val="5B6F7A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 </a:t>
            </a:r>
            <a:r>
              <a:rPr kumimoji="0" sz="1200" b="0" i="0" u="none" strike="noStrike" kern="1200" cap="none" spc="0" normalizeH="0" baseline="0" noProof="0">
                <a:ln>
                  <a:noFill/>
                </a:ln>
                <a:solidFill>
                  <a:srgbClr val="5B6F7A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può</a:t>
            </a:r>
            <a:r>
              <a:rPr kumimoji="0" sz="1200" b="0" i="0" u="none" strike="noStrike" kern="1200" cap="none" spc="-25" normalizeH="0" baseline="0" noProof="0">
                <a:ln>
                  <a:noFill/>
                </a:ln>
                <a:solidFill>
                  <a:srgbClr val="5B6F7A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 </a:t>
            </a:r>
            <a:r>
              <a:rPr kumimoji="0" sz="1200" b="0" i="0" u="none" strike="noStrike" kern="1200" cap="none" spc="0" normalizeH="0" baseline="0" noProof="0">
                <a:ln>
                  <a:noFill/>
                </a:ln>
                <a:solidFill>
                  <a:srgbClr val="5B6F7A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superare</a:t>
            </a:r>
            <a:r>
              <a:rPr kumimoji="0" sz="1200" b="0" i="0" u="none" strike="noStrike" kern="1200" cap="none" spc="-50" normalizeH="0" baseline="0" noProof="0">
                <a:ln>
                  <a:noFill/>
                </a:ln>
                <a:solidFill>
                  <a:srgbClr val="5B6F7A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 </a:t>
            </a:r>
            <a:r>
              <a:rPr kumimoji="0" sz="1200" b="0" i="0" u="none" strike="noStrike" kern="1200" cap="none" spc="0" normalizeH="0" baseline="0" noProof="0">
                <a:ln>
                  <a:noFill/>
                </a:ln>
                <a:solidFill>
                  <a:srgbClr val="5B6F7A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i</a:t>
            </a:r>
            <a:r>
              <a:rPr kumimoji="0" sz="1200" b="0" i="0" u="none" strike="noStrike" kern="1200" cap="none" spc="-10" normalizeH="0" baseline="0" noProof="0">
                <a:ln>
                  <a:noFill/>
                </a:ln>
                <a:solidFill>
                  <a:srgbClr val="5B6F7A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 500.000</a:t>
            </a:r>
            <a:r>
              <a:rPr kumimoji="0" sz="1200" b="0" i="0" u="none" strike="noStrike" kern="1200" cap="none" spc="-5" normalizeH="0" baseline="0" noProof="0">
                <a:ln>
                  <a:noFill/>
                </a:ln>
                <a:solidFill>
                  <a:srgbClr val="5B6F7A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 </a:t>
            </a:r>
            <a:r>
              <a:rPr kumimoji="0" sz="1200" b="0" i="0" u="none" strike="noStrike" kern="1200" cap="none" spc="0" normalizeH="0" baseline="0" noProof="0">
                <a:ln>
                  <a:noFill/>
                </a:ln>
                <a:solidFill>
                  <a:srgbClr val="5B6F7A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euro.</a:t>
            </a:r>
            <a:endParaRPr kumimoji="0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rebuchet MS"/>
              <a:ea typeface="+mn-ea"/>
              <a:cs typeface="Trebuchet MS"/>
            </a:endParaRPr>
          </a:p>
          <a:p>
            <a:pPr marL="184785" marR="5080" lvl="0" indent="-172720" algn="l" defTabSz="914400" rtl="0" eaLnBrk="1" fontAlgn="auto" latinLnBrk="0" hangingPunct="1">
              <a:lnSpc>
                <a:spcPct val="11499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 MT"/>
              <a:buChar char="•"/>
              <a:tabLst>
                <a:tab pos="185420" algn="l"/>
              </a:tabLst>
              <a:defRPr/>
            </a:pPr>
            <a:r>
              <a:rPr kumimoji="0" sz="1200" b="1" i="0" u="none" strike="noStrike" kern="1200" cap="none" spc="0" normalizeH="0" baseline="0" noProof="0">
                <a:ln>
                  <a:noFill/>
                </a:ln>
                <a:solidFill>
                  <a:srgbClr val="5B6F7A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Il 45% </a:t>
            </a:r>
            <a:r>
              <a:rPr kumimoji="0" sz="1200" b="1" i="0" u="none" strike="noStrike" kern="1200" cap="none" spc="-5" normalizeH="0" baseline="0" noProof="0">
                <a:ln>
                  <a:noFill/>
                </a:ln>
                <a:solidFill>
                  <a:srgbClr val="5B6F7A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dell’utile di esercizio </a:t>
            </a:r>
            <a:r>
              <a:rPr kumimoji="0" sz="1200" b="1" i="0" u="none" strike="noStrike" kern="1200" cap="none" spc="0" normalizeH="0" baseline="0" noProof="0">
                <a:ln>
                  <a:noFill/>
                </a:ln>
                <a:solidFill>
                  <a:srgbClr val="5B6F7A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è </a:t>
            </a:r>
            <a:r>
              <a:rPr kumimoji="0" sz="1200" b="1" i="0" u="none" strike="noStrike" kern="1200" cap="none" spc="-5" normalizeH="0" baseline="0" noProof="0">
                <a:ln>
                  <a:noFill/>
                </a:ln>
                <a:solidFill>
                  <a:srgbClr val="5B6F7A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attribuito ai </a:t>
            </a:r>
            <a:r>
              <a:rPr kumimoji="0" sz="1200" b="1" i="0" u="none" strike="noStrike" kern="1200" cap="none" spc="0" normalizeH="0" baseline="0" noProof="0">
                <a:ln>
                  <a:noFill/>
                </a:ln>
                <a:solidFill>
                  <a:srgbClr val="5B6F7A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 </a:t>
            </a:r>
            <a:r>
              <a:rPr kumimoji="0" sz="1200" b="1" i="0" u="none" strike="noStrike" kern="1200" cap="none" spc="-5" normalizeH="0" baseline="0" noProof="0">
                <a:ln>
                  <a:noFill/>
                </a:ln>
                <a:solidFill>
                  <a:srgbClr val="5B6F7A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partecipanti</a:t>
            </a:r>
            <a:r>
              <a:rPr kumimoji="0" sz="1200" b="1" i="0" u="none" strike="noStrike" kern="1200" cap="none" spc="10" normalizeH="0" baseline="0" noProof="0">
                <a:ln>
                  <a:noFill/>
                </a:ln>
                <a:solidFill>
                  <a:srgbClr val="5B6F7A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 </a:t>
            </a:r>
            <a:r>
              <a:rPr kumimoji="0" sz="1200" b="1" i="0" u="none" strike="noStrike" kern="1200" cap="none" spc="-5" normalizeH="0" baseline="0" noProof="0">
                <a:ln>
                  <a:noFill/>
                </a:ln>
                <a:solidFill>
                  <a:srgbClr val="5B6F7A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al</a:t>
            </a:r>
            <a:r>
              <a:rPr kumimoji="0" sz="1200" b="1" i="0" u="none" strike="noStrike" kern="1200" cap="none" spc="0" normalizeH="0" baseline="0" noProof="0">
                <a:ln>
                  <a:noFill/>
                </a:ln>
                <a:solidFill>
                  <a:srgbClr val="5B6F7A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 </a:t>
            </a:r>
            <a:r>
              <a:rPr kumimoji="0" sz="1200" b="1" i="0" u="none" strike="noStrike" kern="1200" cap="none" spc="-15" normalizeH="0" baseline="0" noProof="0">
                <a:ln>
                  <a:noFill/>
                </a:ln>
                <a:solidFill>
                  <a:srgbClr val="5B6F7A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Fondo</a:t>
            </a:r>
            <a:r>
              <a:rPr kumimoji="0" sz="1200" b="1" i="0" u="none" strike="noStrike" kern="1200" cap="none" spc="0" normalizeH="0" baseline="0" noProof="0">
                <a:ln>
                  <a:noFill/>
                </a:ln>
                <a:solidFill>
                  <a:srgbClr val="5B6F7A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 </a:t>
            </a:r>
            <a:r>
              <a:rPr kumimoji="0" sz="1200" b="1" i="0" u="none" strike="noStrike" kern="1200" cap="none" spc="-5" normalizeH="0" baseline="0" noProof="0">
                <a:ln>
                  <a:noFill/>
                </a:ln>
                <a:solidFill>
                  <a:srgbClr val="5B6F7A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di</a:t>
            </a:r>
            <a:r>
              <a:rPr kumimoji="0" sz="1200" b="1" i="0" u="none" strike="noStrike" kern="1200" cap="none" spc="5" normalizeH="0" baseline="0" noProof="0">
                <a:ln>
                  <a:noFill/>
                </a:ln>
                <a:solidFill>
                  <a:srgbClr val="5B6F7A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 </a:t>
            </a:r>
            <a:r>
              <a:rPr kumimoji="0" sz="1200" b="1" i="0" u="none" strike="noStrike" kern="1200" cap="none" spc="-5" normalizeH="0" baseline="0" noProof="0">
                <a:ln>
                  <a:noFill/>
                </a:ln>
                <a:solidFill>
                  <a:srgbClr val="5B6F7A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Dotazione</a:t>
            </a:r>
            <a:r>
              <a:rPr kumimoji="0" sz="1200" b="1" i="0" u="none" strike="noStrike" kern="1200" cap="none" spc="-10" normalizeH="0" baseline="0" noProof="0">
                <a:ln>
                  <a:noFill/>
                </a:ln>
                <a:solidFill>
                  <a:srgbClr val="5B6F7A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 </a:t>
            </a:r>
            <a:r>
              <a:rPr kumimoji="0" sz="1200" b="0" i="0" u="none" strike="noStrike" kern="1200" cap="none" spc="-5" normalizeH="0" baseline="0" noProof="0">
                <a:ln>
                  <a:noFill/>
                </a:ln>
                <a:solidFill>
                  <a:srgbClr val="5B6F7A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nella</a:t>
            </a:r>
            <a:r>
              <a:rPr kumimoji="0" sz="1200" b="0" i="0" u="none" strike="noStrike" kern="1200" cap="none" spc="-25" normalizeH="0" baseline="0" noProof="0">
                <a:ln>
                  <a:noFill/>
                </a:ln>
                <a:solidFill>
                  <a:srgbClr val="5B6F7A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 </a:t>
            </a:r>
            <a:r>
              <a:rPr kumimoji="0" sz="1200" b="0" i="0" u="none" strike="noStrike" kern="1200" cap="none" spc="-5" normalizeH="0" baseline="0" noProof="0">
                <a:ln>
                  <a:noFill/>
                </a:ln>
                <a:solidFill>
                  <a:srgbClr val="5B6F7A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misura</a:t>
            </a:r>
            <a:r>
              <a:rPr kumimoji="0" sz="1200" b="0" i="0" u="none" strike="noStrike" kern="1200" cap="none" spc="-25" normalizeH="0" baseline="0" noProof="0">
                <a:ln>
                  <a:noFill/>
                </a:ln>
                <a:solidFill>
                  <a:srgbClr val="5B6F7A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 </a:t>
            </a:r>
            <a:r>
              <a:rPr kumimoji="0" sz="1200" b="0" i="0" u="none" strike="noStrike" kern="1200" cap="none" spc="-5" normalizeH="0" baseline="0" noProof="0">
                <a:ln>
                  <a:noFill/>
                </a:ln>
                <a:solidFill>
                  <a:srgbClr val="5B6F7A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della </a:t>
            </a:r>
            <a:r>
              <a:rPr kumimoji="0" sz="1200" b="0" i="0" u="none" strike="noStrike" kern="1200" cap="none" spc="-345" normalizeH="0" baseline="0" noProof="0">
                <a:ln>
                  <a:noFill/>
                </a:ln>
                <a:solidFill>
                  <a:srgbClr val="5B6F7A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 </a:t>
            </a:r>
            <a:r>
              <a:rPr kumimoji="0" sz="1200" b="0" i="0" u="none" strike="noStrike" kern="1200" cap="none" spc="0" normalizeH="0" baseline="0" noProof="0">
                <a:ln>
                  <a:noFill/>
                </a:ln>
                <a:solidFill>
                  <a:srgbClr val="5B6F7A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quote</a:t>
            </a:r>
            <a:r>
              <a:rPr kumimoji="0" sz="1200" b="0" i="0" u="none" strike="noStrike" kern="1200" cap="none" spc="-35" normalizeH="0" baseline="0" noProof="0">
                <a:ln>
                  <a:noFill/>
                </a:ln>
                <a:solidFill>
                  <a:srgbClr val="5B6F7A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 </a:t>
            </a:r>
            <a:r>
              <a:rPr kumimoji="0" sz="1200" b="0" i="0" u="none" strike="noStrike" kern="1200" cap="none" spc="-5" normalizeH="0" baseline="0" noProof="0">
                <a:ln>
                  <a:noFill/>
                </a:ln>
                <a:solidFill>
                  <a:srgbClr val="5B6F7A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partecipazione</a:t>
            </a:r>
            <a:r>
              <a:rPr kumimoji="0" sz="1200" b="0" i="0" u="none" strike="noStrike" kern="1200" cap="none" spc="-45" normalizeH="0" baseline="0" noProof="0">
                <a:ln>
                  <a:noFill/>
                </a:ln>
                <a:solidFill>
                  <a:srgbClr val="5B6F7A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 </a:t>
            </a:r>
            <a:r>
              <a:rPr kumimoji="0" sz="1200" b="0" i="0" u="none" strike="noStrike" kern="1200" cap="none" spc="-5" normalizeH="0" baseline="0" noProof="0">
                <a:ln>
                  <a:noFill/>
                </a:ln>
                <a:solidFill>
                  <a:srgbClr val="5B6F7A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statutariamente</a:t>
            </a:r>
            <a:r>
              <a:rPr kumimoji="0" sz="1200" b="0" i="0" u="none" strike="noStrike" kern="1200" cap="none" spc="-45" normalizeH="0" baseline="0" noProof="0">
                <a:ln>
                  <a:noFill/>
                </a:ln>
                <a:solidFill>
                  <a:srgbClr val="5B6F7A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 </a:t>
            </a:r>
            <a:r>
              <a:rPr kumimoji="0" sz="1200" b="0" i="0" u="none" strike="noStrike" kern="1200" cap="none" spc="-5" normalizeH="0" baseline="0" noProof="0">
                <a:ln>
                  <a:noFill/>
                </a:ln>
                <a:solidFill>
                  <a:srgbClr val="5B6F7A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definite.</a:t>
            </a:r>
            <a:endParaRPr kumimoji="0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rebuchet MS"/>
              <a:ea typeface="+mn-ea"/>
              <a:cs typeface="Trebuchet MS"/>
            </a:endParaRPr>
          </a:p>
        </p:txBody>
      </p:sp>
      <p:grpSp>
        <p:nvGrpSpPr>
          <p:cNvPr id="13" name="object 13"/>
          <p:cNvGrpSpPr/>
          <p:nvPr/>
        </p:nvGrpSpPr>
        <p:grpSpPr>
          <a:xfrm>
            <a:off x="7098792" y="3579876"/>
            <a:ext cx="4259580" cy="1811020"/>
            <a:chOff x="7098792" y="3579876"/>
            <a:chExt cx="4259580" cy="1811020"/>
          </a:xfrm>
        </p:grpSpPr>
        <p:pic>
          <p:nvPicPr>
            <p:cNvPr id="14" name="object 14"/>
            <p:cNvPicPr/>
            <p:nvPr/>
          </p:nvPicPr>
          <p:blipFill>
            <a:blip r:embed="rId5" cstate="print"/>
            <a:stretch>
              <a:fillRect/>
            </a:stretch>
          </p:blipFill>
          <p:spPr>
            <a:xfrm>
              <a:off x="7098792" y="3579876"/>
              <a:ext cx="4259567" cy="1810511"/>
            </a:xfrm>
            <a:prstGeom prst="rect">
              <a:avLst/>
            </a:prstGeom>
          </p:spPr>
        </p:pic>
        <p:sp>
          <p:nvSpPr>
            <p:cNvPr id="15" name="object 15"/>
            <p:cNvSpPr/>
            <p:nvPr/>
          </p:nvSpPr>
          <p:spPr>
            <a:xfrm>
              <a:off x="7127748" y="3608826"/>
              <a:ext cx="4147185" cy="1697989"/>
            </a:xfrm>
            <a:custGeom>
              <a:avLst/>
              <a:gdLst/>
              <a:ahLst/>
              <a:cxnLst/>
              <a:rect l="l" t="t" r="r" b="b"/>
              <a:pathLst>
                <a:path w="4147184" h="1697989">
                  <a:moveTo>
                    <a:pt x="4068483" y="0"/>
                  </a:moveTo>
                  <a:lnTo>
                    <a:pt x="78320" y="0"/>
                  </a:lnTo>
                  <a:lnTo>
                    <a:pt x="47834" y="6154"/>
                  </a:lnTo>
                  <a:lnTo>
                    <a:pt x="22939" y="22939"/>
                  </a:lnTo>
                  <a:lnTo>
                    <a:pt x="6154" y="47834"/>
                  </a:lnTo>
                  <a:lnTo>
                    <a:pt x="0" y="78320"/>
                  </a:lnTo>
                  <a:lnTo>
                    <a:pt x="0" y="1619427"/>
                  </a:lnTo>
                  <a:lnTo>
                    <a:pt x="6154" y="1649912"/>
                  </a:lnTo>
                  <a:lnTo>
                    <a:pt x="22939" y="1674802"/>
                  </a:lnTo>
                  <a:lnTo>
                    <a:pt x="47834" y="1691583"/>
                  </a:lnTo>
                  <a:lnTo>
                    <a:pt x="78320" y="1697736"/>
                  </a:lnTo>
                  <a:lnTo>
                    <a:pt x="4068483" y="1697736"/>
                  </a:lnTo>
                  <a:lnTo>
                    <a:pt x="4098969" y="1691583"/>
                  </a:lnTo>
                  <a:lnTo>
                    <a:pt x="4123864" y="1674802"/>
                  </a:lnTo>
                  <a:lnTo>
                    <a:pt x="4140649" y="1649912"/>
                  </a:lnTo>
                  <a:lnTo>
                    <a:pt x="4146804" y="1619427"/>
                  </a:lnTo>
                  <a:lnTo>
                    <a:pt x="4146804" y="78320"/>
                  </a:lnTo>
                  <a:lnTo>
                    <a:pt x="4140649" y="47834"/>
                  </a:lnTo>
                  <a:lnTo>
                    <a:pt x="4123864" y="22939"/>
                  </a:lnTo>
                  <a:lnTo>
                    <a:pt x="4098969" y="6154"/>
                  </a:lnTo>
                  <a:lnTo>
                    <a:pt x="4068483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6" name="object 16"/>
            <p:cNvSpPr/>
            <p:nvPr/>
          </p:nvSpPr>
          <p:spPr>
            <a:xfrm>
              <a:off x="7127748" y="3608826"/>
              <a:ext cx="4147185" cy="1697989"/>
            </a:xfrm>
            <a:custGeom>
              <a:avLst/>
              <a:gdLst/>
              <a:ahLst/>
              <a:cxnLst/>
              <a:rect l="l" t="t" r="r" b="b"/>
              <a:pathLst>
                <a:path w="4147184" h="1697989">
                  <a:moveTo>
                    <a:pt x="0" y="78320"/>
                  </a:moveTo>
                  <a:lnTo>
                    <a:pt x="6154" y="47834"/>
                  </a:lnTo>
                  <a:lnTo>
                    <a:pt x="22939" y="22939"/>
                  </a:lnTo>
                  <a:lnTo>
                    <a:pt x="47834" y="6154"/>
                  </a:lnTo>
                  <a:lnTo>
                    <a:pt x="78320" y="0"/>
                  </a:lnTo>
                  <a:lnTo>
                    <a:pt x="4068483" y="0"/>
                  </a:lnTo>
                  <a:lnTo>
                    <a:pt x="4098969" y="6154"/>
                  </a:lnTo>
                  <a:lnTo>
                    <a:pt x="4123864" y="22939"/>
                  </a:lnTo>
                  <a:lnTo>
                    <a:pt x="4140649" y="47834"/>
                  </a:lnTo>
                  <a:lnTo>
                    <a:pt x="4146804" y="78320"/>
                  </a:lnTo>
                  <a:lnTo>
                    <a:pt x="4146804" y="1619427"/>
                  </a:lnTo>
                  <a:lnTo>
                    <a:pt x="4140649" y="1649912"/>
                  </a:lnTo>
                  <a:lnTo>
                    <a:pt x="4123864" y="1674802"/>
                  </a:lnTo>
                  <a:lnTo>
                    <a:pt x="4098969" y="1691583"/>
                  </a:lnTo>
                  <a:lnTo>
                    <a:pt x="4068483" y="1697736"/>
                  </a:lnTo>
                  <a:lnTo>
                    <a:pt x="78320" y="1697736"/>
                  </a:lnTo>
                  <a:lnTo>
                    <a:pt x="47834" y="1691583"/>
                  </a:lnTo>
                  <a:lnTo>
                    <a:pt x="22939" y="1674802"/>
                  </a:lnTo>
                  <a:lnTo>
                    <a:pt x="6154" y="1649912"/>
                  </a:lnTo>
                  <a:lnTo>
                    <a:pt x="0" y="1619427"/>
                  </a:lnTo>
                  <a:lnTo>
                    <a:pt x="0" y="78320"/>
                  </a:lnTo>
                  <a:close/>
                </a:path>
              </a:pathLst>
            </a:custGeom>
            <a:ln w="6350">
              <a:solidFill>
                <a:srgbClr val="5E717A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17" name="object 17"/>
          <p:cNvSpPr txBox="1"/>
          <p:nvPr/>
        </p:nvSpPr>
        <p:spPr>
          <a:xfrm>
            <a:off x="7230133" y="4011661"/>
            <a:ext cx="3785870" cy="86677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5080" lvl="0" indent="0" algn="l" defTabSz="914400" rtl="0" eaLnBrk="1" fontAlgn="auto" latinLnBrk="0" hangingPunct="1">
              <a:lnSpc>
                <a:spcPct val="114999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200" b="0" i="0" u="none" strike="noStrike" kern="1200" cap="none" spc="0" normalizeH="0" baseline="0" noProof="0">
                <a:ln>
                  <a:noFill/>
                </a:ln>
                <a:solidFill>
                  <a:srgbClr val="5B6F7A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Lo Statuto </a:t>
            </a:r>
            <a:r>
              <a:rPr kumimoji="0" sz="1200" b="0" i="0" u="none" strike="noStrike" kern="1200" cap="none" spc="-5" normalizeH="0" baseline="0" noProof="0">
                <a:ln>
                  <a:noFill/>
                </a:ln>
                <a:solidFill>
                  <a:srgbClr val="5B6F7A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dell’Istituto </a:t>
            </a:r>
            <a:r>
              <a:rPr kumimoji="0" sz="1200" b="0" i="0" u="none" strike="noStrike" kern="1200" cap="none" spc="0" normalizeH="0" baseline="0" noProof="0">
                <a:ln>
                  <a:noFill/>
                </a:ln>
                <a:solidFill>
                  <a:srgbClr val="5B6F7A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è </a:t>
            </a:r>
            <a:r>
              <a:rPr kumimoji="0" sz="1200" b="0" i="0" u="none" strike="noStrike" kern="1200" cap="none" spc="-5" normalizeH="0" baseline="0" noProof="0">
                <a:ln>
                  <a:noFill/>
                </a:ln>
                <a:solidFill>
                  <a:srgbClr val="5B6F7A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stato approvato </a:t>
            </a:r>
            <a:r>
              <a:rPr kumimoji="0" sz="1200" b="0" i="0" u="none" strike="noStrike" kern="1200" cap="none" spc="0" normalizeH="0" baseline="0" noProof="0">
                <a:ln>
                  <a:noFill/>
                </a:ln>
                <a:solidFill>
                  <a:srgbClr val="5B6F7A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con Decreto </a:t>
            </a:r>
            <a:r>
              <a:rPr kumimoji="0" sz="1200" b="0" i="0" u="none" strike="noStrike" kern="1200" cap="none" spc="5" normalizeH="0" baseline="0" noProof="0">
                <a:ln>
                  <a:noFill/>
                </a:ln>
                <a:solidFill>
                  <a:srgbClr val="5B6F7A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 </a:t>
            </a:r>
            <a:r>
              <a:rPr kumimoji="0" sz="1200" b="0" i="0" u="none" strike="noStrike" kern="1200" cap="none" spc="-5" normalizeH="0" baseline="0" noProof="0">
                <a:ln>
                  <a:noFill/>
                </a:ln>
                <a:solidFill>
                  <a:srgbClr val="5B6F7A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Interministeriale 24 gennaio </a:t>
            </a:r>
            <a:r>
              <a:rPr kumimoji="0" sz="1200" b="0" i="0" u="none" strike="noStrike" kern="1200" cap="none" spc="-10" normalizeH="0" baseline="0" noProof="0">
                <a:ln>
                  <a:noFill/>
                </a:ln>
                <a:solidFill>
                  <a:srgbClr val="5B6F7A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2014, </a:t>
            </a:r>
            <a:r>
              <a:rPr kumimoji="0" sz="1200" b="0" i="0" u="none" strike="noStrike" kern="1200" cap="none" spc="0" normalizeH="0" baseline="0" noProof="0">
                <a:ln>
                  <a:noFill/>
                </a:ln>
                <a:solidFill>
                  <a:srgbClr val="5B6F7A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registrato </a:t>
            </a:r>
            <a:r>
              <a:rPr kumimoji="0" sz="1200" b="0" i="0" u="none" strike="noStrike" kern="1200" cap="none" spc="-5" normalizeH="0" baseline="0" noProof="0">
                <a:ln>
                  <a:noFill/>
                </a:ln>
                <a:solidFill>
                  <a:srgbClr val="5B6F7A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alla </a:t>
            </a:r>
            <a:r>
              <a:rPr kumimoji="0" sz="1200" b="0" i="0" u="none" strike="noStrike" kern="1200" cap="none" spc="0" normalizeH="0" baseline="0" noProof="0">
                <a:ln>
                  <a:noFill/>
                </a:ln>
                <a:solidFill>
                  <a:srgbClr val="5B6F7A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Corte </a:t>
            </a:r>
            <a:r>
              <a:rPr kumimoji="0" sz="1200" b="0" i="0" u="none" strike="noStrike" kern="1200" cap="none" spc="-350" normalizeH="0" baseline="0" noProof="0">
                <a:ln>
                  <a:noFill/>
                </a:ln>
                <a:solidFill>
                  <a:srgbClr val="5B6F7A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 </a:t>
            </a:r>
            <a:r>
              <a:rPr kumimoji="0" sz="1200" b="0" i="0" u="none" strike="noStrike" kern="1200" cap="none" spc="0" normalizeH="0" baseline="0" noProof="0">
                <a:ln>
                  <a:noFill/>
                </a:ln>
                <a:solidFill>
                  <a:srgbClr val="5B6F7A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dei Conti il </a:t>
            </a:r>
            <a:r>
              <a:rPr kumimoji="0" sz="1200" b="0" i="0" u="none" strike="noStrike" kern="1200" cap="none" spc="-5" normalizeH="0" baseline="0" noProof="0">
                <a:ln>
                  <a:noFill/>
                </a:ln>
                <a:solidFill>
                  <a:srgbClr val="5B6F7A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17 marzo </a:t>
            </a:r>
            <a:r>
              <a:rPr kumimoji="0" sz="1200" b="0" i="0" u="none" strike="noStrike" kern="1200" cap="none" spc="-10" normalizeH="0" baseline="0" noProof="0">
                <a:ln>
                  <a:noFill/>
                </a:ln>
                <a:solidFill>
                  <a:srgbClr val="5B6F7A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2014 </a:t>
            </a:r>
            <a:r>
              <a:rPr kumimoji="0" sz="1200" b="0" i="0" u="none" strike="noStrike" kern="1200" cap="none" spc="0" normalizeH="0" baseline="0" noProof="0">
                <a:ln>
                  <a:noFill/>
                </a:ln>
                <a:solidFill>
                  <a:srgbClr val="5B6F7A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e </a:t>
            </a:r>
            <a:r>
              <a:rPr kumimoji="0" sz="1200" b="0" i="0" u="none" strike="noStrike" kern="1200" cap="none" spc="-5" normalizeH="0" baseline="0" noProof="0">
                <a:ln>
                  <a:noFill/>
                </a:ln>
                <a:solidFill>
                  <a:srgbClr val="5B6F7A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pubblicato </a:t>
            </a:r>
            <a:r>
              <a:rPr kumimoji="0" sz="1200" b="0" i="0" u="none" strike="noStrike" kern="1200" cap="none" spc="-10" normalizeH="0" baseline="0" noProof="0">
                <a:ln>
                  <a:noFill/>
                </a:ln>
                <a:solidFill>
                  <a:srgbClr val="5B6F7A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sulla </a:t>
            </a:r>
            <a:r>
              <a:rPr kumimoji="0" sz="1200" b="0" i="0" u="none" strike="noStrike" kern="1200" cap="none" spc="-5" normalizeH="0" baseline="0" noProof="0">
                <a:ln>
                  <a:noFill/>
                </a:ln>
                <a:solidFill>
                  <a:srgbClr val="5B6F7A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Gazzetta </a:t>
            </a:r>
            <a:r>
              <a:rPr kumimoji="0" sz="1200" b="0" i="0" u="none" strike="noStrike" kern="1200" cap="none" spc="0" normalizeH="0" baseline="0" noProof="0">
                <a:ln>
                  <a:noFill/>
                </a:ln>
                <a:solidFill>
                  <a:srgbClr val="5B6F7A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 </a:t>
            </a:r>
            <a:r>
              <a:rPr kumimoji="0" sz="1200" b="0" i="0" u="none" strike="noStrike" kern="1200" cap="none" spc="-5" normalizeH="0" baseline="0" noProof="0">
                <a:ln>
                  <a:noFill/>
                </a:ln>
                <a:solidFill>
                  <a:srgbClr val="5B6F7A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Ufficiale</a:t>
            </a:r>
            <a:r>
              <a:rPr kumimoji="0" sz="1200" b="0" i="0" u="none" strike="noStrike" kern="1200" cap="none" spc="-50" normalizeH="0" baseline="0" noProof="0">
                <a:ln>
                  <a:noFill/>
                </a:ln>
                <a:solidFill>
                  <a:srgbClr val="5B6F7A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 </a:t>
            </a:r>
            <a:r>
              <a:rPr kumimoji="0" sz="1200" b="0" i="0" u="none" strike="noStrike" kern="1200" cap="none" spc="-5" normalizeH="0" baseline="0" noProof="0">
                <a:ln>
                  <a:noFill/>
                </a:ln>
                <a:solidFill>
                  <a:srgbClr val="5B6F7A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n.92</a:t>
            </a:r>
            <a:r>
              <a:rPr kumimoji="0" sz="1200" b="0" i="0" u="none" strike="noStrike" kern="1200" cap="none" spc="-20" normalizeH="0" baseline="0" noProof="0">
                <a:ln>
                  <a:noFill/>
                </a:ln>
                <a:solidFill>
                  <a:srgbClr val="5B6F7A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 </a:t>
            </a:r>
            <a:r>
              <a:rPr kumimoji="0" sz="1200" b="0" i="0" u="none" strike="noStrike" kern="1200" cap="none" spc="0" normalizeH="0" baseline="0" noProof="0">
                <a:ln>
                  <a:noFill/>
                </a:ln>
                <a:solidFill>
                  <a:srgbClr val="5B6F7A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del</a:t>
            </a:r>
            <a:r>
              <a:rPr kumimoji="0" sz="1200" b="0" i="0" u="none" strike="noStrike" kern="1200" cap="none" spc="-20" normalizeH="0" baseline="0" noProof="0">
                <a:ln>
                  <a:noFill/>
                </a:ln>
                <a:solidFill>
                  <a:srgbClr val="5B6F7A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 </a:t>
            </a:r>
            <a:r>
              <a:rPr kumimoji="0" sz="1200" b="0" i="0" u="none" strike="noStrike" kern="1200" cap="none" spc="-5" normalizeH="0" baseline="0" noProof="0">
                <a:ln>
                  <a:noFill/>
                </a:ln>
                <a:solidFill>
                  <a:srgbClr val="5B6F7A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19</a:t>
            </a:r>
            <a:r>
              <a:rPr kumimoji="0" sz="1200" b="0" i="0" u="none" strike="noStrike" kern="1200" cap="none" spc="-10" normalizeH="0" baseline="0" noProof="0">
                <a:ln>
                  <a:noFill/>
                </a:ln>
                <a:solidFill>
                  <a:srgbClr val="5B6F7A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 </a:t>
            </a:r>
            <a:r>
              <a:rPr kumimoji="0" sz="1200" b="0" i="0" u="none" strike="noStrike" kern="1200" cap="none" spc="0" normalizeH="0" baseline="0" noProof="0">
                <a:ln>
                  <a:noFill/>
                </a:ln>
                <a:solidFill>
                  <a:srgbClr val="5B6F7A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aprile</a:t>
            </a:r>
            <a:r>
              <a:rPr kumimoji="0" sz="1200" b="0" i="0" u="none" strike="noStrike" kern="1200" cap="none" spc="-40" normalizeH="0" baseline="0" noProof="0">
                <a:ln>
                  <a:noFill/>
                </a:ln>
                <a:solidFill>
                  <a:srgbClr val="5B6F7A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 </a:t>
            </a:r>
            <a:r>
              <a:rPr kumimoji="0" sz="1200" b="0" i="0" u="none" strike="noStrike" kern="1200" cap="none" spc="-10" normalizeH="0" baseline="0" noProof="0">
                <a:ln>
                  <a:noFill/>
                </a:ln>
                <a:solidFill>
                  <a:srgbClr val="5B6F7A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2014.</a:t>
            </a:r>
            <a:endParaRPr kumimoji="0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rebuchet MS"/>
              <a:ea typeface="+mn-ea"/>
              <a:cs typeface="Trebuchet MS"/>
            </a:endParaRPr>
          </a:p>
        </p:txBody>
      </p:sp>
      <p:sp>
        <p:nvSpPr>
          <p:cNvPr id="18" name="object 18"/>
          <p:cNvSpPr txBox="1">
            <a:spLocks noGrp="1"/>
          </p:cNvSpPr>
          <p:nvPr>
            <p:ph type="sldNum" sz="quarter" idx="7"/>
          </p:nvPr>
        </p:nvSpPr>
        <p:spPr>
          <a:prstGeom prst="rect">
            <a:avLst/>
          </a:prstGeom>
        </p:spPr>
        <p:txBody>
          <a:bodyPr vert="horz" wrap="square" lIns="0" tIns="48895" rIns="0" bIns="0" rtlCol="0">
            <a:spAutoFit/>
          </a:bodyPr>
          <a:lstStyle/>
          <a:p>
            <a:pPr marL="116839" marR="0" lvl="0" indent="0" algn="l" defTabSz="914400" rtl="0" eaLnBrk="1" fontAlgn="auto" latinLnBrk="0" hangingPunct="1">
              <a:lnSpc>
                <a:spcPct val="100000"/>
              </a:lnSpc>
              <a:spcBef>
                <a:spcPts val="38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1D60167-4931-47E6-BA6A-407CBD079E47}" type="slidenum">
              <a:rPr kumimoji="0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rebuchet MS"/>
                <a:ea typeface="+mn-ea"/>
              </a:rPr>
              <a:pPr marL="116839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385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sz="12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rebuchet MS"/>
              <a:ea typeface="+mn-ea"/>
            </a:endParaRPr>
          </a:p>
        </p:txBody>
      </p:sp>
      <p:sp>
        <p:nvSpPr>
          <p:cNvPr id="19" name="object 19"/>
          <p:cNvSpPr txBox="1">
            <a:spLocks noGrp="1"/>
          </p:cNvSpPr>
          <p:nvPr>
            <p:ph type="ftr" sz="quarter" idx="5"/>
          </p:nvPr>
        </p:nvSpPr>
        <p:spPr>
          <a:xfrm>
            <a:off x="3962400" y="6352335"/>
            <a:ext cx="3886199" cy="372538"/>
          </a:xfrm>
          <a:prstGeom prst="rect">
            <a:avLst/>
          </a:prstGeom>
        </p:spPr>
        <p:txBody>
          <a:bodyPr vert="horz" wrap="square" lIns="0" tIns="3175" rIns="0" bIns="0" rtlCol="0">
            <a:spAutoFit/>
          </a:bodyPr>
          <a:lstStyle/>
          <a:p>
            <a:pPr marL="12700" marR="0" lvl="0" indent="0" algn="ctr" defTabSz="914400" rtl="0" eaLnBrk="1" fontAlgn="auto" latinLnBrk="0" hangingPunct="1">
              <a:lnSpc>
                <a:spcPct val="100000"/>
              </a:lnSpc>
              <a:spcBef>
                <a:spcPts val="2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rebuchet MS"/>
                <a:ea typeface="+mn-ea"/>
              </a:rPr>
              <a:t>Istituto per il Credito Sportivo Banca Sociale per lo Sport e la Cultura</a:t>
            </a:r>
            <a:endParaRPr kumimoji="0" sz="1200" b="0" i="0" u="none" strike="noStrike" kern="1200" cap="none" spc="-15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rebuchet MS"/>
              <a:ea typeface="+mn-ea"/>
            </a:endParaRPr>
          </a:p>
        </p:txBody>
      </p:sp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BF556EB0-903C-4C74-9FAA-EB567DF9518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/>
              <a:t>Mutuo Light 2.0 FSN- EPS</a:t>
            </a:r>
          </a:p>
        </p:txBody>
      </p:sp>
      <p:sp>
        <p:nvSpPr>
          <p:cNvPr id="3" name="Segnaposto numero diapositiva 2">
            <a:extLst>
              <a:ext uri="{FF2B5EF4-FFF2-40B4-BE49-F238E27FC236}">
                <a16:creationId xmlns:a16="http://schemas.microsoft.com/office/drawing/2014/main" id="{6F6B9837-0CAE-4D96-9FB2-12FC421227A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501BE4A-6F75-0549-8D25-E25EBB4B1677}" type="slidenum">
              <a:rPr kumimoji="0" lang="it-IT" sz="12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it-IT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sp>
        <p:nvSpPr>
          <p:cNvPr id="4" name="Segnaposto testo 3">
            <a:extLst>
              <a:ext uri="{FF2B5EF4-FFF2-40B4-BE49-F238E27FC236}">
                <a16:creationId xmlns:a16="http://schemas.microsoft.com/office/drawing/2014/main" id="{BE2FF91F-16A3-4A13-B47A-A28CBCD8F2B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marL="0" indent="0">
              <a:buNone/>
            </a:pPr>
            <a:r>
              <a:rPr lang="it-IT" dirty="0"/>
              <a:t>Caratteristiche principali</a:t>
            </a:r>
          </a:p>
        </p:txBody>
      </p:sp>
      <p:sp>
        <p:nvSpPr>
          <p:cNvPr id="5" name="Segnaposto testo 4">
            <a:extLst>
              <a:ext uri="{FF2B5EF4-FFF2-40B4-BE49-F238E27FC236}">
                <a16:creationId xmlns:a16="http://schemas.microsoft.com/office/drawing/2014/main" id="{70EB5071-DF8D-4F06-BB6D-BE4AE95811F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459683" y="2466363"/>
            <a:ext cx="9521505" cy="3724712"/>
          </a:xfrm>
        </p:spPr>
        <p:txBody>
          <a:bodyPr>
            <a:normAutofit/>
          </a:bodyPr>
          <a:lstStyle/>
          <a:p>
            <a:pPr algn="l"/>
            <a:r>
              <a:rPr lang="it-IT" sz="1100" b="1" i="0" u="none" strike="noStrike" baseline="0" dirty="0">
                <a:latin typeface="+mj-lt"/>
              </a:rPr>
              <a:t>Beneficiari</a:t>
            </a:r>
            <a:r>
              <a:rPr lang="it-IT" sz="1050" b="0" i="0" u="none" strike="noStrike" baseline="0" dirty="0">
                <a:latin typeface="CIDFont+F3"/>
              </a:rPr>
              <a:t> : </a:t>
            </a:r>
            <a:r>
              <a:rPr lang="it-IT" sz="1100" b="0" i="0" u="none" strike="noStrike" baseline="0" dirty="0"/>
              <a:t>associazioni e società affiliate alle Federazioni/ Enti di Promozione Sportiva</a:t>
            </a:r>
          </a:p>
          <a:p>
            <a:pPr algn="l"/>
            <a:r>
              <a:rPr lang="it-IT" sz="1100" b="1" dirty="0">
                <a:latin typeface="+mj-lt"/>
              </a:rPr>
              <a:t>Attività finanziata</a:t>
            </a:r>
            <a:r>
              <a:rPr lang="it-IT" sz="1100" b="0" i="0" u="none" strike="noStrike" baseline="0" dirty="0"/>
              <a:t>: acquisto attrezzature sportive, progetti ed iniziative tese alla realizzazione e ristrutturazione d’impianti sportivi su tutto il territorio nazionale</a:t>
            </a:r>
          </a:p>
          <a:p>
            <a:pPr algn="l"/>
            <a:r>
              <a:rPr lang="it-IT" sz="1100" b="1" dirty="0">
                <a:latin typeface="+mj-lt"/>
              </a:rPr>
              <a:t>Importo finanziabile</a:t>
            </a:r>
            <a:r>
              <a:rPr lang="it-IT" sz="1100" b="0" i="0" u="none" strike="noStrike" baseline="0" dirty="0"/>
              <a:t>: da un minimo di 10 mila a un massimo di 60 mila euro</a:t>
            </a:r>
          </a:p>
          <a:p>
            <a:pPr algn="l"/>
            <a:r>
              <a:rPr lang="it-IT" sz="1100" b="1" dirty="0">
                <a:latin typeface="+mj-lt"/>
              </a:rPr>
              <a:t>Forma tecnica</a:t>
            </a:r>
            <a:r>
              <a:rPr lang="it-IT" sz="1100" b="0" i="0" u="none" strike="noStrike" baseline="0" dirty="0"/>
              <a:t>: mutuo chirografario con piano di ammortamento alla francese</a:t>
            </a:r>
          </a:p>
          <a:p>
            <a:pPr algn="l"/>
            <a:r>
              <a:rPr lang="it-IT" sz="1100" b="1" i="0" u="none" strike="noStrike" baseline="0" dirty="0"/>
              <a:t>Durata</a:t>
            </a:r>
            <a:r>
              <a:rPr lang="it-IT" sz="1100" b="0" i="0" u="none" strike="noStrike" baseline="0" dirty="0"/>
              <a:t> da 2 a 7 anni</a:t>
            </a:r>
          </a:p>
          <a:p>
            <a:pPr algn="l"/>
            <a:r>
              <a:rPr lang="it-IT" sz="1100" b="1" dirty="0">
                <a:latin typeface="+mj-lt"/>
              </a:rPr>
              <a:t>Tasso: </a:t>
            </a:r>
            <a:r>
              <a:rPr lang="it-IT" sz="1100" dirty="0"/>
              <a:t>IRS di durata pari a quella del mutuo + Spread 3,90%</a:t>
            </a:r>
          </a:p>
          <a:p>
            <a:pPr algn="l"/>
            <a:r>
              <a:rPr lang="it-IT" sz="1100" b="1" dirty="0">
                <a:latin typeface="+mj-lt"/>
              </a:rPr>
              <a:t>Spese di Istruttoria: </a:t>
            </a:r>
            <a:r>
              <a:rPr lang="it-IT" sz="1100" dirty="0"/>
              <a:t>500€</a:t>
            </a:r>
          </a:p>
          <a:p>
            <a:pPr algn="l"/>
            <a:r>
              <a:rPr lang="it-IT" sz="1100" b="1" dirty="0">
                <a:latin typeface="+mj-lt"/>
              </a:rPr>
              <a:t>Garanzie richieste</a:t>
            </a:r>
            <a:r>
              <a:rPr lang="it-IT" sz="1800" b="0" i="0" u="none" strike="noStrike" baseline="0" dirty="0">
                <a:latin typeface="CIDFont+F3"/>
              </a:rPr>
              <a:t>: </a:t>
            </a:r>
            <a:r>
              <a:rPr lang="it-IT" sz="1100" b="0" i="0" u="none" strike="noStrike" baseline="0" dirty="0"/>
              <a:t>Fondo di Garanzia per l’Impiantistica Sportiva ex lege 289/2002 fino all’80% del finanziamento</a:t>
            </a:r>
          </a:p>
          <a:p>
            <a:pPr algn="l"/>
            <a:r>
              <a:rPr lang="it-IT" sz="1100" b="1" i="0" u="none" strike="noStrike" baseline="0" dirty="0"/>
              <a:t>Presidio particolare</a:t>
            </a:r>
            <a:r>
              <a:rPr lang="it-IT" sz="1100" b="0" i="0" u="none" strike="noStrike" baseline="0" dirty="0"/>
              <a:t>: lettera di referenza dell’Ente di Promozione Sportiva di appartenenza</a:t>
            </a:r>
          </a:p>
          <a:p>
            <a:pPr algn="l"/>
            <a:endParaRPr lang="it-IT" sz="1100" dirty="0"/>
          </a:p>
        </p:txBody>
      </p:sp>
      <p:sp>
        <p:nvSpPr>
          <p:cNvPr id="6" name="Segnaposto piè di pagina 5">
            <a:extLst>
              <a:ext uri="{FF2B5EF4-FFF2-40B4-BE49-F238E27FC236}">
                <a16:creationId xmlns:a16="http://schemas.microsoft.com/office/drawing/2014/main" id="{7571AD0A-C357-4EF5-8F9A-610FA2079E8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163035" y="6360319"/>
            <a:ext cx="4114800" cy="365125"/>
          </a:xfrm>
        </p:spPr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Istituto per il Credito Sportivo Banca Sociale per lo Sport e la Cultura</a:t>
            </a:r>
          </a:p>
        </p:txBody>
      </p:sp>
    </p:spTree>
    <p:extLst>
      <p:ext uri="{BB962C8B-B14F-4D97-AF65-F5344CB8AC3E}">
        <p14:creationId xmlns:p14="http://schemas.microsoft.com/office/powerpoint/2010/main" val="16191287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1CDB8A40-712C-AB41-A158-4D859AF7167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br>
              <a:rPr lang="it-IT" altLang="it-IT" dirty="0"/>
            </a:br>
            <a:r>
              <a:rPr lang="it-IT" altLang="it-IT" dirty="0"/>
              <a:t>Mutuo Ordinario per le Associazioni, le Società e le Imprese Sportive</a:t>
            </a:r>
            <a:br>
              <a:rPr lang="it-IT" dirty="0"/>
            </a:br>
            <a:endParaRPr lang="it-IT" dirty="0"/>
          </a:p>
        </p:txBody>
      </p:sp>
      <p:sp>
        <p:nvSpPr>
          <p:cNvPr id="3" name="Segnaposto numero diapositiva 2">
            <a:extLst>
              <a:ext uri="{FF2B5EF4-FFF2-40B4-BE49-F238E27FC236}">
                <a16:creationId xmlns:a16="http://schemas.microsoft.com/office/drawing/2014/main" id="{10235ADA-30F0-6B41-BE19-78FB2778F7E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501BE4A-6F75-0549-8D25-E25EBB4B1677}" type="slidenum">
              <a:rPr kumimoji="0" lang="it-IT" sz="12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it-IT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sp>
        <p:nvSpPr>
          <p:cNvPr id="4" name="Segnaposto testo 3">
            <a:extLst>
              <a:ext uri="{FF2B5EF4-FFF2-40B4-BE49-F238E27FC236}">
                <a16:creationId xmlns:a16="http://schemas.microsoft.com/office/drawing/2014/main" id="{3735CC30-059B-434A-A376-31A0FB3922D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marL="0" indent="0">
              <a:buNone/>
            </a:pPr>
            <a:r>
              <a:rPr lang="it-IT" dirty="0"/>
              <a:t>Caratteristiche principali</a:t>
            </a:r>
          </a:p>
        </p:txBody>
      </p:sp>
      <p:sp>
        <p:nvSpPr>
          <p:cNvPr id="12" name="Segnaposto testo 4">
            <a:extLst>
              <a:ext uri="{FF2B5EF4-FFF2-40B4-BE49-F238E27FC236}">
                <a16:creationId xmlns:a16="http://schemas.microsoft.com/office/drawing/2014/main" id="{7B64D5B4-6736-432C-8B3C-8D6940CBEBD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66801" y="2142688"/>
            <a:ext cx="9914388" cy="3724712"/>
          </a:xfrm>
        </p:spPr>
        <p:txBody>
          <a:bodyPr>
            <a:normAutofit/>
          </a:bodyPr>
          <a:lstStyle/>
          <a:p>
            <a:pPr algn="l"/>
            <a:r>
              <a:rPr lang="it-IT" sz="1100" b="1" i="0" u="none" strike="noStrike" baseline="0" dirty="0">
                <a:latin typeface="+mj-lt"/>
              </a:rPr>
              <a:t>Beneficiari</a:t>
            </a:r>
            <a:r>
              <a:rPr lang="it-IT" sz="1050" b="1" i="0" u="none" strike="noStrike" baseline="0" dirty="0">
                <a:latin typeface="CIDFont+F3"/>
              </a:rPr>
              <a:t>:</a:t>
            </a:r>
            <a:r>
              <a:rPr lang="it-IT" sz="1050" b="0" i="0" u="none" strike="noStrike" baseline="0" dirty="0">
                <a:latin typeface="CIDFont+F3"/>
              </a:rPr>
              <a:t> </a:t>
            </a:r>
            <a:r>
              <a:rPr lang="it-IT" sz="1100" dirty="0"/>
              <a:t>Soggetti di natura privatistica (escluse persone fisiche) ed Enti Pubblici diversi dagli Enti Locali previsti dallo Statuto vigente.</a:t>
            </a:r>
          </a:p>
          <a:p>
            <a:pPr algn="l"/>
            <a:r>
              <a:rPr lang="it-IT" sz="1100" b="1" dirty="0">
                <a:latin typeface="+mj-lt"/>
              </a:rPr>
              <a:t>Attività finanziata</a:t>
            </a:r>
            <a:r>
              <a:rPr lang="it-IT" sz="1100" b="0" i="0" u="none" strike="noStrike" baseline="0" dirty="0"/>
              <a:t>: </a:t>
            </a:r>
            <a:r>
              <a:rPr lang="it-IT" sz="1100" dirty="0"/>
              <a:t>Progetti ed iniziative tese alla realizzazione, ristrutturazione all’acquisto di aree ed attrezzatura d’impianti sportivi su tutto il territorio nazionale</a:t>
            </a:r>
            <a:endParaRPr lang="it-IT" sz="1400" dirty="0"/>
          </a:p>
          <a:p>
            <a:pPr algn="l"/>
            <a:r>
              <a:rPr lang="it-IT" sz="1100" b="1" dirty="0">
                <a:latin typeface="+mj-lt"/>
              </a:rPr>
              <a:t>Importo finanziabile</a:t>
            </a:r>
            <a:r>
              <a:rPr lang="it-IT" sz="1100" b="0" i="0" u="none" strike="noStrike" baseline="0" dirty="0"/>
              <a:t>: </a:t>
            </a:r>
            <a:r>
              <a:rPr lang="it-IT" sz="1100" dirty="0"/>
              <a:t>Senza limite d’importo</a:t>
            </a:r>
          </a:p>
          <a:p>
            <a:pPr algn="l"/>
            <a:r>
              <a:rPr lang="it-IT" sz="1100" b="1" dirty="0">
                <a:latin typeface="+mj-lt"/>
              </a:rPr>
              <a:t>Forma tecnica</a:t>
            </a:r>
            <a:r>
              <a:rPr lang="it-IT" sz="1100" b="0" i="0" u="none" strike="noStrike" baseline="0" dirty="0"/>
              <a:t>: Mutuo ipotecario/chirografario</a:t>
            </a:r>
          </a:p>
          <a:p>
            <a:pPr algn="l"/>
            <a:r>
              <a:rPr lang="it-IT" sz="1100" b="1" dirty="0">
                <a:latin typeface="+mj-lt"/>
              </a:rPr>
              <a:t>Durata:</a:t>
            </a:r>
            <a:r>
              <a:rPr lang="it-IT" sz="1100" b="0" i="0" u="none" strike="noStrike" baseline="0" dirty="0"/>
              <a:t> fino ad un massimo di 20 anni</a:t>
            </a:r>
          </a:p>
          <a:p>
            <a:r>
              <a:rPr lang="it-IT" sz="1100" b="1" dirty="0">
                <a:latin typeface="+mj-lt"/>
              </a:rPr>
              <a:t>Tasso: </a:t>
            </a:r>
            <a:r>
              <a:rPr lang="it-IT" sz="1100" dirty="0"/>
              <a:t>IRS di durata pari a quella del mutuo + Spread massimo del 4,45%</a:t>
            </a:r>
          </a:p>
          <a:p>
            <a:r>
              <a:rPr lang="it-IT" sz="1100" b="1" dirty="0"/>
              <a:t>Contributo in conto interessi: </a:t>
            </a:r>
            <a:r>
              <a:rPr lang="it-IT" sz="1100" dirty="0">
                <a:latin typeface="+mj-lt"/>
              </a:rPr>
              <a:t>1,00% per mutui fino a 20 anni</a:t>
            </a:r>
          </a:p>
          <a:p>
            <a:pPr algn="l"/>
            <a:r>
              <a:rPr lang="it-IT" sz="1100" b="1" dirty="0">
                <a:latin typeface="+mj-lt"/>
              </a:rPr>
              <a:t>Garanzie richieste:</a:t>
            </a:r>
            <a:r>
              <a:rPr lang="it-IT" sz="1800" b="0" i="0" u="none" strike="noStrike" baseline="0" dirty="0">
                <a:latin typeface="CIDFont+F3"/>
              </a:rPr>
              <a:t> </a:t>
            </a:r>
            <a:r>
              <a:rPr lang="it-IT" sz="1100" dirty="0">
                <a:latin typeface="+mj-lt"/>
              </a:rPr>
              <a:t>Garanzia reale mobiliare od immobiliare, Fondo di Garanzia per l’Impiantistica Sportiva ex lege 289/2002.</a:t>
            </a:r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E9C8B451-77C7-4B2E-8F60-D90695F4D31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810000" y="6270502"/>
            <a:ext cx="4495800" cy="351084"/>
          </a:xfrm>
        </p:spPr>
        <p:txBody>
          <a:bodyPr/>
          <a:lstStyle/>
          <a:p>
            <a:r>
              <a:rPr lang="it-IT" dirty="0"/>
              <a:t>Istituto per il Credito Sportivo Banca Sociale per lo Sport e la Cultura</a:t>
            </a:r>
            <a:endParaRPr lang="it-IT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7188263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4EFE8837-632C-4C76-9AD4-40E683397E5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br>
              <a:rPr lang="it-IT" dirty="0"/>
            </a:br>
            <a:r>
              <a:rPr lang="it-IT" dirty="0"/>
              <a:t>Mutuo Verde </a:t>
            </a:r>
            <a:r>
              <a:rPr lang="it-IT" altLang="it-IT" sz="2400" dirty="0">
                <a:solidFill>
                  <a:srgbClr val="FFFFFF"/>
                </a:solidFill>
                <a:effectLst/>
                <a:ea typeface="+mn-ea"/>
                <a:cs typeface="+mn-cs"/>
              </a:rPr>
              <a:t>per le Associazioni, le Società e le Imprese Sportive</a:t>
            </a:r>
            <a:br>
              <a:rPr lang="it-IT" dirty="0"/>
            </a:br>
            <a:endParaRPr lang="it-IT" dirty="0"/>
          </a:p>
        </p:txBody>
      </p:sp>
      <p:sp>
        <p:nvSpPr>
          <p:cNvPr id="3" name="Segnaposto numero diapositiva 2">
            <a:extLst>
              <a:ext uri="{FF2B5EF4-FFF2-40B4-BE49-F238E27FC236}">
                <a16:creationId xmlns:a16="http://schemas.microsoft.com/office/drawing/2014/main" id="{324CE75F-B0B8-4C65-91F1-7AB81A7ACBC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501BE4A-6F75-0549-8D25-E25EBB4B1677}" type="slidenum">
              <a:rPr kumimoji="0" lang="it-IT" sz="12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it-IT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sp>
        <p:nvSpPr>
          <p:cNvPr id="5" name="Segnaposto testo 4">
            <a:extLst>
              <a:ext uri="{FF2B5EF4-FFF2-40B4-BE49-F238E27FC236}">
                <a16:creationId xmlns:a16="http://schemas.microsoft.com/office/drawing/2014/main" id="{0A09D587-B6E9-4CC5-AA63-6C00DD5A384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>
            <a:normAutofit/>
          </a:bodyPr>
          <a:lstStyle/>
          <a:p>
            <a:r>
              <a:rPr lang="it-IT" dirty="0"/>
              <a:t>Caratteristiche principali</a:t>
            </a:r>
          </a:p>
        </p:txBody>
      </p:sp>
      <p:sp>
        <p:nvSpPr>
          <p:cNvPr id="12" name="Segnaposto testo 4">
            <a:extLst>
              <a:ext uri="{FF2B5EF4-FFF2-40B4-BE49-F238E27FC236}">
                <a16:creationId xmlns:a16="http://schemas.microsoft.com/office/drawing/2014/main" id="{37221FB5-73BC-4384-A2BA-5CE902FF6B7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459683" y="2466363"/>
            <a:ext cx="9521505" cy="3724712"/>
          </a:xfrm>
        </p:spPr>
        <p:txBody>
          <a:bodyPr>
            <a:normAutofit/>
          </a:bodyPr>
          <a:lstStyle/>
          <a:p>
            <a:pPr marL="228600" marR="0" lvl="0" indent="-228600" algn="just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E7E6E6">
                  <a:lumMod val="75000"/>
                </a:srgbClr>
              </a:buClr>
              <a:buSzPct val="100000"/>
              <a:buFont typeface="Trebuchet MS" panose="020B0603020202020204" pitchFamily="34" charset="0"/>
              <a:buChar char="•"/>
              <a:tabLst/>
              <a:defRPr/>
            </a:pPr>
            <a:r>
              <a:rPr lang="it-IT" sz="1100" b="1" i="0" u="none" strike="noStrike" baseline="0" dirty="0">
                <a:latin typeface="+mj-lt"/>
              </a:rPr>
              <a:t>Beneficiari</a:t>
            </a:r>
            <a:r>
              <a:rPr lang="it-IT" sz="1050" b="1" i="0" u="none" strike="noStrike" baseline="0" dirty="0">
                <a:latin typeface="CIDFont+F3"/>
              </a:rPr>
              <a:t>:</a:t>
            </a:r>
            <a:r>
              <a:rPr lang="it-IT" sz="1050" b="0" i="0" u="none" strike="noStrike" baseline="0" dirty="0">
                <a:latin typeface="CIDFont+F3"/>
              </a:rPr>
              <a:t> </a:t>
            </a:r>
            <a:r>
              <a:rPr kumimoji="0" lang="it-IT" sz="1100" b="0" i="0" u="none" strike="noStrike" kern="1200" cap="none" spc="0" normalizeH="0" baseline="0" noProof="0" dirty="0">
                <a:ln>
                  <a:noFill/>
                </a:ln>
                <a:solidFill>
                  <a:srgbClr val="E7E6E6">
                    <a:lumMod val="50000"/>
                  </a:srgbClr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Soggetti di natura privatistica (escluse persone fisiche) ed Enti Pubblici diversi dagli Enti Locali previsti dallo Statuto vigente.</a:t>
            </a:r>
          </a:p>
          <a:p>
            <a:pPr algn="just"/>
            <a:r>
              <a:rPr lang="it-IT" sz="1100" b="1" dirty="0">
                <a:latin typeface="+mj-lt"/>
              </a:rPr>
              <a:t>Attività finanziata</a:t>
            </a:r>
            <a:r>
              <a:rPr lang="it-IT" sz="1100" b="0" i="0" u="none" strike="noStrike" baseline="0" dirty="0"/>
              <a:t>: </a:t>
            </a:r>
            <a:r>
              <a:rPr lang="it-IT" sz="1100" dirty="0"/>
              <a:t>Investimenti nell’efficienza energetica degli impianti sportivi già esistenti, risparmio energetico certificato, (efficientamento delle bollette e dei consumi certificati) produzione di energia termica a maggiore efficienza, realizzazione di interventi che prevedano l’utilizzo delle fonti rinnovabili, la produzione di energia attraverso sistemi ecocompatibili (fotovoltaico, cogenerazione </a:t>
            </a:r>
            <a:r>
              <a:rPr lang="it-IT" sz="1100" dirty="0" err="1"/>
              <a:t>etc</a:t>
            </a:r>
            <a:r>
              <a:rPr lang="it-IT" sz="1100" dirty="0"/>
              <a:t>)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E7E6E6">
                  <a:lumMod val="75000"/>
                </a:srgbClr>
              </a:buClr>
              <a:buSzPct val="100000"/>
              <a:buFont typeface="Trebuchet MS" panose="020B0603020202020204" pitchFamily="34" charset="0"/>
              <a:buChar char="•"/>
              <a:tabLst/>
              <a:defRPr/>
            </a:pPr>
            <a:r>
              <a:rPr kumimoji="0" lang="it-IT" sz="1100" b="1" i="0" u="none" strike="noStrike" kern="1200" cap="none" spc="0" normalizeH="0" baseline="0" noProof="0" dirty="0">
                <a:ln>
                  <a:noFill/>
                </a:ln>
                <a:solidFill>
                  <a:srgbClr val="E7E6E6">
                    <a:lumMod val="50000"/>
                  </a:srgbClr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Importo finanziabile</a:t>
            </a:r>
            <a:r>
              <a:rPr kumimoji="0" lang="it-IT" sz="1100" b="0" i="0" u="none" strike="noStrike" kern="1200" cap="none" spc="0" normalizeH="0" baseline="0" noProof="0" dirty="0">
                <a:ln>
                  <a:noFill/>
                </a:ln>
                <a:solidFill>
                  <a:srgbClr val="E7E6E6">
                    <a:lumMod val="50000"/>
                  </a:srgbClr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: </a:t>
            </a:r>
            <a:r>
              <a:rPr kumimoji="0" lang="it-IT" sz="1100" b="1" i="0" u="none" strike="noStrike" kern="1200" cap="none" spc="0" normalizeH="0" baseline="0" noProof="0" dirty="0">
                <a:ln>
                  <a:noFill/>
                </a:ln>
                <a:solidFill>
                  <a:srgbClr val="E7E6E6">
                    <a:lumMod val="50000"/>
                  </a:srgbClr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fino a 350 mila euro </a:t>
            </a:r>
            <a:endParaRPr kumimoji="0" lang="it-IT" sz="1100" b="0" i="0" u="none" strike="noStrike" kern="1200" cap="none" spc="0" normalizeH="0" baseline="0" noProof="0" dirty="0">
              <a:ln>
                <a:noFill/>
              </a:ln>
              <a:solidFill>
                <a:srgbClr val="E7E6E6">
                  <a:lumMod val="50000"/>
                </a:srgbClr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  <a:p>
            <a:pPr algn="just"/>
            <a:r>
              <a:rPr lang="it-IT" sz="1100" b="1" dirty="0">
                <a:latin typeface="+mj-lt"/>
              </a:rPr>
              <a:t>Forma tecnica</a:t>
            </a:r>
            <a:r>
              <a:rPr lang="it-IT" sz="1100" b="0" i="0" u="none" strike="noStrike" baseline="0" dirty="0"/>
              <a:t>: Mutuo </a:t>
            </a:r>
            <a:r>
              <a:rPr lang="it-IT" sz="1100" dirty="0"/>
              <a:t>ordinario ipotecario o chirografario</a:t>
            </a:r>
            <a:endParaRPr lang="it-IT" sz="1100" b="0" i="0" u="none" strike="noStrike" baseline="0" dirty="0"/>
          </a:p>
          <a:p>
            <a:pPr algn="just"/>
            <a:r>
              <a:rPr lang="it-IT" sz="1100" b="1" dirty="0">
                <a:latin typeface="+mj-lt"/>
              </a:rPr>
              <a:t>Durata:</a:t>
            </a:r>
            <a:r>
              <a:rPr lang="it-IT" sz="1100" b="0" i="0" u="none" strike="noStrike" baseline="0" dirty="0"/>
              <a:t> Fino ad un massimo di 15 anni</a:t>
            </a:r>
          </a:p>
          <a:p>
            <a:pPr algn="just"/>
            <a:r>
              <a:rPr lang="it-IT" sz="1100" b="1" dirty="0">
                <a:latin typeface="+mj-lt"/>
              </a:rPr>
              <a:t>Tasso: </a:t>
            </a:r>
            <a:r>
              <a:rPr lang="it-IT" sz="1100" dirty="0"/>
              <a:t>IRS di durata pari a quella del mutuo + Spread massimo del 3,10%</a:t>
            </a:r>
          </a:p>
          <a:p>
            <a:pPr algn="just"/>
            <a:r>
              <a:rPr lang="it-IT" sz="1100" b="1" dirty="0"/>
              <a:t>Contributo in conto interesse: </a:t>
            </a:r>
            <a:r>
              <a:rPr lang="it-IT" sz="1100" dirty="0"/>
              <a:t>2% </a:t>
            </a:r>
          </a:p>
          <a:p>
            <a:pPr algn="just"/>
            <a:r>
              <a:rPr lang="it-IT" sz="1100" b="1" dirty="0">
                <a:latin typeface="+mj-lt"/>
              </a:rPr>
              <a:t>Spese di Istruttoria: </a:t>
            </a:r>
            <a:r>
              <a:rPr lang="it-IT" sz="1100" dirty="0"/>
              <a:t>500€ fino a 60 mila euro; 0,5% oltre 60 mila e fino a 350 mila euro</a:t>
            </a:r>
          </a:p>
          <a:p>
            <a:pPr algn="just"/>
            <a:r>
              <a:rPr lang="it-IT" sz="1100" b="1" dirty="0">
                <a:latin typeface="+mj-lt"/>
              </a:rPr>
              <a:t>Garanzie richieste</a:t>
            </a:r>
            <a:r>
              <a:rPr kumimoji="0" lang="it-IT" sz="1100" b="1" i="0" u="none" strike="noStrike" kern="1200" cap="none" spc="0" normalizeH="0" baseline="0" noProof="0" dirty="0">
                <a:ln>
                  <a:noFill/>
                </a:ln>
                <a:solidFill>
                  <a:srgbClr val="E7E6E6">
                    <a:lumMod val="50000"/>
                  </a:srgbClr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:</a:t>
            </a:r>
            <a:r>
              <a:rPr lang="it-IT" sz="1800" b="0" i="0" u="none" strike="noStrike" baseline="0" dirty="0">
                <a:latin typeface="CIDFont+F3"/>
              </a:rPr>
              <a:t> </a:t>
            </a:r>
            <a:r>
              <a:rPr lang="it-IT" sz="1100" dirty="0"/>
              <a:t>Garanzia reale mobiliare od immobiliare, ipoteca, Fondo di Garanzia per l’Impiantistica Sportiva ex lege 289/2002</a:t>
            </a:r>
          </a:p>
          <a:p>
            <a:pPr marL="0" indent="0" algn="l">
              <a:buNone/>
            </a:pPr>
            <a:endParaRPr lang="it-IT" sz="1100" dirty="0"/>
          </a:p>
        </p:txBody>
      </p:sp>
      <p:sp>
        <p:nvSpPr>
          <p:cNvPr id="4" name="Segnaposto piè di pagina 3">
            <a:extLst>
              <a:ext uri="{FF2B5EF4-FFF2-40B4-BE49-F238E27FC236}">
                <a16:creationId xmlns:a16="http://schemas.microsoft.com/office/drawing/2014/main" id="{0075B8AE-164D-40EF-9628-25DFEC85D75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962400" y="6329978"/>
            <a:ext cx="4114800" cy="365125"/>
          </a:xfrm>
        </p:spPr>
        <p:txBody>
          <a:bodyPr/>
          <a:lstStyle/>
          <a:p>
            <a:r>
              <a:rPr lang="it-IT" dirty="0"/>
              <a:t>Istituto per il Credito Sportivo Banca Sociale per lo Sport e la Cultura</a:t>
            </a:r>
            <a:endParaRPr lang="it-IT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590385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dB_Jo5V0bmAt..jqQfwyw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Master">
  <a:themeElements>
    <a:clrScheme name="Personalizzato 1">
      <a:dk1>
        <a:srgbClr val="5C717C"/>
      </a:dk1>
      <a:lt1>
        <a:srgbClr val="FFFFFF"/>
      </a:lt1>
      <a:dk2>
        <a:srgbClr val="5C717C"/>
      </a:dk2>
      <a:lt2>
        <a:srgbClr val="E7E6E6"/>
      </a:lt2>
      <a:accent1>
        <a:srgbClr val="BFBFBF"/>
      </a:accent1>
      <a:accent2>
        <a:srgbClr val="C33232"/>
      </a:accent2>
      <a:accent3>
        <a:srgbClr val="00AB4E"/>
      </a:accent3>
      <a:accent4>
        <a:srgbClr val="C0C0C0"/>
      </a:accent4>
      <a:accent5>
        <a:srgbClr val="7F7F7F"/>
      </a:accent5>
      <a:accent6>
        <a:srgbClr val="D8D8D8"/>
      </a:accent6>
      <a:hlink>
        <a:srgbClr val="C33232"/>
      </a:hlink>
      <a:folHlink>
        <a:srgbClr val="C33232"/>
      </a:folHlink>
    </a:clrScheme>
    <a:fontScheme name="Personalizzato 2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Modello_Presentazione_ICS" id="{F57609CE-DEFA-4F23-8B59-BC51D91787C7}" vid="{C19BB8A5-0BAD-4E8A-ACBE-F6FBF95B3571}"/>
    </a:ext>
  </a:extLst>
</a:theme>
</file>

<file path=ppt/theme/theme3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1_Master">
  <a:themeElements>
    <a:clrScheme name="Personalizzato 1">
      <a:dk1>
        <a:srgbClr val="5C717C"/>
      </a:dk1>
      <a:lt1>
        <a:srgbClr val="FFFFFF"/>
      </a:lt1>
      <a:dk2>
        <a:srgbClr val="5C717C"/>
      </a:dk2>
      <a:lt2>
        <a:srgbClr val="E7E6E6"/>
      </a:lt2>
      <a:accent1>
        <a:srgbClr val="BFBFBF"/>
      </a:accent1>
      <a:accent2>
        <a:srgbClr val="C33232"/>
      </a:accent2>
      <a:accent3>
        <a:srgbClr val="00AB4E"/>
      </a:accent3>
      <a:accent4>
        <a:srgbClr val="C0C0C0"/>
      </a:accent4>
      <a:accent5>
        <a:srgbClr val="7F7F7F"/>
      </a:accent5>
      <a:accent6>
        <a:srgbClr val="D8D8D8"/>
      </a:accent6>
      <a:hlink>
        <a:srgbClr val="C33232"/>
      </a:hlink>
      <a:folHlink>
        <a:srgbClr val="C33232"/>
      </a:folHlink>
    </a:clrScheme>
    <a:fontScheme name="Personalizzato 2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Modello_Presentazione_ICS" id="{F57609CE-DEFA-4F23-8B59-BC51D91787C7}" vid="{C19BB8A5-0BAD-4E8A-ACBE-F6FBF95B3571}"/>
    </a:ext>
  </a:extLst>
</a:theme>
</file>

<file path=ppt/theme/theme5.xml><?xml version="1.0" encoding="utf-8"?>
<a:theme xmlns:a="http://schemas.openxmlformats.org/drawingml/2006/main" name="2_Master">
  <a:themeElements>
    <a:clrScheme name="Personalizzato 1">
      <a:dk1>
        <a:srgbClr val="5C717C"/>
      </a:dk1>
      <a:lt1>
        <a:srgbClr val="FFFFFF"/>
      </a:lt1>
      <a:dk2>
        <a:srgbClr val="5C717C"/>
      </a:dk2>
      <a:lt2>
        <a:srgbClr val="E7E6E6"/>
      </a:lt2>
      <a:accent1>
        <a:srgbClr val="BFBFBF"/>
      </a:accent1>
      <a:accent2>
        <a:srgbClr val="C33232"/>
      </a:accent2>
      <a:accent3>
        <a:srgbClr val="00AB4E"/>
      </a:accent3>
      <a:accent4>
        <a:srgbClr val="C0C0C0"/>
      </a:accent4>
      <a:accent5>
        <a:srgbClr val="7F7F7F"/>
      </a:accent5>
      <a:accent6>
        <a:srgbClr val="D8D8D8"/>
      </a:accent6>
      <a:hlink>
        <a:srgbClr val="C33232"/>
      </a:hlink>
      <a:folHlink>
        <a:srgbClr val="C33232"/>
      </a:folHlink>
    </a:clrScheme>
    <a:fontScheme name="Personalizzato 2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zione standard1" id="{7D75AE2B-08AA-4811-8F02-8B75D85B35B5}" vid="{AEC6BB34-163F-494C-9D1E-9696DCB48830}"/>
    </a:ext>
  </a:extLst>
</a:theme>
</file>

<file path=ppt/theme/theme6.xml><?xml version="1.0" encoding="utf-8"?>
<a:theme xmlns:a="http://schemas.openxmlformats.org/drawingml/2006/main" name="Tema di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o" ma:contentTypeID="0x01010069635D44F9EDDF4DA7E07D46C698B72C" ma:contentTypeVersion="9" ma:contentTypeDescription="Creare un nuovo documento." ma:contentTypeScope="" ma:versionID="62ea18ef534d9cf5cccc65b97a117bff">
  <xsd:schema xmlns:xsd="http://www.w3.org/2001/XMLSchema" xmlns:xs="http://www.w3.org/2001/XMLSchema" xmlns:p="http://schemas.microsoft.com/office/2006/metadata/properties" xmlns:ns2="9e4079cf-04e4-4236-a228-5c860ea12e41" xmlns:ns3="135375f0-4336-402e-a8dd-3cbf64eedf15" targetNamespace="http://schemas.microsoft.com/office/2006/metadata/properties" ma:root="true" ma:fieldsID="72cb45e560d1d22d024be9ec1fca312a" ns2:_="" ns3:_="">
    <xsd:import namespace="9e4079cf-04e4-4236-a228-5c860ea12e41"/>
    <xsd:import namespace="135375f0-4336-402e-a8dd-3cbf64eedf15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e4079cf-04e4-4236-a228-5c860ea12e41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6" nillable="true" ma:displayName="MediaLengthInSeconds" ma:hidden="true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35375f0-4336-402e-a8dd-3cbf64eedf15" elementFormDefault="qualified">
    <xsd:import namespace="http://schemas.microsoft.com/office/2006/documentManagement/types"/>
    <xsd:import namespace="http://schemas.microsoft.com/office/infopath/2007/PartnerControls"/>
    <xsd:element name="SharedWithUsers" ma:index="14" nillable="true" ma:displayName="Condiviso con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5" nillable="true" ma:displayName="Condiviso con dettagli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ipo di contenuto"/>
        <xsd:element ref="dc:title" minOccurs="0" maxOccurs="1" ma:index="4" ma:displayName="Titolo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18091E94-91E6-454D-B444-15EA2D5E12FA}">
  <ds:schemaRefs>
    <ds:schemaRef ds:uri="http://purl.org/dc/dcmitype/"/>
    <ds:schemaRef ds:uri="http://purl.org/dc/terms/"/>
    <ds:schemaRef ds:uri="135375f0-4336-402e-a8dd-3cbf64eedf15"/>
    <ds:schemaRef ds:uri="http://schemas.openxmlformats.org/package/2006/metadata/core-properties"/>
    <ds:schemaRef ds:uri="http://www.w3.org/XML/1998/namespace"/>
    <ds:schemaRef ds:uri="http://schemas.microsoft.com/office/2006/documentManagement/types"/>
    <ds:schemaRef ds:uri="9e4079cf-04e4-4236-a228-5c860ea12e41"/>
    <ds:schemaRef ds:uri="http://purl.org/dc/elements/1.1/"/>
    <ds:schemaRef ds:uri="http://schemas.microsoft.com/office/2006/metadata/properties"/>
    <ds:schemaRef ds:uri="http://schemas.microsoft.com/office/infopath/2007/PartnerControls"/>
  </ds:schemaRefs>
</ds:datastoreItem>
</file>

<file path=customXml/itemProps2.xml><?xml version="1.0" encoding="utf-8"?>
<ds:datastoreItem xmlns:ds="http://schemas.openxmlformats.org/officeDocument/2006/customXml" ds:itemID="{771D14AB-B69A-4698-B004-A57DEA1F1537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961A9B53-141A-4F87-87ED-11BFC10752AF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9e4079cf-04e4-4236-a228-5c860ea12e41"/>
    <ds:schemaRef ds:uri="135375f0-4336-402e-a8dd-3cbf64eedf15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745</TotalTime>
  <Words>2750</Words>
  <Application>Microsoft Office PowerPoint</Application>
  <PresentationFormat>Widescreen</PresentationFormat>
  <Paragraphs>265</Paragraphs>
  <Slides>16</Slides>
  <Notes>2</Notes>
  <HiddenSlides>0</HiddenSlides>
  <MMClips>0</MMClips>
  <ScaleCrop>false</ScaleCrop>
  <HeadingPairs>
    <vt:vector size="8" baseType="variant">
      <vt:variant>
        <vt:lpstr>Caratteri utilizzati</vt:lpstr>
      </vt:variant>
      <vt:variant>
        <vt:i4>8</vt:i4>
      </vt:variant>
      <vt:variant>
        <vt:lpstr>Tema</vt:lpstr>
      </vt:variant>
      <vt:variant>
        <vt:i4>5</vt:i4>
      </vt:variant>
      <vt:variant>
        <vt:lpstr>Server OLE incorporati</vt:lpstr>
      </vt:variant>
      <vt:variant>
        <vt:i4>1</vt:i4>
      </vt:variant>
      <vt:variant>
        <vt:lpstr>Titoli diapositive</vt:lpstr>
      </vt:variant>
      <vt:variant>
        <vt:i4>16</vt:i4>
      </vt:variant>
    </vt:vector>
  </HeadingPairs>
  <TitlesOfParts>
    <vt:vector size="30" baseType="lpstr">
      <vt:lpstr>Arial</vt:lpstr>
      <vt:lpstr>Arial MT</vt:lpstr>
      <vt:lpstr>Calibri</vt:lpstr>
      <vt:lpstr>CIDFont+F3</vt:lpstr>
      <vt:lpstr>Symbol</vt:lpstr>
      <vt:lpstr>Times New Roman</vt:lpstr>
      <vt:lpstr>Trebuchet MS</vt:lpstr>
      <vt:lpstr>Wingdings</vt:lpstr>
      <vt:lpstr>Office Theme</vt:lpstr>
      <vt:lpstr>Master</vt:lpstr>
      <vt:lpstr>1_Office Theme</vt:lpstr>
      <vt:lpstr>1_Master</vt:lpstr>
      <vt:lpstr>2_Master</vt:lpstr>
      <vt:lpstr>Diapositiva think-cell</vt:lpstr>
      <vt:lpstr>Presentazione standard di PowerPoint</vt:lpstr>
      <vt:lpstr>La nostra missione, la nostra storia e funzione obiettivo…</vt:lpstr>
      <vt:lpstr>…cosa facciamo oggi</vt:lpstr>
      <vt:lpstr>I nostri Impeghi </vt:lpstr>
      <vt:lpstr>Finanziamenti agevolati – numeri chiave</vt:lpstr>
      <vt:lpstr>Assetto proprietario e ripartizione dell’utile</vt:lpstr>
      <vt:lpstr>Mutuo Light 2.0 FSN- EPS</vt:lpstr>
      <vt:lpstr> Mutuo Ordinario per le Associazioni, le Società e le Imprese Sportive </vt:lpstr>
      <vt:lpstr> Mutuo Verde per le Associazioni, le Società e le Imprese Sportive </vt:lpstr>
      <vt:lpstr>Mutuo Messa  a norma</vt:lpstr>
      <vt:lpstr>L’iniziativa a tasso 0 per parrocchie ed enti religiosi in ambito sport</vt:lpstr>
      <vt:lpstr>Superbonus</vt:lpstr>
      <vt:lpstr>Altre Detrazioni Fiscali</vt:lpstr>
      <vt:lpstr>Il nostro modello di Advisory </vt:lpstr>
      <vt:lpstr>ICS è oggi coinvolto in molte operazioni come advisor e partner finanziario</vt:lpstr>
      <vt:lpstr> RIFERIMENTI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CS in pillole</dc:title>
  <dc:creator>Alessandro Bolis</dc:creator>
  <cp:lastModifiedBy>Gianluca D'Antoni</cp:lastModifiedBy>
  <cp:revision>85</cp:revision>
  <cp:lastPrinted>2022-02-15T09:00:00Z</cp:lastPrinted>
  <dcterms:created xsi:type="dcterms:W3CDTF">2021-07-22T12:48:00Z</dcterms:created>
  <dcterms:modified xsi:type="dcterms:W3CDTF">2022-07-19T07:30:0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reated">
    <vt:filetime>2021-06-11T00:00:00Z</vt:filetime>
  </property>
  <property fmtid="{D5CDD505-2E9C-101B-9397-08002B2CF9AE}" pid="3" name="Creator">
    <vt:lpwstr>Acrobat PDFMaker 21 per PowerPoint</vt:lpwstr>
  </property>
  <property fmtid="{D5CDD505-2E9C-101B-9397-08002B2CF9AE}" pid="4" name="LastSaved">
    <vt:filetime>2021-07-22T00:00:00Z</vt:filetime>
  </property>
  <property fmtid="{D5CDD505-2E9C-101B-9397-08002B2CF9AE}" pid="5" name="ContentTypeId">
    <vt:lpwstr>0x01010069635D44F9EDDF4DA7E07D46C698B72C</vt:lpwstr>
  </property>
</Properties>
</file>